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8.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9.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20.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21.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93"/>
  </p:notesMasterIdLst>
  <p:sldIdLst>
    <p:sldId id="571" r:id="rId2"/>
    <p:sldId id="634" r:id="rId3"/>
    <p:sldId id="600" r:id="rId4"/>
    <p:sldId id="646" r:id="rId5"/>
    <p:sldId id="649" r:id="rId6"/>
    <p:sldId id="651" r:id="rId7"/>
    <p:sldId id="653" r:id="rId8"/>
    <p:sldId id="544" r:id="rId9"/>
    <p:sldId id="546" r:id="rId10"/>
    <p:sldId id="402" r:id="rId11"/>
    <p:sldId id="594" r:id="rId12"/>
    <p:sldId id="325" r:id="rId13"/>
    <p:sldId id="333" r:id="rId14"/>
    <p:sldId id="542" r:id="rId15"/>
    <p:sldId id="595" r:id="rId16"/>
    <p:sldId id="596" r:id="rId17"/>
    <p:sldId id="597" r:id="rId18"/>
    <p:sldId id="515" r:id="rId19"/>
    <p:sldId id="516" r:id="rId20"/>
    <p:sldId id="530" r:id="rId21"/>
    <p:sldId id="532" r:id="rId22"/>
    <p:sldId id="440" r:id="rId23"/>
    <p:sldId id="426" r:id="rId24"/>
    <p:sldId id="548" r:id="rId25"/>
    <p:sldId id="541" r:id="rId26"/>
    <p:sldId id="547" r:id="rId27"/>
    <p:sldId id="538" r:id="rId28"/>
    <p:sldId id="387" r:id="rId29"/>
    <p:sldId id="447" r:id="rId30"/>
    <p:sldId id="446" r:id="rId31"/>
    <p:sldId id="451" r:id="rId32"/>
    <p:sldId id="359" r:id="rId33"/>
    <p:sldId id="535" r:id="rId34"/>
    <p:sldId id="385" r:id="rId35"/>
    <p:sldId id="551" r:id="rId36"/>
    <p:sldId id="552" r:id="rId37"/>
    <p:sldId id="549" r:id="rId38"/>
    <p:sldId id="459" r:id="rId39"/>
    <p:sldId id="353" r:id="rId40"/>
    <p:sldId id="354" r:id="rId41"/>
    <p:sldId id="569" r:id="rId42"/>
    <p:sldId id="580" r:id="rId43"/>
    <p:sldId id="553" r:id="rId44"/>
    <p:sldId id="554" r:id="rId45"/>
    <p:sldId id="578" r:id="rId46"/>
    <p:sldId id="570" r:id="rId47"/>
    <p:sldId id="582" r:id="rId48"/>
    <p:sldId id="584" r:id="rId49"/>
    <p:sldId id="585" r:id="rId50"/>
    <p:sldId id="586" r:id="rId51"/>
    <p:sldId id="587" r:id="rId52"/>
    <p:sldId id="394" r:id="rId53"/>
    <p:sldId id="572" r:id="rId54"/>
    <p:sldId id="534" r:id="rId55"/>
    <p:sldId id="371" r:id="rId56"/>
    <p:sldId id="574" r:id="rId57"/>
    <p:sldId id="575" r:id="rId58"/>
    <p:sldId id="581" r:id="rId59"/>
    <p:sldId id="583" r:id="rId60"/>
    <p:sldId id="589" r:id="rId61"/>
    <p:sldId id="590" r:id="rId62"/>
    <p:sldId id="591" r:id="rId63"/>
    <p:sldId id="592" r:id="rId64"/>
    <p:sldId id="593" r:id="rId65"/>
    <p:sldId id="322" r:id="rId66"/>
    <p:sldId id="467" r:id="rId67"/>
    <p:sldId id="550" r:id="rId68"/>
    <p:sldId id="579" r:id="rId69"/>
    <p:sldId id="588" r:id="rId70"/>
    <p:sldId id="378" r:id="rId71"/>
    <p:sldId id="460" r:id="rId72"/>
    <p:sldId id="462" r:id="rId73"/>
    <p:sldId id="573" r:id="rId74"/>
    <p:sldId id="577" r:id="rId75"/>
    <p:sldId id="576" r:id="rId76"/>
    <p:sldId id="438" r:id="rId77"/>
    <p:sldId id="494" r:id="rId78"/>
    <p:sldId id="565" r:id="rId79"/>
    <p:sldId id="566" r:id="rId80"/>
    <p:sldId id="567" r:id="rId81"/>
    <p:sldId id="568" r:id="rId82"/>
    <p:sldId id="564" r:id="rId83"/>
    <p:sldId id="555" r:id="rId84"/>
    <p:sldId id="556" r:id="rId85"/>
    <p:sldId id="557" r:id="rId86"/>
    <p:sldId id="558" r:id="rId87"/>
    <p:sldId id="559" r:id="rId88"/>
    <p:sldId id="560" r:id="rId89"/>
    <p:sldId id="561" r:id="rId90"/>
    <p:sldId id="562" r:id="rId91"/>
    <p:sldId id="563" r:id="rId92"/>
  </p:sldIdLst>
  <p:sldSz cx="12192000" cy="6858000"/>
  <p:notesSz cx="6858000" cy="9144000"/>
  <p:custDataLst>
    <p:tags r:id="rId94"/>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and Exec" id="{E7538B6E-BCD6-CB4F-B24F-19420769672B}">
          <p14:sldIdLst>
            <p14:sldId id="571"/>
            <p14:sldId id="634"/>
          </p14:sldIdLst>
        </p14:section>
        <p14:section name="Idea" id="{FAF190A5-0950-C246-8122-73F6366D86B5}">
          <p14:sldIdLst>
            <p14:sldId id="600"/>
          </p14:sldIdLst>
        </p14:section>
        <p14:section name="Visualization" id="{CA2A563F-52F8-5B4E-84E8-FA85AF13D296}">
          <p14:sldIdLst>
            <p14:sldId id="646"/>
          </p14:sldIdLst>
        </p14:section>
        <p14:section name="Elements" id="{901E40C7-BF7A-C748-BA9A-15702CB483F9}">
          <p14:sldIdLst>
            <p14:sldId id="649"/>
          </p14:sldIdLst>
        </p14:section>
        <p14:section name="Implementation" id="{37E95E6E-5826-FA4E-B403-7DEC73F7A267}">
          <p14:sldIdLst>
            <p14:sldId id="651"/>
          </p14:sldIdLst>
        </p14:section>
        <p14:section name="Data analysis" id="{F6C910F3-0334-5D40-BF89-C8AA63617A4D}">
          <p14:sldIdLst>
            <p14:sldId id="653"/>
          </p14:sldIdLst>
        </p14:section>
        <p14:section name="Black" id="{65DF4976-6020-E543-830A-8FFFD4E4954A}">
          <p14:sldIdLst>
            <p14:sldId id="544"/>
          </p14:sldIdLst>
        </p14:section>
        <p14:section name="Index" id="{A7790C65-ED5B-1D49-A061-3B440964328B}">
          <p14:sldIdLst>
            <p14:sldId id="546"/>
          </p14:sldIdLst>
        </p14:section>
        <p14:section name="Appendices" id="{29BD9264-93FE-5C4B-820C-AF14410FFFAD}">
          <p14:sldIdLst/>
        </p14:section>
        <p14:section name="Master" id="{0969C498-D6D8-334F-9CE7-467170545C5F}">
          <p14:sldIdLst>
            <p14:sldId id="402"/>
            <p14:sldId id="594"/>
            <p14:sldId id="325"/>
            <p14:sldId id="333"/>
          </p14:sldIdLst>
        </p14:section>
        <p14:section name="Standard Slides" id="{01AACD56-D532-264E-8CED-0EE86799CBE0}">
          <p14:sldIdLst>
            <p14:sldId id="542"/>
            <p14:sldId id="595"/>
            <p14:sldId id="596"/>
            <p14:sldId id="597"/>
            <p14:sldId id="515"/>
            <p14:sldId id="516"/>
            <p14:sldId id="530"/>
            <p14:sldId id="532"/>
            <p14:sldId id="440"/>
          </p14:sldIdLst>
        </p14:section>
        <p14:section name="Insights" id="{F1A904FF-3528-DC4F-AFA1-2A2F76D68CD6}">
          <p14:sldIdLst>
            <p14:sldId id="426"/>
            <p14:sldId id="548"/>
            <p14:sldId id="541"/>
            <p14:sldId id="547"/>
            <p14:sldId id="538"/>
            <p14:sldId id="387"/>
            <p14:sldId id="447"/>
            <p14:sldId id="446"/>
            <p14:sldId id="451"/>
            <p14:sldId id="359"/>
            <p14:sldId id="535"/>
            <p14:sldId id="385"/>
            <p14:sldId id="551"/>
            <p14:sldId id="552"/>
            <p14:sldId id="549"/>
            <p14:sldId id="459"/>
            <p14:sldId id="353"/>
            <p14:sldId id="354"/>
          </p14:sldIdLst>
        </p14:section>
        <p14:section name="Solution" id="{DEBA8145-1E3A-2948-9527-FB118454B4C2}">
          <p14:sldIdLst>
            <p14:sldId id="569"/>
            <p14:sldId id="580"/>
            <p14:sldId id="553"/>
            <p14:sldId id="554"/>
            <p14:sldId id="578"/>
            <p14:sldId id="570"/>
            <p14:sldId id="582"/>
            <p14:sldId id="584"/>
            <p14:sldId id="585"/>
            <p14:sldId id="586"/>
            <p14:sldId id="587"/>
          </p14:sldIdLst>
        </p14:section>
        <p14:section name="Finance" id="{FE8A5463-C21E-C946-B6D3-D31E6DBFD32A}">
          <p14:sldIdLst>
            <p14:sldId id="394"/>
            <p14:sldId id="572"/>
            <p14:sldId id="534"/>
            <p14:sldId id="371"/>
            <p14:sldId id="574"/>
            <p14:sldId id="575"/>
            <p14:sldId id="581"/>
            <p14:sldId id="583"/>
            <p14:sldId id="589"/>
            <p14:sldId id="590"/>
            <p14:sldId id="591"/>
            <p14:sldId id="592"/>
            <p14:sldId id="593"/>
          </p14:sldIdLst>
        </p14:section>
        <p14:section name="Implementation" id="{B601E3C1-794F-FC4E-AF30-CDC34BFCB786}">
          <p14:sldIdLst>
            <p14:sldId id="322"/>
            <p14:sldId id="467"/>
            <p14:sldId id="550"/>
            <p14:sldId id="579"/>
            <p14:sldId id="588"/>
          </p14:sldIdLst>
        </p14:section>
        <p14:section name="Risks" id="{0383404D-BB73-3441-9A5A-C4CDF77A6A9C}">
          <p14:sldIdLst>
            <p14:sldId id="378"/>
            <p14:sldId id="460"/>
            <p14:sldId id="462"/>
            <p14:sldId id="573"/>
          </p14:sldIdLst>
        </p14:section>
        <p14:section name="Appendices" id="{5606CDC6-AB15-5241-B3B8-165155E432D2}">
          <p14:sldIdLst>
            <p14:sldId id="577"/>
            <p14:sldId id="576"/>
          </p14:sldIdLst>
        </p14:section>
        <p14:section name="Transitions" id="{F8225E53-B79A-394C-91ED-E87C3DD56E05}">
          <p14:sldIdLst>
            <p14:sldId id="438"/>
            <p14:sldId id="494"/>
            <p14:sldId id="565"/>
            <p14:sldId id="566"/>
            <p14:sldId id="567"/>
            <p14:sldId id="568"/>
          </p14:sldIdLst>
        </p14:section>
        <p14:section name="Icons" id="{5A2A1E30-D6B2-C944-B19A-F338898C6D61}">
          <p14:sldIdLst>
            <p14:sldId id="564"/>
            <p14:sldId id="555"/>
            <p14:sldId id="556"/>
            <p14:sldId id="557"/>
            <p14:sldId id="558"/>
            <p14:sldId id="559"/>
            <p14:sldId id="560"/>
            <p14:sldId id="561"/>
            <p14:sldId id="562"/>
            <p14:sldId id="56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cco Hansen" initials="RH" lastIdx="1" clrIdx="0"/>
  <p:cmAuthor id="2" name="Frederik Rasmussen" initials="FR" lastIdx="1" clrIdx="1">
    <p:extLst>
      <p:ext uri="{19B8F6BF-5375-455C-9EA6-DF929625EA0E}">
        <p15:presenceInfo xmlns:p15="http://schemas.microsoft.com/office/powerpoint/2012/main" userId="240d42cb4995d69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015"/>
    <a:srgbClr val="404040"/>
    <a:srgbClr val="9A0000"/>
    <a:srgbClr val="6C6C6C"/>
    <a:srgbClr val="A1A1A1"/>
    <a:srgbClr val="686868"/>
    <a:srgbClr val="979797"/>
    <a:srgbClr val="A00000"/>
    <a:srgbClr val="9F00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34"/>
    <p:restoredTop sz="89598" autoAdjust="0"/>
  </p:normalViewPr>
  <p:slideViewPr>
    <p:cSldViewPr snapToGrid="0" snapToObjects="1">
      <p:cViewPr>
        <p:scale>
          <a:sx n="66" d="100"/>
          <a:sy n="66" d="100"/>
        </p:scale>
        <p:origin x="960" y="64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commentAuthors" Target="commentAuthor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gs" Target="tags/tag1.xml"/><Relationship Id="rId9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notesMaster" Target="notesMasters/notesMaster1.xml"/><Relationship Id="rId98"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Users\Philip\Desktop\EasyMarkit.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oleObject" Target="file:////C:\Users\Jakob\Desktop\Coles%20financials.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Jakob\Desktop\Coles%20financials.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Jakob\Desktop\AGL%20financials.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Jakob\Documents\Case\crack%20the%20case\Book1%20(Autosaved)%20financial.xlsx"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regneark.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regneark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file:////C:\Users\Jakob\Desktop\AGL%20financial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Jakob\Desktop\AGL%20financials.xlsx" TargetMode="Externa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regneark2.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regneark3.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oleObject" Target="file:////C:\Users\Jakob\Desktop\Coles%20financials.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Jakob\Desktop\Coles%20financials.xlsx" TargetMode="Externa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C:\Users\Bruger\Documents\CBS\Case%20competitions\Arla%20-%20financial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en-US"/>
              <a:t>Organic and incremental revenue</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col"/>
        <c:grouping val="stacked"/>
        <c:varyColors val="0"/>
        <c:ser>
          <c:idx val="0"/>
          <c:order val="0"/>
          <c:tx>
            <c:strRef>
              <c:f>Sheet1!$G$16</c:f>
              <c:strCache>
                <c:ptCount val="1"/>
                <c:pt idx="0">
                  <c:v>Organic growth</c:v>
                </c:pt>
              </c:strCache>
            </c:strRef>
          </c:tx>
          <c:spPr>
            <a:solidFill>
              <a:srgbClr val="203863"/>
            </a:solidFill>
            <a:ln>
              <a:noFill/>
            </a:ln>
            <a:effectLst/>
          </c:spPr>
          <c:invertIfNegative val="0"/>
          <c:cat>
            <c:strRef>
              <c:f>Sheet1!$H$15:$L$15</c:f>
              <c:strCache>
                <c:ptCount val="5"/>
                <c:pt idx="0">
                  <c:v>F2017</c:v>
                </c:pt>
                <c:pt idx="1">
                  <c:v>F2018</c:v>
                </c:pt>
                <c:pt idx="2">
                  <c:v>F2019</c:v>
                </c:pt>
                <c:pt idx="3">
                  <c:v>F2020</c:v>
                </c:pt>
                <c:pt idx="4">
                  <c:v>F2021</c:v>
                </c:pt>
              </c:strCache>
            </c:strRef>
          </c:cat>
          <c:val>
            <c:numRef>
              <c:f>Sheet1!$H$16:$L$16</c:f>
              <c:numCache>
                <c:formatCode>_(* #,##0.00_);_(* \(#,##0.00\);_(* "-"??_);_(@_)</c:formatCode>
                <c:ptCount val="5"/>
                <c:pt idx="0">
                  <c:v>10.932740000000001</c:v>
                </c:pt>
                <c:pt idx="1">
                  <c:v>14.212562</c:v>
                </c:pt>
                <c:pt idx="2">
                  <c:v>18.476330600000001</c:v>
                </c:pt>
                <c:pt idx="3">
                  <c:v>24.019229780000011</c:v>
                </c:pt>
                <c:pt idx="4">
                  <c:v>31.224998714000009</c:v>
                </c:pt>
              </c:numCache>
            </c:numRef>
          </c:val>
          <c:extLst>
            <c:ext xmlns:c16="http://schemas.microsoft.com/office/drawing/2014/chart" uri="{C3380CC4-5D6E-409C-BE32-E72D297353CC}">
              <c16:uniqueId val="{00000000-A9DA-CF44-88AC-4152D2C75FDB}"/>
            </c:ext>
          </c:extLst>
        </c:ser>
        <c:ser>
          <c:idx val="1"/>
          <c:order val="1"/>
          <c:tx>
            <c:strRef>
              <c:f>Sheet1!$G$17</c:f>
              <c:strCache>
                <c:ptCount val="1"/>
                <c:pt idx="0">
                  <c:v>Incr. revenue Canada (commercial)</c:v>
                </c:pt>
              </c:strCache>
            </c:strRef>
          </c:tx>
          <c:spPr>
            <a:solidFill>
              <a:srgbClr val="8FAADC"/>
            </a:solidFill>
            <a:ln>
              <a:noFill/>
            </a:ln>
            <a:effectLst/>
          </c:spPr>
          <c:invertIfNegative val="0"/>
          <c:val>
            <c:numRef>
              <c:f>Sheet1!$H$17:$L$17</c:f>
              <c:numCache>
                <c:formatCode>_(* #,##0.00_);_(* \(#,##0.00\);_(* "-"??_);_(@_)</c:formatCode>
                <c:ptCount val="5"/>
                <c:pt idx="0">
                  <c:v>1.3824000000000001</c:v>
                </c:pt>
                <c:pt idx="1">
                  <c:v>2.0735999999999999</c:v>
                </c:pt>
                <c:pt idx="2">
                  <c:v>2.7648000000000001</c:v>
                </c:pt>
                <c:pt idx="3">
                  <c:v>3.4559999999999991</c:v>
                </c:pt>
                <c:pt idx="4">
                  <c:v>4.1471999999999989</c:v>
                </c:pt>
              </c:numCache>
            </c:numRef>
          </c:val>
          <c:extLst>
            <c:ext xmlns:c16="http://schemas.microsoft.com/office/drawing/2014/chart" uri="{C3380CC4-5D6E-409C-BE32-E72D297353CC}">
              <c16:uniqueId val="{00000001-A9DA-CF44-88AC-4152D2C75FDB}"/>
            </c:ext>
          </c:extLst>
        </c:ser>
        <c:ser>
          <c:idx val="2"/>
          <c:order val="2"/>
          <c:tx>
            <c:strRef>
              <c:f>Sheet1!$G$18</c:f>
              <c:strCache>
                <c:ptCount val="1"/>
                <c:pt idx="0">
                  <c:v>Incr. revenue US (commercial)</c:v>
                </c:pt>
              </c:strCache>
            </c:strRef>
          </c:tx>
          <c:spPr>
            <a:solidFill>
              <a:srgbClr val="DAE3F4"/>
            </a:solidFill>
            <a:ln>
              <a:noFill/>
            </a:ln>
            <a:effectLst/>
          </c:spPr>
          <c:invertIfNegative val="0"/>
          <c:val>
            <c:numRef>
              <c:f>Sheet1!$H$18:$L$18</c:f>
              <c:numCache>
                <c:formatCode>_(* #,##0.00_);_(* \(#,##0.00\);_(* "-"??_);_(@_)</c:formatCode>
                <c:ptCount val="5"/>
                <c:pt idx="1">
                  <c:v>0.69120000000000004</c:v>
                </c:pt>
                <c:pt idx="2">
                  <c:v>1.3824000000000001</c:v>
                </c:pt>
                <c:pt idx="3">
                  <c:v>4.1471999999999989</c:v>
                </c:pt>
                <c:pt idx="4">
                  <c:v>6.9119999999999999</c:v>
                </c:pt>
              </c:numCache>
            </c:numRef>
          </c:val>
          <c:extLst>
            <c:ext xmlns:c16="http://schemas.microsoft.com/office/drawing/2014/chart" uri="{C3380CC4-5D6E-409C-BE32-E72D297353CC}">
              <c16:uniqueId val="{00000002-A9DA-CF44-88AC-4152D2C75FDB}"/>
            </c:ext>
          </c:extLst>
        </c:ser>
        <c:dLbls>
          <c:showLegendKey val="0"/>
          <c:showVal val="0"/>
          <c:showCatName val="0"/>
          <c:showSerName val="0"/>
          <c:showPercent val="0"/>
          <c:showBubbleSize val="0"/>
        </c:dLbls>
        <c:gapWidth val="150"/>
        <c:overlap val="100"/>
        <c:axId val="359028400"/>
        <c:axId val="355698368"/>
      </c:barChart>
      <c:catAx>
        <c:axId val="35902840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a-DK"/>
          </a:p>
        </c:txPr>
        <c:crossAx val="355698368"/>
        <c:crosses val="autoZero"/>
        <c:auto val="1"/>
        <c:lblAlgn val="ctr"/>
        <c:lblOffset val="100"/>
        <c:noMultiLvlLbl val="0"/>
      </c:catAx>
      <c:valAx>
        <c:axId val="355698368"/>
        <c:scaling>
          <c:orientation val="minMax"/>
        </c:scaling>
        <c:delete val="1"/>
        <c:axPos val="l"/>
        <c:numFmt formatCode="#,##0" sourceLinked="0"/>
        <c:majorTickMark val="none"/>
        <c:minorTickMark val="none"/>
        <c:tickLblPos val="nextTo"/>
        <c:crossAx val="359028400"/>
        <c:crosses val="autoZero"/>
        <c:crossBetween val="between"/>
      </c:valAx>
      <c:spPr>
        <a:noFill/>
        <a:ln>
          <a:noFill/>
        </a:ln>
        <a:effectLst/>
      </c:spPr>
    </c:plotArea>
    <c:legend>
      <c:legendPos val="b"/>
      <c:layout>
        <c:manualLayout>
          <c:xMode val="edge"/>
          <c:yMode val="edge"/>
          <c:x val="1.8858131487889299E-2"/>
          <c:y val="0.11640693977317"/>
          <c:w val="0.31349480968858101"/>
          <c:h val="0.22261900950960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sz="1100"/>
      </a:pPr>
      <a:endParaRPr lang="da-DK"/>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v>Worst</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Base case'!$H$16:$L$16</c:f>
              <c:numCache>
                <c:formatCode>General</c:formatCode>
                <c:ptCount val="5"/>
                <c:pt idx="0">
                  <c:v>2017</c:v>
                </c:pt>
                <c:pt idx="1">
                  <c:v>2018</c:v>
                </c:pt>
                <c:pt idx="2">
                  <c:v>2019</c:v>
                </c:pt>
                <c:pt idx="3">
                  <c:v>2020</c:v>
                </c:pt>
                <c:pt idx="4">
                  <c:v>2021</c:v>
                </c:pt>
              </c:numCache>
            </c:numRef>
          </c:cat>
          <c:val>
            <c:numRef>
              <c:f>'Worst case'!$H$51</c:f>
              <c:numCache>
                <c:formatCode>General</c:formatCode>
                <c:ptCount val="1"/>
                <c:pt idx="0">
                  <c:v>22.56260536405097</c:v>
                </c:pt>
              </c:numCache>
            </c:numRef>
          </c:val>
          <c:extLst>
            <c:ext xmlns:c16="http://schemas.microsoft.com/office/drawing/2014/chart" uri="{C3380CC4-5D6E-409C-BE32-E72D297353CC}">
              <c16:uniqueId val="{00000000-6CEE-4D4B-B866-00F5BFEBAC2D}"/>
            </c:ext>
          </c:extLst>
        </c:ser>
        <c:ser>
          <c:idx val="1"/>
          <c:order val="1"/>
          <c:tx>
            <c:v>Base</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Base case'!$H$16:$L$16</c:f>
              <c:numCache>
                <c:formatCode>General</c:formatCode>
                <c:ptCount val="5"/>
                <c:pt idx="0">
                  <c:v>2017</c:v>
                </c:pt>
                <c:pt idx="1">
                  <c:v>2018</c:v>
                </c:pt>
                <c:pt idx="2">
                  <c:v>2019</c:v>
                </c:pt>
                <c:pt idx="3">
                  <c:v>2020</c:v>
                </c:pt>
                <c:pt idx="4">
                  <c:v>2021</c:v>
                </c:pt>
              </c:numCache>
            </c:numRef>
          </c:cat>
          <c:val>
            <c:numRef>
              <c:f>'Base case'!$H$50</c:f>
              <c:numCache>
                <c:formatCode>General</c:formatCode>
                <c:ptCount val="1"/>
                <c:pt idx="0">
                  <c:v>1420.9204599867601</c:v>
                </c:pt>
              </c:numCache>
            </c:numRef>
          </c:val>
          <c:extLst>
            <c:ext xmlns:c16="http://schemas.microsoft.com/office/drawing/2014/chart" uri="{C3380CC4-5D6E-409C-BE32-E72D297353CC}">
              <c16:uniqueId val="{00000001-6CEE-4D4B-B866-00F5BFEBAC2D}"/>
            </c:ext>
          </c:extLst>
        </c:ser>
        <c:ser>
          <c:idx val="2"/>
          <c:order val="2"/>
          <c:tx>
            <c:v>Best</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Base case'!$H$16:$L$16</c:f>
              <c:numCache>
                <c:formatCode>General</c:formatCode>
                <c:ptCount val="5"/>
                <c:pt idx="0">
                  <c:v>2017</c:v>
                </c:pt>
                <c:pt idx="1">
                  <c:v>2018</c:v>
                </c:pt>
                <c:pt idx="2">
                  <c:v>2019</c:v>
                </c:pt>
                <c:pt idx="3">
                  <c:v>2020</c:v>
                </c:pt>
                <c:pt idx="4">
                  <c:v>2021</c:v>
                </c:pt>
              </c:numCache>
            </c:numRef>
          </c:cat>
          <c:val>
            <c:numRef>
              <c:f>'Best case'!$H$50</c:f>
              <c:numCache>
                <c:formatCode>General</c:formatCode>
                <c:ptCount val="1"/>
                <c:pt idx="0">
                  <c:v>2085.770249394714</c:v>
                </c:pt>
              </c:numCache>
            </c:numRef>
          </c:val>
          <c:extLst>
            <c:ext xmlns:c16="http://schemas.microsoft.com/office/drawing/2014/chart" uri="{C3380CC4-5D6E-409C-BE32-E72D297353CC}">
              <c16:uniqueId val="{00000002-6CEE-4D4B-B866-00F5BFEBAC2D}"/>
            </c:ext>
          </c:extLst>
        </c:ser>
        <c:dLbls>
          <c:showLegendKey val="0"/>
          <c:showVal val="0"/>
          <c:showCatName val="0"/>
          <c:showSerName val="0"/>
          <c:showPercent val="0"/>
          <c:showBubbleSize val="0"/>
        </c:dLbls>
        <c:gapWidth val="150"/>
        <c:axId val="358487472"/>
        <c:axId val="358489952"/>
      </c:barChart>
      <c:catAx>
        <c:axId val="358487472"/>
        <c:scaling>
          <c:orientation val="minMax"/>
        </c:scaling>
        <c:delete val="0"/>
        <c:axPos val="b"/>
        <c:numFmt formatCode="General" sourceLinked="1"/>
        <c:majorTickMark val="out"/>
        <c:minorTickMark val="none"/>
        <c:tickLblPos val="nextTo"/>
        <c:crossAx val="358489952"/>
        <c:crosses val="autoZero"/>
        <c:auto val="1"/>
        <c:lblAlgn val="ctr"/>
        <c:lblOffset val="100"/>
        <c:noMultiLvlLbl val="0"/>
      </c:catAx>
      <c:valAx>
        <c:axId val="358489952"/>
        <c:scaling>
          <c:orientation val="minMax"/>
        </c:scaling>
        <c:delete val="0"/>
        <c:axPos val="l"/>
        <c:numFmt formatCode="General" sourceLinked="1"/>
        <c:majorTickMark val="out"/>
        <c:minorTickMark val="none"/>
        <c:tickLblPos val="nextTo"/>
        <c:crossAx val="358487472"/>
        <c:crosses val="autoZero"/>
        <c:crossBetween val="between"/>
      </c:valAx>
    </c:plotArea>
    <c:legend>
      <c:legendPos val="r"/>
      <c:overlay val="0"/>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v>Worst</c:v>
          </c:tx>
          <c:marker>
            <c:symbol val="none"/>
          </c:marker>
          <c:cat>
            <c:numRef>
              <c:f>'Best case'!$H$16:$M$16</c:f>
              <c:numCache>
                <c:formatCode>General</c:formatCode>
                <c:ptCount val="6"/>
                <c:pt idx="0">
                  <c:v>2017</c:v>
                </c:pt>
                <c:pt idx="1">
                  <c:v>2018</c:v>
                </c:pt>
                <c:pt idx="2">
                  <c:v>2019</c:v>
                </c:pt>
                <c:pt idx="3">
                  <c:v>2020</c:v>
                </c:pt>
                <c:pt idx="4">
                  <c:v>2021</c:v>
                </c:pt>
                <c:pt idx="5">
                  <c:v>2022</c:v>
                </c:pt>
              </c:numCache>
            </c:numRef>
          </c:cat>
          <c:val>
            <c:numRef>
              <c:f>'Worst case'!$H$46:$L$46</c:f>
              <c:numCache>
                <c:formatCode>General</c:formatCode>
                <c:ptCount val="5"/>
                <c:pt idx="0">
                  <c:v>-42.666800000000009</c:v>
                </c:pt>
                <c:pt idx="1">
                  <c:v>-27.433599999999981</c:v>
                </c:pt>
                <c:pt idx="2">
                  <c:v>-12.2004</c:v>
                </c:pt>
                <c:pt idx="3">
                  <c:v>3.032800000000015</c:v>
                </c:pt>
                <c:pt idx="4">
                  <c:v>50.906000000000027</c:v>
                </c:pt>
              </c:numCache>
            </c:numRef>
          </c:val>
          <c:smooth val="0"/>
          <c:extLst>
            <c:ext xmlns:c16="http://schemas.microsoft.com/office/drawing/2014/chart" uri="{C3380CC4-5D6E-409C-BE32-E72D297353CC}">
              <c16:uniqueId val="{00000000-5A1A-451A-AB97-9B714F04EA44}"/>
            </c:ext>
          </c:extLst>
        </c:ser>
        <c:ser>
          <c:idx val="1"/>
          <c:order val="1"/>
          <c:tx>
            <c:v>Best</c:v>
          </c:tx>
          <c:marker>
            <c:symbol val="none"/>
          </c:marker>
          <c:val>
            <c:numRef>
              <c:f>'Best case'!$H$45:$L$45</c:f>
              <c:numCache>
                <c:formatCode>General</c:formatCode>
                <c:ptCount val="5"/>
                <c:pt idx="0">
                  <c:v>-14.04208</c:v>
                </c:pt>
                <c:pt idx="1">
                  <c:v>-14.109662399999999</c:v>
                </c:pt>
                <c:pt idx="2">
                  <c:v>92.049588127999897</c:v>
                </c:pt>
                <c:pt idx="3">
                  <c:v>313.47675998383937</c:v>
                </c:pt>
                <c:pt idx="4">
                  <c:v>659.61723272171457</c:v>
                </c:pt>
              </c:numCache>
            </c:numRef>
          </c:val>
          <c:smooth val="0"/>
          <c:extLst>
            <c:ext xmlns:c16="http://schemas.microsoft.com/office/drawing/2014/chart" uri="{C3380CC4-5D6E-409C-BE32-E72D297353CC}">
              <c16:uniqueId val="{00000001-5A1A-451A-AB97-9B714F04EA44}"/>
            </c:ext>
          </c:extLst>
        </c:ser>
        <c:ser>
          <c:idx val="2"/>
          <c:order val="2"/>
          <c:tx>
            <c:v>Base</c:v>
          </c:tx>
          <c:marker>
            <c:symbol val="none"/>
          </c:marker>
          <c:val>
            <c:numRef>
              <c:f>'Base case'!$H$45:$L$45</c:f>
              <c:numCache>
                <c:formatCode>General</c:formatCode>
                <c:ptCount val="5"/>
                <c:pt idx="0">
                  <c:v>-34.991439999999997</c:v>
                </c:pt>
                <c:pt idx="1">
                  <c:v>-107.9123457</c:v>
                </c:pt>
                <c:pt idx="2">
                  <c:v>-97.223030745999949</c:v>
                </c:pt>
                <c:pt idx="3">
                  <c:v>4.7459664163700239</c:v>
                </c:pt>
                <c:pt idx="4">
                  <c:v>206.00706333615369</c:v>
                </c:pt>
              </c:numCache>
            </c:numRef>
          </c:val>
          <c:smooth val="0"/>
          <c:extLst>
            <c:ext xmlns:c16="http://schemas.microsoft.com/office/drawing/2014/chart" uri="{C3380CC4-5D6E-409C-BE32-E72D297353CC}">
              <c16:uniqueId val="{00000002-5A1A-451A-AB97-9B714F04EA44}"/>
            </c:ext>
          </c:extLst>
        </c:ser>
        <c:dLbls>
          <c:showLegendKey val="0"/>
          <c:showVal val="0"/>
          <c:showCatName val="0"/>
          <c:showSerName val="0"/>
          <c:showPercent val="0"/>
          <c:showBubbleSize val="0"/>
        </c:dLbls>
        <c:smooth val="0"/>
        <c:axId val="388203648"/>
        <c:axId val="388206128"/>
      </c:lineChart>
      <c:catAx>
        <c:axId val="388203648"/>
        <c:scaling>
          <c:orientation val="minMax"/>
        </c:scaling>
        <c:delete val="0"/>
        <c:axPos val="b"/>
        <c:numFmt formatCode="General" sourceLinked="1"/>
        <c:majorTickMark val="out"/>
        <c:minorTickMark val="none"/>
        <c:tickLblPos val="nextTo"/>
        <c:crossAx val="388206128"/>
        <c:crosses val="autoZero"/>
        <c:auto val="1"/>
        <c:lblAlgn val="ctr"/>
        <c:lblOffset val="100"/>
        <c:noMultiLvlLbl val="0"/>
      </c:catAx>
      <c:valAx>
        <c:axId val="388206128"/>
        <c:scaling>
          <c:orientation val="minMax"/>
          <c:max val="300"/>
        </c:scaling>
        <c:delete val="0"/>
        <c:axPos val="l"/>
        <c:numFmt formatCode="General" sourceLinked="1"/>
        <c:majorTickMark val="out"/>
        <c:minorTickMark val="none"/>
        <c:tickLblPos val="nextTo"/>
        <c:crossAx val="388203648"/>
        <c:crosses val="autoZero"/>
        <c:crossBetween val="between"/>
      </c:valAx>
    </c:plotArea>
    <c:legend>
      <c:legendPos val="r"/>
      <c:overlay val="0"/>
    </c:legend>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Best</c:v>
          </c:tx>
          <c:invertIfNegative val="0"/>
          <c:dLbls>
            <c:dLbl>
              <c:idx val="0"/>
              <c:layout>
                <c:manualLayout>
                  <c:x val="2.3310023310023301E-3"/>
                  <c:y val="2.4606013167123301E-2"/>
                </c:manualLayout>
              </c:layout>
              <c:tx>
                <c:rich>
                  <a:bodyPr/>
                  <a:lstStyle/>
                  <a:p>
                    <a:r>
                      <a:rPr lang="en-US" dirty="0"/>
                      <a:t>3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21A-4C89-92C4-92DD723A1537}"/>
                </c:ext>
              </c:extLst>
            </c:dLbl>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cenario</c:v>
              </c:pt>
            </c:strLit>
          </c:cat>
          <c:val>
            <c:numRef>
              <c:f>NPV!$B$18</c:f>
              <c:numCache>
                <c:formatCode>_(* #,##0.00_);_(* \(#,##0.00\);_(* "-"??_);_(@_)</c:formatCode>
                <c:ptCount val="1"/>
                <c:pt idx="0">
                  <c:v>466.34736994080657</c:v>
                </c:pt>
              </c:numCache>
            </c:numRef>
          </c:val>
          <c:extLst>
            <c:ext xmlns:c16="http://schemas.microsoft.com/office/drawing/2014/chart" uri="{C3380CC4-5D6E-409C-BE32-E72D297353CC}">
              <c16:uniqueId val="{00000001-921A-4C89-92C4-92DD723A1537}"/>
            </c:ext>
          </c:extLst>
        </c:ser>
        <c:ser>
          <c:idx val="1"/>
          <c:order val="1"/>
          <c:tx>
            <c:v>Base</c:v>
          </c:tx>
          <c:invertIfNegative val="0"/>
          <c:dLbls>
            <c:dLbl>
              <c:idx val="0"/>
              <c:tx>
                <c:rich>
                  <a:bodyPr/>
                  <a:lstStyle/>
                  <a:p>
                    <a:r>
                      <a:rPr lang="en-US"/>
                      <a:t>17</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21A-4C89-92C4-92DD723A1537}"/>
                </c:ext>
              </c:extLst>
            </c:dLbl>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cenario</c:v>
              </c:pt>
            </c:strLit>
          </c:cat>
          <c:val>
            <c:numRef>
              <c:f>NPV!$B$8</c:f>
              <c:numCache>
                <c:formatCode>_(* #,##0.00_);_(* \(#,##0.00\);_(* "-"??_);_(@_)</c:formatCode>
                <c:ptCount val="1"/>
                <c:pt idx="0">
                  <c:v>224.37328054069911</c:v>
                </c:pt>
              </c:numCache>
            </c:numRef>
          </c:val>
          <c:extLst>
            <c:ext xmlns:c16="http://schemas.microsoft.com/office/drawing/2014/chart" uri="{C3380CC4-5D6E-409C-BE32-E72D297353CC}">
              <c16:uniqueId val="{00000003-921A-4C89-92C4-92DD723A1537}"/>
            </c:ext>
          </c:extLst>
        </c:ser>
        <c:ser>
          <c:idx val="2"/>
          <c:order val="2"/>
          <c:tx>
            <c:v>Worst</c:v>
          </c:tx>
          <c:invertIfNegative val="0"/>
          <c:dLbls>
            <c:dLbl>
              <c:idx val="0"/>
              <c:tx>
                <c:rich>
                  <a:bodyPr/>
                  <a:lstStyle/>
                  <a:p>
                    <a:r>
                      <a:rPr lang="en-US"/>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1A-4C89-92C4-92DD723A1537}"/>
                </c:ext>
              </c:extLst>
            </c:dLbl>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cenario</c:v>
              </c:pt>
            </c:strLit>
          </c:cat>
          <c:val>
            <c:numRef>
              <c:f>NPV!$B$28</c:f>
              <c:numCache>
                <c:formatCode>_(* #,##0.00_);_(* \(#,##0.00\);_(* "-"??_);_(@_)</c:formatCode>
                <c:ptCount val="1"/>
                <c:pt idx="0">
                  <c:v>43.810534592530153</c:v>
                </c:pt>
              </c:numCache>
            </c:numRef>
          </c:val>
          <c:extLst>
            <c:ext xmlns:c16="http://schemas.microsoft.com/office/drawing/2014/chart" uri="{C3380CC4-5D6E-409C-BE32-E72D297353CC}">
              <c16:uniqueId val="{00000005-921A-4C89-92C4-92DD723A1537}"/>
            </c:ext>
          </c:extLst>
        </c:ser>
        <c:dLbls>
          <c:showLegendKey val="0"/>
          <c:showVal val="0"/>
          <c:showCatName val="0"/>
          <c:showSerName val="0"/>
          <c:showPercent val="0"/>
          <c:showBubbleSize val="0"/>
        </c:dLbls>
        <c:gapWidth val="150"/>
        <c:axId val="388238992"/>
        <c:axId val="388241728"/>
      </c:barChart>
      <c:catAx>
        <c:axId val="388238992"/>
        <c:scaling>
          <c:orientation val="minMax"/>
        </c:scaling>
        <c:delete val="0"/>
        <c:axPos val="b"/>
        <c:numFmt formatCode="General" sourceLinked="0"/>
        <c:majorTickMark val="out"/>
        <c:minorTickMark val="none"/>
        <c:tickLblPos val="nextTo"/>
        <c:crossAx val="388241728"/>
        <c:crosses val="autoZero"/>
        <c:auto val="1"/>
        <c:lblAlgn val="ctr"/>
        <c:lblOffset val="100"/>
        <c:noMultiLvlLbl val="0"/>
      </c:catAx>
      <c:valAx>
        <c:axId val="388241728"/>
        <c:scaling>
          <c:orientation val="minMax"/>
        </c:scaling>
        <c:delete val="1"/>
        <c:axPos val="l"/>
        <c:majorGridlines/>
        <c:numFmt formatCode="_(* #,##0.00_);_(* \(#,##0.00\);_(* &quot;-&quot;??_);_(@_)" sourceLinked="1"/>
        <c:majorTickMark val="out"/>
        <c:minorTickMark val="none"/>
        <c:tickLblPos val="nextTo"/>
        <c:crossAx val="388238992"/>
        <c:crosses val="autoZero"/>
        <c:crossBetween val="between"/>
      </c:valAx>
    </c:plotArea>
    <c:legend>
      <c:legendPos val="r"/>
      <c:overlay val="0"/>
    </c:legend>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1"/>
          <c:tx>
            <c:strRef>
              <c:f>Sheet1!$G$36</c:f>
              <c:strCache>
                <c:ptCount val="1"/>
                <c:pt idx="0">
                  <c:v>Workers</c:v>
                </c:pt>
              </c:strCache>
            </c:strRef>
          </c:tx>
          <c:invertIfNegative val="0"/>
          <c:cat>
            <c:numRef>
              <c:f>Sheet1!$H$34:$J$34</c:f>
              <c:numCache>
                <c:formatCode>General</c:formatCode>
                <c:ptCount val="3"/>
                <c:pt idx="0">
                  <c:v>2017</c:v>
                </c:pt>
                <c:pt idx="1">
                  <c:v>2018</c:v>
                </c:pt>
                <c:pt idx="2">
                  <c:v>2019</c:v>
                </c:pt>
              </c:numCache>
            </c:numRef>
          </c:cat>
          <c:val>
            <c:numRef>
              <c:f>Sheet1!$H$36:$J$36</c:f>
              <c:numCache>
                <c:formatCode>General</c:formatCode>
                <c:ptCount val="3"/>
                <c:pt idx="0">
                  <c:v>75</c:v>
                </c:pt>
                <c:pt idx="1">
                  <c:v>150</c:v>
                </c:pt>
                <c:pt idx="2">
                  <c:v>220</c:v>
                </c:pt>
              </c:numCache>
            </c:numRef>
          </c:val>
          <c:extLst>
            <c:ext xmlns:c16="http://schemas.microsoft.com/office/drawing/2014/chart" uri="{C3380CC4-5D6E-409C-BE32-E72D297353CC}">
              <c16:uniqueId val="{00000000-7AF4-4BC0-95FC-FD2246778C2D}"/>
            </c:ext>
          </c:extLst>
        </c:ser>
        <c:dLbls>
          <c:showLegendKey val="0"/>
          <c:showVal val="0"/>
          <c:showCatName val="0"/>
          <c:showSerName val="0"/>
          <c:showPercent val="0"/>
          <c:showBubbleSize val="0"/>
        </c:dLbls>
        <c:gapWidth val="150"/>
        <c:axId val="387502224"/>
        <c:axId val="387504704"/>
      </c:barChart>
      <c:barChart>
        <c:barDir val="col"/>
        <c:grouping val="clustered"/>
        <c:varyColors val="0"/>
        <c:ser>
          <c:idx val="0"/>
          <c:order val="0"/>
          <c:tx>
            <c:strRef>
              <c:f>Sheet1!$G$35</c:f>
              <c:strCache>
                <c:ptCount val="1"/>
                <c:pt idx="0">
                  <c:v>Wage payed</c:v>
                </c:pt>
              </c:strCache>
            </c:strRef>
          </c:tx>
          <c:spPr>
            <a:solidFill>
              <a:schemeClr val="accent1"/>
            </a:solidFill>
          </c:spPr>
          <c:invertIfNegative val="0"/>
          <c:dLbls>
            <c:numFmt formatCode="&quot;kr.&quot;\ #,##0" sourceLinked="0"/>
            <c:spPr>
              <a:noFill/>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H$34:$J$34</c:f>
              <c:numCache>
                <c:formatCode>General</c:formatCode>
                <c:ptCount val="3"/>
                <c:pt idx="0">
                  <c:v>2017</c:v>
                </c:pt>
                <c:pt idx="1">
                  <c:v>2018</c:v>
                </c:pt>
                <c:pt idx="2">
                  <c:v>2019</c:v>
                </c:pt>
              </c:numCache>
            </c:numRef>
          </c:cat>
          <c:val>
            <c:numRef>
              <c:f>Sheet1!$H$35:$J$35</c:f>
              <c:numCache>
                <c:formatCode>General</c:formatCode>
                <c:ptCount val="3"/>
                <c:pt idx="0">
                  <c:v>1125000</c:v>
                </c:pt>
                <c:pt idx="1">
                  <c:v>4500000</c:v>
                </c:pt>
                <c:pt idx="2">
                  <c:v>6600000</c:v>
                </c:pt>
              </c:numCache>
            </c:numRef>
          </c:val>
          <c:extLst>
            <c:ext xmlns:c16="http://schemas.microsoft.com/office/drawing/2014/chart" uri="{C3380CC4-5D6E-409C-BE32-E72D297353CC}">
              <c16:uniqueId val="{00000001-7AF4-4BC0-95FC-FD2246778C2D}"/>
            </c:ext>
          </c:extLst>
        </c:ser>
        <c:dLbls>
          <c:showLegendKey val="0"/>
          <c:showVal val="0"/>
          <c:showCatName val="0"/>
          <c:showSerName val="0"/>
          <c:showPercent val="0"/>
          <c:showBubbleSize val="0"/>
        </c:dLbls>
        <c:gapWidth val="150"/>
        <c:axId val="387510176"/>
        <c:axId val="387507696"/>
      </c:barChart>
      <c:catAx>
        <c:axId val="387502224"/>
        <c:scaling>
          <c:orientation val="minMax"/>
        </c:scaling>
        <c:delete val="0"/>
        <c:axPos val="b"/>
        <c:numFmt formatCode="General" sourceLinked="1"/>
        <c:majorTickMark val="out"/>
        <c:minorTickMark val="none"/>
        <c:tickLblPos val="nextTo"/>
        <c:crossAx val="387504704"/>
        <c:crosses val="autoZero"/>
        <c:auto val="1"/>
        <c:lblAlgn val="ctr"/>
        <c:lblOffset val="100"/>
        <c:noMultiLvlLbl val="0"/>
      </c:catAx>
      <c:valAx>
        <c:axId val="387504704"/>
        <c:scaling>
          <c:orientation val="minMax"/>
        </c:scaling>
        <c:delete val="1"/>
        <c:axPos val="l"/>
        <c:majorGridlines>
          <c:spPr>
            <a:ln>
              <a:noFill/>
            </a:ln>
          </c:spPr>
        </c:majorGridlines>
        <c:numFmt formatCode="General" sourceLinked="1"/>
        <c:majorTickMark val="out"/>
        <c:minorTickMark val="none"/>
        <c:tickLblPos val="nextTo"/>
        <c:crossAx val="387502224"/>
        <c:crosses val="autoZero"/>
        <c:crossBetween val="between"/>
      </c:valAx>
      <c:valAx>
        <c:axId val="387507696"/>
        <c:scaling>
          <c:orientation val="minMax"/>
        </c:scaling>
        <c:delete val="1"/>
        <c:axPos val="r"/>
        <c:numFmt formatCode="General" sourceLinked="1"/>
        <c:majorTickMark val="out"/>
        <c:minorTickMark val="none"/>
        <c:tickLblPos val="nextTo"/>
        <c:crossAx val="387510176"/>
        <c:crosses val="max"/>
        <c:crossBetween val="between"/>
      </c:valAx>
      <c:catAx>
        <c:axId val="387510176"/>
        <c:scaling>
          <c:orientation val="minMax"/>
        </c:scaling>
        <c:delete val="1"/>
        <c:axPos val="b"/>
        <c:numFmt formatCode="General" sourceLinked="1"/>
        <c:majorTickMark val="out"/>
        <c:minorTickMark val="none"/>
        <c:tickLblPos val="nextTo"/>
        <c:crossAx val="387507696"/>
        <c:crosses val="autoZero"/>
        <c:auto val="1"/>
        <c:lblAlgn val="ctr"/>
        <c:lblOffset val="100"/>
        <c:noMultiLvlLbl val="0"/>
      </c:catAx>
    </c:plotArea>
    <c:plotVisOnly val="1"/>
    <c:dispBlanksAs val="gap"/>
    <c:showDLblsOverMax val="0"/>
  </c:chart>
  <c:spPr>
    <a:noFill/>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GDP per capita (U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trendline>
            <c:spPr>
              <a:ln w="19050" cap="rnd">
                <a:solidFill>
                  <a:schemeClr val="accent1"/>
                </a:solidFill>
                <a:prstDash val="sysDot"/>
              </a:ln>
              <a:effectLst/>
            </c:spPr>
            <c:trendlineType val="linear"/>
            <c:dispRSqr val="0"/>
            <c:dispEq val="0"/>
          </c:trendline>
          <c:cat>
            <c:numRef>
              <c:f>Sheet1!$A$2:$A$7</c:f>
              <c:numCache>
                <c:formatCode>General</c:formatCode>
                <c:ptCount val="6"/>
                <c:pt idx="0">
                  <c:v>2000</c:v>
                </c:pt>
                <c:pt idx="1">
                  <c:v>2005</c:v>
                </c:pt>
                <c:pt idx="2">
                  <c:v>2010</c:v>
                </c:pt>
                <c:pt idx="3">
                  <c:v>2015</c:v>
                </c:pt>
                <c:pt idx="4">
                  <c:v>2020</c:v>
                </c:pt>
                <c:pt idx="5">
                  <c:v>2022</c:v>
                </c:pt>
              </c:numCache>
            </c:numRef>
          </c:cat>
          <c:val>
            <c:numRef>
              <c:f>Sheet1!$B$2:$B$7</c:f>
              <c:numCache>
                <c:formatCode>General</c:formatCode>
                <c:ptCount val="6"/>
                <c:pt idx="0">
                  <c:v>3514</c:v>
                </c:pt>
                <c:pt idx="1">
                  <c:v>4804</c:v>
                </c:pt>
                <c:pt idx="2">
                  <c:v>7046</c:v>
                </c:pt>
                <c:pt idx="3">
                  <c:v>9329</c:v>
                </c:pt>
                <c:pt idx="4">
                  <c:v>12273</c:v>
                </c:pt>
                <c:pt idx="5">
                  <c:v>13605</c:v>
                </c:pt>
              </c:numCache>
            </c:numRef>
          </c:val>
          <c:extLst>
            <c:ext xmlns:c16="http://schemas.microsoft.com/office/drawing/2014/chart" uri="{C3380CC4-5D6E-409C-BE32-E72D297353CC}">
              <c16:uniqueId val="{00000000-76B7-A742-A7B7-CFE52A1E1EF6}"/>
            </c:ext>
          </c:extLst>
        </c:ser>
        <c:dLbls>
          <c:showLegendKey val="0"/>
          <c:showVal val="0"/>
          <c:showCatName val="0"/>
          <c:showSerName val="0"/>
          <c:showPercent val="0"/>
          <c:showBubbleSize val="0"/>
        </c:dLbls>
        <c:gapWidth val="150"/>
        <c:axId val="358637328"/>
        <c:axId val="358639648"/>
      </c:barChart>
      <c:catAx>
        <c:axId val="35863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crossAx val="358639648"/>
        <c:crosses val="autoZero"/>
        <c:auto val="1"/>
        <c:lblAlgn val="ctr"/>
        <c:lblOffset val="100"/>
        <c:noMultiLvlLbl val="0"/>
      </c:catAx>
      <c:valAx>
        <c:axId val="358639648"/>
        <c:scaling>
          <c:orientation val="minMax"/>
          <c:max val="14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crossAx val="3586373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dirty="0"/>
              <a:t>Household savings to consumption ratio</a:t>
            </a:r>
          </a:p>
        </c:rich>
      </c:tx>
      <c:layout>
        <c:manualLayout>
          <c:xMode val="edge"/>
          <c:yMode val="edge"/>
          <c:x val="9.6362351047872899E-2"/>
          <c:y val="4.282480346674839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bar"/>
        <c:grouping val="clustered"/>
        <c:varyColors val="0"/>
        <c:ser>
          <c:idx val="0"/>
          <c:order val="0"/>
          <c:tx>
            <c:strRef>
              <c:f>Sheet1!$B$1</c:f>
              <c:strCache>
                <c:ptCount val="1"/>
                <c:pt idx="0">
                  <c:v>DBS core marke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vings rate</c:v>
                </c:pt>
              </c:strCache>
            </c:strRef>
          </c:cat>
          <c:val>
            <c:numRef>
              <c:f>Sheet1!$B$2</c:f>
              <c:numCache>
                <c:formatCode>0%</c:formatCode>
                <c:ptCount val="1"/>
                <c:pt idx="0">
                  <c:v>0.31609999999999999</c:v>
                </c:pt>
              </c:numCache>
            </c:numRef>
          </c:val>
          <c:extLst>
            <c:ext xmlns:c16="http://schemas.microsoft.com/office/drawing/2014/chart" uri="{C3380CC4-5D6E-409C-BE32-E72D297353CC}">
              <c16:uniqueId val="{00000000-09C2-B948-8754-7D42084E6904}"/>
            </c:ext>
          </c:extLst>
        </c:ser>
        <c:ser>
          <c:idx val="1"/>
          <c:order val="1"/>
          <c:tx>
            <c:strRef>
              <c:f>Sheet1!$C$1</c:f>
              <c:strCache>
                <c:ptCount val="1"/>
                <c:pt idx="0">
                  <c:v>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vings rate</c:v>
                </c:pt>
              </c:strCache>
            </c:strRef>
          </c:cat>
          <c:val>
            <c:numRef>
              <c:f>Sheet1!$C$2</c:f>
              <c:numCache>
                <c:formatCode>0%</c:formatCode>
                <c:ptCount val="1"/>
                <c:pt idx="0">
                  <c:v>6.2899999999999998E-2</c:v>
                </c:pt>
              </c:numCache>
            </c:numRef>
          </c:val>
          <c:extLst>
            <c:ext xmlns:c16="http://schemas.microsoft.com/office/drawing/2014/chart" uri="{C3380CC4-5D6E-409C-BE32-E72D297353CC}">
              <c16:uniqueId val="{00000004-09C2-B948-8754-7D42084E6904}"/>
            </c:ext>
          </c:extLst>
        </c:ser>
        <c:ser>
          <c:idx val="2"/>
          <c:order val="2"/>
          <c:tx>
            <c:strRef>
              <c:f>Sheet1!$D$1</c:f>
              <c:strCache>
                <c:ptCount val="1"/>
                <c:pt idx="0">
                  <c:v>EU</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vings rate</c:v>
                </c:pt>
              </c:strCache>
            </c:strRef>
          </c:cat>
          <c:val>
            <c:numRef>
              <c:f>Sheet1!$D$2</c:f>
              <c:numCache>
                <c:formatCode>0%</c:formatCode>
                <c:ptCount val="1"/>
                <c:pt idx="0">
                  <c:v>5.1900000000000002E-2</c:v>
                </c:pt>
              </c:numCache>
            </c:numRef>
          </c:val>
          <c:extLst>
            <c:ext xmlns:c16="http://schemas.microsoft.com/office/drawing/2014/chart" uri="{C3380CC4-5D6E-409C-BE32-E72D297353CC}">
              <c16:uniqueId val="{00000005-09C2-B948-8754-7D42084E6904}"/>
            </c:ext>
          </c:extLst>
        </c:ser>
        <c:dLbls>
          <c:showLegendKey val="0"/>
          <c:showVal val="1"/>
          <c:showCatName val="0"/>
          <c:showSerName val="0"/>
          <c:showPercent val="0"/>
          <c:showBubbleSize val="0"/>
        </c:dLbls>
        <c:gapWidth val="75"/>
        <c:axId val="353327136"/>
        <c:axId val="353193152"/>
      </c:barChart>
      <c:catAx>
        <c:axId val="353327136"/>
        <c:scaling>
          <c:orientation val="minMax"/>
        </c:scaling>
        <c:delete val="1"/>
        <c:axPos val="l"/>
        <c:numFmt formatCode="General" sourceLinked="1"/>
        <c:majorTickMark val="none"/>
        <c:minorTickMark val="none"/>
        <c:tickLblPos val="nextTo"/>
        <c:crossAx val="353193152"/>
        <c:crosses val="autoZero"/>
        <c:auto val="1"/>
        <c:lblAlgn val="ctr"/>
        <c:lblOffset val="100"/>
        <c:noMultiLvlLbl val="0"/>
      </c:catAx>
      <c:valAx>
        <c:axId val="353193152"/>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crossAx val="353327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990424098758799"/>
          <c:y val="4.3185559575575197E-2"/>
          <c:w val="0.48513338157267699"/>
          <c:h val="0.82996229836930602"/>
        </c:manualLayout>
      </c:layout>
      <c:lineChart>
        <c:grouping val="standard"/>
        <c:varyColors val="0"/>
        <c:ser>
          <c:idx val="0"/>
          <c:order val="0"/>
          <c:tx>
            <c:v>Best</c:v>
          </c:tx>
          <c:marker>
            <c:symbol val="none"/>
          </c:marker>
          <c:cat>
            <c:numRef>
              <c:f>NPV!$N$24:$U$24</c:f>
              <c:numCache>
                <c:formatCode>General</c:formatCode>
                <c:ptCount val="8"/>
                <c:pt idx="0">
                  <c:v>2016</c:v>
                </c:pt>
                <c:pt idx="1">
                  <c:v>2017</c:v>
                </c:pt>
                <c:pt idx="2">
                  <c:v>2018</c:v>
                </c:pt>
                <c:pt idx="3">
                  <c:v>2019</c:v>
                </c:pt>
                <c:pt idx="4">
                  <c:v>2020</c:v>
                </c:pt>
                <c:pt idx="5">
                  <c:v>2021</c:v>
                </c:pt>
                <c:pt idx="6">
                  <c:v>2022</c:v>
                </c:pt>
                <c:pt idx="7">
                  <c:v>2023</c:v>
                </c:pt>
              </c:numCache>
            </c:numRef>
          </c:cat>
          <c:val>
            <c:numRef>
              <c:f>NPV!$N$16:$U$16</c:f>
              <c:numCache>
                <c:formatCode>_(* #,##0.00_);_(* \(#,##0.00\);_(* "-"??_);_(@_)</c:formatCode>
                <c:ptCount val="8"/>
                <c:pt idx="0">
                  <c:v>-79.95</c:v>
                </c:pt>
                <c:pt idx="1">
                  <c:v>-86.777250000000024</c:v>
                </c:pt>
                <c:pt idx="2">
                  <c:v>-61.733698276164652</c:v>
                </c:pt>
                <c:pt idx="3">
                  <c:v>-2.0795337798352742</c:v>
                </c:pt>
                <c:pt idx="4">
                  <c:v>96.672427398346741</c:v>
                </c:pt>
                <c:pt idx="5">
                  <c:v>201.484172922206</c:v>
                </c:pt>
                <c:pt idx="6">
                  <c:v>312.41630063519813</c:v>
                </c:pt>
                <c:pt idx="7">
                  <c:v>429.53001435921522</c:v>
                </c:pt>
              </c:numCache>
            </c:numRef>
          </c:val>
          <c:smooth val="0"/>
          <c:extLst>
            <c:ext xmlns:c16="http://schemas.microsoft.com/office/drawing/2014/chart" uri="{C3380CC4-5D6E-409C-BE32-E72D297353CC}">
              <c16:uniqueId val="{00000000-EE49-BC4A-81FA-0C63FED52225}"/>
            </c:ext>
          </c:extLst>
        </c:ser>
        <c:ser>
          <c:idx val="1"/>
          <c:order val="1"/>
          <c:tx>
            <c:v>Base</c:v>
          </c:tx>
          <c:marker>
            <c:symbol val="none"/>
          </c:marker>
          <c:val>
            <c:numRef>
              <c:f>NPV!$N$6:$U$6</c:f>
              <c:numCache>
                <c:formatCode>_(* #,##0.00_);_(* \(#,##0.00\);_(* "-"??_);_(@_)</c:formatCode>
                <c:ptCount val="8"/>
                <c:pt idx="0">
                  <c:v>-99.35</c:v>
                </c:pt>
                <c:pt idx="1">
                  <c:v>-105.57725000000001</c:v>
                </c:pt>
                <c:pt idx="2">
                  <c:v>-90.357475442442961</c:v>
                </c:pt>
                <c:pt idx="3">
                  <c:v>-54.267099981770301</c:v>
                </c:pt>
                <c:pt idx="4">
                  <c:v>0.19474780873578401</c:v>
                </c:pt>
                <c:pt idx="5">
                  <c:v>60.119224841752803</c:v>
                </c:pt>
                <c:pt idx="6">
                  <c:v>125.56095740970579</c:v>
                </c:pt>
                <c:pt idx="7">
                  <c:v>196.5751180679442</c:v>
                </c:pt>
              </c:numCache>
            </c:numRef>
          </c:val>
          <c:smooth val="0"/>
          <c:extLst>
            <c:ext xmlns:c16="http://schemas.microsoft.com/office/drawing/2014/chart" uri="{C3380CC4-5D6E-409C-BE32-E72D297353CC}">
              <c16:uniqueId val="{00000001-EE49-BC4A-81FA-0C63FED52225}"/>
            </c:ext>
          </c:extLst>
        </c:ser>
        <c:ser>
          <c:idx val="2"/>
          <c:order val="2"/>
          <c:tx>
            <c:v>Worst</c:v>
          </c:tx>
          <c:marker>
            <c:symbol val="none"/>
          </c:marker>
          <c:val>
            <c:numRef>
              <c:f>NPV!$N$26:$U$26</c:f>
              <c:numCache>
                <c:formatCode>_(* #,##0.00_);_(* \(#,##0.00\);_(* "-"??_);_(@_)</c:formatCode>
                <c:ptCount val="8"/>
                <c:pt idx="0">
                  <c:v>-119.95</c:v>
                </c:pt>
                <c:pt idx="1">
                  <c:v>-126.77725</c:v>
                </c:pt>
                <c:pt idx="2">
                  <c:v>-122.5812526087216</c:v>
                </c:pt>
                <c:pt idx="3">
                  <c:v>-107.01556714201639</c:v>
                </c:pt>
                <c:pt idx="4">
                  <c:v>-83.122659116394516</c:v>
                </c:pt>
                <c:pt idx="5">
                  <c:v>-54.124860746070411</c:v>
                </c:pt>
                <c:pt idx="6">
                  <c:v>-19.971123127595479</c:v>
                </c:pt>
                <c:pt idx="7">
                  <c:v>19.39011313151136</c:v>
                </c:pt>
              </c:numCache>
            </c:numRef>
          </c:val>
          <c:smooth val="0"/>
          <c:extLst>
            <c:ext xmlns:c16="http://schemas.microsoft.com/office/drawing/2014/chart" uri="{C3380CC4-5D6E-409C-BE32-E72D297353CC}">
              <c16:uniqueId val="{00000002-EE49-BC4A-81FA-0C63FED52225}"/>
            </c:ext>
          </c:extLst>
        </c:ser>
        <c:dLbls>
          <c:showLegendKey val="0"/>
          <c:showVal val="0"/>
          <c:showCatName val="0"/>
          <c:showSerName val="0"/>
          <c:showPercent val="0"/>
          <c:showBubbleSize val="0"/>
        </c:dLbls>
        <c:smooth val="0"/>
        <c:axId val="360657136"/>
        <c:axId val="360659888"/>
      </c:lineChart>
      <c:catAx>
        <c:axId val="360657136"/>
        <c:scaling>
          <c:orientation val="minMax"/>
        </c:scaling>
        <c:delete val="0"/>
        <c:axPos val="b"/>
        <c:numFmt formatCode="General" sourceLinked="1"/>
        <c:majorTickMark val="out"/>
        <c:minorTickMark val="none"/>
        <c:tickLblPos val="nextTo"/>
        <c:crossAx val="360659888"/>
        <c:crosses val="autoZero"/>
        <c:auto val="1"/>
        <c:lblAlgn val="ctr"/>
        <c:lblOffset val="100"/>
        <c:noMultiLvlLbl val="0"/>
      </c:catAx>
      <c:valAx>
        <c:axId val="360659888"/>
        <c:scaling>
          <c:orientation val="minMax"/>
          <c:min val="-150"/>
        </c:scaling>
        <c:delete val="1"/>
        <c:axPos val="l"/>
        <c:majorGridlines/>
        <c:title>
          <c:tx>
            <c:rich>
              <a:bodyPr rot="-5400000" vert="horz"/>
              <a:lstStyle/>
              <a:p>
                <a:pPr>
                  <a:defRPr/>
                </a:pPr>
                <a:r>
                  <a:rPr lang="en-US" dirty="0"/>
                  <a:t>Cash flow</a:t>
                </a:r>
              </a:p>
            </c:rich>
          </c:tx>
          <c:overlay val="0"/>
        </c:title>
        <c:numFmt formatCode="_(* #,##0.00_);_(* \(#,##0.00\);_(* &quot;-&quot;??_);_(@_)" sourceLinked="1"/>
        <c:majorTickMark val="out"/>
        <c:minorTickMark val="none"/>
        <c:tickLblPos val="nextTo"/>
        <c:crossAx val="360657136"/>
        <c:crosses val="autoZero"/>
        <c:crossBetween val="between"/>
      </c:valAx>
    </c:plotArea>
    <c:legend>
      <c:legendPos val="r"/>
      <c:layout>
        <c:manualLayout>
          <c:xMode val="edge"/>
          <c:yMode val="edge"/>
          <c:x val="0.67833507335063803"/>
          <c:y val="0.19599464547718701"/>
          <c:w val="0.128011085056491"/>
          <c:h val="0.45007907655020901"/>
        </c:manualLayout>
      </c:layout>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Best</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cenario</c:v>
              </c:pt>
            </c:strLit>
          </c:cat>
          <c:val>
            <c:numRef>
              <c:f>NPV!$B$18</c:f>
              <c:numCache>
                <c:formatCode>_(* #,##0.00_);_(* \(#,##0.00\);_(* "-"??_);_(@_)</c:formatCode>
                <c:ptCount val="1"/>
                <c:pt idx="0">
                  <c:v>466.34736994080657</c:v>
                </c:pt>
              </c:numCache>
            </c:numRef>
          </c:val>
          <c:extLst>
            <c:ext xmlns:c16="http://schemas.microsoft.com/office/drawing/2014/chart" uri="{C3380CC4-5D6E-409C-BE32-E72D297353CC}">
              <c16:uniqueId val="{00000000-7254-0E4D-927F-9BFE29925D36}"/>
            </c:ext>
          </c:extLst>
        </c:ser>
        <c:ser>
          <c:idx val="1"/>
          <c:order val="1"/>
          <c:tx>
            <c:v>Base</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cenario</c:v>
              </c:pt>
            </c:strLit>
          </c:cat>
          <c:val>
            <c:numRef>
              <c:f>NPV!$B$8</c:f>
              <c:numCache>
                <c:formatCode>_(* #,##0.00_);_(* \(#,##0.00\);_(* "-"??_);_(@_)</c:formatCode>
                <c:ptCount val="1"/>
                <c:pt idx="0">
                  <c:v>224.37328054069911</c:v>
                </c:pt>
              </c:numCache>
            </c:numRef>
          </c:val>
          <c:extLst>
            <c:ext xmlns:c16="http://schemas.microsoft.com/office/drawing/2014/chart" uri="{C3380CC4-5D6E-409C-BE32-E72D297353CC}">
              <c16:uniqueId val="{00000001-7254-0E4D-927F-9BFE29925D36}"/>
            </c:ext>
          </c:extLst>
        </c:ser>
        <c:ser>
          <c:idx val="2"/>
          <c:order val="2"/>
          <c:tx>
            <c:v>Worst</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cenario</c:v>
              </c:pt>
            </c:strLit>
          </c:cat>
          <c:val>
            <c:numRef>
              <c:f>NPV!$B$28</c:f>
              <c:numCache>
                <c:formatCode>_(* #,##0.00_);_(* \(#,##0.00\);_(* "-"??_);_(@_)</c:formatCode>
                <c:ptCount val="1"/>
                <c:pt idx="0">
                  <c:v>43.810534592530153</c:v>
                </c:pt>
              </c:numCache>
            </c:numRef>
          </c:val>
          <c:extLst>
            <c:ext xmlns:c16="http://schemas.microsoft.com/office/drawing/2014/chart" uri="{C3380CC4-5D6E-409C-BE32-E72D297353CC}">
              <c16:uniqueId val="{00000002-7254-0E4D-927F-9BFE29925D36}"/>
            </c:ext>
          </c:extLst>
        </c:ser>
        <c:dLbls>
          <c:showLegendKey val="0"/>
          <c:showVal val="0"/>
          <c:showCatName val="0"/>
          <c:showSerName val="0"/>
          <c:showPercent val="0"/>
          <c:showBubbleSize val="0"/>
        </c:dLbls>
        <c:gapWidth val="150"/>
        <c:axId val="386732576"/>
        <c:axId val="386729632"/>
      </c:barChart>
      <c:catAx>
        <c:axId val="386732576"/>
        <c:scaling>
          <c:orientation val="minMax"/>
        </c:scaling>
        <c:delete val="0"/>
        <c:axPos val="b"/>
        <c:numFmt formatCode="General" sourceLinked="0"/>
        <c:majorTickMark val="out"/>
        <c:minorTickMark val="none"/>
        <c:tickLblPos val="nextTo"/>
        <c:crossAx val="386729632"/>
        <c:crosses val="autoZero"/>
        <c:auto val="1"/>
        <c:lblAlgn val="ctr"/>
        <c:lblOffset val="100"/>
        <c:noMultiLvlLbl val="0"/>
      </c:catAx>
      <c:valAx>
        <c:axId val="386729632"/>
        <c:scaling>
          <c:orientation val="minMax"/>
        </c:scaling>
        <c:delete val="0"/>
        <c:axPos val="l"/>
        <c:majorGridlines/>
        <c:numFmt formatCode="_(* #,##0.00_);_(* \(#,##0.00\);_(* &quot;-&quot;??_);_(@_)" sourceLinked="1"/>
        <c:majorTickMark val="out"/>
        <c:minorTickMark val="none"/>
        <c:tickLblPos val="nextTo"/>
        <c:crossAx val="386732576"/>
        <c:crosses val="autoZero"/>
        <c:crossBetween val="between"/>
      </c:valAx>
    </c:plotArea>
    <c:legend>
      <c:legendPos val="r"/>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19491800312601"/>
          <c:y val="3.0765041804120201E-2"/>
          <c:w val="0.62732979189860105"/>
          <c:h val="0.93231690803093503"/>
        </c:manualLayout>
      </c:layout>
      <c:doughnutChart>
        <c:varyColors val="1"/>
        <c:ser>
          <c:idx val="0"/>
          <c:order val="0"/>
          <c:tx>
            <c:strRef>
              <c:f>Sheet1!$B$1</c:f>
              <c:strCache>
                <c:ptCount val="1"/>
                <c:pt idx="0">
                  <c:v>Sales</c:v>
                </c:pt>
              </c:strCache>
            </c:strRef>
          </c:tx>
          <c:spPr>
            <a:ln w="60325">
              <a:solidFill>
                <a:srgbClr val="F2F2F2"/>
              </a:solidFill>
            </a:ln>
          </c:spPr>
          <c:dPt>
            <c:idx val="0"/>
            <c:bubble3D val="0"/>
            <c:spPr>
              <a:solidFill>
                <a:schemeClr val="tx1">
                  <a:lumMod val="65000"/>
                  <a:lumOff val="35000"/>
                </a:schemeClr>
              </a:solidFill>
              <a:ln w="22225">
                <a:solidFill>
                  <a:schemeClr val="bg1"/>
                </a:solidFill>
              </a:ln>
              <a:effectLst/>
            </c:spPr>
            <c:extLst>
              <c:ext xmlns:c16="http://schemas.microsoft.com/office/drawing/2014/chart" uri="{C3380CC4-5D6E-409C-BE32-E72D297353CC}">
                <c16:uniqueId val="{00000001-757F-4181-8401-04651B7578DE}"/>
              </c:ext>
            </c:extLst>
          </c:dPt>
          <c:dPt>
            <c:idx val="1"/>
            <c:bubble3D val="0"/>
            <c:explosion val="8"/>
            <c:spPr>
              <a:solidFill>
                <a:srgbClr val="0C395C"/>
              </a:solidFill>
              <a:ln w="0">
                <a:solidFill>
                  <a:srgbClr val="F2F2F2"/>
                </a:solidFill>
              </a:ln>
              <a:effectLst/>
            </c:spPr>
            <c:extLst>
              <c:ext xmlns:c16="http://schemas.microsoft.com/office/drawing/2014/chart" uri="{C3380CC4-5D6E-409C-BE32-E72D297353CC}">
                <c16:uniqueId val="{00000003-757F-4181-8401-04651B7578DE}"/>
              </c:ext>
            </c:extLst>
          </c:dPt>
          <c:dPt>
            <c:idx val="2"/>
            <c:bubble3D val="0"/>
            <c:spPr>
              <a:solidFill>
                <a:schemeClr val="accent3"/>
              </a:solidFill>
              <a:ln w="60325">
                <a:solidFill>
                  <a:srgbClr val="F2F2F2"/>
                </a:solidFill>
              </a:ln>
              <a:effectLst/>
            </c:spPr>
            <c:extLst>
              <c:ext xmlns:c16="http://schemas.microsoft.com/office/drawing/2014/chart" uri="{C3380CC4-5D6E-409C-BE32-E72D297353CC}">
                <c16:uniqueId val="{00000005-757F-4181-8401-04651B7578DE}"/>
              </c:ext>
            </c:extLst>
          </c:dPt>
          <c:dPt>
            <c:idx val="3"/>
            <c:bubble3D val="0"/>
            <c:spPr>
              <a:solidFill>
                <a:schemeClr val="accent4"/>
              </a:solidFill>
              <a:ln w="60325">
                <a:solidFill>
                  <a:srgbClr val="F2F2F2"/>
                </a:solidFill>
              </a:ln>
              <a:effectLst/>
            </c:spPr>
            <c:extLst>
              <c:ext xmlns:c16="http://schemas.microsoft.com/office/drawing/2014/chart" uri="{C3380CC4-5D6E-409C-BE32-E72D297353CC}">
                <c16:uniqueId val="{00000007-757F-4181-8401-04651B7578DE}"/>
              </c:ext>
            </c:extLst>
          </c:dPt>
          <c:dLbls>
            <c:dLbl>
              <c:idx val="0"/>
              <c:delete val="1"/>
              <c:extLst>
                <c:ext xmlns:c15="http://schemas.microsoft.com/office/drawing/2012/chart" uri="{CE6537A1-D6FC-4f65-9D91-7224C49458BB}"/>
                <c:ext xmlns:c16="http://schemas.microsoft.com/office/drawing/2014/chart" uri="{C3380CC4-5D6E-409C-BE32-E72D297353CC}">
                  <c16:uniqueId val="{00000001-757F-4181-8401-04651B7578DE}"/>
                </c:ext>
              </c:extLst>
            </c:dLbl>
            <c:dLbl>
              <c:idx val="1"/>
              <c:delete val="1"/>
              <c:extLst>
                <c:ext xmlns:c15="http://schemas.microsoft.com/office/drawing/2012/chart" uri="{CE6537A1-D6FC-4f65-9D91-7224C49458BB}"/>
                <c:ext xmlns:c16="http://schemas.microsoft.com/office/drawing/2014/chart" uri="{C3380CC4-5D6E-409C-BE32-E72D297353CC}">
                  <c16:uniqueId val="{00000003-757F-4181-8401-04651B7578DE}"/>
                </c:ext>
              </c:extLst>
            </c:dLbl>
            <c:spPr>
              <a:noFill/>
              <a:ln w="9525">
                <a:solidFill>
                  <a:schemeClr val="tx1">
                    <a:lumMod val="50000"/>
                    <a:lumOff val="50000"/>
                  </a:schemeClr>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1st Qtr</c:v>
                </c:pt>
                <c:pt idx="1">
                  <c:v>2nd Qtr</c:v>
                </c:pt>
              </c:strCache>
            </c:strRef>
          </c:cat>
          <c:val>
            <c:numRef>
              <c:f>Sheet1!$B$2:$B$5</c:f>
              <c:numCache>
                <c:formatCode>General</c:formatCode>
                <c:ptCount val="4"/>
                <c:pt idx="0">
                  <c:v>95</c:v>
                </c:pt>
                <c:pt idx="1">
                  <c:v>5</c:v>
                </c:pt>
              </c:numCache>
            </c:numRef>
          </c:val>
          <c:extLst>
            <c:ext xmlns:c16="http://schemas.microsoft.com/office/drawing/2014/chart" uri="{C3380CC4-5D6E-409C-BE32-E72D297353CC}">
              <c16:uniqueId val="{00000008-757F-4181-8401-04651B7578DE}"/>
            </c:ext>
          </c:extLst>
        </c:ser>
        <c:dLbls>
          <c:showLegendKey val="0"/>
          <c:showVal val="0"/>
          <c:showCatName val="0"/>
          <c:showSerName val="0"/>
          <c:showPercent val="1"/>
          <c:showBubbleSize val="0"/>
          <c:showLeaderLines val="1"/>
        </c:dLbls>
        <c:firstSliceAng val="94"/>
        <c:holeSize val="75"/>
      </c:doughnutChart>
      <c:spPr>
        <a:noFill/>
        <a:ln>
          <a:noFill/>
        </a:ln>
        <a:effectLst/>
      </c:spPr>
    </c:plotArea>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19491800312601"/>
          <c:y val="3.0765041804120201E-2"/>
          <c:w val="0.62732979189860105"/>
          <c:h val="0.93231690803093503"/>
        </c:manualLayout>
      </c:layout>
      <c:doughnutChart>
        <c:varyColors val="1"/>
        <c:ser>
          <c:idx val="0"/>
          <c:order val="0"/>
          <c:tx>
            <c:strRef>
              <c:f>Sheet1!$B$1</c:f>
              <c:strCache>
                <c:ptCount val="1"/>
                <c:pt idx="0">
                  <c:v>Sales</c:v>
                </c:pt>
              </c:strCache>
            </c:strRef>
          </c:tx>
          <c:spPr>
            <a:ln w="60325">
              <a:solidFill>
                <a:srgbClr val="F2F2F2"/>
              </a:solidFill>
            </a:ln>
          </c:spPr>
          <c:dPt>
            <c:idx val="0"/>
            <c:bubble3D val="0"/>
            <c:spPr>
              <a:solidFill>
                <a:schemeClr val="tx1">
                  <a:lumMod val="65000"/>
                  <a:lumOff val="35000"/>
                </a:schemeClr>
              </a:solidFill>
              <a:ln w="22225">
                <a:solidFill>
                  <a:schemeClr val="bg1"/>
                </a:solidFill>
              </a:ln>
              <a:effectLst/>
            </c:spPr>
            <c:extLst>
              <c:ext xmlns:c16="http://schemas.microsoft.com/office/drawing/2014/chart" uri="{C3380CC4-5D6E-409C-BE32-E72D297353CC}">
                <c16:uniqueId val="{00000001-757F-4181-8401-04651B7578DE}"/>
              </c:ext>
            </c:extLst>
          </c:dPt>
          <c:dPt>
            <c:idx val="1"/>
            <c:bubble3D val="0"/>
            <c:explosion val="8"/>
            <c:spPr>
              <a:solidFill>
                <a:srgbClr val="0C395C"/>
              </a:solidFill>
              <a:ln w="0">
                <a:solidFill>
                  <a:srgbClr val="F2F2F2"/>
                </a:solidFill>
              </a:ln>
              <a:effectLst/>
            </c:spPr>
            <c:extLst>
              <c:ext xmlns:c16="http://schemas.microsoft.com/office/drawing/2014/chart" uri="{C3380CC4-5D6E-409C-BE32-E72D297353CC}">
                <c16:uniqueId val="{00000003-757F-4181-8401-04651B7578DE}"/>
              </c:ext>
            </c:extLst>
          </c:dPt>
          <c:dPt>
            <c:idx val="2"/>
            <c:bubble3D val="0"/>
            <c:spPr>
              <a:solidFill>
                <a:schemeClr val="accent3"/>
              </a:solidFill>
              <a:ln w="60325">
                <a:solidFill>
                  <a:srgbClr val="F2F2F2"/>
                </a:solidFill>
              </a:ln>
              <a:effectLst/>
            </c:spPr>
            <c:extLst>
              <c:ext xmlns:c16="http://schemas.microsoft.com/office/drawing/2014/chart" uri="{C3380CC4-5D6E-409C-BE32-E72D297353CC}">
                <c16:uniqueId val="{00000005-757F-4181-8401-04651B7578DE}"/>
              </c:ext>
            </c:extLst>
          </c:dPt>
          <c:dPt>
            <c:idx val="3"/>
            <c:bubble3D val="0"/>
            <c:spPr>
              <a:solidFill>
                <a:schemeClr val="accent4"/>
              </a:solidFill>
              <a:ln w="60325">
                <a:solidFill>
                  <a:srgbClr val="F2F2F2"/>
                </a:solidFill>
              </a:ln>
              <a:effectLst/>
            </c:spPr>
            <c:extLst>
              <c:ext xmlns:c16="http://schemas.microsoft.com/office/drawing/2014/chart" uri="{C3380CC4-5D6E-409C-BE32-E72D297353CC}">
                <c16:uniqueId val="{00000007-757F-4181-8401-04651B7578DE}"/>
              </c:ext>
            </c:extLst>
          </c:dPt>
          <c:dLbls>
            <c:dLbl>
              <c:idx val="0"/>
              <c:delete val="1"/>
              <c:extLst>
                <c:ext xmlns:c15="http://schemas.microsoft.com/office/drawing/2012/chart" uri="{CE6537A1-D6FC-4f65-9D91-7224C49458BB}"/>
                <c:ext xmlns:c16="http://schemas.microsoft.com/office/drawing/2014/chart" uri="{C3380CC4-5D6E-409C-BE32-E72D297353CC}">
                  <c16:uniqueId val="{00000001-757F-4181-8401-04651B7578DE}"/>
                </c:ext>
              </c:extLst>
            </c:dLbl>
            <c:dLbl>
              <c:idx val="1"/>
              <c:delete val="1"/>
              <c:extLst>
                <c:ext xmlns:c15="http://schemas.microsoft.com/office/drawing/2012/chart" uri="{CE6537A1-D6FC-4f65-9D91-7224C49458BB}"/>
                <c:ext xmlns:c16="http://schemas.microsoft.com/office/drawing/2014/chart" uri="{C3380CC4-5D6E-409C-BE32-E72D297353CC}">
                  <c16:uniqueId val="{00000003-757F-4181-8401-04651B7578DE}"/>
                </c:ext>
              </c:extLst>
            </c:dLbl>
            <c:spPr>
              <a:noFill/>
              <a:ln w="9525">
                <a:solidFill>
                  <a:schemeClr val="tx1">
                    <a:lumMod val="50000"/>
                    <a:lumOff val="50000"/>
                  </a:schemeClr>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1st Qtr</c:v>
                </c:pt>
                <c:pt idx="1">
                  <c:v>2nd Qtr</c:v>
                </c:pt>
              </c:strCache>
            </c:strRef>
          </c:cat>
          <c:val>
            <c:numRef>
              <c:f>Sheet1!$B$2:$B$5</c:f>
              <c:numCache>
                <c:formatCode>General</c:formatCode>
                <c:ptCount val="4"/>
                <c:pt idx="0">
                  <c:v>95</c:v>
                </c:pt>
                <c:pt idx="1">
                  <c:v>5</c:v>
                </c:pt>
              </c:numCache>
            </c:numRef>
          </c:val>
          <c:extLst>
            <c:ext xmlns:c16="http://schemas.microsoft.com/office/drawing/2014/chart" uri="{C3380CC4-5D6E-409C-BE32-E72D297353CC}">
              <c16:uniqueId val="{00000008-757F-4181-8401-04651B7578DE}"/>
            </c:ext>
          </c:extLst>
        </c:ser>
        <c:dLbls>
          <c:showLegendKey val="0"/>
          <c:showVal val="0"/>
          <c:showCatName val="0"/>
          <c:showSerName val="0"/>
          <c:showPercent val="1"/>
          <c:showBubbleSize val="0"/>
          <c:showLeaderLines val="1"/>
        </c:dLbls>
        <c:firstSliceAng val="94"/>
        <c:holeSize val="75"/>
      </c:doughnutChart>
      <c:spPr>
        <a:noFill/>
        <a:ln>
          <a:noFill/>
        </a:ln>
        <a:effectLst/>
      </c:spPr>
    </c:plotArea>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v>Worst</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Base case'!$H$16:$L$16</c:f>
              <c:numCache>
                <c:formatCode>General</c:formatCode>
                <c:ptCount val="5"/>
                <c:pt idx="0">
                  <c:v>2017</c:v>
                </c:pt>
                <c:pt idx="1">
                  <c:v>2018</c:v>
                </c:pt>
                <c:pt idx="2">
                  <c:v>2019</c:v>
                </c:pt>
                <c:pt idx="3">
                  <c:v>2020</c:v>
                </c:pt>
                <c:pt idx="4">
                  <c:v>2021</c:v>
                </c:pt>
              </c:numCache>
            </c:numRef>
          </c:cat>
          <c:val>
            <c:numRef>
              <c:f>'Worst case'!$H$51</c:f>
              <c:numCache>
                <c:formatCode>General</c:formatCode>
                <c:ptCount val="1"/>
                <c:pt idx="0">
                  <c:v>22.56260536405097</c:v>
                </c:pt>
              </c:numCache>
            </c:numRef>
          </c:val>
          <c:extLst>
            <c:ext xmlns:c16="http://schemas.microsoft.com/office/drawing/2014/chart" uri="{C3380CC4-5D6E-409C-BE32-E72D297353CC}">
              <c16:uniqueId val="{00000000-D83A-6A46-AE5A-AC4AB4D15717}"/>
            </c:ext>
          </c:extLst>
        </c:ser>
        <c:ser>
          <c:idx val="1"/>
          <c:order val="1"/>
          <c:tx>
            <c:v>Base</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Base case'!$H$16:$L$16</c:f>
              <c:numCache>
                <c:formatCode>General</c:formatCode>
                <c:ptCount val="5"/>
                <c:pt idx="0">
                  <c:v>2017</c:v>
                </c:pt>
                <c:pt idx="1">
                  <c:v>2018</c:v>
                </c:pt>
                <c:pt idx="2">
                  <c:v>2019</c:v>
                </c:pt>
                <c:pt idx="3">
                  <c:v>2020</c:v>
                </c:pt>
                <c:pt idx="4">
                  <c:v>2021</c:v>
                </c:pt>
              </c:numCache>
            </c:numRef>
          </c:cat>
          <c:val>
            <c:numRef>
              <c:f>'Base case'!$H$50</c:f>
              <c:numCache>
                <c:formatCode>General</c:formatCode>
                <c:ptCount val="1"/>
                <c:pt idx="0">
                  <c:v>1420.9204599867601</c:v>
                </c:pt>
              </c:numCache>
            </c:numRef>
          </c:val>
          <c:extLst>
            <c:ext xmlns:c16="http://schemas.microsoft.com/office/drawing/2014/chart" uri="{C3380CC4-5D6E-409C-BE32-E72D297353CC}">
              <c16:uniqueId val="{00000001-D83A-6A46-AE5A-AC4AB4D15717}"/>
            </c:ext>
          </c:extLst>
        </c:ser>
        <c:ser>
          <c:idx val="2"/>
          <c:order val="2"/>
          <c:tx>
            <c:v>Best</c:v>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Base case'!$H$16:$L$16</c:f>
              <c:numCache>
                <c:formatCode>General</c:formatCode>
                <c:ptCount val="5"/>
                <c:pt idx="0">
                  <c:v>2017</c:v>
                </c:pt>
                <c:pt idx="1">
                  <c:v>2018</c:v>
                </c:pt>
                <c:pt idx="2">
                  <c:v>2019</c:v>
                </c:pt>
                <c:pt idx="3">
                  <c:v>2020</c:v>
                </c:pt>
                <c:pt idx="4">
                  <c:v>2021</c:v>
                </c:pt>
              </c:numCache>
            </c:numRef>
          </c:cat>
          <c:val>
            <c:numRef>
              <c:f>'Best case'!$H$50</c:f>
              <c:numCache>
                <c:formatCode>General</c:formatCode>
                <c:ptCount val="1"/>
                <c:pt idx="0">
                  <c:v>2085.770249394714</c:v>
                </c:pt>
              </c:numCache>
            </c:numRef>
          </c:val>
          <c:extLst>
            <c:ext xmlns:c16="http://schemas.microsoft.com/office/drawing/2014/chart" uri="{C3380CC4-5D6E-409C-BE32-E72D297353CC}">
              <c16:uniqueId val="{00000002-D83A-6A46-AE5A-AC4AB4D15717}"/>
            </c:ext>
          </c:extLst>
        </c:ser>
        <c:dLbls>
          <c:showLegendKey val="0"/>
          <c:showVal val="0"/>
          <c:showCatName val="0"/>
          <c:showSerName val="0"/>
          <c:showPercent val="0"/>
          <c:showBubbleSize val="0"/>
        </c:dLbls>
        <c:gapWidth val="150"/>
        <c:axId val="389075360"/>
        <c:axId val="389077840"/>
      </c:barChart>
      <c:catAx>
        <c:axId val="389075360"/>
        <c:scaling>
          <c:orientation val="minMax"/>
        </c:scaling>
        <c:delete val="0"/>
        <c:axPos val="b"/>
        <c:numFmt formatCode="General" sourceLinked="1"/>
        <c:majorTickMark val="out"/>
        <c:minorTickMark val="none"/>
        <c:tickLblPos val="nextTo"/>
        <c:crossAx val="389077840"/>
        <c:crosses val="autoZero"/>
        <c:auto val="1"/>
        <c:lblAlgn val="ctr"/>
        <c:lblOffset val="100"/>
        <c:noMultiLvlLbl val="0"/>
      </c:catAx>
      <c:valAx>
        <c:axId val="389077840"/>
        <c:scaling>
          <c:orientation val="minMax"/>
        </c:scaling>
        <c:delete val="0"/>
        <c:axPos val="l"/>
        <c:numFmt formatCode="General" sourceLinked="1"/>
        <c:majorTickMark val="out"/>
        <c:minorTickMark val="none"/>
        <c:tickLblPos val="nextTo"/>
        <c:crossAx val="389075360"/>
        <c:crosses val="autoZero"/>
        <c:crossBetween val="between"/>
      </c:valAx>
    </c:plotArea>
    <c:legend>
      <c:legendPos val="r"/>
      <c:overlay val="0"/>
    </c:legend>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v>Worst</c:v>
          </c:tx>
          <c:marker>
            <c:symbol val="none"/>
          </c:marker>
          <c:cat>
            <c:numRef>
              <c:f>'Best case'!$H$16:$M$16</c:f>
              <c:numCache>
                <c:formatCode>General</c:formatCode>
                <c:ptCount val="6"/>
                <c:pt idx="0">
                  <c:v>2017</c:v>
                </c:pt>
                <c:pt idx="1">
                  <c:v>2018</c:v>
                </c:pt>
                <c:pt idx="2">
                  <c:v>2019</c:v>
                </c:pt>
                <c:pt idx="3">
                  <c:v>2020</c:v>
                </c:pt>
                <c:pt idx="4">
                  <c:v>2021</c:v>
                </c:pt>
                <c:pt idx="5">
                  <c:v>2022</c:v>
                </c:pt>
              </c:numCache>
            </c:numRef>
          </c:cat>
          <c:val>
            <c:numRef>
              <c:f>'Worst case'!$H$46:$L$46</c:f>
              <c:numCache>
                <c:formatCode>General</c:formatCode>
                <c:ptCount val="5"/>
                <c:pt idx="0">
                  <c:v>-42.666800000000009</c:v>
                </c:pt>
                <c:pt idx="1">
                  <c:v>-27.433599999999981</c:v>
                </c:pt>
                <c:pt idx="2">
                  <c:v>-12.2004</c:v>
                </c:pt>
                <c:pt idx="3">
                  <c:v>3.032800000000015</c:v>
                </c:pt>
                <c:pt idx="4">
                  <c:v>50.906000000000027</c:v>
                </c:pt>
              </c:numCache>
            </c:numRef>
          </c:val>
          <c:smooth val="0"/>
          <c:extLst>
            <c:ext xmlns:c16="http://schemas.microsoft.com/office/drawing/2014/chart" uri="{C3380CC4-5D6E-409C-BE32-E72D297353CC}">
              <c16:uniqueId val="{00000000-C77A-634E-B81A-57EACD86B931}"/>
            </c:ext>
          </c:extLst>
        </c:ser>
        <c:ser>
          <c:idx val="1"/>
          <c:order val="1"/>
          <c:tx>
            <c:v>Best</c:v>
          </c:tx>
          <c:marker>
            <c:symbol val="none"/>
          </c:marker>
          <c:val>
            <c:numRef>
              <c:f>'Best case'!$H$45:$L$45</c:f>
              <c:numCache>
                <c:formatCode>General</c:formatCode>
                <c:ptCount val="5"/>
                <c:pt idx="0">
                  <c:v>-14.04208</c:v>
                </c:pt>
                <c:pt idx="1">
                  <c:v>-14.109662399999999</c:v>
                </c:pt>
                <c:pt idx="2">
                  <c:v>92.049588127999925</c:v>
                </c:pt>
                <c:pt idx="3">
                  <c:v>313.4767599838396</c:v>
                </c:pt>
                <c:pt idx="4">
                  <c:v>659.6172327217148</c:v>
                </c:pt>
              </c:numCache>
            </c:numRef>
          </c:val>
          <c:smooth val="0"/>
          <c:extLst>
            <c:ext xmlns:c16="http://schemas.microsoft.com/office/drawing/2014/chart" uri="{C3380CC4-5D6E-409C-BE32-E72D297353CC}">
              <c16:uniqueId val="{00000001-C77A-634E-B81A-57EACD86B931}"/>
            </c:ext>
          </c:extLst>
        </c:ser>
        <c:ser>
          <c:idx val="2"/>
          <c:order val="2"/>
          <c:tx>
            <c:v>Base</c:v>
          </c:tx>
          <c:marker>
            <c:symbol val="none"/>
          </c:marker>
          <c:val>
            <c:numRef>
              <c:f>'Base case'!$H$45:$L$45</c:f>
              <c:numCache>
                <c:formatCode>General</c:formatCode>
                <c:ptCount val="5"/>
                <c:pt idx="0">
                  <c:v>-34.991439999999997</c:v>
                </c:pt>
                <c:pt idx="1">
                  <c:v>-107.9123457</c:v>
                </c:pt>
                <c:pt idx="2">
                  <c:v>-97.223030745999949</c:v>
                </c:pt>
                <c:pt idx="3">
                  <c:v>4.7459664163700239</c:v>
                </c:pt>
                <c:pt idx="4">
                  <c:v>206.00706333615369</c:v>
                </c:pt>
              </c:numCache>
            </c:numRef>
          </c:val>
          <c:smooth val="0"/>
          <c:extLst>
            <c:ext xmlns:c16="http://schemas.microsoft.com/office/drawing/2014/chart" uri="{C3380CC4-5D6E-409C-BE32-E72D297353CC}">
              <c16:uniqueId val="{00000002-C77A-634E-B81A-57EACD86B931}"/>
            </c:ext>
          </c:extLst>
        </c:ser>
        <c:dLbls>
          <c:showLegendKey val="0"/>
          <c:showVal val="0"/>
          <c:showCatName val="0"/>
          <c:showSerName val="0"/>
          <c:showPercent val="0"/>
          <c:showBubbleSize val="0"/>
        </c:dLbls>
        <c:smooth val="0"/>
        <c:axId val="358348000"/>
        <c:axId val="358350752"/>
      </c:lineChart>
      <c:catAx>
        <c:axId val="358348000"/>
        <c:scaling>
          <c:orientation val="minMax"/>
        </c:scaling>
        <c:delete val="0"/>
        <c:axPos val="b"/>
        <c:numFmt formatCode="General" sourceLinked="1"/>
        <c:majorTickMark val="out"/>
        <c:minorTickMark val="none"/>
        <c:tickLblPos val="nextTo"/>
        <c:crossAx val="358350752"/>
        <c:crosses val="autoZero"/>
        <c:auto val="1"/>
        <c:lblAlgn val="ctr"/>
        <c:lblOffset val="100"/>
        <c:noMultiLvlLbl val="0"/>
      </c:catAx>
      <c:valAx>
        <c:axId val="358350752"/>
        <c:scaling>
          <c:orientation val="minMax"/>
          <c:max val="300"/>
        </c:scaling>
        <c:delete val="0"/>
        <c:axPos val="l"/>
        <c:numFmt formatCode="General" sourceLinked="1"/>
        <c:majorTickMark val="out"/>
        <c:minorTickMark val="none"/>
        <c:tickLblPos val="nextTo"/>
        <c:crossAx val="358348000"/>
        <c:crosses val="autoZero"/>
        <c:crossBetween val="between"/>
      </c:valAx>
    </c:plotArea>
    <c:legend>
      <c:legendPos val="r"/>
      <c:overlay val="0"/>
    </c:legend>
    <c:plotVisOnly val="1"/>
    <c:dispBlanksAs val="gap"/>
    <c:showDLblsOverMax val="0"/>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otal impact'!$B$5:$B$9</cx:f>
        <cx:lvl ptCount="5">
          <cx:pt idx="0">Stores</cx:pt>
          <cx:pt idx="1">Custom milk</cx:pt>
          <cx:pt idx="2">Whey</cx:pt>
          <cx:pt idx="3">Improved brand</cx:pt>
          <cx:pt idx="4">Total</cx:pt>
        </cx:lvl>
      </cx:strDim>
      <cx:numDim type="val">
        <cx:f>'Total impact'!$E$5:$E$9</cx:f>
        <cx:lvl ptCount="5" formatCode="_-* #.##0\ _k_r_._-;\-* #.##0\ _k_r_._-;_-* &quot;-&quot;??\ _k_r_._-;_-@_-">
          <cx:pt idx="0">177000</cx:pt>
          <cx:pt idx="1">261507.84</cx:pt>
          <cx:pt idx="2">11730.4362</cx:pt>
          <cx:pt idx="3">127268.87869499842</cx:pt>
          <cx:pt idx="4">577507.15489499841</cx:pt>
        </cx:lvl>
      </cx:numDim>
    </cx:data>
  </cx:chartData>
  <cx:chart>
    <cx:plotArea>
      <cx:plotAreaRegion>
        <cx:series layoutId="waterfall" uniqueId="{DE92E06C-C7C7-4411-A7E6-60B263BFA280}">
          <cx:dataLabels>
            <cx:visibility seriesName="0" categoryName="0" value="1"/>
          </cx:dataLabels>
          <cx:dataId val="0"/>
          <cx:layoutPr>
            <cx:subtotals>
              <cx:idx val="4"/>
            </cx:subtotals>
          </cx:layoutPr>
        </cx:series>
      </cx:plotAreaRegion>
      <cx:axis id="0">
        <cx:catScaling gapWidth="0.5"/>
        <cx:tickLabels/>
      </cx:axis>
      <cx:axis id="1">
        <cx:valScaling max="600000" min="0"/>
        <cx:title>
          <cx:tx>
            <cx:txData>
              <cx:v>EUR (000')</cx:v>
            </cx:txData>
          </cx:tx>
          <cx:txPr>
            <a:bodyPr spcFirstLastPara="1" vertOverflow="ellipsis" horzOverflow="overflow" wrap="square" lIns="0" tIns="0" rIns="0" bIns="0" anchor="ctr" anchorCtr="1"/>
            <a:lstStyle/>
            <a:p>
              <a:pPr algn="ctr" rtl="0">
                <a:defRPr/>
              </a:pPr>
              <a:r>
                <a:rPr lang="da-DK" sz="900" b="0" i="0" u="none" strike="noStrike" baseline="0">
                  <a:solidFill>
                    <a:sysClr val="windowText" lastClr="000000">
                      <a:lumMod val="65000"/>
                      <a:lumOff val="35000"/>
                    </a:sysClr>
                  </a:solidFill>
                  <a:latin typeface="Calibri" panose="020F0502020204030204"/>
                </a:rPr>
                <a:t>EUR (000')</a:t>
              </a:r>
            </a:p>
          </cx:txPr>
        </cx:title>
        <cx:tickLabels/>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emf"/><Relationship Id="rId1" Type="http://schemas.openxmlformats.org/officeDocument/2006/relationships/image" Target="../media/image9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emf"/><Relationship Id="rId1" Type="http://schemas.openxmlformats.org/officeDocument/2006/relationships/image" Target="../media/image92.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image" Target="../media/image92.emf"/><Relationship Id="rId4" Type="http://schemas.openxmlformats.org/officeDocument/2006/relationships/image" Target="../media/image9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01266</cdr:x>
      <cdr:y>0.01146</cdr:y>
    </cdr:from>
    <cdr:to>
      <cdr:x>0.15635</cdr:x>
      <cdr:y>0.09663</cdr:y>
    </cdr:to>
    <cdr:sp macro="" textlink="">
      <cdr:nvSpPr>
        <cdr:cNvPr id="2" name="TextBox 19"/>
        <cdr:cNvSpPr txBox="1"/>
      </cdr:nvSpPr>
      <cdr:spPr>
        <a:xfrm xmlns:a="http://schemas.openxmlformats.org/drawingml/2006/main">
          <a:off x="66099" y="41406"/>
          <a:ext cx="750526" cy="307777"/>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dirty="0">
              <a:latin typeface="Avenir Book" charset="0"/>
              <a:ea typeface="Avenir Book" charset="0"/>
              <a:cs typeface="Avenir Book" charset="0"/>
            </a:rPr>
            <a:t>M CA$</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CAE841-13D1-DF48-9DA7-B0C0539BDF34}" type="datetimeFigureOut">
              <a:rPr lang="da-DK" smtClean="0"/>
              <a:t>09/04/2020</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E043E8-17D5-894D-A8F4-99F1597AFF58}" type="slidenum">
              <a:rPr lang="da-DK" smtClean="0"/>
              <a:t>‹nr.›</a:t>
            </a:fld>
            <a:endParaRPr lang="da-DK"/>
          </a:p>
        </p:txBody>
      </p:sp>
    </p:spTree>
    <p:extLst>
      <p:ext uri="{BB962C8B-B14F-4D97-AF65-F5344CB8AC3E}">
        <p14:creationId xmlns:p14="http://schemas.microsoft.com/office/powerpoint/2010/main" val="19611071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Har sat billedet ind da vi gerne med vores visualisering vil kunne udvælge træer (rødt træ på billedet) og finde information om dette. </a:t>
            </a:r>
            <a:endParaRPr lang="en-DK" dirty="0"/>
          </a:p>
        </p:txBody>
      </p:sp>
      <p:sp>
        <p:nvSpPr>
          <p:cNvPr id="4" name="Slide Number Placeholder 3"/>
          <p:cNvSpPr>
            <a:spLocks noGrp="1"/>
          </p:cNvSpPr>
          <p:nvPr>
            <p:ph type="sldNum" sz="quarter" idx="5"/>
          </p:nvPr>
        </p:nvSpPr>
        <p:spPr/>
        <p:txBody>
          <a:bodyPr/>
          <a:lstStyle/>
          <a:p>
            <a:fld id="{1EE043E8-17D5-894D-A8F4-99F1597AFF58}" type="slidenum">
              <a:rPr lang="da-DK" smtClean="0"/>
              <a:t>2</a:t>
            </a:fld>
            <a:endParaRPr lang="da-DK"/>
          </a:p>
        </p:txBody>
      </p:sp>
    </p:spTree>
    <p:extLst>
      <p:ext uri="{BB962C8B-B14F-4D97-AF65-F5344CB8AC3E}">
        <p14:creationId xmlns:p14="http://schemas.microsoft.com/office/powerpoint/2010/main" val="13676645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EE043E8-17D5-894D-A8F4-99F1597AFF58}" type="slidenum">
              <a:rPr lang="da-DK" smtClean="0"/>
              <a:t>24</a:t>
            </a:fld>
            <a:endParaRPr lang="da-DK"/>
          </a:p>
        </p:txBody>
      </p:sp>
    </p:spTree>
    <p:extLst>
      <p:ext uri="{BB962C8B-B14F-4D97-AF65-F5344CB8AC3E}">
        <p14:creationId xmlns:p14="http://schemas.microsoft.com/office/powerpoint/2010/main" val="1437887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EE043E8-17D5-894D-A8F4-99F1597AFF58}" type="slidenum">
              <a:rPr lang="da-DK" smtClean="0"/>
              <a:t>25</a:t>
            </a:fld>
            <a:endParaRPr lang="da-DK"/>
          </a:p>
        </p:txBody>
      </p:sp>
    </p:spTree>
    <p:extLst>
      <p:ext uri="{BB962C8B-B14F-4D97-AF65-F5344CB8AC3E}">
        <p14:creationId xmlns:p14="http://schemas.microsoft.com/office/powerpoint/2010/main" val="2012797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10"/>
          </p:nvPr>
        </p:nvSpPr>
        <p:spPr/>
        <p:txBody>
          <a:bodyPr/>
          <a:lstStyle/>
          <a:p>
            <a:fld id="{11E61DB1-1524-4352-B843-0668BF042150}" type="slidenum">
              <a:rPr lang="da-DK" smtClean="0"/>
              <a:t>26</a:t>
            </a:fld>
            <a:endParaRPr lang="da-DK"/>
          </a:p>
        </p:txBody>
      </p:sp>
    </p:spTree>
    <p:extLst>
      <p:ext uri="{BB962C8B-B14F-4D97-AF65-F5344CB8AC3E}">
        <p14:creationId xmlns:p14="http://schemas.microsoft.com/office/powerpoint/2010/main" val="1758335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dirty="0"/>
          </a:p>
        </p:txBody>
      </p:sp>
      <p:sp>
        <p:nvSpPr>
          <p:cNvPr id="4" name="Pladsholder til slidenummer 3"/>
          <p:cNvSpPr>
            <a:spLocks noGrp="1"/>
          </p:cNvSpPr>
          <p:nvPr>
            <p:ph type="sldNum" sz="quarter" idx="10"/>
          </p:nvPr>
        </p:nvSpPr>
        <p:spPr/>
        <p:txBody>
          <a:bodyPr/>
          <a:lstStyle/>
          <a:p>
            <a:fld id="{BF9681C7-4231-824A-8350-0A0BA7448144}" type="slidenum">
              <a:rPr lang="da-DK" smtClean="0"/>
              <a:t>27</a:t>
            </a:fld>
            <a:endParaRPr lang="da-DK"/>
          </a:p>
        </p:txBody>
      </p:sp>
    </p:spTree>
    <p:extLst>
      <p:ext uri="{BB962C8B-B14F-4D97-AF65-F5344CB8AC3E}">
        <p14:creationId xmlns:p14="http://schemas.microsoft.com/office/powerpoint/2010/main" val="1144343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0B21B5CB-46F7-4C4B-BA6B-F8A0873E83B2}" type="slidenum">
              <a:rPr lang="da-DK" smtClean="0"/>
              <a:t>29</a:t>
            </a:fld>
            <a:endParaRPr lang="da-DK"/>
          </a:p>
        </p:txBody>
      </p:sp>
    </p:spTree>
    <p:extLst>
      <p:ext uri="{BB962C8B-B14F-4D97-AF65-F5344CB8AC3E}">
        <p14:creationId xmlns:p14="http://schemas.microsoft.com/office/powerpoint/2010/main" val="2611797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a:noFill/>
          <a:ln/>
        </p:spPr>
        <p:txBody>
          <a:bodyPr/>
          <a:lstStyle/>
          <a:p>
            <a:pPr eaLnBrk="1" hangingPunct="1"/>
            <a:endParaRPr lang="da-DK" dirty="0"/>
          </a:p>
        </p:txBody>
      </p:sp>
    </p:spTree>
    <p:extLst>
      <p:ext uri="{BB962C8B-B14F-4D97-AF65-F5344CB8AC3E}">
        <p14:creationId xmlns:p14="http://schemas.microsoft.com/office/powerpoint/2010/main" val="30765395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EE043E8-17D5-894D-A8F4-99F1597AFF58}" type="slidenum">
              <a:rPr lang="da-DK" smtClean="0"/>
              <a:t>37</a:t>
            </a:fld>
            <a:endParaRPr lang="da-DK"/>
          </a:p>
        </p:txBody>
      </p:sp>
    </p:spTree>
    <p:extLst>
      <p:ext uri="{BB962C8B-B14F-4D97-AF65-F5344CB8AC3E}">
        <p14:creationId xmlns:p14="http://schemas.microsoft.com/office/powerpoint/2010/main" val="8857575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10"/>
          </p:nvPr>
        </p:nvSpPr>
        <p:spPr/>
        <p:txBody>
          <a:bodyPr/>
          <a:lstStyle/>
          <a:p>
            <a:fld id="{11E61DB1-1524-4352-B843-0668BF042150}" type="slidenum">
              <a:rPr lang="da-DK" smtClean="0"/>
              <a:t>38</a:t>
            </a:fld>
            <a:endParaRPr lang="da-DK"/>
          </a:p>
        </p:txBody>
      </p:sp>
    </p:spTree>
    <p:extLst>
      <p:ext uri="{BB962C8B-B14F-4D97-AF65-F5344CB8AC3E}">
        <p14:creationId xmlns:p14="http://schemas.microsoft.com/office/powerpoint/2010/main" val="669852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different</a:t>
            </a:r>
            <a:r>
              <a:rPr lang="en-US" baseline="0" dirty="0"/>
              <a:t> layers to good retail apps. Each layer builds on a different technology, has different functions and add value to the app as a whole. Currently, you are in the very bottom layer, the rather simple maps you provide. In order to add additional value to provide for you customers, you must capture another layer. The </a:t>
            </a:r>
          </a:p>
          <a:p>
            <a:endParaRPr lang="en-US" baseline="0" dirty="0"/>
          </a:p>
          <a:p>
            <a:endParaRPr lang="en-US" baseline="0" dirty="0"/>
          </a:p>
          <a:p>
            <a:r>
              <a:rPr lang="en-US" dirty="0"/>
              <a:t>Ease</a:t>
            </a:r>
            <a:r>
              <a:rPr lang="en-US" baseline="0" dirty="0"/>
              <a:t> of use, including elements such as the layout, design and speed of the app, is what customers see and value most and foremost, when asked. </a:t>
            </a:r>
          </a:p>
          <a:p>
            <a:r>
              <a:rPr lang="en-US" baseline="0" dirty="0"/>
              <a:t>However, what’s underneath that particular layer, is what actually creates that value. It’s the technology underneath, that creates a unique experience and adds value to the app. In order to increase the value </a:t>
            </a:r>
            <a:r>
              <a:rPr lang="en-US" baseline="0" dirty="0" err="1"/>
              <a:t>BigBang</a:t>
            </a:r>
            <a:r>
              <a:rPr lang="en-US" baseline="0" dirty="0"/>
              <a:t> adds to the technologies, you must capture another of these underlying layers. Currently you are present within maps, the very bottom layer, and the next step would naturally be to take one step up the ladder of value, and zoom in on tracking capabilities. Capturing this technology will allow you, and consequently also you consumers, to not only have apps with maps – but to have more interactive maps customized to the individual consumers when they are at the venues that support this feat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da-DK" sz="1200" b="0" i="0" kern="1200" dirty="0">
                <a:solidFill>
                  <a:schemeClr val="tx1"/>
                </a:solidFill>
                <a:effectLst/>
                <a:latin typeface="Gulim" charset="-127"/>
                <a:ea typeface="+mn-ea"/>
                <a:cs typeface="+mn-cs"/>
              </a:rPr>
              <a:t>Research shows </a:t>
            </a:r>
            <a:r>
              <a:rPr lang="da-DK" sz="1200" b="0" i="0" kern="1200" dirty="0" err="1">
                <a:solidFill>
                  <a:schemeClr val="tx1"/>
                </a:solidFill>
                <a:effectLst/>
                <a:latin typeface="Gulim" charset="-127"/>
                <a:ea typeface="+mn-ea"/>
                <a:cs typeface="+mn-cs"/>
              </a:rPr>
              <a:t>that</a:t>
            </a:r>
            <a:r>
              <a:rPr lang="da-DK" sz="1200" b="0" i="0" kern="1200" dirty="0">
                <a:solidFill>
                  <a:schemeClr val="tx1"/>
                </a:solidFill>
                <a:effectLst/>
                <a:latin typeface="Gulim" charset="-127"/>
                <a:ea typeface="+mn-ea"/>
                <a:cs typeface="+mn-cs"/>
              </a:rPr>
              <a:t> over $15 billion </a:t>
            </a:r>
            <a:r>
              <a:rPr lang="da-DK" sz="1200" b="0" i="0" kern="1200" dirty="0" err="1">
                <a:solidFill>
                  <a:schemeClr val="tx1"/>
                </a:solidFill>
                <a:effectLst/>
                <a:latin typeface="Gulim" charset="-127"/>
                <a:ea typeface="+mn-ea"/>
                <a:cs typeface="+mn-cs"/>
              </a:rPr>
              <a:t>will</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be</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spent</a:t>
            </a:r>
            <a:r>
              <a:rPr lang="da-DK" sz="1200" b="0" i="0" kern="1200" dirty="0">
                <a:solidFill>
                  <a:schemeClr val="tx1"/>
                </a:solidFill>
                <a:effectLst/>
                <a:latin typeface="Gulim" charset="-127"/>
                <a:ea typeface="+mn-ea"/>
                <a:cs typeface="+mn-cs"/>
              </a:rPr>
              <a:t> on location </a:t>
            </a:r>
            <a:r>
              <a:rPr lang="da-DK" sz="1200" b="0" i="0" kern="1200" dirty="0" err="1">
                <a:solidFill>
                  <a:schemeClr val="tx1"/>
                </a:solidFill>
                <a:effectLst/>
                <a:latin typeface="Gulim" charset="-127"/>
                <a:ea typeface="+mn-ea"/>
                <a:cs typeface="+mn-cs"/>
              </a:rPr>
              <a:t>targeted</a:t>
            </a:r>
            <a:r>
              <a:rPr lang="da-DK" sz="1200" b="0" i="0" kern="1200" dirty="0">
                <a:solidFill>
                  <a:schemeClr val="tx1"/>
                </a:solidFill>
                <a:effectLst/>
                <a:latin typeface="Gulim" charset="-127"/>
                <a:ea typeface="+mn-ea"/>
                <a:cs typeface="+mn-cs"/>
              </a:rPr>
              <a:t> mobile </a:t>
            </a:r>
            <a:r>
              <a:rPr lang="da-DK" sz="1200" b="0" i="0" kern="1200" dirty="0" err="1">
                <a:solidFill>
                  <a:schemeClr val="tx1"/>
                </a:solidFill>
                <a:effectLst/>
                <a:latin typeface="Gulim" charset="-127"/>
                <a:ea typeface="+mn-ea"/>
                <a:cs typeface="+mn-cs"/>
              </a:rPr>
              <a:t>ads</a:t>
            </a:r>
            <a:r>
              <a:rPr lang="da-DK" sz="1200" b="0" i="0" kern="1200" dirty="0">
                <a:solidFill>
                  <a:schemeClr val="tx1"/>
                </a:solidFill>
                <a:effectLst/>
                <a:latin typeface="Gulim" charset="-127"/>
                <a:ea typeface="+mn-ea"/>
                <a:cs typeface="+mn-cs"/>
              </a:rPr>
              <a:t> by 2018,</a:t>
            </a:r>
            <a:r>
              <a:rPr lang="da-DK" sz="1200" b="0" i="0" kern="1200" baseline="0" dirty="0">
                <a:solidFill>
                  <a:schemeClr val="tx1"/>
                </a:solidFill>
                <a:effectLst/>
                <a:latin typeface="Gulim" charset="-127"/>
                <a:ea typeface="+mn-ea"/>
                <a:cs typeface="+mn-cs"/>
              </a:rPr>
              <a:t> and </a:t>
            </a:r>
            <a:r>
              <a:rPr lang="da-DK" sz="1200" b="0" i="0" kern="1200" dirty="0" err="1">
                <a:solidFill>
                  <a:schemeClr val="tx1"/>
                </a:solidFill>
                <a:effectLst/>
                <a:latin typeface="Gulim" charset="-127"/>
                <a:ea typeface="+mn-ea"/>
                <a:cs typeface="+mn-cs"/>
              </a:rPr>
              <a:t>that</a:t>
            </a:r>
            <a:r>
              <a:rPr lang="da-DK" sz="1200" b="0" i="0" kern="1200" dirty="0">
                <a:solidFill>
                  <a:schemeClr val="tx1"/>
                </a:solidFill>
                <a:effectLst/>
                <a:latin typeface="Gulim" charset="-127"/>
                <a:ea typeface="+mn-ea"/>
                <a:cs typeface="+mn-cs"/>
              </a:rPr>
              <a:t> 70 percent to 89 percent of </a:t>
            </a:r>
            <a:r>
              <a:rPr lang="da-DK" sz="1200" b="0" i="0" kern="1200" dirty="0" err="1">
                <a:solidFill>
                  <a:schemeClr val="tx1"/>
                </a:solidFill>
                <a:effectLst/>
                <a:latin typeface="Gulim" charset="-127"/>
                <a:ea typeface="+mn-ea"/>
                <a:cs typeface="+mn-cs"/>
              </a:rPr>
              <a:t>consumers</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use</a:t>
            </a:r>
            <a:r>
              <a:rPr lang="da-DK" sz="1200" b="0" i="0" kern="1200" dirty="0">
                <a:solidFill>
                  <a:schemeClr val="tx1"/>
                </a:solidFill>
                <a:effectLst/>
                <a:latin typeface="Gulim" charset="-127"/>
                <a:ea typeface="+mn-ea"/>
                <a:cs typeface="+mn-cs"/>
              </a:rPr>
              <a:t> smartphones in stores to </a:t>
            </a:r>
            <a:r>
              <a:rPr lang="da-DK" sz="1200" b="0" i="0" kern="1200" dirty="0" err="1">
                <a:solidFill>
                  <a:schemeClr val="tx1"/>
                </a:solidFill>
                <a:effectLst/>
                <a:latin typeface="Gulim" charset="-127"/>
                <a:ea typeface="+mn-ea"/>
                <a:cs typeface="+mn-cs"/>
              </a:rPr>
              <a:t>compare</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prices</a:t>
            </a:r>
            <a:r>
              <a:rPr lang="da-DK" sz="1200" b="0" i="0" kern="1200" dirty="0">
                <a:solidFill>
                  <a:schemeClr val="tx1"/>
                </a:solidFill>
                <a:effectLst/>
                <a:latin typeface="Gulim" charset="-127"/>
                <a:ea typeface="+mn-ea"/>
                <a:cs typeface="+mn-cs"/>
              </a:rPr>
              <a:t> and shop for </a:t>
            </a:r>
            <a:r>
              <a:rPr lang="da-DK" sz="1200" b="0" i="0" kern="1200" dirty="0" err="1">
                <a:solidFill>
                  <a:schemeClr val="tx1"/>
                </a:solidFill>
                <a:effectLst/>
                <a:latin typeface="Gulim" charset="-127"/>
                <a:ea typeface="+mn-ea"/>
                <a:cs typeface="+mn-cs"/>
              </a:rPr>
              <a:t>coupons</a:t>
            </a:r>
            <a:r>
              <a:rPr lang="da-DK" sz="1200" b="0" i="0" kern="1200" dirty="0">
                <a:solidFill>
                  <a:schemeClr val="tx1"/>
                </a:solidFill>
                <a:effectLst/>
                <a:latin typeface="Gulim" charset="-127"/>
                <a:ea typeface="+mn-ea"/>
                <a:cs typeface="+mn-cs"/>
              </a:rPr>
              <a:t>. This </a:t>
            </a:r>
            <a:r>
              <a:rPr lang="da-DK" sz="1200" b="0" i="0" kern="1200" dirty="0" err="1">
                <a:solidFill>
                  <a:schemeClr val="tx1"/>
                </a:solidFill>
                <a:effectLst/>
                <a:latin typeface="Gulim" charset="-127"/>
                <a:ea typeface="+mn-ea"/>
                <a:cs typeface="+mn-cs"/>
              </a:rPr>
              <a:t>technology</a:t>
            </a:r>
            <a:r>
              <a:rPr lang="da-DK" sz="1200" b="0" i="0" kern="1200" dirty="0">
                <a:solidFill>
                  <a:schemeClr val="tx1"/>
                </a:solidFill>
                <a:effectLst/>
                <a:latin typeface="Gulim" charset="-127"/>
                <a:ea typeface="+mn-ea"/>
                <a:cs typeface="+mn-cs"/>
              </a:rPr>
              <a:t> provides </a:t>
            </a:r>
            <a:r>
              <a:rPr lang="da-DK" sz="1200" b="0" i="0" kern="1200" dirty="0" err="1">
                <a:solidFill>
                  <a:schemeClr val="tx1"/>
                </a:solidFill>
                <a:effectLst/>
                <a:latin typeface="Gulim" charset="-127"/>
                <a:ea typeface="+mn-ea"/>
                <a:cs typeface="+mn-cs"/>
              </a:rPr>
              <a:t>you</a:t>
            </a:r>
            <a:r>
              <a:rPr lang="da-DK" sz="1200" b="0" i="0" kern="1200" dirty="0">
                <a:solidFill>
                  <a:schemeClr val="tx1"/>
                </a:solidFill>
                <a:effectLst/>
                <a:latin typeface="Gulim" charset="-127"/>
                <a:ea typeface="+mn-ea"/>
                <a:cs typeface="+mn-cs"/>
              </a:rPr>
              <a:t> with the </a:t>
            </a:r>
            <a:r>
              <a:rPr lang="da-DK" sz="1200" b="0" i="0" kern="1200" dirty="0" err="1">
                <a:solidFill>
                  <a:schemeClr val="tx1"/>
                </a:solidFill>
                <a:effectLst/>
                <a:latin typeface="Gulim" charset="-127"/>
                <a:ea typeface="+mn-ea"/>
                <a:cs typeface="+mn-cs"/>
              </a:rPr>
              <a:t>underlying</a:t>
            </a:r>
            <a:r>
              <a:rPr lang="da-DK" sz="1200" b="0" i="0" kern="1200" dirty="0">
                <a:solidFill>
                  <a:schemeClr val="tx1"/>
                </a:solidFill>
                <a:effectLst/>
                <a:latin typeface="Gulim" charset="-127"/>
                <a:ea typeface="+mn-ea"/>
                <a:cs typeface="+mn-cs"/>
              </a:rPr>
              <a:t> platform to </a:t>
            </a:r>
            <a:r>
              <a:rPr lang="da-DK" sz="1200" b="0" i="0" kern="1200" dirty="0" err="1">
                <a:solidFill>
                  <a:schemeClr val="tx1"/>
                </a:solidFill>
                <a:effectLst/>
                <a:latin typeface="Gulim" charset="-127"/>
                <a:ea typeface="+mn-ea"/>
                <a:cs typeface="+mn-cs"/>
              </a:rPr>
              <a:t>build</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highly</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targeted</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proximity</a:t>
            </a:r>
            <a:r>
              <a:rPr lang="da-DK" sz="1200" b="0" i="0" kern="1200" dirty="0">
                <a:solidFill>
                  <a:schemeClr val="tx1"/>
                </a:solidFill>
                <a:effectLst/>
                <a:latin typeface="Gulim" charset="-127"/>
                <a:ea typeface="+mn-ea"/>
                <a:cs typeface="+mn-cs"/>
              </a:rPr>
              <a:t> marketing </a:t>
            </a:r>
            <a:r>
              <a:rPr lang="da-DK" sz="1200" b="0" i="0" kern="1200" dirty="0" err="1">
                <a:solidFill>
                  <a:schemeClr val="tx1"/>
                </a:solidFill>
                <a:effectLst/>
                <a:latin typeface="Gulim" charset="-127"/>
                <a:ea typeface="+mn-ea"/>
                <a:cs typeface="+mn-cs"/>
              </a:rPr>
              <a:t>within</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your</a:t>
            </a:r>
            <a:r>
              <a:rPr lang="da-DK" sz="1200" b="0" i="0" kern="1200" dirty="0">
                <a:solidFill>
                  <a:schemeClr val="tx1"/>
                </a:solidFill>
                <a:effectLst/>
                <a:latin typeface="Gulim" charset="-127"/>
                <a:ea typeface="+mn-ea"/>
                <a:cs typeface="+mn-cs"/>
              </a:rPr>
              <a:t> mobile </a:t>
            </a:r>
            <a:r>
              <a:rPr lang="da-DK" sz="1200" b="0" i="0" kern="1200" dirty="0" err="1">
                <a:solidFill>
                  <a:schemeClr val="tx1"/>
                </a:solidFill>
                <a:effectLst/>
                <a:latin typeface="Gulim" charset="-127"/>
                <a:ea typeface="+mn-ea"/>
                <a:cs typeface="+mn-cs"/>
              </a:rPr>
              <a:t>app</a:t>
            </a:r>
            <a:r>
              <a:rPr lang="da-DK" sz="1200" b="0" i="0" kern="1200" dirty="0">
                <a:solidFill>
                  <a:schemeClr val="tx1"/>
                </a:solidFill>
                <a:effectLst/>
                <a:latin typeface="Gulim" charset="-127"/>
                <a:ea typeface="+mn-ea"/>
                <a:cs typeface="+mn-cs"/>
              </a:rPr>
              <a:t> to </a:t>
            </a:r>
            <a:r>
              <a:rPr lang="da-DK" sz="1200" b="0" i="0" kern="1200" dirty="0" err="1">
                <a:solidFill>
                  <a:schemeClr val="tx1"/>
                </a:solidFill>
                <a:effectLst/>
                <a:latin typeface="Gulim" charset="-127"/>
                <a:ea typeface="+mn-ea"/>
                <a:cs typeface="+mn-cs"/>
              </a:rPr>
              <a:t>take</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advantage</a:t>
            </a:r>
            <a:r>
              <a:rPr lang="da-DK" sz="1200" b="0" i="0" kern="1200" dirty="0">
                <a:solidFill>
                  <a:schemeClr val="tx1"/>
                </a:solidFill>
                <a:effectLst/>
                <a:latin typeface="Gulim" charset="-127"/>
                <a:ea typeface="+mn-ea"/>
                <a:cs typeface="+mn-cs"/>
              </a:rPr>
              <a:t> of </a:t>
            </a:r>
            <a:r>
              <a:rPr lang="da-DK" sz="1200" b="0" i="0" kern="1200" dirty="0" err="1">
                <a:solidFill>
                  <a:schemeClr val="tx1"/>
                </a:solidFill>
                <a:effectLst/>
                <a:latin typeface="Gulim" charset="-127"/>
                <a:ea typeface="+mn-ea"/>
                <a:cs typeface="+mn-cs"/>
              </a:rPr>
              <a:t>this</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transformative</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shift</a:t>
            </a:r>
            <a:r>
              <a:rPr lang="da-DK" sz="1200" b="0" i="0" kern="1200" dirty="0">
                <a:solidFill>
                  <a:schemeClr val="tx1"/>
                </a:solidFill>
                <a:effectLst/>
                <a:latin typeface="Gulim" charset="-127"/>
                <a:ea typeface="+mn-ea"/>
                <a:cs typeface="+mn-cs"/>
              </a:rPr>
              <a:t> in </a:t>
            </a:r>
            <a:r>
              <a:rPr lang="da-DK" sz="1200" b="0" i="0" kern="1200" dirty="0" err="1">
                <a:solidFill>
                  <a:schemeClr val="tx1"/>
                </a:solidFill>
                <a:effectLst/>
                <a:latin typeface="Gulim" charset="-127"/>
                <a:ea typeface="+mn-ea"/>
                <a:cs typeface="+mn-cs"/>
              </a:rPr>
              <a:t>consumer</a:t>
            </a:r>
            <a:r>
              <a:rPr lang="da-DK" sz="1200" b="0" i="0" kern="1200" dirty="0">
                <a:solidFill>
                  <a:schemeClr val="tx1"/>
                </a:solidFill>
                <a:effectLst/>
                <a:latin typeface="Gulim" charset="-127"/>
                <a:ea typeface="+mn-ea"/>
                <a:cs typeface="+mn-cs"/>
              </a:rPr>
              <a:t> research and </a:t>
            </a:r>
            <a:r>
              <a:rPr lang="da-DK" sz="1200" b="0" i="0" kern="1200" dirty="0" err="1">
                <a:solidFill>
                  <a:schemeClr val="tx1"/>
                </a:solidFill>
                <a:effectLst/>
                <a:latin typeface="Gulim" charset="-127"/>
                <a:ea typeface="+mn-ea"/>
                <a:cs typeface="+mn-cs"/>
              </a:rPr>
              <a:t>buying</a:t>
            </a:r>
            <a:r>
              <a:rPr lang="da-DK" sz="1200" b="0" i="0" kern="1200" dirty="0">
                <a:solidFill>
                  <a:schemeClr val="tx1"/>
                </a:solidFill>
                <a:effectLst/>
                <a:latin typeface="Gulim" charset="-127"/>
                <a:ea typeface="+mn-ea"/>
                <a:cs typeface="+mn-cs"/>
              </a:rPr>
              <a:t> </a:t>
            </a:r>
            <a:r>
              <a:rPr lang="da-DK" sz="1200" b="0" i="0" kern="1200" dirty="0" err="1">
                <a:solidFill>
                  <a:schemeClr val="tx1"/>
                </a:solidFill>
                <a:effectLst/>
                <a:latin typeface="Gulim" charset="-127"/>
                <a:ea typeface="+mn-ea"/>
                <a:cs typeface="+mn-cs"/>
              </a:rPr>
              <a:t>behavior</a:t>
            </a:r>
            <a:r>
              <a:rPr lang="da-DK" sz="1200" b="0" i="0" kern="1200" dirty="0">
                <a:solidFill>
                  <a:schemeClr val="tx1"/>
                </a:solidFill>
                <a:effectLst/>
                <a:latin typeface="Gulim" charset="-127"/>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1200" b="0" i="0" kern="1200" dirty="0">
              <a:solidFill>
                <a:schemeClr val="tx1"/>
              </a:solidFill>
              <a:effectLst/>
              <a:latin typeface="Gulim" charset="-127"/>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a-DK" sz="1200" b="0" i="0" kern="1200" dirty="0" err="1">
                <a:solidFill>
                  <a:schemeClr val="tx1"/>
                </a:solidFill>
                <a:effectLst/>
                <a:latin typeface="Gulim" charset="-127"/>
                <a:ea typeface="+mn-ea"/>
                <a:cs typeface="+mn-cs"/>
              </a:rPr>
              <a:t>We</a:t>
            </a:r>
            <a:r>
              <a:rPr lang="da-DK" sz="1200" b="0" i="0" kern="1200" dirty="0">
                <a:solidFill>
                  <a:schemeClr val="tx1"/>
                </a:solidFill>
                <a:effectLst/>
                <a:latin typeface="Gulim" charset="-127"/>
                <a:ea typeface="+mn-ea"/>
                <a:cs typeface="+mn-cs"/>
              </a:rPr>
              <a:t> provide a </a:t>
            </a:r>
            <a:r>
              <a:rPr lang="da-DK" sz="1200" b="0" i="0" kern="1200" dirty="0" err="1">
                <a:solidFill>
                  <a:schemeClr val="tx1"/>
                </a:solidFill>
                <a:effectLst/>
                <a:latin typeface="Gulim" charset="-127"/>
                <a:ea typeface="+mn-ea"/>
                <a:cs typeface="+mn-cs"/>
              </a:rPr>
              <a:t>product</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that</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differentiates</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yourself</a:t>
            </a:r>
            <a:r>
              <a:rPr lang="da-DK" sz="1200" b="0" i="0" kern="1200" baseline="0" dirty="0">
                <a:solidFill>
                  <a:schemeClr val="tx1"/>
                </a:solidFill>
                <a:effectLst/>
                <a:latin typeface="Gulim" charset="-127"/>
                <a:ea typeface="+mn-ea"/>
                <a:cs typeface="+mn-cs"/>
              </a:rPr>
              <a:t> from </a:t>
            </a:r>
            <a:r>
              <a:rPr lang="da-DK" sz="1200" b="0" i="0" kern="1200" baseline="0" dirty="0" err="1">
                <a:solidFill>
                  <a:schemeClr val="tx1"/>
                </a:solidFill>
                <a:effectLst/>
                <a:latin typeface="Gulim" charset="-127"/>
                <a:ea typeface="+mn-ea"/>
                <a:cs typeface="+mn-cs"/>
              </a:rPr>
              <a:t>your</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competitors</a:t>
            </a:r>
            <a:r>
              <a:rPr lang="da-DK" sz="1200" b="0" i="0" kern="1200" baseline="0" dirty="0">
                <a:solidFill>
                  <a:schemeClr val="tx1"/>
                </a:solidFill>
                <a:effectLst/>
                <a:latin typeface="Gulim" charset="-127"/>
                <a:ea typeface="+mn-ea"/>
                <a:cs typeface="+mn-cs"/>
              </a:rPr>
              <a:t> and </a:t>
            </a:r>
            <a:r>
              <a:rPr lang="da-DK" sz="1200" b="0" i="0" kern="1200" baseline="0" dirty="0" err="1">
                <a:solidFill>
                  <a:schemeClr val="tx1"/>
                </a:solidFill>
                <a:effectLst/>
                <a:latin typeface="Gulim" charset="-127"/>
                <a:ea typeface="+mn-ea"/>
                <a:cs typeface="+mn-cs"/>
              </a:rPr>
              <a:t>increase</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your</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value</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added</a:t>
            </a:r>
            <a:r>
              <a:rPr lang="da-DK" sz="1200" b="0" i="0" kern="1200" baseline="0" dirty="0">
                <a:solidFill>
                  <a:schemeClr val="tx1"/>
                </a:solidFill>
                <a:effectLst/>
                <a:latin typeface="Gulim" charset="-127"/>
                <a:ea typeface="+mn-ea"/>
                <a:cs typeface="+mn-cs"/>
              </a:rPr>
              <a:t>, so </a:t>
            </a:r>
            <a:r>
              <a:rPr lang="da-DK" sz="1200" b="0" i="0" kern="1200" baseline="0" dirty="0" err="1">
                <a:solidFill>
                  <a:schemeClr val="tx1"/>
                </a:solidFill>
                <a:effectLst/>
                <a:latin typeface="Gulim" charset="-127"/>
                <a:ea typeface="+mn-ea"/>
                <a:cs typeface="+mn-cs"/>
              </a:rPr>
              <a:t>you</a:t>
            </a:r>
            <a:r>
              <a:rPr lang="da-DK" sz="1200" b="0" i="0" kern="1200" baseline="0" dirty="0">
                <a:solidFill>
                  <a:schemeClr val="tx1"/>
                </a:solidFill>
                <a:effectLst/>
                <a:latin typeface="Gulim" charset="-127"/>
                <a:ea typeface="+mn-ea"/>
                <a:cs typeface="+mn-cs"/>
              </a:rPr>
              <a:t> do not </a:t>
            </a:r>
            <a:r>
              <a:rPr lang="da-DK" sz="1200" b="0" i="0" kern="1200" baseline="0" dirty="0" err="1">
                <a:solidFill>
                  <a:schemeClr val="tx1"/>
                </a:solidFill>
                <a:effectLst/>
                <a:latin typeface="Gulim" charset="-127"/>
                <a:ea typeface="+mn-ea"/>
                <a:cs typeface="+mn-cs"/>
              </a:rPr>
              <a:t>only</a:t>
            </a:r>
            <a:r>
              <a:rPr lang="da-DK" sz="1200" b="0" i="0" kern="1200" baseline="0" dirty="0">
                <a:solidFill>
                  <a:schemeClr val="tx1"/>
                </a:solidFill>
                <a:effectLst/>
                <a:latin typeface="Gulim" charset="-127"/>
                <a:ea typeface="+mn-ea"/>
                <a:cs typeface="+mn-cs"/>
              </a:rPr>
              <a:t> </a:t>
            </a:r>
            <a:r>
              <a:rPr lang="da-DK" sz="1200" b="0" i="0" kern="1200" baseline="0" dirty="0" err="1">
                <a:solidFill>
                  <a:schemeClr val="tx1"/>
                </a:solidFill>
                <a:effectLst/>
                <a:latin typeface="Gulim" charset="-127"/>
                <a:ea typeface="+mn-ea"/>
                <a:cs typeface="+mn-cs"/>
              </a:rPr>
              <a:t>compete</a:t>
            </a:r>
            <a:r>
              <a:rPr lang="da-DK" sz="1200" b="0" i="0" kern="1200" baseline="0" dirty="0">
                <a:solidFill>
                  <a:schemeClr val="tx1"/>
                </a:solidFill>
                <a:effectLst/>
                <a:latin typeface="Gulim" charset="-127"/>
                <a:ea typeface="+mn-ea"/>
                <a:cs typeface="+mn-cs"/>
              </a:rPr>
              <a:t> on </a:t>
            </a:r>
            <a:r>
              <a:rPr lang="da-DK" sz="1200" b="0" i="0" kern="1200" baseline="0" dirty="0" err="1">
                <a:solidFill>
                  <a:schemeClr val="tx1"/>
                </a:solidFill>
                <a:effectLst/>
                <a:latin typeface="Gulim" charset="-127"/>
                <a:ea typeface="+mn-ea"/>
                <a:cs typeface="+mn-cs"/>
              </a:rPr>
              <a:t>price</a:t>
            </a:r>
            <a:r>
              <a:rPr lang="da-DK" sz="1200" b="0" i="0" kern="1200" baseline="0" dirty="0">
                <a:solidFill>
                  <a:schemeClr val="tx1"/>
                </a:solidFill>
                <a:effectLst/>
                <a:latin typeface="Gulim" charset="-127"/>
                <a:ea typeface="+mn-ea"/>
                <a:cs typeface="+mn-cs"/>
              </a:rPr>
              <a:t> in the long run</a:t>
            </a:r>
            <a:endParaRPr lang="en-US" dirty="0"/>
          </a:p>
          <a:p>
            <a:endParaRPr lang="en-US" dirty="0"/>
          </a:p>
        </p:txBody>
      </p:sp>
      <p:sp>
        <p:nvSpPr>
          <p:cNvPr id="4" name="Slide Number Placeholder 3"/>
          <p:cNvSpPr>
            <a:spLocks noGrp="1"/>
          </p:cNvSpPr>
          <p:nvPr>
            <p:ph type="sldNum" sz="quarter" idx="10"/>
          </p:nvPr>
        </p:nvSpPr>
        <p:spPr/>
        <p:txBody>
          <a:bodyPr/>
          <a:lstStyle/>
          <a:p>
            <a:fld id="{02F96545-2995-7E4F-99F2-E604453960B6}" type="slidenum">
              <a:rPr lang="da-DK" smtClean="0"/>
              <a:pPr/>
              <a:t>46</a:t>
            </a:fld>
            <a:endParaRPr lang="da-DK" dirty="0"/>
          </a:p>
        </p:txBody>
      </p:sp>
    </p:spTree>
    <p:extLst>
      <p:ext uri="{BB962C8B-B14F-4D97-AF65-F5344CB8AC3E}">
        <p14:creationId xmlns:p14="http://schemas.microsoft.com/office/powerpoint/2010/main" val="19599212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E61DB1-1524-4352-B843-0668BF042150}" type="slidenum">
              <a:rPr lang="da-DK" smtClean="0"/>
              <a:t>60</a:t>
            </a:fld>
            <a:endParaRPr lang="da-DK"/>
          </a:p>
        </p:txBody>
      </p:sp>
    </p:spTree>
    <p:extLst>
      <p:ext uri="{BB962C8B-B14F-4D97-AF65-F5344CB8AC3E}">
        <p14:creationId xmlns:p14="http://schemas.microsoft.com/office/powerpoint/2010/main" val="3090472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a-DK" sz="1200" b="1" i="0" kern="1200" dirty="0">
                <a:solidFill>
                  <a:schemeClr val="tx1"/>
                </a:solidFill>
                <a:effectLst/>
                <a:latin typeface="+mn-lt"/>
                <a:ea typeface="+mn-ea"/>
                <a:cs typeface="+mn-cs"/>
              </a:rPr>
              <a:t>An </a:t>
            </a:r>
            <a:r>
              <a:rPr lang="da-DK" sz="1200" b="1" i="0" kern="1200" dirty="0" err="1">
                <a:solidFill>
                  <a:schemeClr val="tx1"/>
                </a:solidFill>
                <a:effectLst/>
                <a:latin typeface="+mn-lt"/>
                <a:ea typeface="+mn-ea"/>
                <a:cs typeface="+mn-cs"/>
              </a:rPr>
              <a:t>explanation</a:t>
            </a:r>
            <a:r>
              <a:rPr lang="da-DK" sz="1200" b="1" i="0" kern="1200" dirty="0">
                <a:solidFill>
                  <a:schemeClr val="tx1"/>
                </a:solidFill>
                <a:effectLst/>
                <a:latin typeface="+mn-lt"/>
                <a:ea typeface="+mn-ea"/>
                <a:cs typeface="+mn-cs"/>
              </a:rPr>
              <a:t> of the central </a:t>
            </a:r>
            <a:r>
              <a:rPr lang="da-DK" sz="1200" b="1" i="0" kern="1200" dirty="0" err="1">
                <a:solidFill>
                  <a:schemeClr val="tx1"/>
                </a:solidFill>
                <a:effectLst/>
                <a:latin typeface="+mn-lt"/>
                <a:ea typeface="+mn-ea"/>
                <a:cs typeface="+mn-cs"/>
              </a:rPr>
              <a:t>idea</a:t>
            </a:r>
            <a:r>
              <a:rPr lang="da-DK" sz="1200" b="1" i="0" kern="1200" dirty="0">
                <a:solidFill>
                  <a:schemeClr val="tx1"/>
                </a:solidFill>
                <a:effectLst/>
                <a:latin typeface="+mn-lt"/>
                <a:ea typeface="+mn-ea"/>
                <a:cs typeface="+mn-cs"/>
              </a:rPr>
              <a:t> </a:t>
            </a:r>
            <a:r>
              <a:rPr lang="da-DK" sz="1200" b="1" i="0" kern="1200" dirty="0" err="1">
                <a:solidFill>
                  <a:schemeClr val="tx1"/>
                </a:solidFill>
                <a:effectLst/>
                <a:latin typeface="+mn-lt"/>
                <a:ea typeface="+mn-ea"/>
                <a:cs typeface="+mn-cs"/>
              </a:rPr>
              <a:t>behind</a:t>
            </a:r>
            <a:r>
              <a:rPr lang="da-DK" sz="1200" b="1" i="0" kern="1200" dirty="0">
                <a:solidFill>
                  <a:schemeClr val="tx1"/>
                </a:solidFill>
                <a:effectLst/>
                <a:latin typeface="+mn-lt"/>
                <a:ea typeface="+mn-ea"/>
                <a:cs typeface="+mn-cs"/>
              </a:rPr>
              <a:t> </a:t>
            </a:r>
            <a:r>
              <a:rPr lang="da-DK" sz="1200" b="1" i="0" kern="1200" dirty="0" err="1">
                <a:solidFill>
                  <a:schemeClr val="tx1"/>
                </a:solidFill>
                <a:effectLst/>
                <a:latin typeface="+mn-lt"/>
                <a:ea typeface="+mn-ea"/>
                <a:cs typeface="+mn-cs"/>
              </a:rPr>
              <a:t>your</a:t>
            </a:r>
            <a:r>
              <a:rPr lang="da-DK" sz="1200" b="1" i="0" kern="1200" dirty="0">
                <a:solidFill>
                  <a:schemeClr val="tx1"/>
                </a:solidFill>
                <a:effectLst/>
                <a:latin typeface="+mn-lt"/>
                <a:ea typeface="+mn-ea"/>
                <a:cs typeface="+mn-cs"/>
              </a:rPr>
              <a:t> final </a:t>
            </a:r>
            <a:r>
              <a:rPr lang="da-DK" sz="1200" b="1" i="0" kern="1200" dirty="0" err="1">
                <a:solidFill>
                  <a:schemeClr val="tx1"/>
                </a:solidFill>
                <a:effectLst/>
                <a:latin typeface="+mn-lt"/>
                <a:ea typeface="+mn-ea"/>
                <a:cs typeface="+mn-cs"/>
              </a:rPr>
              <a:t>project</a:t>
            </a:r>
            <a:r>
              <a:rPr lang="da-DK" sz="1200" b="1" i="0" kern="1200" dirty="0">
                <a:solidFill>
                  <a:schemeClr val="tx1"/>
                </a:solidFill>
                <a:effectLst/>
                <a:latin typeface="+mn-lt"/>
                <a:ea typeface="+mn-ea"/>
                <a:cs typeface="+mn-cs"/>
              </a:rPr>
              <a:t> (</a:t>
            </a:r>
            <a:r>
              <a:rPr lang="da-DK" sz="1200" b="1" i="0" kern="1200" dirty="0" err="1">
                <a:solidFill>
                  <a:schemeClr val="tx1"/>
                </a:solidFill>
                <a:effectLst/>
                <a:latin typeface="+mn-lt"/>
                <a:ea typeface="+mn-ea"/>
                <a:cs typeface="+mn-cs"/>
              </a:rPr>
              <a:t>what</a:t>
            </a:r>
            <a:r>
              <a:rPr lang="da-DK" sz="1200" b="1" i="0" kern="1200" dirty="0">
                <a:solidFill>
                  <a:schemeClr val="tx1"/>
                </a:solidFill>
                <a:effectLst/>
                <a:latin typeface="+mn-lt"/>
                <a:ea typeface="+mn-ea"/>
                <a:cs typeface="+mn-cs"/>
              </a:rPr>
              <a:t> is the </a:t>
            </a:r>
            <a:r>
              <a:rPr lang="da-DK" sz="1200" b="1" i="0" kern="1200" dirty="0" err="1">
                <a:solidFill>
                  <a:schemeClr val="tx1"/>
                </a:solidFill>
                <a:effectLst/>
                <a:latin typeface="+mn-lt"/>
                <a:ea typeface="+mn-ea"/>
                <a:cs typeface="+mn-cs"/>
              </a:rPr>
              <a:t>idea</a:t>
            </a:r>
            <a:r>
              <a:rPr lang="da-DK" sz="1200" b="1" i="0" kern="1200" dirty="0">
                <a:solidFill>
                  <a:schemeClr val="tx1"/>
                </a:solidFill>
                <a:effectLst/>
                <a:latin typeface="+mn-lt"/>
                <a:ea typeface="+mn-ea"/>
                <a:cs typeface="+mn-cs"/>
              </a:rPr>
              <a:t>? </a:t>
            </a:r>
            <a:r>
              <a:rPr lang="da-DK" sz="1200" b="1" i="0" kern="1200" dirty="0" err="1">
                <a:solidFill>
                  <a:schemeClr val="tx1"/>
                </a:solidFill>
                <a:effectLst/>
                <a:latin typeface="+mn-lt"/>
                <a:ea typeface="+mn-ea"/>
                <a:cs typeface="+mn-cs"/>
              </a:rPr>
              <a:t>which</a:t>
            </a:r>
            <a:r>
              <a:rPr lang="da-DK" sz="1200" b="1" i="0" kern="1200" dirty="0">
                <a:solidFill>
                  <a:schemeClr val="tx1"/>
                </a:solidFill>
                <a:effectLst/>
                <a:latin typeface="+mn-lt"/>
                <a:ea typeface="+mn-ea"/>
                <a:cs typeface="+mn-cs"/>
              </a:rPr>
              <a:t> datasets do </a:t>
            </a:r>
            <a:r>
              <a:rPr lang="da-DK" sz="1200" b="1" i="0" kern="1200" dirty="0" err="1">
                <a:solidFill>
                  <a:schemeClr val="tx1"/>
                </a:solidFill>
                <a:effectLst/>
                <a:latin typeface="+mn-lt"/>
                <a:ea typeface="+mn-ea"/>
                <a:cs typeface="+mn-cs"/>
              </a:rPr>
              <a:t>you</a:t>
            </a:r>
            <a:r>
              <a:rPr lang="da-DK" sz="1200" b="1" i="0" kern="1200" dirty="0">
                <a:solidFill>
                  <a:schemeClr val="tx1"/>
                </a:solidFill>
                <a:effectLst/>
                <a:latin typeface="+mn-lt"/>
                <a:ea typeface="+mn-ea"/>
                <a:cs typeface="+mn-cs"/>
              </a:rPr>
              <a:t> </a:t>
            </a:r>
            <a:r>
              <a:rPr lang="da-DK" sz="1200" b="1" i="0" kern="1200" dirty="0" err="1">
                <a:solidFill>
                  <a:schemeClr val="tx1"/>
                </a:solidFill>
                <a:effectLst/>
                <a:latin typeface="+mn-lt"/>
                <a:ea typeface="+mn-ea"/>
                <a:cs typeface="+mn-cs"/>
              </a:rPr>
              <a:t>need</a:t>
            </a:r>
            <a:r>
              <a:rPr lang="da-DK" sz="1200" b="1" i="0" kern="1200" dirty="0">
                <a:solidFill>
                  <a:schemeClr val="tx1"/>
                </a:solidFill>
                <a:effectLst/>
                <a:latin typeface="+mn-lt"/>
                <a:ea typeface="+mn-ea"/>
                <a:cs typeface="+mn-cs"/>
              </a:rPr>
              <a:t> to </a:t>
            </a:r>
            <a:r>
              <a:rPr lang="da-DK" sz="1200" b="1" i="0" kern="1200" dirty="0" err="1">
                <a:solidFill>
                  <a:schemeClr val="tx1"/>
                </a:solidFill>
                <a:effectLst/>
                <a:latin typeface="+mn-lt"/>
                <a:ea typeface="+mn-ea"/>
                <a:cs typeface="+mn-cs"/>
              </a:rPr>
              <a:t>explore</a:t>
            </a:r>
            <a:r>
              <a:rPr lang="da-DK" sz="1200" b="1" i="0" kern="1200" dirty="0">
                <a:solidFill>
                  <a:schemeClr val="tx1"/>
                </a:solidFill>
                <a:effectLst/>
                <a:latin typeface="+mn-lt"/>
                <a:ea typeface="+mn-ea"/>
                <a:cs typeface="+mn-cs"/>
              </a:rPr>
              <a:t> the </a:t>
            </a:r>
            <a:r>
              <a:rPr lang="da-DK" sz="1200" b="1" i="0" kern="1200" dirty="0" err="1">
                <a:solidFill>
                  <a:schemeClr val="tx1"/>
                </a:solidFill>
                <a:effectLst/>
                <a:latin typeface="+mn-lt"/>
                <a:ea typeface="+mn-ea"/>
                <a:cs typeface="+mn-cs"/>
              </a:rPr>
              <a:t>idea</a:t>
            </a:r>
            <a:r>
              <a:rPr lang="da-DK" sz="1200" b="1" i="0" kern="1200" dirty="0">
                <a:solidFill>
                  <a:schemeClr val="tx1"/>
                </a:solidFill>
                <a:effectLst/>
                <a:latin typeface="+mn-lt"/>
                <a:ea typeface="+mn-ea"/>
                <a:cs typeface="+mn-cs"/>
              </a:rPr>
              <a:t>?, </a:t>
            </a:r>
            <a:r>
              <a:rPr lang="da-DK" sz="1200" b="1" i="0" kern="1200" dirty="0" err="1">
                <a:solidFill>
                  <a:schemeClr val="tx1"/>
                </a:solidFill>
                <a:effectLst/>
                <a:latin typeface="+mn-lt"/>
                <a:ea typeface="+mn-ea"/>
                <a:cs typeface="+mn-cs"/>
              </a:rPr>
              <a:t>why</a:t>
            </a:r>
            <a:r>
              <a:rPr lang="da-DK" sz="1200" b="1" i="0" kern="1200" dirty="0">
                <a:solidFill>
                  <a:schemeClr val="tx1"/>
                </a:solidFill>
                <a:effectLst/>
                <a:latin typeface="+mn-lt"/>
                <a:ea typeface="+mn-ea"/>
                <a:cs typeface="+mn-cs"/>
              </a:rPr>
              <a:t> is it </a:t>
            </a:r>
            <a:r>
              <a:rPr lang="da-DK" sz="1200" b="1" i="0" kern="1200" dirty="0" err="1">
                <a:solidFill>
                  <a:schemeClr val="tx1"/>
                </a:solidFill>
                <a:effectLst/>
                <a:latin typeface="+mn-lt"/>
                <a:ea typeface="+mn-ea"/>
                <a:cs typeface="+mn-cs"/>
              </a:rPr>
              <a:t>interesting</a:t>
            </a:r>
            <a:r>
              <a:rPr lang="da-DK" sz="1200" b="1" i="0" kern="1200" dirty="0">
                <a:solidFill>
                  <a:schemeClr val="tx1"/>
                </a:solidFill>
                <a:effectLst/>
                <a:latin typeface="+mn-lt"/>
                <a:ea typeface="+mn-ea"/>
                <a:cs typeface="+mn-cs"/>
              </a:rPr>
              <a:t>?)</a:t>
            </a:r>
            <a:r>
              <a:rPr lang="da-DK" sz="1200" b="0" i="0" kern="1200" dirty="0">
                <a:solidFill>
                  <a:schemeClr val="tx1"/>
                </a:solidFill>
                <a:effectLst/>
                <a:latin typeface="+mn-lt"/>
                <a:ea typeface="+mn-ea"/>
                <a:cs typeface="+mn-cs"/>
              </a:rPr>
              <a:t> </a:t>
            </a:r>
          </a:p>
          <a:p>
            <a:pPr marL="628650" lvl="1" indent="-171450">
              <a:buFontTx/>
              <a:buChar char="-"/>
            </a:pPr>
            <a:r>
              <a:rPr lang="da-DK" sz="1200" b="0" i="0" kern="1200" dirty="0">
                <a:solidFill>
                  <a:schemeClr val="tx1"/>
                </a:solidFill>
                <a:effectLst/>
                <a:latin typeface="+mn-lt"/>
                <a:ea typeface="+mn-ea"/>
                <a:cs typeface="+mn-cs"/>
              </a:rPr>
              <a:t>Inspiration from an website </a:t>
            </a:r>
            <a:r>
              <a:rPr lang="da-DK" sz="1200" b="0" i="0" kern="1200" dirty="0" err="1">
                <a:solidFill>
                  <a:schemeClr val="tx1"/>
                </a:solidFill>
                <a:effectLst/>
                <a:latin typeface="+mn-lt"/>
                <a:ea typeface="+mn-ea"/>
                <a:cs typeface="+mn-cs"/>
              </a:rPr>
              <a:t>displacing</a:t>
            </a:r>
            <a:r>
              <a:rPr lang="da-DK" sz="1200" b="0" i="0" kern="1200" dirty="0">
                <a:solidFill>
                  <a:schemeClr val="tx1"/>
                </a:solidFill>
                <a:effectLst/>
                <a:latin typeface="+mn-lt"/>
                <a:ea typeface="+mn-ea"/>
                <a:cs typeface="+mn-cs"/>
              </a:rPr>
              <a:t> the </a:t>
            </a:r>
            <a:r>
              <a:rPr lang="da-DK" sz="1200" b="0" i="0" kern="1200" dirty="0" err="1">
                <a:solidFill>
                  <a:schemeClr val="tx1"/>
                </a:solidFill>
                <a:effectLst/>
                <a:latin typeface="+mn-lt"/>
                <a:ea typeface="+mn-ea"/>
                <a:cs typeface="+mn-cs"/>
              </a:rPr>
              <a:t>trees</a:t>
            </a:r>
            <a:r>
              <a:rPr lang="da-DK" sz="1200" b="0" i="0" kern="1200" dirty="0">
                <a:solidFill>
                  <a:schemeClr val="tx1"/>
                </a:solidFill>
                <a:effectLst/>
                <a:latin typeface="+mn-lt"/>
                <a:ea typeface="+mn-ea"/>
                <a:cs typeface="+mn-cs"/>
              </a:rPr>
              <a:t> in </a:t>
            </a:r>
            <a:r>
              <a:rPr lang="da-DK" sz="1200" b="0" i="0" kern="1200" dirty="0" err="1">
                <a:solidFill>
                  <a:schemeClr val="tx1"/>
                </a:solidFill>
                <a:effectLst/>
                <a:latin typeface="+mn-lt"/>
                <a:ea typeface="+mn-ea"/>
                <a:cs typeface="+mn-cs"/>
              </a:rPr>
              <a:t>five</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neighbourghood</a:t>
            </a:r>
            <a:r>
              <a:rPr lang="da-DK" sz="1200" b="0" i="0" kern="1200" dirty="0">
                <a:solidFill>
                  <a:schemeClr val="tx1"/>
                </a:solidFill>
                <a:effectLst/>
                <a:latin typeface="+mn-lt"/>
                <a:ea typeface="+mn-ea"/>
                <a:cs typeface="+mn-cs"/>
              </a:rPr>
              <a:t> in NY. So </a:t>
            </a:r>
            <a:r>
              <a:rPr lang="da-DK" sz="1200" b="0" i="0" kern="1200" dirty="0" err="1">
                <a:solidFill>
                  <a:schemeClr val="tx1"/>
                </a:solidFill>
                <a:effectLst/>
                <a:latin typeface="+mn-lt"/>
                <a:ea typeface="+mn-ea"/>
                <a:cs typeface="+mn-cs"/>
              </a:rPr>
              <a:t>we</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want</a:t>
            </a:r>
            <a:r>
              <a:rPr lang="da-DK" sz="1200" b="0" i="0" kern="1200" dirty="0">
                <a:solidFill>
                  <a:schemeClr val="tx1"/>
                </a:solidFill>
                <a:effectLst/>
                <a:latin typeface="+mn-lt"/>
                <a:ea typeface="+mn-ea"/>
                <a:cs typeface="+mn-cs"/>
              </a:rPr>
              <a:t> to </a:t>
            </a:r>
            <a:r>
              <a:rPr lang="da-DK" sz="1200" b="0" i="0" kern="1200" dirty="0" err="1">
                <a:solidFill>
                  <a:schemeClr val="tx1"/>
                </a:solidFill>
                <a:effectLst/>
                <a:latin typeface="+mn-lt"/>
                <a:ea typeface="+mn-ea"/>
                <a:cs typeface="+mn-cs"/>
              </a:rPr>
              <a:t>make</a:t>
            </a:r>
            <a:r>
              <a:rPr lang="da-DK" sz="1200" b="0" i="0" kern="1200" dirty="0">
                <a:solidFill>
                  <a:schemeClr val="tx1"/>
                </a:solidFill>
                <a:effectLst/>
                <a:latin typeface="+mn-lt"/>
                <a:ea typeface="+mn-ea"/>
                <a:cs typeface="+mn-cs"/>
              </a:rPr>
              <a:t> the same over CPH. Right </a:t>
            </a:r>
            <a:r>
              <a:rPr lang="da-DK" sz="1200" b="0" i="0" kern="1200" dirty="0" err="1">
                <a:solidFill>
                  <a:schemeClr val="tx1"/>
                </a:solidFill>
                <a:effectLst/>
                <a:latin typeface="+mn-lt"/>
                <a:ea typeface="+mn-ea"/>
                <a:cs typeface="+mn-cs"/>
              </a:rPr>
              <a:t>now</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we</a:t>
            </a:r>
            <a:r>
              <a:rPr lang="da-DK" sz="1200" b="0" i="0" kern="1200" dirty="0">
                <a:solidFill>
                  <a:schemeClr val="tx1"/>
                </a:solidFill>
                <a:effectLst/>
                <a:latin typeface="+mn-lt"/>
                <a:ea typeface="+mn-ea"/>
                <a:cs typeface="+mn-cs"/>
              </a:rPr>
              <a:t> have </a:t>
            </a:r>
            <a:r>
              <a:rPr lang="da-DK" sz="1200" b="0" i="0" kern="1200" dirty="0" err="1">
                <a:solidFill>
                  <a:schemeClr val="tx1"/>
                </a:solidFill>
                <a:effectLst/>
                <a:latin typeface="+mn-lt"/>
                <a:ea typeface="+mn-ea"/>
                <a:cs typeface="+mn-cs"/>
              </a:rPr>
              <a:t>two</a:t>
            </a:r>
            <a:r>
              <a:rPr lang="da-DK" sz="1200" b="0" i="0" kern="1200" dirty="0">
                <a:solidFill>
                  <a:schemeClr val="tx1"/>
                </a:solidFill>
                <a:effectLst/>
                <a:latin typeface="+mn-lt"/>
                <a:ea typeface="+mn-ea"/>
                <a:cs typeface="+mn-cs"/>
              </a:rPr>
              <a:t> datasets, of </a:t>
            </a:r>
            <a:r>
              <a:rPr lang="da-DK" sz="1200" b="0" i="0" kern="1200" dirty="0" err="1">
                <a:solidFill>
                  <a:schemeClr val="tx1"/>
                </a:solidFill>
                <a:effectLst/>
                <a:latin typeface="+mn-lt"/>
                <a:ea typeface="+mn-ea"/>
                <a:cs typeface="+mn-cs"/>
              </a:rPr>
              <a:t>different</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sizes</a:t>
            </a:r>
            <a:r>
              <a:rPr lang="da-DK" sz="1200" b="0" i="0" kern="1200" dirty="0">
                <a:solidFill>
                  <a:schemeClr val="tx1"/>
                </a:solidFill>
                <a:effectLst/>
                <a:latin typeface="+mn-lt"/>
                <a:ea typeface="+mn-ea"/>
                <a:cs typeface="+mn-cs"/>
              </a:rPr>
              <a:t> and with </a:t>
            </a:r>
            <a:r>
              <a:rPr lang="da-DK" sz="1200" b="0" i="0" kern="1200" dirty="0" err="1">
                <a:solidFill>
                  <a:schemeClr val="tx1"/>
                </a:solidFill>
                <a:effectLst/>
                <a:latin typeface="+mn-lt"/>
                <a:ea typeface="+mn-ea"/>
                <a:cs typeface="+mn-cs"/>
              </a:rPr>
              <a:t>different</a:t>
            </a:r>
            <a:r>
              <a:rPr lang="da-DK" sz="1200" b="0" i="0" kern="1200" dirty="0">
                <a:solidFill>
                  <a:schemeClr val="tx1"/>
                </a:solidFill>
                <a:effectLst/>
                <a:latin typeface="+mn-lt"/>
                <a:ea typeface="+mn-ea"/>
                <a:cs typeface="+mn-cs"/>
              </a:rPr>
              <a:t> features. (</a:t>
            </a:r>
            <a:r>
              <a:rPr lang="da-DK" sz="1200" b="0" i="0" kern="1200" dirty="0" err="1">
                <a:solidFill>
                  <a:schemeClr val="tx1"/>
                </a:solidFill>
                <a:effectLst/>
                <a:latin typeface="+mn-lt"/>
                <a:ea typeface="+mn-ea"/>
                <a:cs typeface="+mn-cs"/>
              </a:rPr>
              <a:t>Choose</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one</a:t>
            </a:r>
            <a:r>
              <a:rPr lang="da-DK" sz="1200" b="0" i="0" kern="1200" dirty="0">
                <a:solidFill>
                  <a:schemeClr val="tx1"/>
                </a:solidFill>
                <a:effectLst/>
                <a:latin typeface="+mn-lt"/>
                <a:ea typeface="+mn-ea"/>
                <a:cs typeface="+mn-cs"/>
              </a:rPr>
              <a:t> or </a:t>
            </a:r>
            <a:r>
              <a:rPr lang="da-DK" sz="1200" b="0" i="0" kern="1200" dirty="0" err="1">
                <a:solidFill>
                  <a:schemeClr val="tx1"/>
                </a:solidFill>
                <a:effectLst/>
                <a:latin typeface="+mn-lt"/>
                <a:ea typeface="+mn-ea"/>
                <a:cs typeface="+mn-cs"/>
              </a:rPr>
              <a:t>merges</a:t>
            </a:r>
            <a:r>
              <a:rPr lang="da-DK" sz="1200" b="0" i="0" kern="1200" dirty="0">
                <a:solidFill>
                  <a:schemeClr val="tx1"/>
                </a:solidFill>
                <a:effectLst/>
                <a:latin typeface="+mn-lt"/>
                <a:ea typeface="+mn-ea"/>
                <a:cs typeface="+mn-cs"/>
              </a:rPr>
              <a:t>?). It is </a:t>
            </a:r>
            <a:r>
              <a:rPr lang="da-DK" sz="1200" b="0" i="0" kern="1200" dirty="0" err="1">
                <a:solidFill>
                  <a:schemeClr val="tx1"/>
                </a:solidFill>
                <a:effectLst/>
                <a:latin typeface="+mn-lt"/>
                <a:ea typeface="+mn-ea"/>
                <a:cs typeface="+mn-cs"/>
              </a:rPr>
              <a:t>interesting</a:t>
            </a:r>
            <a:r>
              <a:rPr lang="da-DK" sz="1200" b="0" i="0" kern="1200" dirty="0">
                <a:solidFill>
                  <a:schemeClr val="tx1"/>
                </a:solidFill>
                <a:effectLst/>
                <a:latin typeface="+mn-lt"/>
                <a:ea typeface="+mn-ea"/>
                <a:cs typeface="+mn-cs"/>
              </a:rPr>
              <a:t> to </a:t>
            </a:r>
            <a:r>
              <a:rPr lang="da-DK" sz="1200" b="0" i="0" kern="1200" dirty="0" err="1">
                <a:solidFill>
                  <a:schemeClr val="tx1"/>
                </a:solidFill>
                <a:effectLst/>
                <a:latin typeface="+mn-lt"/>
                <a:ea typeface="+mn-ea"/>
                <a:cs typeface="+mn-cs"/>
              </a:rPr>
              <a:t>see</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want</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we</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can</a:t>
            </a:r>
            <a:r>
              <a:rPr lang="da-DK" sz="1200" b="0" i="0" kern="1200" dirty="0">
                <a:solidFill>
                  <a:schemeClr val="tx1"/>
                </a:solidFill>
                <a:effectLst/>
                <a:latin typeface="+mn-lt"/>
                <a:ea typeface="+mn-ea"/>
                <a:cs typeface="+mn-cs"/>
              </a:rPr>
              <a:t> find in the data. </a:t>
            </a:r>
            <a:r>
              <a:rPr lang="da-DK" sz="1200" b="0" i="0" kern="1200" dirty="0" err="1">
                <a:solidFill>
                  <a:schemeClr val="tx1"/>
                </a:solidFill>
                <a:effectLst/>
                <a:latin typeface="+mn-lt"/>
                <a:ea typeface="+mn-ea"/>
                <a:cs typeface="+mn-cs"/>
              </a:rPr>
              <a:t>What</a:t>
            </a:r>
            <a:r>
              <a:rPr lang="da-DK" sz="1200" b="0" i="0" kern="1200" dirty="0">
                <a:solidFill>
                  <a:schemeClr val="tx1"/>
                </a:solidFill>
                <a:effectLst/>
                <a:latin typeface="+mn-lt"/>
                <a:ea typeface="+mn-ea"/>
                <a:cs typeface="+mn-cs"/>
              </a:rPr>
              <a:t> patterns </a:t>
            </a:r>
            <a:r>
              <a:rPr lang="da-DK" sz="1200" b="0" i="0" kern="1200" dirty="0" err="1">
                <a:solidFill>
                  <a:schemeClr val="tx1"/>
                </a:solidFill>
                <a:effectLst/>
                <a:latin typeface="+mn-lt"/>
                <a:ea typeface="+mn-ea"/>
                <a:cs typeface="+mn-cs"/>
              </a:rPr>
              <a:t>will</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reveal</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itself</a:t>
            </a:r>
            <a:r>
              <a:rPr lang="da-DK" sz="1200" b="0" i="0" kern="1200" dirty="0">
                <a:solidFill>
                  <a:schemeClr val="tx1"/>
                </a:solidFill>
                <a:effectLst/>
                <a:latin typeface="+mn-lt"/>
                <a:ea typeface="+mn-ea"/>
                <a:cs typeface="+mn-cs"/>
              </a:rPr>
              <a:t>? </a:t>
            </a:r>
          </a:p>
          <a:p>
            <a:pPr marL="628650" lvl="1" indent="-171450">
              <a:buFontTx/>
              <a:buChar char="-"/>
            </a:pPr>
            <a:r>
              <a:rPr lang="da-DK" sz="1200" b="0" i="0" kern="1200" dirty="0">
                <a:solidFill>
                  <a:schemeClr val="tx1"/>
                </a:solidFill>
                <a:effectLst/>
                <a:latin typeface="+mn-lt"/>
                <a:ea typeface="+mn-ea"/>
                <a:cs typeface="+mn-cs"/>
              </a:rPr>
              <a:t>Be </a:t>
            </a:r>
            <a:r>
              <a:rPr lang="da-DK" sz="1200" b="0" i="0" kern="1200" dirty="0" err="1">
                <a:solidFill>
                  <a:schemeClr val="tx1"/>
                </a:solidFill>
                <a:effectLst/>
                <a:latin typeface="+mn-lt"/>
                <a:ea typeface="+mn-ea"/>
                <a:cs typeface="+mn-cs"/>
              </a:rPr>
              <a:t>ready</a:t>
            </a:r>
            <a:r>
              <a:rPr lang="da-DK" sz="1200" b="0" i="0" kern="1200" dirty="0">
                <a:solidFill>
                  <a:schemeClr val="tx1"/>
                </a:solidFill>
                <a:effectLst/>
                <a:latin typeface="+mn-lt"/>
                <a:ea typeface="+mn-ea"/>
                <a:cs typeface="+mn-cs"/>
              </a:rPr>
              <a:t> to </a:t>
            </a:r>
            <a:r>
              <a:rPr lang="da-DK" sz="1200" b="0" i="0" kern="1200" dirty="0" err="1">
                <a:solidFill>
                  <a:schemeClr val="tx1"/>
                </a:solidFill>
                <a:effectLst/>
                <a:latin typeface="+mn-lt"/>
                <a:ea typeface="+mn-ea"/>
                <a:cs typeface="+mn-cs"/>
              </a:rPr>
              <a:t>safe</a:t>
            </a:r>
            <a:r>
              <a:rPr lang="da-DK" sz="1200" b="0" i="0" kern="1200" dirty="0">
                <a:solidFill>
                  <a:schemeClr val="tx1"/>
                </a:solidFill>
                <a:effectLst/>
                <a:latin typeface="+mn-lt"/>
                <a:ea typeface="+mn-ea"/>
                <a:cs typeface="+mn-cs"/>
              </a:rPr>
              <a:t> the </a:t>
            </a:r>
            <a:r>
              <a:rPr lang="da-DK" sz="1200" b="0" i="0" kern="1200" dirty="0" err="1">
                <a:solidFill>
                  <a:schemeClr val="tx1"/>
                </a:solidFill>
                <a:effectLst/>
                <a:latin typeface="+mn-lt"/>
                <a:ea typeface="+mn-ea"/>
                <a:cs typeface="+mn-cs"/>
              </a:rPr>
              <a:t>trees</a:t>
            </a:r>
            <a:r>
              <a:rPr lang="da-DK" sz="1200" b="0" i="0" kern="1200" dirty="0">
                <a:solidFill>
                  <a:schemeClr val="tx1"/>
                </a:solidFill>
                <a:effectLst/>
                <a:latin typeface="+mn-lt"/>
                <a:ea typeface="+mn-ea"/>
                <a:cs typeface="+mn-cs"/>
              </a:rPr>
              <a:t> from </a:t>
            </a:r>
            <a:r>
              <a:rPr lang="da-DK" sz="1200" b="0" i="0" kern="1200" dirty="0" err="1">
                <a:solidFill>
                  <a:schemeClr val="tx1"/>
                </a:solidFill>
                <a:effectLst/>
                <a:latin typeface="+mn-lt"/>
                <a:ea typeface="+mn-ea"/>
                <a:cs typeface="+mn-cs"/>
              </a:rPr>
              <a:t>corona</a:t>
            </a:r>
            <a:r>
              <a:rPr lang="da-DK" sz="1200" b="0" i="0" kern="1200" dirty="0">
                <a:solidFill>
                  <a:schemeClr val="tx1"/>
                </a:solidFill>
                <a:effectLst/>
                <a:latin typeface="+mn-lt"/>
                <a:ea typeface="+mn-ea"/>
                <a:cs typeface="+mn-cs"/>
              </a:rPr>
              <a:t>.</a:t>
            </a:r>
          </a:p>
          <a:p>
            <a:endParaRPr lang="da-DK" dirty="0"/>
          </a:p>
        </p:txBody>
      </p:sp>
      <p:sp>
        <p:nvSpPr>
          <p:cNvPr id="4" name="Slide Number Placeholder 3"/>
          <p:cNvSpPr>
            <a:spLocks noGrp="1"/>
          </p:cNvSpPr>
          <p:nvPr>
            <p:ph type="sldNum" sz="quarter" idx="5"/>
          </p:nvPr>
        </p:nvSpPr>
        <p:spPr/>
        <p:txBody>
          <a:bodyPr/>
          <a:lstStyle/>
          <a:p>
            <a:fld id="{1EE043E8-17D5-894D-A8F4-99F1597AFF58}" type="slidenum">
              <a:rPr lang="da-DK" smtClean="0"/>
              <a:t>3</a:t>
            </a:fld>
            <a:endParaRPr lang="da-DK"/>
          </a:p>
        </p:txBody>
      </p:sp>
    </p:spTree>
    <p:extLst>
      <p:ext uri="{BB962C8B-B14F-4D97-AF65-F5344CB8AC3E}">
        <p14:creationId xmlns:p14="http://schemas.microsoft.com/office/powerpoint/2010/main" val="1928465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1EE043E8-17D5-894D-A8F4-99F1597AFF58}" type="slidenum">
              <a:rPr lang="da-DK" smtClean="0"/>
              <a:t>67</a:t>
            </a:fld>
            <a:endParaRPr lang="da-DK"/>
          </a:p>
        </p:txBody>
      </p:sp>
    </p:spTree>
    <p:extLst>
      <p:ext uri="{BB962C8B-B14F-4D97-AF65-F5344CB8AC3E}">
        <p14:creationId xmlns:p14="http://schemas.microsoft.com/office/powerpoint/2010/main" val="27166005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580DE7-D3DC-C048-9080-DCAD74177275}" type="slidenum">
              <a:rPr lang="da-DK" smtClean="0"/>
              <a:t>77</a:t>
            </a:fld>
            <a:endParaRPr lang="da-DK"/>
          </a:p>
        </p:txBody>
      </p:sp>
    </p:spTree>
    <p:extLst>
      <p:ext uri="{BB962C8B-B14F-4D97-AF65-F5344CB8AC3E}">
        <p14:creationId xmlns:p14="http://schemas.microsoft.com/office/powerpoint/2010/main" val="719917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200" b="0" i="0" kern="1200" dirty="0" err="1">
                <a:solidFill>
                  <a:schemeClr val="tx1"/>
                </a:solidFill>
                <a:effectLst/>
                <a:latin typeface="+mn-lt"/>
                <a:ea typeface="+mn-ea"/>
                <a:cs typeface="+mn-cs"/>
              </a:rPr>
              <a:t>Our</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goal</a:t>
            </a:r>
            <a:r>
              <a:rPr lang="da-DK" sz="1200" b="0" i="0" kern="1200" dirty="0">
                <a:solidFill>
                  <a:schemeClr val="tx1"/>
                </a:solidFill>
                <a:effectLst/>
                <a:latin typeface="+mn-lt"/>
                <a:ea typeface="+mn-ea"/>
                <a:cs typeface="+mn-cs"/>
              </a:rPr>
              <a:t> is to </a:t>
            </a:r>
            <a:r>
              <a:rPr lang="da-DK" sz="1200" b="0" i="0" kern="1200" dirty="0" err="1">
                <a:solidFill>
                  <a:schemeClr val="tx1"/>
                </a:solidFill>
                <a:effectLst/>
                <a:latin typeface="+mn-lt"/>
                <a:ea typeface="+mn-ea"/>
                <a:cs typeface="+mn-cs"/>
              </a:rPr>
              <a:t>build</a:t>
            </a:r>
            <a:r>
              <a:rPr lang="da-DK" sz="1200" b="0" i="0" kern="1200" dirty="0">
                <a:solidFill>
                  <a:schemeClr val="tx1"/>
                </a:solidFill>
                <a:effectLst/>
                <a:latin typeface="+mn-lt"/>
                <a:ea typeface="+mn-ea"/>
                <a:cs typeface="+mn-cs"/>
              </a:rPr>
              <a:t> a website </a:t>
            </a:r>
            <a:r>
              <a:rPr lang="da-DK" sz="1200" b="0" i="0" kern="1200" dirty="0" err="1">
                <a:solidFill>
                  <a:schemeClr val="tx1"/>
                </a:solidFill>
                <a:effectLst/>
                <a:latin typeface="+mn-lt"/>
                <a:ea typeface="+mn-ea"/>
                <a:cs typeface="+mn-cs"/>
              </a:rPr>
              <a:t>that</a:t>
            </a:r>
            <a:r>
              <a:rPr lang="da-DK" sz="1200" b="0" i="0" kern="1200" dirty="0">
                <a:solidFill>
                  <a:schemeClr val="tx1"/>
                </a:solidFill>
                <a:effectLst/>
                <a:latin typeface="+mn-lt"/>
                <a:ea typeface="+mn-ea"/>
                <a:cs typeface="+mn-cs"/>
              </a:rPr>
              <a:t> is </a:t>
            </a:r>
            <a:r>
              <a:rPr lang="da-DK" sz="1200" b="0" i="0" kern="1200" dirty="0" err="1">
                <a:solidFill>
                  <a:schemeClr val="tx1"/>
                </a:solidFill>
                <a:effectLst/>
                <a:latin typeface="+mn-lt"/>
                <a:ea typeface="+mn-ea"/>
                <a:cs typeface="+mn-cs"/>
              </a:rPr>
              <a:t>easy</a:t>
            </a:r>
            <a:r>
              <a:rPr lang="da-DK" sz="1200" b="0" i="0" kern="1200" dirty="0">
                <a:solidFill>
                  <a:schemeClr val="tx1"/>
                </a:solidFill>
                <a:effectLst/>
                <a:latin typeface="+mn-lt"/>
                <a:ea typeface="+mn-ea"/>
                <a:cs typeface="+mn-cs"/>
              </a:rPr>
              <a:t> to </a:t>
            </a:r>
            <a:r>
              <a:rPr lang="da-DK" sz="1200" b="0" i="0" kern="1200" dirty="0" err="1">
                <a:solidFill>
                  <a:schemeClr val="tx1"/>
                </a:solidFill>
                <a:effectLst/>
                <a:latin typeface="+mn-lt"/>
                <a:ea typeface="+mn-ea"/>
                <a:cs typeface="+mn-cs"/>
              </a:rPr>
              <a:t>interact</a:t>
            </a:r>
            <a:r>
              <a:rPr lang="da-DK" sz="1200" b="0" i="0" kern="1200" dirty="0">
                <a:solidFill>
                  <a:schemeClr val="tx1"/>
                </a:solidFill>
                <a:effectLst/>
                <a:latin typeface="+mn-lt"/>
                <a:ea typeface="+mn-ea"/>
                <a:cs typeface="+mn-cs"/>
              </a:rPr>
              <a:t> with and display </a:t>
            </a:r>
            <a:r>
              <a:rPr lang="da-DK" sz="1200" b="0" i="0" kern="1200" dirty="0" err="1">
                <a:solidFill>
                  <a:schemeClr val="tx1"/>
                </a:solidFill>
                <a:effectLst/>
                <a:latin typeface="+mn-lt"/>
                <a:ea typeface="+mn-ea"/>
                <a:cs typeface="+mn-cs"/>
              </a:rPr>
              <a:t>how</a:t>
            </a:r>
            <a:r>
              <a:rPr lang="da-DK" sz="1200" b="0" i="0" kern="1200" dirty="0">
                <a:solidFill>
                  <a:schemeClr val="tx1"/>
                </a:solidFill>
                <a:effectLst/>
                <a:latin typeface="+mn-lt"/>
                <a:ea typeface="+mn-ea"/>
                <a:cs typeface="+mn-cs"/>
              </a:rPr>
              <a:t> the </a:t>
            </a:r>
            <a:r>
              <a:rPr lang="da-DK" sz="1200" b="0" i="0" kern="1200" dirty="0" err="1">
                <a:solidFill>
                  <a:schemeClr val="tx1"/>
                </a:solidFill>
                <a:effectLst/>
                <a:latin typeface="+mn-lt"/>
                <a:ea typeface="+mn-ea"/>
                <a:cs typeface="+mn-cs"/>
              </a:rPr>
              <a:t>trees</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are</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distributed</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across</a:t>
            </a:r>
            <a:r>
              <a:rPr lang="da-DK" sz="1200" b="0" i="0" kern="1200" dirty="0">
                <a:solidFill>
                  <a:schemeClr val="tx1"/>
                </a:solidFill>
                <a:effectLst/>
                <a:latin typeface="+mn-lt"/>
                <a:ea typeface="+mn-ea"/>
                <a:cs typeface="+mn-cs"/>
              </a:rPr>
              <a:t> the </a:t>
            </a:r>
            <a:r>
              <a:rPr lang="da-DK" sz="1200" b="0" i="0" kern="1200" dirty="0" err="1">
                <a:solidFill>
                  <a:schemeClr val="tx1"/>
                </a:solidFill>
                <a:effectLst/>
                <a:latin typeface="+mn-lt"/>
                <a:ea typeface="+mn-ea"/>
                <a:cs typeface="+mn-cs"/>
              </a:rPr>
              <a:t>neighbourhoods</a:t>
            </a:r>
            <a:r>
              <a:rPr lang="da-DK" sz="1200" b="0" i="0" kern="1200">
                <a:solidFill>
                  <a:schemeClr val="tx1"/>
                </a:solidFill>
                <a:effectLst/>
                <a:latin typeface="+mn-lt"/>
                <a:ea typeface="+mn-ea"/>
                <a:cs typeface="+mn-cs"/>
              </a:rPr>
              <a:t> of Copenhagen.</a:t>
            </a:r>
            <a:endParaRPr lang="da-DK" sz="1200" b="0" i="0" kern="1200" dirty="0">
              <a:solidFill>
                <a:schemeClr val="tx1"/>
              </a:solidFill>
              <a:effectLst/>
              <a:latin typeface="+mn-lt"/>
              <a:ea typeface="+mn-ea"/>
              <a:cs typeface="+mn-cs"/>
            </a:endParaRPr>
          </a:p>
          <a:p>
            <a:r>
              <a:rPr lang="da-DK" sz="1200" b="1" i="0" kern="1200" dirty="0">
                <a:solidFill>
                  <a:schemeClr val="tx1"/>
                </a:solidFill>
                <a:effectLst/>
                <a:latin typeface="+mn-lt"/>
                <a:ea typeface="+mn-ea"/>
                <a:cs typeface="+mn-cs"/>
              </a:rPr>
              <a:t>Genre:</a:t>
            </a:r>
            <a:r>
              <a:rPr lang="da-DK" sz="1200" b="0" i="0" kern="1200" dirty="0">
                <a:solidFill>
                  <a:schemeClr val="tx1"/>
                </a:solidFill>
                <a:effectLst/>
                <a:latin typeface="+mn-lt"/>
                <a:ea typeface="+mn-ea"/>
                <a:cs typeface="+mn-cs"/>
              </a:rPr>
              <a:t> A mix </a:t>
            </a:r>
            <a:r>
              <a:rPr lang="da-DK" sz="1200" b="0" i="0" kern="1200" dirty="0" err="1">
                <a:solidFill>
                  <a:schemeClr val="tx1"/>
                </a:solidFill>
                <a:effectLst/>
                <a:latin typeface="+mn-lt"/>
                <a:ea typeface="+mn-ea"/>
                <a:cs typeface="+mn-cs"/>
              </a:rPr>
              <a:t>between</a:t>
            </a:r>
            <a:r>
              <a:rPr lang="da-DK" sz="1200" b="0" i="0" kern="1200" dirty="0">
                <a:solidFill>
                  <a:schemeClr val="tx1"/>
                </a:solidFill>
                <a:effectLst/>
                <a:latin typeface="+mn-lt"/>
                <a:ea typeface="+mn-ea"/>
                <a:cs typeface="+mn-cs"/>
              </a:rPr>
              <a:t> an </a:t>
            </a:r>
            <a:r>
              <a:rPr lang="da-DK" sz="1200" b="1" i="0" kern="1200" dirty="0" err="1">
                <a:solidFill>
                  <a:schemeClr val="tx1"/>
                </a:solidFill>
                <a:effectLst/>
                <a:latin typeface="+mn-lt"/>
                <a:ea typeface="+mn-ea"/>
                <a:cs typeface="+mn-cs"/>
              </a:rPr>
              <a:t>Annotated</a:t>
            </a:r>
            <a:r>
              <a:rPr lang="da-DK" sz="1200" b="1" i="0" kern="1200" dirty="0">
                <a:solidFill>
                  <a:schemeClr val="tx1"/>
                </a:solidFill>
                <a:effectLst/>
                <a:latin typeface="+mn-lt"/>
                <a:ea typeface="+mn-ea"/>
                <a:cs typeface="+mn-cs"/>
              </a:rPr>
              <a:t> </a:t>
            </a:r>
            <a:r>
              <a:rPr lang="da-DK" sz="1200" b="1" i="0" kern="1200" dirty="0" err="1">
                <a:solidFill>
                  <a:schemeClr val="tx1"/>
                </a:solidFill>
                <a:effectLst/>
                <a:latin typeface="+mn-lt"/>
                <a:ea typeface="+mn-ea"/>
                <a:cs typeface="+mn-cs"/>
              </a:rPr>
              <a:t>chart</a:t>
            </a:r>
            <a:r>
              <a:rPr lang="da-DK" sz="1200" b="0" i="0" kern="1200" dirty="0">
                <a:solidFill>
                  <a:schemeClr val="tx1"/>
                </a:solidFill>
                <a:effectLst/>
                <a:latin typeface="+mn-lt"/>
                <a:ea typeface="+mn-ea"/>
                <a:cs typeface="+mn-cs"/>
              </a:rPr>
              <a:t> and </a:t>
            </a:r>
            <a:r>
              <a:rPr lang="da-DK" sz="1200" b="1" i="0" kern="1200" dirty="0" err="1">
                <a:solidFill>
                  <a:schemeClr val="tx1"/>
                </a:solidFill>
                <a:effectLst/>
                <a:latin typeface="+mn-lt"/>
                <a:ea typeface="+mn-ea"/>
                <a:cs typeface="+mn-cs"/>
              </a:rPr>
              <a:t>Partitioned</a:t>
            </a:r>
            <a:r>
              <a:rPr lang="da-DK" sz="1200" b="1" i="0" kern="1200" dirty="0">
                <a:solidFill>
                  <a:schemeClr val="tx1"/>
                </a:solidFill>
                <a:effectLst/>
                <a:latin typeface="+mn-lt"/>
                <a:ea typeface="+mn-ea"/>
                <a:cs typeface="+mn-cs"/>
              </a:rPr>
              <a:t> poster</a:t>
            </a:r>
            <a:r>
              <a:rPr lang="da-DK" sz="1200" b="0" i="0" kern="1200" dirty="0">
                <a:solidFill>
                  <a:schemeClr val="tx1"/>
                </a:solidFill>
                <a:effectLst/>
                <a:latin typeface="+mn-lt"/>
                <a:ea typeface="+mn-ea"/>
                <a:cs typeface="+mn-cs"/>
              </a:rPr>
              <a:t>, it </a:t>
            </a:r>
            <a:r>
              <a:rPr lang="da-DK" sz="1200" b="0" i="0" kern="1200" dirty="0" err="1">
                <a:solidFill>
                  <a:schemeClr val="tx1"/>
                </a:solidFill>
                <a:effectLst/>
                <a:latin typeface="+mn-lt"/>
                <a:ea typeface="+mn-ea"/>
                <a:cs typeface="+mn-cs"/>
              </a:rPr>
              <a:t>suits</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good</a:t>
            </a:r>
            <a:r>
              <a:rPr lang="da-DK" sz="1200" b="0" i="0" kern="1200" dirty="0">
                <a:solidFill>
                  <a:schemeClr val="tx1"/>
                </a:solidFill>
                <a:effectLst/>
                <a:latin typeface="+mn-lt"/>
                <a:ea typeface="+mn-ea"/>
                <a:cs typeface="+mn-cs"/>
              </a:rPr>
              <a:t> to </a:t>
            </a:r>
            <a:r>
              <a:rPr lang="da-DK" sz="1200" b="0" i="0" kern="1200" dirty="0" err="1">
                <a:solidFill>
                  <a:schemeClr val="tx1"/>
                </a:solidFill>
                <a:effectLst/>
                <a:latin typeface="+mn-lt"/>
                <a:ea typeface="+mn-ea"/>
                <a:cs typeface="+mn-cs"/>
              </a:rPr>
              <a:t>our</a:t>
            </a:r>
            <a:r>
              <a:rPr lang="da-DK" sz="1200" b="0" i="0" kern="1200" dirty="0">
                <a:solidFill>
                  <a:schemeClr val="tx1"/>
                </a:solidFill>
                <a:effectLst/>
                <a:latin typeface="+mn-lt"/>
                <a:ea typeface="+mn-ea"/>
                <a:cs typeface="+mn-cs"/>
              </a:rPr>
              <a:t> data and the </a:t>
            </a:r>
            <a:r>
              <a:rPr lang="da-DK" sz="1200" b="0" i="0" kern="1200" dirty="0" err="1">
                <a:solidFill>
                  <a:schemeClr val="tx1"/>
                </a:solidFill>
                <a:effectLst/>
                <a:latin typeface="+mn-lt"/>
                <a:ea typeface="+mn-ea"/>
                <a:cs typeface="+mn-cs"/>
              </a:rPr>
              <a:t>ideas</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we</a:t>
            </a:r>
            <a:r>
              <a:rPr lang="da-DK" sz="1200" b="0" i="0" kern="1200" dirty="0">
                <a:solidFill>
                  <a:schemeClr val="tx1"/>
                </a:solidFill>
                <a:effectLst/>
                <a:latin typeface="+mn-lt"/>
                <a:ea typeface="+mn-ea"/>
                <a:cs typeface="+mn-cs"/>
              </a:rPr>
              <a:t> have </a:t>
            </a:r>
            <a:r>
              <a:rPr lang="da-DK" sz="1200" b="0" i="0" kern="1200" dirty="0" err="1">
                <a:solidFill>
                  <a:schemeClr val="tx1"/>
                </a:solidFill>
                <a:effectLst/>
                <a:latin typeface="+mn-lt"/>
                <a:ea typeface="+mn-ea"/>
                <a:cs typeface="+mn-cs"/>
              </a:rPr>
              <a:t>about</a:t>
            </a:r>
            <a:r>
              <a:rPr lang="da-DK" sz="1200" b="0" i="0" kern="1200" dirty="0">
                <a:solidFill>
                  <a:schemeClr val="tx1"/>
                </a:solidFill>
                <a:effectLst/>
                <a:latin typeface="+mn-lt"/>
                <a:ea typeface="+mn-ea"/>
                <a:cs typeface="+mn-cs"/>
              </a:rPr>
              <a:t> </a:t>
            </a:r>
            <a:r>
              <a:rPr lang="da-DK" sz="1200" b="0" i="0" kern="1200" dirty="0" err="1">
                <a:solidFill>
                  <a:schemeClr val="tx1"/>
                </a:solidFill>
                <a:effectLst/>
                <a:latin typeface="+mn-lt"/>
                <a:ea typeface="+mn-ea"/>
                <a:cs typeface="+mn-cs"/>
              </a:rPr>
              <a:t>tell</a:t>
            </a:r>
            <a:r>
              <a:rPr lang="da-DK" sz="1200" b="0" i="0" kern="1200" dirty="0">
                <a:solidFill>
                  <a:schemeClr val="tx1"/>
                </a:solidFill>
                <a:effectLst/>
                <a:latin typeface="+mn-lt"/>
                <a:ea typeface="+mn-ea"/>
                <a:cs typeface="+mn-cs"/>
              </a:rPr>
              <a:t> a story of the </a:t>
            </a:r>
            <a:r>
              <a:rPr lang="da-DK" sz="1200" b="0" i="0" kern="1200" dirty="0" err="1">
                <a:solidFill>
                  <a:schemeClr val="tx1"/>
                </a:solidFill>
                <a:effectLst/>
                <a:latin typeface="+mn-lt"/>
                <a:ea typeface="+mn-ea"/>
                <a:cs typeface="+mn-cs"/>
              </a:rPr>
              <a:t>trees</a:t>
            </a:r>
            <a:r>
              <a:rPr lang="da-DK" sz="1200" b="0" i="0" kern="1200" dirty="0">
                <a:solidFill>
                  <a:schemeClr val="tx1"/>
                </a:solidFill>
                <a:effectLst/>
                <a:latin typeface="+mn-lt"/>
                <a:ea typeface="+mn-ea"/>
                <a:cs typeface="+mn-cs"/>
              </a:rPr>
              <a:t> in CPH.</a:t>
            </a:r>
            <a:endParaRPr lang="en-DK" dirty="0"/>
          </a:p>
        </p:txBody>
      </p:sp>
      <p:sp>
        <p:nvSpPr>
          <p:cNvPr id="4" name="Slide Number Placeholder 3"/>
          <p:cNvSpPr>
            <a:spLocks noGrp="1"/>
          </p:cNvSpPr>
          <p:nvPr>
            <p:ph type="sldNum" sz="quarter" idx="5"/>
          </p:nvPr>
        </p:nvSpPr>
        <p:spPr/>
        <p:txBody>
          <a:bodyPr/>
          <a:lstStyle/>
          <a:p>
            <a:fld id="{1EE043E8-17D5-894D-A8F4-99F1597AFF58}" type="slidenum">
              <a:rPr lang="da-DK" smtClean="0"/>
              <a:t>4</a:t>
            </a:fld>
            <a:endParaRPr lang="da-DK"/>
          </a:p>
        </p:txBody>
      </p:sp>
    </p:spTree>
    <p:extLst>
      <p:ext uri="{BB962C8B-B14F-4D97-AF65-F5344CB8AC3E}">
        <p14:creationId xmlns:p14="http://schemas.microsoft.com/office/powerpoint/2010/main" val="1856555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p:cNvSpPr>
            <a:spLocks noGrp="1" noRot="1" noChangeAspect="1"/>
          </p:cNvSpPr>
          <p:nvPr>
            <p:ph type="sldImg"/>
          </p:nvPr>
        </p:nvSpPr>
        <p:spPr bwMode="auto">
          <a:noFill/>
          <a:ln>
            <a:solidFill>
              <a:srgbClr val="000000"/>
            </a:solidFill>
            <a:miter lim="800000"/>
            <a:headEnd/>
            <a:tailEnd/>
          </a:ln>
        </p:spPr>
      </p:sp>
      <p:sp>
        <p:nvSpPr>
          <p:cNvPr id="1126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CA"/>
          </a:p>
        </p:txBody>
      </p:sp>
      <p:sp>
        <p:nvSpPr>
          <p:cNvPr id="1126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8D4727-9983-49CA-AEA9-ACBB1A3EEFBD}" type="slidenum">
              <a:rPr lang="en-CA">
                <a:cs typeface="Arial" charset="0"/>
              </a:rPr>
              <a:pPr fontAlgn="base">
                <a:spcBef>
                  <a:spcPct val="0"/>
                </a:spcBef>
                <a:spcAft>
                  <a:spcPct val="0"/>
                </a:spcAft>
                <a:defRPr/>
              </a:pPr>
              <a:t>13</a:t>
            </a:fld>
            <a:endParaRPr lang="en-CA">
              <a:cs typeface="Arial" charset="0"/>
            </a:endParaRPr>
          </a:p>
        </p:txBody>
      </p:sp>
    </p:spTree>
    <p:extLst>
      <p:ext uri="{BB962C8B-B14F-4D97-AF65-F5344CB8AC3E}">
        <p14:creationId xmlns:p14="http://schemas.microsoft.com/office/powerpoint/2010/main" val="706688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EE043E8-17D5-894D-A8F4-99F1597AFF58}" type="slidenum">
              <a:rPr lang="da-DK" smtClean="0"/>
              <a:t>14</a:t>
            </a:fld>
            <a:endParaRPr lang="da-DK"/>
          </a:p>
        </p:txBody>
      </p:sp>
    </p:spTree>
    <p:extLst>
      <p:ext uri="{BB962C8B-B14F-4D97-AF65-F5344CB8AC3E}">
        <p14:creationId xmlns:p14="http://schemas.microsoft.com/office/powerpoint/2010/main" val="3359805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ke care = establish youth and elderly home to make citizens feel safe</a:t>
            </a:r>
          </a:p>
          <a:p>
            <a:r>
              <a:rPr lang="en-GB" dirty="0"/>
              <a:t>Foster health = by establishing health and wellness centre</a:t>
            </a:r>
          </a:p>
          <a:p>
            <a:r>
              <a:rPr lang="en-GB" dirty="0"/>
              <a:t>Nest ideas = create start-up incubator on Phase 2 land </a:t>
            </a:r>
          </a:p>
        </p:txBody>
      </p:sp>
      <p:sp>
        <p:nvSpPr>
          <p:cNvPr id="4" name="Slide Number Placeholder 3"/>
          <p:cNvSpPr>
            <a:spLocks noGrp="1"/>
          </p:cNvSpPr>
          <p:nvPr>
            <p:ph type="sldNum" sz="quarter" idx="10"/>
          </p:nvPr>
        </p:nvSpPr>
        <p:spPr/>
        <p:txBody>
          <a:bodyPr/>
          <a:lstStyle/>
          <a:p>
            <a:fld id="{1EE043E8-17D5-894D-A8F4-99F1597AFF58}" type="slidenum">
              <a:rPr lang="da-DK" smtClean="0"/>
              <a:t>16</a:t>
            </a:fld>
            <a:endParaRPr lang="da-DK"/>
          </a:p>
        </p:txBody>
      </p:sp>
    </p:spTree>
    <p:extLst>
      <p:ext uri="{BB962C8B-B14F-4D97-AF65-F5344CB8AC3E}">
        <p14:creationId xmlns:p14="http://schemas.microsoft.com/office/powerpoint/2010/main" val="1429010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10"/>
          </p:nvPr>
        </p:nvSpPr>
        <p:spPr/>
        <p:txBody>
          <a:bodyPr/>
          <a:lstStyle/>
          <a:p>
            <a:fld id="{F73FD3F1-C2D2-824B-B0B7-ACF4A6C0AA3C}" type="slidenum">
              <a:rPr lang="en-US" smtClean="0"/>
              <a:t>17</a:t>
            </a:fld>
            <a:endParaRPr lang="en-US"/>
          </a:p>
        </p:txBody>
      </p:sp>
    </p:spTree>
    <p:extLst>
      <p:ext uri="{BB962C8B-B14F-4D97-AF65-F5344CB8AC3E}">
        <p14:creationId xmlns:p14="http://schemas.microsoft.com/office/powerpoint/2010/main" val="1546378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EE043E8-17D5-894D-A8F4-99F1597AFF58}" type="slidenum">
              <a:rPr lang="da-DK" smtClean="0"/>
              <a:t>20</a:t>
            </a:fld>
            <a:endParaRPr lang="da-DK"/>
          </a:p>
        </p:txBody>
      </p:sp>
    </p:spTree>
    <p:extLst>
      <p:ext uri="{BB962C8B-B14F-4D97-AF65-F5344CB8AC3E}">
        <p14:creationId xmlns:p14="http://schemas.microsoft.com/office/powerpoint/2010/main" val="2108897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icco Animation </a:t>
            </a:r>
          </a:p>
        </p:txBody>
      </p:sp>
      <p:sp>
        <p:nvSpPr>
          <p:cNvPr id="4" name="Pladsholder til slidenummer 3"/>
          <p:cNvSpPr>
            <a:spLocks noGrp="1"/>
          </p:cNvSpPr>
          <p:nvPr>
            <p:ph type="sldNum" sz="quarter" idx="10"/>
          </p:nvPr>
        </p:nvSpPr>
        <p:spPr/>
        <p:txBody>
          <a:bodyPr/>
          <a:lstStyle/>
          <a:p>
            <a:fld id="{BF9681C7-4231-824A-8350-0A0BA7448144}" type="slidenum">
              <a:rPr lang="da-DK" smtClean="0"/>
              <a:t>22</a:t>
            </a:fld>
            <a:endParaRPr lang="da-DK"/>
          </a:p>
        </p:txBody>
      </p:sp>
    </p:spTree>
    <p:extLst>
      <p:ext uri="{BB962C8B-B14F-4D97-AF65-F5344CB8AC3E}">
        <p14:creationId xmlns:p14="http://schemas.microsoft.com/office/powerpoint/2010/main" val="1751302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ktangel 2"/>
          <p:cNvSpPr/>
          <p:nvPr userDrawn="1"/>
        </p:nvSpPr>
        <p:spPr>
          <a:xfrm>
            <a:off x="9427780" y="0"/>
            <a:ext cx="2554014" cy="12297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4" name="Group 3">
            <a:extLst>
              <a:ext uri="{FF2B5EF4-FFF2-40B4-BE49-F238E27FC236}">
                <a16:creationId xmlns:a16="http://schemas.microsoft.com/office/drawing/2014/main" id="{8B4B5836-C80E-4326-895F-E8CA581295BD}"/>
              </a:ext>
            </a:extLst>
          </p:cNvPr>
          <p:cNvGrpSpPr>
            <a:grpSpLocks noChangeAspect="1"/>
          </p:cNvGrpSpPr>
          <p:nvPr userDrawn="1"/>
        </p:nvGrpSpPr>
        <p:grpSpPr>
          <a:xfrm>
            <a:off x="9677154" y="296078"/>
            <a:ext cx="1892557" cy="592153"/>
            <a:chOff x="6106637" y="2611575"/>
            <a:chExt cx="1892557" cy="592153"/>
          </a:xfrm>
        </p:grpSpPr>
        <p:pic>
          <p:nvPicPr>
            <p:cNvPr id="5" name="Picture 4">
              <a:extLst>
                <a:ext uri="{FF2B5EF4-FFF2-40B4-BE49-F238E27FC236}">
                  <a16:creationId xmlns:a16="http://schemas.microsoft.com/office/drawing/2014/main" id="{933BF41C-92D8-4EAC-BFBD-312D77B74B8E}"/>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6" name="Picture 5">
              <a:extLst>
                <a:ext uri="{FF2B5EF4-FFF2-40B4-BE49-F238E27FC236}">
                  <a16:creationId xmlns:a16="http://schemas.microsoft.com/office/drawing/2014/main" id="{FC94F4ED-F9E2-40D0-823E-1D7099D7050F}"/>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spTree>
    <p:extLst>
      <p:ext uri="{BB962C8B-B14F-4D97-AF65-F5344CB8AC3E}">
        <p14:creationId xmlns:p14="http://schemas.microsoft.com/office/powerpoint/2010/main" val="5721574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sp>
        <p:nvSpPr>
          <p:cNvPr id="20" name="Title 1"/>
          <p:cNvSpPr>
            <a:spLocks noGrp="1"/>
          </p:cNvSpPr>
          <p:nvPr>
            <p:ph type="title"/>
          </p:nvPr>
        </p:nvSpPr>
        <p:spPr>
          <a:xfrm>
            <a:off x="527050" y="127212"/>
            <a:ext cx="9360869"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cxnSp>
        <p:nvCxnSpPr>
          <p:cNvPr id="9"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2" name="Group 1">
            <a:extLst>
              <a:ext uri="{FF2B5EF4-FFF2-40B4-BE49-F238E27FC236}">
                <a16:creationId xmlns:a16="http://schemas.microsoft.com/office/drawing/2014/main" id="{B96AB191-2FDF-7541-9673-04460B0F9B4B}"/>
              </a:ext>
            </a:extLst>
          </p:cNvPr>
          <p:cNvGrpSpPr/>
          <p:nvPr userDrawn="1"/>
        </p:nvGrpSpPr>
        <p:grpSpPr>
          <a:xfrm>
            <a:off x="5542647" y="6452919"/>
            <a:ext cx="1107555" cy="209239"/>
            <a:chOff x="5542647" y="6452919"/>
            <a:chExt cx="1107555" cy="209239"/>
          </a:xfrm>
        </p:grpSpPr>
        <p:sp>
          <p:nvSpPr>
            <p:cNvPr id="17" name="Oval 16">
              <a:extLst>
                <a:ext uri="{FF2B5EF4-FFF2-40B4-BE49-F238E27FC236}">
                  <a16:creationId xmlns:a16="http://schemas.microsoft.com/office/drawing/2014/main" id="{C1868C77-DA19-E149-B147-D4AD27F92837}"/>
                </a:ext>
              </a:extLst>
            </p:cNvPr>
            <p:cNvSpPr/>
            <p:nvPr userDrawn="1"/>
          </p:nvSpPr>
          <p:spPr>
            <a:xfrm>
              <a:off x="5542647" y="6554158"/>
              <a:ext cx="109537" cy="10800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a16="http://schemas.microsoft.com/office/drawing/2014/main" id="{1179F274-7493-A141-B411-30C86E1944E9}"/>
                </a:ext>
              </a:extLst>
            </p:cNvPr>
            <p:cNvCxnSpPr/>
            <p:nvPr userDrawn="1"/>
          </p:nvCxnSpPr>
          <p:spPr>
            <a:xfrm>
              <a:off x="5647108"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E69FB770-1649-C24B-BDAF-B2B776A1A317}"/>
                </a:ext>
              </a:extLst>
            </p:cNvPr>
            <p:cNvSpPr/>
            <p:nvPr userDrawn="1"/>
          </p:nvSpPr>
          <p:spPr>
            <a:xfrm>
              <a:off x="5647108"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1" dirty="0">
                  <a:solidFill>
                    <a:schemeClr val="tx1"/>
                  </a:solidFill>
                  <a:latin typeface="Arial" panose="020B0604020202020204" pitchFamily="34" charset="0"/>
                  <a:cs typeface="Arial" panose="020B0604020202020204" pitchFamily="34" charset="0"/>
                </a:rPr>
                <a:t>Appendix</a:t>
              </a:r>
            </a:p>
          </p:txBody>
        </p:sp>
        <p:sp>
          <p:nvSpPr>
            <p:cNvPr id="21" name="Oval 20">
              <a:extLst>
                <a:ext uri="{FF2B5EF4-FFF2-40B4-BE49-F238E27FC236}">
                  <a16:creationId xmlns:a16="http://schemas.microsoft.com/office/drawing/2014/main" id="{021F80C8-F34D-4D4F-A443-C25B42D5BEF1}"/>
                </a:ext>
              </a:extLst>
            </p:cNvPr>
            <p:cNvSpPr/>
            <p:nvPr userDrawn="1"/>
          </p:nvSpPr>
          <p:spPr>
            <a:xfrm>
              <a:off x="6540665" y="6554158"/>
              <a:ext cx="109537" cy="10800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pic>
        <p:nvPicPr>
          <p:cNvPr id="16" name="Picture 15"/>
          <p:cNvPicPr>
            <a:picLocks noChangeAspect="1"/>
          </p:cNvPicPr>
          <p:nvPr userDrawn="1"/>
        </p:nvPicPr>
        <p:blipFill>
          <a:blip r:embed="rId2"/>
          <a:stretch>
            <a:fillRect/>
          </a:stretch>
        </p:blipFill>
        <p:spPr>
          <a:xfrm>
            <a:off x="10007988" y="308315"/>
            <a:ext cx="1561723" cy="592153"/>
          </a:xfrm>
          <a:prstGeom prst="rect">
            <a:avLst/>
          </a:prstGeom>
        </p:spPr>
      </p:pic>
    </p:spTree>
    <p:extLst>
      <p:ext uri="{BB962C8B-B14F-4D97-AF65-F5344CB8AC3E}">
        <p14:creationId xmlns:p14="http://schemas.microsoft.com/office/powerpoint/2010/main" val="293420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o tracker">
    <p:spTree>
      <p:nvGrpSpPr>
        <p:cNvPr id="1" name=""/>
        <p:cNvGrpSpPr/>
        <p:nvPr/>
      </p:nvGrpSpPr>
      <p:grpSpPr>
        <a:xfrm>
          <a:off x="0" y="0"/>
          <a:ext cx="0" cy="0"/>
          <a:chOff x="0" y="0"/>
          <a:chExt cx="0" cy="0"/>
        </a:xfrm>
      </p:grpSpPr>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sp>
        <p:nvSpPr>
          <p:cNvPr id="20" name="Title 1"/>
          <p:cNvSpPr>
            <a:spLocks noGrp="1"/>
          </p:cNvSpPr>
          <p:nvPr>
            <p:ph type="title"/>
          </p:nvPr>
        </p:nvSpPr>
        <p:spPr>
          <a:xfrm>
            <a:off x="527050" y="127212"/>
            <a:ext cx="9329872"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cxnSp>
        <p:nvCxnSpPr>
          <p:cNvPr id="9"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AA6DACA3-F15D-48C8-8BC2-7961ED205177}"/>
              </a:ext>
            </a:extLst>
          </p:cNvPr>
          <p:cNvGrpSpPr>
            <a:grpSpLocks noChangeAspect="1"/>
          </p:cNvGrpSpPr>
          <p:nvPr userDrawn="1"/>
        </p:nvGrpSpPr>
        <p:grpSpPr>
          <a:xfrm>
            <a:off x="9677154" y="225740"/>
            <a:ext cx="1892557" cy="592153"/>
            <a:chOff x="6106637" y="2611575"/>
            <a:chExt cx="1892557" cy="592153"/>
          </a:xfrm>
        </p:grpSpPr>
        <p:pic>
          <p:nvPicPr>
            <p:cNvPr id="11" name="Picture 10">
              <a:extLst>
                <a:ext uri="{FF2B5EF4-FFF2-40B4-BE49-F238E27FC236}">
                  <a16:creationId xmlns:a16="http://schemas.microsoft.com/office/drawing/2014/main" id="{25E3216A-167D-481B-A9CA-D274545812F2}"/>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12" name="Picture 11">
              <a:extLst>
                <a:ext uri="{FF2B5EF4-FFF2-40B4-BE49-F238E27FC236}">
                  <a16:creationId xmlns:a16="http://schemas.microsoft.com/office/drawing/2014/main" id="{9EC07802-98E9-4929-9C50-D52D204006EA}"/>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spTree>
    <p:extLst>
      <p:ext uri="{BB962C8B-B14F-4D97-AF65-F5344CB8AC3E}">
        <p14:creationId xmlns:p14="http://schemas.microsoft.com/office/powerpoint/2010/main" val="2789858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plementation2">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cxnSp>
        <p:nvCxnSpPr>
          <p:cNvPr id="15"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D2DED839-6EA2-4290-98D3-3D8A4BC28C8F}"/>
              </a:ext>
            </a:extLst>
          </p:cNvPr>
          <p:cNvGrpSpPr/>
          <p:nvPr userDrawn="1"/>
        </p:nvGrpSpPr>
        <p:grpSpPr>
          <a:xfrm>
            <a:off x="3540134" y="6452919"/>
            <a:ext cx="5111732" cy="209239"/>
            <a:chOff x="3540134" y="6452919"/>
            <a:chExt cx="5111732" cy="209239"/>
          </a:xfrm>
        </p:grpSpPr>
        <p:cxnSp>
          <p:nvCxnSpPr>
            <p:cNvPr id="38" name="Straight Connector 37">
              <a:extLst>
                <a:ext uri="{FF2B5EF4-FFF2-40B4-BE49-F238E27FC236}">
                  <a16:creationId xmlns:a16="http://schemas.microsoft.com/office/drawing/2014/main" id="{5C47783F-F7BC-4765-9DA2-6AAD63DCC07C}"/>
                </a:ext>
              </a:extLst>
            </p:cNvPr>
            <p:cNvCxnSpPr/>
            <p:nvPr userDrawn="1"/>
          </p:nvCxnSpPr>
          <p:spPr>
            <a:xfrm>
              <a:off x="3647202"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2690F789-53EE-46A8-B297-DA7E40F87AB1}"/>
                </a:ext>
              </a:extLst>
            </p:cNvPr>
            <p:cNvSpPr/>
            <p:nvPr userDrawn="1"/>
          </p:nvSpPr>
          <p:spPr>
            <a:xfrm>
              <a:off x="3647202"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2</a:t>
              </a:r>
              <a:r>
                <a:rPr lang="en-GB" sz="700" b="0" dirty="0">
                  <a:solidFill>
                    <a:schemeClr val="bg2">
                      <a:lumMod val="50000"/>
                    </a:schemeClr>
                  </a:solidFill>
                  <a:latin typeface="Arial" panose="020B0604020202020204" pitchFamily="34" charset="0"/>
                  <a:cs typeface="Arial" panose="020B0604020202020204" pitchFamily="34" charset="0"/>
                </a:rPr>
                <a:t>D Strip Packing</a:t>
              </a:r>
            </a:p>
          </p:txBody>
        </p:sp>
        <p:sp>
          <p:nvSpPr>
            <p:cNvPr id="40" name="Oval 39">
              <a:extLst>
                <a:ext uri="{FF2B5EF4-FFF2-40B4-BE49-F238E27FC236}">
                  <a16:creationId xmlns:a16="http://schemas.microsoft.com/office/drawing/2014/main" id="{F98432AF-7CEA-4F13-A886-61DFB1E1CC4C}"/>
                </a:ext>
              </a:extLst>
            </p:cNvPr>
            <p:cNvSpPr/>
            <p:nvPr userDrawn="1"/>
          </p:nvSpPr>
          <p:spPr>
            <a:xfrm>
              <a:off x="3540134"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D9723791-E857-4CC6-9379-38EA3FC200B9}"/>
                </a:ext>
              </a:extLst>
            </p:cNvPr>
            <p:cNvSpPr/>
            <p:nvPr userDrawn="1"/>
          </p:nvSpPr>
          <p:spPr>
            <a:xfrm>
              <a:off x="4538279"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cxnSp>
          <p:nvCxnSpPr>
            <p:cNvPr id="43" name="Straight Connector 42">
              <a:extLst>
                <a:ext uri="{FF2B5EF4-FFF2-40B4-BE49-F238E27FC236}">
                  <a16:creationId xmlns:a16="http://schemas.microsoft.com/office/drawing/2014/main" id="{C0DDB2A1-645D-41F1-B4B2-0A9BC286A4B0}"/>
                </a:ext>
              </a:extLst>
            </p:cNvPr>
            <p:cNvCxnSpPr/>
            <p:nvPr userDrawn="1"/>
          </p:nvCxnSpPr>
          <p:spPr>
            <a:xfrm>
              <a:off x="4651570"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DC25938-5B82-455D-86E7-A0A293AECEC1}"/>
                </a:ext>
              </a:extLst>
            </p:cNvPr>
            <p:cNvSpPr/>
            <p:nvPr userDrawn="1"/>
          </p:nvSpPr>
          <p:spPr>
            <a:xfrm>
              <a:off x="4651570"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Results</a:t>
              </a:r>
            </a:p>
          </p:txBody>
        </p:sp>
        <p:sp>
          <p:nvSpPr>
            <p:cNvPr id="45" name="Oval 44">
              <a:extLst>
                <a:ext uri="{FF2B5EF4-FFF2-40B4-BE49-F238E27FC236}">
                  <a16:creationId xmlns:a16="http://schemas.microsoft.com/office/drawing/2014/main" id="{5B69DAAC-0874-448A-9D0D-19128D83FEFD}"/>
                </a:ext>
              </a:extLst>
            </p:cNvPr>
            <p:cNvSpPr/>
            <p:nvPr userDrawn="1"/>
          </p:nvSpPr>
          <p:spPr>
            <a:xfrm>
              <a:off x="5542647"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D7D283A0-E305-4A06-857D-E4116FE0250C}"/>
                </a:ext>
              </a:extLst>
            </p:cNvPr>
            <p:cNvCxnSpPr/>
            <p:nvPr userDrawn="1"/>
          </p:nvCxnSpPr>
          <p:spPr>
            <a:xfrm>
              <a:off x="5647108"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1CE9275A-16D0-40EA-B062-C5087AC034DD}"/>
                </a:ext>
              </a:extLst>
            </p:cNvPr>
            <p:cNvSpPr/>
            <p:nvPr userDrawn="1"/>
          </p:nvSpPr>
          <p:spPr>
            <a:xfrm>
              <a:off x="5647108"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Approach</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7A60E257-0E6F-40BB-AFEC-DEF928A03C27}"/>
                </a:ext>
              </a:extLst>
            </p:cNvPr>
            <p:cNvSpPr/>
            <p:nvPr userDrawn="1"/>
          </p:nvSpPr>
          <p:spPr>
            <a:xfrm>
              <a:off x="6540665"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5CF9D6C7-235B-4271-8345-5C6B1F2EB6C9}"/>
                </a:ext>
              </a:extLst>
            </p:cNvPr>
            <p:cNvCxnSpPr/>
            <p:nvPr userDrawn="1"/>
          </p:nvCxnSpPr>
          <p:spPr>
            <a:xfrm>
              <a:off x="6653956"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17681C8-D414-4B7F-AB0E-F7CB5A832F1B}"/>
                </a:ext>
              </a:extLst>
            </p:cNvPr>
            <p:cNvSpPr/>
            <p:nvPr userDrawn="1"/>
          </p:nvSpPr>
          <p:spPr>
            <a:xfrm>
              <a:off x="6653956"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Features</a:t>
              </a:r>
            </a:p>
          </p:txBody>
        </p:sp>
        <p:sp>
          <p:nvSpPr>
            <p:cNvPr id="54" name="Oval 53">
              <a:extLst>
                <a:ext uri="{FF2B5EF4-FFF2-40B4-BE49-F238E27FC236}">
                  <a16:creationId xmlns:a16="http://schemas.microsoft.com/office/drawing/2014/main" id="{96E1CB21-E136-4377-99EF-072291754127}"/>
                </a:ext>
              </a:extLst>
            </p:cNvPr>
            <p:cNvSpPr/>
            <p:nvPr userDrawn="1"/>
          </p:nvSpPr>
          <p:spPr>
            <a:xfrm>
              <a:off x="7545033" y="6554158"/>
              <a:ext cx="109537" cy="10800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55" name="Straight Connector 54">
              <a:extLst>
                <a:ext uri="{FF2B5EF4-FFF2-40B4-BE49-F238E27FC236}">
                  <a16:creationId xmlns:a16="http://schemas.microsoft.com/office/drawing/2014/main" id="{30C151FF-C659-4F7D-8B7D-3CC0B6F677B0}"/>
                </a:ext>
              </a:extLst>
            </p:cNvPr>
            <p:cNvCxnSpPr/>
            <p:nvPr userDrawn="1"/>
          </p:nvCxnSpPr>
          <p:spPr>
            <a:xfrm>
              <a:off x="7653129"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BEFE37A9-D612-41A6-9D57-3AED218FF73F}"/>
                </a:ext>
              </a:extLst>
            </p:cNvPr>
            <p:cNvSpPr/>
            <p:nvPr userDrawn="1"/>
          </p:nvSpPr>
          <p:spPr>
            <a:xfrm>
              <a:off x="7653129"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1" dirty="0">
                  <a:solidFill>
                    <a:schemeClr val="tx1"/>
                  </a:solidFill>
                  <a:latin typeface="Arial" panose="020B0604020202020204" pitchFamily="34" charset="0"/>
                  <a:cs typeface="Arial" panose="020B0604020202020204" pitchFamily="34" charset="0"/>
                </a:rPr>
                <a:t>Implementation</a:t>
              </a:r>
            </a:p>
          </p:txBody>
        </p:sp>
        <p:sp>
          <p:nvSpPr>
            <p:cNvPr id="57" name="Oval 56">
              <a:extLst>
                <a:ext uri="{FF2B5EF4-FFF2-40B4-BE49-F238E27FC236}">
                  <a16:creationId xmlns:a16="http://schemas.microsoft.com/office/drawing/2014/main" id="{E83D7F3D-C61F-4E1E-94FB-324A990AA850}"/>
                </a:ext>
              </a:extLst>
            </p:cNvPr>
            <p:cNvSpPr/>
            <p:nvPr userDrawn="1"/>
          </p:nvSpPr>
          <p:spPr>
            <a:xfrm>
              <a:off x="8542329" y="6554158"/>
              <a:ext cx="109537" cy="10800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grpSp>
        <p:nvGrpSpPr>
          <p:cNvPr id="59" name="Group 58">
            <a:extLst>
              <a:ext uri="{FF2B5EF4-FFF2-40B4-BE49-F238E27FC236}">
                <a16:creationId xmlns:a16="http://schemas.microsoft.com/office/drawing/2014/main" id="{35BF7F65-D513-4D4A-AAA6-6C039C47D974}"/>
              </a:ext>
            </a:extLst>
          </p:cNvPr>
          <p:cNvGrpSpPr>
            <a:grpSpLocks noChangeAspect="1"/>
          </p:cNvGrpSpPr>
          <p:nvPr userDrawn="1"/>
        </p:nvGrpSpPr>
        <p:grpSpPr>
          <a:xfrm>
            <a:off x="9677154" y="296078"/>
            <a:ext cx="1892557" cy="592153"/>
            <a:chOff x="6106637" y="2611575"/>
            <a:chExt cx="1892557" cy="592153"/>
          </a:xfrm>
        </p:grpSpPr>
        <p:pic>
          <p:nvPicPr>
            <p:cNvPr id="60" name="Picture 59">
              <a:extLst>
                <a:ext uri="{FF2B5EF4-FFF2-40B4-BE49-F238E27FC236}">
                  <a16:creationId xmlns:a16="http://schemas.microsoft.com/office/drawing/2014/main" id="{7E543CC1-9B74-4554-91C4-9122CBD3405B}"/>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61" name="Picture 60">
              <a:extLst>
                <a:ext uri="{FF2B5EF4-FFF2-40B4-BE49-F238E27FC236}">
                  <a16:creationId xmlns:a16="http://schemas.microsoft.com/office/drawing/2014/main" id="{B1349097-89D7-46B9-84DC-7230C4215927}"/>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sp>
        <p:nvSpPr>
          <p:cNvPr id="29" name="Title 1">
            <a:extLst>
              <a:ext uri="{FF2B5EF4-FFF2-40B4-BE49-F238E27FC236}">
                <a16:creationId xmlns:a16="http://schemas.microsoft.com/office/drawing/2014/main" id="{FFE73E16-A14D-264D-8D7F-17340646D804}"/>
              </a:ext>
            </a:extLst>
          </p:cNvPr>
          <p:cNvSpPr>
            <a:spLocks noGrp="1"/>
          </p:cNvSpPr>
          <p:nvPr>
            <p:ph type="title"/>
          </p:nvPr>
        </p:nvSpPr>
        <p:spPr>
          <a:xfrm>
            <a:off x="527050" y="127212"/>
            <a:ext cx="9360869"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spTree>
    <p:extLst>
      <p:ext uri="{BB962C8B-B14F-4D97-AF65-F5344CB8AC3E}">
        <p14:creationId xmlns:p14="http://schemas.microsoft.com/office/powerpoint/2010/main" val="1264464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No tracker">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sp>
        <p:nvSpPr>
          <p:cNvPr id="20" name="Title 1"/>
          <p:cNvSpPr>
            <a:spLocks noGrp="1"/>
          </p:cNvSpPr>
          <p:nvPr>
            <p:ph type="title"/>
          </p:nvPr>
        </p:nvSpPr>
        <p:spPr>
          <a:xfrm>
            <a:off x="527050" y="127212"/>
            <a:ext cx="9329872"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cxnSp>
        <p:nvCxnSpPr>
          <p:cNvPr id="9"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0007988" y="308315"/>
            <a:ext cx="1561723" cy="592153"/>
          </a:xfrm>
          <a:prstGeom prst="rect">
            <a:avLst/>
          </a:prstGeom>
        </p:spPr>
      </p:pic>
    </p:spTree>
    <p:extLst>
      <p:ext uri="{BB962C8B-B14F-4D97-AF65-F5344CB8AC3E}">
        <p14:creationId xmlns:p14="http://schemas.microsoft.com/office/powerpoint/2010/main" val="778660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sterslide Blank">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sp>
        <p:nvSpPr>
          <p:cNvPr id="10" name="Rektangel 9">
            <a:hlinkClick r:id="" action="ppaction://hlinkshowjump?jump=firstslide"/>
          </p:cNvPr>
          <p:cNvSpPr/>
          <p:nvPr userDrawn="1"/>
        </p:nvSpPr>
        <p:spPr>
          <a:xfrm>
            <a:off x="10748888" y="273639"/>
            <a:ext cx="604912" cy="68296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0" dirty="0">
                <a:ln>
                  <a:solidFill>
                    <a:sysClr val="windowText" lastClr="000000"/>
                  </a:solidFill>
                </a:ln>
              </a:rPr>
              <a:t>Back</a:t>
            </a:r>
            <a:endParaRPr lang="en-US" b="0" dirty="0">
              <a:ln>
                <a:solidFill>
                  <a:sysClr val="windowText" lastClr="000000"/>
                </a:solidFill>
              </a:ln>
            </a:endParaRPr>
          </a:p>
        </p:txBody>
      </p:sp>
    </p:spTree>
    <p:extLst>
      <p:ext uri="{BB962C8B-B14F-4D97-AF65-F5344CB8AC3E}">
        <p14:creationId xmlns:p14="http://schemas.microsoft.com/office/powerpoint/2010/main" val="870851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C3044-0B65-46C7-878E-4240F847331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24493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p:spTree>
      <p:nvGrpSpPr>
        <p:cNvPr id="1" name=""/>
        <p:cNvGrpSpPr/>
        <p:nvPr/>
      </p:nvGrpSpPr>
      <p:grpSpPr>
        <a:xfrm>
          <a:off x="0" y="0"/>
          <a:ext cx="0" cy="0"/>
          <a:chOff x="0" y="0"/>
          <a:chExt cx="0" cy="0"/>
        </a:xfrm>
      </p:grpSpPr>
      <p:sp>
        <p:nvSpPr>
          <p:cNvPr id="3" name="Rektangel 2"/>
          <p:cNvSpPr/>
          <p:nvPr userDrawn="1"/>
        </p:nvSpPr>
        <p:spPr>
          <a:xfrm>
            <a:off x="9427780" y="0"/>
            <a:ext cx="2554014" cy="12297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Rektangel 3"/>
          <p:cNvSpPr/>
          <p:nvPr userDrawn="1"/>
        </p:nvSpPr>
        <p:spPr>
          <a:xfrm>
            <a:off x="-255181" y="-170121"/>
            <a:ext cx="12674009" cy="727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62685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Front Page With Logo">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651870F-07C0-4313-A32B-80C87D234C58}"/>
              </a:ext>
            </a:extLst>
          </p:cNvPr>
          <p:cNvGrpSpPr>
            <a:grpSpLocks noChangeAspect="1"/>
          </p:cNvGrpSpPr>
          <p:nvPr userDrawn="1"/>
        </p:nvGrpSpPr>
        <p:grpSpPr>
          <a:xfrm>
            <a:off x="9677154" y="225740"/>
            <a:ext cx="1892557" cy="592153"/>
            <a:chOff x="6106637" y="2611575"/>
            <a:chExt cx="1892557" cy="592153"/>
          </a:xfrm>
        </p:grpSpPr>
        <p:pic>
          <p:nvPicPr>
            <p:cNvPr id="13" name="Picture 12">
              <a:extLst>
                <a:ext uri="{FF2B5EF4-FFF2-40B4-BE49-F238E27FC236}">
                  <a16:creationId xmlns:a16="http://schemas.microsoft.com/office/drawing/2014/main" id="{1EF28FE0-AB4B-48CB-9362-84DD96F18FD5}"/>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14" name="Picture 13">
              <a:extLst>
                <a:ext uri="{FF2B5EF4-FFF2-40B4-BE49-F238E27FC236}">
                  <a16:creationId xmlns:a16="http://schemas.microsoft.com/office/drawing/2014/main" id="{D2AE12C0-605D-4EAC-A636-589E3BD3BA71}"/>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dea">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sp>
        <p:nvSpPr>
          <p:cNvPr id="13" name="Title 1"/>
          <p:cNvSpPr>
            <a:spLocks noGrp="1"/>
          </p:cNvSpPr>
          <p:nvPr>
            <p:ph type="title"/>
          </p:nvPr>
        </p:nvSpPr>
        <p:spPr>
          <a:xfrm>
            <a:off x="527051" y="127212"/>
            <a:ext cx="9150103"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cxnSp>
        <p:nvCxnSpPr>
          <p:cNvPr id="20"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8471E8A0-684C-4440-9E14-03CE3C88E1B2}"/>
              </a:ext>
            </a:extLst>
          </p:cNvPr>
          <p:cNvGrpSpPr/>
          <p:nvPr userDrawn="1"/>
        </p:nvGrpSpPr>
        <p:grpSpPr>
          <a:xfrm>
            <a:off x="3520176" y="6450301"/>
            <a:ext cx="4114436" cy="209239"/>
            <a:chOff x="3540134" y="6452919"/>
            <a:chExt cx="4114436" cy="209239"/>
          </a:xfrm>
        </p:grpSpPr>
        <p:cxnSp>
          <p:nvCxnSpPr>
            <p:cNvPr id="16" name="Straight Connector 15">
              <a:extLst>
                <a:ext uri="{FF2B5EF4-FFF2-40B4-BE49-F238E27FC236}">
                  <a16:creationId xmlns:a16="http://schemas.microsoft.com/office/drawing/2014/main" id="{0A9F61C2-D6F0-9742-A969-2E97BED8E77C}"/>
                </a:ext>
              </a:extLst>
            </p:cNvPr>
            <p:cNvCxnSpPr/>
            <p:nvPr userDrawn="1"/>
          </p:nvCxnSpPr>
          <p:spPr>
            <a:xfrm>
              <a:off x="3647202"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AF57AE6-EAC8-C145-ADA1-FA05DA63C233}"/>
                </a:ext>
              </a:extLst>
            </p:cNvPr>
            <p:cNvSpPr/>
            <p:nvPr userDrawn="1"/>
          </p:nvSpPr>
          <p:spPr>
            <a:xfrm>
              <a:off x="3647202"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1" dirty="0">
                  <a:solidFill>
                    <a:schemeClr val="tx1"/>
                  </a:solidFill>
                  <a:latin typeface="Arial" panose="020B0604020202020204" pitchFamily="34" charset="0"/>
                  <a:cs typeface="Arial" panose="020B0604020202020204" pitchFamily="34" charset="0"/>
                </a:rPr>
                <a:t>Idea</a:t>
              </a:r>
              <a:endParaRPr lang="en-GB" sz="700" b="1" dirty="0">
                <a:solidFill>
                  <a:schemeClr val="tx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25C334CA-C953-2846-B531-A065017DEE78}"/>
                </a:ext>
              </a:extLst>
            </p:cNvPr>
            <p:cNvSpPr/>
            <p:nvPr userDrawn="1"/>
          </p:nvSpPr>
          <p:spPr>
            <a:xfrm>
              <a:off x="3540134"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26BDF3C2-0A88-A147-9039-257C512D05E1}"/>
                </a:ext>
              </a:extLst>
            </p:cNvPr>
            <p:cNvSpPr/>
            <p:nvPr userDrawn="1"/>
          </p:nvSpPr>
          <p:spPr>
            <a:xfrm>
              <a:off x="4538279"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9734059C-56FE-0940-B106-686FDAC79087}"/>
                </a:ext>
              </a:extLst>
            </p:cNvPr>
            <p:cNvCxnSpPr/>
            <p:nvPr userDrawn="1"/>
          </p:nvCxnSpPr>
          <p:spPr>
            <a:xfrm>
              <a:off x="4651570"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324D7DE-C7A5-CD42-B3BF-15595F1C619E}"/>
                </a:ext>
              </a:extLst>
            </p:cNvPr>
            <p:cNvSpPr/>
            <p:nvPr userDrawn="1"/>
          </p:nvSpPr>
          <p:spPr>
            <a:xfrm>
              <a:off x="4651570"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Visualization</a:t>
              </a:r>
            </a:p>
          </p:txBody>
        </p:sp>
        <p:sp>
          <p:nvSpPr>
            <p:cNvPr id="24" name="Oval 23">
              <a:extLst>
                <a:ext uri="{FF2B5EF4-FFF2-40B4-BE49-F238E27FC236}">
                  <a16:creationId xmlns:a16="http://schemas.microsoft.com/office/drawing/2014/main" id="{C997B864-FB1C-9649-B571-DAFB28860350}"/>
                </a:ext>
              </a:extLst>
            </p:cNvPr>
            <p:cNvSpPr/>
            <p:nvPr userDrawn="1"/>
          </p:nvSpPr>
          <p:spPr>
            <a:xfrm>
              <a:off x="5542647"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25" name="Straight Connector 24">
              <a:extLst>
                <a:ext uri="{FF2B5EF4-FFF2-40B4-BE49-F238E27FC236}">
                  <a16:creationId xmlns:a16="http://schemas.microsoft.com/office/drawing/2014/main" id="{56470C2A-1207-7C44-B3D0-4F762FA5863E}"/>
                </a:ext>
              </a:extLst>
            </p:cNvPr>
            <p:cNvCxnSpPr/>
            <p:nvPr userDrawn="1"/>
          </p:nvCxnSpPr>
          <p:spPr>
            <a:xfrm>
              <a:off x="5647108"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B7A3DCE0-CD60-A242-A1AD-4DA17CBC7CEA}"/>
                </a:ext>
              </a:extLst>
            </p:cNvPr>
            <p:cNvSpPr/>
            <p:nvPr userDrawn="1"/>
          </p:nvSpPr>
          <p:spPr>
            <a:xfrm>
              <a:off x="5647108"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Elements</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EA4FD196-B5FF-2F45-919B-2796F7D3E6A8}"/>
                </a:ext>
              </a:extLst>
            </p:cNvPr>
            <p:cNvSpPr/>
            <p:nvPr userDrawn="1"/>
          </p:nvSpPr>
          <p:spPr>
            <a:xfrm>
              <a:off x="6540665"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90175486-78D6-AE42-928B-3712690D0A37}"/>
                </a:ext>
              </a:extLst>
            </p:cNvPr>
            <p:cNvCxnSpPr/>
            <p:nvPr userDrawn="1"/>
          </p:nvCxnSpPr>
          <p:spPr>
            <a:xfrm>
              <a:off x="6653956"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2A6C304-8B3E-C747-9C80-7273FA0709BB}"/>
                </a:ext>
              </a:extLst>
            </p:cNvPr>
            <p:cNvSpPr/>
            <p:nvPr userDrawn="1"/>
          </p:nvSpPr>
          <p:spPr>
            <a:xfrm>
              <a:off x="6653956"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Implementation</a:t>
              </a:r>
            </a:p>
          </p:txBody>
        </p:sp>
        <p:sp>
          <p:nvSpPr>
            <p:cNvPr id="30" name="Oval 29">
              <a:extLst>
                <a:ext uri="{FF2B5EF4-FFF2-40B4-BE49-F238E27FC236}">
                  <a16:creationId xmlns:a16="http://schemas.microsoft.com/office/drawing/2014/main" id="{F96DD105-149D-8248-B83F-8D9EA2183BB7}"/>
                </a:ext>
              </a:extLst>
            </p:cNvPr>
            <p:cNvSpPr/>
            <p:nvPr userDrawn="1"/>
          </p:nvSpPr>
          <p:spPr>
            <a:xfrm>
              <a:off x="7545033"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grpSp>
        <p:nvGrpSpPr>
          <p:cNvPr id="35" name="Group 34">
            <a:extLst>
              <a:ext uri="{FF2B5EF4-FFF2-40B4-BE49-F238E27FC236}">
                <a16:creationId xmlns:a16="http://schemas.microsoft.com/office/drawing/2014/main" id="{4D235B78-1AC0-42A7-BC5C-353C1BCD6080}"/>
              </a:ext>
            </a:extLst>
          </p:cNvPr>
          <p:cNvGrpSpPr>
            <a:grpSpLocks noChangeAspect="1"/>
          </p:cNvGrpSpPr>
          <p:nvPr userDrawn="1"/>
        </p:nvGrpSpPr>
        <p:grpSpPr>
          <a:xfrm>
            <a:off x="9677154" y="296078"/>
            <a:ext cx="1892557" cy="592153"/>
            <a:chOff x="6106637" y="2611575"/>
            <a:chExt cx="1892557" cy="592153"/>
          </a:xfrm>
        </p:grpSpPr>
        <p:pic>
          <p:nvPicPr>
            <p:cNvPr id="36" name="Picture 35">
              <a:extLst>
                <a:ext uri="{FF2B5EF4-FFF2-40B4-BE49-F238E27FC236}">
                  <a16:creationId xmlns:a16="http://schemas.microsoft.com/office/drawing/2014/main" id="{53F0DA36-4551-4A66-9C76-A8E115DD10F6}"/>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37" name="Picture 36">
              <a:extLst>
                <a:ext uri="{FF2B5EF4-FFF2-40B4-BE49-F238E27FC236}">
                  <a16:creationId xmlns:a16="http://schemas.microsoft.com/office/drawing/2014/main" id="{C9648BB4-3757-49EB-AC6C-C380B51A577D}"/>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cxnSp>
        <p:nvCxnSpPr>
          <p:cNvPr id="34" name="Straight Connector 27">
            <a:extLst>
              <a:ext uri="{FF2B5EF4-FFF2-40B4-BE49-F238E27FC236}">
                <a16:creationId xmlns:a16="http://schemas.microsoft.com/office/drawing/2014/main" id="{FBBE96A0-DF71-5E44-AF1E-0B04609597B3}"/>
              </a:ext>
            </a:extLst>
          </p:cNvPr>
          <p:cNvCxnSpPr/>
          <p:nvPr userDrawn="1"/>
        </p:nvCxnSpPr>
        <p:spPr>
          <a:xfrm>
            <a:off x="7634612" y="6605540"/>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Oval 29">
            <a:extLst>
              <a:ext uri="{FF2B5EF4-FFF2-40B4-BE49-F238E27FC236}">
                <a16:creationId xmlns:a16="http://schemas.microsoft.com/office/drawing/2014/main" id="{11EFF017-5F05-4B4B-969A-209D2F46429B}"/>
              </a:ext>
            </a:extLst>
          </p:cNvPr>
          <p:cNvSpPr/>
          <p:nvPr userDrawn="1"/>
        </p:nvSpPr>
        <p:spPr>
          <a:xfrm>
            <a:off x="8523812" y="6558600"/>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9" name="Rectangle 28">
            <a:extLst>
              <a:ext uri="{FF2B5EF4-FFF2-40B4-BE49-F238E27FC236}">
                <a16:creationId xmlns:a16="http://schemas.microsoft.com/office/drawing/2014/main" id="{8DBBF1CC-0056-7C4A-BDF2-98428887D0B2}"/>
              </a:ext>
            </a:extLst>
          </p:cNvPr>
          <p:cNvSpPr/>
          <p:nvPr userDrawn="1"/>
        </p:nvSpPr>
        <p:spPr>
          <a:xfrm>
            <a:off x="7628466" y="6445242"/>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Data analysis</a:t>
            </a:r>
          </a:p>
        </p:txBody>
      </p:sp>
    </p:spTree>
    <p:extLst>
      <p:ext uri="{BB962C8B-B14F-4D97-AF65-F5344CB8AC3E}">
        <p14:creationId xmlns:p14="http://schemas.microsoft.com/office/powerpoint/2010/main" val="177459582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isualization">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cxnSp>
        <p:nvCxnSpPr>
          <p:cNvPr id="13"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7" name="Title 1">
            <a:extLst>
              <a:ext uri="{FF2B5EF4-FFF2-40B4-BE49-F238E27FC236}">
                <a16:creationId xmlns:a16="http://schemas.microsoft.com/office/drawing/2014/main" id="{AD25EEA8-E7CC-4D6F-8D91-CD96E3C43D72}"/>
              </a:ext>
            </a:extLst>
          </p:cNvPr>
          <p:cNvSpPr>
            <a:spLocks noGrp="1"/>
          </p:cNvSpPr>
          <p:nvPr>
            <p:ph type="title"/>
          </p:nvPr>
        </p:nvSpPr>
        <p:spPr>
          <a:xfrm>
            <a:off x="527051" y="127212"/>
            <a:ext cx="9150103"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grpSp>
        <p:nvGrpSpPr>
          <p:cNvPr id="39" name="Group 38">
            <a:extLst>
              <a:ext uri="{FF2B5EF4-FFF2-40B4-BE49-F238E27FC236}">
                <a16:creationId xmlns:a16="http://schemas.microsoft.com/office/drawing/2014/main" id="{86B24BAC-A367-4938-9975-E3814516E773}"/>
              </a:ext>
            </a:extLst>
          </p:cNvPr>
          <p:cNvGrpSpPr>
            <a:grpSpLocks noChangeAspect="1"/>
          </p:cNvGrpSpPr>
          <p:nvPr userDrawn="1"/>
        </p:nvGrpSpPr>
        <p:grpSpPr>
          <a:xfrm>
            <a:off x="9677154" y="296078"/>
            <a:ext cx="1892557" cy="592153"/>
            <a:chOff x="6106637" y="2611575"/>
            <a:chExt cx="1892557" cy="592153"/>
          </a:xfrm>
        </p:grpSpPr>
        <p:pic>
          <p:nvPicPr>
            <p:cNvPr id="40" name="Picture 39">
              <a:extLst>
                <a:ext uri="{FF2B5EF4-FFF2-40B4-BE49-F238E27FC236}">
                  <a16:creationId xmlns:a16="http://schemas.microsoft.com/office/drawing/2014/main" id="{5D5871F1-DB32-46E3-BAC9-0EBD49F81B68}"/>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41" name="Picture 40">
              <a:extLst>
                <a:ext uri="{FF2B5EF4-FFF2-40B4-BE49-F238E27FC236}">
                  <a16:creationId xmlns:a16="http://schemas.microsoft.com/office/drawing/2014/main" id="{D6D48979-C7AC-420D-8AE4-5C7E32812FEF}"/>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grpSp>
        <p:nvGrpSpPr>
          <p:cNvPr id="96" name="Group 13">
            <a:extLst>
              <a:ext uri="{FF2B5EF4-FFF2-40B4-BE49-F238E27FC236}">
                <a16:creationId xmlns:a16="http://schemas.microsoft.com/office/drawing/2014/main" id="{651388A9-ECAE-3247-8677-93541842202D}"/>
              </a:ext>
            </a:extLst>
          </p:cNvPr>
          <p:cNvGrpSpPr/>
          <p:nvPr userDrawn="1"/>
        </p:nvGrpSpPr>
        <p:grpSpPr>
          <a:xfrm>
            <a:off x="3520176" y="6450301"/>
            <a:ext cx="4114436" cy="209239"/>
            <a:chOff x="3540134" y="6452919"/>
            <a:chExt cx="4114436" cy="209239"/>
          </a:xfrm>
        </p:grpSpPr>
        <p:cxnSp>
          <p:nvCxnSpPr>
            <p:cNvPr id="97" name="Straight Connector 15">
              <a:extLst>
                <a:ext uri="{FF2B5EF4-FFF2-40B4-BE49-F238E27FC236}">
                  <a16:creationId xmlns:a16="http://schemas.microsoft.com/office/drawing/2014/main" id="{AD76268B-13FE-6943-B865-8A59E5F2D6BE}"/>
                </a:ext>
              </a:extLst>
            </p:cNvPr>
            <p:cNvCxnSpPr/>
            <p:nvPr userDrawn="1"/>
          </p:nvCxnSpPr>
          <p:spPr>
            <a:xfrm>
              <a:off x="3647202"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8" name="Rectangle 16">
              <a:extLst>
                <a:ext uri="{FF2B5EF4-FFF2-40B4-BE49-F238E27FC236}">
                  <a16:creationId xmlns:a16="http://schemas.microsoft.com/office/drawing/2014/main" id="{C6BDFC00-0CC9-4144-8304-6BE69A313442}"/>
                </a:ext>
              </a:extLst>
            </p:cNvPr>
            <p:cNvSpPr/>
            <p:nvPr userDrawn="1"/>
          </p:nvSpPr>
          <p:spPr>
            <a:xfrm>
              <a:off x="3647202"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Idea</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99" name="Oval 18">
              <a:extLst>
                <a:ext uri="{FF2B5EF4-FFF2-40B4-BE49-F238E27FC236}">
                  <a16:creationId xmlns:a16="http://schemas.microsoft.com/office/drawing/2014/main" id="{AC4790C3-4A14-7E4B-B71E-8A708DA8551A}"/>
                </a:ext>
              </a:extLst>
            </p:cNvPr>
            <p:cNvSpPr/>
            <p:nvPr userDrawn="1"/>
          </p:nvSpPr>
          <p:spPr>
            <a:xfrm>
              <a:off x="3540134"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Arial" panose="020B0604020202020204" pitchFamily="34" charset="0"/>
                <a:cs typeface="Arial" panose="020B0604020202020204" pitchFamily="34" charset="0"/>
              </a:endParaRPr>
            </a:p>
          </p:txBody>
        </p:sp>
        <p:sp>
          <p:nvSpPr>
            <p:cNvPr id="100" name="Oval 20">
              <a:extLst>
                <a:ext uri="{FF2B5EF4-FFF2-40B4-BE49-F238E27FC236}">
                  <a16:creationId xmlns:a16="http://schemas.microsoft.com/office/drawing/2014/main" id="{7A569D3B-00A4-BB4E-98DE-0E722C5ED05F}"/>
                </a:ext>
              </a:extLst>
            </p:cNvPr>
            <p:cNvSpPr/>
            <p:nvPr userDrawn="1"/>
          </p:nvSpPr>
          <p:spPr>
            <a:xfrm>
              <a:off x="4538279"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cxnSp>
          <p:nvCxnSpPr>
            <p:cNvPr id="101" name="Straight Connector 21">
              <a:extLst>
                <a:ext uri="{FF2B5EF4-FFF2-40B4-BE49-F238E27FC236}">
                  <a16:creationId xmlns:a16="http://schemas.microsoft.com/office/drawing/2014/main" id="{6AF0CFB6-A070-304A-8240-E1704523D284}"/>
                </a:ext>
              </a:extLst>
            </p:cNvPr>
            <p:cNvCxnSpPr/>
            <p:nvPr userDrawn="1"/>
          </p:nvCxnSpPr>
          <p:spPr>
            <a:xfrm>
              <a:off x="4651570"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2" name="Rectangle 22">
              <a:extLst>
                <a:ext uri="{FF2B5EF4-FFF2-40B4-BE49-F238E27FC236}">
                  <a16:creationId xmlns:a16="http://schemas.microsoft.com/office/drawing/2014/main" id="{6D5DFDF1-EB38-F04A-9756-E628173321EC}"/>
                </a:ext>
              </a:extLst>
            </p:cNvPr>
            <p:cNvSpPr/>
            <p:nvPr userDrawn="1"/>
          </p:nvSpPr>
          <p:spPr>
            <a:xfrm>
              <a:off x="4651570"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1" dirty="0">
                  <a:solidFill>
                    <a:schemeClr val="tx1"/>
                  </a:solidFill>
                  <a:latin typeface="Arial" panose="020B0604020202020204" pitchFamily="34" charset="0"/>
                  <a:cs typeface="Arial" panose="020B0604020202020204" pitchFamily="34" charset="0"/>
                </a:rPr>
                <a:t>Visualization</a:t>
              </a:r>
            </a:p>
          </p:txBody>
        </p:sp>
        <p:sp>
          <p:nvSpPr>
            <p:cNvPr id="103" name="Oval 23">
              <a:extLst>
                <a:ext uri="{FF2B5EF4-FFF2-40B4-BE49-F238E27FC236}">
                  <a16:creationId xmlns:a16="http://schemas.microsoft.com/office/drawing/2014/main" id="{AE5113D7-BF70-1344-B274-24C4A5BF70C6}"/>
                </a:ext>
              </a:extLst>
            </p:cNvPr>
            <p:cNvSpPr/>
            <p:nvPr userDrawn="1"/>
          </p:nvSpPr>
          <p:spPr>
            <a:xfrm>
              <a:off x="5542647"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cxnSp>
          <p:nvCxnSpPr>
            <p:cNvPr id="104" name="Straight Connector 24">
              <a:extLst>
                <a:ext uri="{FF2B5EF4-FFF2-40B4-BE49-F238E27FC236}">
                  <a16:creationId xmlns:a16="http://schemas.microsoft.com/office/drawing/2014/main" id="{D3CBA5CE-CF6E-434E-9333-47D36A76ECBC}"/>
                </a:ext>
              </a:extLst>
            </p:cNvPr>
            <p:cNvCxnSpPr/>
            <p:nvPr userDrawn="1"/>
          </p:nvCxnSpPr>
          <p:spPr>
            <a:xfrm>
              <a:off x="5647108"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5" name="Rectangle 25">
              <a:extLst>
                <a:ext uri="{FF2B5EF4-FFF2-40B4-BE49-F238E27FC236}">
                  <a16:creationId xmlns:a16="http://schemas.microsoft.com/office/drawing/2014/main" id="{35D66D73-F2B9-7343-819F-871BDEDDF29F}"/>
                </a:ext>
              </a:extLst>
            </p:cNvPr>
            <p:cNvSpPr/>
            <p:nvPr userDrawn="1"/>
          </p:nvSpPr>
          <p:spPr>
            <a:xfrm>
              <a:off x="5647108"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Elements</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106" name="Oval 26">
              <a:extLst>
                <a:ext uri="{FF2B5EF4-FFF2-40B4-BE49-F238E27FC236}">
                  <a16:creationId xmlns:a16="http://schemas.microsoft.com/office/drawing/2014/main" id="{2C353E06-0C12-E944-877D-543968A3103A}"/>
                </a:ext>
              </a:extLst>
            </p:cNvPr>
            <p:cNvSpPr/>
            <p:nvPr userDrawn="1"/>
          </p:nvSpPr>
          <p:spPr>
            <a:xfrm>
              <a:off x="6540665"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107" name="Straight Connector 27">
              <a:extLst>
                <a:ext uri="{FF2B5EF4-FFF2-40B4-BE49-F238E27FC236}">
                  <a16:creationId xmlns:a16="http://schemas.microsoft.com/office/drawing/2014/main" id="{9A53FE53-894A-9B4E-B1FC-D3084565A079}"/>
                </a:ext>
              </a:extLst>
            </p:cNvPr>
            <p:cNvCxnSpPr/>
            <p:nvPr userDrawn="1"/>
          </p:nvCxnSpPr>
          <p:spPr>
            <a:xfrm>
              <a:off x="6653956"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8" name="Rectangle 28">
              <a:extLst>
                <a:ext uri="{FF2B5EF4-FFF2-40B4-BE49-F238E27FC236}">
                  <a16:creationId xmlns:a16="http://schemas.microsoft.com/office/drawing/2014/main" id="{E1466B20-AA0E-B84A-BA7E-1FFD3E477E70}"/>
                </a:ext>
              </a:extLst>
            </p:cNvPr>
            <p:cNvSpPr/>
            <p:nvPr userDrawn="1"/>
          </p:nvSpPr>
          <p:spPr>
            <a:xfrm>
              <a:off x="6653956"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Implementation</a:t>
              </a:r>
            </a:p>
          </p:txBody>
        </p:sp>
        <p:sp>
          <p:nvSpPr>
            <p:cNvPr id="109" name="Oval 29">
              <a:extLst>
                <a:ext uri="{FF2B5EF4-FFF2-40B4-BE49-F238E27FC236}">
                  <a16:creationId xmlns:a16="http://schemas.microsoft.com/office/drawing/2014/main" id="{8784B036-273D-5B4C-AE3A-ACB65EAF7572}"/>
                </a:ext>
              </a:extLst>
            </p:cNvPr>
            <p:cNvSpPr/>
            <p:nvPr userDrawn="1"/>
          </p:nvSpPr>
          <p:spPr>
            <a:xfrm>
              <a:off x="7545033"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cxnSp>
        <p:nvCxnSpPr>
          <p:cNvPr id="110" name="Straight Connector 27">
            <a:extLst>
              <a:ext uri="{FF2B5EF4-FFF2-40B4-BE49-F238E27FC236}">
                <a16:creationId xmlns:a16="http://schemas.microsoft.com/office/drawing/2014/main" id="{760C8745-8F7D-8348-B32B-1C3103EDF2E1}"/>
              </a:ext>
            </a:extLst>
          </p:cNvPr>
          <p:cNvCxnSpPr/>
          <p:nvPr userDrawn="1"/>
        </p:nvCxnSpPr>
        <p:spPr>
          <a:xfrm>
            <a:off x="7634612" y="6605540"/>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1" name="Oval 29">
            <a:extLst>
              <a:ext uri="{FF2B5EF4-FFF2-40B4-BE49-F238E27FC236}">
                <a16:creationId xmlns:a16="http://schemas.microsoft.com/office/drawing/2014/main" id="{A93FC3EC-F933-C947-8A23-DFA32E015D61}"/>
              </a:ext>
            </a:extLst>
          </p:cNvPr>
          <p:cNvSpPr/>
          <p:nvPr userDrawn="1"/>
        </p:nvSpPr>
        <p:spPr>
          <a:xfrm>
            <a:off x="8523812" y="6558600"/>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2" name="Rectangle 28">
            <a:extLst>
              <a:ext uri="{FF2B5EF4-FFF2-40B4-BE49-F238E27FC236}">
                <a16:creationId xmlns:a16="http://schemas.microsoft.com/office/drawing/2014/main" id="{40B8FB87-59A0-B440-88E0-9F8E59C44A40}"/>
              </a:ext>
            </a:extLst>
          </p:cNvPr>
          <p:cNvSpPr/>
          <p:nvPr userDrawn="1"/>
        </p:nvSpPr>
        <p:spPr>
          <a:xfrm>
            <a:off x="7628466" y="6445242"/>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Data analysis</a:t>
            </a:r>
          </a:p>
        </p:txBody>
      </p:sp>
    </p:spTree>
    <p:extLst>
      <p:ext uri="{BB962C8B-B14F-4D97-AF65-F5344CB8AC3E}">
        <p14:creationId xmlns:p14="http://schemas.microsoft.com/office/powerpoint/2010/main" val="812408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lements">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cxnSp>
        <p:nvCxnSpPr>
          <p:cNvPr id="15"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8" name="Title 1">
            <a:extLst>
              <a:ext uri="{FF2B5EF4-FFF2-40B4-BE49-F238E27FC236}">
                <a16:creationId xmlns:a16="http://schemas.microsoft.com/office/drawing/2014/main" id="{543F07A1-BC40-40E3-B337-E50C6282D3D1}"/>
              </a:ext>
            </a:extLst>
          </p:cNvPr>
          <p:cNvSpPr>
            <a:spLocks noGrp="1"/>
          </p:cNvSpPr>
          <p:nvPr>
            <p:ph type="title"/>
          </p:nvPr>
        </p:nvSpPr>
        <p:spPr>
          <a:xfrm>
            <a:off x="527051" y="127212"/>
            <a:ext cx="9150103"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grpSp>
        <p:nvGrpSpPr>
          <p:cNvPr id="59" name="Group 58">
            <a:extLst>
              <a:ext uri="{FF2B5EF4-FFF2-40B4-BE49-F238E27FC236}">
                <a16:creationId xmlns:a16="http://schemas.microsoft.com/office/drawing/2014/main" id="{DE84BBD5-6266-4C9B-BCDA-70E97E1CCA7D}"/>
              </a:ext>
            </a:extLst>
          </p:cNvPr>
          <p:cNvGrpSpPr>
            <a:grpSpLocks noChangeAspect="1"/>
          </p:cNvGrpSpPr>
          <p:nvPr userDrawn="1"/>
        </p:nvGrpSpPr>
        <p:grpSpPr>
          <a:xfrm>
            <a:off x="9677154" y="296078"/>
            <a:ext cx="1892557" cy="592153"/>
            <a:chOff x="6106637" y="2611575"/>
            <a:chExt cx="1892557" cy="592153"/>
          </a:xfrm>
        </p:grpSpPr>
        <p:pic>
          <p:nvPicPr>
            <p:cNvPr id="60" name="Picture 59">
              <a:extLst>
                <a:ext uri="{FF2B5EF4-FFF2-40B4-BE49-F238E27FC236}">
                  <a16:creationId xmlns:a16="http://schemas.microsoft.com/office/drawing/2014/main" id="{490C734F-3160-4AA7-BF62-356E441BF409}"/>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61" name="Picture 60">
              <a:extLst>
                <a:ext uri="{FF2B5EF4-FFF2-40B4-BE49-F238E27FC236}">
                  <a16:creationId xmlns:a16="http://schemas.microsoft.com/office/drawing/2014/main" id="{60118F2E-73B8-4D3E-ADE3-81D54E334129}"/>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grpSp>
        <p:nvGrpSpPr>
          <p:cNvPr id="66" name="Group 13">
            <a:extLst>
              <a:ext uri="{FF2B5EF4-FFF2-40B4-BE49-F238E27FC236}">
                <a16:creationId xmlns:a16="http://schemas.microsoft.com/office/drawing/2014/main" id="{74CE5B4B-0D34-C54A-8A0A-15450C9AF899}"/>
              </a:ext>
            </a:extLst>
          </p:cNvPr>
          <p:cNvGrpSpPr/>
          <p:nvPr userDrawn="1"/>
        </p:nvGrpSpPr>
        <p:grpSpPr>
          <a:xfrm>
            <a:off x="3520176" y="6450301"/>
            <a:ext cx="4114436" cy="209239"/>
            <a:chOff x="3540134" y="6452919"/>
            <a:chExt cx="4114436" cy="209239"/>
          </a:xfrm>
        </p:grpSpPr>
        <p:cxnSp>
          <p:nvCxnSpPr>
            <p:cNvPr id="67" name="Straight Connector 15">
              <a:extLst>
                <a:ext uri="{FF2B5EF4-FFF2-40B4-BE49-F238E27FC236}">
                  <a16:creationId xmlns:a16="http://schemas.microsoft.com/office/drawing/2014/main" id="{438F5A49-FCFF-B34A-9B0B-78C57D2FFBC1}"/>
                </a:ext>
              </a:extLst>
            </p:cNvPr>
            <p:cNvCxnSpPr/>
            <p:nvPr userDrawn="1"/>
          </p:nvCxnSpPr>
          <p:spPr>
            <a:xfrm>
              <a:off x="3647202"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8" name="Rectangle 16">
              <a:extLst>
                <a:ext uri="{FF2B5EF4-FFF2-40B4-BE49-F238E27FC236}">
                  <a16:creationId xmlns:a16="http://schemas.microsoft.com/office/drawing/2014/main" id="{D5952483-2353-2D4C-B41B-8160D09E7473}"/>
                </a:ext>
              </a:extLst>
            </p:cNvPr>
            <p:cNvSpPr/>
            <p:nvPr userDrawn="1"/>
          </p:nvSpPr>
          <p:spPr>
            <a:xfrm>
              <a:off x="3647202"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Idea</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69" name="Oval 18">
              <a:extLst>
                <a:ext uri="{FF2B5EF4-FFF2-40B4-BE49-F238E27FC236}">
                  <a16:creationId xmlns:a16="http://schemas.microsoft.com/office/drawing/2014/main" id="{6733C781-F618-B84C-8444-1C2B44998869}"/>
                </a:ext>
              </a:extLst>
            </p:cNvPr>
            <p:cNvSpPr/>
            <p:nvPr userDrawn="1"/>
          </p:nvSpPr>
          <p:spPr>
            <a:xfrm>
              <a:off x="3540134"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sp>
          <p:nvSpPr>
            <p:cNvPr id="70" name="Oval 20">
              <a:extLst>
                <a:ext uri="{FF2B5EF4-FFF2-40B4-BE49-F238E27FC236}">
                  <a16:creationId xmlns:a16="http://schemas.microsoft.com/office/drawing/2014/main" id="{8865FEC6-A11F-204A-BA0B-246ACFEDC159}"/>
                </a:ext>
              </a:extLst>
            </p:cNvPr>
            <p:cNvSpPr/>
            <p:nvPr userDrawn="1"/>
          </p:nvSpPr>
          <p:spPr>
            <a:xfrm>
              <a:off x="4538279"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cxnSp>
          <p:nvCxnSpPr>
            <p:cNvPr id="71" name="Straight Connector 21">
              <a:extLst>
                <a:ext uri="{FF2B5EF4-FFF2-40B4-BE49-F238E27FC236}">
                  <a16:creationId xmlns:a16="http://schemas.microsoft.com/office/drawing/2014/main" id="{E87ECA90-A2E0-C546-8BA4-80BE89002D7D}"/>
                </a:ext>
              </a:extLst>
            </p:cNvPr>
            <p:cNvCxnSpPr/>
            <p:nvPr userDrawn="1"/>
          </p:nvCxnSpPr>
          <p:spPr>
            <a:xfrm>
              <a:off x="4651570"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2" name="Rectangle 22">
              <a:extLst>
                <a:ext uri="{FF2B5EF4-FFF2-40B4-BE49-F238E27FC236}">
                  <a16:creationId xmlns:a16="http://schemas.microsoft.com/office/drawing/2014/main" id="{A2EC557A-C008-8241-A189-7DEB10B2F6BC}"/>
                </a:ext>
              </a:extLst>
            </p:cNvPr>
            <p:cNvSpPr/>
            <p:nvPr userDrawn="1"/>
          </p:nvSpPr>
          <p:spPr>
            <a:xfrm>
              <a:off x="4651570"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Visualization</a:t>
              </a:r>
            </a:p>
          </p:txBody>
        </p:sp>
        <p:sp>
          <p:nvSpPr>
            <p:cNvPr id="73" name="Oval 23">
              <a:extLst>
                <a:ext uri="{FF2B5EF4-FFF2-40B4-BE49-F238E27FC236}">
                  <a16:creationId xmlns:a16="http://schemas.microsoft.com/office/drawing/2014/main" id="{7183A283-16B8-894C-BD90-8DB344C9BF24}"/>
                </a:ext>
              </a:extLst>
            </p:cNvPr>
            <p:cNvSpPr/>
            <p:nvPr userDrawn="1"/>
          </p:nvSpPr>
          <p:spPr>
            <a:xfrm>
              <a:off x="5542647"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74" name="Straight Connector 24">
              <a:extLst>
                <a:ext uri="{FF2B5EF4-FFF2-40B4-BE49-F238E27FC236}">
                  <a16:creationId xmlns:a16="http://schemas.microsoft.com/office/drawing/2014/main" id="{A199A40E-9108-9E43-B230-58ACBF96C8BD}"/>
                </a:ext>
              </a:extLst>
            </p:cNvPr>
            <p:cNvCxnSpPr/>
            <p:nvPr userDrawn="1"/>
          </p:nvCxnSpPr>
          <p:spPr>
            <a:xfrm>
              <a:off x="5647108"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5" name="Rectangle 25">
              <a:extLst>
                <a:ext uri="{FF2B5EF4-FFF2-40B4-BE49-F238E27FC236}">
                  <a16:creationId xmlns:a16="http://schemas.microsoft.com/office/drawing/2014/main" id="{6B43840F-351D-EE48-BF3D-A673A12839F8}"/>
                </a:ext>
              </a:extLst>
            </p:cNvPr>
            <p:cNvSpPr/>
            <p:nvPr userDrawn="1"/>
          </p:nvSpPr>
          <p:spPr>
            <a:xfrm>
              <a:off x="5647108"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1" dirty="0">
                  <a:solidFill>
                    <a:schemeClr val="tx1"/>
                  </a:solidFill>
                  <a:latin typeface="Arial" panose="020B0604020202020204" pitchFamily="34" charset="0"/>
                  <a:cs typeface="Arial" panose="020B0604020202020204" pitchFamily="34" charset="0"/>
                </a:rPr>
                <a:t>Elements</a:t>
              </a:r>
              <a:endParaRPr lang="en-GB" sz="700" b="1" dirty="0">
                <a:solidFill>
                  <a:schemeClr val="tx1"/>
                </a:solidFill>
                <a:latin typeface="Arial" panose="020B0604020202020204" pitchFamily="34" charset="0"/>
                <a:cs typeface="Arial" panose="020B0604020202020204" pitchFamily="34" charset="0"/>
              </a:endParaRPr>
            </a:p>
          </p:txBody>
        </p:sp>
        <p:sp>
          <p:nvSpPr>
            <p:cNvPr id="76" name="Oval 26">
              <a:extLst>
                <a:ext uri="{FF2B5EF4-FFF2-40B4-BE49-F238E27FC236}">
                  <a16:creationId xmlns:a16="http://schemas.microsoft.com/office/drawing/2014/main" id="{C689A90C-91FE-354B-A9A1-33D83F19A65F}"/>
                </a:ext>
              </a:extLst>
            </p:cNvPr>
            <p:cNvSpPr/>
            <p:nvPr userDrawn="1"/>
          </p:nvSpPr>
          <p:spPr>
            <a:xfrm>
              <a:off x="6540665"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77" name="Straight Connector 27">
              <a:extLst>
                <a:ext uri="{FF2B5EF4-FFF2-40B4-BE49-F238E27FC236}">
                  <a16:creationId xmlns:a16="http://schemas.microsoft.com/office/drawing/2014/main" id="{D02F6FEC-6614-A441-B363-33F388087F5F}"/>
                </a:ext>
              </a:extLst>
            </p:cNvPr>
            <p:cNvCxnSpPr/>
            <p:nvPr userDrawn="1"/>
          </p:nvCxnSpPr>
          <p:spPr>
            <a:xfrm>
              <a:off x="6653956"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8" name="Rectangle 28">
              <a:extLst>
                <a:ext uri="{FF2B5EF4-FFF2-40B4-BE49-F238E27FC236}">
                  <a16:creationId xmlns:a16="http://schemas.microsoft.com/office/drawing/2014/main" id="{B0A385F0-2E8A-4C47-BC70-9BC0CDA9D115}"/>
                </a:ext>
              </a:extLst>
            </p:cNvPr>
            <p:cNvSpPr/>
            <p:nvPr userDrawn="1"/>
          </p:nvSpPr>
          <p:spPr>
            <a:xfrm>
              <a:off x="6653956"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Implementation</a:t>
              </a:r>
            </a:p>
          </p:txBody>
        </p:sp>
        <p:sp>
          <p:nvSpPr>
            <p:cNvPr id="79" name="Oval 29">
              <a:extLst>
                <a:ext uri="{FF2B5EF4-FFF2-40B4-BE49-F238E27FC236}">
                  <a16:creationId xmlns:a16="http://schemas.microsoft.com/office/drawing/2014/main" id="{775517F9-2B75-4948-8966-FB21AB301E1E}"/>
                </a:ext>
              </a:extLst>
            </p:cNvPr>
            <p:cNvSpPr/>
            <p:nvPr userDrawn="1"/>
          </p:nvSpPr>
          <p:spPr>
            <a:xfrm>
              <a:off x="7545033"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cxnSp>
        <p:nvCxnSpPr>
          <p:cNvPr id="80" name="Straight Connector 27">
            <a:extLst>
              <a:ext uri="{FF2B5EF4-FFF2-40B4-BE49-F238E27FC236}">
                <a16:creationId xmlns:a16="http://schemas.microsoft.com/office/drawing/2014/main" id="{13E2D973-6E8A-B841-86FA-2223BD2D9E75}"/>
              </a:ext>
            </a:extLst>
          </p:cNvPr>
          <p:cNvCxnSpPr/>
          <p:nvPr userDrawn="1"/>
        </p:nvCxnSpPr>
        <p:spPr>
          <a:xfrm>
            <a:off x="7634612" y="6605540"/>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Oval 29">
            <a:extLst>
              <a:ext uri="{FF2B5EF4-FFF2-40B4-BE49-F238E27FC236}">
                <a16:creationId xmlns:a16="http://schemas.microsoft.com/office/drawing/2014/main" id="{1126D8C9-C89D-A145-98A0-3CA68CD1042D}"/>
              </a:ext>
            </a:extLst>
          </p:cNvPr>
          <p:cNvSpPr/>
          <p:nvPr userDrawn="1"/>
        </p:nvSpPr>
        <p:spPr>
          <a:xfrm>
            <a:off x="8523812" y="6558600"/>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2" name="Rectangle 28">
            <a:extLst>
              <a:ext uri="{FF2B5EF4-FFF2-40B4-BE49-F238E27FC236}">
                <a16:creationId xmlns:a16="http://schemas.microsoft.com/office/drawing/2014/main" id="{C1BB649E-C338-FA4A-93F2-2E9C5FFA6D32}"/>
              </a:ext>
            </a:extLst>
          </p:cNvPr>
          <p:cNvSpPr/>
          <p:nvPr userDrawn="1"/>
        </p:nvSpPr>
        <p:spPr>
          <a:xfrm>
            <a:off x="7628466" y="6445242"/>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Data analysis</a:t>
            </a:r>
          </a:p>
        </p:txBody>
      </p:sp>
    </p:spTree>
    <p:extLst>
      <p:ext uri="{BB962C8B-B14F-4D97-AF65-F5344CB8AC3E}">
        <p14:creationId xmlns:p14="http://schemas.microsoft.com/office/powerpoint/2010/main" val="1340871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plementation">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cxnSp>
        <p:nvCxnSpPr>
          <p:cNvPr id="15"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8" name="Title 1">
            <a:extLst>
              <a:ext uri="{FF2B5EF4-FFF2-40B4-BE49-F238E27FC236}">
                <a16:creationId xmlns:a16="http://schemas.microsoft.com/office/drawing/2014/main" id="{E3888B6F-C725-4D3F-BC83-68262FDE6F2D}"/>
              </a:ext>
            </a:extLst>
          </p:cNvPr>
          <p:cNvSpPr>
            <a:spLocks noGrp="1"/>
          </p:cNvSpPr>
          <p:nvPr>
            <p:ph type="title"/>
          </p:nvPr>
        </p:nvSpPr>
        <p:spPr>
          <a:xfrm>
            <a:off x="527051" y="127212"/>
            <a:ext cx="9150103"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grpSp>
        <p:nvGrpSpPr>
          <p:cNvPr id="59" name="Group 58">
            <a:extLst>
              <a:ext uri="{FF2B5EF4-FFF2-40B4-BE49-F238E27FC236}">
                <a16:creationId xmlns:a16="http://schemas.microsoft.com/office/drawing/2014/main" id="{35BF7F65-D513-4D4A-AAA6-6C039C47D974}"/>
              </a:ext>
            </a:extLst>
          </p:cNvPr>
          <p:cNvGrpSpPr>
            <a:grpSpLocks noChangeAspect="1"/>
          </p:cNvGrpSpPr>
          <p:nvPr userDrawn="1"/>
        </p:nvGrpSpPr>
        <p:grpSpPr>
          <a:xfrm>
            <a:off x="9677154" y="296078"/>
            <a:ext cx="1892557" cy="592153"/>
            <a:chOff x="6106637" y="2611575"/>
            <a:chExt cx="1892557" cy="592153"/>
          </a:xfrm>
        </p:grpSpPr>
        <p:pic>
          <p:nvPicPr>
            <p:cNvPr id="60" name="Picture 59">
              <a:extLst>
                <a:ext uri="{FF2B5EF4-FFF2-40B4-BE49-F238E27FC236}">
                  <a16:creationId xmlns:a16="http://schemas.microsoft.com/office/drawing/2014/main" id="{7E543CC1-9B74-4554-91C4-9122CBD3405B}"/>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61" name="Picture 60">
              <a:extLst>
                <a:ext uri="{FF2B5EF4-FFF2-40B4-BE49-F238E27FC236}">
                  <a16:creationId xmlns:a16="http://schemas.microsoft.com/office/drawing/2014/main" id="{B1349097-89D7-46B9-84DC-7230C4215927}"/>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grpSp>
        <p:nvGrpSpPr>
          <p:cNvPr id="65" name="Group 13">
            <a:extLst>
              <a:ext uri="{FF2B5EF4-FFF2-40B4-BE49-F238E27FC236}">
                <a16:creationId xmlns:a16="http://schemas.microsoft.com/office/drawing/2014/main" id="{A4D34A04-38AF-1146-8E2D-2660FE34CE04}"/>
              </a:ext>
            </a:extLst>
          </p:cNvPr>
          <p:cNvGrpSpPr/>
          <p:nvPr userDrawn="1"/>
        </p:nvGrpSpPr>
        <p:grpSpPr>
          <a:xfrm>
            <a:off x="3520176" y="6450301"/>
            <a:ext cx="4114436" cy="209239"/>
            <a:chOff x="3540134" y="6452919"/>
            <a:chExt cx="4114436" cy="209239"/>
          </a:xfrm>
        </p:grpSpPr>
        <p:cxnSp>
          <p:nvCxnSpPr>
            <p:cNvPr id="66" name="Straight Connector 15">
              <a:extLst>
                <a:ext uri="{FF2B5EF4-FFF2-40B4-BE49-F238E27FC236}">
                  <a16:creationId xmlns:a16="http://schemas.microsoft.com/office/drawing/2014/main" id="{EC1C40C4-8C09-9A46-8E6C-D0450EC50F8A}"/>
                </a:ext>
              </a:extLst>
            </p:cNvPr>
            <p:cNvCxnSpPr/>
            <p:nvPr userDrawn="1"/>
          </p:nvCxnSpPr>
          <p:spPr>
            <a:xfrm>
              <a:off x="3647202"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Rectangle 16">
              <a:extLst>
                <a:ext uri="{FF2B5EF4-FFF2-40B4-BE49-F238E27FC236}">
                  <a16:creationId xmlns:a16="http://schemas.microsoft.com/office/drawing/2014/main" id="{61552839-CF41-2F42-BC30-66A362587AB1}"/>
                </a:ext>
              </a:extLst>
            </p:cNvPr>
            <p:cNvSpPr/>
            <p:nvPr userDrawn="1"/>
          </p:nvSpPr>
          <p:spPr>
            <a:xfrm>
              <a:off x="3647202"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Idea</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68" name="Oval 18">
              <a:extLst>
                <a:ext uri="{FF2B5EF4-FFF2-40B4-BE49-F238E27FC236}">
                  <a16:creationId xmlns:a16="http://schemas.microsoft.com/office/drawing/2014/main" id="{0D03D761-3F7C-234D-8F6C-07411C0B5E29}"/>
                </a:ext>
              </a:extLst>
            </p:cNvPr>
            <p:cNvSpPr/>
            <p:nvPr userDrawn="1"/>
          </p:nvSpPr>
          <p:spPr>
            <a:xfrm>
              <a:off x="3540134"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sp>
          <p:nvSpPr>
            <p:cNvPr id="69" name="Oval 20">
              <a:extLst>
                <a:ext uri="{FF2B5EF4-FFF2-40B4-BE49-F238E27FC236}">
                  <a16:creationId xmlns:a16="http://schemas.microsoft.com/office/drawing/2014/main" id="{F6109B9F-F473-754A-A614-809A6C670808}"/>
                </a:ext>
              </a:extLst>
            </p:cNvPr>
            <p:cNvSpPr/>
            <p:nvPr userDrawn="1"/>
          </p:nvSpPr>
          <p:spPr>
            <a:xfrm>
              <a:off x="4538279"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cxnSp>
          <p:nvCxnSpPr>
            <p:cNvPr id="70" name="Straight Connector 21">
              <a:extLst>
                <a:ext uri="{FF2B5EF4-FFF2-40B4-BE49-F238E27FC236}">
                  <a16:creationId xmlns:a16="http://schemas.microsoft.com/office/drawing/2014/main" id="{8E17C9BF-2923-2248-9376-B9FA67C42115}"/>
                </a:ext>
              </a:extLst>
            </p:cNvPr>
            <p:cNvCxnSpPr/>
            <p:nvPr userDrawn="1"/>
          </p:nvCxnSpPr>
          <p:spPr>
            <a:xfrm>
              <a:off x="4651570"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1" name="Rectangle 22">
              <a:extLst>
                <a:ext uri="{FF2B5EF4-FFF2-40B4-BE49-F238E27FC236}">
                  <a16:creationId xmlns:a16="http://schemas.microsoft.com/office/drawing/2014/main" id="{DE4C2B24-F1D3-1B42-9E97-4CC22C02221F}"/>
                </a:ext>
              </a:extLst>
            </p:cNvPr>
            <p:cNvSpPr/>
            <p:nvPr userDrawn="1"/>
          </p:nvSpPr>
          <p:spPr>
            <a:xfrm>
              <a:off x="4651570"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Visualization</a:t>
              </a:r>
            </a:p>
          </p:txBody>
        </p:sp>
        <p:sp>
          <p:nvSpPr>
            <p:cNvPr id="72" name="Oval 23">
              <a:extLst>
                <a:ext uri="{FF2B5EF4-FFF2-40B4-BE49-F238E27FC236}">
                  <a16:creationId xmlns:a16="http://schemas.microsoft.com/office/drawing/2014/main" id="{47170EDE-0197-A24E-8F67-86C5EA0045F2}"/>
                </a:ext>
              </a:extLst>
            </p:cNvPr>
            <p:cNvSpPr/>
            <p:nvPr userDrawn="1"/>
          </p:nvSpPr>
          <p:spPr>
            <a:xfrm>
              <a:off x="5542647"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73" name="Straight Connector 24">
              <a:extLst>
                <a:ext uri="{FF2B5EF4-FFF2-40B4-BE49-F238E27FC236}">
                  <a16:creationId xmlns:a16="http://schemas.microsoft.com/office/drawing/2014/main" id="{FEAF9D61-F4EF-874F-9553-757AD5AB5A11}"/>
                </a:ext>
              </a:extLst>
            </p:cNvPr>
            <p:cNvCxnSpPr/>
            <p:nvPr userDrawn="1"/>
          </p:nvCxnSpPr>
          <p:spPr>
            <a:xfrm>
              <a:off x="5647108"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Rectangle 25">
              <a:extLst>
                <a:ext uri="{FF2B5EF4-FFF2-40B4-BE49-F238E27FC236}">
                  <a16:creationId xmlns:a16="http://schemas.microsoft.com/office/drawing/2014/main" id="{E9C8674D-502B-0A46-AF45-D970E63E9AB1}"/>
                </a:ext>
              </a:extLst>
            </p:cNvPr>
            <p:cNvSpPr/>
            <p:nvPr userDrawn="1"/>
          </p:nvSpPr>
          <p:spPr>
            <a:xfrm>
              <a:off x="5647108"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Elements</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75" name="Oval 26">
              <a:extLst>
                <a:ext uri="{FF2B5EF4-FFF2-40B4-BE49-F238E27FC236}">
                  <a16:creationId xmlns:a16="http://schemas.microsoft.com/office/drawing/2014/main" id="{62565C42-3368-D44C-AC4C-9BAD10BE0DA8}"/>
                </a:ext>
              </a:extLst>
            </p:cNvPr>
            <p:cNvSpPr/>
            <p:nvPr userDrawn="1"/>
          </p:nvSpPr>
          <p:spPr>
            <a:xfrm>
              <a:off x="6540665"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76" name="Straight Connector 27">
              <a:extLst>
                <a:ext uri="{FF2B5EF4-FFF2-40B4-BE49-F238E27FC236}">
                  <a16:creationId xmlns:a16="http://schemas.microsoft.com/office/drawing/2014/main" id="{FF702D00-94D3-F745-8CC0-80C09833BF46}"/>
                </a:ext>
              </a:extLst>
            </p:cNvPr>
            <p:cNvCxnSpPr/>
            <p:nvPr userDrawn="1"/>
          </p:nvCxnSpPr>
          <p:spPr>
            <a:xfrm>
              <a:off x="6653956"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Rectangle 28">
              <a:extLst>
                <a:ext uri="{FF2B5EF4-FFF2-40B4-BE49-F238E27FC236}">
                  <a16:creationId xmlns:a16="http://schemas.microsoft.com/office/drawing/2014/main" id="{27B8C90E-75E6-0F4F-9EDF-F6487059BAA3}"/>
                </a:ext>
              </a:extLst>
            </p:cNvPr>
            <p:cNvSpPr/>
            <p:nvPr userDrawn="1"/>
          </p:nvSpPr>
          <p:spPr>
            <a:xfrm>
              <a:off x="6653956"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1" dirty="0">
                  <a:solidFill>
                    <a:schemeClr val="tx1"/>
                  </a:solidFill>
                  <a:latin typeface="Arial" panose="020B0604020202020204" pitchFamily="34" charset="0"/>
                  <a:cs typeface="Arial" panose="020B0604020202020204" pitchFamily="34" charset="0"/>
                </a:rPr>
                <a:t>Implementation</a:t>
              </a:r>
            </a:p>
          </p:txBody>
        </p:sp>
        <p:sp>
          <p:nvSpPr>
            <p:cNvPr id="78" name="Oval 29">
              <a:extLst>
                <a:ext uri="{FF2B5EF4-FFF2-40B4-BE49-F238E27FC236}">
                  <a16:creationId xmlns:a16="http://schemas.microsoft.com/office/drawing/2014/main" id="{64B2EFE3-7027-2444-9FC3-C574C4C9EA1E}"/>
                </a:ext>
              </a:extLst>
            </p:cNvPr>
            <p:cNvSpPr/>
            <p:nvPr userDrawn="1"/>
          </p:nvSpPr>
          <p:spPr>
            <a:xfrm>
              <a:off x="7545033"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cxnSp>
        <p:nvCxnSpPr>
          <p:cNvPr id="79" name="Straight Connector 27">
            <a:extLst>
              <a:ext uri="{FF2B5EF4-FFF2-40B4-BE49-F238E27FC236}">
                <a16:creationId xmlns:a16="http://schemas.microsoft.com/office/drawing/2014/main" id="{40D263E2-F646-714F-B402-93EF3F67A1A6}"/>
              </a:ext>
            </a:extLst>
          </p:cNvPr>
          <p:cNvCxnSpPr/>
          <p:nvPr userDrawn="1"/>
        </p:nvCxnSpPr>
        <p:spPr>
          <a:xfrm>
            <a:off x="7634612" y="6605540"/>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0" name="Oval 29">
            <a:extLst>
              <a:ext uri="{FF2B5EF4-FFF2-40B4-BE49-F238E27FC236}">
                <a16:creationId xmlns:a16="http://schemas.microsoft.com/office/drawing/2014/main" id="{803C5D52-7F20-9D43-8CF1-A53151C4BCC0}"/>
              </a:ext>
            </a:extLst>
          </p:cNvPr>
          <p:cNvSpPr/>
          <p:nvPr userDrawn="1"/>
        </p:nvSpPr>
        <p:spPr>
          <a:xfrm>
            <a:off x="8523812" y="6558600"/>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1" name="Rectangle 28">
            <a:extLst>
              <a:ext uri="{FF2B5EF4-FFF2-40B4-BE49-F238E27FC236}">
                <a16:creationId xmlns:a16="http://schemas.microsoft.com/office/drawing/2014/main" id="{8F3780DC-1816-BD45-99C2-17A5A86F980A}"/>
              </a:ext>
            </a:extLst>
          </p:cNvPr>
          <p:cNvSpPr/>
          <p:nvPr userDrawn="1"/>
        </p:nvSpPr>
        <p:spPr>
          <a:xfrm>
            <a:off x="7628466" y="6445242"/>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Data analysis</a:t>
            </a:r>
          </a:p>
        </p:txBody>
      </p:sp>
    </p:spTree>
    <p:extLst>
      <p:ext uri="{BB962C8B-B14F-4D97-AF65-F5344CB8AC3E}">
        <p14:creationId xmlns:p14="http://schemas.microsoft.com/office/powerpoint/2010/main" val="24935920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ta analysis">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sp>
        <p:nvSpPr>
          <p:cNvPr id="13" name="Title 1"/>
          <p:cNvSpPr>
            <a:spLocks noGrp="1"/>
          </p:cNvSpPr>
          <p:nvPr>
            <p:ph type="title"/>
          </p:nvPr>
        </p:nvSpPr>
        <p:spPr>
          <a:xfrm>
            <a:off x="527050" y="127212"/>
            <a:ext cx="9360869"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cxnSp>
        <p:nvCxnSpPr>
          <p:cNvPr id="15"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37" name="Group 13">
            <a:extLst>
              <a:ext uri="{FF2B5EF4-FFF2-40B4-BE49-F238E27FC236}">
                <a16:creationId xmlns:a16="http://schemas.microsoft.com/office/drawing/2014/main" id="{37A5E24D-A200-884A-8F7C-B31649351445}"/>
              </a:ext>
            </a:extLst>
          </p:cNvPr>
          <p:cNvGrpSpPr/>
          <p:nvPr userDrawn="1"/>
        </p:nvGrpSpPr>
        <p:grpSpPr>
          <a:xfrm>
            <a:off x="3520176" y="6450301"/>
            <a:ext cx="4114436" cy="209239"/>
            <a:chOff x="3540134" y="6452919"/>
            <a:chExt cx="4114436" cy="209239"/>
          </a:xfrm>
          <a:noFill/>
        </p:grpSpPr>
        <p:cxnSp>
          <p:nvCxnSpPr>
            <p:cNvPr id="39" name="Straight Connector 15">
              <a:extLst>
                <a:ext uri="{FF2B5EF4-FFF2-40B4-BE49-F238E27FC236}">
                  <a16:creationId xmlns:a16="http://schemas.microsoft.com/office/drawing/2014/main" id="{6159B292-E363-254D-8ABE-0C4325174454}"/>
                </a:ext>
              </a:extLst>
            </p:cNvPr>
            <p:cNvCxnSpPr/>
            <p:nvPr userDrawn="1"/>
          </p:nvCxnSpPr>
          <p:spPr>
            <a:xfrm>
              <a:off x="3647202" y="6608158"/>
              <a:ext cx="889200" cy="0"/>
            </a:xfrm>
            <a:prstGeom prst="line">
              <a:avLst/>
            </a:prstGeom>
            <a:grpFill/>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Rectangle 16">
              <a:extLst>
                <a:ext uri="{FF2B5EF4-FFF2-40B4-BE49-F238E27FC236}">
                  <a16:creationId xmlns:a16="http://schemas.microsoft.com/office/drawing/2014/main" id="{0C7A5C8B-9603-AC4A-A375-E7686350E210}"/>
                </a:ext>
              </a:extLst>
            </p:cNvPr>
            <p:cNvSpPr/>
            <p:nvPr userDrawn="1"/>
          </p:nvSpPr>
          <p:spPr>
            <a:xfrm>
              <a:off x="3647202" y="6452919"/>
              <a:ext cx="889200" cy="1552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Idea</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41" name="Oval 18">
              <a:extLst>
                <a:ext uri="{FF2B5EF4-FFF2-40B4-BE49-F238E27FC236}">
                  <a16:creationId xmlns:a16="http://schemas.microsoft.com/office/drawing/2014/main" id="{3060B784-33FD-6043-B244-07075ED20034}"/>
                </a:ext>
              </a:extLst>
            </p:cNvPr>
            <p:cNvSpPr/>
            <p:nvPr userDrawn="1"/>
          </p:nvSpPr>
          <p:spPr>
            <a:xfrm>
              <a:off x="3540134" y="6554158"/>
              <a:ext cx="109537" cy="108000"/>
            </a:xfrm>
            <a:prstGeom prst="ellipse">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sp>
          <p:nvSpPr>
            <p:cNvPr id="42" name="Oval 20">
              <a:extLst>
                <a:ext uri="{FF2B5EF4-FFF2-40B4-BE49-F238E27FC236}">
                  <a16:creationId xmlns:a16="http://schemas.microsoft.com/office/drawing/2014/main" id="{83AAE514-1BF1-474C-8AB8-7C2B1B99E536}"/>
                </a:ext>
              </a:extLst>
            </p:cNvPr>
            <p:cNvSpPr/>
            <p:nvPr userDrawn="1"/>
          </p:nvSpPr>
          <p:spPr>
            <a:xfrm>
              <a:off x="4538279" y="6554158"/>
              <a:ext cx="109537" cy="108000"/>
            </a:xfrm>
            <a:prstGeom prst="ellipse">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cxnSp>
          <p:nvCxnSpPr>
            <p:cNvPr id="43" name="Straight Connector 21">
              <a:extLst>
                <a:ext uri="{FF2B5EF4-FFF2-40B4-BE49-F238E27FC236}">
                  <a16:creationId xmlns:a16="http://schemas.microsoft.com/office/drawing/2014/main" id="{906039BD-E8A1-8746-A2F5-EE4EDA5697D8}"/>
                </a:ext>
              </a:extLst>
            </p:cNvPr>
            <p:cNvCxnSpPr/>
            <p:nvPr userDrawn="1"/>
          </p:nvCxnSpPr>
          <p:spPr>
            <a:xfrm>
              <a:off x="4651570" y="6608158"/>
              <a:ext cx="889200" cy="0"/>
            </a:xfrm>
            <a:prstGeom prst="line">
              <a:avLst/>
            </a:prstGeom>
            <a:grpFill/>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Rectangle 22">
              <a:extLst>
                <a:ext uri="{FF2B5EF4-FFF2-40B4-BE49-F238E27FC236}">
                  <a16:creationId xmlns:a16="http://schemas.microsoft.com/office/drawing/2014/main" id="{F6A0C81E-CC8E-9F43-A3BE-70C83A192C17}"/>
                </a:ext>
              </a:extLst>
            </p:cNvPr>
            <p:cNvSpPr/>
            <p:nvPr userDrawn="1"/>
          </p:nvSpPr>
          <p:spPr>
            <a:xfrm>
              <a:off x="4651570" y="6452919"/>
              <a:ext cx="889200" cy="1552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Visualization</a:t>
              </a:r>
            </a:p>
          </p:txBody>
        </p:sp>
        <p:sp>
          <p:nvSpPr>
            <p:cNvPr id="45" name="Oval 23">
              <a:extLst>
                <a:ext uri="{FF2B5EF4-FFF2-40B4-BE49-F238E27FC236}">
                  <a16:creationId xmlns:a16="http://schemas.microsoft.com/office/drawing/2014/main" id="{202574BE-EDBF-8E41-BFEF-376E6BE77A04}"/>
                </a:ext>
              </a:extLst>
            </p:cNvPr>
            <p:cNvSpPr/>
            <p:nvPr userDrawn="1"/>
          </p:nvSpPr>
          <p:spPr>
            <a:xfrm>
              <a:off x="5542647" y="6554158"/>
              <a:ext cx="109537" cy="108000"/>
            </a:xfrm>
            <a:prstGeom prst="ellipse">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46" name="Straight Connector 24">
              <a:extLst>
                <a:ext uri="{FF2B5EF4-FFF2-40B4-BE49-F238E27FC236}">
                  <a16:creationId xmlns:a16="http://schemas.microsoft.com/office/drawing/2014/main" id="{A9CBED5F-A901-CA49-B722-E655E230A40B}"/>
                </a:ext>
              </a:extLst>
            </p:cNvPr>
            <p:cNvCxnSpPr/>
            <p:nvPr userDrawn="1"/>
          </p:nvCxnSpPr>
          <p:spPr>
            <a:xfrm>
              <a:off x="5647108" y="6608158"/>
              <a:ext cx="889200" cy="0"/>
            </a:xfrm>
            <a:prstGeom prst="line">
              <a:avLst/>
            </a:prstGeom>
            <a:grpFill/>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Rectangle 25">
              <a:extLst>
                <a:ext uri="{FF2B5EF4-FFF2-40B4-BE49-F238E27FC236}">
                  <a16:creationId xmlns:a16="http://schemas.microsoft.com/office/drawing/2014/main" id="{43D2C313-8035-694D-A183-BC3007002F08}"/>
                </a:ext>
              </a:extLst>
            </p:cNvPr>
            <p:cNvSpPr/>
            <p:nvPr userDrawn="1"/>
          </p:nvSpPr>
          <p:spPr>
            <a:xfrm>
              <a:off x="5647108" y="6452919"/>
              <a:ext cx="889200" cy="1552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700" b="0" dirty="0">
                  <a:solidFill>
                    <a:schemeClr val="bg2">
                      <a:lumMod val="50000"/>
                    </a:schemeClr>
                  </a:solidFill>
                  <a:latin typeface="Arial" panose="020B0604020202020204" pitchFamily="34" charset="0"/>
                  <a:cs typeface="Arial" panose="020B0604020202020204" pitchFamily="34" charset="0"/>
                </a:rPr>
                <a:t>Elements</a:t>
              </a:r>
              <a:endParaRPr lang="en-GB" sz="700" b="0" dirty="0">
                <a:solidFill>
                  <a:schemeClr val="bg2">
                    <a:lumMod val="50000"/>
                  </a:schemeClr>
                </a:solidFill>
                <a:latin typeface="Arial" panose="020B0604020202020204" pitchFamily="34" charset="0"/>
                <a:cs typeface="Arial" panose="020B0604020202020204" pitchFamily="34" charset="0"/>
              </a:endParaRPr>
            </a:p>
          </p:txBody>
        </p:sp>
        <p:sp>
          <p:nvSpPr>
            <p:cNvPr id="51" name="Oval 26">
              <a:extLst>
                <a:ext uri="{FF2B5EF4-FFF2-40B4-BE49-F238E27FC236}">
                  <a16:creationId xmlns:a16="http://schemas.microsoft.com/office/drawing/2014/main" id="{A952495E-E82B-614F-8E66-875984172F2A}"/>
                </a:ext>
              </a:extLst>
            </p:cNvPr>
            <p:cNvSpPr/>
            <p:nvPr userDrawn="1"/>
          </p:nvSpPr>
          <p:spPr>
            <a:xfrm>
              <a:off x="6540665" y="6554158"/>
              <a:ext cx="109537" cy="108000"/>
            </a:xfrm>
            <a:prstGeom prst="ellipse">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52" name="Straight Connector 27">
              <a:extLst>
                <a:ext uri="{FF2B5EF4-FFF2-40B4-BE49-F238E27FC236}">
                  <a16:creationId xmlns:a16="http://schemas.microsoft.com/office/drawing/2014/main" id="{661FB6A3-74B4-5D4D-BA8D-A7D2AB80C3D7}"/>
                </a:ext>
              </a:extLst>
            </p:cNvPr>
            <p:cNvCxnSpPr/>
            <p:nvPr userDrawn="1"/>
          </p:nvCxnSpPr>
          <p:spPr>
            <a:xfrm>
              <a:off x="6653956" y="6608158"/>
              <a:ext cx="889200" cy="0"/>
            </a:xfrm>
            <a:prstGeom prst="line">
              <a:avLst/>
            </a:prstGeom>
            <a:grpFill/>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Rectangle 28">
              <a:extLst>
                <a:ext uri="{FF2B5EF4-FFF2-40B4-BE49-F238E27FC236}">
                  <a16:creationId xmlns:a16="http://schemas.microsoft.com/office/drawing/2014/main" id="{2D3E4D67-3D96-BA46-A0D7-BF963AD9D6A0}"/>
                </a:ext>
              </a:extLst>
            </p:cNvPr>
            <p:cNvSpPr/>
            <p:nvPr userDrawn="1"/>
          </p:nvSpPr>
          <p:spPr>
            <a:xfrm>
              <a:off x="6653956" y="6452919"/>
              <a:ext cx="889200" cy="1552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Implementation</a:t>
              </a:r>
            </a:p>
          </p:txBody>
        </p:sp>
        <p:sp>
          <p:nvSpPr>
            <p:cNvPr id="54" name="Oval 29">
              <a:extLst>
                <a:ext uri="{FF2B5EF4-FFF2-40B4-BE49-F238E27FC236}">
                  <a16:creationId xmlns:a16="http://schemas.microsoft.com/office/drawing/2014/main" id="{4A6DB737-7A1A-9344-B0C5-67D793A26F3C}"/>
                </a:ext>
              </a:extLst>
            </p:cNvPr>
            <p:cNvSpPr/>
            <p:nvPr userDrawn="1"/>
          </p:nvSpPr>
          <p:spPr>
            <a:xfrm>
              <a:off x="7545033" y="6554158"/>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cxnSp>
        <p:nvCxnSpPr>
          <p:cNvPr id="55" name="Straight Connector 27">
            <a:extLst>
              <a:ext uri="{FF2B5EF4-FFF2-40B4-BE49-F238E27FC236}">
                <a16:creationId xmlns:a16="http://schemas.microsoft.com/office/drawing/2014/main" id="{E9098864-D5A2-5046-B360-80D70DC173BA}"/>
              </a:ext>
            </a:extLst>
          </p:cNvPr>
          <p:cNvCxnSpPr/>
          <p:nvPr userDrawn="1"/>
        </p:nvCxnSpPr>
        <p:spPr>
          <a:xfrm>
            <a:off x="7634612" y="6605540"/>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Oval 29">
            <a:extLst>
              <a:ext uri="{FF2B5EF4-FFF2-40B4-BE49-F238E27FC236}">
                <a16:creationId xmlns:a16="http://schemas.microsoft.com/office/drawing/2014/main" id="{00725A72-C3B0-764E-8130-E9E8CCB3EEB9}"/>
              </a:ext>
            </a:extLst>
          </p:cNvPr>
          <p:cNvSpPr/>
          <p:nvPr userDrawn="1"/>
        </p:nvSpPr>
        <p:spPr>
          <a:xfrm>
            <a:off x="8523812" y="6558600"/>
            <a:ext cx="109537" cy="108000"/>
          </a:xfrm>
          <a:prstGeom prst="ellipse">
            <a:avLst/>
          </a:prstGeom>
          <a:solidFill>
            <a:srgbClr val="009015"/>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7" name="Rectangle 28">
            <a:extLst>
              <a:ext uri="{FF2B5EF4-FFF2-40B4-BE49-F238E27FC236}">
                <a16:creationId xmlns:a16="http://schemas.microsoft.com/office/drawing/2014/main" id="{5CC410DC-AD57-164C-99FB-1B4C1F1B5DEA}"/>
              </a:ext>
            </a:extLst>
          </p:cNvPr>
          <p:cNvSpPr/>
          <p:nvPr userDrawn="1"/>
        </p:nvSpPr>
        <p:spPr>
          <a:xfrm>
            <a:off x="7628466" y="6445242"/>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1" dirty="0">
                <a:solidFill>
                  <a:schemeClr val="tx1"/>
                </a:solidFill>
                <a:latin typeface="Arial" panose="020B0604020202020204" pitchFamily="34" charset="0"/>
                <a:cs typeface="Arial" panose="020B0604020202020204" pitchFamily="34" charset="0"/>
              </a:rPr>
              <a:t>Data analysis</a:t>
            </a:r>
          </a:p>
        </p:txBody>
      </p:sp>
      <p:grpSp>
        <p:nvGrpSpPr>
          <p:cNvPr id="58" name="Group 58">
            <a:extLst>
              <a:ext uri="{FF2B5EF4-FFF2-40B4-BE49-F238E27FC236}">
                <a16:creationId xmlns:a16="http://schemas.microsoft.com/office/drawing/2014/main" id="{632E923A-EA38-DB40-B0F1-45366D3096B7}"/>
              </a:ext>
            </a:extLst>
          </p:cNvPr>
          <p:cNvGrpSpPr>
            <a:grpSpLocks noChangeAspect="1"/>
          </p:cNvGrpSpPr>
          <p:nvPr userDrawn="1"/>
        </p:nvGrpSpPr>
        <p:grpSpPr>
          <a:xfrm>
            <a:off x="9677154" y="296078"/>
            <a:ext cx="1892557" cy="592153"/>
            <a:chOff x="6106637" y="2611575"/>
            <a:chExt cx="1892557" cy="592153"/>
          </a:xfrm>
        </p:grpSpPr>
        <p:pic>
          <p:nvPicPr>
            <p:cNvPr id="59" name="Picture 59">
              <a:extLst>
                <a:ext uri="{FF2B5EF4-FFF2-40B4-BE49-F238E27FC236}">
                  <a16:creationId xmlns:a16="http://schemas.microsoft.com/office/drawing/2014/main" id="{9DFC0D65-8564-0842-A44B-B7BFF717E88C}"/>
                </a:ext>
              </a:extLst>
            </p:cNvPr>
            <p:cNvPicPr>
              <a:picLocks noChangeAspect="1"/>
            </p:cNvPicPr>
            <p:nvPr userDrawn="1"/>
          </p:nvPicPr>
          <p:blipFill rotWithShape="1">
            <a:blip r:embed="rId2"/>
            <a:srcRect r="77703"/>
            <a:stretch/>
          </p:blipFill>
          <p:spPr>
            <a:xfrm>
              <a:off x="7592562" y="2611575"/>
              <a:ext cx="406632" cy="592153"/>
            </a:xfrm>
            <a:prstGeom prst="rect">
              <a:avLst/>
            </a:prstGeom>
          </p:spPr>
        </p:pic>
        <p:pic>
          <p:nvPicPr>
            <p:cNvPr id="60" name="Picture 60">
              <a:extLst>
                <a:ext uri="{FF2B5EF4-FFF2-40B4-BE49-F238E27FC236}">
                  <a16:creationId xmlns:a16="http://schemas.microsoft.com/office/drawing/2014/main" id="{AB3B8058-05AD-C346-A761-321292B2DF68}"/>
                </a:ext>
              </a:extLst>
            </p:cNvPr>
            <p:cNvPicPr>
              <a:picLocks noChangeAspect="1"/>
            </p:cNvPicPr>
            <p:nvPr userDrawn="1"/>
          </p:nvPicPr>
          <p:blipFill rotWithShape="1">
            <a:blip r:embed="rId2"/>
            <a:srcRect l="22297"/>
            <a:stretch/>
          </p:blipFill>
          <p:spPr>
            <a:xfrm>
              <a:off x="6106637" y="2611575"/>
              <a:ext cx="1417100" cy="592153"/>
            </a:xfrm>
            <a:prstGeom prst="rect">
              <a:avLst/>
            </a:prstGeom>
          </p:spPr>
        </p:pic>
      </p:grpSp>
    </p:spTree>
    <p:extLst>
      <p:ext uri="{BB962C8B-B14F-4D97-AF65-F5344CB8AC3E}">
        <p14:creationId xmlns:p14="http://schemas.microsoft.com/office/powerpoint/2010/main" val="1291545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lementationCC">
    <p:spTree>
      <p:nvGrpSpPr>
        <p:cNvPr id="1" name=""/>
        <p:cNvGrpSpPr/>
        <p:nvPr/>
      </p:nvGrpSpPr>
      <p:grpSpPr>
        <a:xfrm>
          <a:off x="0" y="0"/>
          <a:ext cx="0" cy="0"/>
          <a:chOff x="0" y="0"/>
          <a:chExt cx="0" cy="0"/>
        </a:xfrm>
      </p:grpSpPr>
      <p:sp>
        <p:nvSpPr>
          <p:cNvPr id="48" name="Text Placeholder 6"/>
          <p:cNvSpPr>
            <a:spLocks noGrp="1"/>
          </p:cNvSpPr>
          <p:nvPr>
            <p:ph type="body" sz="quarter" idx="13" hasCustomPrompt="1"/>
          </p:nvPr>
        </p:nvSpPr>
        <p:spPr>
          <a:xfrm>
            <a:off x="620911" y="6128726"/>
            <a:ext cx="10948800" cy="180595"/>
          </a:xfrm>
          <a:prstGeom prst="rect">
            <a:avLst/>
          </a:prstGeom>
        </p:spPr>
        <p:txBody>
          <a:bodyPr tIns="0" anchor="ctr"/>
          <a:lstStyle>
            <a:lvl1pPr>
              <a:defRPr sz="800" baseline="0">
                <a:solidFill>
                  <a:schemeClr val="tx1"/>
                </a:solidFill>
              </a:defRPr>
            </a:lvl1pPr>
          </a:lstStyle>
          <a:p>
            <a:pPr lvl="0"/>
            <a:r>
              <a:rPr lang="da-DK" dirty="0"/>
              <a:t>Source: </a:t>
            </a:r>
          </a:p>
        </p:txBody>
      </p:sp>
      <p:sp>
        <p:nvSpPr>
          <p:cNvPr id="49" name="Text Placeholder 6"/>
          <p:cNvSpPr>
            <a:spLocks noGrp="1"/>
          </p:cNvSpPr>
          <p:nvPr>
            <p:ph type="body" sz="quarter" idx="15" hasCustomPrompt="1"/>
          </p:nvPr>
        </p:nvSpPr>
        <p:spPr>
          <a:xfrm>
            <a:off x="620911" y="5941061"/>
            <a:ext cx="10948800" cy="180595"/>
          </a:xfrm>
          <a:prstGeom prst="rect">
            <a:avLst/>
          </a:prstGeom>
        </p:spPr>
        <p:txBody>
          <a:bodyPr tIns="46800" bIns="0" anchor="ctr"/>
          <a:lstStyle>
            <a:lvl1pPr>
              <a:defRPr sz="800" baseline="0">
                <a:solidFill>
                  <a:schemeClr val="tx1"/>
                </a:solidFill>
              </a:defRPr>
            </a:lvl1pPr>
          </a:lstStyle>
          <a:p>
            <a:pPr lvl="0"/>
            <a:r>
              <a:rPr lang="da-DK" dirty="0"/>
              <a:t>Note: </a:t>
            </a:r>
          </a:p>
        </p:txBody>
      </p:sp>
      <p:sp>
        <p:nvSpPr>
          <p:cNvPr id="50" name="Rectangle 15"/>
          <p:cNvSpPr>
            <a:spLocks noChangeArrowheads="1"/>
          </p:cNvSpPr>
          <p:nvPr userDrawn="1"/>
        </p:nvSpPr>
        <p:spPr bwMode="gray">
          <a:xfrm>
            <a:off x="10807838" y="6381328"/>
            <a:ext cx="761873" cy="161134"/>
          </a:xfrm>
          <a:prstGeom prst="rect">
            <a:avLst/>
          </a:prstGeom>
          <a:noFill/>
          <a:ln>
            <a:noFill/>
          </a:ln>
          <a:effectLst/>
          <a:extLst>
            <a:ext uri="{909E8E84-426E-40dd-AFC4-6F175D3DCCD1}">
              <a14:hiddenFill xmlns="" xmlns:a14="http://schemas.microsoft.com/office/drawing/2010/main">
                <a:solidFill>
                  <a:srgbClr val="0057A6"/>
                </a:solidFill>
              </a14:hiddenFill>
            </a:ext>
            <a:ext uri="{91240B29-F687-4f45-9708-019B960494DF}">
              <a14:hiddenLine xmlns="" xmlns:a14="http://schemas.microsoft.com/office/drawing/2010/main" w="6350">
                <a:solidFill>
                  <a:srgbClr val="FF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r>
              <a:rPr lang="en-GB" sz="1047" dirty="0">
                <a:solidFill>
                  <a:schemeClr val="tx1"/>
                </a:solidFill>
                <a:cs typeface="Arial" charset="0"/>
              </a:rPr>
              <a:t>| </a:t>
            </a:r>
            <a:fld id="{2306E996-13B1-4F09-8F6B-3AC86B81501F}" type="slidenum">
              <a:rPr lang="en-GB" sz="1047" smtClean="0">
                <a:solidFill>
                  <a:schemeClr val="tx1"/>
                </a:solidFill>
                <a:cs typeface="Arial" charset="0"/>
              </a:rPr>
              <a:pPr algn="r" eaLnBrk="0" hangingPunct="0">
                <a:lnSpc>
                  <a:spcPct val="100000"/>
                </a:lnSpc>
              </a:pPr>
              <a:t>‹nr.›</a:t>
            </a:fld>
            <a:endParaRPr lang="en-GB" sz="1047" dirty="0">
              <a:solidFill>
                <a:schemeClr val="tx1"/>
              </a:solidFill>
              <a:cs typeface="Arial" charset="0"/>
            </a:endParaRPr>
          </a:p>
        </p:txBody>
      </p:sp>
      <p:sp>
        <p:nvSpPr>
          <p:cNvPr id="20" name="Title 1"/>
          <p:cNvSpPr>
            <a:spLocks noGrp="1"/>
          </p:cNvSpPr>
          <p:nvPr>
            <p:ph type="title"/>
          </p:nvPr>
        </p:nvSpPr>
        <p:spPr>
          <a:xfrm>
            <a:off x="527050" y="127212"/>
            <a:ext cx="9314374" cy="925103"/>
          </a:xfrm>
          <a:prstGeom prst="rect">
            <a:avLst/>
          </a:prstGeom>
        </p:spPr>
        <p:txBody>
          <a:bodyPr anchor="b"/>
          <a:lstStyle>
            <a:lvl1pPr>
              <a:defRPr sz="2600">
                <a:solidFill>
                  <a:schemeClr val="tx1">
                    <a:lumMod val="75000"/>
                    <a:lumOff val="25000"/>
                  </a:schemeClr>
                </a:solidFill>
              </a:defRPr>
            </a:lvl1pPr>
          </a:lstStyle>
          <a:p>
            <a:r>
              <a:rPr lang="en-US" dirty="0"/>
              <a:t>Click to edit Master title style</a:t>
            </a:r>
            <a:endParaRPr lang="da-DK" dirty="0"/>
          </a:p>
        </p:txBody>
      </p:sp>
      <p:cxnSp>
        <p:nvCxnSpPr>
          <p:cNvPr id="13" name="Straight Connector 13"/>
          <p:cNvCxnSpPr/>
          <p:nvPr userDrawn="1"/>
        </p:nvCxnSpPr>
        <p:spPr>
          <a:xfrm>
            <a:off x="579516" y="1124744"/>
            <a:ext cx="11040533" cy="0"/>
          </a:xfrm>
          <a:prstGeom prst="line">
            <a:avLst/>
          </a:prstGeom>
          <a:ln>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021B1B6A-5CAA-EB45-A981-B54550F91722}"/>
              </a:ext>
            </a:extLst>
          </p:cNvPr>
          <p:cNvGrpSpPr/>
          <p:nvPr userDrawn="1"/>
        </p:nvGrpSpPr>
        <p:grpSpPr>
          <a:xfrm>
            <a:off x="3540134" y="6452919"/>
            <a:ext cx="5111732" cy="209239"/>
            <a:chOff x="3540134" y="6452919"/>
            <a:chExt cx="5111732" cy="209239"/>
          </a:xfrm>
        </p:grpSpPr>
        <p:cxnSp>
          <p:nvCxnSpPr>
            <p:cNvPr id="21" name="Straight Connector 20">
              <a:extLst>
                <a:ext uri="{FF2B5EF4-FFF2-40B4-BE49-F238E27FC236}">
                  <a16:creationId xmlns:a16="http://schemas.microsoft.com/office/drawing/2014/main" id="{B2648B14-F8EA-E043-8718-896A47668F2C}"/>
                </a:ext>
              </a:extLst>
            </p:cNvPr>
            <p:cNvCxnSpPr/>
            <p:nvPr userDrawn="1"/>
          </p:nvCxnSpPr>
          <p:spPr>
            <a:xfrm>
              <a:off x="3647202"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84C3AEE9-E95E-BB4B-A5B9-E0BD5B2E3434}"/>
                </a:ext>
              </a:extLst>
            </p:cNvPr>
            <p:cNvSpPr/>
            <p:nvPr userDrawn="1"/>
          </p:nvSpPr>
          <p:spPr>
            <a:xfrm>
              <a:off x="3647202"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Executive</a:t>
              </a:r>
            </a:p>
          </p:txBody>
        </p:sp>
        <p:sp>
          <p:nvSpPr>
            <p:cNvPr id="23" name="Oval 22">
              <a:extLst>
                <a:ext uri="{FF2B5EF4-FFF2-40B4-BE49-F238E27FC236}">
                  <a16:creationId xmlns:a16="http://schemas.microsoft.com/office/drawing/2014/main" id="{5A7A5969-BAA6-CF41-A4DD-EE4B86C1A292}"/>
                </a:ext>
              </a:extLst>
            </p:cNvPr>
            <p:cNvSpPr/>
            <p:nvPr userDrawn="1"/>
          </p:nvSpPr>
          <p:spPr>
            <a:xfrm>
              <a:off x="3540134"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268648A0-570F-5F41-87C5-695B2FE2615F}"/>
                </a:ext>
              </a:extLst>
            </p:cNvPr>
            <p:cNvSpPr/>
            <p:nvPr userDrawn="1"/>
          </p:nvSpPr>
          <p:spPr>
            <a:xfrm>
              <a:off x="4538279"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latin typeface="Arial" panose="020B0604020202020204" pitchFamily="34" charset="0"/>
                <a:cs typeface="Arial" panose="020B0604020202020204" pitchFamily="34" charset="0"/>
              </a:endParaRPr>
            </a:p>
          </p:txBody>
        </p:sp>
        <p:cxnSp>
          <p:nvCxnSpPr>
            <p:cNvPr id="25" name="Straight Connector 24">
              <a:extLst>
                <a:ext uri="{FF2B5EF4-FFF2-40B4-BE49-F238E27FC236}">
                  <a16:creationId xmlns:a16="http://schemas.microsoft.com/office/drawing/2014/main" id="{402CFDF6-2940-004D-8F79-4F94E839A1EB}"/>
                </a:ext>
              </a:extLst>
            </p:cNvPr>
            <p:cNvCxnSpPr/>
            <p:nvPr userDrawn="1"/>
          </p:nvCxnSpPr>
          <p:spPr>
            <a:xfrm>
              <a:off x="4651570"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A1E9242-891E-D744-A600-417A2C6624F9}"/>
                </a:ext>
              </a:extLst>
            </p:cNvPr>
            <p:cNvSpPr/>
            <p:nvPr userDrawn="1"/>
          </p:nvSpPr>
          <p:spPr>
            <a:xfrm>
              <a:off x="4651570"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Insights</a:t>
              </a:r>
            </a:p>
          </p:txBody>
        </p:sp>
        <p:sp>
          <p:nvSpPr>
            <p:cNvPr id="27" name="Oval 26">
              <a:extLst>
                <a:ext uri="{FF2B5EF4-FFF2-40B4-BE49-F238E27FC236}">
                  <a16:creationId xmlns:a16="http://schemas.microsoft.com/office/drawing/2014/main" id="{8AD8E928-A13C-7E40-A66A-44BC777F2FEF}"/>
                </a:ext>
              </a:extLst>
            </p:cNvPr>
            <p:cNvSpPr/>
            <p:nvPr userDrawn="1"/>
          </p:nvSpPr>
          <p:spPr>
            <a:xfrm>
              <a:off x="5542647"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BA3CAB0C-7CEE-714A-BA39-1175B822485F}"/>
                </a:ext>
              </a:extLst>
            </p:cNvPr>
            <p:cNvCxnSpPr/>
            <p:nvPr userDrawn="1"/>
          </p:nvCxnSpPr>
          <p:spPr>
            <a:xfrm>
              <a:off x="5647108"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C57D0A5F-09A1-1E47-B0E6-1C929D3C8255}"/>
                </a:ext>
              </a:extLst>
            </p:cNvPr>
            <p:cNvSpPr/>
            <p:nvPr userDrawn="1"/>
          </p:nvSpPr>
          <p:spPr>
            <a:xfrm>
              <a:off x="5647108"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Solution</a:t>
              </a:r>
            </a:p>
          </p:txBody>
        </p:sp>
        <p:sp>
          <p:nvSpPr>
            <p:cNvPr id="30" name="Oval 29">
              <a:extLst>
                <a:ext uri="{FF2B5EF4-FFF2-40B4-BE49-F238E27FC236}">
                  <a16:creationId xmlns:a16="http://schemas.microsoft.com/office/drawing/2014/main" id="{766DB4B2-8ADB-AC4B-A438-D9B05119D79C}"/>
                </a:ext>
              </a:extLst>
            </p:cNvPr>
            <p:cNvSpPr/>
            <p:nvPr userDrawn="1"/>
          </p:nvSpPr>
          <p:spPr>
            <a:xfrm>
              <a:off x="6540665" y="6554158"/>
              <a:ext cx="109537" cy="108000"/>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C6B0ACBD-337F-D144-AF9F-32F44A8215C5}"/>
                </a:ext>
              </a:extLst>
            </p:cNvPr>
            <p:cNvCxnSpPr/>
            <p:nvPr userDrawn="1"/>
          </p:nvCxnSpPr>
          <p:spPr>
            <a:xfrm>
              <a:off x="6653956"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E9D1FBA-30F4-5443-A633-383AEB364450}"/>
                </a:ext>
              </a:extLst>
            </p:cNvPr>
            <p:cNvSpPr/>
            <p:nvPr userDrawn="1"/>
          </p:nvSpPr>
          <p:spPr>
            <a:xfrm>
              <a:off x="6653956"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0" dirty="0">
                  <a:solidFill>
                    <a:schemeClr val="bg2">
                      <a:lumMod val="50000"/>
                    </a:schemeClr>
                  </a:solidFill>
                  <a:latin typeface="Arial" panose="020B0604020202020204" pitchFamily="34" charset="0"/>
                  <a:cs typeface="Arial" panose="020B0604020202020204" pitchFamily="34" charset="0"/>
                </a:rPr>
                <a:t>Impact</a:t>
              </a:r>
            </a:p>
          </p:txBody>
        </p:sp>
        <p:sp>
          <p:nvSpPr>
            <p:cNvPr id="33" name="Oval 32">
              <a:extLst>
                <a:ext uri="{FF2B5EF4-FFF2-40B4-BE49-F238E27FC236}">
                  <a16:creationId xmlns:a16="http://schemas.microsoft.com/office/drawing/2014/main" id="{1A1870F2-5843-614B-87D4-10085E0D0117}"/>
                </a:ext>
              </a:extLst>
            </p:cNvPr>
            <p:cNvSpPr/>
            <p:nvPr userDrawn="1"/>
          </p:nvSpPr>
          <p:spPr>
            <a:xfrm>
              <a:off x="7545033" y="6554158"/>
              <a:ext cx="109537" cy="10800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34" name="Straight Connector 33">
              <a:extLst>
                <a:ext uri="{FF2B5EF4-FFF2-40B4-BE49-F238E27FC236}">
                  <a16:creationId xmlns:a16="http://schemas.microsoft.com/office/drawing/2014/main" id="{C225C0EE-FE22-8E49-8FAF-033DC57069C2}"/>
                </a:ext>
              </a:extLst>
            </p:cNvPr>
            <p:cNvCxnSpPr/>
            <p:nvPr userDrawn="1"/>
          </p:nvCxnSpPr>
          <p:spPr>
            <a:xfrm>
              <a:off x="7653129" y="6608158"/>
              <a:ext cx="8892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CEF15997-744F-0549-8668-1C6CAF23C1E1}"/>
                </a:ext>
              </a:extLst>
            </p:cNvPr>
            <p:cNvSpPr/>
            <p:nvPr userDrawn="1"/>
          </p:nvSpPr>
          <p:spPr>
            <a:xfrm>
              <a:off x="7653129" y="6452919"/>
              <a:ext cx="889200" cy="155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00" b="1" dirty="0">
                  <a:solidFill>
                    <a:schemeClr val="tx1"/>
                  </a:solidFill>
                  <a:latin typeface="Arial" panose="020B0604020202020204" pitchFamily="34" charset="0"/>
                  <a:cs typeface="Arial" panose="020B0604020202020204" pitchFamily="34" charset="0"/>
                </a:rPr>
                <a:t>Implementation</a:t>
              </a:r>
            </a:p>
          </p:txBody>
        </p:sp>
        <p:sp>
          <p:nvSpPr>
            <p:cNvPr id="36" name="Oval 35">
              <a:extLst>
                <a:ext uri="{FF2B5EF4-FFF2-40B4-BE49-F238E27FC236}">
                  <a16:creationId xmlns:a16="http://schemas.microsoft.com/office/drawing/2014/main" id="{A243028C-ED22-7B4C-91DC-EC966D0988C3}"/>
                </a:ext>
              </a:extLst>
            </p:cNvPr>
            <p:cNvSpPr/>
            <p:nvPr userDrawn="1"/>
          </p:nvSpPr>
          <p:spPr>
            <a:xfrm>
              <a:off x="8542329" y="6554158"/>
              <a:ext cx="109537" cy="10800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pic>
        <p:nvPicPr>
          <p:cNvPr id="38" name="Picture 37"/>
          <p:cNvPicPr>
            <a:picLocks noChangeAspect="1"/>
          </p:cNvPicPr>
          <p:nvPr userDrawn="1"/>
        </p:nvPicPr>
        <p:blipFill>
          <a:blip r:embed="rId2"/>
          <a:stretch>
            <a:fillRect/>
          </a:stretch>
        </p:blipFill>
        <p:spPr>
          <a:xfrm>
            <a:off x="10007988" y="308315"/>
            <a:ext cx="1561723" cy="592153"/>
          </a:xfrm>
          <a:prstGeom prst="rect">
            <a:avLst/>
          </a:prstGeom>
        </p:spPr>
      </p:pic>
    </p:spTree>
    <p:extLst>
      <p:ext uri="{BB962C8B-B14F-4D97-AF65-F5344CB8AC3E}">
        <p14:creationId xmlns:p14="http://schemas.microsoft.com/office/powerpoint/2010/main" val="1480016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8"/>
            </p:custDataLst>
            <p:extLst>
              <p:ext uri="{D42A27DB-BD31-4B8C-83A1-F6EECF244321}">
                <p14:modId xmlns:p14="http://schemas.microsoft.com/office/powerpoint/2010/main" val="1340340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6" name="think-cell Slide" r:id="rId19" imgW="473" imgH="476" progId="TCLayout.ActiveDocument.1">
                  <p:embed/>
                </p:oleObj>
              </mc:Choice>
              <mc:Fallback>
                <p:oleObj name="think-cell Slide" r:id="rId19" imgW="473" imgH="476"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3" name="Workspace [Presentation]" hidden="1">
            <a:extLst>
              <a:ext uri="{FF2B5EF4-FFF2-40B4-BE49-F238E27FC236}">
                <a16:creationId xmlns:a16="http://schemas.microsoft.com/office/drawing/2014/main" id="{55FEFDD6-06CD-4EA3-8D8D-2AD200DA4456}"/>
              </a:ext>
            </a:extLst>
          </p:cNvPr>
          <p:cNvSpPr/>
          <p:nvPr userDrawn="1"/>
        </p:nvSpPr>
        <p:spPr>
          <a:xfrm>
            <a:off x="0" y="0"/>
            <a:ext cx="12192000" cy="6858000"/>
          </a:xfrm>
          <a:prstGeom prst="rect">
            <a:avLst/>
          </a:prstGeom>
          <a:noFill/>
          <a:ln w="12700" cap="flat" cmpd="sng" algn="ctr">
            <a:solidFill>
              <a:srgbClr val="D24726"/>
            </a:solidFill>
            <a:prstDash val="lg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DK"/>
          </a:p>
        </p:txBody>
      </p:sp>
    </p:spTree>
    <p:extLst>
      <p:ext uri="{BB962C8B-B14F-4D97-AF65-F5344CB8AC3E}">
        <p14:creationId xmlns:p14="http://schemas.microsoft.com/office/powerpoint/2010/main" val="883566840"/>
      </p:ext>
    </p:extLst>
  </p:cSld>
  <p:clrMap bg1="lt1" tx1="dk1" bg2="lt2" tx2="dk2" accent1="accent1" accent2="accent2" accent3="accent3" accent4="accent4" accent5="accent5" accent6="accent6" hlink="hlink" folHlink="folHlink"/>
  <p:sldLayoutIdLst>
    <p:sldLayoutId id="2147483675" r:id="rId1"/>
    <p:sldLayoutId id="2147483703" r:id="rId2"/>
    <p:sldLayoutId id="2147483709" r:id="rId3"/>
    <p:sldLayoutId id="2147483668" r:id="rId4"/>
    <p:sldLayoutId id="2147483677" r:id="rId5"/>
    <p:sldLayoutId id="2147483678" r:id="rId6"/>
    <p:sldLayoutId id="2147483706" r:id="rId7"/>
    <p:sldLayoutId id="2147483679" r:id="rId8"/>
    <p:sldLayoutId id="2147483680" r:id="rId9"/>
    <p:sldLayoutId id="2147483704" r:id="rId10"/>
    <p:sldLayoutId id="2147483705" r:id="rId11"/>
    <p:sldLayoutId id="2147483710" r:id="rId12"/>
    <p:sldLayoutId id="2147483712" r:id="rId13"/>
    <p:sldLayoutId id="2147483669" r:id="rId14"/>
    <p:sldLayoutId id="214748371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2" pos="7310" userDrawn="1">
          <p15:clr>
            <a:srgbClr val="F26B43"/>
          </p15:clr>
        </p15:guide>
        <p15:guide id="3" pos="370" userDrawn="1">
          <p15:clr>
            <a:srgbClr val="F26B43"/>
          </p15:clr>
        </p15:guide>
        <p15:guide id="4" orient="horz" pos="3725" userDrawn="1">
          <p15:clr>
            <a:srgbClr val="F26B43"/>
          </p15:clr>
        </p15:guide>
        <p15:guide id="5"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slide" Target="slide76.xml"/><Relationship Id="rId7" Type="http://schemas.openxmlformats.org/officeDocument/2006/relationships/slide" Target="slide52.xml"/><Relationship Id="rId2" Type="http://schemas.openxmlformats.org/officeDocument/2006/relationships/slide" Target="slide18.xml"/><Relationship Id="rId1" Type="http://schemas.openxmlformats.org/officeDocument/2006/relationships/slideLayout" Target="../slideLayouts/slideLayout1.xml"/><Relationship Id="rId6" Type="http://schemas.openxmlformats.org/officeDocument/2006/relationships/slide" Target="slide34.xml"/><Relationship Id="rId5" Type="http://schemas.openxmlformats.org/officeDocument/2006/relationships/slide" Target="slide28.xml"/><Relationship Id="rId4" Type="http://schemas.openxmlformats.org/officeDocument/2006/relationships/slide" Target="slide23.xml"/><Relationship Id="rId9" Type="http://schemas.openxmlformats.org/officeDocument/2006/relationships/slide" Target="slide70.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 Id="rId6" Type="http://schemas.microsoft.com/office/2007/relationships/hdphoto" Target="../media/hdphoto2.wdp"/><Relationship Id="rId5" Type="http://schemas.openxmlformats.org/officeDocument/2006/relationships/image" Target="../media/image15.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image" Target="../media/image30.tiff"/><Relationship Id="rId1" Type="http://schemas.openxmlformats.org/officeDocument/2006/relationships/slideLayout" Target="../slideLayouts/slideLayout4.xml"/><Relationship Id="rId4" Type="http://schemas.openxmlformats.org/officeDocument/2006/relationships/image" Target="../media/image32.tiff"/></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3.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microsoft.com/office/2007/relationships/hdphoto" Target="../media/hdphoto4.wdp"/><Relationship Id="rId5" Type="http://schemas.openxmlformats.org/officeDocument/2006/relationships/image" Target="../media/image34.png"/><Relationship Id="rId4"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11.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5.jpg"/><Relationship Id="rId2" Type="http://schemas.openxmlformats.org/officeDocument/2006/relationships/tags" Target="../tags/tag3.xml"/><Relationship Id="rId16" Type="http://schemas.openxmlformats.org/officeDocument/2006/relationships/image" Target="../media/image4.e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19.emf"/><Relationship Id="rId7" Type="http://schemas.openxmlformats.org/officeDocument/2006/relationships/image" Target="../media/image20.emf"/><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18.emf"/><Relationship Id="rId10" Type="http://schemas.openxmlformats.org/officeDocument/2006/relationships/image" Target="../media/image46.png"/><Relationship Id="rId4" Type="http://schemas.openxmlformats.org/officeDocument/2006/relationships/image" Target="../media/image21.emf"/><Relationship Id="rId9" Type="http://schemas.openxmlformats.org/officeDocument/2006/relationships/image" Target="../media/image45.png"/></Relationships>
</file>

<file path=ppt/slides/_rels/slide27.xml.rels><?xml version="1.0" encoding="UTF-8" standalone="yes"?>
<Relationships xmlns="http://schemas.openxmlformats.org/package/2006/relationships"><Relationship Id="rId8" Type="http://schemas.openxmlformats.org/officeDocument/2006/relationships/image" Target="../media/image19.emf"/><Relationship Id="rId13" Type="http://schemas.openxmlformats.org/officeDocument/2006/relationships/image" Target="../media/image52.png"/><Relationship Id="rId3" Type="http://schemas.openxmlformats.org/officeDocument/2006/relationships/image" Target="../media/image17.emf"/><Relationship Id="rId7" Type="http://schemas.openxmlformats.org/officeDocument/2006/relationships/image" Target="../media/image21.emf"/><Relationship Id="rId12" Type="http://schemas.openxmlformats.org/officeDocument/2006/relationships/image" Target="../media/image51.png"/><Relationship Id="rId17" Type="http://schemas.openxmlformats.org/officeDocument/2006/relationships/image" Target="../media/image55.png"/><Relationship Id="rId2" Type="http://schemas.openxmlformats.org/officeDocument/2006/relationships/notesSlide" Target="../notesSlides/notesSlide13.xml"/><Relationship Id="rId16" Type="http://schemas.openxmlformats.org/officeDocument/2006/relationships/image" Target="../media/image54.png"/><Relationship Id="rId1" Type="http://schemas.openxmlformats.org/officeDocument/2006/relationships/slideLayout" Target="../slideLayouts/slideLayout5.xml"/><Relationship Id="rId6" Type="http://schemas.openxmlformats.org/officeDocument/2006/relationships/image" Target="../media/image20.emf"/><Relationship Id="rId11" Type="http://schemas.openxmlformats.org/officeDocument/2006/relationships/image" Target="../media/image50.emf"/><Relationship Id="rId5" Type="http://schemas.openxmlformats.org/officeDocument/2006/relationships/image" Target="../media/image18.emf"/><Relationship Id="rId15" Type="http://schemas.openxmlformats.org/officeDocument/2006/relationships/image" Target="../media/image53.png"/><Relationship Id="rId10" Type="http://schemas.openxmlformats.org/officeDocument/2006/relationships/image" Target="../media/image49.png"/><Relationship Id="rId4" Type="http://schemas.openxmlformats.org/officeDocument/2006/relationships/image" Target="../media/image47.png"/><Relationship Id="rId9" Type="http://schemas.openxmlformats.org/officeDocument/2006/relationships/image" Target="../media/image48.png"/><Relationship Id="rId14" Type="http://schemas.openxmlformats.org/officeDocument/2006/relationships/image" Target="../media/image46.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s://www.cloudred.com/labprojects/nyctrees/" TargetMode="External"/><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3" Type="http://schemas.openxmlformats.org/officeDocument/2006/relationships/tags" Target="../tags/tag17.xml"/><Relationship Id="rId7" Type="http://schemas.openxmlformats.org/officeDocument/2006/relationships/image" Target="../media/image57.png"/><Relationship Id="rId12" Type="http://schemas.openxmlformats.org/officeDocument/2006/relationships/image" Target="../media/image61.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56.emf"/><Relationship Id="rId11" Type="http://schemas.openxmlformats.org/officeDocument/2006/relationships/image" Target="../media/image60.png"/><Relationship Id="rId5" Type="http://schemas.openxmlformats.org/officeDocument/2006/relationships/oleObject" Target="../embeddings/oleObject4.bin"/><Relationship Id="rId15" Type="http://schemas.openxmlformats.org/officeDocument/2006/relationships/image" Target="../media/image64.png"/><Relationship Id="rId10" Type="http://schemas.microsoft.com/office/2007/relationships/hdphoto" Target="../media/hdphoto5.wdp"/><Relationship Id="rId4" Type="http://schemas.openxmlformats.org/officeDocument/2006/relationships/slideLayout" Target="../slideLayouts/slideLayout5.xml"/><Relationship Id="rId9" Type="http://schemas.openxmlformats.org/officeDocument/2006/relationships/image" Target="../media/image59.png"/><Relationship Id="rId14" Type="http://schemas.openxmlformats.org/officeDocument/2006/relationships/image" Target="../media/image63.png"/></Relationships>
</file>

<file path=ppt/slides/_rels/slide31.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ags" Target="../tags/tag19.xml"/><Relationship Id="rId21" Type="http://schemas.openxmlformats.org/officeDocument/2006/relationships/image" Target="../media/image56.emf"/><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slideLayout" Target="../slideLayouts/slideLayout10.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notesSlide" Target="../notesSlides/notesSlide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8.emf"/><Relationship Id="rId7"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19.emf"/><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19.emf"/><Relationship Id="rId7" Type="http://schemas.openxmlformats.org/officeDocument/2006/relationships/image" Target="../media/image20.emf"/><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43.png"/><Relationship Id="rId11" Type="http://schemas.openxmlformats.org/officeDocument/2006/relationships/image" Target="../media/image46.png"/><Relationship Id="rId5" Type="http://schemas.openxmlformats.org/officeDocument/2006/relationships/image" Target="../media/image18.emf"/><Relationship Id="rId10" Type="http://schemas.openxmlformats.org/officeDocument/2006/relationships/image" Target="../media/image70.png"/><Relationship Id="rId4" Type="http://schemas.openxmlformats.org/officeDocument/2006/relationships/image" Target="../media/image21.emf"/><Relationship Id="rId9" Type="http://schemas.openxmlformats.org/officeDocument/2006/relationships/image" Target="../media/image69.png"/></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s/_rels/slide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15.xml"/><Relationship Id="rId7"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10" Type="http://schemas.openxmlformats.org/officeDocument/2006/relationships/image" Target="../media/image12.png"/><Relationship Id="rId4" Type="http://schemas.openxmlformats.org/officeDocument/2006/relationships/slideLayout" Target="../slideLayouts/slideLayout5.xml"/><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tiff"/><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image" Target="../media/image79.tiff"/><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77.png"/><Relationship Id="rId11" Type="http://schemas.openxmlformats.org/officeDocument/2006/relationships/image" Target="../media/image82.tiff"/><Relationship Id="rId5" Type="http://schemas.openxmlformats.org/officeDocument/2006/relationships/image" Target="../media/image76.png"/><Relationship Id="rId10" Type="http://schemas.openxmlformats.org/officeDocument/2006/relationships/image" Target="../media/image81.tiff"/><Relationship Id="rId4" Type="http://schemas.openxmlformats.org/officeDocument/2006/relationships/image" Target="../media/image75.png"/><Relationship Id="rId9" Type="http://schemas.openxmlformats.org/officeDocument/2006/relationships/image" Target="../media/image80.tif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83.tiff"/><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image" Target="../media/image85.emf"/><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0.png"/><Relationship Id="rId7" Type="http://schemas.openxmlformats.org/officeDocument/2006/relationships/chart" Target="../charts/chart4.xml"/><Relationship Id="rId2" Type="http://schemas.openxmlformats.org/officeDocument/2006/relationships/image" Target="../media/image87.png"/><Relationship Id="rId1" Type="http://schemas.openxmlformats.org/officeDocument/2006/relationships/slideLayout" Target="../slideLayouts/slideLayout8.xml"/><Relationship Id="rId6" Type="http://schemas.openxmlformats.org/officeDocument/2006/relationships/image" Target="../media/image63.png"/><Relationship Id="rId11" Type="http://schemas.openxmlformats.org/officeDocument/2006/relationships/image" Target="../media/image90.png"/><Relationship Id="rId5" Type="http://schemas.openxmlformats.org/officeDocument/2006/relationships/image" Target="../media/image57.png"/><Relationship Id="rId10" Type="http://schemas.openxmlformats.org/officeDocument/2006/relationships/image" Target="../media/image89.png"/><Relationship Id="rId4" Type="http://schemas.openxmlformats.org/officeDocument/2006/relationships/image" Target="../media/image64.png"/><Relationship Id="rId9" Type="http://schemas.openxmlformats.org/officeDocument/2006/relationships/image" Target="../media/image88.png"/></Relationships>
</file>

<file path=ppt/slides/_rels/slide5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chart" Target="../charts/chart6.xml"/><Relationship Id="rId1" Type="http://schemas.openxmlformats.org/officeDocument/2006/relationships/slideLayout" Target="../slideLayouts/slideLayout8.xml"/><Relationship Id="rId4" Type="http://schemas.openxmlformats.org/officeDocument/2006/relationships/chart" Target="../charts/chart7.xml"/></Relationships>
</file>

<file path=ppt/slides/_rels/slide56.xml.rels><?xml version="1.0" encoding="UTF-8" standalone="yes"?>
<Relationships xmlns="http://schemas.openxmlformats.org/package/2006/relationships"><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tags" Target="../tags/tag72.xml"/><Relationship Id="rId39" Type="http://schemas.openxmlformats.org/officeDocument/2006/relationships/tags" Target="../tags/tag85.xml"/><Relationship Id="rId21" Type="http://schemas.openxmlformats.org/officeDocument/2006/relationships/tags" Target="../tags/tag67.xml"/><Relationship Id="rId34" Type="http://schemas.openxmlformats.org/officeDocument/2006/relationships/tags" Target="../tags/tag80.xml"/><Relationship Id="rId42" Type="http://schemas.openxmlformats.org/officeDocument/2006/relationships/tags" Target="../tags/tag88.xml"/><Relationship Id="rId47" Type="http://schemas.openxmlformats.org/officeDocument/2006/relationships/oleObject" Target="../embeddings/oleObject7.bin"/><Relationship Id="rId50" Type="http://schemas.openxmlformats.org/officeDocument/2006/relationships/image" Target="../media/image93.emf"/><Relationship Id="rId7" Type="http://schemas.openxmlformats.org/officeDocument/2006/relationships/tags" Target="../tags/tag53.xml"/><Relationship Id="rId2" Type="http://schemas.openxmlformats.org/officeDocument/2006/relationships/tags" Target="../tags/tag48.xml"/><Relationship Id="rId16" Type="http://schemas.openxmlformats.org/officeDocument/2006/relationships/tags" Target="../tags/tag62.xml"/><Relationship Id="rId29" Type="http://schemas.openxmlformats.org/officeDocument/2006/relationships/tags" Target="../tags/tag75.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tags" Target="../tags/tag78.xml"/><Relationship Id="rId37" Type="http://schemas.openxmlformats.org/officeDocument/2006/relationships/tags" Target="../tags/tag83.xml"/><Relationship Id="rId40" Type="http://schemas.openxmlformats.org/officeDocument/2006/relationships/tags" Target="../tags/tag86.xml"/><Relationship Id="rId45" Type="http://schemas.openxmlformats.org/officeDocument/2006/relationships/tags" Target="../tags/tag91.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tags" Target="../tags/tag82.xml"/><Relationship Id="rId49" Type="http://schemas.openxmlformats.org/officeDocument/2006/relationships/oleObject" Target="../embeddings/oleObject8.bin"/><Relationship Id="rId10" Type="http://schemas.openxmlformats.org/officeDocument/2006/relationships/tags" Target="../tags/tag56.xml"/><Relationship Id="rId19" Type="http://schemas.openxmlformats.org/officeDocument/2006/relationships/tags" Target="../tags/tag65.xml"/><Relationship Id="rId31" Type="http://schemas.openxmlformats.org/officeDocument/2006/relationships/tags" Target="../tags/tag77.xml"/><Relationship Id="rId44" Type="http://schemas.openxmlformats.org/officeDocument/2006/relationships/tags" Target="../tags/tag90.xml"/><Relationship Id="rId52" Type="http://schemas.openxmlformats.org/officeDocument/2006/relationships/image" Target="../media/image94.emf"/><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tags" Target="../tags/tag76.xml"/><Relationship Id="rId35" Type="http://schemas.openxmlformats.org/officeDocument/2006/relationships/tags" Target="../tags/tag81.xml"/><Relationship Id="rId43" Type="http://schemas.openxmlformats.org/officeDocument/2006/relationships/tags" Target="../tags/tag89.xml"/><Relationship Id="rId48" Type="http://schemas.openxmlformats.org/officeDocument/2006/relationships/image" Target="../media/image92.emf"/><Relationship Id="rId8" Type="http://schemas.openxmlformats.org/officeDocument/2006/relationships/tags" Target="../tags/tag54.xml"/><Relationship Id="rId51" Type="http://schemas.openxmlformats.org/officeDocument/2006/relationships/oleObject" Target="../embeddings/oleObject9.bin"/><Relationship Id="rId3" Type="http://schemas.openxmlformats.org/officeDocument/2006/relationships/tags" Target="../tags/tag49.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33" Type="http://schemas.openxmlformats.org/officeDocument/2006/relationships/tags" Target="../tags/tag79.xml"/><Relationship Id="rId38" Type="http://schemas.openxmlformats.org/officeDocument/2006/relationships/tags" Target="../tags/tag84.xml"/><Relationship Id="rId46" Type="http://schemas.openxmlformats.org/officeDocument/2006/relationships/slideLayout" Target="../slideLayouts/slideLayout8.xml"/><Relationship Id="rId20" Type="http://schemas.openxmlformats.org/officeDocument/2006/relationships/tags" Target="../tags/tag66.xml"/><Relationship Id="rId41" Type="http://schemas.openxmlformats.org/officeDocument/2006/relationships/tags" Target="../tags/tag87.xml"/><Relationship Id="rId1" Type="http://schemas.openxmlformats.org/officeDocument/2006/relationships/vmlDrawing" Target="../drawings/vmlDrawing7.vml"/><Relationship Id="rId6" Type="http://schemas.openxmlformats.org/officeDocument/2006/relationships/tags" Target="../tags/tag52.xml"/></Relationships>
</file>

<file path=ppt/slides/_rels/slide57.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60.png"/><Relationship Id="rId7" Type="http://schemas.openxmlformats.org/officeDocument/2006/relationships/image" Target="../media/image89.png"/><Relationship Id="rId2" Type="http://schemas.openxmlformats.org/officeDocument/2006/relationships/image" Target="../media/image87.png"/><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57.png"/><Relationship Id="rId10" Type="http://schemas.openxmlformats.org/officeDocument/2006/relationships/chart" Target="../charts/chart9.xml"/><Relationship Id="rId4" Type="http://schemas.openxmlformats.org/officeDocument/2006/relationships/image" Target="../media/image64.png"/><Relationship Id="rId9" Type="http://schemas.openxmlformats.org/officeDocument/2006/relationships/chart" Target="../charts/char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tags" Target="../tags/tag116.xml"/><Relationship Id="rId39" Type="http://schemas.openxmlformats.org/officeDocument/2006/relationships/tags" Target="../tags/tag129.xml"/><Relationship Id="rId21" Type="http://schemas.openxmlformats.org/officeDocument/2006/relationships/tags" Target="../tags/tag111.xml"/><Relationship Id="rId34" Type="http://schemas.openxmlformats.org/officeDocument/2006/relationships/tags" Target="../tags/tag124.xml"/><Relationship Id="rId42" Type="http://schemas.openxmlformats.org/officeDocument/2006/relationships/tags" Target="../tags/tag132.xml"/><Relationship Id="rId47" Type="http://schemas.openxmlformats.org/officeDocument/2006/relationships/tags" Target="../tags/tag137.xml"/><Relationship Id="rId50" Type="http://schemas.openxmlformats.org/officeDocument/2006/relationships/slideLayout" Target="../slideLayouts/slideLayout10.xml"/><Relationship Id="rId55" Type="http://schemas.openxmlformats.org/officeDocument/2006/relationships/image" Target="../media/image95.emf"/><Relationship Id="rId7" Type="http://schemas.openxmlformats.org/officeDocument/2006/relationships/tags" Target="../tags/tag97.xml"/><Relationship Id="rId2" Type="http://schemas.openxmlformats.org/officeDocument/2006/relationships/tags" Target="../tags/tag92.xml"/><Relationship Id="rId16" Type="http://schemas.openxmlformats.org/officeDocument/2006/relationships/tags" Target="../tags/tag106.xml"/><Relationship Id="rId29" Type="http://schemas.openxmlformats.org/officeDocument/2006/relationships/tags" Target="../tags/tag119.xml"/><Relationship Id="rId11" Type="http://schemas.openxmlformats.org/officeDocument/2006/relationships/tags" Target="../tags/tag101.xml"/><Relationship Id="rId24" Type="http://schemas.openxmlformats.org/officeDocument/2006/relationships/tags" Target="../tags/tag114.xml"/><Relationship Id="rId32" Type="http://schemas.openxmlformats.org/officeDocument/2006/relationships/tags" Target="../tags/tag122.xml"/><Relationship Id="rId37" Type="http://schemas.openxmlformats.org/officeDocument/2006/relationships/tags" Target="../tags/tag127.xml"/><Relationship Id="rId40" Type="http://schemas.openxmlformats.org/officeDocument/2006/relationships/tags" Target="../tags/tag130.xml"/><Relationship Id="rId45" Type="http://schemas.openxmlformats.org/officeDocument/2006/relationships/tags" Target="../tags/tag135.xml"/><Relationship Id="rId53" Type="http://schemas.openxmlformats.org/officeDocument/2006/relationships/image" Target="../media/image92.emf"/><Relationship Id="rId58" Type="http://schemas.openxmlformats.org/officeDocument/2006/relationships/oleObject" Target="../embeddings/oleObject13.bin"/><Relationship Id="rId5" Type="http://schemas.openxmlformats.org/officeDocument/2006/relationships/tags" Target="../tags/tag95.xml"/><Relationship Id="rId19" Type="http://schemas.openxmlformats.org/officeDocument/2006/relationships/tags" Target="../tags/tag109.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43" Type="http://schemas.openxmlformats.org/officeDocument/2006/relationships/tags" Target="../tags/tag133.xml"/><Relationship Id="rId48" Type="http://schemas.openxmlformats.org/officeDocument/2006/relationships/tags" Target="../tags/tag138.xml"/><Relationship Id="rId56" Type="http://schemas.openxmlformats.org/officeDocument/2006/relationships/oleObject" Target="../embeddings/oleObject12.bin"/><Relationship Id="rId8" Type="http://schemas.openxmlformats.org/officeDocument/2006/relationships/tags" Target="../tags/tag98.xml"/><Relationship Id="rId51" Type="http://schemas.openxmlformats.org/officeDocument/2006/relationships/notesSlide" Target="../notesSlides/notesSlide19.xml"/><Relationship Id="rId3" Type="http://schemas.openxmlformats.org/officeDocument/2006/relationships/tags" Target="../tags/tag93.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46" Type="http://schemas.openxmlformats.org/officeDocument/2006/relationships/tags" Target="../tags/tag136.xml"/><Relationship Id="rId59" Type="http://schemas.openxmlformats.org/officeDocument/2006/relationships/image" Target="../media/image97.emf"/><Relationship Id="rId20" Type="http://schemas.openxmlformats.org/officeDocument/2006/relationships/tags" Target="../tags/tag110.xml"/><Relationship Id="rId41" Type="http://schemas.openxmlformats.org/officeDocument/2006/relationships/tags" Target="../tags/tag131.xml"/><Relationship Id="rId54" Type="http://schemas.openxmlformats.org/officeDocument/2006/relationships/oleObject" Target="../embeddings/oleObject11.bin"/><Relationship Id="rId1" Type="http://schemas.openxmlformats.org/officeDocument/2006/relationships/vmlDrawing" Target="../drawings/vmlDrawing8.vml"/><Relationship Id="rId6" Type="http://schemas.openxmlformats.org/officeDocument/2006/relationships/tags" Target="../tags/tag96.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49" Type="http://schemas.openxmlformats.org/officeDocument/2006/relationships/tags" Target="../tags/tag139.xml"/><Relationship Id="rId57" Type="http://schemas.openxmlformats.org/officeDocument/2006/relationships/image" Target="../media/image96.emf"/><Relationship Id="rId10" Type="http://schemas.openxmlformats.org/officeDocument/2006/relationships/tags" Target="../tags/tag100.xml"/><Relationship Id="rId31" Type="http://schemas.openxmlformats.org/officeDocument/2006/relationships/tags" Target="../tags/tag121.xml"/><Relationship Id="rId44" Type="http://schemas.openxmlformats.org/officeDocument/2006/relationships/tags" Target="../tags/tag134.xml"/><Relationship Id="rId52" Type="http://schemas.openxmlformats.org/officeDocument/2006/relationships/oleObject" Target="../embeddings/oleObject10.bin"/></Relationships>
</file>

<file path=ppt/slides/_rels/slide61.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102.png"/><Relationship Id="rId3" Type="http://schemas.openxmlformats.org/officeDocument/2006/relationships/tags" Target="../tags/tag141.xml"/><Relationship Id="rId7" Type="http://schemas.openxmlformats.org/officeDocument/2006/relationships/oleObject" Target="../embeddings/oleObject14.bin"/><Relationship Id="rId12" Type="http://schemas.openxmlformats.org/officeDocument/2006/relationships/image" Target="../media/image101.png"/><Relationship Id="rId2" Type="http://schemas.openxmlformats.org/officeDocument/2006/relationships/tags" Target="../tags/tag140.xml"/><Relationship Id="rId16" Type="http://schemas.openxmlformats.org/officeDocument/2006/relationships/image" Target="../media/image105.png"/><Relationship Id="rId1" Type="http://schemas.openxmlformats.org/officeDocument/2006/relationships/vmlDrawing" Target="../drawings/vmlDrawing9.vml"/><Relationship Id="rId6" Type="http://schemas.openxmlformats.org/officeDocument/2006/relationships/image" Target="../media/image910.png"/><Relationship Id="rId11" Type="http://schemas.openxmlformats.org/officeDocument/2006/relationships/image" Target="../media/image100.png"/><Relationship Id="rId5" Type="http://schemas.microsoft.com/office/2014/relationships/chartEx" Target="../charts/chartEx1.xml"/><Relationship Id="rId15" Type="http://schemas.openxmlformats.org/officeDocument/2006/relationships/image" Target="../media/image104.png"/><Relationship Id="rId10" Type="http://schemas.openxmlformats.org/officeDocument/2006/relationships/image" Target="../media/image99.png"/><Relationship Id="rId4" Type="http://schemas.openxmlformats.org/officeDocument/2006/relationships/slideLayout" Target="../slideLayouts/slideLayout10.xml"/><Relationship Id="rId9" Type="http://schemas.openxmlformats.org/officeDocument/2006/relationships/image" Target="../media/image98.png"/><Relationship Id="rId14" Type="http://schemas.openxmlformats.org/officeDocument/2006/relationships/image" Target="../media/image103.png"/></Relationships>
</file>

<file path=ppt/slides/_rels/slide62.xml.rels><?xml version="1.0" encoding="UTF-8" standalone="yes"?>
<Relationships xmlns="http://schemas.openxmlformats.org/package/2006/relationships"><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9" Type="http://schemas.openxmlformats.org/officeDocument/2006/relationships/tags" Target="../tags/tag179.xml"/><Relationship Id="rId21" Type="http://schemas.openxmlformats.org/officeDocument/2006/relationships/tags" Target="../tags/tag161.xml"/><Relationship Id="rId34" Type="http://schemas.openxmlformats.org/officeDocument/2006/relationships/tags" Target="../tags/tag174.xml"/><Relationship Id="rId42" Type="http://schemas.openxmlformats.org/officeDocument/2006/relationships/tags" Target="../tags/tag182.xml"/><Relationship Id="rId47" Type="http://schemas.openxmlformats.org/officeDocument/2006/relationships/oleObject" Target="../embeddings/oleObject15.bin"/><Relationship Id="rId50" Type="http://schemas.openxmlformats.org/officeDocument/2006/relationships/image" Target="../media/image106.emf"/><Relationship Id="rId7" Type="http://schemas.openxmlformats.org/officeDocument/2006/relationships/tags" Target="../tags/tag147.xml"/><Relationship Id="rId2" Type="http://schemas.openxmlformats.org/officeDocument/2006/relationships/tags" Target="../tags/tag142.xml"/><Relationship Id="rId16" Type="http://schemas.openxmlformats.org/officeDocument/2006/relationships/tags" Target="../tags/tag156.xml"/><Relationship Id="rId29" Type="http://schemas.openxmlformats.org/officeDocument/2006/relationships/tags" Target="../tags/tag169.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tags" Target="../tags/tag177.xml"/><Relationship Id="rId40" Type="http://schemas.openxmlformats.org/officeDocument/2006/relationships/tags" Target="../tags/tag180.xml"/><Relationship Id="rId45" Type="http://schemas.openxmlformats.org/officeDocument/2006/relationships/tags" Target="../tags/tag185.xml"/><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tags" Target="../tags/tag176.xml"/><Relationship Id="rId49" Type="http://schemas.openxmlformats.org/officeDocument/2006/relationships/oleObject" Target="../embeddings/oleObject16.bin"/><Relationship Id="rId10" Type="http://schemas.openxmlformats.org/officeDocument/2006/relationships/tags" Target="../tags/tag150.xml"/><Relationship Id="rId19" Type="http://schemas.openxmlformats.org/officeDocument/2006/relationships/tags" Target="../tags/tag159.xml"/><Relationship Id="rId31" Type="http://schemas.openxmlformats.org/officeDocument/2006/relationships/tags" Target="../tags/tag171.xml"/><Relationship Id="rId44" Type="http://schemas.openxmlformats.org/officeDocument/2006/relationships/tags" Target="../tags/tag184.xml"/><Relationship Id="rId52" Type="http://schemas.openxmlformats.org/officeDocument/2006/relationships/image" Target="../media/image107.emf"/><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tags" Target="../tags/tag175.xml"/><Relationship Id="rId43" Type="http://schemas.openxmlformats.org/officeDocument/2006/relationships/tags" Target="../tags/tag183.xml"/><Relationship Id="rId48" Type="http://schemas.openxmlformats.org/officeDocument/2006/relationships/image" Target="../media/image92.emf"/><Relationship Id="rId8" Type="http://schemas.openxmlformats.org/officeDocument/2006/relationships/tags" Target="../tags/tag148.xml"/><Relationship Id="rId51" Type="http://schemas.openxmlformats.org/officeDocument/2006/relationships/oleObject" Target="../embeddings/oleObject17.bin"/><Relationship Id="rId3" Type="http://schemas.openxmlformats.org/officeDocument/2006/relationships/tags" Target="../tags/tag143.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tags" Target="../tags/tag178.xml"/><Relationship Id="rId46" Type="http://schemas.openxmlformats.org/officeDocument/2006/relationships/slideLayout" Target="../slideLayouts/slideLayout10.xml"/><Relationship Id="rId20" Type="http://schemas.openxmlformats.org/officeDocument/2006/relationships/tags" Target="../tags/tag160.xml"/><Relationship Id="rId41" Type="http://schemas.openxmlformats.org/officeDocument/2006/relationships/tags" Target="../tags/tag181.xml"/><Relationship Id="rId1" Type="http://schemas.openxmlformats.org/officeDocument/2006/relationships/vmlDrawing" Target="../drawings/vmlDrawing10.vml"/><Relationship Id="rId6" Type="http://schemas.openxmlformats.org/officeDocument/2006/relationships/tags" Target="../tags/tag146.xml"/></Relationships>
</file>

<file path=ppt/slides/_rels/slide63.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image" Target="../media/image60.png"/><Relationship Id="rId7" Type="http://schemas.openxmlformats.org/officeDocument/2006/relationships/chart" Target="../charts/chart10.xml"/><Relationship Id="rId2" Type="http://schemas.openxmlformats.org/officeDocument/2006/relationships/image" Target="../media/image87.png"/><Relationship Id="rId1" Type="http://schemas.openxmlformats.org/officeDocument/2006/relationships/slideLayout" Target="../slideLayouts/slideLayout10.xml"/><Relationship Id="rId6" Type="http://schemas.openxmlformats.org/officeDocument/2006/relationships/image" Target="../media/image89.png"/><Relationship Id="rId11" Type="http://schemas.openxmlformats.org/officeDocument/2006/relationships/image" Target="../media/image110.png"/><Relationship Id="rId5" Type="http://schemas.openxmlformats.org/officeDocument/2006/relationships/image" Target="../media/image88.png"/><Relationship Id="rId10" Type="http://schemas.openxmlformats.org/officeDocument/2006/relationships/image" Target="../media/image109.png"/><Relationship Id="rId4" Type="http://schemas.openxmlformats.org/officeDocument/2006/relationships/image" Target="../media/image57.png"/><Relationship Id="rId9" Type="http://schemas.openxmlformats.org/officeDocument/2006/relationships/image" Target="../media/image108.png"/></Relationships>
</file>

<file path=ppt/slides/_rels/slide64.xml.rels><?xml version="1.0" encoding="UTF-8" standalone="yes"?>
<Relationships xmlns="http://schemas.openxmlformats.org/package/2006/relationships"><Relationship Id="rId8" Type="http://schemas.openxmlformats.org/officeDocument/2006/relationships/chart" Target="../charts/chart12.xml"/><Relationship Id="rId13" Type="http://schemas.microsoft.com/office/2007/relationships/hdphoto" Target="../media/hdphoto7.wdp"/><Relationship Id="rId3" Type="http://schemas.openxmlformats.org/officeDocument/2006/relationships/image" Target="../media/image60.png"/><Relationship Id="rId7" Type="http://schemas.openxmlformats.org/officeDocument/2006/relationships/image" Target="../media/image63.png"/><Relationship Id="rId12" Type="http://schemas.openxmlformats.org/officeDocument/2006/relationships/image" Target="../media/image112.png"/><Relationship Id="rId2" Type="http://schemas.openxmlformats.org/officeDocument/2006/relationships/image" Target="../media/image87.png"/><Relationship Id="rId1" Type="http://schemas.openxmlformats.org/officeDocument/2006/relationships/slideLayout" Target="../slideLayouts/slideLayout10.xml"/><Relationship Id="rId6" Type="http://schemas.microsoft.com/office/2007/relationships/hdphoto" Target="../media/hdphoto6.wdp"/><Relationship Id="rId11" Type="http://schemas.openxmlformats.org/officeDocument/2006/relationships/image" Target="../media/image90.png"/><Relationship Id="rId5" Type="http://schemas.openxmlformats.org/officeDocument/2006/relationships/image" Target="../media/image111.png"/><Relationship Id="rId15" Type="http://schemas.openxmlformats.org/officeDocument/2006/relationships/chart" Target="../charts/chart13.xml"/><Relationship Id="rId10" Type="http://schemas.openxmlformats.org/officeDocument/2006/relationships/image" Target="../media/image89.png"/><Relationship Id="rId4" Type="http://schemas.openxmlformats.org/officeDocument/2006/relationships/image" Target="../media/image64.png"/><Relationship Id="rId9" Type="http://schemas.openxmlformats.org/officeDocument/2006/relationships/image" Target="../media/image88.png"/><Relationship Id="rId14" Type="http://schemas.openxmlformats.org/officeDocument/2006/relationships/image" Target="../media/image113.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image" Target="../media/image92.emf"/><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oleObject" Target="../embeddings/oleObject18.bin"/><Relationship Id="rId2" Type="http://schemas.openxmlformats.org/officeDocument/2006/relationships/tags" Target="../tags/tag186.xml"/><Relationship Id="rId1" Type="http://schemas.openxmlformats.org/officeDocument/2006/relationships/vmlDrawing" Target="../drawings/vmlDrawing11.vml"/><Relationship Id="rId6" Type="http://schemas.openxmlformats.org/officeDocument/2006/relationships/tags" Target="../tags/tag190.xml"/><Relationship Id="rId11" Type="http://schemas.openxmlformats.org/officeDocument/2006/relationships/slideLayout" Target="../slideLayouts/slideLayout8.xml"/><Relationship Id="rId5" Type="http://schemas.openxmlformats.org/officeDocument/2006/relationships/tags" Target="../tags/tag189.xml"/><Relationship Id="rId10" Type="http://schemas.openxmlformats.org/officeDocument/2006/relationships/tags" Target="../tags/tag194.xml"/><Relationship Id="rId4" Type="http://schemas.openxmlformats.org/officeDocument/2006/relationships/tags" Target="../tags/tag188.xml"/><Relationship Id="rId9" Type="http://schemas.openxmlformats.org/officeDocument/2006/relationships/tags" Target="../tags/tag193.xml"/></Relationships>
</file>

<file path=ppt/slides/_rels/slide67.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oleObject" Target="../embeddings/oleObject19.bin"/><Relationship Id="rId3" Type="http://schemas.openxmlformats.org/officeDocument/2006/relationships/tags" Target="../tags/tag196.xml"/><Relationship Id="rId21" Type="http://schemas.openxmlformats.org/officeDocument/2006/relationships/image" Target="../media/image27.png"/><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notesSlide" Target="../notesSlides/notesSlide20.xml"/><Relationship Id="rId2" Type="http://schemas.openxmlformats.org/officeDocument/2006/relationships/tags" Target="../tags/tag195.xml"/><Relationship Id="rId16" Type="http://schemas.openxmlformats.org/officeDocument/2006/relationships/slideLayout" Target="../slideLayouts/slideLayout9.xml"/><Relationship Id="rId20" Type="http://schemas.openxmlformats.org/officeDocument/2006/relationships/image" Target="../media/image25.png"/><Relationship Id="rId1" Type="http://schemas.openxmlformats.org/officeDocument/2006/relationships/vmlDrawing" Target="../drawings/vmlDrawing12.vml"/><Relationship Id="rId6" Type="http://schemas.openxmlformats.org/officeDocument/2006/relationships/tags" Target="../tags/tag199.xml"/><Relationship Id="rId11" Type="http://schemas.openxmlformats.org/officeDocument/2006/relationships/tags" Target="../tags/tag204.xml"/><Relationship Id="rId5" Type="http://schemas.openxmlformats.org/officeDocument/2006/relationships/tags" Target="../tags/tag198.xml"/><Relationship Id="rId15" Type="http://schemas.openxmlformats.org/officeDocument/2006/relationships/tags" Target="../tags/tag208.xml"/><Relationship Id="rId10" Type="http://schemas.openxmlformats.org/officeDocument/2006/relationships/tags" Target="../tags/tag203.xml"/><Relationship Id="rId19" Type="http://schemas.openxmlformats.org/officeDocument/2006/relationships/image" Target="../media/image92.emf"/><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image" Target="../media/image26.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115.tiff"/><Relationship Id="rId2" Type="http://schemas.openxmlformats.org/officeDocument/2006/relationships/image" Target="../media/image114.tiff"/><Relationship Id="rId1" Type="http://schemas.openxmlformats.org/officeDocument/2006/relationships/slideLayout" Target="../slideLayouts/slideLayout10.xml"/><Relationship Id="rId6" Type="http://schemas.openxmlformats.org/officeDocument/2006/relationships/image" Target="../media/image118.png"/><Relationship Id="rId5" Type="http://schemas.openxmlformats.org/officeDocument/2006/relationships/image" Target="../media/image117.tiff"/><Relationship Id="rId4" Type="http://schemas.openxmlformats.org/officeDocument/2006/relationships/image" Target="../media/image1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tags" Target="../tags/tag211.xml"/><Relationship Id="rId7" Type="http://schemas.openxmlformats.org/officeDocument/2006/relationships/slideLayout" Target="../slideLayouts/slideLayout8.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5" Type="http://schemas.openxmlformats.org/officeDocument/2006/relationships/tags" Target="../tags/tag213.xml"/><Relationship Id="rId4" Type="http://schemas.openxmlformats.org/officeDocument/2006/relationships/tags" Target="../tags/tag212.xml"/></Relationships>
</file>

<file path=ppt/slides/_rels/slide7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1.png"/><Relationship Id="rId7" Type="http://schemas.openxmlformats.org/officeDocument/2006/relationships/image" Target="../media/image124.tiff"/><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23.tiff"/><Relationship Id="rId5" Type="http://schemas.openxmlformats.org/officeDocument/2006/relationships/image" Target="../media/image122.tiff"/><Relationship Id="rId4" Type="http://schemas.microsoft.com/office/2007/relationships/hdphoto" Target="../media/hdphoto8.wdp"/></Relationships>
</file>

<file path=ppt/slides/_rels/slide78.xml.rels><?xml version="1.0" encoding="UTF-8" standalone="yes"?>
<Relationships xmlns="http://schemas.openxmlformats.org/package/2006/relationships"><Relationship Id="rId3" Type="http://schemas.openxmlformats.org/officeDocument/2006/relationships/image" Target="../media/image127.tiff"/><Relationship Id="rId2" Type="http://schemas.openxmlformats.org/officeDocument/2006/relationships/image" Target="../media/image126.tiff"/><Relationship Id="rId1" Type="http://schemas.openxmlformats.org/officeDocument/2006/relationships/slideLayout" Target="../slideLayouts/slideLayout1.xml"/><Relationship Id="rId4" Type="http://schemas.openxmlformats.org/officeDocument/2006/relationships/image" Target="../media/image128.tiff"/></Relationships>
</file>

<file path=ppt/slides/_rels/slide79.xml.rels><?xml version="1.0" encoding="UTF-8" standalone="yes"?>
<Relationships xmlns="http://schemas.openxmlformats.org/package/2006/relationships"><Relationship Id="rId3" Type="http://schemas.openxmlformats.org/officeDocument/2006/relationships/image" Target="../media/image127.tiff"/><Relationship Id="rId2" Type="http://schemas.openxmlformats.org/officeDocument/2006/relationships/image" Target="../media/image126.tiff"/><Relationship Id="rId1" Type="http://schemas.openxmlformats.org/officeDocument/2006/relationships/slideLayout" Target="../slideLayouts/slideLayout1.xml"/><Relationship Id="rId4" Type="http://schemas.openxmlformats.org/officeDocument/2006/relationships/image" Target="../media/image128.tif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27.tiff"/><Relationship Id="rId2" Type="http://schemas.openxmlformats.org/officeDocument/2006/relationships/image" Target="../media/image126.tiff"/><Relationship Id="rId1" Type="http://schemas.openxmlformats.org/officeDocument/2006/relationships/slideLayout" Target="../slideLayouts/slideLayout1.xml"/><Relationship Id="rId4" Type="http://schemas.openxmlformats.org/officeDocument/2006/relationships/image" Target="../media/image128.tiff"/></Relationships>
</file>

<file path=ppt/slides/_rels/slide81.xml.rels><?xml version="1.0" encoding="UTF-8" standalone="yes"?>
<Relationships xmlns="http://schemas.openxmlformats.org/package/2006/relationships"><Relationship Id="rId3" Type="http://schemas.openxmlformats.org/officeDocument/2006/relationships/image" Target="../media/image127.tiff"/><Relationship Id="rId2" Type="http://schemas.openxmlformats.org/officeDocument/2006/relationships/image" Target="../media/image126.tiff"/><Relationship Id="rId1" Type="http://schemas.openxmlformats.org/officeDocument/2006/relationships/slideLayout" Target="../slideLayouts/slideLayout1.xml"/><Relationship Id="rId4" Type="http://schemas.openxmlformats.org/officeDocument/2006/relationships/image" Target="../media/image128.tif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6" Type="http://schemas.openxmlformats.org/officeDocument/2006/relationships/image" Target="../media/image153.png"/><Relationship Id="rId21" Type="http://schemas.openxmlformats.org/officeDocument/2006/relationships/image" Target="../media/image148.png"/><Relationship Id="rId42" Type="http://schemas.openxmlformats.org/officeDocument/2006/relationships/image" Target="../media/image169.png"/><Relationship Id="rId47" Type="http://schemas.openxmlformats.org/officeDocument/2006/relationships/image" Target="../media/image174.png"/><Relationship Id="rId63" Type="http://schemas.openxmlformats.org/officeDocument/2006/relationships/image" Target="../media/image190.png"/><Relationship Id="rId68" Type="http://schemas.openxmlformats.org/officeDocument/2006/relationships/image" Target="../media/image195.png"/><Relationship Id="rId84" Type="http://schemas.openxmlformats.org/officeDocument/2006/relationships/image" Target="../media/image208.png"/><Relationship Id="rId89" Type="http://schemas.openxmlformats.org/officeDocument/2006/relationships/image" Target="../media/image213.png"/><Relationship Id="rId16" Type="http://schemas.openxmlformats.org/officeDocument/2006/relationships/image" Target="../media/image143.png"/><Relationship Id="rId11" Type="http://schemas.openxmlformats.org/officeDocument/2006/relationships/image" Target="../media/image138.png"/><Relationship Id="rId32" Type="http://schemas.openxmlformats.org/officeDocument/2006/relationships/image" Target="../media/image159.png"/><Relationship Id="rId37" Type="http://schemas.openxmlformats.org/officeDocument/2006/relationships/image" Target="../media/image164.png"/><Relationship Id="rId53" Type="http://schemas.openxmlformats.org/officeDocument/2006/relationships/image" Target="../media/image180.png"/><Relationship Id="rId58" Type="http://schemas.openxmlformats.org/officeDocument/2006/relationships/image" Target="../media/image185.png"/><Relationship Id="rId74" Type="http://schemas.openxmlformats.org/officeDocument/2006/relationships/image" Target="../media/image200.png"/><Relationship Id="rId79" Type="http://schemas.openxmlformats.org/officeDocument/2006/relationships/image" Target="../media/image205.png"/><Relationship Id="rId5" Type="http://schemas.openxmlformats.org/officeDocument/2006/relationships/image" Target="../media/image132.png"/><Relationship Id="rId90" Type="http://schemas.openxmlformats.org/officeDocument/2006/relationships/image" Target="../media/image214.png"/><Relationship Id="rId14" Type="http://schemas.openxmlformats.org/officeDocument/2006/relationships/image" Target="../media/image141.png"/><Relationship Id="rId22" Type="http://schemas.openxmlformats.org/officeDocument/2006/relationships/image" Target="../media/image149.png"/><Relationship Id="rId27" Type="http://schemas.openxmlformats.org/officeDocument/2006/relationships/image" Target="../media/image154.png"/><Relationship Id="rId30" Type="http://schemas.openxmlformats.org/officeDocument/2006/relationships/image" Target="../media/image157.png"/><Relationship Id="rId35" Type="http://schemas.openxmlformats.org/officeDocument/2006/relationships/image" Target="../media/image162.png"/><Relationship Id="rId43" Type="http://schemas.openxmlformats.org/officeDocument/2006/relationships/image" Target="../media/image170.png"/><Relationship Id="rId48" Type="http://schemas.openxmlformats.org/officeDocument/2006/relationships/image" Target="../media/image175.png"/><Relationship Id="rId56" Type="http://schemas.openxmlformats.org/officeDocument/2006/relationships/image" Target="../media/image183.png"/><Relationship Id="rId64" Type="http://schemas.openxmlformats.org/officeDocument/2006/relationships/image" Target="../media/image191.png"/><Relationship Id="rId69" Type="http://schemas.openxmlformats.org/officeDocument/2006/relationships/image" Target="../media/image196.png"/><Relationship Id="rId77" Type="http://schemas.openxmlformats.org/officeDocument/2006/relationships/image" Target="../media/image203.png"/><Relationship Id="rId8" Type="http://schemas.openxmlformats.org/officeDocument/2006/relationships/image" Target="../media/image135.png"/><Relationship Id="rId51" Type="http://schemas.openxmlformats.org/officeDocument/2006/relationships/image" Target="../media/image178.png"/><Relationship Id="rId72" Type="http://schemas.openxmlformats.org/officeDocument/2006/relationships/image" Target="../media/image199.png"/><Relationship Id="rId80" Type="http://schemas.openxmlformats.org/officeDocument/2006/relationships/image" Target="../media/image100.png"/><Relationship Id="rId85" Type="http://schemas.openxmlformats.org/officeDocument/2006/relationships/image" Target="../media/image209.png"/><Relationship Id="rId3" Type="http://schemas.openxmlformats.org/officeDocument/2006/relationships/image" Target="../media/image130.png"/><Relationship Id="rId12" Type="http://schemas.openxmlformats.org/officeDocument/2006/relationships/image" Target="../media/image139.png"/><Relationship Id="rId17" Type="http://schemas.openxmlformats.org/officeDocument/2006/relationships/image" Target="../media/image144.png"/><Relationship Id="rId25" Type="http://schemas.openxmlformats.org/officeDocument/2006/relationships/image" Target="../media/image152.png"/><Relationship Id="rId33" Type="http://schemas.openxmlformats.org/officeDocument/2006/relationships/image" Target="../media/image160.png"/><Relationship Id="rId38" Type="http://schemas.openxmlformats.org/officeDocument/2006/relationships/image" Target="../media/image165.png"/><Relationship Id="rId46" Type="http://schemas.openxmlformats.org/officeDocument/2006/relationships/image" Target="../media/image173.png"/><Relationship Id="rId59" Type="http://schemas.openxmlformats.org/officeDocument/2006/relationships/image" Target="../media/image186.png"/><Relationship Id="rId67" Type="http://schemas.openxmlformats.org/officeDocument/2006/relationships/image" Target="../media/image194.png"/><Relationship Id="rId20" Type="http://schemas.openxmlformats.org/officeDocument/2006/relationships/image" Target="../media/image147.png"/><Relationship Id="rId41" Type="http://schemas.openxmlformats.org/officeDocument/2006/relationships/image" Target="../media/image168.png"/><Relationship Id="rId54" Type="http://schemas.openxmlformats.org/officeDocument/2006/relationships/image" Target="../media/image181.png"/><Relationship Id="rId62" Type="http://schemas.openxmlformats.org/officeDocument/2006/relationships/image" Target="../media/image189.png"/><Relationship Id="rId70" Type="http://schemas.openxmlformats.org/officeDocument/2006/relationships/image" Target="../media/image197.png"/><Relationship Id="rId75" Type="http://schemas.openxmlformats.org/officeDocument/2006/relationships/image" Target="../media/image201.png"/><Relationship Id="rId83" Type="http://schemas.openxmlformats.org/officeDocument/2006/relationships/image" Target="../media/image104.png"/><Relationship Id="rId88" Type="http://schemas.openxmlformats.org/officeDocument/2006/relationships/image" Target="../media/image212.png"/><Relationship Id="rId1" Type="http://schemas.openxmlformats.org/officeDocument/2006/relationships/slideLayout" Target="../slideLayouts/slideLayout10.xml"/><Relationship Id="rId6" Type="http://schemas.openxmlformats.org/officeDocument/2006/relationships/image" Target="../media/image133.png"/><Relationship Id="rId15" Type="http://schemas.openxmlformats.org/officeDocument/2006/relationships/image" Target="../media/image142.png"/><Relationship Id="rId23" Type="http://schemas.openxmlformats.org/officeDocument/2006/relationships/image" Target="../media/image150.png"/><Relationship Id="rId28" Type="http://schemas.openxmlformats.org/officeDocument/2006/relationships/image" Target="../media/image155.png"/><Relationship Id="rId36" Type="http://schemas.openxmlformats.org/officeDocument/2006/relationships/image" Target="../media/image163.png"/><Relationship Id="rId49" Type="http://schemas.openxmlformats.org/officeDocument/2006/relationships/image" Target="../media/image176.png"/><Relationship Id="rId57" Type="http://schemas.openxmlformats.org/officeDocument/2006/relationships/image" Target="../media/image184.png"/><Relationship Id="rId10" Type="http://schemas.openxmlformats.org/officeDocument/2006/relationships/image" Target="../media/image137.png"/><Relationship Id="rId31" Type="http://schemas.openxmlformats.org/officeDocument/2006/relationships/image" Target="../media/image158.png"/><Relationship Id="rId44" Type="http://schemas.openxmlformats.org/officeDocument/2006/relationships/image" Target="../media/image171.png"/><Relationship Id="rId52" Type="http://schemas.openxmlformats.org/officeDocument/2006/relationships/image" Target="../media/image179.png"/><Relationship Id="rId60" Type="http://schemas.openxmlformats.org/officeDocument/2006/relationships/image" Target="../media/image187.png"/><Relationship Id="rId65" Type="http://schemas.openxmlformats.org/officeDocument/2006/relationships/image" Target="../media/image192.png"/><Relationship Id="rId73" Type="http://schemas.openxmlformats.org/officeDocument/2006/relationships/image" Target="../media/image74.png"/><Relationship Id="rId78" Type="http://schemas.openxmlformats.org/officeDocument/2006/relationships/image" Target="../media/image204.png"/><Relationship Id="rId81" Type="http://schemas.openxmlformats.org/officeDocument/2006/relationships/image" Target="../media/image206.png"/><Relationship Id="rId86" Type="http://schemas.openxmlformats.org/officeDocument/2006/relationships/image" Target="../media/image210.png"/><Relationship Id="rId4" Type="http://schemas.openxmlformats.org/officeDocument/2006/relationships/image" Target="../media/image131.png"/><Relationship Id="rId9" Type="http://schemas.openxmlformats.org/officeDocument/2006/relationships/image" Target="../media/image136.png"/><Relationship Id="rId13" Type="http://schemas.openxmlformats.org/officeDocument/2006/relationships/image" Target="../media/image140.png"/><Relationship Id="rId18" Type="http://schemas.openxmlformats.org/officeDocument/2006/relationships/image" Target="../media/image145.png"/><Relationship Id="rId39" Type="http://schemas.openxmlformats.org/officeDocument/2006/relationships/image" Target="../media/image166.png"/><Relationship Id="rId34" Type="http://schemas.openxmlformats.org/officeDocument/2006/relationships/image" Target="../media/image161.png"/><Relationship Id="rId50" Type="http://schemas.openxmlformats.org/officeDocument/2006/relationships/image" Target="../media/image177.png"/><Relationship Id="rId55" Type="http://schemas.openxmlformats.org/officeDocument/2006/relationships/image" Target="../media/image182.png"/><Relationship Id="rId76" Type="http://schemas.openxmlformats.org/officeDocument/2006/relationships/image" Target="../media/image202.png"/><Relationship Id="rId7" Type="http://schemas.openxmlformats.org/officeDocument/2006/relationships/image" Target="../media/image134.png"/><Relationship Id="rId71" Type="http://schemas.openxmlformats.org/officeDocument/2006/relationships/image" Target="../media/image198.png"/><Relationship Id="rId2" Type="http://schemas.openxmlformats.org/officeDocument/2006/relationships/image" Target="../media/image129.png"/><Relationship Id="rId29" Type="http://schemas.openxmlformats.org/officeDocument/2006/relationships/image" Target="../media/image156.png"/><Relationship Id="rId24" Type="http://schemas.openxmlformats.org/officeDocument/2006/relationships/image" Target="../media/image151.png"/><Relationship Id="rId40" Type="http://schemas.openxmlformats.org/officeDocument/2006/relationships/image" Target="../media/image167.png"/><Relationship Id="rId45" Type="http://schemas.openxmlformats.org/officeDocument/2006/relationships/image" Target="../media/image172.png"/><Relationship Id="rId66" Type="http://schemas.openxmlformats.org/officeDocument/2006/relationships/image" Target="../media/image193.png"/><Relationship Id="rId87" Type="http://schemas.openxmlformats.org/officeDocument/2006/relationships/image" Target="../media/image211.png"/><Relationship Id="rId61" Type="http://schemas.openxmlformats.org/officeDocument/2006/relationships/image" Target="../media/image188.png"/><Relationship Id="rId82" Type="http://schemas.openxmlformats.org/officeDocument/2006/relationships/image" Target="../media/image207.png"/><Relationship Id="rId19" Type="http://schemas.openxmlformats.org/officeDocument/2006/relationships/image" Target="../media/image146.png"/></Relationships>
</file>

<file path=ppt/slides/_rels/slide84.xml.rels><?xml version="1.0" encoding="UTF-8" standalone="yes"?>
<Relationships xmlns="http://schemas.openxmlformats.org/package/2006/relationships"><Relationship Id="rId26" Type="http://schemas.openxmlformats.org/officeDocument/2006/relationships/image" Target="../media/image239.png"/><Relationship Id="rId21" Type="http://schemas.openxmlformats.org/officeDocument/2006/relationships/image" Target="../media/image234.png"/><Relationship Id="rId42" Type="http://schemas.openxmlformats.org/officeDocument/2006/relationships/image" Target="../media/image255.png"/><Relationship Id="rId47" Type="http://schemas.openxmlformats.org/officeDocument/2006/relationships/image" Target="../media/image260.png"/><Relationship Id="rId63" Type="http://schemas.openxmlformats.org/officeDocument/2006/relationships/image" Target="../media/image276.png"/><Relationship Id="rId68" Type="http://schemas.openxmlformats.org/officeDocument/2006/relationships/image" Target="../media/image281.png"/><Relationship Id="rId7" Type="http://schemas.openxmlformats.org/officeDocument/2006/relationships/image" Target="../media/image220.png"/><Relationship Id="rId2" Type="http://schemas.openxmlformats.org/officeDocument/2006/relationships/image" Target="../media/image215.png"/><Relationship Id="rId16" Type="http://schemas.openxmlformats.org/officeDocument/2006/relationships/image" Target="../media/image229.png"/><Relationship Id="rId29" Type="http://schemas.openxmlformats.org/officeDocument/2006/relationships/image" Target="../media/image242.png"/><Relationship Id="rId11" Type="http://schemas.openxmlformats.org/officeDocument/2006/relationships/image" Target="../media/image224.png"/><Relationship Id="rId24" Type="http://schemas.openxmlformats.org/officeDocument/2006/relationships/image" Target="../media/image237.png"/><Relationship Id="rId32" Type="http://schemas.openxmlformats.org/officeDocument/2006/relationships/image" Target="../media/image245.png"/><Relationship Id="rId37" Type="http://schemas.openxmlformats.org/officeDocument/2006/relationships/image" Target="../media/image250.png"/><Relationship Id="rId40" Type="http://schemas.openxmlformats.org/officeDocument/2006/relationships/image" Target="../media/image253.png"/><Relationship Id="rId45" Type="http://schemas.openxmlformats.org/officeDocument/2006/relationships/image" Target="../media/image258.png"/><Relationship Id="rId53" Type="http://schemas.openxmlformats.org/officeDocument/2006/relationships/image" Target="../media/image266.png"/><Relationship Id="rId58" Type="http://schemas.openxmlformats.org/officeDocument/2006/relationships/image" Target="../media/image271.png"/><Relationship Id="rId66" Type="http://schemas.openxmlformats.org/officeDocument/2006/relationships/image" Target="../media/image279.png"/><Relationship Id="rId5" Type="http://schemas.openxmlformats.org/officeDocument/2006/relationships/image" Target="../media/image218.png"/><Relationship Id="rId61" Type="http://schemas.openxmlformats.org/officeDocument/2006/relationships/image" Target="../media/image274.png"/><Relationship Id="rId19" Type="http://schemas.openxmlformats.org/officeDocument/2006/relationships/image" Target="../media/image232.png"/><Relationship Id="rId14" Type="http://schemas.openxmlformats.org/officeDocument/2006/relationships/image" Target="../media/image227.png"/><Relationship Id="rId22" Type="http://schemas.openxmlformats.org/officeDocument/2006/relationships/image" Target="../media/image235.png"/><Relationship Id="rId27" Type="http://schemas.openxmlformats.org/officeDocument/2006/relationships/image" Target="../media/image240.png"/><Relationship Id="rId30" Type="http://schemas.openxmlformats.org/officeDocument/2006/relationships/image" Target="../media/image243.png"/><Relationship Id="rId35" Type="http://schemas.openxmlformats.org/officeDocument/2006/relationships/image" Target="../media/image248.png"/><Relationship Id="rId43" Type="http://schemas.openxmlformats.org/officeDocument/2006/relationships/image" Target="../media/image256.png"/><Relationship Id="rId48" Type="http://schemas.openxmlformats.org/officeDocument/2006/relationships/image" Target="../media/image261.png"/><Relationship Id="rId56" Type="http://schemas.openxmlformats.org/officeDocument/2006/relationships/image" Target="../media/image269.png"/><Relationship Id="rId64" Type="http://schemas.openxmlformats.org/officeDocument/2006/relationships/image" Target="../media/image277.png"/><Relationship Id="rId69" Type="http://schemas.openxmlformats.org/officeDocument/2006/relationships/image" Target="../media/image282.png"/><Relationship Id="rId8" Type="http://schemas.openxmlformats.org/officeDocument/2006/relationships/image" Target="../media/image221.png"/><Relationship Id="rId51" Type="http://schemas.openxmlformats.org/officeDocument/2006/relationships/image" Target="../media/image264.png"/><Relationship Id="rId3" Type="http://schemas.openxmlformats.org/officeDocument/2006/relationships/image" Target="../media/image216.png"/><Relationship Id="rId12" Type="http://schemas.openxmlformats.org/officeDocument/2006/relationships/image" Target="../media/image225.png"/><Relationship Id="rId17" Type="http://schemas.openxmlformats.org/officeDocument/2006/relationships/image" Target="../media/image230.png"/><Relationship Id="rId25" Type="http://schemas.openxmlformats.org/officeDocument/2006/relationships/image" Target="../media/image238.png"/><Relationship Id="rId33" Type="http://schemas.openxmlformats.org/officeDocument/2006/relationships/image" Target="../media/image246.png"/><Relationship Id="rId38" Type="http://schemas.openxmlformats.org/officeDocument/2006/relationships/image" Target="../media/image251.png"/><Relationship Id="rId46" Type="http://schemas.openxmlformats.org/officeDocument/2006/relationships/image" Target="../media/image259.png"/><Relationship Id="rId59" Type="http://schemas.openxmlformats.org/officeDocument/2006/relationships/image" Target="../media/image272.png"/><Relationship Id="rId67" Type="http://schemas.openxmlformats.org/officeDocument/2006/relationships/image" Target="../media/image280.png"/><Relationship Id="rId20" Type="http://schemas.openxmlformats.org/officeDocument/2006/relationships/image" Target="../media/image233.png"/><Relationship Id="rId41" Type="http://schemas.openxmlformats.org/officeDocument/2006/relationships/image" Target="../media/image254.png"/><Relationship Id="rId54" Type="http://schemas.openxmlformats.org/officeDocument/2006/relationships/image" Target="../media/image267.png"/><Relationship Id="rId62" Type="http://schemas.openxmlformats.org/officeDocument/2006/relationships/image" Target="../media/image275.png"/><Relationship Id="rId70" Type="http://schemas.openxmlformats.org/officeDocument/2006/relationships/image" Target="../media/image283.png"/><Relationship Id="rId1" Type="http://schemas.openxmlformats.org/officeDocument/2006/relationships/slideLayout" Target="../slideLayouts/slideLayout10.xml"/><Relationship Id="rId6" Type="http://schemas.openxmlformats.org/officeDocument/2006/relationships/image" Target="../media/image219.png"/><Relationship Id="rId15" Type="http://schemas.openxmlformats.org/officeDocument/2006/relationships/image" Target="../media/image228.png"/><Relationship Id="rId23" Type="http://schemas.openxmlformats.org/officeDocument/2006/relationships/image" Target="../media/image236.png"/><Relationship Id="rId28" Type="http://schemas.openxmlformats.org/officeDocument/2006/relationships/image" Target="../media/image241.png"/><Relationship Id="rId36" Type="http://schemas.openxmlformats.org/officeDocument/2006/relationships/image" Target="../media/image249.png"/><Relationship Id="rId49" Type="http://schemas.openxmlformats.org/officeDocument/2006/relationships/image" Target="../media/image262.png"/><Relationship Id="rId57" Type="http://schemas.openxmlformats.org/officeDocument/2006/relationships/image" Target="../media/image270.png"/><Relationship Id="rId10" Type="http://schemas.openxmlformats.org/officeDocument/2006/relationships/image" Target="../media/image223.png"/><Relationship Id="rId31" Type="http://schemas.openxmlformats.org/officeDocument/2006/relationships/image" Target="../media/image244.png"/><Relationship Id="rId44" Type="http://schemas.openxmlformats.org/officeDocument/2006/relationships/image" Target="../media/image257.png"/><Relationship Id="rId52" Type="http://schemas.openxmlformats.org/officeDocument/2006/relationships/image" Target="../media/image265.png"/><Relationship Id="rId60" Type="http://schemas.openxmlformats.org/officeDocument/2006/relationships/image" Target="../media/image273.png"/><Relationship Id="rId65" Type="http://schemas.openxmlformats.org/officeDocument/2006/relationships/image" Target="../media/image278.png"/><Relationship Id="rId4" Type="http://schemas.openxmlformats.org/officeDocument/2006/relationships/image" Target="../media/image217.png"/><Relationship Id="rId9" Type="http://schemas.openxmlformats.org/officeDocument/2006/relationships/image" Target="../media/image222.png"/><Relationship Id="rId13" Type="http://schemas.openxmlformats.org/officeDocument/2006/relationships/image" Target="../media/image226.png"/><Relationship Id="rId18" Type="http://schemas.openxmlformats.org/officeDocument/2006/relationships/image" Target="../media/image231.png"/><Relationship Id="rId39" Type="http://schemas.openxmlformats.org/officeDocument/2006/relationships/image" Target="../media/image252.png"/><Relationship Id="rId34" Type="http://schemas.openxmlformats.org/officeDocument/2006/relationships/image" Target="../media/image247.png"/><Relationship Id="rId50" Type="http://schemas.openxmlformats.org/officeDocument/2006/relationships/image" Target="../media/image263.png"/><Relationship Id="rId55" Type="http://schemas.openxmlformats.org/officeDocument/2006/relationships/image" Target="../media/image268.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image" Target="../media/image284.tiff"/><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26" Type="http://schemas.openxmlformats.org/officeDocument/2006/relationships/image" Target="../media/image310.png"/><Relationship Id="rId21" Type="http://schemas.openxmlformats.org/officeDocument/2006/relationships/image" Target="../media/image305.png"/><Relationship Id="rId42" Type="http://schemas.openxmlformats.org/officeDocument/2006/relationships/image" Target="../media/image326.png"/><Relationship Id="rId47" Type="http://schemas.openxmlformats.org/officeDocument/2006/relationships/image" Target="../media/image331.png"/><Relationship Id="rId63" Type="http://schemas.openxmlformats.org/officeDocument/2006/relationships/image" Target="../media/image347.png"/><Relationship Id="rId68" Type="http://schemas.openxmlformats.org/officeDocument/2006/relationships/image" Target="../media/image352.png"/><Relationship Id="rId84" Type="http://schemas.openxmlformats.org/officeDocument/2006/relationships/image" Target="../media/image368.png"/><Relationship Id="rId89" Type="http://schemas.openxmlformats.org/officeDocument/2006/relationships/image" Target="../media/image373.png"/><Relationship Id="rId16" Type="http://schemas.openxmlformats.org/officeDocument/2006/relationships/image" Target="../media/image300.png"/><Relationship Id="rId11" Type="http://schemas.openxmlformats.org/officeDocument/2006/relationships/image" Target="../media/image295.png"/><Relationship Id="rId32" Type="http://schemas.openxmlformats.org/officeDocument/2006/relationships/image" Target="../media/image316.png"/><Relationship Id="rId37" Type="http://schemas.openxmlformats.org/officeDocument/2006/relationships/image" Target="../media/image321.png"/><Relationship Id="rId53" Type="http://schemas.openxmlformats.org/officeDocument/2006/relationships/image" Target="../media/image337.png"/><Relationship Id="rId58" Type="http://schemas.openxmlformats.org/officeDocument/2006/relationships/image" Target="../media/image342.png"/><Relationship Id="rId74" Type="http://schemas.openxmlformats.org/officeDocument/2006/relationships/image" Target="../media/image358.png"/><Relationship Id="rId79" Type="http://schemas.openxmlformats.org/officeDocument/2006/relationships/image" Target="../media/image363.png"/><Relationship Id="rId102" Type="http://schemas.openxmlformats.org/officeDocument/2006/relationships/image" Target="../media/image386.png"/><Relationship Id="rId5" Type="http://schemas.openxmlformats.org/officeDocument/2006/relationships/image" Target="../media/image289.png"/><Relationship Id="rId90" Type="http://schemas.openxmlformats.org/officeDocument/2006/relationships/image" Target="../media/image374.png"/><Relationship Id="rId95" Type="http://schemas.openxmlformats.org/officeDocument/2006/relationships/image" Target="../media/image379.png"/><Relationship Id="rId22" Type="http://schemas.openxmlformats.org/officeDocument/2006/relationships/image" Target="../media/image306.png"/><Relationship Id="rId27" Type="http://schemas.openxmlformats.org/officeDocument/2006/relationships/image" Target="../media/image311.png"/><Relationship Id="rId43" Type="http://schemas.openxmlformats.org/officeDocument/2006/relationships/image" Target="../media/image327.png"/><Relationship Id="rId48" Type="http://schemas.openxmlformats.org/officeDocument/2006/relationships/image" Target="../media/image332.png"/><Relationship Id="rId64" Type="http://schemas.openxmlformats.org/officeDocument/2006/relationships/image" Target="../media/image348.png"/><Relationship Id="rId69" Type="http://schemas.openxmlformats.org/officeDocument/2006/relationships/image" Target="../media/image353.png"/><Relationship Id="rId80" Type="http://schemas.openxmlformats.org/officeDocument/2006/relationships/image" Target="../media/image364.png"/><Relationship Id="rId85" Type="http://schemas.openxmlformats.org/officeDocument/2006/relationships/image" Target="../media/image369.png"/><Relationship Id="rId12" Type="http://schemas.openxmlformats.org/officeDocument/2006/relationships/image" Target="../media/image296.png"/><Relationship Id="rId17" Type="http://schemas.openxmlformats.org/officeDocument/2006/relationships/image" Target="../media/image301.png"/><Relationship Id="rId25" Type="http://schemas.openxmlformats.org/officeDocument/2006/relationships/image" Target="../media/image309.png"/><Relationship Id="rId33" Type="http://schemas.openxmlformats.org/officeDocument/2006/relationships/image" Target="../media/image317.png"/><Relationship Id="rId38" Type="http://schemas.openxmlformats.org/officeDocument/2006/relationships/image" Target="../media/image322.png"/><Relationship Id="rId46" Type="http://schemas.openxmlformats.org/officeDocument/2006/relationships/image" Target="../media/image330.png"/><Relationship Id="rId59" Type="http://schemas.openxmlformats.org/officeDocument/2006/relationships/image" Target="../media/image343.png"/><Relationship Id="rId67" Type="http://schemas.openxmlformats.org/officeDocument/2006/relationships/image" Target="../media/image351.png"/><Relationship Id="rId103" Type="http://schemas.openxmlformats.org/officeDocument/2006/relationships/image" Target="../media/image387.png"/><Relationship Id="rId20" Type="http://schemas.openxmlformats.org/officeDocument/2006/relationships/image" Target="../media/image304.png"/><Relationship Id="rId41" Type="http://schemas.openxmlformats.org/officeDocument/2006/relationships/image" Target="../media/image325.png"/><Relationship Id="rId54" Type="http://schemas.openxmlformats.org/officeDocument/2006/relationships/image" Target="../media/image338.png"/><Relationship Id="rId62" Type="http://schemas.openxmlformats.org/officeDocument/2006/relationships/image" Target="../media/image346.png"/><Relationship Id="rId70" Type="http://schemas.openxmlformats.org/officeDocument/2006/relationships/image" Target="../media/image354.png"/><Relationship Id="rId75" Type="http://schemas.openxmlformats.org/officeDocument/2006/relationships/image" Target="../media/image359.png"/><Relationship Id="rId83" Type="http://schemas.openxmlformats.org/officeDocument/2006/relationships/image" Target="../media/image367.png"/><Relationship Id="rId88" Type="http://schemas.openxmlformats.org/officeDocument/2006/relationships/image" Target="../media/image372.png"/><Relationship Id="rId91" Type="http://schemas.openxmlformats.org/officeDocument/2006/relationships/image" Target="../media/image375.png"/><Relationship Id="rId96" Type="http://schemas.openxmlformats.org/officeDocument/2006/relationships/image" Target="../media/image380.png"/><Relationship Id="rId1" Type="http://schemas.openxmlformats.org/officeDocument/2006/relationships/slideLayout" Target="../slideLayouts/slideLayout10.xml"/><Relationship Id="rId6" Type="http://schemas.openxmlformats.org/officeDocument/2006/relationships/image" Target="../media/image290.png"/><Relationship Id="rId15" Type="http://schemas.openxmlformats.org/officeDocument/2006/relationships/image" Target="../media/image299.png"/><Relationship Id="rId23" Type="http://schemas.openxmlformats.org/officeDocument/2006/relationships/image" Target="../media/image307.png"/><Relationship Id="rId28" Type="http://schemas.openxmlformats.org/officeDocument/2006/relationships/image" Target="../media/image312.png"/><Relationship Id="rId36" Type="http://schemas.openxmlformats.org/officeDocument/2006/relationships/image" Target="../media/image320.png"/><Relationship Id="rId49" Type="http://schemas.openxmlformats.org/officeDocument/2006/relationships/image" Target="../media/image333.png"/><Relationship Id="rId57" Type="http://schemas.openxmlformats.org/officeDocument/2006/relationships/image" Target="../media/image341.png"/><Relationship Id="rId10" Type="http://schemas.openxmlformats.org/officeDocument/2006/relationships/image" Target="../media/image294.png"/><Relationship Id="rId31" Type="http://schemas.openxmlformats.org/officeDocument/2006/relationships/image" Target="../media/image315.png"/><Relationship Id="rId44" Type="http://schemas.openxmlformats.org/officeDocument/2006/relationships/image" Target="../media/image328.png"/><Relationship Id="rId52" Type="http://schemas.openxmlformats.org/officeDocument/2006/relationships/image" Target="../media/image336.png"/><Relationship Id="rId60" Type="http://schemas.openxmlformats.org/officeDocument/2006/relationships/image" Target="../media/image344.png"/><Relationship Id="rId65" Type="http://schemas.openxmlformats.org/officeDocument/2006/relationships/image" Target="../media/image349.png"/><Relationship Id="rId73" Type="http://schemas.openxmlformats.org/officeDocument/2006/relationships/image" Target="../media/image357.png"/><Relationship Id="rId78" Type="http://schemas.openxmlformats.org/officeDocument/2006/relationships/image" Target="../media/image362.png"/><Relationship Id="rId81" Type="http://schemas.openxmlformats.org/officeDocument/2006/relationships/image" Target="../media/image365.png"/><Relationship Id="rId86" Type="http://schemas.openxmlformats.org/officeDocument/2006/relationships/image" Target="../media/image370.png"/><Relationship Id="rId94" Type="http://schemas.openxmlformats.org/officeDocument/2006/relationships/image" Target="../media/image378.png"/><Relationship Id="rId99" Type="http://schemas.openxmlformats.org/officeDocument/2006/relationships/image" Target="../media/image383.png"/><Relationship Id="rId101" Type="http://schemas.openxmlformats.org/officeDocument/2006/relationships/image" Target="../media/image385.png"/><Relationship Id="rId4" Type="http://schemas.openxmlformats.org/officeDocument/2006/relationships/image" Target="../media/image288.png"/><Relationship Id="rId9" Type="http://schemas.openxmlformats.org/officeDocument/2006/relationships/image" Target="../media/image293.png"/><Relationship Id="rId13" Type="http://schemas.openxmlformats.org/officeDocument/2006/relationships/image" Target="../media/image297.png"/><Relationship Id="rId18" Type="http://schemas.openxmlformats.org/officeDocument/2006/relationships/image" Target="../media/image302.png"/><Relationship Id="rId39" Type="http://schemas.openxmlformats.org/officeDocument/2006/relationships/image" Target="../media/image323.png"/><Relationship Id="rId34" Type="http://schemas.openxmlformats.org/officeDocument/2006/relationships/image" Target="../media/image318.png"/><Relationship Id="rId50" Type="http://schemas.openxmlformats.org/officeDocument/2006/relationships/image" Target="../media/image334.png"/><Relationship Id="rId55" Type="http://schemas.openxmlformats.org/officeDocument/2006/relationships/image" Target="../media/image339.png"/><Relationship Id="rId76" Type="http://schemas.openxmlformats.org/officeDocument/2006/relationships/image" Target="../media/image360.png"/><Relationship Id="rId97" Type="http://schemas.openxmlformats.org/officeDocument/2006/relationships/image" Target="../media/image381.png"/><Relationship Id="rId104" Type="http://schemas.openxmlformats.org/officeDocument/2006/relationships/image" Target="../media/image388.png"/><Relationship Id="rId7" Type="http://schemas.openxmlformats.org/officeDocument/2006/relationships/image" Target="../media/image291.png"/><Relationship Id="rId71" Type="http://schemas.openxmlformats.org/officeDocument/2006/relationships/image" Target="../media/image355.png"/><Relationship Id="rId92" Type="http://schemas.openxmlformats.org/officeDocument/2006/relationships/image" Target="../media/image376.png"/><Relationship Id="rId2" Type="http://schemas.openxmlformats.org/officeDocument/2006/relationships/image" Target="../media/image286.png"/><Relationship Id="rId29" Type="http://schemas.openxmlformats.org/officeDocument/2006/relationships/image" Target="../media/image313.png"/><Relationship Id="rId24" Type="http://schemas.openxmlformats.org/officeDocument/2006/relationships/image" Target="../media/image308.png"/><Relationship Id="rId40" Type="http://schemas.openxmlformats.org/officeDocument/2006/relationships/image" Target="../media/image324.png"/><Relationship Id="rId45" Type="http://schemas.openxmlformats.org/officeDocument/2006/relationships/image" Target="../media/image329.png"/><Relationship Id="rId66" Type="http://schemas.openxmlformats.org/officeDocument/2006/relationships/image" Target="../media/image350.png"/><Relationship Id="rId87" Type="http://schemas.openxmlformats.org/officeDocument/2006/relationships/image" Target="../media/image371.png"/><Relationship Id="rId61" Type="http://schemas.openxmlformats.org/officeDocument/2006/relationships/image" Target="../media/image345.png"/><Relationship Id="rId82" Type="http://schemas.openxmlformats.org/officeDocument/2006/relationships/image" Target="../media/image366.png"/><Relationship Id="rId19" Type="http://schemas.openxmlformats.org/officeDocument/2006/relationships/image" Target="../media/image303.png"/><Relationship Id="rId14" Type="http://schemas.openxmlformats.org/officeDocument/2006/relationships/image" Target="../media/image298.png"/><Relationship Id="rId30" Type="http://schemas.openxmlformats.org/officeDocument/2006/relationships/image" Target="../media/image314.png"/><Relationship Id="rId35" Type="http://schemas.openxmlformats.org/officeDocument/2006/relationships/image" Target="../media/image319.png"/><Relationship Id="rId56" Type="http://schemas.openxmlformats.org/officeDocument/2006/relationships/image" Target="../media/image340.png"/><Relationship Id="rId77" Type="http://schemas.openxmlformats.org/officeDocument/2006/relationships/image" Target="../media/image361.png"/><Relationship Id="rId100" Type="http://schemas.openxmlformats.org/officeDocument/2006/relationships/image" Target="../media/image384.png"/><Relationship Id="rId8" Type="http://schemas.openxmlformats.org/officeDocument/2006/relationships/image" Target="../media/image292.png"/><Relationship Id="rId51" Type="http://schemas.openxmlformats.org/officeDocument/2006/relationships/image" Target="../media/image335.png"/><Relationship Id="rId72" Type="http://schemas.openxmlformats.org/officeDocument/2006/relationships/image" Target="../media/image356.png"/><Relationship Id="rId93" Type="http://schemas.openxmlformats.org/officeDocument/2006/relationships/image" Target="../media/image377.png"/><Relationship Id="rId98" Type="http://schemas.openxmlformats.org/officeDocument/2006/relationships/image" Target="../media/image382.png"/><Relationship Id="rId3" Type="http://schemas.openxmlformats.org/officeDocument/2006/relationships/image" Target="../media/image287.png"/></Relationships>
</file>

<file path=ppt/slides/_rels/slide89.xml.rels><?xml version="1.0" encoding="UTF-8" standalone="yes"?>
<Relationships xmlns="http://schemas.openxmlformats.org/package/2006/relationships"><Relationship Id="rId26" Type="http://schemas.openxmlformats.org/officeDocument/2006/relationships/image" Target="../media/image61.png"/><Relationship Id="rId21" Type="http://schemas.openxmlformats.org/officeDocument/2006/relationships/image" Target="../media/image394.png"/><Relationship Id="rId42" Type="http://schemas.openxmlformats.org/officeDocument/2006/relationships/image" Target="../media/image406.png"/><Relationship Id="rId47" Type="http://schemas.openxmlformats.org/officeDocument/2006/relationships/image" Target="../media/image411.png"/><Relationship Id="rId63" Type="http://schemas.openxmlformats.org/officeDocument/2006/relationships/image" Target="../media/image427.jpeg"/><Relationship Id="rId68" Type="http://schemas.openxmlformats.org/officeDocument/2006/relationships/image" Target="../media/image432.png"/><Relationship Id="rId84" Type="http://schemas.openxmlformats.org/officeDocument/2006/relationships/image" Target="../media/image443.png"/><Relationship Id="rId89" Type="http://schemas.openxmlformats.org/officeDocument/2006/relationships/image" Target="../media/image448.jpeg"/><Relationship Id="rId16" Type="http://schemas.openxmlformats.org/officeDocument/2006/relationships/image" Target="../media/image389.png"/><Relationship Id="rId11" Type="http://schemas.openxmlformats.org/officeDocument/2006/relationships/tags" Target="../tags/tag225.xml"/><Relationship Id="rId32" Type="http://schemas.openxmlformats.org/officeDocument/2006/relationships/image" Target="../media/image397.tiff"/><Relationship Id="rId37" Type="http://schemas.openxmlformats.org/officeDocument/2006/relationships/image" Target="../media/image402.png"/><Relationship Id="rId53" Type="http://schemas.openxmlformats.org/officeDocument/2006/relationships/image" Target="../media/image417.png"/><Relationship Id="rId58" Type="http://schemas.openxmlformats.org/officeDocument/2006/relationships/image" Target="../media/image422.png"/><Relationship Id="rId74" Type="http://schemas.microsoft.com/office/2007/relationships/hdphoto" Target="../media/hdphoto11.wdp"/><Relationship Id="rId79" Type="http://schemas.openxmlformats.org/officeDocument/2006/relationships/image" Target="../media/image439.png"/><Relationship Id="rId5" Type="http://schemas.openxmlformats.org/officeDocument/2006/relationships/tags" Target="../tags/tag219.xml"/><Relationship Id="rId90" Type="http://schemas.openxmlformats.org/officeDocument/2006/relationships/image" Target="../media/image449.jpeg"/><Relationship Id="rId14" Type="http://schemas.openxmlformats.org/officeDocument/2006/relationships/tags" Target="../tags/tag228.xml"/><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395.png"/><Relationship Id="rId35" Type="http://schemas.openxmlformats.org/officeDocument/2006/relationships/image" Target="../media/image400.png"/><Relationship Id="rId43" Type="http://schemas.openxmlformats.org/officeDocument/2006/relationships/image" Target="../media/image407.png"/><Relationship Id="rId48" Type="http://schemas.openxmlformats.org/officeDocument/2006/relationships/image" Target="../media/image412.png"/><Relationship Id="rId56" Type="http://schemas.openxmlformats.org/officeDocument/2006/relationships/image" Target="../media/image420.png"/><Relationship Id="rId64" Type="http://schemas.openxmlformats.org/officeDocument/2006/relationships/image" Target="../media/image428.jpeg"/><Relationship Id="rId69" Type="http://schemas.microsoft.com/office/2007/relationships/hdphoto" Target="../media/hdphoto9.wdp"/><Relationship Id="rId77" Type="http://schemas.openxmlformats.org/officeDocument/2006/relationships/image" Target="../media/image437.png"/><Relationship Id="rId8" Type="http://schemas.openxmlformats.org/officeDocument/2006/relationships/tags" Target="../tags/tag222.xml"/><Relationship Id="rId51" Type="http://schemas.openxmlformats.org/officeDocument/2006/relationships/image" Target="../media/image415.jpeg"/><Relationship Id="rId72" Type="http://schemas.microsoft.com/office/2007/relationships/hdphoto" Target="../media/hdphoto10.wdp"/><Relationship Id="rId80" Type="http://schemas.openxmlformats.org/officeDocument/2006/relationships/image" Target="../media/image440.tiff"/><Relationship Id="rId85" Type="http://schemas.openxmlformats.org/officeDocument/2006/relationships/image" Target="../media/image444.png"/><Relationship Id="rId3" Type="http://schemas.openxmlformats.org/officeDocument/2006/relationships/tags" Target="../tags/tag217.xml"/><Relationship Id="rId12" Type="http://schemas.openxmlformats.org/officeDocument/2006/relationships/tags" Target="../tags/tag226.xml"/><Relationship Id="rId17" Type="http://schemas.openxmlformats.org/officeDocument/2006/relationships/image" Target="../media/image390.png"/><Relationship Id="rId25" Type="http://schemas.openxmlformats.org/officeDocument/2006/relationships/image" Target="../media/image60.png"/><Relationship Id="rId33" Type="http://schemas.openxmlformats.org/officeDocument/2006/relationships/image" Target="../media/image398.tiff"/><Relationship Id="rId38" Type="http://schemas.openxmlformats.org/officeDocument/2006/relationships/image" Target="../media/image403.png"/><Relationship Id="rId46" Type="http://schemas.openxmlformats.org/officeDocument/2006/relationships/image" Target="../media/image410.png"/><Relationship Id="rId59" Type="http://schemas.openxmlformats.org/officeDocument/2006/relationships/image" Target="../media/image423.png"/><Relationship Id="rId67" Type="http://schemas.openxmlformats.org/officeDocument/2006/relationships/image" Target="../media/image431.png"/><Relationship Id="rId20" Type="http://schemas.openxmlformats.org/officeDocument/2006/relationships/image" Target="../media/image393.png"/><Relationship Id="rId41" Type="http://schemas.openxmlformats.org/officeDocument/2006/relationships/image" Target="../media/image405.png"/><Relationship Id="rId54" Type="http://schemas.openxmlformats.org/officeDocument/2006/relationships/image" Target="../media/image418.png"/><Relationship Id="rId62" Type="http://schemas.openxmlformats.org/officeDocument/2006/relationships/image" Target="../media/image426.jpeg"/><Relationship Id="rId70" Type="http://schemas.openxmlformats.org/officeDocument/2006/relationships/image" Target="../media/image433.jpeg"/><Relationship Id="rId75" Type="http://schemas.openxmlformats.org/officeDocument/2006/relationships/image" Target="../media/image436.png"/><Relationship Id="rId83" Type="http://schemas.openxmlformats.org/officeDocument/2006/relationships/image" Target="../media/image442.png"/><Relationship Id="rId88" Type="http://schemas.openxmlformats.org/officeDocument/2006/relationships/image" Target="../media/image447.jpeg"/><Relationship Id="rId1" Type="http://schemas.openxmlformats.org/officeDocument/2006/relationships/tags" Target="../tags/tag215.xml"/><Relationship Id="rId6" Type="http://schemas.openxmlformats.org/officeDocument/2006/relationships/tags" Target="../tags/tag220.xml"/><Relationship Id="rId15" Type="http://schemas.openxmlformats.org/officeDocument/2006/relationships/slideLayout" Target="../slideLayouts/slideLayout10.xml"/><Relationship Id="rId23" Type="http://schemas.openxmlformats.org/officeDocument/2006/relationships/image" Target="../media/image58.png"/><Relationship Id="rId28" Type="http://schemas.openxmlformats.org/officeDocument/2006/relationships/image" Target="../media/image63.png"/><Relationship Id="rId36" Type="http://schemas.openxmlformats.org/officeDocument/2006/relationships/image" Target="../media/image401.png"/><Relationship Id="rId49" Type="http://schemas.openxmlformats.org/officeDocument/2006/relationships/image" Target="../media/image413.png"/><Relationship Id="rId57" Type="http://schemas.openxmlformats.org/officeDocument/2006/relationships/image" Target="../media/image421.png"/><Relationship Id="rId10" Type="http://schemas.openxmlformats.org/officeDocument/2006/relationships/tags" Target="../tags/tag224.xml"/><Relationship Id="rId31" Type="http://schemas.openxmlformats.org/officeDocument/2006/relationships/image" Target="../media/image396.png"/><Relationship Id="rId44" Type="http://schemas.openxmlformats.org/officeDocument/2006/relationships/image" Target="../media/image408.png"/><Relationship Id="rId52" Type="http://schemas.openxmlformats.org/officeDocument/2006/relationships/image" Target="../media/image416.jpeg"/><Relationship Id="rId60" Type="http://schemas.openxmlformats.org/officeDocument/2006/relationships/image" Target="../media/image424.png"/><Relationship Id="rId65" Type="http://schemas.openxmlformats.org/officeDocument/2006/relationships/image" Target="../media/image429.jpeg"/><Relationship Id="rId73" Type="http://schemas.openxmlformats.org/officeDocument/2006/relationships/image" Target="../media/image435.png"/><Relationship Id="rId78" Type="http://schemas.openxmlformats.org/officeDocument/2006/relationships/image" Target="../media/image438.png"/><Relationship Id="rId81" Type="http://schemas.openxmlformats.org/officeDocument/2006/relationships/image" Target="../media/image441.png"/><Relationship Id="rId86" Type="http://schemas.openxmlformats.org/officeDocument/2006/relationships/image" Target="../media/image445.png"/><Relationship Id="rId4" Type="http://schemas.openxmlformats.org/officeDocument/2006/relationships/tags" Target="../tags/tag218.xml"/><Relationship Id="rId9" Type="http://schemas.openxmlformats.org/officeDocument/2006/relationships/tags" Target="../tags/tag223.xml"/><Relationship Id="rId13" Type="http://schemas.openxmlformats.org/officeDocument/2006/relationships/tags" Target="../tags/tag227.xml"/><Relationship Id="rId18" Type="http://schemas.openxmlformats.org/officeDocument/2006/relationships/image" Target="../media/image391.png"/><Relationship Id="rId39" Type="http://schemas.openxmlformats.org/officeDocument/2006/relationships/image" Target="../media/image404.png"/><Relationship Id="rId34" Type="http://schemas.openxmlformats.org/officeDocument/2006/relationships/image" Target="../media/image399.tiff"/><Relationship Id="rId50" Type="http://schemas.openxmlformats.org/officeDocument/2006/relationships/image" Target="../media/image414.jpeg"/><Relationship Id="rId55" Type="http://schemas.openxmlformats.org/officeDocument/2006/relationships/image" Target="../media/image419.png"/><Relationship Id="rId76" Type="http://schemas.microsoft.com/office/2007/relationships/hdphoto" Target="../media/hdphoto12.wdp"/><Relationship Id="rId7" Type="http://schemas.openxmlformats.org/officeDocument/2006/relationships/tags" Target="../tags/tag221.xml"/><Relationship Id="rId71" Type="http://schemas.openxmlformats.org/officeDocument/2006/relationships/image" Target="../media/image434.png"/><Relationship Id="rId2" Type="http://schemas.openxmlformats.org/officeDocument/2006/relationships/tags" Target="../tags/tag216.xml"/><Relationship Id="rId29" Type="http://schemas.openxmlformats.org/officeDocument/2006/relationships/image" Target="../media/image64.png"/><Relationship Id="rId24" Type="http://schemas.openxmlformats.org/officeDocument/2006/relationships/image" Target="../media/image87.png"/><Relationship Id="rId40" Type="http://schemas.openxmlformats.org/officeDocument/2006/relationships/image" Target="../media/image6.png"/><Relationship Id="rId45" Type="http://schemas.openxmlformats.org/officeDocument/2006/relationships/image" Target="../media/image409.png"/><Relationship Id="rId66" Type="http://schemas.openxmlformats.org/officeDocument/2006/relationships/image" Target="../media/image430.jpeg"/><Relationship Id="rId87" Type="http://schemas.openxmlformats.org/officeDocument/2006/relationships/image" Target="../media/image446.png"/><Relationship Id="rId61" Type="http://schemas.openxmlformats.org/officeDocument/2006/relationships/image" Target="../media/image425.png"/><Relationship Id="rId82" Type="http://schemas.microsoft.com/office/2007/relationships/hdphoto" Target="../media/hdphoto13.wdp"/><Relationship Id="rId19" Type="http://schemas.openxmlformats.org/officeDocument/2006/relationships/image" Target="../media/image392.png"/></Relationships>
</file>

<file path=ppt/slides/_rels/slide9.xml.rels><?xml version="1.0" encoding="UTF-8" standalone="yes"?>
<Relationships xmlns="http://schemas.openxmlformats.org/package/2006/relationships"><Relationship Id="rId8" Type="http://schemas.openxmlformats.org/officeDocument/2006/relationships/slide" Target="slide13.xml"/><Relationship Id="rId13" Type="http://schemas.openxmlformats.org/officeDocument/2006/relationships/slide" Target="slide22.xml"/><Relationship Id="rId18" Type="http://schemas.openxmlformats.org/officeDocument/2006/relationships/slide" Target="slide29.xml"/><Relationship Id="rId26" Type="http://schemas.openxmlformats.org/officeDocument/2006/relationships/slide" Target="slide39.xml"/><Relationship Id="rId3" Type="http://schemas.openxmlformats.org/officeDocument/2006/relationships/slide" Target="slide8.xml"/><Relationship Id="rId21" Type="http://schemas.openxmlformats.org/officeDocument/2006/relationships/slide" Target="slide32.xml"/><Relationship Id="rId7" Type="http://schemas.openxmlformats.org/officeDocument/2006/relationships/slide" Target="slide12.xml"/><Relationship Id="rId12" Type="http://schemas.openxmlformats.org/officeDocument/2006/relationships/slide" Target="slide77.xml"/><Relationship Id="rId17" Type="http://schemas.openxmlformats.org/officeDocument/2006/relationships/slide" Target="slide28.xml"/><Relationship Id="rId25" Type="http://schemas.openxmlformats.org/officeDocument/2006/relationships/slide" Target="slide38.xml"/><Relationship Id="rId2" Type="http://schemas.openxmlformats.org/officeDocument/2006/relationships/slide" Target="slide14.xml"/><Relationship Id="rId16" Type="http://schemas.openxmlformats.org/officeDocument/2006/relationships/slide" Target="slide27.xml"/><Relationship Id="rId20" Type="http://schemas.openxmlformats.org/officeDocument/2006/relationships/slide" Target="slide31.xml"/><Relationship Id="rId1" Type="http://schemas.openxmlformats.org/officeDocument/2006/relationships/slideLayout" Target="../slideLayouts/slideLayout11.xml"/><Relationship Id="rId6" Type="http://schemas.openxmlformats.org/officeDocument/2006/relationships/slide" Target="slide24.xml"/><Relationship Id="rId11" Type="http://schemas.openxmlformats.org/officeDocument/2006/relationships/slide" Target="slide21.xml"/><Relationship Id="rId24" Type="http://schemas.openxmlformats.org/officeDocument/2006/relationships/slide" Target="slide37.xml"/><Relationship Id="rId5" Type="http://schemas.openxmlformats.org/officeDocument/2006/relationships/slide" Target="slide20.xml"/><Relationship Id="rId15" Type="http://schemas.openxmlformats.org/officeDocument/2006/relationships/slide" Target="slide26.xml"/><Relationship Id="rId23" Type="http://schemas.openxmlformats.org/officeDocument/2006/relationships/slide" Target="slide34.xml"/><Relationship Id="rId10" Type="http://schemas.openxmlformats.org/officeDocument/2006/relationships/slide" Target="slide19.xml"/><Relationship Id="rId19" Type="http://schemas.openxmlformats.org/officeDocument/2006/relationships/slide" Target="slide30.xml"/><Relationship Id="rId4" Type="http://schemas.openxmlformats.org/officeDocument/2006/relationships/slide" Target="slide9.xml"/><Relationship Id="rId9" Type="http://schemas.openxmlformats.org/officeDocument/2006/relationships/slide" Target="slide18.xml"/><Relationship Id="rId14" Type="http://schemas.openxmlformats.org/officeDocument/2006/relationships/slide" Target="slide23.xml"/><Relationship Id="rId22" Type="http://schemas.openxmlformats.org/officeDocument/2006/relationships/slide" Target="slide33.xml"/></Relationships>
</file>

<file path=ppt/slides/_rels/slide90.xml.rels><?xml version="1.0" encoding="UTF-8" standalone="yes"?>
<Relationships xmlns="http://schemas.openxmlformats.org/package/2006/relationships"><Relationship Id="rId117" Type="http://schemas.openxmlformats.org/officeDocument/2006/relationships/image" Target="../media/image558.png"/><Relationship Id="rId21" Type="http://schemas.openxmlformats.org/officeDocument/2006/relationships/image" Target="../media/image465.png"/><Relationship Id="rId42" Type="http://schemas.openxmlformats.org/officeDocument/2006/relationships/image" Target="../media/image484.png"/><Relationship Id="rId47" Type="http://schemas.openxmlformats.org/officeDocument/2006/relationships/image" Target="../media/image488.jpeg"/><Relationship Id="rId63" Type="http://schemas.openxmlformats.org/officeDocument/2006/relationships/image" Target="../media/image504.png"/><Relationship Id="rId68" Type="http://schemas.openxmlformats.org/officeDocument/2006/relationships/image" Target="../media/image509.png"/><Relationship Id="rId84" Type="http://schemas.openxmlformats.org/officeDocument/2006/relationships/image" Target="../media/image525.png"/><Relationship Id="rId89" Type="http://schemas.openxmlformats.org/officeDocument/2006/relationships/image" Target="../media/image530.png"/><Relationship Id="rId112" Type="http://schemas.openxmlformats.org/officeDocument/2006/relationships/image" Target="../media/image553.png"/><Relationship Id="rId16" Type="http://schemas.openxmlformats.org/officeDocument/2006/relationships/image" Target="../media/image460.png"/><Relationship Id="rId107" Type="http://schemas.openxmlformats.org/officeDocument/2006/relationships/image" Target="../media/image548.tiff"/><Relationship Id="rId11" Type="http://schemas.openxmlformats.org/officeDocument/2006/relationships/image" Target="../media/image455.png"/><Relationship Id="rId32" Type="http://schemas.openxmlformats.org/officeDocument/2006/relationships/image" Target="../media/image475.png"/><Relationship Id="rId37" Type="http://schemas.openxmlformats.org/officeDocument/2006/relationships/image" Target="../media/image480.png"/><Relationship Id="rId53" Type="http://schemas.openxmlformats.org/officeDocument/2006/relationships/image" Target="../media/image494.png"/><Relationship Id="rId58" Type="http://schemas.openxmlformats.org/officeDocument/2006/relationships/image" Target="../media/image499.png"/><Relationship Id="rId74" Type="http://schemas.openxmlformats.org/officeDocument/2006/relationships/image" Target="../media/image515.png"/><Relationship Id="rId79" Type="http://schemas.openxmlformats.org/officeDocument/2006/relationships/image" Target="../media/image520.png"/><Relationship Id="rId102" Type="http://schemas.openxmlformats.org/officeDocument/2006/relationships/image" Target="../media/image543.png"/><Relationship Id="rId123" Type="http://schemas.openxmlformats.org/officeDocument/2006/relationships/image" Target="../media/image564.png"/><Relationship Id="rId128" Type="http://schemas.openxmlformats.org/officeDocument/2006/relationships/image" Target="../media/image569.png"/><Relationship Id="rId5" Type="http://schemas.openxmlformats.org/officeDocument/2006/relationships/image" Target="../media/image450.png"/><Relationship Id="rId90" Type="http://schemas.openxmlformats.org/officeDocument/2006/relationships/image" Target="../media/image531.png"/><Relationship Id="rId95" Type="http://schemas.openxmlformats.org/officeDocument/2006/relationships/image" Target="../media/image536.png"/><Relationship Id="rId22" Type="http://schemas.openxmlformats.org/officeDocument/2006/relationships/image" Target="../media/image466.png"/><Relationship Id="rId27" Type="http://schemas.openxmlformats.org/officeDocument/2006/relationships/image" Target="../media/image470.png"/><Relationship Id="rId43" Type="http://schemas.openxmlformats.org/officeDocument/2006/relationships/image" Target="../media/image36.png"/><Relationship Id="rId48" Type="http://schemas.openxmlformats.org/officeDocument/2006/relationships/image" Target="../media/image489.png"/><Relationship Id="rId64" Type="http://schemas.openxmlformats.org/officeDocument/2006/relationships/image" Target="../media/image505.png"/><Relationship Id="rId69" Type="http://schemas.openxmlformats.org/officeDocument/2006/relationships/image" Target="../media/image510.png"/><Relationship Id="rId113" Type="http://schemas.openxmlformats.org/officeDocument/2006/relationships/image" Target="../media/image554.png"/><Relationship Id="rId118" Type="http://schemas.openxmlformats.org/officeDocument/2006/relationships/image" Target="../media/image559.tiff"/><Relationship Id="rId80" Type="http://schemas.openxmlformats.org/officeDocument/2006/relationships/image" Target="../media/image521.png"/><Relationship Id="rId85" Type="http://schemas.openxmlformats.org/officeDocument/2006/relationships/image" Target="../media/image526.tiff"/><Relationship Id="rId12" Type="http://schemas.openxmlformats.org/officeDocument/2006/relationships/image" Target="../media/image456.jpg"/><Relationship Id="rId17" Type="http://schemas.openxmlformats.org/officeDocument/2006/relationships/image" Target="../media/image461.png"/><Relationship Id="rId33" Type="http://schemas.openxmlformats.org/officeDocument/2006/relationships/image" Target="../media/image476.png"/><Relationship Id="rId38" Type="http://schemas.openxmlformats.org/officeDocument/2006/relationships/image" Target="../media/image481.png"/><Relationship Id="rId59" Type="http://schemas.openxmlformats.org/officeDocument/2006/relationships/image" Target="../media/image500.png"/><Relationship Id="rId103" Type="http://schemas.openxmlformats.org/officeDocument/2006/relationships/image" Target="../media/image544.png"/><Relationship Id="rId108" Type="http://schemas.openxmlformats.org/officeDocument/2006/relationships/image" Target="../media/image549.tiff"/><Relationship Id="rId124" Type="http://schemas.openxmlformats.org/officeDocument/2006/relationships/image" Target="../media/image565.jpeg"/><Relationship Id="rId129" Type="http://schemas.openxmlformats.org/officeDocument/2006/relationships/image" Target="../media/image570.png"/><Relationship Id="rId54" Type="http://schemas.openxmlformats.org/officeDocument/2006/relationships/image" Target="../media/image495.png"/><Relationship Id="rId70" Type="http://schemas.openxmlformats.org/officeDocument/2006/relationships/image" Target="../media/image511.png"/><Relationship Id="rId75" Type="http://schemas.openxmlformats.org/officeDocument/2006/relationships/image" Target="../media/image516.png"/><Relationship Id="rId91" Type="http://schemas.openxmlformats.org/officeDocument/2006/relationships/image" Target="../media/image532.png"/><Relationship Id="rId96" Type="http://schemas.openxmlformats.org/officeDocument/2006/relationships/image" Target="../media/image537.png"/><Relationship Id="rId1" Type="http://schemas.openxmlformats.org/officeDocument/2006/relationships/tags" Target="../tags/tag229.xml"/><Relationship Id="rId6" Type="http://schemas.openxmlformats.org/officeDocument/2006/relationships/image" Target="../media/image451.png"/><Relationship Id="rId23" Type="http://schemas.openxmlformats.org/officeDocument/2006/relationships/image" Target="../media/image8.png"/><Relationship Id="rId28" Type="http://schemas.openxmlformats.org/officeDocument/2006/relationships/image" Target="../media/image471.png"/><Relationship Id="rId49" Type="http://schemas.openxmlformats.org/officeDocument/2006/relationships/image" Target="../media/image490.jpeg"/><Relationship Id="rId114" Type="http://schemas.openxmlformats.org/officeDocument/2006/relationships/image" Target="../media/image555.png"/><Relationship Id="rId119" Type="http://schemas.openxmlformats.org/officeDocument/2006/relationships/image" Target="../media/image560.jpeg"/><Relationship Id="rId44" Type="http://schemas.openxmlformats.org/officeDocument/2006/relationships/image" Target="../media/image485.png"/><Relationship Id="rId60" Type="http://schemas.openxmlformats.org/officeDocument/2006/relationships/image" Target="../media/image501.png"/><Relationship Id="rId65" Type="http://schemas.openxmlformats.org/officeDocument/2006/relationships/image" Target="../media/image506.png"/><Relationship Id="rId81" Type="http://schemas.openxmlformats.org/officeDocument/2006/relationships/image" Target="../media/image522.png"/><Relationship Id="rId86" Type="http://schemas.openxmlformats.org/officeDocument/2006/relationships/image" Target="../media/image527.png"/><Relationship Id="rId13" Type="http://schemas.openxmlformats.org/officeDocument/2006/relationships/image" Target="../media/image457.jpeg"/><Relationship Id="rId18" Type="http://schemas.openxmlformats.org/officeDocument/2006/relationships/image" Target="../media/image462.png"/><Relationship Id="rId39" Type="http://schemas.openxmlformats.org/officeDocument/2006/relationships/image" Target="../media/image35.png"/><Relationship Id="rId109" Type="http://schemas.openxmlformats.org/officeDocument/2006/relationships/image" Target="../media/image550.tiff"/><Relationship Id="rId34" Type="http://schemas.openxmlformats.org/officeDocument/2006/relationships/image" Target="../media/image477.png"/><Relationship Id="rId50" Type="http://schemas.openxmlformats.org/officeDocument/2006/relationships/image" Target="../media/image491.jpeg"/><Relationship Id="rId55" Type="http://schemas.openxmlformats.org/officeDocument/2006/relationships/image" Target="../media/image496.png"/><Relationship Id="rId76" Type="http://schemas.openxmlformats.org/officeDocument/2006/relationships/image" Target="../media/image517.png"/><Relationship Id="rId97" Type="http://schemas.openxmlformats.org/officeDocument/2006/relationships/image" Target="../media/image538.png"/><Relationship Id="rId104" Type="http://schemas.openxmlformats.org/officeDocument/2006/relationships/image" Target="../media/image545.png"/><Relationship Id="rId120" Type="http://schemas.openxmlformats.org/officeDocument/2006/relationships/image" Target="../media/image561.png"/><Relationship Id="rId125" Type="http://schemas.openxmlformats.org/officeDocument/2006/relationships/image" Target="../media/image566.png"/><Relationship Id="rId7" Type="http://schemas.openxmlformats.org/officeDocument/2006/relationships/image" Target="../media/image452.png"/><Relationship Id="rId71" Type="http://schemas.openxmlformats.org/officeDocument/2006/relationships/image" Target="../media/image512.png"/><Relationship Id="rId92" Type="http://schemas.openxmlformats.org/officeDocument/2006/relationships/image" Target="../media/image533.png"/><Relationship Id="rId2" Type="http://schemas.openxmlformats.org/officeDocument/2006/relationships/tags" Target="../tags/tag230.xml"/><Relationship Id="rId29" Type="http://schemas.openxmlformats.org/officeDocument/2006/relationships/image" Target="../media/image472.png"/><Relationship Id="rId24" Type="http://schemas.openxmlformats.org/officeDocument/2006/relationships/image" Target="../media/image467.png"/><Relationship Id="rId40" Type="http://schemas.openxmlformats.org/officeDocument/2006/relationships/image" Target="../media/image482.png"/><Relationship Id="rId45" Type="http://schemas.openxmlformats.org/officeDocument/2006/relationships/image" Target="../media/image486.png"/><Relationship Id="rId66" Type="http://schemas.openxmlformats.org/officeDocument/2006/relationships/image" Target="../media/image507.png"/><Relationship Id="rId87" Type="http://schemas.openxmlformats.org/officeDocument/2006/relationships/image" Target="../media/image528.png"/><Relationship Id="rId110" Type="http://schemas.openxmlformats.org/officeDocument/2006/relationships/image" Target="../media/image551.png"/><Relationship Id="rId115" Type="http://schemas.openxmlformats.org/officeDocument/2006/relationships/image" Target="../media/image556.png"/><Relationship Id="rId61" Type="http://schemas.openxmlformats.org/officeDocument/2006/relationships/image" Target="../media/image502.png"/><Relationship Id="rId82" Type="http://schemas.openxmlformats.org/officeDocument/2006/relationships/image" Target="../media/image523.png"/><Relationship Id="rId19" Type="http://schemas.openxmlformats.org/officeDocument/2006/relationships/image" Target="../media/image463.png"/><Relationship Id="rId14" Type="http://schemas.openxmlformats.org/officeDocument/2006/relationships/image" Target="../media/image458.png"/><Relationship Id="rId30" Type="http://schemas.openxmlformats.org/officeDocument/2006/relationships/image" Target="../media/image473.png"/><Relationship Id="rId35" Type="http://schemas.openxmlformats.org/officeDocument/2006/relationships/image" Target="../media/image478.png"/><Relationship Id="rId56" Type="http://schemas.openxmlformats.org/officeDocument/2006/relationships/image" Target="../media/image497.png"/><Relationship Id="rId77" Type="http://schemas.openxmlformats.org/officeDocument/2006/relationships/image" Target="../media/image518.png"/><Relationship Id="rId100" Type="http://schemas.openxmlformats.org/officeDocument/2006/relationships/image" Target="../media/image541.png"/><Relationship Id="rId105" Type="http://schemas.openxmlformats.org/officeDocument/2006/relationships/image" Target="../media/image546.png"/><Relationship Id="rId126" Type="http://schemas.openxmlformats.org/officeDocument/2006/relationships/image" Target="../media/image567.png"/><Relationship Id="rId8" Type="http://schemas.openxmlformats.org/officeDocument/2006/relationships/image" Target="../media/image453.png"/><Relationship Id="rId51" Type="http://schemas.openxmlformats.org/officeDocument/2006/relationships/image" Target="../media/image492.png"/><Relationship Id="rId72" Type="http://schemas.openxmlformats.org/officeDocument/2006/relationships/image" Target="../media/image513.png"/><Relationship Id="rId93" Type="http://schemas.openxmlformats.org/officeDocument/2006/relationships/image" Target="../media/image534.png"/><Relationship Id="rId98" Type="http://schemas.openxmlformats.org/officeDocument/2006/relationships/image" Target="../media/image539.tiff"/><Relationship Id="rId121" Type="http://schemas.openxmlformats.org/officeDocument/2006/relationships/image" Target="../media/image562.png"/><Relationship Id="rId3" Type="http://schemas.openxmlformats.org/officeDocument/2006/relationships/tags" Target="../tags/tag231.xml"/><Relationship Id="rId25" Type="http://schemas.openxmlformats.org/officeDocument/2006/relationships/image" Target="../media/image468.png"/><Relationship Id="rId46" Type="http://schemas.openxmlformats.org/officeDocument/2006/relationships/image" Target="../media/image487.jpeg"/><Relationship Id="rId67" Type="http://schemas.openxmlformats.org/officeDocument/2006/relationships/image" Target="../media/image508.png"/><Relationship Id="rId116" Type="http://schemas.openxmlformats.org/officeDocument/2006/relationships/image" Target="../media/image557.tiff"/><Relationship Id="rId20" Type="http://schemas.openxmlformats.org/officeDocument/2006/relationships/image" Target="../media/image464.png"/><Relationship Id="rId41" Type="http://schemas.openxmlformats.org/officeDocument/2006/relationships/image" Target="../media/image483.png"/><Relationship Id="rId62" Type="http://schemas.openxmlformats.org/officeDocument/2006/relationships/image" Target="../media/image503.png"/><Relationship Id="rId83" Type="http://schemas.openxmlformats.org/officeDocument/2006/relationships/image" Target="../media/image524.png"/><Relationship Id="rId88" Type="http://schemas.openxmlformats.org/officeDocument/2006/relationships/image" Target="../media/image529.png"/><Relationship Id="rId111" Type="http://schemas.openxmlformats.org/officeDocument/2006/relationships/image" Target="../media/image552.png"/><Relationship Id="rId15" Type="http://schemas.openxmlformats.org/officeDocument/2006/relationships/image" Target="../media/image459.png"/><Relationship Id="rId36" Type="http://schemas.openxmlformats.org/officeDocument/2006/relationships/image" Target="../media/image479.png"/><Relationship Id="rId57" Type="http://schemas.openxmlformats.org/officeDocument/2006/relationships/image" Target="../media/image498.png"/><Relationship Id="rId106" Type="http://schemas.openxmlformats.org/officeDocument/2006/relationships/image" Target="../media/image547.png"/><Relationship Id="rId127" Type="http://schemas.openxmlformats.org/officeDocument/2006/relationships/image" Target="../media/image568.png"/><Relationship Id="rId10" Type="http://schemas.openxmlformats.org/officeDocument/2006/relationships/image" Target="../media/image454.png"/><Relationship Id="rId31" Type="http://schemas.openxmlformats.org/officeDocument/2006/relationships/image" Target="../media/image474.png"/><Relationship Id="rId52" Type="http://schemas.openxmlformats.org/officeDocument/2006/relationships/image" Target="../media/image493.png"/><Relationship Id="rId73" Type="http://schemas.openxmlformats.org/officeDocument/2006/relationships/image" Target="../media/image514.png"/><Relationship Id="rId78" Type="http://schemas.openxmlformats.org/officeDocument/2006/relationships/image" Target="../media/image519.png"/><Relationship Id="rId94" Type="http://schemas.openxmlformats.org/officeDocument/2006/relationships/image" Target="../media/image535.png"/><Relationship Id="rId99" Type="http://schemas.openxmlformats.org/officeDocument/2006/relationships/image" Target="../media/image540.tiff"/><Relationship Id="rId101" Type="http://schemas.openxmlformats.org/officeDocument/2006/relationships/image" Target="../media/image542.png"/><Relationship Id="rId122" Type="http://schemas.openxmlformats.org/officeDocument/2006/relationships/image" Target="../media/image563.png"/><Relationship Id="rId4" Type="http://schemas.openxmlformats.org/officeDocument/2006/relationships/slideLayout" Target="../slideLayouts/slideLayout10.xml"/><Relationship Id="rId9" Type="http://schemas.openxmlformats.org/officeDocument/2006/relationships/image" Target="../media/image7.png"/><Relationship Id="rId26" Type="http://schemas.openxmlformats.org/officeDocument/2006/relationships/image" Target="../media/image469.png"/></Relationships>
</file>

<file path=ppt/slides/_rels/slide91.xml.rels><?xml version="1.0" encoding="UTF-8" standalone="yes"?>
<Relationships xmlns="http://schemas.openxmlformats.org/package/2006/relationships"><Relationship Id="rId26" Type="http://schemas.openxmlformats.org/officeDocument/2006/relationships/image" Target="../media/image595.png"/><Relationship Id="rId117" Type="http://schemas.openxmlformats.org/officeDocument/2006/relationships/image" Target="../media/image686.png"/><Relationship Id="rId21" Type="http://schemas.openxmlformats.org/officeDocument/2006/relationships/image" Target="../media/image590.png"/><Relationship Id="rId42" Type="http://schemas.openxmlformats.org/officeDocument/2006/relationships/image" Target="../media/image611.png"/><Relationship Id="rId47" Type="http://schemas.openxmlformats.org/officeDocument/2006/relationships/image" Target="../media/image616.png"/><Relationship Id="rId63" Type="http://schemas.openxmlformats.org/officeDocument/2006/relationships/image" Target="../media/image632.png"/><Relationship Id="rId68" Type="http://schemas.openxmlformats.org/officeDocument/2006/relationships/image" Target="../media/image637.png"/><Relationship Id="rId84" Type="http://schemas.openxmlformats.org/officeDocument/2006/relationships/image" Target="../media/image653.png"/><Relationship Id="rId89" Type="http://schemas.openxmlformats.org/officeDocument/2006/relationships/image" Target="../media/image658.png"/><Relationship Id="rId112" Type="http://schemas.openxmlformats.org/officeDocument/2006/relationships/image" Target="../media/image681.png"/><Relationship Id="rId16" Type="http://schemas.openxmlformats.org/officeDocument/2006/relationships/image" Target="../media/image585.png"/><Relationship Id="rId107" Type="http://schemas.openxmlformats.org/officeDocument/2006/relationships/image" Target="../media/image676.png"/><Relationship Id="rId11" Type="http://schemas.openxmlformats.org/officeDocument/2006/relationships/image" Target="../media/image580.png"/><Relationship Id="rId32" Type="http://schemas.openxmlformats.org/officeDocument/2006/relationships/image" Target="../media/image601.png"/><Relationship Id="rId37" Type="http://schemas.openxmlformats.org/officeDocument/2006/relationships/image" Target="../media/image606.png"/><Relationship Id="rId53" Type="http://schemas.openxmlformats.org/officeDocument/2006/relationships/image" Target="../media/image622.png"/><Relationship Id="rId58" Type="http://schemas.openxmlformats.org/officeDocument/2006/relationships/image" Target="../media/image627.png"/><Relationship Id="rId74" Type="http://schemas.openxmlformats.org/officeDocument/2006/relationships/image" Target="../media/image643.png"/><Relationship Id="rId79" Type="http://schemas.openxmlformats.org/officeDocument/2006/relationships/image" Target="../media/image648.png"/><Relationship Id="rId102" Type="http://schemas.openxmlformats.org/officeDocument/2006/relationships/image" Target="../media/image671.png"/><Relationship Id="rId5" Type="http://schemas.openxmlformats.org/officeDocument/2006/relationships/image" Target="../media/image574.png"/><Relationship Id="rId90" Type="http://schemas.openxmlformats.org/officeDocument/2006/relationships/image" Target="../media/image659.png"/><Relationship Id="rId95" Type="http://schemas.openxmlformats.org/officeDocument/2006/relationships/image" Target="../media/image664.png"/><Relationship Id="rId22" Type="http://schemas.openxmlformats.org/officeDocument/2006/relationships/image" Target="../media/image591.png"/><Relationship Id="rId27" Type="http://schemas.openxmlformats.org/officeDocument/2006/relationships/image" Target="../media/image596.png"/><Relationship Id="rId43" Type="http://schemas.openxmlformats.org/officeDocument/2006/relationships/image" Target="../media/image612.png"/><Relationship Id="rId48" Type="http://schemas.openxmlformats.org/officeDocument/2006/relationships/image" Target="../media/image617.png"/><Relationship Id="rId64" Type="http://schemas.openxmlformats.org/officeDocument/2006/relationships/image" Target="../media/image633.png"/><Relationship Id="rId69" Type="http://schemas.openxmlformats.org/officeDocument/2006/relationships/image" Target="../media/image638.png"/><Relationship Id="rId113" Type="http://schemas.openxmlformats.org/officeDocument/2006/relationships/image" Target="../media/image682.png"/><Relationship Id="rId118" Type="http://schemas.openxmlformats.org/officeDocument/2006/relationships/image" Target="../media/image687.png"/><Relationship Id="rId80" Type="http://schemas.openxmlformats.org/officeDocument/2006/relationships/image" Target="../media/image649.png"/><Relationship Id="rId85" Type="http://schemas.openxmlformats.org/officeDocument/2006/relationships/image" Target="../media/image654.png"/><Relationship Id="rId12" Type="http://schemas.openxmlformats.org/officeDocument/2006/relationships/image" Target="../media/image581.png"/><Relationship Id="rId17" Type="http://schemas.openxmlformats.org/officeDocument/2006/relationships/image" Target="../media/image586.png"/><Relationship Id="rId33" Type="http://schemas.openxmlformats.org/officeDocument/2006/relationships/image" Target="../media/image602.png"/><Relationship Id="rId38" Type="http://schemas.openxmlformats.org/officeDocument/2006/relationships/image" Target="../media/image607.png"/><Relationship Id="rId59" Type="http://schemas.openxmlformats.org/officeDocument/2006/relationships/image" Target="../media/image628.png"/><Relationship Id="rId103" Type="http://schemas.openxmlformats.org/officeDocument/2006/relationships/image" Target="../media/image672.png"/><Relationship Id="rId108" Type="http://schemas.openxmlformats.org/officeDocument/2006/relationships/image" Target="../media/image677.png"/><Relationship Id="rId54" Type="http://schemas.openxmlformats.org/officeDocument/2006/relationships/image" Target="../media/image623.png"/><Relationship Id="rId70" Type="http://schemas.openxmlformats.org/officeDocument/2006/relationships/image" Target="../media/image639.png"/><Relationship Id="rId75" Type="http://schemas.openxmlformats.org/officeDocument/2006/relationships/image" Target="../media/image644.png"/><Relationship Id="rId91" Type="http://schemas.openxmlformats.org/officeDocument/2006/relationships/image" Target="../media/image660.png"/><Relationship Id="rId96" Type="http://schemas.openxmlformats.org/officeDocument/2006/relationships/image" Target="../media/image665.png"/><Relationship Id="rId1" Type="http://schemas.openxmlformats.org/officeDocument/2006/relationships/slideLayout" Target="../slideLayouts/slideLayout10.xml"/><Relationship Id="rId6" Type="http://schemas.openxmlformats.org/officeDocument/2006/relationships/image" Target="../media/image575.png"/><Relationship Id="rId23" Type="http://schemas.openxmlformats.org/officeDocument/2006/relationships/image" Target="../media/image592.png"/><Relationship Id="rId28" Type="http://schemas.openxmlformats.org/officeDocument/2006/relationships/image" Target="../media/image597.png"/><Relationship Id="rId49" Type="http://schemas.openxmlformats.org/officeDocument/2006/relationships/image" Target="../media/image618.png"/><Relationship Id="rId114" Type="http://schemas.openxmlformats.org/officeDocument/2006/relationships/image" Target="../media/image683.png"/><Relationship Id="rId119" Type="http://schemas.openxmlformats.org/officeDocument/2006/relationships/image" Target="../media/image688.png"/><Relationship Id="rId44" Type="http://schemas.openxmlformats.org/officeDocument/2006/relationships/image" Target="../media/image613.png"/><Relationship Id="rId60" Type="http://schemas.openxmlformats.org/officeDocument/2006/relationships/image" Target="../media/image629.png"/><Relationship Id="rId65" Type="http://schemas.openxmlformats.org/officeDocument/2006/relationships/image" Target="../media/image634.png"/><Relationship Id="rId81" Type="http://schemas.openxmlformats.org/officeDocument/2006/relationships/image" Target="../media/image650.png"/><Relationship Id="rId86" Type="http://schemas.openxmlformats.org/officeDocument/2006/relationships/image" Target="../media/image655.png"/><Relationship Id="rId4" Type="http://schemas.openxmlformats.org/officeDocument/2006/relationships/image" Target="../media/image573.png"/><Relationship Id="rId9" Type="http://schemas.openxmlformats.org/officeDocument/2006/relationships/image" Target="../media/image578.png"/><Relationship Id="rId13" Type="http://schemas.openxmlformats.org/officeDocument/2006/relationships/image" Target="../media/image582.png"/><Relationship Id="rId18" Type="http://schemas.openxmlformats.org/officeDocument/2006/relationships/image" Target="../media/image587.png"/><Relationship Id="rId39" Type="http://schemas.openxmlformats.org/officeDocument/2006/relationships/image" Target="../media/image608.png"/><Relationship Id="rId109" Type="http://schemas.openxmlformats.org/officeDocument/2006/relationships/image" Target="../media/image678.png"/><Relationship Id="rId34" Type="http://schemas.openxmlformats.org/officeDocument/2006/relationships/image" Target="../media/image603.png"/><Relationship Id="rId50" Type="http://schemas.openxmlformats.org/officeDocument/2006/relationships/image" Target="../media/image619.png"/><Relationship Id="rId55" Type="http://schemas.openxmlformats.org/officeDocument/2006/relationships/image" Target="../media/image624.png"/><Relationship Id="rId76" Type="http://schemas.openxmlformats.org/officeDocument/2006/relationships/image" Target="../media/image645.png"/><Relationship Id="rId97" Type="http://schemas.openxmlformats.org/officeDocument/2006/relationships/image" Target="../media/image666.png"/><Relationship Id="rId104" Type="http://schemas.openxmlformats.org/officeDocument/2006/relationships/image" Target="../media/image673.png"/><Relationship Id="rId120" Type="http://schemas.openxmlformats.org/officeDocument/2006/relationships/image" Target="../media/image689.png"/><Relationship Id="rId7" Type="http://schemas.openxmlformats.org/officeDocument/2006/relationships/image" Target="../media/image576.png"/><Relationship Id="rId71" Type="http://schemas.openxmlformats.org/officeDocument/2006/relationships/image" Target="../media/image640.png"/><Relationship Id="rId92" Type="http://schemas.openxmlformats.org/officeDocument/2006/relationships/image" Target="../media/image661.png"/><Relationship Id="rId2" Type="http://schemas.openxmlformats.org/officeDocument/2006/relationships/image" Target="../media/image571.png"/><Relationship Id="rId29" Type="http://schemas.openxmlformats.org/officeDocument/2006/relationships/image" Target="../media/image598.png"/><Relationship Id="rId24" Type="http://schemas.openxmlformats.org/officeDocument/2006/relationships/image" Target="../media/image593.png"/><Relationship Id="rId40" Type="http://schemas.openxmlformats.org/officeDocument/2006/relationships/image" Target="../media/image609.png"/><Relationship Id="rId45" Type="http://schemas.openxmlformats.org/officeDocument/2006/relationships/image" Target="../media/image614.png"/><Relationship Id="rId66" Type="http://schemas.openxmlformats.org/officeDocument/2006/relationships/image" Target="../media/image635.png"/><Relationship Id="rId87" Type="http://schemas.openxmlformats.org/officeDocument/2006/relationships/image" Target="../media/image656.png"/><Relationship Id="rId110" Type="http://schemas.openxmlformats.org/officeDocument/2006/relationships/image" Target="../media/image679.png"/><Relationship Id="rId115" Type="http://schemas.openxmlformats.org/officeDocument/2006/relationships/image" Target="../media/image684.png"/><Relationship Id="rId61" Type="http://schemas.openxmlformats.org/officeDocument/2006/relationships/image" Target="../media/image630.png"/><Relationship Id="rId82" Type="http://schemas.openxmlformats.org/officeDocument/2006/relationships/image" Target="../media/image651.png"/><Relationship Id="rId19" Type="http://schemas.openxmlformats.org/officeDocument/2006/relationships/image" Target="../media/image588.png"/><Relationship Id="rId14" Type="http://schemas.openxmlformats.org/officeDocument/2006/relationships/image" Target="../media/image583.png"/><Relationship Id="rId30" Type="http://schemas.openxmlformats.org/officeDocument/2006/relationships/image" Target="../media/image599.png"/><Relationship Id="rId35" Type="http://schemas.openxmlformats.org/officeDocument/2006/relationships/image" Target="../media/image604.png"/><Relationship Id="rId56" Type="http://schemas.openxmlformats.org/officeDocument/2006/relationships/image" Target="../media/image625.png"/><Relationship Id="rId77" Type="http://schemas.openxmlformats.org/officeDocument/2006/relationships/image" Target="../media/image646.png"/><Relationship Id="rId100" Type="http://schemas.openxmlformats.org/officeDocument/2006/relationships/image" Target="../media/image669.png"/><Relationship Id="rId105" Type="http://schemas.openxmlformats.org/officeDocument/2006/relationships/image" Target="../media/image674.png"/><Relationship Id="rId8" Type="http://schemas.openxmlformats.org/officeDocument/2006/relationships/image" Target="../media/image577.png"/><Relationship Id="rId51" Type="http://schemas.openxmlformats.org/officeDocument/2006/relationships/image" Target="../media/image620.png"/><Relationship Id="rId72" Type="http://schemas.openxmlformats.org/officeDocument/2006/relationships/image" Target="../media/image641.png"/><Relationship Id="rId93" Type="http://schemas.openxmlformats.org/officeDocument/2006/relationships/image" Target="../media/image662.png"/><Relationship Id="rId98" Type="http://schemas.openxmlformats.org/officeDocument/2006/relationships/image" Target="../media/image667.png"/><Relationship Id="rId121" Type="http://schemas.openxmlformats.org/officeDocument/2006/relationships/image" Target="../media/image690.png"/><Relationship Id="rId3" Type="http://schemas.openxmlformats.org/officeDocument/2006/relationships/image" Target="../media/image572.png"/><Relationship Id="rId25" Type="http://schemas.openxmlformats.org/officeDocument/2006/relationships/image" Target="../media/image594.png"/><Relationship Id="rId46" Type="http://schemas.openxmlformats.org/officeDocument/2006/relationships/image" Target="../media/image615.png"/><Relationship Id="rId67" Type="http://schemas.openxmlformats.org/officeDocument/2006/relationships/image" Target="../media/image636.png"/><Relationship Id="rId116" Type="http://schemas.openxmlformats.org/officeDocument/2006/relationships/image" Target="../media/image685.png"/><Relationship Id="rId20" Type="http://schemas.openxmlformats.org/officeDocument/2006/relationships/image" Target="../media/image589.png"/><Relationship Id="rId41" Type="http://schemas.openxmlformats.org/officeDocument/2006/relationships/image" Target="../media/image610.png"/><Relationship Id="rId62" Type="http://schemas.openxmlformats.org/officeDocument/2006/relationships/image" Target="../media/image631.png"/><Relationship Id="rId83" Type="http://schemas.openxmlformats.org/officeDocument/2006/relationships/image" Target="../media/image652.png"/><Relationship Id="rId88" Type="http://schemas.openxmlformats.org/officeDocument/2006/relationships/image" Target="../media/image657.png"/><Relationship Id="rId111" Type="http://schemas.openxmlformats.org/officeDocument/2006/relationships/image" Target="../media/image680.png"/><Relationship Id="rId15" Type="http://schemas.openxmlformats.org/officeDocument/2006/relationships/image" Target="../media/image584.png"/><Relationship Id="rId36" Type="http://schemas.openxmlformats.org/officeDocument/2006/relationships/image" Target="../media/image605.png"/><Relationship Id="rId57" Type="http://schemas.openxmlformats.org/officeDocument/2006/relationships/image" Target="../media/image626.png"/><Relationship Id="rId106" Type="http://schemas.openxmlformats.org/officeDocument/2006/relationships/image" Target="../media/image675.png"/><Relationship Id="rId10" Type="http://schemas.openxmlformats.org/officeDocument/2006/relationships/image" Target="../media/image579.png"/><Relationship Id="rId31" Type="http://schemas.openxmlformats.org/officeDocument/2006/relationships/image" Target="../media/image600.png"/><Relationship Id="rId52" Type="http://schemas.openxmlformats.org/officeDocument/2006/relationships/image" Target="../media/image621.png"/><Relationship Id="rId73" Type="http://schemas.openxmlformats.org/officeDocument/2006/relationships/image" Target="../media/image642.png"/><Relationship Id="rId78" Type="http://schemas.openxmlformats.org/officeDocument/2006/relationships/image" Target="../media/image647.png"/><Relationship Id="rId94" Type="http://schemas.openxmlformats.org/officeDocument/2006/relationships/image" Target="../media/image663.png"/><Relationship Id="rId99" Type="http://schemas.openxmlformats.org/officeDocument/2006/relationships/image" Target="../media/image668.png"/><Relationship Id="rId101" Type="http://schemas.openxmlformats.org/officeDocument/2006/relationships/image" Target="../media/image6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idx="4294967295"/>
          </p:nvPr>
        </p:nvSpPr>
        <p:spPr>
          <a:xfrm>
            <a:off x="1486525" y="3205560"/>
            <a:ext cx="9218950" cy="903288"/>
          </a:xfrm>
          <a:ln>
            <a:solidFill>
              <a:schemeClr val="tx1"/>
            </a:solidFill>
          </a:ln>
        </p:spPr>
        <p:txBody>
          <a:bodyPr anchor="ctr">
            <a:normAutofit/>
          </a:bodyPr>
          <a:lstStyle/>
          <a:p>
            <a:pPr algn="ctr"/>
            <a:r>
              <a:rPr lang="da-DK" sz="5400" spc="-300" dirty="0" err="1"/>
              <a:t>Trees</a:t>
            </a:r>
            <a:r>
              <a:rPr lang="da-DK" sz="5400" spc="-300" dirty="0"/>
              <a:t> of Copenhagen</a:t>
            </a:r>
          </a:p>
        </p:txBody>
      </p:sp>
      <p:sp>
        <p:nvSpPr>
          <p:cNvPr id="3" name="Undertitel 2"/>
          <p:cNvSpPr>
            <a:spLocks noGrp="1"/>
          </p:cNvSpPr>
          <p:nvPr>
            <p:ph type="subTitle" idx="4294967295"/>
          </p:nvPr>
        </p:nvSpPr>
        <p:spPr>
          <a:xfrm>
            <a:off x="5091953" y="4659604"/>
            <a:ext cx="2279518" cy="995363"/>
          </a:xfrm>
          <a:ln>
            <a:solidFill>
              <a:schemeClr val="tx1"/>
            </a:solidFill>
          </a:ln>
        </p:spPr>
        <p:txBody>
          <a:bodyPr>
            <a:normAutofit/>
          </a:bodyPr>
          <a:lstStyle/>
          <a:p>
            <a:pPr marL="0" indent="0">
              <a:lnSpc>
                <a:spcPct val="120000"/>
              </a:lnSpc>
              <a:spcBef>
                <a:spcPts val="0"/>
              </a:spcBef>
              <a:buNone/>
            </a:pPr>
            <a:r>
              <a:rPr lang="da-DK" sz="1050" dirty="0"/>
              <a:t>(SKAL VI HAVE NAVNE MED???)</a:t>
            </a:r>
          </a:p>
          <a:p>
            <a:pPr marL="0" indent="0">
              <a:lnSpc>
                <a:spcPct val="120000"/>
              </a:lnSpc>
              <a:spcBef>
                <a:spcPts val="0"/>
              </a:spcBef>
              <a:buNone/>
            </a:pPr>
            <a:r>
              <a:rPr lang="da-DK" sz="1050" dirty="0"/>
              <a:t>s154395 | Andreas Kaae</a:t>
            </a:r>
          </a:p>
          <a:p>
            <a:pPr marL="0" indent="0">
              <a:lnSpc>
                <a:spcPct val="120000"/>
              </a:lnSpc>
              <a:spcBef>
                <a:spcPts val="0"/>
              </a:spcBef>
              <a:buNone/>
            </a:pPr>
            <a:r>
              <a:rPr lang="da-DK" sz="1050" dirty="0"/>
              <a:t>s153582 | Jesper Dybkjær</a:t>
            </a:r>
          </a:p>
          <a:p>
            <a:pPr marL="0" indent="0">
              <a:lnSpc>
                <a:spcPct val="120000"/>
              </a:lnSpc>
              <a:spcBef>
                <a:spcPts val="0"/>
              </a:spcBef>
              <a:buNone/>
            </a:pPr>
            <a:r>
              <a:rPr lang="da-DK" sz="1050" dirty="0" err="1"/>
              <a:t>sXXXXX</a:t>
            </a:r>
            <a:r>
              <a:rPr lang="da-DK" sz="1050" dirty="0"/>
              <a:t> | Kristian Nissen Breddam</a:t>
            </a:r>
            <a:endParaRPr lang="da-DK" sz="2000" dirty="0"/>
          </a:p>
          <a:p>
            <a:pPr marL="0" indent="0">
              <a:lnSpc>
                <a:spcPct val="120000"/>
              </a:lnSpc>
              <a:spcBef>
                <a:spcPts val="0"/>
              </a:spcBef>
              <a:buNone/>
            </a:pPr>
            <a:endParaRPr lang="da-DK" sz="2000" dirty="0"/>
          </a:p>
        </p:txBody>
      </p:sp>
      <p:cxnSp>
        <p:nvCxnSpPr>
          <p:cNvPr id="6" name="Lige forbindelse 5"/>
          <p:cNvCxnSpPr>
            <a:cxnSpLocks/>
          </p:cNvCxnSpPr>
          <p:nvPr/>
        </p:nvCxnSpPr>
        <p:spPr>
          <a:xfrm flipV="1">
            <a:off x="2867498" y="4108847"/>
            <a:ext cx="636175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Undertitel 2">
            <a:extLst>
              <a:ext uri="{FF2B5EF4-FFF2-40B4-BE49-F238E27FC236}">
                <a16:creationId xmlns:a16="http://schemas.microsoft.com/office/drawing/2014/main" id="{F7657063-AB38-8F42-A4E9-64AA32B25D9C}"/>
              </a:ext>
            </a:extLst>
          </p:cNvPr>
          <p:cNvSpPr txBox="1">
            <a:spLocks/>
          </p:cNvSpPr>
          <p:nvPr/>
        </p:nvSpPr>
        <p:spPr>
          <a:xfrm>
            <a:off x="2922926" y="2761488"/>
            <a:ext cx="6250898" cy="796604"/>
          </a:xfrm>
          <a:ln>
            <a:solidFill>
              <a:schemeClr val="tx1"/>
            </a:solidFill>
          </a:ln>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20000"/>
              </a:lnSpc>
              <a:spcBef>
                <a:spcPts val="0"/>
              </a:spcBef>
              <a:buFont typeface="Arial"/>
              <a:buNone/>
            </a:pPr>
            <a:r>
              <a:rPr lang="da-DK" sz="2000" dirty="0"/>
              <a:t>SOCIAL DATA ANALYSIS AND VISUALIZATION</a:t>
            </a:r>
            <a:endParaRPr lang="da-DK" dirty="0"/>
          </a:p>
          <a:p>
            <a:pPr marL="0" indent="0" algn="ctr">
              <a:lnSpc>
                <a:spcPct val="120000"/>
              </a:lnSpc>
              <a:spcBef>
                <a:spcPts val="0"/>
              </a:spcBef>
              <a:buFont typeface="Arial"/>
              <a:buNone/>
            </a:pPr>
            <a:endParaRPr lang="da-DK" sz="2000" dirty="0"/>
          </a:p>
          <a:p>
            <a:pPr marL="0" indent="0" algn="ctr">
              <a:lnSpc>
                <a:spcPct val="120000"/>
              </a:lnSpc>
              <a:spcBef>
                <a:spcPts val="0"/>
              </a:spcBef>
              <a:buFont typeface="Arial"/>
              <a:buNone/>
            </a:pPr>
            <a:endParaRPr lang="da-DK" sz="2000" dirty="0"/>
          </a:p>
        </p:txBody>
      </p:sp>
      <p:sp>
        <p:nvSpPr>
          <p:cNvPr id="7" name="Tekstfelt 6">
            <a:extLst>
              <a:ext uri="{FF2B5EF4-FFF2-40B4-BE49-F238E27FC236}">
                <a16:creationId xmlns:a16="http://schemas.microsoft.com/office/drawing/2014/main" id="{570345B6-2549-4D40-8326-E79809083287}"/>
              </a:ext>
            </a:extLst>
          </p:cNvPr>
          <p:cNvSpPr txBox="1"/>
          <p:nvPr/>
        </p:nvSpPr>
        <p:spPr>
          <a:xfrm>
            <a:off x="3181350" y="4191053"/>
            <a:ext cx="5734049" cy="369332"/>
          </a:xfrm>
          <a:prstGeom prst="rect">
            <a:avLst/>
          </a:prstGeom>
          <a:noFill/>
        </p:spPr>
        <p:txBody>
          <a:bodyPr wrap="square" rtlCol="0">
            <a:spAutoFit/>
          </a:bodyPr>
          <a:lstStyle/>
          <a:p>
            <a:pPr algn="ctr"/>
            <a:r>
              <a:rPr lang="da-DK" dirty="0"/>
              <a:t>Project </a:t>
            </a:r>
            <a:r>
              <a:rPr lang="da-DK" dirty="0" err="1"/>
              <a:t>Assignment</a:t>
            </a:r>
            <a:r>
              <a:rPr lang="da-DK" dirty="0"/>
              <a:t> A</a:t>
            </a:r>
          </a:p>
        </p:txBody>
      </p:sp>
      <p:cxnSp>
        <p:nvCxnSpPr>
          <p:cNvPr id="13" name="Lige forbindelse 12">
            <a:extLst>
              <a:ext uri="{FF2B5EF4-FFF2-40B4-BE49-F238E27FC236}">
                <a16:creationId xmlns:a16="http://schemas.microsoft.com/office/drawing/2014/main" id="{E509D6A6-09CA-3442-B151-6557DFD734EA}"/>
              </a:ext>
            </a:extLst>
          </p:cNvPr>
          <p:cNvCxnSpPr>
            <a:cxnSpLocks/>
          </p:cNvCxnSpPr>
          <p:nvPr/>
        </p:nvCxnSpPr>
        <p:spPr>
          <a:xfrm flipV="1">
            <a:off x="2867498" y="3164467"/>
            <a:ext cx="636175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2175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94968" y="1120877"/>
            <a:ext cx="12816349" cy="46162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kstfelt 2"/>
          <p:cNvSpPr txBox="1"/>
          <p:nvPr/>
        </p:nvSpPr>
        <p:spPr>
          <a:xfrm>
            <a:off x="1" y="1165432"/>
            <a:ext cx="12191999" cy="1200329"/>
          </a:xfrm>
          <a:prstGeom prst="rect">
            <a:avLst/>
          </a:prstGeom>
          <a:noFill/>
        </p:spPr>
        <p:txBody>
          <a:bodyPr wrap="square" rtlCol="0">
            <a:spAutoFit/>
          </a:bodyPr>
          <a:lstStyle/>
          <a:p>
            <a:pPr algn="ctr"/>
            <a:r>
              <a:rPr lang="da-DK" sz="7200" dirty="0">
                <a:solidFill>
                  <a:schemeClr val="bg1"/>
                </a:solidFill>
              </a:rPr>
              <a:t>Masterslide Intro – Content</a:t>
            </a:r>
          </a:p>
        </p:txBody>
      </p:sp>
      <p:sp>
        <p:nvSpPr>
          <p:cNvPr id="6" name="Rektangel 5">
            <a:hlinkClick r:id="rId2" action="ppaction://hlinksldjump"/>
          </p:cNvPr>
          <p:cNvSpPr/>
          <p:nvPr/>
        </p:nvSpPr>
        <p:spPr>
          <a:xfrm>
            <a:off x="2853069" y="3453494"/>
            <a:ext cx="1871330" cy="56632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ront Page</a:t>
            </a:r>
          </a:p>
        </p:txBody>
      </p:sp>
      <p:sp>
        <p:nvSpPr>
          <p:cNvPr id="7" name="Rektangel 6">
            <a:hlinkClick r:id="rId2" action="ppaction://hlinksldjump"/>
          </p:cNvPr>
          <p:cNvSpPr/>
          <p:nvPr/>
        </p:nvSpPr>
        <p:spPr>
          <a:xfrm>
            <a:off x="659219" y="3456884"/>
            <a:ext cx="1871330" cy="56632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ndard Slides</a:t>
            </a:r>
          </a:p>
        </p:txBody>
      </p:sp>
      <p:sp>
        <p:nvSpPr>
          <p:cNvPr id="10" name="Rektangel 9">
            <a:hlinkClick r:id="rId3" action="ppaction://hlinksldjump"/>
          </p:cNvPr>
          <p:cNvSpPr/>
          <p:nvPr/>
        </p:nvSpPr>
        <p:spPr>
          <a:xfrm>
            <a:off x="7240769" y="3453494"/>
            <a:ext cx="1871330" cy="56632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nsitions</a:t>
            </a:r>
          </a:p>
        </p:txBody>
      </p:sp>
      <p:sp>
        <p:nvSpPr>
          <p:cNvPr id="11" name="Rektangel 10">
            <a:hlinkClick r:id="rId3" action="ppaction://hlinksldjump"/>
          </p:cNvPr>
          <p:cNvSpPr/>
          <p:nvPr/>
        </p:nvSpPr>
        <p:spPr>
          <a:xfrm>
            <a:off x="5046919" y="3453494"/>
            <a:ext cx="1871330" cy="56632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QA</a:t>
            </a:r>
          </a:p>
        </p:txBody>
      </p:sp>
      <p:sp>
        <p:nvSpPr>
          <p:cNvPr id="12" name="Rektangel 11">
            <a:hlinkClick r:id="rId4" action="ppaction://hlinksldjump"/>
          </p:cNvPr>
          <p:cNvSpPr/>
          <p:nvPr/>
        </p:nvSpPr>
        <p:spPr>
          <a:xfrm>
            <a:off x="9434619" y="3453494"/>
            <a:ext cx="1871330" cy="566323"/>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sights</a:t>
            </a:r>
          </a:p>
        </p:txBody>
      </p:sp>
      <p:sp>
        <p:nvSpPr>
          <p:cNvPr id="14" name="Rektangel 13">
            <a:hlinkClick r:id="rId5" action="ppaction://hlinksldjump"/>
          </p:cNvPr>
          <p:cNvSpPr/>
          <p:nvPr/>
        </p:nvSpPr>
        <p:spPr>
          <a:xfrm>
            <a:off x="659219" y="4381754"/>
            <a:ext cx="1871330" cy="56632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ere to play</a:t>
            </a:r>
          </a:p>
        </p:txBody>
      </p:sp>
      <p:sp>
        <p:nvSpPr>
          <p:cNvPr id="15" name="Rektangel 14">
            <a:hlinkClick r:id="rId6" action="ppaction://hlinksldjump"/>
          </p:cNvPr>
          <p:cNvSpPr/>
          <p:nvPr/>
        </p:nvSpPr>
        <p:spPr>
          <a:xfrm>
            <a:off x="2853069" y="4381754"/>
            <a:ext cx="1871330" cy="56632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lution </a:t>
            </a:r>
            <a:r>
              <a:rPr lang="en-US" dirty="0" err="1"/>
              <a:t>Assesment</a:t>
            </a:r>
            <a:endParaRPr lang="en-US" dirty="0"/>
          </a:p>
        </p:txBody>
      </p:sp>
      <p:sp>
        <p:nvSpPr>
          <p:cNvPr id="16" name="Rektangel 15">
            <a:hlinkClick r:id="rId7" action="ppaction://hlinksldjump"/>
          </p:cNvPr>
          <p:cNvSpPr/>
          <p:nvPr/>
        </p:nvSpPr>
        <p:spPr>
          <a:xfrm>
            <a:off x="5046919" y="4381753"/>
            <a:ext cx="1871330" cy="566323"/>
          </a:xfrm>
          <a:prstGeom prst="rect">
            <a:avLst/>
          </a:prstGeom>
          <a:solidFill>
            <a:srgbClr val="2B6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inance Slides</a:t>
            </a:r>
          </a:p>
        </p:txBody>
      </p:sp>
      <p:sp>
        <p:nvSpPr>
          <p:cNvPr id="18" name="Rektangel 17">
            <a:hlinkClick r:id="rId8" action="ppaction://hlinksldjump"/>
          </p:cNvPr>
          <p:cNvSpPr/>
          <p:nvPr/>
        </p:nvSpPr>
        <p:spPr>
          <a:xfrm>
            <a:off x="7240769" y="4381752"/>
            <a:ext cx="1871330" cy="566323"/>
          </a:xfrm>
          <a:prstGeom prst="rect">
            <a:avLst/>
          </a:prstGeom>
          <a:solidFill>
            <a:srgbClr val="702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mplementation</a:t>
            </a:r>
          </a:p>
        </p:txBody>
      </p:sp>
      <p:sp>
        <p:nvSpPr>
          <p:cNvPr id="19" name="Rektangel 18">
            <a:hlinkClick r:id="rId9" action="ppaction://hlinksldjump"/>
          </p:cNvPr>
          <p:cNvSpPr/>
          <p:nvPr/>
        </p:nvSpPr>
        <p:spPr>
          <a:xfrm>
            <a:off x="9434619" y="4381752"/>
            <a:ext cx="1871330" cy="56632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isk Slides</a:t>
            </a:r>
          </a:p>
        </p:txBody>
      </p:sp>
      <p:sp>
        <p:nvSpPr>
          <p:cNvPr id="4" name="Tekstfelt 3"/>
          <p:cNvSpPr txBox="1"/>
          <p:nvPr/>
        </p:nvSpPr>
        <p:spPr>
          <a:xfrm>
            <a:off x="555044" y="2280213"/>
            <a:ext cx="10915465" cy="646331"/>
          </a:xfrm>
          <a:prstGeom prst="rect">
            <a:avLst/>
          </a:prstGeom>
          <a:noFill/>
        </p:spPr>
        <p:txBody>
          <a:bodyPr wrap="square" rtlCol="0">
            <a:spAutoFit/>
          </a:bodyPr>
          <a:lstStyle/>
          <a:p>
            <a:pPr marL="400050" indent="-400050">
              <a:buFont typeface="+mj-lt"/>
              <a:buAutoNum type="romanUcPeriod"/>
            </a:pPr>
            <a:r>
              <a:rPr lang="en-US" dirty="0"/>
              <a:t>Go into full screen mode and click on color boxes to jump to destination</a:t>
            </a:r>
          </a:p>
          <a:p>
            <a:pPr marL="400050" indent="-400050">
              <a:buFont typeface="+mj-lt"/>
              <a:buAutoNum type="romanUcPeriod"/>
            </a:pPr>
            <a:r>
              <a:rPr lang="en-US" dirty="0"/>
              <a:t>Click on the “Back” logo on </a:t>
            </a:r>
            <a:r>
              <a:rPr lang="en-US" dirty="0" err="1"/>
              <a:t>Masterslide</a:t>
            </a:r>
            <a:r>
              <a:rPr lang="en-US" dirty="0"/>
              <a:t> transitions to return to this navigation slide</a:t>
            </a:r>
          </a:p>
        </p:txBody>
      </p:sp>
      <p:sp>
        <p:nvSpPr>
          <p:cNvPr id="5" name="Tekstfelt 4"/>
          <p:cNvSpPr txBox="1"/>
          <p:nvPr/>
        </p:nvSpPr>
        <p:spPr>
          <a:xfrm>
            <a:off x="416150" y="5833641"/>
            <a:ext cx="11968761" cy="369332"/>
          </a:xfrm>
          <a:prstGeom prst="rect">
            <a:avLst/>
          </a:prstGeom>
          <a:noFill/>
        </p:spPr>
        <p:txBody>
          <a:bodyPr wrap="square" rtlCol="0">
            <a:spAutoFit/>
          </a:bodyPr>
          <a:lstStyle/>
          <a:p>
            <a:r>
              <a:rPr lang="en-US" dirty="0"/>
              <a:t>Tip: Always start by editing the “</a:t>
            </a:r>
            <a:r>
              <a:rPr lang="en-US" dirty="0" err="1"/>
              <a:t>Slidemaster</a:t>
            </a:r>
            <a:r>
              <a:rPr lang="en-US" dirty="0"/>
              <a:t> with Company Logo” and changing “</a:t>
            </a:r>
            <a:r>
              <a:rPr lang="en-US" dirty="0" err="1"/>
              <a:t>Themecolors</a:t>
            </a:r>
            <a:r>
              <a:rPr lang="en-US" dirty="0"/>
              <a:t>” to match.</a:t>
            </a:r>
          </a:p>
        </p:txBody>
      </p:sp>
    </p:spTree>
    <p:extLst>
      <p:ext uri="{BB962C8B-B14F-4D97-AF65-F5344CB8AC3E}">
        <p14:creationId xmlns:p14="http://schemas.microsoft.com/office/powerpoint/2010/main" val="1865013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BFB7F-AF7B-7546-A132-933C04EB253B}"/>
              </a:ext>
            </a:extLst>
          </p:cNvPr>
          <p:cNvSpPr>
            <a:spLocks noGrp="1"/>
          </p:cNvSpPr>
          <p:nvPr>
            <p:ph type="title"/>
          </p:nvPr>
        </p:nvSpPr>
        <p:spPr/>
        <p:txBody>
          <a:bodyPr/>
          <a:lstStyle/>
          <a:p>
            <a:r>
              <a:rPr lang="en-GB" dirty="0"/>
              <a:t>CC Advisory Logo</a:t>
            </a:r>
          </a:p>
        </p:txBody>
      </p:sp>
      <p:sp>
        <p:nvSpPr>
          <p:cNvPr id="3" name="Text Placeholder 2">
            <a:extLst>
              <a:ext uri="{FF2B5EF4-FFF2-40B4-BE49-F238E27FC236}">
                <a16:creationId xmlns:a16="http://schemas.microsoft.com/office/drawing/2014/main" id="{43AE237B-27E2-C647-895B-B580B86A6E8E}"/>
              </a:ext>
            </a:extLst>
          </p:cNvPr>
          <p:cNvSpPr>
            <a:spLocks noGrp="1"/>
          </p:cNvSpPr>
          <p:nvPr>
            <p:ph type="body" sz="quarter" idx="4294967295"/>
          </p:nvPr>
        </p:nvSpPr>
        <p:spPr>
          <a:xfrm>
            <a:off x="620911" y="6128726"/>
            <a:ext cx="10948800" cy="180595"/>
          </a:xfrm>
          <a:prstGeom prst="rect">
            <a:avLst/>
          </a:prstGeom>
        </p:spPr>
        <p:txBody>
          <a:bodyPr/>
          <a:lstStyle/>
          <a:p>
            <a:endParaRPr lang="en-GB"/>
          </a:p>
        </p:txBody>
      </p:sp>
      <p:sp>
        <p:nvSpPr>
          <p:cNvPr id="4" name="Text Placeholder 3">
            <a:extLst>
              <a:ext uri="{FF2B5EF4-FFF2-40B4-BE49-F238E27FC236}">
                <a16:creationId xmlns:a16="http://schemas.microsoft.com/office/drawing/2014/main" id="{A97D1F98-4850-934D-892E-F857E2A90BAF}"/>
              </a:ext>
            </a:extLst>
          </p:cNvPr>
          <p:cNvSpPr>
            <a:spLocks noGrp="1"/>
          </p:cNvSpPr>
          <p:nvPr>
            <p:ph type="body" sz="quarter" idx="4294967295"/>
          </p:nvPr>
        </p:nvSpPr>
        <p:spPr>
          <a:xfrm>
            <a:off x="620911" y="5941061"/>
            <a:ext cx="10948800" cy="180595"/>
          </a:xfrm>
          <a:prstGeom prst="rect">
            <a:avLst/>
          </a:prstGeom>
        </p:spPr>
        <p:txBody>
          <a:bodyPr/>
          <a:lstStyle/>
          <a:p>
            <a:endParaRPr lang="en-GB"/>
          </a:p>
        </p:txBody>
      </p:sp>
      <p:pic>
        <p:nvPicPr>
          <p:cNvPr id="6" name="Picture 5">
            <a:extLst>
              <a:ext uri="{FF2B5EF4-FFF2-40B4-BE49-F238E27FC236}">
                <a16:creationId xmlns:a16="http://schemas.microsoft.com/office/drawing/2014/main" id="{42847D9B-4F02-A748-8D1E-503DBE4AAC08}"/>
              </a:ext>
            </a:extLst>
          </p:cNvPr>
          <p:cNvPicPr>
            <a:picLocks noChangeAspect="1"/>
          </p:cNvPicPr>
          <p:nvPr/>
        </p:nvPicPr>
        <p:blipFill>
          <a:blip r:embed="rId2"/>
          <a:stretch>
            <a:fillRect/>
          </a:stretch>
        </p:blipFill>
        <p:spPr>
          <a:xfrm>
            <a:off x="2513911" y="1202319"/>
            <a:ext cx="7162800" cy="2552700"/>
          </a:xfrm>
          <a:prstGeom prst="rect">
            <a:avLst/>
          </a:prstGeom>
        </p:spPr>
      </p:pic>
      <p:pic>
        <p:nvPicPr>
          <p:cNvPr id="7" name="Picture 6">
            <a:extLst>
              <a:ext uri="{FF2B5EF4-FFF2-40B4-BE49-F238E27FC236}">
                <a16:creationId xmlns:a16="http://schemas.microsoft.com/office/drawing/2014/main" id="{12F6B608-2686-3448-9F46-220C2E77AA37}"/>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00000" contrast="100000"/>
                    </a14:imgEffect>
                  </a14:imgLayer>
                </a14:imgProps>
              </a:ext>
            </a:extLst>
          </a:blip>
          <a:srcRect/>
          <a:stretch/>
        </p:blipFill>
        <p:spPr>
          <a:xfrm>
            <a:off x="2514600" y="3755019"/>
            <a:ext cx="7162800" cy="2552700"/>
          </a:xfrm>
          <a:prstGeom prst="rect">
            <a:avLst/>
          </a:prstGeom>
        </p:spPr>
      </p:pic>
      <p:pic>
        <p:nvPicPr>
          <p:cNvPr id="8" name="Picture 7">
            <a:extLst>
              <a:ext uri="{FF2B5EF4-FFF2-40B4-BE49-F238E27FC236}">
                <a16:creationId xmlns:a16="http://schemas.microsoft.com/office/drawing/2014/main" id="{0F1A8CC6-C540-9F47-9157-9F7096B79B3B}"/>
              </a:ext>
            </a:extLst>
          </p:cNvPr>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100000" contrast="100000"/>
                    </a14:imgEffect>
                  </a14:imgLayer>
                </a14:imgProps>
              </a:ext>
            </a:extLst>
          </a:blip>
          <a:srcRect/>
          <a:stretch/>
        </p:blipFill>
        <p:spPr>
          <a:xfrm>
            <a:off x="11794563" y="2535649"/>
            <a:ext cx="7162800" cy="2552700"/>
          </a:xfrm>
          <a:prstGeom prst="rect">
            <a:avLst/>
          </a:prstGeom>
        </p:spPr>
      </p:pic>
      <p:sp>
        <p:nvSpPr>
          <p:cNvPr id="9" name="TextBox 8">
            <a:extLst>
              <a:ext uri="{FF2B5EF4-FFF2-40B4-BE49-F238E27FC236}">
                <a16:creationId xmlns:a16="http://schemas.microsoft.com/office/drawing/2014/main" id="{BE305D48-AE42-2642-9446-3C93A6FC8181}"/>
              </a:ext>
            </a:extLst>
          </p:cNvPr>
          <p:cNvSpPr txBox="1"/>
          <p:nvPr/>
        </p:nvSpPr>
        <p:spPr>
          <a:xfrm>
            <a:off x="692114" y="1357769"/>
            <a:ext cx="1019696" cy="369332"/>
          </a:xfrm>
          <a:prstGeom prst="rect">
            <a:avLst/>
          </a:prstGeom>
          <a:noFill/>
        </p:spPr>
        <p:txBody>
          <a:bodyPr wrap="square" rtlCol="0">
            <a:spAutoFit/>
          </a:bodyPr>
          <a:lstStyle/>
          <a:p>
            <a:r>
              <a:rPr lang="en-GB" dirty="0" err="1"/>
              <a:t>Color</a:t>
            </a:r>
            <a:endParaRPr lang="en-GB" dirty="0"/>
          </a:p>
        </p:txBody>
      </p:sp>
      <p:sp>
        <p:nvSpPr>
          <p:cNvPr id="10" name="TextBox 9">
            <a:extLst>
              <a:ext uri="{FF2B5EF4-FFF2-40B4-BE49-F238E27FC236}">
                <a16:creationId xmlns:a16="http://schemas.microsoft.com/office/drawing/2014/main" id="{CDF1E81D-299F-4C4E-9911-362966E64CE0}"/>
              </a:ext>
            </a:extLst>
          </p:cNvPr>
          <p:cNvSpPr txBox="1"/>
          <p:nvPr/>
        </p:nvSpPr>
        <p:spPr>
          <a:xfrm>
            <a:off x="692114" y="4745148"/>
            <a:ext cx="1019696" cy="369332"/>
          </a:xfrm>
          <a:prstGeom prst="rect">
            <a:avLst/>
          </a:prstGeom>
          <a:noFill/>
        </p:spPr>
        <p:txBody>
          <a:bodyPr wrap="square" rtlCol="0">
            <a:spAutoFit/>
          </a:bodyPr>
          <a:lstStyle/>
          <a:p>
            <a:r>
              <a:rPr lang="en-GB" dirty="0"/>
              <a:t>Black</a:t>
            </a:r>
          </a:p>
        </p:txBody>
      </p:sp>
      <p:sp>
        <p:nvSpPr>
          <p:cNvPr id="11" name="TextBox 10">
            <a:extLst>
              <a:ext uri="{FF2B5EF4-FFF2-40B4-BE49-F238E27FC236}">
                <a16:creationId xmlns:a16="http://schemas.microsoft.com/office/drawing/2014/main" id="{FAD7015A-2741-BC47-8654-05123F24F3BD}"/>
              </a:ext>
            </a:extLst>
          </p:cNvPr>
          <p:cNvSpPr txBox="1"/>
          <p:nvPr/>
        </p:nvSpPr>
        <p:spPr>
          <a:xfrm>
            <a:off x="12684245" y="2538881"/>
            <a:ext cx="1019696" cy="369332"/>
          </a:xfrm>
          <a:prstGeom prst="rect">
            <a:avLst/>
          </a:prstGeom>
          <a:noFill/>
        </p:spPr>
        <p:txBody>
          <a:bodyPr wrap="square" rtlCol="0">
            <a:spAutoFit/>
          </a:bodyPr>
          <a:lstStyle/>
          <a:p>
            <a:r>
              <a:rPr lang="en-GB" dirty="0"/>
              <a:t>White</a:t>
            </a:r>
          </a:p>
        </p:txBody>
      </p:sp>
    </p:spTree>
    <p:extLst>
      <p:ext uri="{BB962C8B-B14F-4D97-AF65-F5344CB8AC3E}">
        <p14:creationId xmlns:p14="http://schemas.microsoft.com/office/powerpoint/2010/main" val="3288094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txBox="1">
            <a:spLocks/>
          </p:cNvSpPr>
          <p:nvPr/>
        </p:nvSpPr>
        <p:spPr>
          <a:xfrm>
            <a:off x="366118" y="267247"/>
            <a:ext cx="5733823" cy="424732"/>
          </a:xfrm>
          <a:prstGeom prst="rect">
            <a:avLst/>
          </a:prstGeom>
          <a:noFill/>
        </p:spPr>
        <p:txBody>
          <a:bodyPr wrap="square"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chemeClr val="tx1">
                    <a:lumMod val="75000"/>
                    <a:lumOff val="25000"/>
                  </a:schemeClr>
                </a:solidFill>
                <a:ea typeface="Arial" charset="0"/>
                <a:cs typeface="Arial" charset="0"/>
              </a:rPr>
              <a:t>Action Title – (Arial size 26)</a:t>
            </a:r>
          </a:p>
        </p:txBody>
      </p:sp>
      <p:sp>
        <p:nvSpPr>
          <p:cNvPr id="9" name="TextBox 4"/>
          <p:cNvSpPr txBox="1"/>
          <p:nvPr/>
        </p:nvSpPr>
        <p:spPr>
          <a:xfrm>
            <a:off x="363747" y="912621"/>
            <a:ext cx="11404600" cy="420564"/>
          </a:xfrm>
          <a:prstGeom prst="rect">
            <a:avLst/>
          </a:prstGeom>
          <a:noFill/>
        </p:spPr>
        <p:txBody>
          <a:bodyPr wrap="square" rtlCol="0">
            <a:spAutoFit/>
          </a:bodyPr>
          <a:lstStyle/>
          <a:p>
            <a:r>
              <a:rPr lang="en-US" sz="2133" b="1" dirty="0">
                <a:solidFill>
                  <a:schemeClr val="tx1">
                    <a:lumMod val="75000"/>
                    <a:lumOff val="25000"/>
                  </a:schemeClr>
                </a:solidFill>
                <a:latin typeface="Arial" charset="0"/>
                <a:ea typeface="Arial" charset="0"/>
                <a:cs typeface="Arial" charset="0"/>
              </a:rPr>
              <a:t>Subtitle/ Graph headline – (Arial size 16 bold)</a:t>
            </a:r>
          </a:p>
        </p:txBody>
      </p:sp>
      <p:sp>
        <p:nvSpPr>
          <p:cNvPr id="10" name="TextBox 2"/>
          <p:cNvSpPr txBox="1"/>
          <p:nvPr/>
        </p:nvSpPr>
        <p:spPr>
          <a:xfrm>
            <a:off x="363747" y="1312157"/>
            <a:ext cx="11404600" cy="379656"/>
          </a:xfrm>
          <a:prstGeom prst="rect">
            <a:avLst/>
          </a:prstGeom>
          <a:noFill/>
        </p:spPr>
        <p:txBody>
          <a:bodyPr wrap="square" rtlCol="0">
            <a:spAutoFit/>
          </a:bodyPr>
          <a:lstStyle/>
          <a:p>
            <a:r>
              <a:rPr lang="en-US" sz="1867" dirty="0">
                <a:solidFill>
                  <a:schemeClr val="tx1">
                    <a:lumMod val="75000"/>
                    <a:lumOff val="25000"/>
                  </a:schemeClr>
                </a:solidFill>
                <a:latin typeface="Arial" charset="0"/>
                <a:ea typeface="Arial" charset="0"/>
                <a:cs typeface="Arial" charset="0"/>
              </a:rPr>
              <a:t>Text – (Arial size 14)</a:t>
            </a:r>
          </a:p>
        </p:txBody>
      </p:sp>
      <p:sp>
        <p:nvSpPr>
          <p:cNvPr id="11" name="TextBox 2"/>
          <p:cNvSpPr txBox="1"/>
          <p:nvPr/>
        </p:nvSpPr>
        <p:spPr>
          <a:xfrm>
            <a:off x="363747" y="1864767"/>
            <a:ext cx="11404600" cy="379656"/>
          </a:xfrm>
          <a:prstGeom prst="rect">
            <a:avLst/>
          </a:prstGeom>
          <a:noFill/>
        </p:spPr>
        <p:txBody>
          <a:bodyPr wrap="square" rtlCol="0">
            <a:spAutoFit/>
          </a:bodyPr>
          <a:lstStyle/>
          <a:p>
            <a:r>
              <a:rPr lang="en-US" sz="1867" dirty="0">
                <a:solidFill>
                  <a:schemeClr val="tx1">
                    <a:lumMod val="75000"/>
                    <a:lumOff val="25000"/>
                  </a:schemeClr>
                </a:solidFill>
                <a:latin typeface="Arial" charset="0"/>
                <a:ea typeface="Arial" charset="0"/>
                <a:cs typeface="Arial" charset="0"/>
              </a:rPr>
              <a:t>Company Logo                                                    Theme Colors		     Takeaway box</a:t>
            </a:r>
          </a:p>
        </p:txBody>
      </p:sp>
      <p:sp>
        <p:nvSpPr>
          <p:cNvPr id="14" name="Rektangel 15"/>
          <p:cNvSpPr/>
          <p:nvPr/>
        </p:nvSpPr>
        <p:spPr>
          <a:xfrm>
            <a:off x="4850387" y="2650661"/>
            <a:ext cx="665279" cy="61220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a:solidFill>
                <a:schemeClr val="tx1">
                  <a:lumMod val="75000"/>
                  <a:lumOff val="25000"/>
                </a:schemeClr>
              </a:solidFill>
            </a:endParaRPr>
          </a:p>
        </p:txBody>
      </p:sp>
      <p:sp>
        <p:nvSpPr>
          <p:cNvPr id="18" name="Rektangel 4"/>
          <p:cNvSpPr/>
          <p:nvPr/>
        </p:nvSpPr>
        <p:spPr>
          <a:xfrm>
            <a:off x="4185108" y="2650661"/>
            <a:ext cx="665279" cy="6122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a:solidFill>
                <a:schemeClr val="tx1">
                  <a:lumMod val="75000"/>
                  <a:lumOff val="25000"/>
                </a:schemeClr>
              </a:solidFill>
            </a:endParaRPr>
          </a:p>
        </p:txBody>
      </p:sp>
      <p:sp>
        <p:nvSpPr>
          <p:cNvPr id="21" name="Rektangel 15"/>
          <p:cNvSpPr/>
          <p:nvPr/>
        </p:nvSpPr>
        <p:spPr>
          <a:xfrm>
            <a:off x="5515666" y="2650660"/>
            <a:ext cx="665279" cy="61220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a:solidFill>
                <a:schemeClr val="tx1">
                  <a:lumMod val="75000"/>
                  <a:lumOff val="25000"/>
                </a:schemeClr>
              </a:solidFill>
            </a:endParaRPr>
          </a:p>
        </p:txBody>
      </p:sp>
      <p:sp>
        <p:nvSpPr>
          <p:cNvPr id="22" name="Rektangel 15"/>
          <p:cNvSpPr/>
          <p:nvPr/>
        </p:nvSpPr>
        <p:spPr>
          <a:xfrm>
            <a:off x="9345731" y="2650659"/>
            <a:ext cx="665279" cy="612205"/>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a:solidFill>
                <a:schemeClr val="tx1">
                  <a:lumMod val="75000"/>
                  <a:lumOff val="25000"/>
                </a:schemeClr>
              </a:solidFill>
            </a:endParaRPr>
          </a:p>
        </p:txBody>
      </p:sp>
      <p:cxnSp>
        <p:nvCxnSpPr>
          <p:cNvPr id="4" name="Lige forbindelse 3"/>
          <p:cNvCxnSpPr/>
          <p:nvPr/>
        </p:nvCxnSpPr>
        <p:spPr>
          <a:xfrm>
            <a:off x="478301" y="4916170"/>
            <a:ext cx="3706807"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23" name="Rektangel 22"/>
          <p:cNvSpPr/>
          <p:nvPr/>
        </p:nvSpPr>
        <p:spPr>
          <a:xfrm>
            <a:off x="478301" y="4363560"/>
            <a:ext cx="1268296" cy="338554"/>
          </a:xfrm>
          <a:prstGeom prst="rect">
            <a:avLst/>
          </a:prstGeom>
        </p:spPr>
        <p:txBody>
          <a:bodyPr wrap="none">
            <a:spAutoFit/>
          </a:bodyPr>
          <a:lstStyle/>
          <a:p>
            <a:r>
              <a:rPr lang="en-US" sz="1600" b="1">
                <a:solidFill>
                  <a:schemeClr val="tx1">
                    <a:lumMod val="75000"/>
                    <a:lumOff val="25000"/>
                  </a:schemeClr>
                </a:solidFill>
                <a:latin typeface="Arial" charset="0"/>
                <a:ea typeface="Arial" charset="0"/>
                <a:cs typeface="Arial" charset="0"/>
              </a:rPr>
              <a:t>Graph Line</a:t>
            </a:r>
            <a:endParaRPr lang="en-US" sz="1600" dirty="0"/>
          </a:p>
        </p:txBody>
      </p:sp>
      <p:sp>
        <p:nvSpPr>
          <p:cNvPr id="25" name="Trekant 24"/>
          <p:cNvSpPr/>
          <p:nvPr/>
        </p:nvSpPr>
        <p:spPr>
          <a:xfrm rot="10800000">
            <a:off x="6111187" y="5868041"/>
            <a:ext cx="2644726" cy="26342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rekant 25"/>
          <p:cNvSpPr/>
          <p:nvPr/>
        </p:nvSpPr>
        <p:spPr>
          <a:xfrm rot="10800000">
            <a:off x="5050300" y="4981313"/>
            <a:ext cx="4766500" cy="474762"/>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ktangel 4"/>
          <p:cNvSpPr/>
          <p:nvPr/>
        </p:nvSpPr>
        <p:spPr>
          <a:xfrm>
            <a:off x="6180945" y="2661989"/>
            <a:ext cx="665279" cy="60087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a:solidFill>
                <a:schemeClr val="tx1">
                  <a:lumMod val="75000"/>
                  <a:lumOff val="25000"/>
                </a:schemeClr>
              </a:solidFill>
            </a:endParaRPr>
          </a:p>
        </p:txBody>
      </p:sp>
      <p:sp>
        <p:nvSpPr>
          <p:cNvPr id="27" name="Rektangel 15"/>
          <p:cNvSpPr/>
          <p:nvPr/>
        </p:nvSpPr>
        <p:spPr>
          <a:xfrm>
            <a:off x="6846224" y="2650660"/>
            <a:ext cx="665279" cy="61220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a:solidFill>
                <a:schemeClr val="tx1">
                  <a:lumMod val="75000"/>
                  <a:lumOff val="25000"/>
                </a:schemeClr>
              </a:solidFill>
            </a:endParaRPr>
          </a:p>
        </p:txBody>
      </p:sp>
      <p:sp>
        <p:nvSpPr>
          <p:cNvPr id="15" name="Tekstfelt 14"/>
          <p:cNvSpPr txBox="1"/>
          <p:nvPr/>
        </p:nvSpPr>
        <p:spPr>
          <a:xfrm>
            <a:off x="4276484" y="2252305"/>
            <a:ext cx="3900298" cy="369332"/>
          </a:xfrm>
          <a:prstGeom prst="rect">
            <a:avLst/>
          </a:prstGeom>
          <a:noFill/>
        </p:spPr>
        <p:txBody>
          <a:bodyPr wrap="square" rtlCol="0">
            <a:spAutoFit/>
          </a:bodyPr>
          <a:lstStyle/>
          <a:p>
            <a:r>
              <a:rPr lang="en-US" dirty="0"/>
              <a:t>1          2	         3        4        5    </a:t>
            </a:r>
          </a:p>
        </p:txBody>
      </p:sp>
      <p:pic>
        <p:nvPicPr>
          <p:cNvPr id="17" name="Billed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5043" y="2345283"/>
            <a:ext cx="1888717" cy="1251275"/>
          </a:xfrm>
          <a:prstGeom prst="rect">
            <a:avLst/>
          </a:prstGeom>
        </p:spPr>
      </p:pic>
    </p:spTree>
    <p:extLst>
      <p:ext uri="{BB962C8B-B14F-4D97-AF65-F5344CB8AC3E}">
        <p14:creationId xmlns:p14="http://schemas.microsoft.com/office/powerpoint/2010/main" val="193517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a:grpSpLocks/>
          </p:cNvGrpSpPr>
          <p:nvPr/>
        </p:nvGrpSpPr>
        <p:grpSpPr bwMode="auto">
          <a:xfrm>
            <a:off x="7436672" y="3048505"/>
            <a:ext cx="136394" cy="160613"/>
            <a:chOff x="1400" y="2496"/>
            <a:chExt cx="110" cy="132"/>
          </a:xfrm>
        </p:grpSpPr>
        <p:sp>
          <p:nvSpPr>
            <p:cNvPr id="10667" name="Line 7"/>
            <p:cNvSpPr>
              <a:spLocks noChangeShapeType="1"/>
            </p:cNvSpPr>
            <p:nvPr/>
          </p:nvSpPr>
          <p:spPr bwMode="auto">
            <a:xfrm flipV="1">
              <a:off x="1402" y="2526"/>
              <a:ext cx="108" cy="102"/>
            </a:xfrm>
            <a:prstGeom prst="line">
              <a:avLst/>
            </a:prstGeom>
            <a:noFill/>
            <a:ln w="28575">
              <a:solidFill>
                <a:schemeClr val="tx1"/>
              </a:solidFill>
              <a:round/>
              <a:headEnd type="none" w="sm" len="sm"/>
              <a:tailEnd type="none" w="sm" len="sm"/>
            </a:ln>
          </p:spPr>
          <p:txBody>
            <a:bodyPr wrap="none" anchor="ctr"/>
            <a:lstStyle/>
            <a:p>
              <a:endParaRPr lang="en-US" sz="1658"/>
            </a:p>
          </p:txBody>
        </p:sp>
        <p:sp>
          <p:nvSpPr>
            <p:cNvPr id="10668" name="Line 8"/>
            <p:cNvSpPr>
              <a:spLocks noChangeShapeType="1"/>
            </p:cNvSpPr>
            <p:nvPr/>
          </p:nvSpPr>
          <p:spPr bwMode="auto">
            <a:xfrm flipV="1">
              <a:off x="1400" y="2496"/>
              <a:ext cx="108" cy="102"/>
            </a:xfrm>
            <a:prstGeom prst="line">
              <a:avLst/>
            </a:prstGeom>
            <a:noFill/>
            <a:ln w="28575">
              <a:solidFill>
                <a:schemeClr val="tx1"/>
              </a:solidFill>
              <a:round/>
              <a:headEnd type="none" w="sm" len="sm"/>
              <a:tailEnd type="none" w="sm" len="sm"/>
            </a:ln>
          </p:spPr>
          <p:txBody>
            <a:bodyPr wrap="none" anchor="ctr"/>
            <a:lstStyle/>
            <a:p>
              <a:endParaRPr lang="en-US" sz="1658"/>
            </a:p>
          </p:txBody>
        </p:sp>
      </p:grpSp>
      <p:sp>
        <p:nvSpPr>
          <p:cNvPr id="10243" name="Freeform 68"/>
          <p:cNvSpPr>
            <a:spLocks/>
          </p:cNvSpPr>
          <p:nvPr/>
        </p:nvSpPr>
        <p:spPr bwMode="auto">
          <a:xfrm>
            <a:off x="7399705" y="2096301"/>
            <a:ext cx="211602" cy="261314"/>
          </a:xfrm>
          <a:custGeom>
            <a:avLst/>
            <a:gdLst>
              <a:gd name="T0" fmla="*/ 654 w 1612"/>
              <a:gd name="T1" fmla="*/ 278784 h 2009"/>
              <a:gd name="T2" fmla="*/ 102010 w 1612"/>
              <a:gd name="T3" fmla="*/ 157778 h 2009"/>
              <a:gd name="T4" fmla="*/ 70295 w 1612"/>
              <a:gd name="T5" fmla="*/ 25756 h 2009"/>
              <a:gd name="T6" fmla="*/ 93999 w 1612"/>
              <a:gd name="T7" fmla="*/ 2916 h 2009"/>
              <a:gd name="T8" fmla="*/ 115415 w 1612"/>
              <a:gd name="T9" fmla="*/ 23812 h 2009"/>
              <a:gd name="T10" fmla="*/ 137811 w 1612"/>
              <a:gd name="T11" fmla="*/ 60098 h 2009"/>
              <a:gd name="T12" fmla="*/ 152688 w 1612"/>
              <a:gd name="T13" fmla="*/ 95736 h 2009"/>
              <a:gd name="T14" fmla="*/ 160207 w 1612"/>
              <a:gd name="T15" fmla="*/ 91200 h 2009"/>
              <a:gd name="T16" fmla="*/ 189960 w 1612"/>
              <a:gd name="T17" fmla="*/ 59450 h 2009"/>
              <a:gd name="T18" fmla="*/ 231157 w 1612"/>
              <a:gd name="T19" fmla="*/ 17819 h 2009"/>
              <a:gd name="T20" fmla="*/ 253553 w 1612"/>
              <a:gd name="T21" fmla="*/ 16361 h 2009"/>
              <a:gd name="T22" fmla="*/ 263035 w 1612"/>
              <a:gd name="T23" fmla="*/ 39201 h 2009"/>
              <a:gd name="T24" fmla="*/ 250610 w 1612"/>
              <a:gd name="T25" fmla="*/ 44709 h 2009"/>
              <a:gd name="T26" fmla="*/ 245216 w 1612"/>
              <a:gd name="T27" fmla="*/ 55238 h 2009"/>
              <a:gd name="T28" fmla="*/ 238676 w 1612"/>
              <a:gd name="T29" fmla="*/ 63014 h 2009"/>
              <a:gd name="T30" fmla="*/ 204837 w 1612"/>
              <a:gd name="T31" fmla="*/ 115013 h 2009"/>
              <a:gd name="T32" fmla="*/ 192413 w 1612"/>
              <a:gd name="T33" fmla="*/ 134451 h 2009"/>
              <a:gd name="T34" fmla="*/ 177536 w 1612"/>
              <a:gd name="T35" fmla="*/ 156320 h 2009"/>
              <a:gd name="T36" fmla="*/ 173613 w 1612"/>
              <a:gd name="T37" fmla="*/ 183534 h 2009"/>
              <a:gd name="T38" fmla="*/ 191432 w 1612"/>
              <a:gd name="T39" fmla="*/ 236667 h 2009"/>
              <a:gd name="T40" fmla="*/ 218242 w 1612"/>
              <a:gd name="T41" fmla="*/ 281700 h 2009"/>
              <a:gd name="T42" fmla="*/ 214809 w 1612"/>
              <a:gd name="T43" fmla="*/ 287207 h 2009"/>
              <a:gd name="T44" fmla="*/ 213828 w 1612"/>
              <a:gd name="T45" fmla="*/ 295145 h 2009"/>
              <a:gd name="T46" fmla="*/ 203365 w 1612"/>
              <a:gd name="T47" fmla="*/ 302434 h 2009"/>
              <a:gd name="T48" fmla="*/ 201404 w 1612"/>
              <a:gd name="T49" fmla="*/ 312964 h 2009"/>
              <a:gd name="T50" fmla="*/ 183585 w 1612"/>
              <a:gd name="T51" fmla="*/ 303568 h 2009"/>
              <a:gd name="T52" fmla="*/ 177046 w 1612"/>
              <a:gd name="T53" fmla="*/ 298061 h 2009"/>
              <a:gd name="T54" fmla="*/ 162823 w 1612"/>
              <a:gd name="T55" fmla="*/ 288827 h 2009"/>
              <a:gd name="T56" fmla="*/ 149091 w 1612"/>
              <a:gd name="T57" fmla="*/ 271494 h 2009"/>
              <a:gd name="T58" fmla="*/ 122444 w 1612"/>
              <a:gd name="T59" fmla="*/ 228243 h 2009"/>
              <a:gd name="T60" fmla="*/ 24522 w 1612"/>
              <a:gd name="T61" fmla="*/ 325437 h 2009"/>
              <a:gd name="T62" fmla="*/ 22887 w 1612"/>
              <a:gd name="T63" fmla="*/ 324465 h 2009"/>
              <a:gd name="T64" fmla="*/ 19127 w 1612"/>
              <a:gd name="T65" fmla="*/ 308914 h 2009"/>
              <a:gd name="T66" fmla="*/ 10626 w 1612"/>
              <a:gd name="T67" fmla="*/ 301139 h 2009"/>
              <a:gd name="T68" fmla="*/ 1635 w 1612"/>
              <a:gd name="T69" fmla="*/ 289151 h 2009"/>
              <a:gd name="T70" fmla="*/ 654 w 1612"/>
              <a:gd name="T71" fmla="*/ 278784 h 20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2"/>
              <a:gd name="T109" fmla="*/ 0 h 2009"/>
              <a:gd name="T110" fmla="*/ 1612 w 1612"/>
              <a:gd name="T111" fmla="*/ 2009 h 20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2" h="2009">
                <a:moveTo>
                  <a:pt x="4" y="1721"/>
                </a:moveTo>
                <a:lnTo>
                  <a:pt x="624" y="974"/>
                </a:lnTo>
                <a:lnTo>
                  <a:pt x="430" y="159"/>
                </a:lnTo>
                <a:cubicBezTo>
                  <a:pt x="422" y="0"/>
                  <a:pt x="529" y="20"/>
                  <a:pt x="575" y="18"/>
                </a:cubicBezTo>
                <a:cubicBezTo>
                  <a:pt x="621" y="16"/>
                  <a:pt x="661" y="88"/>
                  <a:pt x="706" y="147"/>
                </a:cubicBezTo>
                <a:cubicBezTo>
                  <a:pt x="752" y="205"/>
                  <a:pt x="806" y="297"/>
                  <a:pt x="843" y="371"/>
                </a:cubicBezTo>
                <a:lnTo>
                  <a:pt x="934" y="591"/>
                </a:lnTo>
                <a:lnTo>
                  <a:pt x="980" y="563"/>
                </a:lnTo>
                <a:cubicBezTo>
                  <a:pt x="1016" y="527"/>
                  <a:pt x="1089" y="444"/>
                  <a:pt x="1162" y="367"/>
                </a:cubicBezTo>
                <a:cubicBezTo>
                  <a:pt x="1235" y="291"/>
                  <a:pt x="1351" y="153"/>
                  <a:pt x="1414" y="110"/>
                </a:cubicBezTo>
                <a:cubicBezTo>
                  <a:pt x="1478" y="67"/>
                  <a:pt x="1518" y="80"/>
                  <a:pt x="1551" y="101"/>
                </a:cubicBezTo>
                <a:cubicBezTo>
                  <a:pt x="1585" y="122"/>
                  <a:pt x="1612" y="214"/>
                  <a:pt x="1609" y="242"/>
                </a:cubicBezTo>
                <a:cubicBezTo>
                  <a:pt x="1606" y="269"/>
                  <a:pt x="1551" y="260"/>
                  <a:pt x="1533" y="276"/>
                </a:cubicBezTo>
                <a:cubicBezTo>
                  <a:pt x="1515" y="292"/>
                  <a:pt x="1512" y="322"/>
                  <a:pt x="1500" y="341"/>
                </a:cubicBezTo>
                <a:cubicBezTo>
                  <a:pt x="1488" y="360"/>
                  <a:pt x="1501" y="327"/>
                  <a:pt x="1460" y="389"/>
                </a:cubicBezTo>
                <a:lnTo>
                  <a:pt x="1253" y="710"/>
                </a:lnTo>
                <a:lnTo>
                  <a:pt x="1177" y="830"/>
                </a:lnTo>
                <a:cubicBezTo>
                  <a:pt x="1150" y="873"/>
                  <a:pt x="1104" y="916"/>
                  <a:pt x="1086" y="965"/>
                </a:cubicBezTo>
                <a:cubicBezTo>
                  <a:pt x="1068" y="1014"/>
                  <a:pt x="1047" y="1050"/>
                  <a:pt x="1062" y="1133"/>
                </a:cubicBezTo>
                <a:cubicBezTo>
                  <a:pt x="1077" y="1216"/>
                  <a:pt x="1126" y="1360"/>
                  <a:pt x="1171" y="1461"/>
                </a:cubicBezTo>
                <a:cubicBezTo>
                  <a:pt x="1217" y="1562"/>
                  <a:pt x="1311" y="1687"/>
                  <a:pt x="1335" y="1739"/>
                </a:cubicBezTo>
                <a:lnTo>
                  <a:pt x="1314" y="1773"/>
                </a:lnTo>
                <a:cubicBezTo>
                  <a:pt x="1311" y="1785"/>
                  <a:pt x="1320" y="1806"/>
                  <a:pt x="1308" y="1822"/>
                </a:cubicBezTo>
                <a:cubicBezTo>
                  <a:pt x="1296" y="1838"/>
                  <a:pt x="1259" y="1861"/>
                  <a:pt x="1244" y="1867"/>
                </a:cubicBezTo>
                <a:cubicBezTo>
                  <a:pt x="1229" y="1873"/>
                  <a:pt x="1250" y="1932"/>
                  <a:pt x="1232" y="1932"/>
                </a:cubicBezTo>
                <a:cubicBezTo>
                  <a:pt x="1214" y="1932"/>
                  <a:pt x="1148" y="1891"/>
                  <a:pt x="1123" y="1874"/>
                </a:cubicBezTo>
                <a:cubicBezTo>
                  <a:pt x="1098" y="1859"/>
                  <a:pt x="1104" y="1855"/>
                  <a:pt x="1083" y="1840"/>
                </a:cubicBezTo>
                <a:cubicBezTo>
                  <a:pt x="1062" y="1825"/>
                  <a:pt x="1024" y="1810"/>
                  <a:pt x="996" y="1783"/>
                </a:cubicBezTo>
                <a:cubicBezTo>
                  <a:pt x="968" y="1756"/>
                  <a:pt x="953" y="1738"/>
                  <a:pt x="912" y="1676"/>
                </a:cubicBezTo>
                <a:lnTo>
                  <a:pt x="749" y="1409"/>
                </a:lnTo>
                <a:lnTo>
                  <a:pt x="150" y="2009"/>
                </a:lnTo>
                <a:lnTo>
                  <a:pt x="140" y="2003"/>
                </a:lnTo>
                <a:cubicBezTo>
                  <a:pt x="135" y="1986"/>
                  <a:pt x="129" y="1931"/>
                  <a:pt x="117" y="1907"/>
                </a:cubicBezTo>
                <a:cubicBezTo>
                  <a:pt x="105" y="1883"/>
                  <a:pt x="83" y="1879"/>
                  <a:pt x="65" y="1859"/>
                </a:cubicBezTo>
                <a:cubicBezTo>
                  <a:pt x="47" y="1839"/>
                  <a:pt x="20" y="1808"/>
                  <a:pt x="10" y="1785"/>
                </a:cubicBezTo>
                <a:cubicBezTo>
                  <a:pt x="0" y="1762"/>
                  <a:pt x="5" y="1734"/>
                  <a:pt x="4" y="1721"/>
                </a:cubicBezTo>
                <a:close/>
              </a:path>
            </a:pathLst>
          </a:custGeom>
          <a:solidFill>
            <a:schemeClr val="tx1"/>
          </a:solidFill>
          <a:ln w="19050" cap="flat" cmpd="sng">
            <a:solidFill>
              <a:schemeClr val="tx1"/>
            </a:solidFill>
            <a:prstDash val="solid"/>
            <a:round/>
            <a:headEnd type="none" w="med" len="med"/>
            <a:tailEnd type="none" w="med" len="med"/>
          </a:ln>
        </p:spPr>
        <p:txBody>
          <a:bodyPr wrap="none" anchor="ctr"/>
          <a:lstStyle/>
          <a:p>
            <a:endParaRPr lang="en-US" sz="1658"/>
          </a:p>
        </p:txBody>
      </p:sp>
      <p:sp>
        <p:nvSpPr>
          <p:cNvPr id="10244" name="Freeform 69"/>
          <p:cNvSpPr>
            <a:spLocks/>
          </p:cNvSpPr>
          <p:nvPr/>
        </p:nvSpPr>
        <p:spPr bwMode="auto">
          <a:xfrm>
            <a:off x="7369113" y="1237148"/>
            <a:ext cx="271512" cy="258765"/>
          </a:xfrm>
          <a:custGeom>
            <a:avLst/>
            <a:gdLst>
              <a:gd name="T0" fmla="*/ 128239 w 2969"/>
              <a:gd name="T1" fmla="*/ 210070 h 2904"/>
              <a:gd name="T2" fmla="*/ 180173 w 2969"/>
              <a:gd name="T3" fmla="*/ 121292 h 2904"/>
              <a:gd name="T4" fmla="*/ 222995 w 2969"/>
              <a:gd name="T5" fmla="*/ 61478 h 2904"/>
              <a:gd name="T6" fmla="*/ 247140 w 2969"/>
              <a:gd name="T7" fmla="*/ 34401 h 2904"/>
              <a:gd name="T8" fmla="*/ 261945 w 2969"/>
              <a:gd name="T9" fmla="*/ 18088 h 2904"/>
              <a:gd name="T10" fmla="*/ 276865 w 2969"/>
              <a:gd name="T11" fmla="*/ 7213 h 2904"/>
              <a:gd name="T12" fmla="*/ 286204 w 2969"/>
              <a:gd name="T13" fmla="*/ 5438 h 2904"/>
              <a:gd name="T14" fmla="*/ 304767 w 2969"/>
              <a:gd name="T15" fmla="*/ 1776 h 2904"/>
              <a:gd name="T16" fmla="*/ 332556 w 2969"/>
              <a:gd name="T17" fmla="*/ 0 h 2904"/>
              <a:gd name="T18" fmla="*/ 338137 w 2969"/>
              <a:gd name="T19" fmla="*/ 3551 h 2904"/>
              <a:gd name="T20" fmla="*/ 336315 w 2969"/>
              <a:gd name="T21" fmla="*/ 7213 h 2904"/>
              <a:gd name="T22" fmla="*/ 325154 w 2969"/>
              <a:gd name="T23" fmla="*/ 16202 h 2904"/>
              <a:gd name="T24" fmla="*/ 280623 w 2969"/>
              <a:gd name="T25" fmla="*/ 63365 h 2904"/>
              <a:gd name="T26" fmla="*/ 232220 w 2969"/>
              <a:gd name="T27" fmla="*/ 126730 h 2904"/>
              <a:gd name="T28" fmla="*/ 185753 w 2969"/>
              <a:gd name="T29" fmla="*/ 199194 h 2904"/>
              <a:gd name="T30" fmla="*/ 146803 w 2969"/>
              <a:gd name="T31" fmla="*/ 276986 h 2904"/>
              <a:gd name="T32" fmla="*/ 135642 w 2969"/>
              <a:gd name="T33" fmla="*/ 302398 h 2904"/>
              <a:gd name="T34" fmla="*/ 128239 w 2969"/>
              <a:gd name="T35" fmla="*/ 315049 h 2904"/>
              <a:gd name="T36" fmla="*/ 118900 w 2969"/>
              <a:gd name="T37" fmla="*/ 320486 h 2904"/>
              <a:gd name="T38" fmla="*/ 96578 w 2969"/>
              <a:gd name="T39" fmla="*/ 322262 h 2904"/>
              <a:gd name="T40" fmla="*/ 79836 w 2969"/>
              <a:gd name="T41" fmla="*/ 320486 h 2904"/>
              <a:gd name="T42" fmla="*/ 72434 w 2969"/>
              <a:gd name="T43" fmla="*/ 318711 h 2904"/>
              <a:gd name="T44" fmla="*/ 63095 w 2969"/>
              <a:gd name="T45" fmla="*/ 306060 h 2904"/>
              <a:gd name="T46" fmla="*/ 37128 w 2969"/>
              <a:gd name="T47" fmla="*/ 271548 h 2904"/>
              <a:gd name="T48" fmla="*/ 7403 w 2969"/>
              <a:gd name="T49" fmla="*/ 239033 h 2904"/>
              <a:gd name="T50" fmla="*/ 0 w 2969"/>
              <a:gd name="T51" fmla="*/ 226271 h 2904"/>
              <a:gd name="T52" fmla="*/ 3644 w 2969"/>
              <a:gd name="T53" fmla="*/ 217283 h 2904"/>
              <a:gd name="T54" fmla="*/ 25967 w 2969"/>
              <a:gd name="T55" fmla="*/ 200970 h 2904"/>
              <a:gd name="T56" fmla="*/ 50111 w 2969"/>
              <a:gd name="T57" fmla="*/ 202745 h 2904"/>
              <a:gd name="T58" fmla="*/ 65031 w 2969"/>
              <a:gd name="T59" fmla="*/ 211845 h 2904"/>
              <a:gd name="T60" fmla="*/ 83595 w 2969"/>
              <a:gd name="T61" fmla="*/ 228158 h 2904"/>
              <a:gd name="T62" fmla="*/ 103981 w 2969"/>
              <a:gd name="T63" fmla="*/ 257122 h 29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9"/>
              <a:gd name="T97" fmla="*/ 0 h 2904"/>
              <a:gd name="T98" fmla="*/ 2969 w 2969"/>
              <a:gd name="T99" fmla="*/ 2904 h 29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9" h="2904">
                <a:moveTo>
                  <a:pt x="913" y="2317"/>
                </a:moveTo>
                <a:lnTo>
                  <a:pt x="1126" y="1893"/>
                </a:lnTo>
                <a:lnTo>
                  <a:pt x="1338" y="1485"/>
                </a:lnTo>
                <a:lnTo>
                  <a:pt x="1582" y="1093"/>
                </a:lnTo>
                <a:lnTo>
                  <a:pt x="1843" y="718"/>
                </a:lnTo>
                <a:lnTo>
                  <a:pt x="1958" y="554"/>
                </a:lnTo>
                <a:lnTo>
                  <a:pt x="2072" y="424"/>
                </a:lnTo>
                <a:lnTo>
                  <a:pt x="2170" y="310"/>
                </a:lnTo>
                <a:lnTo>
                  <a:pt x="2235" y="228"/>
                </a:lnTo>
                <a:lnTo>
                  <a:pt x="2300" y="163"/>
                </a:lnTo>
                <a:lnTo>
                  <a:pt x="2366" y="114"/>
                </a:lnTo>
                <a:lnTo>
                  <a:pt x="2431" y="65"/>
                </a:lnTo>
                <a:lnTo>
                  <a:pt x="2464" y="65"/>
                </a:lnTo>
                <a:lnTo>
                  <a:pt x="2513" y="49"/>
                </a:lnTo>
                <a:lnTo>
                  <a:pt x="2594" y="32"/>
                </a:lnTo>
                <a:lnTo>
                  <a:pt x="2676" y="16"/>
                </a:lnTo>
                <a:lnTo>
                  <a:pt x="2823" y="0"/>
                </a:lnTo>
                <a:lnTo>
                  <a:pt x="2920" y="0"/>
                </a:lnTo>
                <a:lnTo>
                  <a:pt x="2953" y="16"/>
                </a:lnTo>
                <a:lnTo>
                  <a:pt x="2969" y="32"/>
                </a:lnTo>
                <a:lnTo>
                  <a:pt x="2969" y="49"/>
                </a:lnTo>
                <a:lnTo>
                  <a:pt x="2953" y="65"/>
                </a:lnTo>
                <a:lnTo>
                  <a:pt x="2920" y="98"/>
                </a:lnTo>
                <a:lnTo>
                  <a:pt x="2855" y="146"/>
                </a:lnTo>
                <a:lnTo>
                  <a:pt x="2659" y="342"/>
                </a:lnTo>
                <a:lnTo>
                  <a:pt x="2464" y="571"/>
                </a:lnTo>
                <a:lnTo>
                  <a:pt x="2251" y="832"/>
                </a:lnTo>
                <a:lnTo>
                  <a:pt x="2039" y="1142"/>
                </a:lnTo>
                <a:lnTo>
                  <a:pt x="1827" y="1468"/>
                </a:lnTo>
                <a:lnTo>
                  <a:pt x="1631" y="1795"/>
                </a:lnTo>
                <a:lnTo>
                  <a:pt x="1452" y="2137"/>
                </a:lnTo>
                <a:lnTo>
                  <a:pt x="1289" y="2496"/>
                </a:lnTo>
                <a:lnTo>
                  <a:pt x="1240" y="2627"/>
                </a:lnTo>
                <a:lnTo>
                  <a:pt x="1191" y="2725"/>
                </a:lnTo>
                <a:lnTo>
                  <a:pt x="1158" y="2806"/>
                </a:lnTo>
                <a:lnTo>
                  <a:pt x="1126" y="2839"/>
                </a:lnTo>
                <a:lnTo>
                  <a:pt x="1093" y="2872"/>
                </a:lnTo>
                <a:lnTo>
                  <a:pt x="1044" y="2888"/>
                </a:lnTo>
                <a:lnTo>
                  <a:pt x="962" y="2904"/>
                </a:lnTo>
                <a:lnTo>
                  <a:pt x="848" y="2904"/>
                </a:lnTo>
                <a:lnTo>
                  <a:pt x="767" y="2904"/>
                </a:lnTo>
                <a:lnTo>
                  <a:pt x="701" y="2888"/>
                </a:lnTo>
                <a:lnTo>
                  <a:pt x="669" y="2888"/>
                </a:lnTo>
                <a:lnTo>
                  <a:pt x="636" y="2872"/>
                </a:lnTo>
                <a:lnTo>
                  <a:pt x="587" y="2806"/>
                </a:lnTo>
                <a:lnTo>
                  <a:pt x="554" y="2758"/>
                </a:lnTo>
                <a:lnTo>
                  <a:pt x="505" y="2692"/>
                </a:lnTo>
                <a:lnTo>
                  <a:pt x="326" y="2447"/>
                </a:lnTo>
                <a:lnTo>
                  <a:pt x="114" y="2203"/>
                </a:lnTo>
                <a:lnTo>
                  <a:pt x="65" y="2154"/>
                </a:lnTo>
                <a:lnTo>
                  <a:pt x="32" y="2105"/>
                </a:lnTo>
                <a:lnTo>
                  <a:pt x="0" y="2039"/>
                </a:lnTo>
                <a:lnTo>
                  <a:pt x="16" y="2007"/>
                </a:lnTo>
                <a:lnTo>
                  <a:pt x="32" y="1958"/>
                </a:lnTo>
                <a:lnTo>
                  <a:pt x="114" y="1876"/>
                </a:lnTo>
                <a:lnTo>
                  <a:pt x="228" y="1811"/>
                </a:lnTo>
                <a:lnTo>
                  <a:pt x="326" y="1795"/>
                </a:lnTo>
                <a:lnTo>
                  <a:pt x="440" y="1827"/>
                </a:lnTo>
                <a:lnTo>
                  <a:pt x="505" y="1860"/>
                </a:lnTo>
                <a:lnTo>
                  <a:pt x="571" y="1909"/>
                </a:lnTo>
                <a:lnTo>
                  <a:pt x="652" y="1974"/>
                </a:lnTo>
                <a:lnTo>
                  <a:pt x="734" y="2056"/>
                </a:lnTo>
                <a:lnTo>
                  <a:pt x="815" y="2170"/>
                </a:lnTo>
                <a:lnTo>
                  <a:pt x="913" y="2317"/>
                </a:lnTo>
                <a:close/>
              </a:path>
            </a:pathLst>
          </a:custGeom>
          <a:solidFill>
            <a:schemeClr val="tx1"/>
          </a:solidFill>
          <a:ln w="19050" cmpd="sng">
            <a:solidFill>
              <a:schemeClr val="tx1"/>
            </a:solidFill>
            <a:round/>
            <a:headEnd/>
            <a:tailEnd/>
          </a:ln>
        </p:spPr>
        <p:txBody>
          <a:bodyPr/>
          <a:lstStyle/>
          <a:p>
            <a:endParaRPr lang="en-US" sz="1658"/>
          </a:p>
        </p:txBody>
      </p:sp>
      <p:sp>
        <p:nvSpPr>
          <p:cNvPr id="10245" name="Freeform 70"/>
          <p:cNvSpPr>
            <a:spLocks/>
          </p:cNvSpPr>
          <p:nvPr/>
        </p:nvSpPr>
        <p:spPr bwMode="auto">
          <a:xfrm>
            <a:off x="7398430" y="2543721"/>
            <a:ext cx="212877" cy="261315"/>
          </a:xfrm>
          <a:custGeom>
            <a:avLst/>
            <a:gdLst>
              <a:gd name="T0" fmla="*/ 658 w 1612"/>
              <a:gd name="T1" fmla="*/ 278785 h 2009"/>
              <a:gd name="T2" fmla="*/ 102624 w 1612"/>
              <a:gd name="T3" fmla="*/ 157778 h 2009"/>
              <a:gd name="T4" fmla="*/ 70719 w 1612"/>
              <a:gd name="T5" fmla="*/ 25756 h 2009"/>
              <a:gd name="T6" fmla="*/ 94566 w 1612"/>
              <a:gd name="T7" fmla="*/ 2916 h 2009"/>
              <a:gd name="T8" fmla="*/ 116110 w 1612"/>
              <a:gd name="T9" fmla="*/ 23813 h 2009"/>
              <a:gd name="T10" fmla="*/ 138642 w 1612"/>
              <a:gd name="T11" fmla="*/ 60098 h 2009"/>
              <a:gd name="T12" fmla="*/ 153608 w 1612"/>
              <a:gd name="T13" fmla="*/ 95736 h 2009"/>
              <a:gd name="T14" fmla="*/ 161173 w 1612"/>
              <a:gd name="T15" fmla="*/ 91200 h 2009"/>
              <a:gd name="T16" fmla="*/ 191105 w 1612"/>
              <a:gd name="T17" fmla="*/ 59450 h 2009"/>
              <a:gd name="T18" fmla="*/ 232550 w 1612"/>
              <a:gd name="T19" fmla="*/ 17819 h 2009"/>
              <a:gd name="T20" fmla="*/ 255081 w 1612"/>
              <a:gd name="T21" fmla="*/ 16361 h 2009"/>
              <a:gd name="T22" fmla="*/ 264620 w 1612"/>
              <a:gd name="T23" fmla="*/ 39202 h 2009"/>
              <a:gd name="T24" fmla="*/ 252120 w 1612"/>
              <a:gd name="T25" fmla="*/ 44709 h 2009"/>
              <a:gd name="T26" fmla="*/ 246693 w 1612"/>
              <a:gd name="T27" fmla="*/ 55239 h 2009"/>
              <a:gd name="T28" fmla="*/ 240115 w 1612"/>
              <a:gd name="T29" fmla="*/ 63014 h 2009"/>
              <a:gd name="T30" fmla="*/ 206071 w 1612"/>
              <a:gd name="T31" fmla="*/ 115013 h 2009"/>
              <a:gd name="T32" fmla="*/ 193572 w 1612"/>
              <a:gd name="T33" fmla="*/ 134452 h 2009"/>
              <a:gd name="T34" fmla="*/ 178606 w 1612"/>
              <a:gd name="T35" fmla="*/ 156320 h 2009"/>
              <a:gd name="T36" fmla="*/ 174659 w 1612"/>
              <a:gd name="T37" fmla="*/ 183535 h 2009"/>
              <a:gd name="T38" fmla="*/ 192585 w 1612"/>
              <a:gd name="T39" fmla="*/ 236667 h 2009"/>
              <a:gd name="T40" fmla="*/ 219557 w 1612"/>
              <a:gd name="T41" fmla="*/ 281701 h 2009"/>
              <a:gd name="T42" fmla="*/ 216103 w 1612"/>
              <a:gd name="T43" fmla="*/ 287208 h 2009"/>
              <a:gd name="T44" fmla="*/ 215117 w 1612"/>
              <a:gd name="T45" fmla="*/ 295146 h 2009"/>
              <a:gd name="T46" fmla="*/ 204591 w 1612"/>
              <a:gd name="T47" fmla="*/ 302435 h 2009"/>
              <a:gd name="T48" fmla="*/ 202617 w 1612"/>
              <a:gd name="T49" fmla="*/ 312965 h 2009"/>
              <a:gd name="T50" fmla="*/ 184691 w 1612"/>
              <a:gd name="T51" fmla="*/ 303569 h 2009"/>
              <a:gd name="T52" fmla="*/ 178113 w 1612"/>
              <a:gd name="T53" fmla="*/ 298062 h 2009"/>
              <a:gd name="T54" fmla="*/ 163804 w 1612"/>
              <a:gd name="T55" fmla="*/ 288828 h 2009"/>
              <a:gd name="T56" fmla="*/ 149989 w 1612"/>
              <a:gd name="T57" fmla="*/ 271495 h 2009"/>
              <a:gd name="T58" fmla="*/ 123182 w 1612"/>
              <a:gd name="T59" fmla="*/ 228244 h 2009"/>
              <a:gd name="T60" fmla="*/ 24669 w 1612"/>
              <a:gd name="T61" fmla="*/ 325438 h 2009"/>
              <a:gd name="T62" fmla="*/ 23025 w 1612"/>
              <a:gd name="T63" fmla="*/ 324466 h 2009"/>
              <a:gd name="T64" fmla="*/ 19242 w 1612"/>
              <a:gd name="T65" fmla="*/ 308915 h 2009"/>
              <a:gd name="T66" fmla="*/ 10690 w 1612"/>
              <a:gd name="T67" fmla="*/ 301139 h 2009"/>
              <a:gd name="T68" fmla="*/ 1645 w 1612"/>
              <a:gd name="T69" fmla="*/ 289152 h 2009"/>
              <a:gd name="T70" fmla="*/ 658 w 1612"/>
              <a:gd name="T71" fmla="*/ 278785 h 20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2"/>
              <a:gd name="T109" fmla="*/ 0 h 2009"/>
              <a:gd name="T110" fmla="*/ 1612 w 1612"/>
              <a:gd name="T111" fmla="*/ 2009 h 20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2" h="2009">
                <a:moveTo>
                  <a:pt x="4" y="1721"/>
                </a:moveTo>
                <a:lnTo>
                  <a:pt x="624" y="974"/>
                </a:lnTo>
                <a:lnTo>
                  <a:pt x="430" y="159"/>
                </a:lnTo>
                <a:cubicBezTo>
                  <a:pt x="422" y="0"/>
                  <a:pt x="529" y="20"/>
                  <a:pt x="575" y="18"/>
                </a:cubicBezTo>
                <a:cubicBezTo>
                  <a:pt x="621" y="16"/>
                  <a:pt x="661" y="88"/>
                  <a:pt x="706" y="147"/>
                </a:cubicBezTo>
                <a:cubicBezTo>
                  <a:pt x="752" y="205"/>
                  <a:pt x="806" y="297"/>
                  <a:pt x="843" y="371"/>
                </a:cubicBezTo>
                <a:lnTo>
                  <a:pt x="934" y="591"/>
                </a:lnTo>
                <a:lnTo>
                  <a:pt x="980" y="563"/>
                </a:lnTo>
                <a:cubicBezTo>
                  <a:pt x="1016" y="527"/>
                  <a:pt x="1089" y="444"/>
                  <a:pt x="1162" y="367"/>
                </a:cubicBezTo>
                <a:cubicBezTo>
                  <a:pt x="1235" y="291"/>
                  <a:pt x="1351" y="153"/>
                  <a:pt x="1414" y="110"/>
                </a:cubicBezTo>
                <a:cubicBezTo>
                  <a:pt x="1478" y="67"/>
                  <a:pt x="1518" y="80"/>
                  <a:pt x="1551" y="101"/>
                </a:cubicBezTo>
                <a:cubicBezTo>
                  <a:pt x="1585" y="122"/>
                  <a:pt x="1612" y="214"/>
                  <a:pt x="1609" y="242"/>
                </a:cubicBezTo>
                <a:cubicBezTo>
                  <a:pt x="1606" y="269"/>
                  <a:pt x="1551" y="260"/>
                  <a:pt x="1533" y="276"/>
                </a:cubicBezTo>
                <a:cubicBezTo>
                  <a:pt x="1515" y="292"/>
                  <a:pt x="1512" y="322"/>
                  <a:pt x="1500" y="341"/>
                </a:cubicBezTo>
                <a:cubicBezTo>
                  <a:pt x="1488" y="360"/>
                  <a:pt x="1501" y="327"/>
                  <a:pt x="1460" y="389"/>
                </a:cubicBezTo>
                <a:lnTo>
                  <a:pt x="1253" y="710"/>
                </a:lnTo>
                <a:lnTo>
                  <a:pt x="1177" y="830"/>
                </a:lnTo>
                <a:cubicBezTo>
                  <a:pt x="1150" y="873"/>
                  <a:pt x="1104" y="916"/>
                  <a:pt x="1086" y="965"/>
                </a:cubicBezTo>
                <a:cubicBezTo>
                  <a:pt x="1068" y="1014"/>
                  <a:pt x="1047" y="1050"/>
                  <a:pt x="1062" y="1133"/>
                </a:cubicBezTo>
                <a:cubicBezTo>
                  <a:pt x="1077" y="1216"/>
                  <a:pt x="1126" y="1360"/>
                  <a:pt x="1171" y="1461"/>
                </a:cubicBezTo>
                <a:cubicBezTo>
                  <a:pt x="1217" y="1562"/>
                  <a:pt x="1311" y="1687"/>
                  <a:pt x="1335" y="1739"/>
                </a:cubicBezTo>
                <a:lnTo>
                  <a:pt x="1314" y="1773"/>
                </a:lnTo>
                <a:cubicBezTo>
                  <a:pt x="1311" y="1785"/>
                  <a:pt x="1320" y="1806"/>
                  <a:pt x="1308" y="1822"/>
                </a:cubicBezTo>
                <a:cubicBezTo>
                  <a:pt x="1296" y="1838"/>
                  <a:pt x="1259" y="1861"/>
                  <a:pt x="1244" y="1867"/>
                </a:cubicBezTo>
                <a:cubicBezTo>
                  <a:pt x="1229" y="1873"/>
                  <a:pt x="1250" y="1932"/>
                  <a:pt x="1232" y="1932"/>
                </a:cubicBezTo>
                <a:cubicBezTo>
                  <a:pt x="1214" y="1932"/>
                  <a:pt x="1148" y="1891"/>
                  <a:pt x="1123" y="1874"/>
                </a:cubicBezTo>
                <a:cubicBezTo>
                  <a:pt x="1098" y="1859"/>
                  <a:pt x="1104" y="1855"/>
                  <a:pt x="1083" y="1840"/>
                </a:cubicBezTo>
                <a:cubicBezTo>
                  <a:pt x="1062" y="1825"/>
                  <a:pt x="1024" y="1810"/>
                  <a:pt x="996" y="1783"/>
                </a:cubicBezTo>
                <a:cubicBezTo>
                  <a:pt x="968" y="1756"/>
                  <a:pt x="953" y="1738"/>
                  <a:pt x="912" y="1676"/>
                </a:cubicBezTo>
                <a:lnTo>
                  <a:pt x="749" y="1409"/>
                </a:lnTo>
                <a:lnTo>
                  <a:pt x="150" y="2009"/>
                </a:lnTo>
                <a:lnTo>
                  <a:pt x="140" y="2003"/>
                </a:lnTo>
                <a:cubicBezTo>
                  <a:pt x="135" y="1986"/>
                  <a:pt x="129" y="1931"/>
                  <a:pt x="117" y="1907"/>
                </a:cubicBezTo>
                <a:cubicBezTo>
                  <a:pt x="105" y="1883"/>
                  <a:pt x="83" y="1879"/>
                  <a:pt x="65" y="1859"/>
                </a:cubicBezTo>
                <a:cubicBezTo>
                  <a:pt x="47" y="1839"/>
                  <a:pt x="20" y="1808"/>
                  <a:pt x="10" y="1785"/>
                </a:cubicBezTo>
                <a:cubicBezTo>
                  <a:pt x="0" y="1762"/>
                  <a:pt x="5" y="1734"/>
                  <a:pt x="4" y="1721"/>
                </a:cubicBezTo>
                <a:close/>
              </a:path>
            </a:pathLst>
          </a:custGeom>
          <a:noFill/>
          <a:ln w="19050" cap="flat" cmpd="sng">
            <a:solidFill>
              <a:schemeClr val="tx1"/>
            </a:solidFill>
            <a:prstDash val="sysDot"/>
            <a:round/>
            <a:headEnd type="none" w="med" len="med"/>
            <a:tailEnd type="none" w="med" len="med"/>
          </a:ln>
        </p:spPr>
        <p:txBody>
          <a:bodyPr wrap="none" anchor="ctr"/>
          <a:lstStyle/>
          <a:p>
            <a:endParaRPr lang="en-US" sz="1658"/>
          </a:p>
        </p:txBody>
      </p:sp>
      <p:sp>
        <p:nvSpPr>
          <p:cNvPr id="10246" name="Freeform 71"/>
          <p:cNvSpPr>
            <a:spLocks/>
          </p:cNvSpPr>
          <p:nvPr/>
        </p:nvSpPr>
        <p:spPr bwMode="auto">
          <a:xfrm>
            <a:off x="7369113" y="1610636"/>
            <a:ext cx="271512" cy="258766"/>
          </a:xfrm>
          <a:custGeom>
            <a:avLst/>
            <a:gdLst>
              <a:gd name="T0" fmla="*/ 128239 w 2969"/>
              <a:gd name="T1" fmla="*/ 210070 h 2904"/>
              <a:gd name="T2" fmla="*/ 180173 w 2969"/>
              <a:gd name="T3" fmla="*/ 121293 h 2904"/>
              <a:gd name="T4" fmla="*/ 222995 w 2969"/>
              <a:gd name="T5" fmla="*/ 61479 h 2904"/>
              <a:gd name="T6" fmla="*/ 247140 w 2969"/>
              <a:gd name="T7" fmla="*/ 34401 h 2904"/>
              <a:gd name="T8" fmla="*/ 261945 w 2969"/>
              <a:gd name="T9" fmla="*/ 18088 h 2904"/>
              <a:gd name="T10" fmla="*/ 276865 w 2969"/>
              <a:gd name="T11" fmla="*/ 7213 h 2904"/>
              <a:gd name="T12" fmla="*/ 286204 w 2969"/>
              <a:gd name="T13" fmla="*/ 5438 h 2904"/>
              <a:gd name="T14" fmla="*/ 304767 w 2969"/>
              <a:gd name="T15" fmla="*/ 1776 h 2904"/>
              <a:gd name="T16" fmla="*/ 332556 w 2969"/>
              <a:gd name="T17" fmla="*/ 0 h 2904"/>
              <a:gd name="T18" fmla="*/ 338137 w 2969"/>
              <a:gd name="T19" fmla="*/ 3551 h 2904"/>
              <a:gd name="T20" fmla="*/ 336315 w 2969"/>
              <a:gd name="T21" fmla="*/ 7213 h 2904"/>
              <a:gd name="T22" fmla="*/ 325154 w 2969"/>
              <a:gd name="T23" fmla="*/ 16202 h 2904"/>
              <a:gd name="T24" fmla="*/ 280623 w 2969"/>
              <a:gd name="T25" fmla="*/ 63365 h 2904"/>
              <a:gd name="T26" fmla="*/ 232220 w 2969"/>
              <a:gd name="T27" fmla="*/ 126730 h 2904"/>
              <a:gd name="T28" fmla="*/ 185753 w 2969"/>
              <a:gd name="T29" fmla="*/ 199195 h 2904"/>
              <a:gd name="T30" fmla="*/ 146803 w 2969"/>
              <a:gd name="T31" fmla="*/ 276986 h 2904"/>
              <a:gd name="T32" fmla="*/ 135642 w 2969"/>
              <a:gd name="T33" fmla="*/ 302399 h 2904"/>
              <a:gd name="T34" fmla="*/ 128239 w 2969"/>
              <a:gd name="T35" fmla="*/ 315050 h 2904"/>
              <a:gd name="T36" fmla="*/ 118900 w 2969"/>
              <a:gd name="T37" fmla="*/ 320487 h 2904"/>
              <a:gd name="T38" fmla="*/ 96578 w 2969"/>
              <a:gd name="T39" fmla="*/ 322263 h 2904"/>
              <a:gd name="T40" fmla="*/ 79836 w 2969"/>
              <a:gd name="T41" fmla="*/ 320487 h 2904"/>
              <a:gd name="T42" fmla="*/ 72434 w 2969"/>
              <a:gd name="T43" fmla="*/ 318712 h 2904"/>
              <a:gd name="T44" fmla="*/ 63095 w 2969"/>
              <a:gd name="T45" fmla="*/ 306061 h 2904"/>
              <a:gd name="T46" fmla="*/ 37128 w 2969"/>
              <a:gd name="T47" fmla="*/ 271549 h 2904"/>
              <a:gd name="T48" fmla="*/ 7403 w 2969"/>
              <a:gd name="T49" fmla="*/ 239034 h 2904"/>
              <a:gd name="T50" fmla="*/ 0 w 2969"/>
              <a:gd name="T51" fmla="*/ 226272 h 2904"/>
              <a:gd name="T52" fmla="*/ 3644 w 2969"/>
              <a:gd name="T53" fmla="*/ 217283 h 2904"/>
              <a:gd name="T54" fmla="*/ 25967 w 2969"/>
              <a:gd name="T55" fmla="*/ 200970 h 2904"/>
              <a:gd name="T56" fmla="*/ 50111 w 2969"/>
              <a:gd name="T57" fmla="*/ 202746 h 2904"/>
              <a:gd name="T58" fmla="*/ 65031 w 2969"/>
              <a:gd name="T59" fmla="*/ 211846 h 2904"/>
              <a:gd name="T60" fmla="*/ 83595 w 2969"/>
              <a:gd name="T61" fmla="*/ 228159 h 2904"/>
              <a:gd name="T62" fmla="*/ 103981 w 2969"/>
              <a:gd name="T63" fmla="*/ 257122 h 29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9"/>
              <a:gd name="T97" fmla="*/ 0 h 2904"/>
              <a:gd name="T98" fmla="*/ 2969 w 2969"/>
              <a:gd name="T99" fmla="*/ 2904 h 29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9" h="2904">
                <a:moveTo>
                  <a:pt x="913" y="2317"/>
                </a:moveTo>
                <a:lnTo>
                  <a:pt x="1126" y="1893"/>
                </a:lnTo>
                <a:lnTo>
                  <a:pt x="1338" y="1485"/>
                </a:lnTo>
                <a:lnTo>
                  <a:pt x="1582" y="1093"/>
                </a:lnTo>
                <a:lnTo>
                  <a:pt x="1843" y="718"/>
                </a:lnTo>
                <a:lnTo>
                  <a:pt x="1958" y="554"/>
                </a:lnTo>
                <a:lnTo>
                  <a:pt x="2072" y="424"/>
                </a:lnTo>
                <a:lnTo>
                  <a:pt x="2170" y="310"/>
                </a:lnTo>
                <a:lnTo>
                  <a:pt x="2235" y="228"/>
                </a:lnTo>
                <a:lnTo>
                  <a:pt x="2300" y="163"/>
                </a:lnTo>
                <a:lnTo>
                  <a:pt x="2366" y="114"/>
                </a:lnTo>
                <a:lnTo>
                  <a:pt x="2431" y="65"/>
                </a:lnTo>
                <a:lnTo>
                  <a:pt x="2464" y="65"/>
                </a:lnTo>
                <a:lnTo>
                  <a:pt x="2513" y="49"/>
                </a:lnTo>
                <a:lnTo>
                  <a:pt x="2594" y="32"/>
                </a:lnTo>
                <a:lnTo>
                  <a:pt x="2676" y="16"/>
                </a:lnTo>
                <a:lnTo>
                  <a:pt x="2823" y="0"/>
                </a:lnTo>
                <a:lnTo>
                  <a:pt x="2920" y="0"/>
                </a:lnTo>
                <a:lnTo>
                  <a:pt x="2953" y="16"/>
                </a:lnTo>
                <a:lnTo>
                  <a:pt x="2969" y="32"/>
                </a:lnTo>
                <a:lnTo>
                  <a:pt x="2969" y="49"/>
                </a:lnTo>
                <a:lnTo>
                  <a:pt x="2953" y="65"/>
                </a:lnTo>
                <a:lnTo>
                  <a:pt x="2920" y="98"/>
                </a:lnTo>
                <a:lnTo>
                  <a:pt x="2855" y="146"/>
                </a:lnTo>
                <a:lnTo>
                  <a:pt x="2659" y="342"/>
                </a:lnTo>
                <a:lnTo>
                  <a:pt x="2464" y="571"/>
                </a:lnTo>
                <a:lnTo>
                  <a:pt x="2251" y="832"/>
                </a:lnTo>
                <a:lnTo>
                  <a:pt x="2039" y="1142"/>
                </a:lnTo>
                <a:lnTo>
                  <a:pt x="1827" y="1468"/>
                </a:lnTo>
                <a:lnTo>
                  <a:pt x="1631" y="1795"/>
                </a:lnTo>
                <a:lnTo>
                  <a:pt x="1452" y="2137"/>
                </a:lnTo>
                <a:lnTo>
                  <a:pt x="1289" y="2496"/>
                </a:lnTo>
                <a:lnTo>
                  <a:pt x="1240" y="2627"/>
                </a:lnTo>
                <a:lnTo>
                  <a:pt x="1191" y="2725"/>
                </a:lnTo>
                <a:lnTo>
                  <a:pt x="1158" y="2806"/>
                </a:lnTo>
                <a:lnTo>
                  <a:pt x="1126" y="2839"/>
                </a:lnTo>
                <a:lnTo>
                  <a:pt x="1093" y="2872"/>
                </a:lnTo>
                <a:lnTo>
                  <a:pt x="1044" y="2888"/>
                </a:lnTo>
                <a:lnTo>
                  <a:pt x="962" y="2904"/>
                </a:lnTo>
                <a:lnTo>
                  <a:pt x="848" y="2904"/>
                </a:lnTo>
                <a:lnTo>
                  <a:pt x="767" y="2904"/>
                </a:lnTo>
                <a:lnTo>
                  <a:pt x="701" y="2888"/>
                </a:lnTo>
                <a:lnTo>
                  <a:pt x="669" y="2888"/>
                </a:lnTo>
                <a:lnTo>
                  <a:pt x="636" y="2872"/>
                </a:lnTo>
                <a:lnTo>
                  <a:pt x="587" y="2806"/>
                </a:lnTo>
                <a:lnTo>
                  <a:pt x="554" y="2758"/>
                </a:lnTo>
                <a:lnTo>
                  <a:pt x="505" y="2692"/>
                </a:lnTo>
                <a:lnTo>
                  <a:pt x="326" y="2447"/>
                </a:lnTo>
                <a:lnTo>
                  <a:pt x="114" y="2203"/>
                </a:lnTo>
                <a:lnTo>
                  <a:pt x="65" y="2154"/>
                </a:lnTo>
                <a:lnTo>
                  <a:pt x="32" y="2105"/>
                </a:lnTo>
                <a:lnTo>
                  <a:pt x="0" y="2039"/>
                </a:lnTo>
                <a:lnTo>
                  <a:pt x="16" y="2007"/>
                </a:lnTo>
                <a:lnTo>
                  <a:pt x="32" y="1958"/>
                </a:lnTo>
                <a:lnTo>
                  <a:pt x="114" y="1876"/>
                </a:lnTo>
                <a:lnTo>
                  <a:pt x="228" y="1811"/>
                </a:lnTo>
                <a:lnTo>
                  <a:pt x="326" y="1795"/>
                </a:lnTo>
                <a:lnTo>
                  <a:pt x="440" y="1827"/>
                </a:lnTo>
                <a:lnTo>
                  <a:pt x="505" y="1860"/>
                </a:lnTo>
                <a:lnTo>
                  <a:pt x="571" y="1909"/>
                </a:lnTo>
                <a:lnTo>
                  <a:pt x="652" y="1974"/>
                </a:lnTo>
                <a:lnTo>
                  <a:pt x="734" y="2056"/>
                </a:lnTo>
                <a:lnTo>
                  <a:pt x="815" y="2170"/>
                </a:lnTo>
                <a:lnTo>
                  <a:pt x="913" y="2317"/>
                </a:lnTo>
                <a:close/>
              </a:path>
            </a:pathLst>
          </a:custGeom>
          <a:noFill/>
          <a:ln w="19050" cap="flat" cmpd="sng">
            <a:solidFill>
              <a:schemeClr val="tx1"/>
            </a:solidFill>
            <a:prstDash val="sysDot"/>
            <a:round/>
            <a:headEnd/>
            <a:tailEnd/>
          </a:ln>
        </p:spPr>
        <p:txBody>
          <a:bodyPr/>
          <a:lstStyle/>
          <a:p>
            <a:endParaRPr lang="en-US" sz="1658"/>
          </a:p>
        </p:txBody>
      </p:sp>
      <p:pic>
        <p:nvPicPr>
          <p:cNvPr id="10247" name="Picture 13" descr="white - whole.emf"/>
          <p:cNvPicPr>
            <a:picLocks noChangeAspect="1"/>
          </p:cNvPicPr>
          <p:nvPr/>
        </p:nvPicPr>
        <p:blipFill>
          <a:blip r:embed="rId3" cstate="print"/>
          <a:srcRect/>
          <a:stretch>
            <a:fillRect/>
          </a:stretch>
        </p:blipFill>
        <p:spPr bwMode="auto">
          <a:xfrm>
            <a:off x="8272138" y="3113259"/>
            <a:ext cx="367115" cy="365841"/>
          </a:xfrm>
          <a:prstGeom prst="rect">
            <a:avLst/>
          </a:prstGeom>
          <a:noFill/>
          <a:ln w="9525">
            <a:noFill/>
            <a:miter lim="800000"/>
            <a:headEnd/>
            <a:tailEnd/>
          </a:ln>
        </p:spPr>
      </p:pic>
      <p:pic>
        <p:nvPicPr>
          <p:cNvPr id="10248" name="Picture 14" descr="black - 1 quarter.emf"/>
          <p:cNvPicPr>
            <a:picLocks noChangeAspect="1"/>
          </p:cNvPicPr>
          <p:nvPr/>
        </p:nvPicPr>
        <p:blipFill>
          <a:blip r:embed="rId4" cstate="print"/>
          <a:srcRect/>
          <a:stretch>
            <a:fillRect/>
          </a:stretch>
        </p:blipFill>
        <p:spPr bwMode="auto">
          <a:xfrm>
            <a:off x="8262851" y="1562190"/>
            <a:ext cx="367115" cy="365840"/>
          </a:xfrm>
          <a:prstGeom prst="rect">
            <a:avLst/>
          </a:prstGeom>
          <a:noFill/>
          <a:ln w="9525">
            <a:noFill/>
            <a:miter lim="800000"/>
            <a:headEnd/>
            <a:tailEnd/>
          </a:ln>
        </p:spPr>
      </p:pic>
      <p:pic>
        <p:nvPicPr>
          <p:cNvPr id="10249" name="Picture 15" descr="black - 3 quarters.emf"/>
          <p:cNvPicPr>
            <a:picLocks noChangeAspect="1"/>
          </p:cNvPicPr>
          <p:nvPr/>
        </p:nvPicPr>
        <p:blipFill>
          <a:blip r:embed="rId5" cstate="print"/>
          <a:srcRect/>
          <a:stretch>
            <a:fillRect/>
          </a:stretch>
        </p:blipFill>
        <p:spPr bwMode="auto">
          <a:xfrm>
            <a:off x="8259219" y="2586805"/>
            <a:ext cx="367115" cy="365841"/>
          </a:xfrm>
          <a:prstGeom prst="rect">
            <a:avLst/>
          </a:prstGeom>
          <a:noFill/>
          <a:ln w="9525">
            <a:noFill/>
            <a:miter lim="800000"/>
            <a:headEnd/>
            <a:tailEnd/>
          </a:ln>
        </p:spPr>
      </p:pic>
      <p:pic>
        <p:nvPicPr>
          <p:cNvPr id="10250" name="Picture 16" descr="black - half.emf"/>
          <p:cNvPicPr>
            <a:picLocks noChangeAspect="1"/>
          </p:cNvPicPr>
          <p:nvPr/>
        </p:nvPicPr>
        <p:blipFill>
          <a:blip r:embed="rId6" cstate="print"/>
          <a:srcRect/>
          <a:stretch>
            <a:fillRect/>
          </a:stretch>
        </p:blipFill>
        <p:spPr bwMode="auto">
          <a:xfrm>
            <a:off x="8272138" y="2078170"/>
            <a:ext cx="367115" cy="365841"/>
          </a:xfrm>
          <a:prstGeom prst="rect">
            <a:avLst/>
          </a:prstGeom>
          <a:noFill/>
          <a:ln w="9525">
            <a:noFill/>
            <a:miter lim="800000"/>
            <a:headEnd/>
            <a:tailEnd/>
          </a:ln>
        </p:spPr>
      </p:pic>
      <p:pic>
        <p:nvPicPr>
          <p:cNvPr id="10251" name="Picture 17" descr="black - whole.emf"/>
          <p:cNvPicPr>
            <a:picLocks noChangeAspect="1"/>
          </p:cNvPicPr>
          <p:nvPr/>
        </p:nvPicPr>
        <p:blipFill>
          <a:blip r:embed="rId7" cstate="print"/>
          <a:srcRect/>
          <a:stretch>
            <a:fillRect/>
          </a:stretch>
        </p:blipFill>
        <p:spPr bwMode="auto">
          <a:xfrm>
            <a:off x="8262851" y="1112218"/>
            <a:ext cx="367115" cy="365841"/>
          </a:xfrm>
          <a:prstGeom prst="rect">
            <a:avLst/>
          </a:prstGeom>
          <a:noFill/>
          <a:ln w="9525">
            <a:noFill/>
            <a:miter lim="800000"/>
            <a:headEnd/>
            <a:tailEnd/>
          </a:ln>
        </p:spPr>
      </p:pic>
      <p:grpSp>
        <p:nvGrpSpPr>
          <p:cNvPr id="3" name="Group 68"/>
          <p:cNvGrpSpPr>
            <a:grpSpLocks/>
          </p:cNvGrpSpPr>
          <p:nvPr/>
        </p:nvGrpSpPr>
        <p:grpSpPr bwMode="auto">
          <a:xfrm>
            <a:off x="9428143" y="1317780"/>
            <a:ext cx="772054" cy="169585"/>
            <a:chOff x="4861" y="994"/>
            <a:chExt cx="545" cy="122"/>
          </a:xfrm>
        </p:grpSpPr>
        <p:grpSp>
          <p:nvGrpSpPr>
            <p:cNvPr id="4" name="Group 69"/>
            <p:cNvGrpSpPr>
              <a:grpSpLocks/>
            </p:cNvGrpSpPr>
            <p:nvPr/>
          </p:nvGrpSpPr>
          <p:grpSpPr bwMode="auto">
            <a:xfrm>
              <a:off x="4861" y="1026"/>
              <a:ext cx="86" cy="86"/>
              <a:chOff x="5173" y="2412"/>
              <a:chExt cx="86" cy="86"/>
            </a:xfrm>
          </p:grpSpPr>
          <p:sp>
            <p:nvSpPr>
              <p:cNvPr id="10665" name="Line 70"/>
              <p:cNvSpPr>
                <a:spLocks noChangeShapeType="1"/>
              </p:cNvSpPr>
              <p:nvPr/>
            </p:nvSpPr>
            <p:spPr bwMode="auto">
              <a:xfrm>
                <a:off x="5173" y="2454"/>
                <a:ext cx="86" cy="0"/>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66" name="Line 71"/>
              <p:cNvSpPr>
                <a:spLocks noChangeShapeType="1"/>
              </p:cNvSpPr>
              <p:nvPr/>
            </p:nvSpPr>
            <p:spPr bwMode="auto">
              <a:xfrm>
                <a:off x="5215" y="2412"/>
                <a:ext cx="0" cy="86"/>
              </a:xfrm>
              <a:prstGeom prst="line">
                <a:avLst/>
              </a:prstGeom>
              <a:noFill/>
              <a:ln w="12700">
                <a:solidFill>
                  <a:srgbClr val="000000"/>
                </a:solidFill>
                <a:round/>
                <a:headEnd type="none" w="sm" len="sm"/>
                <a:tailEnd type="none" w="sm" len="sm"/>
              </a:ln>
            </p:spPr>
            <p:txBody>
              <a:bodyPr wrap="none" anchor="ctr"/>
              <a:lstStyle/>
              <a:p>
                <a:endParaRPr lang="en-US" sz="1658"/>
              </a:p>
            </p:txBody>
          </p:sp>
        </p:grpSp>
        <p:sp>
          <p:nvSpPr>
            <p:cNvPr id="10664" name="Rectangle 72"/>
            <p:cNvSpPr>
              <a:spLocks noChangeArrowheads="1"/>
            </p:cNvSpPr>
            <p:nvPr/>
          </p:nvSpPr>
          <p:spPr bwMode="auto">
            <a:xfrm>
              <a:off x="5043" y="994"/>
              <a:ext cx="363" cy="122"/>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5" name="Group 73"/>
          <p:cNvGrpSpPr>
            <a:grpSpLocks/>
          </p:cNvGrpSpPr>
          <p:nvPr/>
        </p:nvGrpSpPr>
        <p:grpSpPr bwMode="auto">
          <a:xfrm>
            <a:off x="9426688" y="1578117"/>
            <a:ext cx="773517" cy="173976"/>
            <a:chOff x="4860" y="1172"/>
            <a:chExt cx="546" cy="125"/>
          </a:xfrm>
        </p:grpSpPr>
        <p:grpSp>
          <p:nvGrpSpPr>
            <p:cNvPr id="6" name="Group 74"/>
            <p:cNvGrpSpPr>
              <a:grpSpLocks/>
            </p:cNvGrpSpPr>
            <p:nvPr/>
          </p:nvGrpSpPr>
          <p:grpSpPr bwMode="auto">
            <a:xfrm>
              <a:off x="4860" y="1172"/>
              <a:ext cx="87" cy="86"/>
              <a:chOff x="5172" y="2589"/>
              <a:chExt cx="87" cy="86"/>
            </a:xfrm>
          </p:grpSpPr>
          <p:sp>
            <p:nvSpPr>
              <p:cNvPr id="10659" name="Line 75"/>
              <p:cNvSpPr>
                <a:spLocks noChangeShapeType="1"/>
              </p:cNvSpPr>
              <p:nvPr/>
            </p:nvSpPr>
            <p:spPr bwMode="auto">
              <a:xfrm flipV="1">
                <a:off x="5172" y="2589"/>
                <a:ext cx="42" cy="42"/>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60" name="Line 76"/>
              <p:cNvSpPr>
                <a:spLocks noChangeShapeType="1"/>
              </p:cNvSpPr>
              <p:nvPr/>
            </p:nvSpPr>
            <p:spPr bwMode="auto">
              <a:xfrm>
                <a:off x="5173" y="2633"/>
                <a:ext cx="42" cy="42"/>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61" name="Line 77"/>
              <p:cNvSpPr>
                <a:spLocks noChangeShapeType="1"/>
              </p:cNvSpPr>
              <p:nvPr/>
            </p:nvSpPr>
            <p:spPr bwMode="auto">
              <a:xfrm flipH="1">
                <a:off x="5216" y="2633"/>
                <a:ext cx="43" cy="42"/>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62" name="Line 78"/>
              <p:cNvSpPr>
                <a:spLocks noChangeShapeType="1"/>
              </p:cNvSpPr>
              <p:nvPr/>
            </p:nvSpPr>
            <p:spPr bwMode="auto">
              <a:xfrm flipH="1" flipV="1">
                <a:off x="5216" y="2589"/>
                <a:ext cx="43" cy="42"/>
              </a:xfrm>
              <a:prstGeom prst="line">
                <a:avLst/>
              </a:prstGeom>
              <a:noFill/>
              <a:ln w="12700">
                <a:solidFill>
                  <a:srgbClr val="000000"/>
                </a:solidFill>
                <a:round/>
                <a:headEnd type="none" w="sm" len="sm"/>
                <a:tailEnd type="none" w="sm" len="sm"/>
              </a:ln>
            </p:spPr>
            <p:txBody>
              <a:bodyPr wrap="none" anchor="ctr"/>
              <a:lstStyle/>
              <a:p>
                <a:endParaRPr lang="en-US" sz="1658"/>
              </a:p>
            </p:txBody>
          </p:sp>
        </p:grpSp>
        <p:sp>
          <p:nvSpPr>
            <p:cNvPr id="10658" name="Rectangle 79"/>
            <p:cNvSpPr>
              <a:spLocks noChangeArrowheads="1"/>
            </p:cNvSpPr>
            <p:nvPr/>
          </p:nvSpPr>
          <p:spPr bwMode="auto">
            <a:xfrm>
              <a:off x="5043" y="1175"/>
              <a:ext cx="363" cy="122"/>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7" name="Group 80"/>
          <p:cNvGrpSpPr>
            <a:grpSpLocks/>
          </p:cNvGrpSpPr>
          <p:nvPr/>
        </p:nvGrpSpPr>
        <p:grpSpPr bwMode="auto">
          <a:xfrm>
            <a:off x="9426688" y="1848689"/>
            <a:ext cx="773517" cy="169586"/>
            <a:chOff x="4860" y="1356"/>
            <a:chExt cx="546" cy="122"/>
          </a:xfrm>
        </p:grpSpPr>
        <p:grpSp>
          <p:nvGrpSpPr>
            <p:cNvPr id="8" name="Group 81"/>
            <p:cNvGrpSpPr>
              <a:grpSpLocks/>
            </p:cNvGrpSpPr>
            <p:nvPr/>
          </p:nvGrpSpPr>
          <p:grpSpPr bwMode="auto">
            <a:xfrm>
              <a:off x="4860" y="1370"/>
              <a:ext cx="87" cy="87"/>
              <a:chOff x="5172" y="2771"/>
              <a:chExt cx="87" cy="87"/>
            </a:xfrm>
          </p:grpSpPr>
          <p:sp>
            <p:nvSpPr>
              <p:cNvPr id="10653" name="Line 82"/>
              <p:cNvSpPr>
                <a:spLocks noChangeShapeType="1"/>
              </p:cNvSpPr>
              <p:nvPr/>
            </p:nvSpPr>
            <p:spPr bwMode="auto">
              <a:xfrm>
                <a:off x="5172" y="2772"/>
                <a:ext cx="0" cy="86"/>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54" name="Line 83"/>
              <p:cNvSpPr>
                <a:spLocks noChangeShapeType="1"/>
              </p:cNvSpPr>
              <p:nvPr/>
            </p:nvSpPr>
            <p:spPr bwMode="auto">
              <a:xfrm>
                <a:off x="5173" y="2771"/>
                <a:ext cx="86" cy="0"/>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55" name="Line 84"/>
              <p:cNvSpPr>
                <a:spLocks noChangeShapeType="1"/>
              </p:cNvSpPr>
              <p:nvPr/>
            </p:nvSpPr>
            <p:spPr bwMode="auto">
              <a:xfrm flipH="1">
                <a:off x="5173" y="2858"/>
                <a:ext cx="86" cy="0"/>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56" name="Line 85"/>
              <p:cNvSpPr>
                <a:spLocks noChangeShapeType="1"/>
              </p:cNvSpPr>
              <p:nvPr/>
            </p:nvSpPr>
            <p:spPr bwMode="auto">
              <a:xfrm flipV="1">
                <a:off x="5259" y="2771"/>
                <a:ext cx="0" cy="86"/>
              </a:xfrm>
              <a:prstGeom prst="line">
                <a:avLst/>
              </a:prstGeom>
              <a:noFill/>
              <a:ln w="12700">
                <a:solidFill>
                  <a:srgbClr val="000000"/>
                </a:solidFill>
                <a:round/>
                <a:headEnd type="none" w="sm" len="sm"/>
                <a:tailEnd type="none" w="sm" len="sm"/>
              </a:ln>
            </p:spPr>
            <p:txBody>
              <a:bodyPr wrap="none" anchor="ctr"/>
              <a:lstStyle/>
              <a:p>
                <a:endParaRPr lang="en-US" sz="1658"/>
              </a:p>
            </p:txBody>
          </p:sp>
        </p:grpSp>
        <p:sp>
          <p:nvSpPr>
            <p:cNvPr id="10652" name="Rectangle 86"/>
            <p:cNvSpPr>
              <a:spLocks noChangeArrowheads="1"/>
            </p:cNvSpPr>
            <p:nvPr/>
          </p:nvSpPr>
          <p:spPr bwMode="auto">
            <a:xfrm>
              <a:off x="5043" y="1356"/>
              <a:ext cx="363" cy="122"/>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9" name="Group 87"/>
          <p:cNvGrpSpPr>
            <a:grpSpLocks/>
          </p:cNvGrpSpPr>
          <p:nvPr/>
        </p:nvGrpSpPr>
        <p:grpSpPr bwMode="auto">
          <a:xfrm>
            <a:off x="9426688" y="2113419"/>
            <a:ext cx="773517" cy="169585"/>
            <a:chOff x="4860" y="1536"/>
            <a:chExt cx="546" cy="122"/>
          </a:xfrm>
        </p:grpSpPr>
        <p:sp>
          <p:nvSpPr>
            <p:cNvPr id="10649" name="Freeform 88"/>
            <p:cNvSpPr>
              <a:spLocks/>
            </p:cNvSpPr>
            <p:nvPr/>
          </p:nvSpPr>
          <p:spPr bwMode="auto">
            <a:xfrm>
              <a:off x="4860" y="1563"/>
              <a:ext cx="88" cy="87"/>
            </a:xfrm>
            <a:custGeom>
              <a:avLst/>
              <a:gdLst>
                <a:gd name="T0" fmla="*/ 43 w 88"/>
                <a:gd name="T1" fmla="*/ 0 h 87"/>
                <a:gd name="T2" fmla="*/ 29 w 88"/>
                <a:gd name="T3" fmla="*/ 19 h 87"/>
                <a:gd name="T4" fmla="*/ 0 w 88"/>
                <a:gd name="T5" fmla="*/ 19 h 87"/>
                <a:gd name="T6" fmla="*/ 15 w 88"/>
                <a:gd name="T7" fmla="*/ 43 h 87"/>
                <a:gd name="T8" fmla="*/ 0 w 88"/>
                <a:gd name="T9" fmla="*/ 62 h 87"/>
                <a:gd name="T10" fmla="*/ 29 w 88"/>
                <a:gd name="T11" fmla="*/ 62 h 87"/>
                <a:gd name="T12" fmla="*/ 43 w 88"/>
                <a:gd name="T13" fmla="*/ 86 h 87"/>
                <a:gd name="T14" fmla="*/ 58 w 88"/>
                <a:gd name="T15" fmla="*/ 62 h 87"/>
                <a:gd name="T16" fmla="*/ 87 w 88"/>
                <a:gd name="T17" fmla="*/ 62 h 87"/>
                <a:gd name="T18" fmla="*/ 72 w 88"/>
                <a:gd name="T19" fmla="*/ 43 h 87"/>
                <a:gd name="T20" fmla="*/ 87 w 88"/>
                <a:gd name="T21" fmla="*/ 19 h 87"/>
                <a:gd name="T22" fmla="*/ 58 w 88"/>
                <a:gd name="T23" fmla="*/ 19 h 87"/>
                <a:gd name="T24" fmla="*/ 43 w 88"/>
                <a:gd name="T25" fmla="*/ 0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87"/>
                <a:gd name="T41" fmla="*/ 88 w 88"/>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87">
                  <a:moveTo>
                    <a:pt x="43" y="0"/>
                  </a:moveTo>
                  <a:lnTo>
                    <a:pt x="29" y="19"/>
                  </a:lnTo>
                  <a:lnTo>
                    <a:pt x="0" y="19"/>
                  </a:lnTo>
                  <a:lnTo>
                    <a:pt x="15" y="43"/>
                  </a:lnTo>
                  <a:lnTo>
                    <a:pt x="0" y="62"/>
                  </a:lnTo>
                  <a:lnTo>
                    <a:pt x="29" y="62"/>
                  </a:lnTo>
                  <a:lnTo>
                    <a:pt x="43" y="86"/>
                  </a:lnTo>
                  <a:lnTo>
                    <a:pt x="58" y="62"/>
                  </a:lnTo>
                  <a:lnTo>
                    <a:pt x="87" y="62"/>
                  </a:lnTo>
                  <a:lnTo>
                    <a:pt x="72" y="43"/>
                  </a:lnTo>
                  <a:lnTo>
                    <a:pt x="87" y="19"/>
                  </a:lnTo>
                  <a:lnTo>
                    <a:pt x="58" y="19"/>
                  </a:lnTo>
                  <a:lnTo>
                    <a:pt x="43" y="0"/>
                  </a:lnTo>
                </a:path>
              </a:pathLst>
            </a:custGeom>
            <a:solidFill>
              <a:srgbClr val="000000"/>
            </a:solidFill>
            <a:ln w="12700" cap="rnd" cmpd="sng">
              <a:solidFill>
                <a:srgbClr val="000000"/>
              </a:solidFill>
              <a:prstDash val="solid"/>
              <a:round/>
              <a:headEnd type="none" w="sm" len="sm"/>
              <a:tailEnd type="none" w="sm" len="sm"/>
            </a:ln>
          </p:spPr>
          <p:txBody>
            <a:bodyPr/>
            <a:lstStyle/>
            <a:p>
              <a:endParaRPr lang="en-US" sz="1658"/>
            </a:p>
          </p:txBody>
        </p:sp>
        <p:sp>
          <p:nvSpPr>
            <p:cNvPr id="10650" name="Rectangle 89"/>
            <p:cNvSpPr>
              <a:spLocks noChangeArrowheads="1"/>
            </p:cNvSpPr>
            <p:nvPr/>
          </p:nvSpPr>
          <p:spPr bwMode="auto">
            <a:xfrm>
              <a:off x="5043" y="1536"/>
              <a:ext cx="363" cy="122"/>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0" name="Group 90"/>
          <p:cNvGrpSpPr>
            <a:grpSpLocks/>
          </p:cNvGrpSpPr>
          <p:nvPr/>
        </p:nvGrpSpPr>
        <p:grpSpPr bwMode="auto">
          <a:xfrm>
            <a:off x="9426688" y="2379602"/>
            <a:ext cx="773517" cy="169585"/>
            <a:chOff x="4860" y="1716"/>
            <a:chExt cx="546" cy="122"/>
          </a:xfrm>
        </p:grpSpPr>
        <p:sp>
          <p:nvSpPr>
            <p:cNvPr id="10647" name="Freeform 91"/>
            <p:cNvSpPr>
              <a:spLocks/>
            </p:cNvSpPr>
            <p:nvPr/>
          </p:nvSpPr>
          <p:spPr bwMode="auto">
            <a:xfrm>
              <a:off x="4860" y="1740"/>
              <a:ext cx="88" cy="88"/>
            </a:xfrm>
            <a:custGeom>
              <a:avLst/>
              <a:gdLst>
                <a:gd name="T0" fmla="*/ 0 w 88"/>
                <a:gd name="T1" fmla="*/ 44 h 88"/>
                <a:gd name="T2" fmla="*/ 43 w 88"/>
                <a:gd name="T3" fmla="*/ 0 h 88"/>
                <a:gd name="T4" fmla="*/ 87 w 88"/>
                <a:gd name="T5" fmla="*/ 44 h 88"/>
                <a:gd name="T6" fmla="*/ 43 w 88"/>
                <a:gd name="T7" fmla="*/ 87 h 88"/>
                <a:gd name="T8" fmla="*/ 0 w 88"/>
                <a:gd name="T9" fmla="*/ 44 h 88"/>
                <a:gd name="T10" fmla="*/ 0 60000 65536"/>
                <a:gd name="T11" fmla="*/ 0 60000 65536"/>
                <a:gd name="T12" fmla="*/ 0 60000 65536"/>
                <a:gd name="T13" fmla="*/ 0 60000 65536"/>
                <a:gd name="T14" fmla="*/ 0 60000 65536"/>
                <a:gd name="T15" fmla="*/ 0 w 88"/>
                <a:gd name="T16" fmla="*/ 0 h 88"/>
                <a:gd name="T17" fmla="*/ 88 w 88"/>
                <a:gd name="T18" fmla="*/ 88 h 88"/>
              </a:gdLst>
              <a:ahLst/>
              <a:cxnLst>
                <a:cxn ang="T10">
                  <a:pos x="T0" y="T1"/>
                </a:cxn>
                <a:cxn ang="T11">
                  <a:pos x="T2" y="T3"/>
                </a:cxn>
                <a:cxn ang="T12">
                  <a:pos x="T4" y="T5"/>
                </a:cxn>
                <a:cxn ang="T13">
                  <a:pos x="T6" y="T7"/>
                </a:cxn>
                <a:cxn ang="T14">
                  <a:pos x="T8" y="T9"/>
                </a:cxn>
              </a:cxnLst>
              <a:rect l="T15" t="T16" r="T17" b="T18"/>
              <a:pathLst>
                <a:path w="88" h="88">
                  <a:moveTo>
                    <a:pt x="0" y="44"/>
                  </a:moveTo>
                  <a:lnTo>
                    <a:pt x="43" y="0"/>
                  </a:lnTo>
                  <a:lnTo>
                    <a:pt x="87" y="44"/>
                  </a:lnTo>
                  <a:lnTo>
                    <a:pt x="43" y="87"/>
                  </a:lnTo>
                  <a:lnTo>
                    <a:pt x="0" y="44"/>
                  </a:lnTo>
                </a:path>
              </a:pathLst>
            </a:custGeom>
            <a:solidFill>
              <a:srgbClr val="000000"/>
            </a:solidFill>
            <a:ln w="12700" cap="rnd" cmpd="sng">
              <a:solidFill>
                <a:srgbClr val="000000"/>
              </a:solidFill>
              <a:prstDash val="solid"/>
              <a:round/>
              <a:headEnd type="none" w="sm" len="sm"/>
              <a:tailEnd type="none" w="sm" len="sm"/>
            </a:ln>
          </p:spPr>
          <p:txBody>
            <a:bodyPr/>
            <a:lstStyle/>
            <a:p>
              <a:endParaRPr lang="en-US" sz="1658"/>
            </a:p>
          </p:txBody>
        </p:sp>
        <p:sp>
          <p:nvSpPr>
            <p:cNvPr id="10648" name="Rectangle 92"/>
            <p:cNvSpPr>
              <a:spLocks noChangeArrowheads="1"/>
            </p:cNvSpPr>
            <p:nvPr/>
          </p:nvSpPr>
          <p:spPr bwMode="auto">
            <a:xfrm>
              <a:off x="5043" y="1716"/>
              <a:ext cx="363" cy="122"/>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1" name="Group 93"/>
          <p:cNvGrpSpPr>
            <a:grpSpLocks/>
          </p:cNvGrpSpPr>
          <p:nvPr/>
        </p:nvGrpSpPr>
        <p:grpSpPr bwMode="auto">
          <a:xfrm>
            <a:off x="9428143" y="3191340"/>
            <a:ext cx="772054" cy="169610"/>
            <a:chOff x="4861" y="2077"/>
            <a:chExt cx="545" cy="120"/>
          </a:xfrm>
        </p:grpSpPr>
        <p:grpSp>
          <p:nvGrpSpPr>
            <p:cNvPr id="12" name="Group 94"/>
            <p:cNvGrpSpPr>
              <a:grpSpLocks/>
            </p:cNvGrpSpPr>
            <p:nvPr/>
          </p:nvGrpSpPr>
          <p:grpSpPr bwMode="auto">
            <a:xfrm>
              <a:off x="4861" y="2101"/>
              <a:ext cx="86" cy="86"/>
              <a:chOff x="5173" y="3487"/>
              <a:chExt cx="86" cy="86"/>
            </a:xfrm>
          </p:grpSpPr>
          <p:sp>
            <p:nvSpPr>
              <p:cNvPr id="10643" name="Line 95"/>
              <p:cNvSpPr>
                <a:spLocks noChangeShapeType="1"/>
              </p:cNvSpPr>
              <p:nvPr/>
            </p:nvSpPr>
            <p:spPr bwMode="auto">
              <a:xfrm>
                <a:off x="5173" y="3530"/>
                <a:ext cx="86" cy="0"/>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44" name="Line 96"/>
              <p:cNvSpPr>
                <a:spLocks noChangeShapeType="1"/>
              </p:cNvSpPr>
              <p:nvPr/>
            </p:nvSpPr>
            <p:spPr bwMode="auto">
              <a:xfrm>
                <a:off x="5215" y="3487"/>
                <a:ext cx="0" cy="86"/>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45" name="Line 97"/>
              <p:cNvSpPr>
                <a:spLocks noChangeShapeType="1"/>
              </p:cNvSpPr>
              <p:nvPr/>
            </p:nvSpPr>
            <p:spPr bwMode="auto">
              <a:xfrm>
                <a:off x="5173" y="3487"/>
                <a:ext cx="86" cy="86"/>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46" name="Line 98"/>
              <p:cNvSpPr>
                <a:spLocks noChangeShapeType="1"/>
              </p:cNvSpPr>
              <p:nvPr/>
            </p:nvSpPr>
            <p:spPr bwMode="auto">
              <a:xfrm flipH="1">
                <a:off x="5173" y="3487"/>
                <a:ext cx="86" cy="86"/>
              </a:xfrm>
              <a:prstGeom prst="line">
                <a:avLst/>
              </a:prstGeom>
              <a:noFill/>
              <a:ln w="12700">
                <a:solidFill>
                  <a:srgbClr val="000000"/>
                </a:solidFill>
                <a:round/>
                <a:headEnd type="none" w="sm" len="sm"/>
                <a:tailEnd type="none" w="sm" len="sm"/>
              </a:ln>
            </p:spPr>
            <p:txBody>
              <a:bodyPr wrap="none" anchor="ctr"/>
              <a:lstStyle/>
              <a:p>
                <a:endParaRPr lang="en-US" sz="1658"/>
              </a:p>
            </p:txBody>
          </p:sp>
        </p:grpSp>
        <p:sp>
          <p:nvSpPr>
            <p:cNvPr id="10642" name="Rectangle 99"/>
            <p:cNvSpPr>
              <a:spLocks noChangeArrowheads="1"/>
            </p:cNvSpPr>
            <p:nvPr/>
          </p:nvSpPr>
          <p:spPr bwMode="auto">
            <a:xfrm>
              <a:off x="5043" y="2077"/>
              <a:ext cx="363" cy="120"/>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3" name="Group 100"/>
          <p:cNvGrpSpPr>
            <a:grpSpLocks/>
          </p:cNvGrpSpPr>
          <p:nvPr/>
        </p:nvGrpSpPr>
        <p:grpSpPr bwMode="auto">
          <a:xfrm>
            <a:off x="9466172" y="3456067"/>
            <a:ext cx="735481" cy="169609"/>
            <a:chOff x="4887" y="2258"/>
            <a:chExt cx="520" cy="120"/>
          </a:xfrm>
        </p:grpSpPr>
        <p:sp>
          <p:nvSpPr>
            <p:cNvPr id="10639" name="Oval 101"/>
            <p:cNvSpPr>
              <a:spLocks noChangeArrowheads="1"/>
            </p:cNvSpPr>
            <p:nvPr/>
          </p:nvSpPr>
          <p:spPr bwMode="auto">
            <a:xfrm>
              <a:off x="4887" y="2296"/>
              <a:ext cx="39" cy="40"/>
            </a:xfrm>
            <a:prstGeom prst="ellipse">
              <a:avLst/>
            </a:prstGeom>
            <a:noFill/>
            <a:ln w="12700">
              <a:solidFill>
                <a:schemeClr val="tx1"/>
              </a:solidFill>
              <a:round/>
              <a:headEnd/>
              <a:tailEnd/>
            </a:ln>
          </p:spPr>
          <p:txBody>
            <a:bodyPr wrap="none" anchor="ctr"/>
            <a:lstStyle/>
            <a:p>
              <a:endParaRPr lang="en-US" sz="1106">
                <a:latin typeface="Verdana" pitchFamily="34" charset="0"/>
              </a:endParaRPr>
            </a:p>
          </p:txBody>
        </p:sp>
        <p:sp>
          <p:nvSpPr>
            <p:cNvPr id="10640" name="Rectangle 102"/>
            <p:cNvSpPr>
              <a:spLocks noChangeArrowheads="1"/>
            </p:cNvSpPr>
            <p:nvPr/>
          </p:nvSpPr>
          <p:spPr bwMode="auto">
            <a:xfrm>
              <a:off x="5043" y="2258"/>
              <a:ext cx="364" cy="120"/>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4" name="Group 103"/>
          <p:cNvGrpSpPr>
            <a:grpSpLocks/>
          </p:cNvGrpSpPr>
          <p:nvPr/>
        </p:nvGrpSpPr>
        <p:grpSpPr bwMode="auto">
          <a:xfrm>
            <a:off x="9460323" y="3722255"/>
            <a:ext cx="741333" cy="169609"/>
            <a:chOff x="4883" y="2438"/>
            <a:chExt cx="524" cy="120"/>
          </a:xfrm>
        </p:grpSpPr>
        <p:sp>
          <p:nvSpPr>
            <p:cNvPr id="10637" name="Oval 104"/>
            <p:cNvSpPr>
              <a:spLocks noChangeArrowheads="1"/>
            </p:cNvSpPr>
            <p:nvPr/>
          </p:nvSpPr>
          <p:spPr bwMode="auto">
            <a:xfrm>
              <a:off x="4883" y="2476"/>
              <a:ext cx="45" cy="40"/>
            </a:xfrm>
            <a:prstGeom prst="ellipse">
              <a:avLst/>
            </a:prstGeom>
            <a:solidFill>
              <a:srgbClr val="000000"/>
            </a:solidFill>
            <a:ln w="12700">
              <a:solidFill>
                <a:srgbClr val="000000"/>
              </a:solidFill>
              <a:round/>
              <a:headEnd/>
              <a:tailEnd/>
            </a:ln>
          </p:spPr>
          <p:txBody>
            <a:bodyPr wrap="none" anchor="ctr"/>
            <a:lstStyle/>
            <a:p>
              <a:endParaRPr lang="en-US" sz="1106">
                <a:latin typeface="Verdana" pitchFamily="34" charset="0"/>
              </a:endParaRPr>
            </a:p>
          </p:txBody>
        </p:sp>
        <p:sp>
          <p:nvSpPr>
            <p:cNvPr id="10638" name="Rectangle 105"/>
            <p:cNvSpPr>
              <a:spLocks noChangeArrowheads="1"/>
            </p:cNvSpPr>
            <p:nvPr/>
          </p:nvSpPr>
          <p:spPr bwMode="auto">
            <a:xfrm>
              <a:off x="5043" y="2438"/>
              <a:ext cx="364" cy="120"/>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5" name="Group 106"/>
          <p:cNvGrpSpPr>
            <a:grpSpLocks/>
          </p:cNvGrpSpPr>
          <p:nvPr/>
        </p:nvGrpSpPr>
        <p:grpSpPr bwMode="auto">
          <a:xfrm>
            <a:off x="9474947" y="3988444"/>
            <a:ext cx="725251" cy="169609"/>
            <a:chOff x="4894" y="2619"/>
            <a:chExt cx="512" cy="120"/>
          </a:xfrm>
        </p:grpSpPr>
        <p:sp>
          <p:nvSpPr>
            <p:cNvPr id="10635" name="Freeform 107"/>
            <p:cNvSpPr>
              <a:spLocks/>
            </p:cNvSpPr>
            <p:nvPr/>
          </p:nvSpPr>
          <p:spPr bwMode="auto">
            <a:xfrm>
              <a:off x="4894" y="2664"/>
              <a:ext cx="26" cy="25"/>
            </a:xfrm>
            <a:custGeom>
              <a:avLst/>
              <a:gdLst>
                <a:gd name="T0" fmla="*/ 0 w 25"/>
                <a:gd name="T1" fmla="*/ 0 h 25"/>
                <a:gd name="T2" fmla="*/ 25 w 25"/>
                <a:gd name="T3" fmla="*/ 0 h 25"/>
                <a:gd name="T4" fmla="*/ 25 w 25"/>
                <a:gd name="T5" fmla="*/ 24 h 25"/>
                <a:gd name="T6" fmla="*/ 0 w 25"/>
                <a:gd name="T7" fmla="*/ 24 h 25"/>
                <a:gd name="T8" fmla="*/ 0 w 25"/>
                <a:gd name="T9" fmla="*/ 0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0"/>
                  </a:moveTo>
                  <a:lnTo>
                    <a:pt x="24" y="0"/>
                  </a:lnTo>
                  <a:lnTo>
                    <a:pt x="24" y="24"/>
                  </a:lnTo>
                  <a:lnTo>
                    <a:pt x="0" y="24"/>
                  </a:lnTo>
                  <a:lnTo>
                    <a:pt x="0" y="0"/>
                  </a:lnTo>
                </a:path>
              </a:pathLst>
            </a:custGeom>
            <a:solidFill>
              <a:srgbClr val="000000"/>
            </a:solidFill>
            <a:ln w="12700" cap="rnd" cmpd="sng">
              <a:solidFill>
                <a:srgbClr val="000000"/>
              </a:solidFill>
              <a:prstDash val="solid"/>
              <a:round/>
              <a:headEnd type="none" w="sm" len="sm"/>
              <a:tailEnd type="none" w="sm" len="sm"/>
            </a:ln>
          </p:spPr>
          <p:txBody>
            <a:bodyPr/>
            <a:lstStyle/>
            <a:p>
              <a:endParaRPr lang="en-US" sz="1658"/>
            </a:p>
          </p:txBody>
        </p:sp>
        <p:sp>
          <p:nvSpPr>
            <p:cNvPr id="10636" name="Rectangle 108"/>
            <p:cNvSpPr>
              <a:spLocks noChangeArrowheads="1"/>
            </p:cNvSpPr>
            <p:nvPr/>
          </p:nvSpPr>
          <p:spPr bwMode="auto">
            <a:xfrm>
              <a:off x="5043" y="2619"/>
              <a:ext cx="363" cy="120"/>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6" name="Group 109"/>
          <p:cNvGrpSpPr>
            <a:grpSpLocks/>
          </p:cNvGrpSpPr>
          <p:nvPr/>
        </p:nvGrpSpPr>
        <p:grpSpPr bwMode="auto">
          <a:xfrm>
            <a:off x="9428143" y="1067673"/>
            <a:ext cx="772054" cy="169586"/>
            <a:chOff x="4861" y="814"/>
            <a:chExt cx="545" cy="122"/>
          </a:xfrm>
        </p:grpSpPr>
        <p:grpSp>
          <p:nvGrpSpPr>
            <p:cNvPr id="17" name="Group 110"/>
            <p:cNvGrpSpPr>
              <a:grpSpLocks/>
            </p:cNvGrpSpPr>
            <p:nvPr/>
          </p:nvGrpSpPr>
          <p:grpSpPr bwMode="auto">
            <a:xfrm>
              <a:off x="4861" y="844"/>
              <a:ext cx="86" cy="85"/>
              <a:chOff x="5173" y="2230"/>
              <a:chExt cx="86" cy="85"/>
            </a:xfrm>
          </p:grpSpPr>
          <p:sp>
            <p:nvSpPr>
              <p:cNvPr id="10633" name="Line 111"/>
              <p:cNvSpPr>
                <a:spLocks noChangeShapeType="1"/>
              </p:cNvSpPr>
              <p:nvPr/>
            </p:nvSpPr>
            <p:spPr bwMode="auto">
              <a:xfrm>
                <a:off x="5173" y="2230"/>
                <a:ext cx="86" cy="85"/>
              </a:xfrm>
              <a:prstGeom prst="line">
                <a:avLst/>
              </a:prstGeom>
              <a:noFill/>
              <a:ln w="12700">
                <a:solidFill>
                  <a:srgbClr val="000000"/>
                </a:solidFill>
                <a:round/>
                <a:headEnd type="none" w="sm" len="sm"/>
                <a:tailEnd type="none" w="sm" len="sm"/>
              </a:ln>
            </p:spPr>
            <p:txBody>
              <a:bodyPr wrap="none" anchor="ctr"/>
              <a:lstStyle/>
              <a:p>
                <a:endParaRPr lang="en-US" sz="1658"/>
              </a:p>
            </p:txBody>
          </p:sp>
          <p:sp>
            <p:nvSpPr>
              <p:cNvPr id="10634" name="Line 112"/>
              <p:cNvSpPr>
                <a:spLocks noChangeShapeType="1"/>
              </p:cNvSpPr>
              <p:nvPr/>
            </p:nvSpPr>
            <p:spPr bwMode="auto">
              <a:xfrm flipH="1">
                <a:off x="5173" y="2230"/>
                <a:ext cx="86" cy="85"/>
              </a:xfrm>
              <a:prstGeom prst="line">
                <a:avLst/>
              </a:prstGeom>
              <a:noFill/>
              <a:ln w="12700">
                <a:solidFill>
                  <a:srgbClr val="000000"/>
                </a:solidFill>
                <a:round/>
                <a:headEnd type="none" w="sm" len="sm"/>
                <a:tailEnd type="none" w="sm" len="sm"/>
              </a:ln>
            </p:spPr>
            <p:txBody>
              <a:bodyPr wrap="none" anchor="ctr"/>
              <a:lstStyle/>
              <a:p>
                <a:endParaRPr lang="en-US" sz="1658"/>
              </a:p>
            </p:txBody>
          </p:sp>
        </p:grpSp>
        <p:sp>
          <p:nvSpPr>
            <p:cNvPr id="10632" name="Rectangle 113"/>
            <p:cNvSpPr>
              <a:spLocks noChangeArrowheads="1"/>
            </p:cNvSpPr>
            <p:nvPr/>
          </p:nvSpPr>
          <p:spPr bwMode="auto">
            <a:xfrm>
              <a:off x="5043" y="814"/>
              <a:ext cx="363" cy="122"/>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8" name="Group 114"/>
          <p:cNvGrpSpPr>
            <a:grpSpLocks/>
          </p:cNvGrpSpPr>
          <p:nvPr/>
        </p:nvGrpSpPr>
        <p:grpSpPr bwMode="auto">
          <a:xfrm>
            <a:off x="9426688" y="2644330"/>
            <a:ext cx="773517" cy="169586"/>
            <a:chOff x="4860" y="1897"/>
            <a:chExt cx="546" cy="122"/>
          </a:xfrm>
        </p:grpSpPr>
        <p:sp>
          <p:nvSpPr>
            <p:cNvPr id="10629" name="Freeform 115"/>
            <p:cNvSpPr>
              <a:spLocks/>
            </p:cNvSpPr>
            <p:nvPr/>
          </p:nvSpPr>
          <p:spPr bwMode="auto">
            <a:xfrm>
              <a:off x="4860" y="1923"/>
              <a:ext cx="88" cy="88"/>
            </a:xfrm>
            <a:custGeom>
              <a:avLst/>
              <a:gdLst>
                <a:gd name="T0" fmla="*/ 0 w 88"/>
                <a:gd name="T1" fmla="*/ 0 h 87"/>
                <a:gd name="T2" fmla="*/ 87 w 88"/>
                <a:gd name="T3" fmla="*/ 0 h 87"/>
                <a:gd name="T4" fmla="*/ 87 w 88"/>
                <a:gd name="T5" fmla="*/ 87 h 87"/>
                <a:gd name="T6" fmla="*/ 0 w 88"/>
                <a:gd name="T7" fmla="*/ 87 h 87"/>
                <a:gd name="T8" fmla="*/ 0 w 88"/>
                <a:gd name="T9" fmla="*/ 0 h 87"/>
                <a:gd name="T10" fmla="*/ 0 60000 65536"/>
                <a:gd name="T11" fmla="*/ 0 60000 65536"/>
                <a:gd name="T12" fmla="*/ 0 60000 65536"/>
                <a:gd name="T13" fmla="*/ 0 60000 65536"/>
                <a:gd name="T14" fmla="*/ 0 60000 65536"/>
                <a:gd name="T15" fmla="*/ 0 w 88"/>
                <a:gd name="T16" fmla="*/ 0 h 87"/>
                <a:gd name="T17" fmla="*/ 88 w 88"/>
                <a:gd name="T18" fmla="*/ 87 h 87"/>
              </a:gdLst>
              <a:ahLst/>
              <a:cxnLst>
                <a:cxn ang="T10">
                  <a:pos x="T0" y="T1"/>
                </a:cxn>
                <a:cxn ang="T11">
                  <a:pos x="T2" y="T3"/>
                </a:cxn>
                <a:cxn ang="T12">
                  <a:pos x="T4" y="T5"/>
                </a:cxn>
                <a:cxn ang="T13">
                  <a:pos x="T6" y="T7"/>
                </a:cxn>
                <a:cxn ang="T14">
                  <a:pos x="T8" y="T9"/>
                </a:cxn>
              </a:cxnLst>
              <a:rect l="T15" t="T16" r="T17" b="T18"/>
              <a:pathLst>
                <a:path w="88" h="87">
                  <a:moveTo>
                    <a:pt x="0" y="0"/>
                  </a:moveTo>
                  <a:lnTo>
                    <a:pt x="87" y="0"/>
                  </a:lnTo>
                  <a:lnTo>
                    <a:pt x="87" y="86"/>
                  </a:lnTo>
                  <a:lnTo>
                    <a:pt x="0" y="86"/>
                  </a:lnTo>
                  <a:lnTo>
                    <a:pt x="0" y="0"/>
                  </a:lnTo>
                </a:path>
              </a:pathLst>
            </a:custGeom>
            <a:solidFill>
              <a:srgbClr val="000000"/>
            </a:solidFill>
            <a:ln w="12700" cap="rnd" cmpd="sng">
              <a:solidFill>
                <a:srgbClr val="000000"/>
              </a:solidFill>
              <a:prstDash val="solid"/>
              <a:round/>
              <a:headEnd type="none" w="sm" len="sm"/>
              <a:tailEnd type="none" w="sm" len="sm"/>
            </a:ln>
          </p:spPr>
          <p:txBody>
            <a:bodyPr/>
            <a:lstStyle/>
            <a:p>
              <a:endParaRPr lang="en-US" sz="1658"/>
            </a:p>
          </p:txBody>
        </p:sp>
        <p:sp>
          <p:nvSpPr>
            <p:cNvPr id="10630" name="Rectangle 116"/>
            <p:cNvSpPr>
              <a:spLocks noChangeArrowheads="1"/>
            </p:cNvSpPr>
            <p:nvPr/>
          </p:nvSpPr>
          <p:spPr bwMode="auto">
            <a:xfrm>
              <a:off x="5043" y="1897"/>
              <a:ext cx="363" cy="122"/>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grpSp>
        <p:nvGrpSpPr>
          <p:cNvPr id="19" name="Group 200"/>
          <p:cNvGrpSpPr>
            <a:grpSpLocks/>
          </p:cNvGrpSpPr>
          <p:nvPr/>
        </p:nvGrpSpPr>
        <p:grpSpPr bwMode="auto">
          <a:xfrm>
            <a:off x="9375485" y="4879140"/>
            <a:ext cx="801063" cy="179897"/>
            <a:chOff x="8436731" y="5508873"/>
            <a:chExt cx="868953" cy="195263"/>
          </a:xfrm>
        </p:grpSpPr>
        <p:sp>
          <p:nvSpPr>
            <p:cNvPr id="10627" name="Rectangle 136"/>
            <p:cNvSpPr>
              <a:spLocks noChangeArrowheads="1"/>
            </p:cNvSpPr>
            <p:nvPr/>
          </p:nvSpPr>
          <p:spPr bwMode="auto">
            <a:xfrm>
              <a:off x="8785766" y="5513636"/>
              <a:ext cx="519918" cy="184711"/>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Grey 3</a:t>
              </a:r>
            </a:p>
          </p:txBody>
        </p:sp>
        <p:sp>
          <p:nvSpPr>
            <p:cNvPr id="10628" name="Rectangle 137"/>
            <p:cNvSpPr>
              <a:spLocks noChangeArrowheads="1"/>
            </p:cNvSpPr>
            <p:nvPr/>
          </p:nvSpPr>
          <p:spPr bwMode="auto">
            <a:xfrm rot="5400000" flipH="1" flipV="1">
              <a:off x="8450224" y="5495380"/>
              <a:ext cx="195263" cy="222250"/>
            </a:xfrm>
            <a:prstGeom prst="rect">
              <a:avLst/>
            </a:prstGeom>
            <a:solidFill>
              <a:srgbClr val="777777"/>
            </a:solidFill>
            <a:ln w="12700">
              <a:noFill/>
              <a:miter lim="800000"/>
              <a:headEnd/>
              <a:tailEnd/>
            </a:ln>
          </p:spPr>
          <p:txBody>
            <a:bodyPr rot="10800000" wrap="none" lIns="90363" tIns="45182" rIns="90363" bIns="45182" anchor="ctr"/>
            <a:lstStyle/>
            <a:p>
              <a:pPr algn="ctr" defTabSz="811723"/>
              <a:endParaRPr lang="en-US" sz="1106" noProof="1">
                <a:solidFill>
                  <a:srgbClr val="FFFFFF"/>
                </a:solidFill>
                <a:latin typeface="Verdana" pitchFamily="34" charset="0"/>
              </a:endParaRPr>
            </a:p>
          </p:txBody>
        </p:sp>
      </p:grpSp>
      <p:grpSp>
        <p:nvGrpSpPr>
          <p:cNvPr id="20" name="Group 199"/>
          <p:cNvGrpSpPr>
            <a:grpSpLocks/>
          </p:cNvGrpSpPr>
          <p:nvPr/>
        </p:nvGrpSpPr>
        <p:grpSpPr bwMode="auto">
          <a:xfrm>
            <a:off x="9375485" y="5145328"/>
            <a:ext cx="801063" cy="179897"/>
            <a:chOff x="8436731" y="5797799"/>
            <a:chExt cx="868953" cy="195263"/>
          </a:xfrm>
        </p:grpSpPr>
        <p:sp>
          <p:nvSpPr>
            <p:cNvPr id="10625" name="Rectangle 139"/>
            <p:cNvSpPr>
              <a:spLocks noChangeArrowheads="1"/>
            </p:cNvSpPr>
            <p:nvPr/>
          </p:nvSpPr>
          <p:spPr bwMode="auto">
            <a:xfrm>
              <a:off x="8785766" y="5802562"/>
              <a:ext cx="519918" cy="184711"/>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Grey 4</a:t>
              </a:r>
            </a:p>
          </p:txBody>
        </p:sp>
        <p:sp>
          <p:nvSpPr>
            <p:cNvPr id="10626" name="Rectangle 140"/>
            <p:cNvSpPr>
              <a:spLocks noChangeArrowheads="1"/>
            </p:cNvSpPr>
            <p:nvPr/>
          </p:nvSpPr>
          <p:spPr bwMode="auto">
            <a:xfrm rot="5400000" flipH="1" flipV="1">
              <a:off x="8450224" y="5784306"/>
              <a:ext cx="195263" cy="222250"/>
            </a:xfrm>
            <a:prstGeom prst="rect">
              <a:avLst/>
            </a:prstGeom>
            <a:solidFill>
              <a:srgbClr val="333333"/>
            </a:solidFill>
            <a:ln w="12700">
              <a:noFill/>
              <a:miter lim="800000"/>
              <a:headEnd/>
              <a:tailEnd/>
            </a:ln>
          </p:spPr>
          <p:txBody>
            <a:bodyPr rot="10800000" wrap="none" lIns="90363" tIns="45182" rIns="90363" bIns="45182" anchor="ctr"/>
            <a:lstStyle/>
            <a:p>
              <a:pPr algn="ctr" defTabSz="811723"/>
              <a:endParaRPr lang="en-US" sz="1106" noProof="1">
                <a:solidFill>
                  <a:srgbClr val="FFFFFF"/>
                </a:solidFill>
                <a:latin typeface="Verdana" pitchFamily="34" charset="0"/>
              </a:endParaRPr>
            </a:p>
          </p:txBody>
        </p:sp>
      </p:grpSp>
      <p:grpSp>
        <p:nvGrpSpPr>
          <p:cNvPr id="21" name="Group 232"/>
          <p:cNvGrpSpPr>
            <a:grpSpLocks/>
          </p:cNvGrpSpPr>
          <p:nvPr/>
        </p:nvGrpSpPr>
        <p:grpSpPr bwMode="auto">
          <a:xfrm>
            <a:off x="9375485" y="4612952"/>
            <a:ext cx="801063" cy="179897"/>
            <a:chOff x="8436731" y="5007295"/>
            <a:chExt cx="868953" cy="195263"/>
          </a:xfrm>
        </p:grpSpPr>
        <p:sp>
          <p:nvSpPr>
            <p:cNvPr id="10623" name="Rectangle 142"/>
            <p:cNvSpPr>
              <a:spLocks noChangeArrowheads="1"/>
            </p:cNvSpPr>
            <p:nvPr/>
          </p:nvSpPr>
          <p:spPr bwMode="auto">
            <a:xfrm>
              <a:off x="8785766" y="5012058"/>
              <a:ext cx="519918" cy="184711"/>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Grey 2</a:t>
              </a:r>
            </a:p>
          </p:txBody>
        </p:sp>
        <p:sp>
          <p:nvSpPr>
            <p:cNvPr id="10624" name="Rectangle 143"/>
            <p:cNvSpPr>
              <a:spLocks noChangeArrowheads="1"/>
            </p:cNvSpPr>
            <p:nvPr/>
          </p:nvSpPr>
          <p:spPr bwMode="auto">
            <a:xfrm rot="5400000" flipH="1" flipV="1">
              <a:off x="8450224" y="4993802"/>
              <a:ext cx="195263" cy="222250"/>
            </a:xfrm>
            <a:prstGeom prst="rect">
              <a:avLst/>
            </a:prstGeom>
            <a:solidFill>
              <a:srgbClr val="B2B2B2"/>
            </a:solidFill>
            <a:ln w="12700">
              <a:noFill/>
              <a:miter lim="800000"/>
              <a:headEnd/>
              <a:tailEnd/>
            </a:ln>
          </p:spPr>
          <p:txBody>
            <a:bodyPr rot="10800000" wrap="none" lIns="90363" tIns="45182" rIns="90363" bIns="45182" anchor="ctr"/>
            <a:lstStyle/>
            <a:p>
              <a:pPr algn="ctr" defTabSz="811723"/>
              <a:endParaRPr lang="en-US" sz="1106" noProof="1">
                <a:solidFill>
                  <a:srgbClr val="FFFFFF"/>
                </a:solidFill>
                <a:latin typeface="Verdana" pitchFamily="34" charset="0"/>
              </a:endParaRPr>
            </a:p>
          </p:txBody>
        </p:sp>
      </p:grpSp>
      <p:grpSp>
        <p:nvGrpSpPr>
          <p:cNvPr id="22" name="Group 153"/>
          <p:cNvGrpSpPr>
            <a:grpSpLocks/>
          </p:cNvGrpSpPr>
          <p:nvPr/>
        </p:nvGrpSpPr>
        <p:grpSpPr bwMode="auto">
          <a:xfrm>
            <a:off x="9438385" y="2910518"/>
            <a:ext cx="762000" cy="175509"/>
            <a:chOff x="406" y="2036"/>
            <a:chExt cx="521" cy="120"/>
          </a:xfrm>
        </p:grpSpPr>
        <p:sp>
          <p:nvSpPr>
            <p:cNvPr id="10621" name="AutoShape 144"/>
            <p:cNvSpPr>
              <a:spLocks noChangeArrowheads="1"/>
            </p:cNvSpPr>
            <p:nvPr/>
          </p:nvSpPr>
          <p:spPr bwMode="auto">
            <a:xfrm>
              <a:off x="406" y="2070"/>
              <a:ext cx="80" cy="86"/>
            </a:xfrm>
            <a:prstGeom prst="triangle">
              <a:avLst>
                <a:gd name="adj" fmla="val 50000"/>
              </a:avLst>
            </a:prstGeom>
            <a:solidFill>
              <a:schemeClr val="tx1"/>
            </a:solidFill>
            <a:ln w="3175">
              <a:solidFill>
                <a:schemeClr val="tx1"/>
              </a:solidFill>
              <a:miter lim="800000"/>
              <a:headEnd/>
              <a:tailEnd/>
            </a:ln>
          </p:spPr>
          <p:txBody>
            <a:bodyPr lIns="43117" tIns="43117" rIns="43117" bIns="43117" anchor="ctr"/>
            <a:lstStyle/>
            <a:p>
              <a:endParaRPr lang="en-US" sz="1106">
                <a:latin typeface="Verdana" pitchFamily="34" charset="0"/>
              </a:endParaRPr>
            </a:p>
          </p:txBody>
        </p:sp>
        <p:sp>
          <p:nvSpPr>
            <p:cNvPr id="10622" name="Rectangle 152"/>
            <p:cNvSpPr>
              <a:spLocks noChangeArrowheads="1"/>
            </p:cNvSpPr>
            <p:nvPr/>
          </p:nvSpPr>
          <p:spPr bwMode="auto">
            <a:xfrm>
              <a:off x="575" y="2036"/>
              <a:ext cx="352" cy="116"/>
            </a:xfrm>
            <a:prstGeom prst="rect">
              <a:avLst/>
            </a:prstGeom>
            <a:noFill/>
            <a:ln w="9525">
              <a:noFill/>
              <a:miter lim="800000"/>
              <a:headEnd/>
              <a:tailEnd/>
            </a:ln>
          </p:spPr>
          <p:txBody>
            <a:bodyPr wrap="none" lIns="0" tIns="0" rIns="0" bIns="0">
              <a:spAutoFit/>
            </a:bodyPr>
            <a:lstStyle/>
            <a:p>
              <a:pPr defTabSz="811723">
                <a:spcBef>
                  <a:spcPct val="50000"/>
                </a:spcBef>
              </a:pPr>
              <a:r>
                <a:rPr lang="en-US" sz="1106" noProof="1">
                  <a:latin typeface="Verdana" pitchFamily="34" charset="0"/>
                </a:rPr>
                <a:t>Legend</a:t>
              </a:r>
            </a:p>
          </p:txBody>
        </p:sp>
      </p:grpSp>
      <p:sp>
        <p:nvSpPr>
          <p:cNvPr id="180" name="Oval 179"/>
          <p:cNvSpPr/>
          <p:nvPr/>
        </p:nvSpPr>
        <p:spPr bwMode="auto">
          <a:xfrm>
            <a:off x="6551357"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1</a:t>
            </a:r>
          </a:p>
        </p:txBody>
      </p:sp>
      <p:sp>
        <p:nvSpPr>
          <p:cNvPr id="181" name="Oval 180"/>
          <p:cNvSpPr/>
          <p:nvPr/>
        </p:nvSpPr>
        <p:spPr bwMode="auto">
          <a:xfrm>
            <a:off x="6906762"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2</a:t>
            </a:r>
          </a:p>
        </p:txBody>
      </p:sp>
      <p:sp>
        <p:nvSpPr>
          <p:cNvPr id="182" name="Oval 181"/>
          <p:cNvSpPr/>
          <p:nvPr/>
        </p:nvSpPr>
        <p:spPr bwMode="auto">
          <a:xfrm>
            <a:off x="7262167"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3</a:t>
            </a:r>
          </a:p>
        </p:txBody>
      </p:sp>
      <p:sp>
        <p:nvSpPr>
          <p:cNvPr id="183" name="Oval 182"/>
          <p:cNvSpPr/>
          <p:nvPr/>
        </p:nvSpPr>
        <p:spPr bwMode="auto">
          <a:xfrm>
            <a:off x="7619035"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4</a:t>
            </a:r>
          </a:p>
        </p:txBody>
      </p:sp>
      <p:sp>
        <p:nvSpPr>
          <p:cNvPr id="184" name="Oval 183"/>
          <p:cNvSpPr/>
          <p:nvPr/>
        </p:nvSpPr>
        <p:spPr bwMode="auto">
          <a:xfrm>
            <a:off x="7974439"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5</a:t>
            </a:r>
          </a:p>
        </p:txBody>
      </p:sp>
      <p:sp>
        <p:nvSpPr>
          <p:cNvPr id="185" name="Oval 184"/>
          <p:cNvSpPr/>
          <p:nvPr/>
        </p:nvSpPr>
        <p:spPr bwMode="auto">
          <a:xfrm>
            <a:off x="8331307"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6</a:t>
            </a:r>
          </a:p>
        </p:txBody>
      </p:sp>
      <p:sp>
        <p:nvSpPr>
          <p:cNvPr id="186" name="Oval 185"/>
          <p:cNvSpPr/>
          <p:nvPr/>
        </p:nvSpPr>
        <p:spPr bwMode="auto">
          <a:xfrm>
            <a:off x="8686712"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7</a:t>
            </a:r>
          </a:p>
        </p:txBody>
      </p:sp>
      <p:sp>
        <p:nvSpPr>
          <p:cNvPr id="187" name="Oval 186"/>
          <p:cNvSpPr/>
          <p:nvPr/>
        </p:nvSpPr>
        <p:spPr bwMode="auto">
          <a:xfrm>
            <a:off x="6551357"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1</a:t>
            </a:r>
          </a:p>
        </p:txBody>
      </p:sp>
      <p:sp>
        <p:nvSpPr>
          <p:cNvPr id="188" name="Oval 187"/>
          <p:cNvSpPr/>
          <p:nvPr/>
        </p:nvSpPr>
        <p:spPr bwMode="auto">
          <a:xfrm>
            <a:off x="6906762"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2</a:t>
            </a:r>
          </a:p>
        </p:txBody>
      </p:sp>
      <p:sp>
        <p:nvSpPr>
          <p:cNvPr id="189" name="Oval 188"/>
          <p:cNvSpPr/>
          <p:nvPr/>
        </p:nvSpPr>
        <p:spPr bwMode="auto">
          <a:xfrm>
            <a:off x="7262167"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3</a:t>
            </a:r>
          </a:p>
        </p:txBody>
      </p:sp>
      <p:sp>
        <p:nvSpPr>
          <p:cNvPr id="190" name="Oval 189"/>
          <p:cNvSpPr/>
          <p:nvPr/>
        </p:nvSpPr>
        <p:spPr bwMode="auto">
          <a:xfrm>
            <a:off x="7619035"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4</a:t>
            </a:r>
          </a:p>
        </p:txBody>
      </p:sp>
      <p:sp>
        <p:nvSpPr>
          <p:cNvPr id="191" name="Oval 190"/>
          <p:cNvSpPr/>
          <p:nvPr/>
        </p:nvSpPr>
        <p:spPr bwMode="auto">
          <a:xfrm>
            <a:off x="7974439"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5</a:t>
            </a:r>
          </a:p>
        </p:txBody>
      </p:sp>
      <p:sp>
        <p:nvSpPr>
          <p:cNvPr id="192" name="Oval 191"/>
          <p:cNvSpPr/>
          <p:nvPr/>
        </p:nvSpPr>
        <p:spPr bwMode="auto">
          <a:xfrm>
            <a:off x="8331307"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6</a:t>
            </a:r>
          </a:p>
        </p:txBody>
      </p:sp>
      <p:sp>
        <p:nvSpPr>
          <p:cNvPr id="193" name="Oval 192"/>
          <p:cNvSpPr/>
          <p:nvPr/>
        </p:nvSpPr>
        <p:spPr bwMode="auto">
          <a:xfrm>
            <a:off x="8686712"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7</a:t>
            </a:r>
          </a:p>
        </p:txBody>
      </p:sp>
      <p:sp>
        <p:nvSpPr>
          <p:cNvPr id="194" name="Oval 193"/>
          <p:cNvSpPr/>
          <p:nvPr/>
        </p:nvSpPr>
        <p:spPr bwMode="auto">
          <a:xfrm>
            <a:off x="9042117"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8</a:t>
            </a:r>
          </a:p>
        </p:txBody>
      </p:sp>
      <p:sp>
        <p:nvSpPr>
          <p:cNvPr id="195" name="Oval 194"/>
          <p:cNvSpPr/>
          <p:nvPr/>
        </p:nvSpPr>
        <p:spPr bwMode="auto">
          <a:xfrm>
            <a:off x="9042117"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8</a:t>
            </a:r>
          </a:p>
        </p:txBody>
      </p:sp>
      <p:sp>
        <p:nvSpPr>
          <p:cNvPr id="196" name="Oval 195"/>
          <p:cNvSpPr/>
          <p:nvPr/>
        </p:nvSpPr>
        <p:spPr bwMode="auto">
          <a:xfrm>
            <a:off x="9398984"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9</a:t>
            </a:r>
          </a:p>
        </p:txBody>
      </p:sp>
      <p:sp>
        <p:nvSpPr>
          <p:cNvPr id="197" name="Oval 196"/>
          <p:cNvSpPr/>
          <p:nvPr/>
        </p:nvSpPr>
        <p:spPr bwMode="auto">
          <a:xfrm>
            <a:off x="9398984"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9</a:t>
            </a:r>
          </a:p>
        </p:txBody>
      </p:sp>
      <p:sp>
        <p:nvSpPr>
          <p:cNvPr id="198" name="Oval 197"/>
          <p:cNvSpPr/>
          <p:nvPr/>
        </p:nvSpPr>
        <p:spPr bwMode="auto">
          <a:xfrm>
            <a:off x="9754390" y="5712248"/>
            <a:ext cx="286664" cy="286664"/>
          </a:xfrm>
          <a:prstGeom prst="ellipse">
            <a:avLst/>
          </a:prstGeom>
          <a:solidFill>
            <a:srgbClr val="1D4819"/>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FFFFFF"/>
                </a:solidFill>
                <a:latin typeface="Verdana" pitchFamily="34" charset="0"/>
              </a:rPr>
              <a:t>10</a:t>
            </a:r>
          </a:p>
        </p:txBody>
      </p:sp>
      <p:sp>
        <p:nvSpPr>
          <p:cNvPr id="199" name="Oval 198"/>
          <p:cNvSpPr/>
          <p:nvPr/>
        </p:nvSpPr>
        <p:spPr bwMode="auto">
          <a:xfrm>
            <a:off x="9754390" y="605887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10</a:t>
            </a:r>
          </a:p>
        </p:txBody>
      </p:sp>
      <p:grpSp>
        <p:nvGrpSpPr>
          <p:cNvPr id="231" name="Group 119"/>
          <p:cNvGrpSpPr/>
          <p:nvPr/>
        </p:nvGrpSpPr>
        <p:grpSpPr>
          <a:xfrm>
            <a:off x="4597772" y="1371847"/>
            <a:ext cx="438772" cy="264726"/>
            <a:chOff x="8828276" y="1285469"/>
            <a:chExt cx="476250" cy="287338"/>
          </a:xfrm>
        </p:grpSpPr>
        <p:sp>
          <p:nvSpPr>
            <p:cNvPr id="232" name="Rectangle 198"/>
            <p:cNvSpPr>
              <a:spLocks noChangeArrowheads="1"/>
            </p:cNvSpPr>
            <p:nvPr/>
          </p:nvSpPr>
          <p:spPr bwMode="auto">
            <a:xfrm>
              <a:off x="8828276" y="1285469"/>
              <a:ext cx="476250" cy="287338"/>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a:ea typeface="SimSun"/>
                  <a:cs typeface="SimSun"/>
                </a:rPr>
                <a:t>WIP</a:t>
              </a:r>
            </a:p>
          </p:txBody>
        </p:sp>
        <p:grpSp>
          <p:nvGrpSpPr>
            <p:cNvPr id="233" name="Group 113"/>
            <p:cNvGrpSpPr/>
            <p:nvPr/>
          </p:nvGrpSpPr>
          <p:grpSpPr>
            <a:xfrm>
              <a:off x="8862028" y="1299757"/>
              <a:ext cx="408747" cy="258763"/>
              <a:chOff x="7845860" y="1288721"/>
              <a:chExt cx="673898" cy="258763"/>
            </a:xfrm>
          </p:grpSpPr>
          <p:sp>
            <p:nvSpPr>
              <p:cNvPr id="234" name="Line 21"/>
              <p:cNvSpPr>
                <a:spLocks noChangeShapeType="1"/>
              </p:cNvSpPr>
              <p:nvPr/>
            </p:nvSpPr>
            <p:spPr bwMode="auto">
              <a:xfrm>
                <a:off x="784586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35" name="Line 22"/>
              <p:cNvSpPr>
                <a:spLocks noChangeShapeType="1"/>
              </p:cNvSpPr>
              <p:nvPr/>
            </p:nvSpPr>
            <p:spPr bwMode="auto">
              <a:xfrm>
                <a:off x="784586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36" name="Group 123"/>
          <p:cNvGrpSpPr/>
          <p:nvPr/>
        </p:nvGrpSpPr>
        <p:grpSpPr>
          <a:xfrm>
            <a:off x="4182227" y="1740090"/>
            <a:ext cx="851181" cy="264726"/>
            <a:chOff x="8377236" y="1701322"/>
            <a:chExt cx="923886" cy="287338"/>
          </a:xfrm>
        </p:grpSpPr>
        <p:sp>
          <p:nvSpPr>
            <p:cNvPr id="237" name="Rectangle 248"/>
            <p:cNvSpPr>
              <a:spLocks noChangeArrowheads="1"/>
            </p:cNvSpPr>
            <p:nvPr/>
          </p:nvSpPr>
          <p:spPr bwMode="auto">
            <a:xfrm>
              <a:off x="8377236" y="1701322"/>
              <a:ext cx="923886" cy="287338"/>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dirty="0">
                  <a:ea typeface="SimSun"/>
                  <a:cs typeface="SimSun"/>
                </a:rPr>
                <a:t>EXAMPLE</a:t>
              </a:r>
            </a:p>
          </p:txBody>
        </p:sp>
        <p:grpSp>
          <p:nvGrpSpPr>
            <p:cNvPr id="238" name="Group 116"/>
            <p:cNvGrpSpPr/>
            <p:nvPr/>
          </p:nvGrpSpPr>
          <p:grpSpPr>
            <a:xfrm>
              <a:off x="8409904" y="1715610"/>
              <a:ext cx="859509" cy="258763"/>
              <a:chOff x="6763210" y="1288721"/>
              <a:chExt cx="673898" cy="258763"/>
            </a:xfrm>
          </p:grpSpPr>
          <p:sp>
            <p:nvSpPr>
              <p:cNvPr id="239" name="Line 21"/>
              <p:cNvSpPr>
                <a:spLocks noChangeShapeType="1"/>
              </p:cNvSpPr>
              <p:nvPr/>
            </p:nvSpPr>
            <p:spPr bwMode="auto">
              <a:xfrm>
                <a:off x="676321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40" name="Line 22"/>
              <p:cNvSpPr>
                <a:spLocks noChangeShapeType="1"/>
              </p:cNvSpPr>
              <p:nvPr/>
            </p:nvSpPr>
            <p:spPr bwMode="auto">
              <a:xfrm>
                <a:off x="676321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41" name="Group 131"/>
          <p:cNvGrpSpPr/>
          <p:nvPr/>
        </p:nvGrpSpPr>
        <p:grpSpPr>
          <a:xfrm>
            <a:off x="4080706" y="2108333"/>
            <a:ext cx="963834" cy="264726"/>
            <a:chOff x="8267043" y="2071451"/>
            <a:chExt cx="1046162" cy="287338"/>
          </a:xfrm>
        </p:grpSpPr>
        <p:sp>
          <p:nvSpPr>
            <p:cNvPr id="242" name="Rectangle 214"/>
            <p:cNvSpPr>
              <a:spLocks noChangeArrowheads="1"/>
            </p:cNvSpPr>
            <p:nvPr/>
          </p:nvSpPr>
          <p:spPr bwMode="auto">
            <a:xfrm>
              <a:off x="8267043" y="2071451"/>
              <a:ext cx="1046162" cy="287338"/>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dirty="0">
                  <a:ea typeface="SimSun"/>
                  <a:cs typeface="SimSun"/>
                </a:rPr>
                <a:t>TEMPLATE</a:t>
              </a:r>
            </a:p>
          </p:txBody>
        </p:sp>
        <p:grpSp>
          <p:nvGrpSpPr>
            <p:cNvPr id="243" name="Group 120"/>
            <p:cNvGrpSpPr/>
            <p:nvPr/>
          </p:nvGrpSpPr>
          <p:grpSpPr>
            <a:xfrm>
              <a:off x="8299146" y="2085739"/>
              <a:ext cx="970267" cy="258763"/>
              <a:chOff x="6763210" y="1288721"/>
              <a:chExt cx="673898" cy="258763"/>
            </a:xfrm>
          </p:grpSpPr>
          <p:sp>
            <p:nvSpPr>
              <p:cNvPr id="244" name="Line 21"/>
              <p:cNvSpPr>
                <a:spLocks noChangeShapeType="1"/>
              </p:cNvSpPr>
              <p:nvPr/>
            </p:nvSpPr>
            <p:spPr bwMode="auto">
              <a:xfrm>
                <a:off x="676321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45" name="Line 22"/>
              <p:cNvSpPr>
                <a:spLocks noChangeShapeType="1"/>
              </p:cNvSpPr>
              <p:nvPr/>
            </p:nvSpPr>
            <p:spPr bwMode="auto">
              <a:xfrm>
                <a:off x="676321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46" name="Group 127"/>
          <p:cNvGrpSpPr/>
          <p:nvPr/>
        </p:nvGrpSpPr>
        <p:grpSpPr>
          <a:xfrm>
            <a:off x="4109040" y="2476576"/>
            <a:ext cx="931487" cy="264726"/>
            <a:chOff x="8297798" y="2472304"/>
            <a:chExt cx="1011052" cy="287338"/>
          </a:xfrm>
        </p:grpSpPr>
        <p:sp>
          <p:nvSpPr>
            <p:cNvPr id="247" name="Rectangle 230"/>
            <p:cNvSpPr>
              <a:spLocks noChangeArrowheads="1"/>
            </p:cNvSpPr>
            <p:nvPr/>
          </p:nvSpPr>
          <p:spPr bwMode="auto">
            <a:xfrm>
              <a:off x="8297798" y="2472304"/>
              <a:ext cx="1011052" cy="287338"/>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dirty="0">
                  <a:ea typeface="SimSun"/>
                  <a:cs typeface="SimSun"/>
                </a:rPr>
                <a:t>ESTIMATE</a:t>
              </a:r>
            </a:p>
          </p:txBody>
        </p:sp>
        <p:grpSp>
          <p:nvGrpSpPr>
            <p:cNvPr id="248" name="Group 124"/>
            <p:cNvGrpSpPr/>
            <p:nvPr/>
          </p:nvGrpSpPr>
          <p:grpSpPr>
            <a:xfrm>
              <a:off x="8332631" y="2486592"/>
              <a:ext cx="936782" cy="258763"/>
              <a:chOff x="6763210" y="1288721"/>
              <a:chExt cx="673898" cy="258763"/>
            </a:xfrm>
          </p:grpSpPr>
          <p:sp>
            <p:nvSpPr>
              <p:cNvPr id="249" name="Line 21"/>
              <p:cNvSpPr>
                <a:spLocks noChangeShapeType="1"/>
              </p:cNvSpPr>
              <p:nvPr/>
            </p:nvSpPr>
            <p:spPr bwMode="auto">
              <a:xfrm>
                <a:off x="676321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50" name="Line 22"/>
              <p:cNvSpPr>
                <a:spLocks noChangeShapeType="1"/>
              </p:cNvSpPr>
              <p:nvPr/>
            </p:nvSpPr>
            <p:spPr bwMode="auto">
              <a:xfrm>
                <a:off x="676321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51" name="Group 135"/>
          <p:cNvGrpSpPr/>
          <p:nvPr/>
        </p:nvGrpSpPr>
        <p:grpSpPr>
          <a:xfrm>
            <a:off x="3849244" y="2844819"/>
            <a:ext cx="1159697" cy="264725"/>
            <a:chOff x="8015811" y="2874777"/>
            <a:chExt cx="1258754" cy="287337"/>
          </a:xfrm>
        </p:grpSpPr>
        <p:sp>
          <p:nvSpPr>
            <p:cNvPr id="252" name="Rectangle 223"/>
            <p:cNvSpPr>
              <a:spLocks noChangeArrowheads="1"/>
            </p:cNvSpPr>
            <p:nvPr/>
          </p:nvSpPr>
          <p:spPr bwMode="auto">
            <a:xfrm>
              <a:off x="8015811" y="2874777"/>
              <a:ext cx="1258754" cy="287337"/>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dirty="0">
                  <a:ea typeface="SimSun"/>
                  <a:cs typeface="SimSun"/>
                </a:rPr>
                <a:t>CONCEPTUAL</a:t>
              </a:r>
            </a:p>
          </p:txBody>
        </p:sp>
        <p:grpSp>
          <p:nvGrpSpPr>
            <p:cNvPr id="253" name="Group 128"/>
            <p:cNvGrpSpPr/>
            <p:nvPr/>
          </p:nvGrpSpPr>
          <p:grpSpPr>
            <a:xfrm>
              <a:off x="8026114" y="2889064"/>
              <a:ext cx="1243299" cy="258763"/>
              <a:chOff x="6763210" y="1288721"/>
              <a:chExt cx="673898" cy="258763"/>
            </a:xfrm>
          </p:grpSpPr>
          <p:sp>
            <p:nvSpPr>
              <p:cNvPr id="254" name="Line 21"/>
              <p:cNvSpPr>
                <a:spLocks noChangeShapeType="1"/>
              </p:cNvSpPr>
              <p:nvPr/>
            </p:nvSpPr>
            <p:spPr bwMode="auto">
              <a:xfrm>
                <a:off x="676321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55" name="Line 22"/>
              <p:cNvSpPr>
                <a:spLocks noChangeShapeType="1"/>
              </p:cNvSpPr>
              <p:nvPr/>
            </p:nvSpPr>
            <p:spPr bwMode="auto">
              <a:xfrm>
                <a:off x="676321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56" name="Group 139"/>
          <p:cNvGrpSpPr/>
          <p:nvPr/>
        </p:nvGrpSpPr>
        <p:grpSpPr>
          <a:xfrm>
            <a:off x="3654651" y="3213061"/>
            <a:ext cx="1378588" cy="264725"/>
            <a:chOff x="7804597" y="3280349"/>
            <a:chExt cx="1496342" cy="287337"/>
          </a:xfrm>
        </p:grpSpPr>
        <p:sp>
          <p:nvSpPr>
            <p:cNvPr id="257" name="Rectangle 239"/>
            <p:cNvSpPr>
              <a:spLocks noChangeArrowheads="1"/>
            </p:cNvSpPr>
            <p:nvPr/>
          </p:nvSpPr>
          <p:spPr bwMode="auto">
            <a:xfrm>
              <a:off x="7804597" y="3280349"/>
              <a:ext cx="1496342" cy="287337"/>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a:ea typeface="SimSun"/>
                  <a:cs typeface="SimSun"/>
                </a:rPr>
                <a:t>HYPOTHETICAL</a:t>
              </a:r>
            </a:p>
          </p:txBody>
        </p:sp>
        <p:grpSp>
          <p:nvGrpSpPr>
            <p:cNvPr id="258" name="Group 132"/>
            <p:cNvGrpSpPr/>
            <p:nvPr/>
          </p:nvGrpSpPr>
          <p:grpSpPr>
            <a:xfrm>
              <a:off x="7827780" y="3294636"/>
              <a:ext cx="1441634" cy="258763"/>
              <a:chOff x="6763210" y="1288721"/>
              <a:chExt cx="673898" cy="258763"/>
            </a:xfrm>
          </p:grpSpPr>
          <p:sp>
            <p:nvSpPr>
              <p:cNvPr id="259" name="Line 21"/>
              <p:cNvSpPr>
                <a:spLocks noChangeShapeType="1"/>
              </p:cNvSpPr>
              <p:nvPr/>
            </p:nvSpPr>
            <p:spPr bwMode="auto">
              <a:xfrm>
                <a:off x="676321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60" name="Line 22"/>
              <p:cNvSpPr>
                <a:spLocks noChangeShapeType="1"/>
              </p:cNvSpPr>
              <p:nvPr/>
            </p:nvSpPr>
            <p:spPr bwMode="auto">
              <a:xfrm>
                <a:off x="676321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61" name="Group 143"/>
          <p:cNvGrpSpPr/>
          <p:nvPr/>
        </p:nvGrpSpPr>
        <p:grpSpPr>
          <a:xfrm>
            <a:off x="3488538" y="3581303"/>
            <a:ext cx="1534244" cy="264725"/>
            <a:chOff x="7624295" y="3687577"/>
            <a:chExt cx="1665294" cy="287337"/>
          </a:xfrm>
        </p:grpSpPr>
        <p:sp>
          <p:nvSpPr>
            <p:cNvPr id="262" name="Rectangle 257"/>
            <p:cNvSpPr>
              <a:spLocks noChangeArrowheads="1"/>
            </p:cNvSpPr>
            <p:nvPr/>
          </p:nvSpPr>
          <p:spPr bwMode="auto">
            <a:xfrm>
              <a:off x="7624295" y="3687577"/>
              <a:ext cx="1665294" cy="287337"/>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dirty="0">
                  <a:ea typeface="SimSun"/>
                  <a:cs typeface="SimSun"/>
                </a:rPr>
                <a:t>FOR DISCUSSION</a:t>
              </a:r>
            </a:p>
          </p:txBody>
        </p:sp>
        <p:grpSp>
          <p:nvGrpSpPr>
            <p:cNvPr id="263" name="Group 136"/>
            <p:cNvGrpSpPr/>
            <p:nvPr/>
          </p:nvGrpSpPr>
          <p:grpSpPr>
            <a:xfrm>
              <a:off x="7643397" y="3701864"/>
              <a:ext cx="1627091" cy="258763"/>
              <a:chOff x="6763210" y="1288721"/>
              <a:chExt cx="673898" cy="258763"/>
            </a:xfrm>
          </p:grpSpPr>
          <p:sp>
            <p:nvSpPr>
              <p:cNvPr id="264" name="Line 21"/>
              <p:cNvSpPr>
                <a:spLocks noChangeShapeType="1"/>
              </p:cNvSpPr>
              <p:nvPr/>
            </p:nvSpPr>
            <p:spPr bwMode="auto">
              <a:xfrm>
                <a:off x="676321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65" name="Line 22"/>
              <p:cNvSpPr>
                <a:spLocks noChangeShapeType="1"/>
              </p:cNvSpPr>
              <p:nvPr/>
            </p:nvSpPr>
            <p:spPr bwMode="auto">
              <a:xfrm>
                <a:off x="676321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66" name="Group 144"/>
          <p:cNvGrpSpPr/>
          <p:nvPr/>
        </p:nvGrpSpPr>
        <p:grpSpPr>
          <a:xfrm>
            <a:off x="3191902" y="3949547"/>
            <a:ext cx="1819272" cy="264726"/>
            <a:chOff x="7302321" y="4171835"/>
            <a:chExt cx="1974668" cy="287338"/>
          </a:xfrm>
        </p:grpSpPr>
        <p:sp>
          <p:nvSpPr>
            <p:cNvPr id="267" name="Rectangle 205"/>
            <p:cNvSpPr>
              <a:spLocks noChangeArrowheads="1"/>
            </p:cNvSpPr>
            <p:nvPr/>
          </p:nvSpPr>
          <p:spPr bwMode="auto">
            <a:xfrm>
              <a:off x="7302321" y="4171835"/>
              <a:ext cx="1974668" cy="287338"/>
            </a:xfrm>
            <a:prstGeom prst="rect">
              <a:avLst/>
            </a:prstGeom>
            <a:noFill/>
            <a:ln w="9525">
              <a:noFill/>
              <a:miter lim="800000"/>
              <a:headEnd/>
              <a:tailEnd/>
            </a:ln>
            <a:effectLst/>
          </p:spPr>
          <p:txBody>
            <a:bodyPr lIns="0" tIns="0" rIns="0" bIns="0" anchor="ctr"/>
            <a:lstStyle/>
            <a:p>
              <a:pPr algn="ctr" defTabSz="811723">
                <a:spcBef>
                  <a:spcPct val="50000"/>
                </a:spcBef>
              </a:pPr>
              <a:r>
                <a:rPr lang="en-US" altLang="zh-CN" sz="1198" b="1">
                  <a:ea typeface="SimSun"/>
                  <a:cs typeface="SimSun"/>
                </a:rPr>
                <a:t>INTERNAL USE ONLY</a:t>
              </a:r>
            </a:p>
          </p:txBody>
        </p:sp>
        <p:grpSp>
          <p:nvGrpSpPr>
            <p:cNvPr id="268" name="Group 140"/>
            <p:cNvGrpSpPr/>
            <p:nvPr/>
          </p:nvGrpSpPr>
          <p:grpSpPr>
            <a:xfrm>
              <a:off x="7317775" y="4186123"/>
              <a:ext cx="1951638" cy="258763"/>
              <a:chOff x="6763210" y="1288721"/>
              <a:chExt cx="673898" cy="258763"/>
            </a:xfrm>
          </p:grpSpPr>
          <p:sp>
            <p:nvSpPr>
              <p:cNvPr id="269" name="Line 21"/>
              <p:cNvSpPr>
                <a:spLocks noChangeShapeType="1"/>
              </p:cNvSpPr>
              <p:nvPr/>
            </p:nvSpPr>
            <p:spPr bwMode="auto">
              <a:xfrm>
                <a:off x="6763210" y="1547484"/>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sp>
            <p:nvSpPr>
              <p:cNvPr id="270" name="Line 22"/>
              <p:cNvSpPr>
                <a:spLocks noChangeShapeType="1"/>
              </p:cNvSpPr>
              <p:nvPr/>
            </p:nvSpPr>
            <p:spPr bwMode="auto">
              <a:xfrm>
                <a:off x="6763210" y="1288721"/>
                <a:ext cx="673898" cy="0"/>
              </a:xfrm>
              <a:prstGeom prst="line">
                <a:avLst/>
              </a:prstGeom>
              <a:noFill/>
              <a:ln w="38100" cmpd="dbl">
                <a:solidFill>
                  <a:schemeClr val="tx1"/>
                </a:solidFill>
                <a:round/>
                <a:headEnd type="none" w="sm" len="sm"/>
                <a:tailEnd type="none" w="sm" len="sm"/>
              </a:ln>
              <a:effectLst/>
            </p:spPr>
            <p:txBody>
              <a:bodyPr lIns="81655" tIns="40829" rIns="81655" bIns="40829">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CA" sz="2211"/>
              </a:p>
            </p:txBody>
          </p:sp>
        </p:grpSp>
      </p:grpSp>
      <p:grpSp>
        <p:nvGrpSpPr>
          <p:cNvPr id="271" name="Group 106"/>
          <p:cNvGrpSpPr/>
          <p:nvPr/>
        </p:nvGrpSpPr>
        <p:grpSpPr>
          <a:xfrm>
            <a:off x="903547" y="5751419"/>
            <a:ext cx="432921" cy="513363"/>
            <a:chOff x="742156" y="2378869"/>
            <a:chExt cx="469900" cy="557213"/>
          </a:xfrm>
        </p:grpSpPr>
        <p:sp>
          <p:nvSpPr>
            <p:cNvPr id="272" name="Rectangle 108"/>
            <p:cNvSpPr>
              <a:spLocks noChangeArrowheads="1"/>
            </p:cNvSpPr>
            <p:nvPr/>
          </p:nvSpPr>
          <p:spPr bwMode="auto">
            <a:xfrm>
              <a:off x="742156" y="2378869"/>
              <a:ext cx="469900" cy="557213"/>
            </a:xfrm>
            <a:prstGeom prst="rect">
              <a:avLst/>
            </a:prstGeom>
            <a:solidFill>
              <a:srgbClr val="CCCCCC"/>
            </a:solidFill>
            <a:ln w="9525">
              <a:noFill/>
              <a:miter lim="800000"/>
              <a:headEnd/>
              <a:tailEnd/>
            </a:ln>
            <a:effectLst/>
          </p:spPr>
          <p:txBody>
            <a:bodyPr lIns="40551" tIns="40833" rIns="40551" bIns="40833" anchor="ctr"/>
            <a:lstStyle/>
            <a:p>
              <a:pPr algn="ctr" defTabSz="811723">
                <a:spcBef>
                  <a:spcPct val="20000"/>
                </a:spcBef>
              </a:pPr>
              <a:endParaRPr lang="it-IT" sz="1106">
                <a:solidFill>
                  <a:srgbClr val="000000"/>
                </a:solidFill>
              </a:endParaRPr>
            </a:p>
          </p:txBody>
        </p:sp>
        <p:grpSp>
          <p:nvGrpSpPr>
            <p:cNvPr id="273" name="Group 109"/>
            <p:cNvGrpSpPr>
              <a:grpSpLocks/>
            </p:cNvGrpSpPr>
            <p:nvPr/>
          </p:nvGrpSpPr>
          <p:grpSpPr bwMode="auto">
            <a:xfrm>
              <a:off x="861219" y="2466182"/>
              <a:ext cx="227013" cy="384175"/>
              <a:chOff x="1131" y="3265"/>
              <a:chExt cx="148" cy="253"/>
            </a:xfrm>
          </p:grpSpPr>
          <p:sp>
            <p:nvSpPr>
              <p:cNvPr id="274" name="Freeform 110"/>
              <p:cNvSpPr>
                <a:spLocks/>
              </p:cNvSpPr>
              <p:nvPr/>
            </p:nvSpPr>
            <p:spPr bwMode="gray">
              <a:xfrm rot="-192762">
                <a:off x="1135" y="3273"/>
                <a:ext cx="139" cy="233"/>
              </a:xfrm>
              <a:custGeom>
                <a:avLst/>
                <a:gdLst/>
                <a:ahLst/>
                <a:cxnLst>
                  <a:cxn ang="0">
                    <a:pos x="62" y="0"/>
                  </a:cxn>
                  <a:cxn ang="0">
                    <a:pos x="0" y="96"/>
                  </a:cxn>
                  <a:cxn ang="0">
                    <a:pos x="5" y="125"/>
                  </a:cxn>
                  <a:cxn ang="0">
                    <a:pos x="66" y="28"/>
                  </a:cxn>
                  <a:cxn ang="0">
                    <a:pos x="62" y="0"/>
                  </a:cxn>
                </a:cxnLst>
                <a:rect l="0" t="0" r="r" b="b"/>
                <a:pathLst>
                  <a:path w="66" h="125">
                    <a:moveTo>
                      <a:pt x="62" y="0"/>
                    </a:moveTo>
                    <a:lnTo>
                      <a:pt x="0" y="96"/>
                    </a:lnTo>
                    <a:lnTo>
                      <a:pt x="5" y="125"/>
                    </a:lnTo>
                    <a:lnTo>
                      <a:pt x="66" y="28"/>
                    </a:lnTo>
                    <a:lnTo>
                      <a:pt x="62" y="0"/>
                    </a:lnTo>
                    <a:close/>
                  </a:path>
                </a:pathLst>
              </a:custGeom>
              <a:solidFill>
                <a:srgbClr val="FFFFFF"/>
              </a:solidFill>
              <a:ln w="12700" cap="flat" cmpd="sng">
                <a:noFill/>
                <a:prstDash val="solid"/>
                <a:round/>
                <a:headEnd type="none" w="sm" len="sm"/>
                <a:tailEnd type="none" w="sm" len="sm"/>
              </a:ln>
              <a:effectLst/>
            </p:spPr>
            <p:txBody>
              <a:bodyPr wrap="none" anchor="ctr"/>
              <a:lstStyle/>
              <a:p>
                <a:endParaRPr lang="fr-SN" sz="1658"/>
              </a:p>
            </p:txBody>
          </p:sp>
          <p:sp useBgFill="1">
            <p:nvSpPr>
              <p:cNvPr id="275" name="Line 111"/>
              <p:cNvSpPr>
                <a:spLocks noChangeShapeType="1"/>
              </p:cNvSpPr>
              <p:nvPr/>
            </p:nvSpPr>
            <p:spPr bwMode="auto">
              <a:xfrm flipV="1">
                <a:off x="1155" y="3323"/>
                <a:ext cx="124" cy="195"/>
              </a:xfrm>
              <a:prstGeom prst="line">
                <a:avLst/>
              </a:prstGeom>
              <a:ln w="28575">
                <a:solidFill>
                  <a:schemeClr val="tx1"/>
                </a:solidFill>
                <a:round/>
                <a:headEnd type="none" w="sm" len="sm"/>
                <a:tailEnd type="none" w="sm" len="sm"/>
              </a:ln>
              <a:effectLst/>
            </p:spPr>
            <p:txBody>
              <a:bodyPr wrap="none" anchor="ctr"/>
              <a:lstStyle/>
              <a:p>
                <a:endParaRPr lang="fr-SN" sz="1658"/>
              </a:p>
            </p:txBody>
          </p:sp>
          <p:sp useBgFill="1">
            <p:nvSpPr>
              <p:cNvPr id="276" name="Line 112"/>
              <p:cNvSpPr>
                <a:spLocks noChangeShapeType="1"/>
              </p:cNvSpPr>
              <p:nvPr/>
            </p:nvSpPr>
            <p:spPr bwMode="auto">
              <a:xfrm flipV="1">
                <a:off x="1131" y="3265"/>
                <a:ext cx="125" cy="190"/>
              </a:xfrm>
              <a:prstGeom prst="line">
                <a:avLst/>
              </a:prstGeom>
              <a:ln w="28575">
                <a:solidFill>
                  <a:schemeClr val="tx1"/>
                </a:solidFill>
                <a:round/>
                <a:headEnd type="none" w="sm" len="sm"/>
                <a:tailEnd type="none" w="sm" len="sm"/>
              </a:ln>
              <a:effectLst/>
            </p:spPr>
            <p:txBody>
              <a:bodyPr wrap="none" anchor="ctr"/>
              <a:lstStyle/>
              <a:p>
                <a:endParaRPr lang="fr-SN" sz="1658"/>
              </a:p>
            </p:txBody>
          </p:sp>
        </p:grpSp>
      </p:grpSp>
      <p:grpSp>
        <p:nvGrpSpPr>
          <p:cNvPr id="277" name="Group 134"/>
          <p:cNvGrpSpPr>
            <a:grpSpLocks/>
          </p:cNvGrpSpPr>
          <p:nvPr/>
        </p:nvGrpSpPr>
        <p:grpSpPr bwMode="auto">
          <a:xfrm>
            <a:off x="1051268" y="5163465"/>
            <a:ext cx="206222" cy="372956"/>
            <a:chOff x="1996" y="3316"/>
            <a:chExt cx="141" cy="255"/>
          </a:xfrm>
        </p:grpSpPr>
        <p:sp>
          <p:nvSpPr>
            <p:cNvPr id="278" name="Line 116"/>
            <p:cNvSpPr>
              <a:spLocks noChangeShapeType="1"/>
            </p:cNvSpPr>
            <p:nvPr/>
          </p:nvSpPr>
          <p:spPr bwMode="auto">
            <a:xfrm flipV="1">
              <a:off x="2017" y="3384"/>
              <a:ext cx="120" cy="187"/>
            </a:xfrm>
            <a:prstGeom prst="line">
              <a:avLst/>
            </a:prstGeom>
            <a:noFill/>
            <a:ln w="28575">
              <a:solidFill>
                <a:schemeClr val="tx1"/>
              </a:solidFill>
              <a:round/>
              <a:headEnd type="none" w="sm" len="sm"/>
              <a:tailEnd type="none" w="sm" len="sm"/>
            </a:ln>
            <a:effectLst/>
          </p:spPr>
          <p:txBody>
            <a:bodyPr wrap="none" anchor="ctr"/>
            <a:lstStyle/>
            <a:p>
              <a:endParaRPr lang="fr-SN" sz="1658"/>
            </a:p>
          </p:txBody>
        </p:sp>
        <p:sp>
          <p:nvSpPr>
            <p:cNvPr id="279" name="Line 117"/>
            <p:cNvSpPr>
              <a:spLocks noChangeShapeType="1"/>
            </p:cNvSpPr>
            <p:nvPr/>
          </p:nvSpPr>
          <p:spPr bwMode="auto">
            <a:xfrm flipV="1">
              <a:off x="1996" y="3316"/>
              <a:ext cx="123" cy="193"/>
            </a:xfrm>
            <a:prstGeom prst="line">
              <a:avLst/>
            </a:prstGeom>
            <a:noFill/>
            <a:ln w="28575">
              <a:solidFill>
                <a:schemeClr val="tx1"/>
              </a:solidFill>
              <a:round/>
              <a:headEnd type="none" w="sm" len="sm"/>
              <a:tailEnd type="none" w="sm" len="sm"/>
            </a:ln>
            <a:effectLst/>
          </p:spPr>
          <p:txBody>
            <a:bodyPr wrap="none" anchor="ctr"/>
            <a:lstStyle/>
            <a:p>
              <a:endParaRPr lang="fr-SN" sz="1658"/>
            </a:p>
          </p:txBody>
        </p:sp>
      </p:grpSp>
      <p:sp>
        <p:nvSpPr>
          <p:cNvPr id="280" name="Text Box 113"/>
          <p:cNvSpPr txBox="1">
            <a:spLocks noChangeArrowheads="1"/>
          </p:cNvSpPr>
          <p:nvPr/>
        </p:nvSpPr>
        <p:spPr bwMode="auto">
          <a:xfrm>
            <a:off x="1533917" y="5748455"/>
            <a:ext cx="1054514" cy="592418"/>
          </a:xfrm>
          <a:prstGeom prst="rect">
            <a:avLst/>
          </a:prstGeom>
          <a:noFill/>
          <a:ln w="12700">
            <a:noFill/>
            <a:miter lim="800000"/>
            <a:headEnd type="none" w="sm" len="sm"/>
            <a:tailEnd type="none" w="sm" len="sm"/>
          </a:ln>
          <a:effectLst/>
        </p:spPr>
        <p:txBody>
          <a:bodyPr lIns="81102" tIns="40551" rIns="81102" bIns="40551" anchor="ctr">
            <a:spAutoFit/>
          </a:bodyPr>
          <a:lstStyle/>
          <a:p>
            <a:pPr algn="ctr" defTabSz="811723"/>
            <a:r>
              <a:rPr lang="en-US" altLang="zh-CN" sz="1106" dirty="0">
                <a:ea typeface="SimSun"/>
                <a:cs typeface="SimSun"/>
              </a:rPr>
              <a:t>With</a:t>
            </a:r>
            <a:br>
              <a:rPr lang="en-US" altLang="zh-CN" sz="1106" dirty="0">
                <a:ea typeface="SimSun"/>
                <a:cs typeface="SimSun"/>
              </a:rPr>
            </a:br>
            <a:r>
              <a:rPr lang="en-US" altLang="zh-CN" sz="1106" dirty="0">
                <a:ea typeface="SimSun"/>
                <a:cs typeface="SimSun"/>
              </a:rPr>
              <a:t>white fill</a:t>
            </a:r>
            <a:br>
              <a:rPr lang="en-US" altLang="zh-CN" sz="1106" dirty="0">
                <a:ea typeface="SimSun"/>
                <a:cs typeface="SimSun"/>
              </a:rPr>
            </a:br>
            <a:r>
              <a:rPr lang="en-US" altLang="zh-CN" sz="1106" dirty="0">
                <a:ea typeface="SimSun"/>
                <a:cs typeface="SimSun"/>
              </a:rPr>
              <a:t>(for Y axis)</a:t>
            </a:r>
          </a:p>
        </p:txBody>
      </p:sp>
      <p:sp>
        <p:nvSpPr>
          <p:cNvPr id="281" name="Text Box 114"/>
          <p:cNvSpPr txBox="1">
            <a:spLocks noChangeArrowheads="1"/>
          </p:cNvSpPr>
          <p:nvPr/>
        </p:nvSpPr>
        <p:spPr bwMode="auto">
          <a:xfrm>
            <a:off x="1612896" y="5090297"/>
            <a:ext cx="896556" cy="592418"/>
          </a:xfrm>
          <a:prstGeom prst="rect">
            <a:avLst/>
          </a:prstGeom>
          <a:noFill/>
          <a:ln w="12700">
            <a:noFill/>
            <a:miter lim="800000"/>
            <a:headEnd type="none" w="sm" len="sm"/>
            <a:tailEnd type="none" w="sm" len="sm"/>
          </a:ln>
          <a:effectLst/>
        </p:spPr>
        <p:txBody>
          <a:bodyPr lIns="81102" tIns="40551" rIns="81102" bIns="40551" anchor="ctr">
            <a:spAutoFit/>
          </a:bodyPr>
          <a:lstStyle/>
          <a:p>
            <a:pPr algn="ctr" defTabSz="811723"/>
            <a:r>
              <a:rPr lang="en-US" altLang="zh-CN" sz="1106">
                <a:ea typeface="SimSun"/>
                <a:cs typeface="SimSun"/>
              </a:rPr>
              <a:t>Without</a:t>
            </a:r>
            <a:br>
              <a:rPr lang="en-US" altLang="zh-CN" sz="1106">
                <a:ea typeface="SimSun"/>
                <a:cs typeface="SimSun"/>
              </a:rPr>
            </a:br>
            <a:r>
              <a:rPr lang="en-US" altLang="zh-CN" sz="1106">
                <a:ea typeface="SimSun"/>
                <a:cs typeface="SimSun"/>
              </a:rPr>
              <a:t>fill </a:t>
            </a:r>
            <a:br>
              <a:rPr lang="en-US" altLang="zh-CN" sz="1106">
                <a:ea typeface="SimSun"/>
                <a:cs typeface="SimSun"/>
              </a:rPr>
            </a:br>
            <a:r>
              <a:rPr lang="en-US" altLang="zh-CN" sz="1106">
                <a:ea typeface="SimSun"/>
                <a:cs typeface="SimSun"/>
              </a:rPr>
              <a:t>(for bars)</a:t>
            </a:r>
          </a:p>
        </p:txBody>
      </p:sp>
      <p:sp>
        <p:nvSpPr>
          <p:cNvPr id="282" name="AutoShape 93"/>
          <p:cNvSpPr>
            <a:spLocks/>
          </p:cNvSpPr>
          <p:nvPr/>
        </p:nvSpPr>
        <p:spPr bwMode="auto">
          <a:xfrm>
            <a:off x="4741338" y="4882650"/>
            <a:ext cx="272038" cy="1545939"/>
          </a:xfrm>
          <a:prstGeom prst="rightBrace">
            <a:avLst>
              <a:gd name="adj1" fmla="val 47357"/>
              <a:gd name="adj2" fmla="val 50000"/>
            </a:avLst>
          </a:prstGeom>
          <a:noFill/>
          <a:ln w="19050">
            <a:solidFill>
              <a:schemeClr val="tx1"/>
            </a:solidFill>
            <a:round/>
            <a:headEnd/>
            <a:tailEnd/>
          </a:ln>
          <a:effectLst/>
        </p:spPr>
        <p:txBody>
          <a:bodyPr wrap="none" anchor="ctr"/>
          <a:lstStyle/>
          <a:p>
            <a:endParaRPr lang="en-US" sz="1658"/>
          </a:p>
        </p:txBody>
      </p:sp>
      <p:sp>
        <p:nvSpPr>
          <p:cNvPr id="283" name="AutoShape 97"/>
          <p:cNvSpPr>
            <a:spLocks/>
          </p:cNvSpPr>
          <p:nvPr/>
        </p:nvSpPr>
        <p:spPr bwMode="auto">
          <a:xfrm rot="-10800000">
            <a:off x="4363993" y="4882650"/>
            <a:ext cx="269113" cy="1545939"/>
          </a:xfrm>
          <a:prstGeom prst="rightBrace">
            <a:avLst>
              <a:gd name="adj1" fmla="val 47871"/>
              <a:gd name="adj2" fmla="val 50000"/>
            </a:avLst>
          </a:prstGeom>
          <a:noFill/>
          <a:ln w="19050">
            <a:solidFill>
              <a:schemeClr val="tx1"/>
            </a:solidFill>
            <a:round/>
            <a:headEnd/>
            <a:tailEnd/>
          </a:ln>
          <a:effectLst/>
        </p:spPr>
        <p:txBody>
          <a:bodyPr wrap="none" anchor="ctr"/>
          <a:lstStyle/>
          <a:p>
            <a:endParaRPr lang="en-US" sz="1658"/>
          </a:p>
        </p:txBody>
      </p:sp>
      <p:sp>
        <p:nvSpPr>
          <p:cNvPr id="284" name="Text Box 99"/>
          <p:cNvSpPr txBox="1">
            <a:spLocks noChangeArrowheads="1"/>
          </p:cNvSpPr>
          <p:nvPr/>
        </p:nvSpPr>
        <p:spPr bwMode="auto">
          <a:xfrm>
            <a:off x="4960722" y="5160228"/>
            <a:ext cx="870776" cy="989322"/>
          </a:xfrm>
          <a:prstGeom prst="rect">
            <a:avLst/>
          </a:prstGeom>
          <a:noFill/>
          <a:ln w="12700">
            <a:noFill/>
            <a:miter lim="800000"/>
            <a:headEnd type="none" w="sm" len="sm"/>
            <a:tailEnd type="none" w="sm" len="sm"/>
          </a:ln>
          <a:effectLst/>
        </p:spPr>
        <p:txBody>
          <a:bodyPr wrap="none" lIns="81102" tIns="40551" rIns="81102" bIns="40551" anchor="ctr">
            <a:spAutoFit/>
          </a:bodyPr>
          <a:lstStyle/>
          <a:p>
            <a:pPr defTabSz="811723"/>
            <a:r>
              <a:rPr lang="en-US" sz="1474" noProof="1"/>
              <a:t>Text left </a:t>
            </a:r>
            <a:br>
              <a:rPr lang="en-US" sz="1474" noProof="1"/>
            </a:br>
            <a:r>
              <a:rPr lang="en-US" sz="1474" noProof="1"/>
              <a:t>align</a:t>
            </a:r>
            <a:br>
              <a:rPr lang="en-US" sz="1474" noProof="1"/>
            </a:br>
            <a:r>
              <a:rPr lang="en-US" sz="1474" noProof="1"/>
              <a:t>middle</a:t>
            </a:r>
            <a:br>
              <a:rPr lang="en-US" sz="1474" noProof="1"/>
            </a:br>
            <a:r>
              <a:rPr lang="en-US" sz="1474" noProof="1"/>
              <a:t>anchor</a:t>
            </a:r>
          </a:p>
        </p:txBody>
      </p:sp>
      <p:sp>
        <p:nvSpPr>
          <p:cNvPr id="285" name="Text Box 100"/>
          <p:cNvSpPr txBox="1">
            <a:spLocks noChangeArrowheads="1"/>
          </p:cNvSpPr>
          <p:nvPr/>
        </p:nvSpPr>
        <p:spPr bwMode="auto">
          <a:xfrm>
            <a:off x="3653556" y="5160228"/>
            <a:ext cx="744076" cy="989322"/>
          </a:xfrm>
          <a:prstGeom prst="rect">
            <a:avLst/>
          </a:prstGeom>
          <a:noFill/>
          <a:ln w="12700">
            <a:noFill/>
            <a:miter lim="800000"/>
            <a:headEnd type="none" w="sm" len="sm"/>
            <a:tailEnd type="none" w="sm" len="sm"/>
          </a:ln>
          <a:effectLst/>
        </p:spPr>
        <p:txBody>
          <a:bodyPr wrap="none" lIns="81102" tIns="40551" rIns="81102" bIns="40551" anchor="ctr">
            <a:spAutoFit/>
          </a:bodyPr>
          <a:lstStyle/>
          <a:p>
            <a:pPr algn="r" defTabSz="811723"/>
            <a:r>
              <a:rPr lang="en-US" sz="1474" noProof="1"/>
              <a:t>Right</a:t>
            </a:r>
            <a:br>
              <a:rPr lang="en-US" sz="1474" noProof="1"/>
            </a:br>
            <a:r>
              <a:rPr lang="en-US" sz="1474" noProof="1"/>
              <a:t>align</a:t>
            </a:r>
            <a:br>
              <a:rPr lang="en-US" sz="1474" noProof="1"/>
            </a:br>
            <a:r>
              <a:rPr lang="en-US" sz="1474" noProof="1"/>
              <a:t>middle</a:t>
            </a:r>
            <a:br>
              <a:rPr lang="en-US" sz="1474" noProof="1"/>
            </a:br>
            <a:r>
              <a:rPr lang="en-US" sz="1474" noProof="1"/>
              <a:t>anchor</a:t>
            </a:r>
          </a:p>
        </p:txBody>
      </p:sp>
      <p:sp>
        <p:nvSpPr>
          <p:cNvPr id="286" name="Text Box 94"/>
          <p:cNvSpPr txBox="1">
            <a:spLocks noChangeArrowheads="1"/>
          </p:cNvSpPr>
          <p:nvPr/>
        </p:nvSpPr>
        <p:spPr bwMode="auto">
          <a:xfrm>
            <a:off x="761096" y="2546112"/>
            <a:ext cx="1545641" cy="535608"/>
          </a:xfrm>
          <a:prstGeom prst="rect">
            <a:avLst/>
          </a:prstGeom>
          <a:noFill/>
          <a:ln w="12700">
            <a:noFill/>
            <a:miter lim="800000"/>
            <a:headEnd type="none" w="sm" len="sm"/>
            <a:tailEnd type="none" w="sm" len="sm"/>
          </a:ln>
          <a:effectLst/>
        </p:spPr>
        <p:txBody>
          <a:bodyPr wrap="none" lIns="81102" tIns="40551" rIns="81102" bIns="40551">
            <a:spAutoFit/>
          </a:bodyPr>
          <a:lstStyle/>
          <a:p>
            <a:pPr algn="ctr" defTabSz="811723"/>
            <a:r>
              <a:rPr lang="en-US" sz="1474" noProof="1"/>
              <a:t>Text center align</a:t>
            </a:r>
            <a:br>
              <a:rPr lang="en-US" sz="1474" noProof="1"/>
            </a:br>
            <a:r>
              <a:rPr lang="en-US" sz="1474" noProof="1"/>
              <a:t>top anchor</a:t>
            </a:r>
          </a:p>
        </p:txBody>
      </p:sp>
      <p:sp>
        <p:nvSpPr>
          <p:cNvPr id="287" name="AutoShape 95"/>
          <p:cNvSpPr>
            <a:spLocks/>
          </p:cNvSpPr>
          <p:nvPr/>
        </p:nvSpPr>
        <p:spPr bwMode="auto">
          <a:xfrm rot="-16200000">
            <a:off x="1398629" y="1600559"/>
            <a:ext cx="267650" cy="1562027"/>
          </a:xfrm>
          <a:prstGeom prst="rightBrace">
            <a:avLst>
              <a:gd name="adj1" fmla="val 48634"/>
              <a:gd name="adj2" fmla="val 50000"/>
            </a:avLst>
          </a:prstGeom>
          <a:noFill/>
          <a:ln w="19050">
            <a:solidFill>
              <a:schemeClr val="tx1"/>
            </a:solidFill>
            <a:round/>
            <a:headEnd/>
            <a:tailEnd/>
          </a:ln>
          <a:effectLst/>
        </p:spPr>
        <p:txBody>
          <a:bodyPr wrap="none" anchor="ctr"/>
          <a:lstStyle/>
          <a:p>
            <a:endParaRPr lang="en-US" sz="1658"/>
          </a:p>
        </p:txBody>
      </p:sp>
      <p:sp>
        <p:nvSpPr>
          <p:cNvPr id="288" name="AutoShape 96"/>
          <p:cNvSpPr>
            <a:spLocks/>
          </p:cNvSpPr>
          <p:nvPr/>
        </p:nvSpPr>
        <p:spPr bwMode="auto">
          <a:xfrm rot="-5400000">
            <a:off x="1398629" y="1201277"/>
            <a:ext cx="267651" cy="1562027"/>
          </a:xfrm>
          <a:prstGeom prst="rightBrace">
            <a:avLst>
              <a:gd name="adj1" fmla="val 48634"/>
              <a:gd name="adj2" fmla="val 50000"/>
            </a:avLst>
          </a:prstGeom>
          <a:noFill/>
          <a:ln w="19050">
            <a:solidFill>
              <a:schemeClr val="tx1"/>
            </a:solidFill>
            <a:round/>
            <a:headEnd/>
            <a:tailEnd/>
          </a:ln>
          <a:effectLst/>
        </p:spPr>
        <p:txBody>
          <a:bodyPr wrap="none" anchor="ctr"/>
          <a:lstStyle/>
          <a:p>
            <a:endParaRPr lang="en-US" sz="1658"/>
          </a:p>
        </p:txBody>
      </p:sp>
      <p:sp>
        <p:nvSpPr>
          <p:cNvPr id="289" name="Text Box 98"/>
          <p:cNvSpPr txBox="1">
            <a:spLocks noChangeArrowheads="1"/>
          </p:cNvSpPr>
          <p:nvPr/>
        </p:nvSpPr>
        <p:spPr bwMode="auto">
          <a:xfrm>
            <a:off x="759634" y="1312857"/>
            <a:ext cx="1545641" cy="535608"/>
          </a:xfrm>
          <a:prstGeom prst="rect">
            <a:avLst/>
          </a:prstGeom>
          <a:noFill/>
          <a:ln w="12700">
            <a:noFill/>
            <a:miter lim="800000"/>
            <a:headEnd type="none" w="sm" len="sm"/>
            <a:tailEnd type="none" w="sm" len="sm"/>
          </a:ln>
          <a:effectLst/>
        </p:spPr>
        <p:txBody>
          <a:bodyPr wrap="none" lIns="81102" tIns="40551" rIns="81102" bIns="40551" anchor="b">
            <a:spAutoFit/>
          </a:bodyPr>
          <a:lstStyle/>
          <a:p>
            <a:pPr algn="ctr" defTabSz="811723"/>
            <a:r>
              <a:rPr lang="en-US" sz="1474" noProof="1"/>
              <a:t>Text center align</a:t>
            </a:r>
          </a:p>
          <a:p>
            <a:pPr algn="ctr" defTabSz="811723"/>
            <a:r>
              <a:rPr lang="en-US" sz="1474" noProof="1"/>
              <a:t>Bottom anchor</a:t>
            </a:r>
          </a:p>
        </p:txBody>
      </p:sp>
      <p:grpSp>
        <p:nvGrpSpPr>
          <p:cNvPr id="290" name="Group 101"/>
          <p:cNvGrpSpPr>
            <a:grpSpLocks/>
          </p:cNvGrpSpPr>
          <p:nvPr/>
        </p:nvGrpSpPr>
        <p:grpSpPr bwMode="auto">
          <a:xfrm>
            <a:off x="600796" y="3533347"/>
            <a:ext cx="1948146" cy="953597"/>
            <a:chOff x="1369" y="2094"/>
            <a:chExt cx="1789" cy="884"/>
          </a:xfrm>
        </p:grpSpPr>
        <p:sp>
          <p:nvSpPr>
            <p:cNvPr id="291" name="Freeform 102"/>
            <p:cNvSpPr>
              <a:spLocks/>
            </p:cNvSpPr>
            <p:nvPr/>
          </p:nvSpPr>
          <p:spPr bwMode="auto">
            <a:xfrm>
              <a:off x="2262" y="2094"/>
              <a:ext cx="448" cy="444"/>
            </a:xfrm>
            <a:custGeom>
              <a:avLst/>
              <a:gdLst/>
              <a:ahLst/>
              <a:cxnLst>
                <a:cxn ang="0">
                  <a:pos x="1793" y="1779"/>
                </a:cxn>
                <a:cxn ang="0">
                  <a:pos x="1749" y="1426"/>
                </a:cxn>
                <a:cxn ang="0">
                  <a:pos x="1638" y="1096"/>
                </a:cxn>
                <a:cxn ang="0">
                  <a:pos x="1470" y="798"/>
                </a:cxn>
                <a:cxn ang="0">
                  <a:pos x="1250" y="536"/>
                </a:cxn>
                <a:cxn ang="0">
                  <a:pos x="988" y="320"/>
                </a:cxn>
                <a:cxn ang="0">
                  <a:pos x="687" y="153"/>
                </a:cxn>
                <a:cxn ang="0">
                  <a:pos x="356" y="46"/>
                </a:cxn>
                <a:cxn ang="0">
                  <a:pos x="0" y="0"/>
                </a:cxn>
              </a:cxnLst>
              <a:rect l="0" t="0" r="r" b="b"/>
              <a:pathLst>
                <a:path w="1793" h="1779">
                  <a:moveTo>
                    <a:pt x="1793" y="1779"/>
                  </a:moveTo>
                  <a:lnTo>
                    <a:pt x="1749" y="1426"/>
                  </a:lnTo>
                  <a:lnTo>
                    <a:pt x="1638" y="1096"/>
                  </a:lnTo>
                  <a:lnTo>
                    <a:pt x="1470" y="798"/>
                  </a:lnTo>
                  <a:lnTo>
                    <a:pt x="1250" y="536"/>
                  </a:lnTo>
                  <a:lnTo>
                    <a:pt x="988" y="320"/>
                  </a:lnTo>
                  <a:lnTo>
                    <a:pt x="687" y="153"/>
                  </a:lnTo>
                  <a:lnTo>
                    <a:pt x="356" y="46"/>
                  </a:lnTo>
                  <a:lnTo>
                    <a:pt x="0" y="0"/>
                  </a:lnTo>
                </a:path>
              </a:pathLst>
            </a:custGeom>
            <a:noFill/>
            <a:ln w="19050" cmpd="sng">
              <a:solidFill>
                <a:schemeClr val="tx1"/>
              </a:solidFill>
              <a:prstDash val="solid"/>
              <a:round/>
              <a:headEnd/>
              <a:tailEnd/>
            </a:ln>
          </p:spPr>
          <p:txBody>
            <a:bodyPr/>
            <a:lstStyle/>
            <a:p>
              <a:endParaRPr lang="fr-SN" sz="1658"/>
            </a:p>
          </p:txBody>
        </p:sp>
        <p:sp>
          <p:nvSpPr>
            <p:cNvPr id="292" name="Freeform 103"/>
            <p:cNvSpPr>
              <a:spLocks/>
            </p:cNvSpPr>
            <p:nvPr/>
          </p:nvSpPr>
          <p:spPr bwMode="auto">
            <a:xfrm>
              <a:off x="2710" y="2534"/>
              <a:ext cx="448" cy="444"/>
            </a:xfrm>
            <a:custGeom>
              <a:avLst/>
              <a:gdLst/>
              <a:ahLst/>
              <a:cxnLst>
                <a:cxn ang="0">
                  <a:pos x="0" y="0"/>
                </a:cxn>
                <a:cxn ang="0">
                  <a:pos x="44" y="352"/>
                </a:cxn>
                <a:cxn ang="0">
                  <a:pos x="155" y="683"/>
                </a:cxn>
                <a:cxn ang="0">
                  <a:pos x="323" y="980"/>
                </a:cxn>
                <a:cxn ang="0">
                  <a:pos x="543" y="1242"/>
                </a:cxn>
                <a:cxn ang="0">
                  <a:pos x="804" y="1458"/>
                </a:cxn>
                <a:cxn ang="0">
                  <a:pos x="1105" y="1625"/>
                </a:cxn>
                <a:cxn ang="0">
                  <a:pos x="1436" y="1732"/>
                </a:cxn>
                <a:cxn ang="0">
                  <a:pos x="1792" y="1778"/>
                </a:cxn>
              </a:cxnLst>
              <a:rect l="0" t="0" r="r" b="b"/>
              <a:pathLst>
                <a:path w="1792" h="1778">
                  <a:moveTo>
                    <a:pt x="0" y="0"/>
                  </a:moveTo>
                  <a:lnTo>
                    <a:pt x="44" y="352"/>
                  </a:lnTo>
                  <a:lnTo>
                    <a:pt x="155" y="683"/>
                  </a:lnTo>
                  <a:lnTo>
                    <a:pt x="323" y="980"/>
                  </a:lnTo>
                  <a:lnTo>
                    <a:pt x="543" y="1242"/>
                  </a:lnTo>
                  <a:lnTo>
                    <a:pt x="804" y="1458"/>
                  </a:lnTo>
                  <a:lnTo>
                    <a:pt x="1105" y="1625"/>
                  </a:lnTo>
                  <a:lnTo>
                    <a:pt x="1436" y="1732"/>
                  </a:lnTo>
                  <a:lnTo>
                    <a:pt x="1792" y="1778"/>
                  </a:lnTo>
                </a:path>
              </a:pathLst>
            </a:custGeom>
            <a:noFill/>
            <a:ln w="19050" cmpd="sng">
              <a:solidFill>
                <a:schemeClr val="tx1"/>
              </a:solidFill>
              <a:prstDash val="solid"/>
              <a:round/>
              <a:headEnd/>
              <a:tailEnd/>
            </a:ln>
          </p:spPr>
          <p:txBody>
            <a:bodyPr/>
            <a:lstStyle/>
            <a:p>
              <a:endParaRPr lang="fr-SN" sz="1658"/>
            </a:p>
          </p:txBody>
        </p:sp>
        <p:sp>
          <p:nvSpPr>
            <p:cNvPr id="293" name="Freeform 104"/>
            <p:cNvSpPr>
              <a:spLocks/>
            </p:cNvSpPr>
            <p:nvPr/>
          </p:nvSpPr>
          <p:spPr bwMode="auto">
            <a:xfrm>
              <a:off x="1817" y="2094"/>
              <a:ext cx="448" cy="444"/>
            </a:xfrm>
            <a:custGeom>
              <a:avLst/>
              <a:gdLst/>
              <a:ahLst/>
              <a:cxnLst>
                <a:cxn ang="0">
                  <a:pos x="0" y="1779"/>
                </a:cxn>
                <a:cxn ang="0">
                  <a:pos x="45" y="1426"/>
                </a:cxn>
                <a:cxn ang="0">
                  <a:pos x="156" y="1096"/>
                </a:cxn>
                <a:cxn ang="0">
                  <a:pos x="324" y="798"/>
                </a:cxn>
                <a:cxn ang="0">
                  <a:pos x="544" y="536"/>
                </a:cxn>
                <a:cxn ang="0">
                  <a:pos x="806" y="320"/>
                </a:cxn>
                <a:cxn ang="0">
                  <a:pos x="1107" y="153"/>
                </a:cxn>
                <a:cxn ang="0">
                  <a:pos x="1438" y="46"/>
                </a:cxn>
                <a:cxn ang="0">
                  <a:pos x="1794" y="0"/>
                </a:cxn>
              </a:cxnLst>
              <a:rect l="0" t="0" r="r" b="b"/>
              <a:pathLst>
                <a:path w="1794" h="1779">
                  <a:moveTo>
                    <a:pt x="0" y="1779"/>
                  </a:moveTo>
                  <a:lnTo>
                    <a:pt x="45" y="1426"/>
                  </a:lnTo>
                  <a:lnTo>
                    <a:pt x="156" y="1096"/>
                  </a:lnTo>
                  <a:lnTo>
                    <a:pt x="324" y="798"/>
                  </a:lnTo>
                  <a:lnTo>
                    <a:pt x="544" y="536"/>
                  </a:lnTo>
                  <a:lnTo>
                    <a:pt x="806" y="320"/>
                  </a:lnTo>
                  <a:lnTo>
                    <a:pt x="1107" y="153"/>
                  </a:lnTo>
                  <a:lnTo>
                    <a:pt x="1438" y="46"/>
                  </a:lnTo>
                  <a:lnTo>
                    <a:pt x="1794" y="0"/>
                  </a:lnTo>
                </a:path>
              </a:pathLst>
            </a:custGeom>
            <a:noFill/>
            <a:ln w="19050" cmpd="sng">
              <a:solidFill>
                <a:schemeClr val="tx1"/>
              </a:solidFill>
              <a:prstDash val="solid"/>
              <a:round/>
              <a:headEnd/>
              <a:tailEnd/>
            </a:ln>
          </p:spPr>
          <p:txBody>
            <a:bodyPr/>
            <a:lstStyle/>
            <a:p>
              <a:endParaRPr lang="fr-SN" sz="1658"/>
            </a:p>
          </p:txBody>
        </p:sp>
        <p:sp>
          <p:nvSpPr>
            <p:cNvPr id="294" name="Freeform 105"/>
            <p:cNvSpPr>
              <a:spLocks/>
            </p:cNvSpPr>
            <p:nvPr/>
          </p:nvSpPr>
          <p:spPr bwMode="auto">
            <a:xfrm>
              <a:off x="1369" y="2534"/>
              <a:ext cx="448" cy="444"/>
            </a:xfrm>
            <a:custGeom>
              <a:avLst/>
              <a:gdLst/>
              <a:ahLst/>
              <a:cxnLst>
                <a:cxn ang="0">
                  <a:pos x="1792" y="0"/>
                </a:cxn>
                <a:cxn ang="0">
                  <a:pos x="1747" y="352"/>
                </a:cxn>
                <a:cxn ang="0">
                  <a:pos x="1637" y="683"/>
                </a:cxn>
                <a:cxn ang="0">
                  <a:pos x="1469" y="980"/>
                </a:cxn>
                <a:cxn ang="0">
                  <a:pos x="1248" y="1242"/>
                </a:cxn>
                <a:cxn ang="0">
                  <a:pos x="987" y="1458"/>
                </a:cxn>
                <a:cxn ang="0">
                  <a:pos x="686" y="1625"/>
                </a:cxn>
                <a:cxn ang="0">
                  <a:pos x="356" y="1732"/>
                </a:cxn>
                <a:cxn ang="0">
                  <a:pos x="0" y="1778"/>
                </a:cxn>
              </a:cxnLst>
              <a:rect l="0" t="0" r="r" b="b"/>
              <a:pathLst>
                <a:path w="1792" h="1778">
                  <a:moveTo>
                    <a:pt x="1792" y="0"/>
                  </a:moveTo>
                  <a:lnTo>
                    <a:pt x="1747" y="352"/>
                  </a:lnTo>
                  <a:lnTo>
                    <a:pt x="1637" y="683"/>
                  </a:lnTo>
                  <a:lnTo>
                    <a:pt x="1469" y="980"/>
                  </a:lnTo>
                  <a:lnTo>
                    <a:pt x="1248" y="1242"/>
                  </a:lnTo>
                  <a:lnTo>
                    <a:pt x="987" y="1458"/>
                  </a:lnTo>
                  <a:lnTo>
                    <a:pt x="686" y="1625"/>
                  </a:lnTo>
                  <a:lnTo>
                    <a:pt x="356" y="1732"/>
                  </a:lnTo>
                  <a:lnTo>
                    <a:pt x="0" y="1778"/>
                  </a:lnTo>
                </a:path>
              </a:pathLst>
            </a:custGeom>
            <a:noFill/>
            <a:ln w="19050" cmpd="sng">
              <a:solidFill>
                <a:schemeClr val="tx1"/>
              </a:solidFill>
              <a:prstDash val="solid"/>
              <a:round/>
              <a:headEnd/>
              <a:tailEnd/>
            </a:ln>
          </p:spPr>
          <p:txBody>
            <a:bodyPr/>
            <a:lstStyle/>
            <a:p>
              <a:endParaRPr lang="fr-SN" sz="1658"/>
            </a:p>
          </p:txBody>
        </p:sp>
      </p:grpSp>
      <p:sp>
        <p:nvSpPr>
          <p:cNvPr id="295" name="Freeform 156"/>
          <p:cNvSpPr>
            <a:spLocks/>
          </p:cNvSpPr>
          <p:nvPr/>
        </p:nvSpPr>
        <p:spPr bwMode="gray">
          <a:xfrm>
            <a:off x="5583965" y="1272977"/>
            <a:ext cx="1186362" cy="43203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1F4E79"/>
          </a:solidFill>
          <a:ln w="3175">
            <a:solidFill>
              <a:srgbClr val="1F4E79"/>
            </a:solidFill>
            <a:round/>
            <a:headEnd/>
            <a:tailEnd/>
          </a:ln>
        </p:spPr>
        <p:txBody>
          <a:bodyPr tIns="9144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4378"/>
            <a:endParaRPr lang="en-US" sz="1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6446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8F3B45-E622-4D44-A3D6-BEBB53ACF770}"/>
              </a:ext>
            </a:extLst>
          </p:cNvPr>
          <p:cNvSpPr>
            <a:spLocks noGrp="1"/>
          </p:cNvSpPr>
          <p:nvPr>
            <p:ph type="body" sz="quarter" idx="13"/>
          </p:nvPr>
        </p:nvSpPr>
        <p:spPr/>
        <p:txBody>
          <a:bodyPr/>
          <a:lstStyle/>
          <a:p>
            <a:endParaRPr lang="en-GB"/>
          </a:p>
        </p:txBody>
      </p:sp>
      <p:sp>
        <p:nvSpPr>
          <p:cNvPr id="11" name="Text Placeholder 10">
            <a:extLst>
              <a:ext uri="{FF2B5EF4-FFF2-40B4-BE49-F238E27FC236}">
                <a16:creationId xmlns:a16="http://schemas.microsoft.com/office/drawing/2014/main" id="{DD4D6C64-E615-4B83-A321-8FB8EB6CF28A}"/>
              </a:ext>
            </a:extLst>
          </p:cNvPr>
          <p:cNvSpPr>
            <a:spLocks noGrp="1"/>
          </p:cNvSpPr>
          <p:nvPr>
            <p:ph type="body" sz="quarter" idx="15"/>
          </p:nvPr>
        </p:nvSpPr>
        <p:spPr/>
        <p:txBody>
          <a:bodyPr/>
          <a:lstStyle/>
          <a:p>
            <a:endParaRPr lang="en-GB"/>
          </a:p>
        </p:txBody>
      </p:sp>
      <p:sp>
        <p:nvSpPr>
          <p:cNvPr id="2" name="Title 1">
            <a:extLst>
              <a:ext uri="{FF2B5EF4-FFF2-40B4-BE49-F238E27FC236}">
                <a16:creationId xmlns:a16="http://schemas.microsoft.com/office/drawing/2014/main" id="{EA94EEC1-C0C5-434F-9C3B-103F980D13DE}"/>
              </a:ext>
            </a:extLst>
          </p:cNvPr>
          <p:cNvSpPr>
            <a:spLocks noGrp="1"/>
          </p:cNvSpPr>
          <p:nvPr>
            <p:ph type="title"/>
          </p:nvPr>
        </p:nvSpPr>
        <p:spPr/>
        <p:txBody>
          <a:bodyPr/>
          <a:lstStyle/>
          <a:p>
            <a:r>
              <a:rPr lang="en-GB" sz="2000" dirty="0"/>
              <a:t>The two dimensional strip packing problem aims a minimizing the strip height by packing </a:t>
            </a:r>
          </a:p>
        </p:txBody>
      </p:sp>
      <p:sp>
        <p:nvSpPr>
          <p:cNvPr id="6" name="TextBox 5">
            <a:extLst>
              <a:ext uri="{FF2B5EF4-FFF2-40B4-BE49-F238E27FC236}">
                <a16:creationId xmlns:a16="http://schemas.microsoft.com/office/drawing/2014/main" id="{5AE19913-681A-464F-BC38-6B55C4DCE7E5}"/>
              </a:ext>
            </a:extLst>
          </p:cNvPr>
          <p:cNvSpPr txBox="1"/>
          <p:nvPr/>
        </p:nvSpPr>
        <p:spPr>
          <a:xfrm>
            <a:off x="919466" y="1242215"/>
            <a:ext cx="4759439" cy="400110"/>
          </a:xfrm>
          <a:prstGeom prst="rect">
            <a:avLst/>
          </a:prstGeom>
          <a:noFill/>
        </p:spPr>
        <p:txBody>
          <a:bodyPr wrap="square" rtlCol="0">
            <a:spAutoFit/>
          </a:bodyPr>
          <a:lstStyle/>
          <a:p>
            <a:pPr algn="ctr"/>
            <a:r>
              <a:rPr lang="en-US" sz="2000" dirty="0">
                <a:latin typeface="Arial" panose="020B0604020202020204" pitchFamily="34" charset="0"/>
                <a:ea typeface="Avenir Book" charset="0"/>
                <a:cs typeface="Arial" panose="020B0604020202020204" pitchFamily="34" charset="0"/>
              </a:rPr>
              <a:t>Setting the stage</a:t>
            </a:r>
          </a:p>
        </p:txBody>
      </p:sp>
      <p:sp>
        <p:nvSpPr>
          <p:cNvPr id="7" name="TextBox 6">
            <a:extLst>
              <a:ext uri="{FF2B5EF4-FFF2-40B4-BE49-F238E27FC236}">
                <a16:creationId xmlns:a16="http://schemas.microsoft.com/office/drawing/2014/main" id="{33853E14-CDD6-834A-AFDE-EDDC88DBE60D}"/>
              </a:ext>
            </a:extLst>
          </p:cNvPr>
          <p:cNvSpPr txBox="1"/>
          <p:nvPr/>
        </p:nvSpPr>
        <p:spPr>
          <a:xfrm>
            <a:off x="6657474" y="1242215"/>
            <a:ext cx="4614534" cy="400110"/>
          </a:xfrm>
          <a:prstGeom prst="rect">
            <a:avLst/>
          </a:prstGeom>
          <a:noFill/>
        </p:spPr>
        <p:txBody>
          <a:bodyPr wrap="square" rtlCol="0">
            <a:spAutoFit/>
          </a:bodyPr>
          <a:lstStyle/>
          <a:p>
            <a:pPr algn="ctr"/>
            <a:r>
              <a:rPr lang="en-US" sz="2000" dirty="0">
                <a:latin typeface="Arial" panose="020B0604020202020204" pitchFamily="34" charset="0"/>
                <a:ea typeface="Avenir Book" charset="0"/>
                <a:cs typeface="Arial" panose="020B0604020202020204" pitchFamily="34" charset="0"/>
              </a:rPr>
              <a:t>Strategy</a:t>
            </a:r>
          </a:p>
        </p:txBody>
      </p:sp>
      <p:cxnSp>
        <p:nvCxnSpPr>
          <p:cNvPr id="8" name="Straight Connector 7">
            <a:extLst>
              <a:ext uri="{FF2B5EF4-FFF2-40B4-BE49-F238E27FC236}">
                <a16:creationId xmlns:a16="http://schemas.microsoft.com/office/drawing/2014/main" id="{ACD0F851-8094-FE4E-BDCD-27FF675AD1AC}"/>
              </a:ext>
            </a:extLst>
          </p:cNvPr>
          <p:cNvCxnSpPr/>
          <p:nvPr/>
        </p:nvCxnSpPr>
        <p:spPr>
          <a:xfrm>
            <a:off x="911058" y="1626936"/>
            <a:ext cx="47678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9B96FB9-5EB9-6447-9064-0F30B6CCBC8E}"/>
              </a:ext>
            </a:extLst>
          </p:cNvPr>
          <p:cNvCxnSpPr/>
          <p:nvPr/>
        </p:nvCxnSpPr>
        <p:spPr>
          <a:xfrm flipV="1">
            <a:off x="6657474" y="1626937"/>
            <a:ext cx="4614534" cy="153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E1637BA-D6AC-8F4E-BA1D-A5E41E302A2A}"/>
              </a:ext>
            </a:extLst>
          </p:cNvPr>
          <p:cNvSpPr/>
          <p:nvPr/>
        </p:nvSpPr>
        <p:spPr>
          <a:xfrm>
            <a:off x="915261" y="1801916"/>
            <a:ext cx="4759439"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693619BB-C51A-9249-9FC2-FADFC652CD18}"/>
              </a:ext>
            </a:extLst>
          </p:cNvPr>
          <p:cNvSpPr txBox="1"/>
          <p:nvPr/>
        </p:nvSpPr>
        <p:spPr>
          <a:xfrm>
            <a:off x="1799760" y="1817304"/>
            <a:ext cx="3866535" cy="1027052"/>
          </a:xfrm>
          <a:prstGeom prst="rect">
            <a:avLst/>
          </a:prstGeom>
          <a:noFill/>
        </p:spPr>
        <p:txBody>
          <a:bodyPr wrap="square" rtlCol="0" anchor="ctr" anchorCtr="0">
            <a:noAutofit/>
          </a:bodyPr>
          <a:lstStyle/>
          <a:p>
            <a:r>
              <a:rPr lang="en-GB" sz="1400" dirty="0"/>
              <a:t>Stockholm Private Equity looks to acquire Espresso House, the largest coffee chain in Sweden, with the aim of further growth in a seemingly promising market</a:t>
            </a:r>
          </a:p>
        </p:txBody>
      </p:sp>
      <p:sp>
        <p:nvSpPr>
          <p:cNvPr id="38" name="Rectangle 37">
            <a:extLst>
              <a:ext uri="{FF2B5EF4-FFF2-40B4-BE49-F238E27FC236}">
                <a16:creationId xmlns:a16="http://schemas.microsoft.com/office/drawing/2014/main" id="{93118FC1-72CB-934B-9642-F950F93CFF8B}"/>
              </a:ext>
            </a:extLst>
          </p:cNvPr>
          <p:cNvSpPr/>
          <p:nvPr/>
        </p:nvSpPr>
        <p:spPr>
          <a:xfrm>
            <a:off x="911058" y="3016996"/>
            <a:ext cx="4759439"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extBox 40">
            <a:extLst>
              <a:ext uri="{FF2B5EF4-FFF2-40B4-BE49-F238E27FC236}">
                <a16:creationId xmlns:a16="http://schemas.microsoft.com/office/drawing/2014/main" id="{3C99AFDE-B2DA-6247-8B3C-96AA579E0F5A}"/>
              </a:ext>
            </a:extLst>
          </p:cNvPr>
          <p:cNvSpPr txBox="1"/>
          <p:nvPr/>
        </p:nvSpPr>
        <p:spPr>
          <a:xfrm>
            <a:off x="1803962" y="3016997"/>
            <a:ext cx="3866535" cy="1079999"/>
          </a:xfrm>
          <a:prstGeom prst="rect">
            <a:avLst/>
          </a:prstGeom>
          <a:noFill/>
        </p:spPr>
        <p:txBody>
          <a:bodyPr wrap="square" rtlCol="0" anchor="ctr" anchorCtr="0">
            <a:noAutofit/>
          </a:bodyPr>
          <a:lstStyle/>
          <a:p>
            <a:r>
              <a:rPr lang="en-GB" sz="1400" dirty="0"/>
              <a:t>Espresso House has already </a:t>
            </a:r>
            <a:r>
              <a:rPr lang="en-GB" sz="1400" b="1" dirty="0"/>
              <a:t>grown at a rapid pace</a:t>
            </a:r>
            <a:r>
              <a:rPr lang="en-GB" sz="1400" dirty="0"/>
              <a:t>, and international market entrants make it </a:t>
            </a:r>
            <a:r>
              <a:rPr lang="en-GB" sz="1400" b="1" dirty="0"/>
              <a:t>increasingly difficult to capture new market shares</a:t>
            </a:r>
          </a:p>
        </p:txBody>
      </p:sp>
      <p:sp>
        <p:nvSpPr>
          <p:cNvPr id="47" name="Rectangle 46">
            <a:extLst>
              <a:ext uri="{FF2B5EF4-FFF2-40B4-BE49-F238E27FC236}">
                <a16:creationId xmlns:a16="http://schemas.microsoft.com/office/drawing/2014/main" id="{8D349C2D-9FC8-BE49-89E8-202D3A065F4C}"/>
              </a:ext>
            </a:extLst>
          </p:cNvPr>
          <p:cNvSpPr/>
          <p:nvPr/>
        </p:nvSpPr>
        <p:spPr>
          <a:xfrm>
            <a:off x="911058" y="4232877"/>
            <a:ext cx="4759439" cy="13280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TextBox 48">
            <a:extLst>
              <a:ext uri="{FF2B5EF4-FFF2-40B4-BE49-F238E27FC236}">
                <a16:creationId xmlns:a16="http://schemas.microsoft.com/office/drawing/2014/main" id="{738FA7EF-8FBE-4D41-A15C-0E649C1DC321}"/>
              </a:ext>
            </a:extLst>
          </p:cNvPr>
          <p:cNvSpPr txBox="1"/>
          <p:nvPr/>
        </p:nvSpPr>
        <p:spPr>
          <a:xfrm>
            <a:off x="1803962" y="4232877"/>
            <a:ext cx="3866535" cy="1328033"/>
          </a:xfrm>
          <a:prstGeom prst="rect">
            <a:avLst/>
          </a:prstGeom>
          <a:noFill/>
        </p:spPr>
        <p:txBody>
          <a:bodyPr wrap="square" rtlCol="0" anchor="ctr" anchorCtr="0">
            <a:noAutofit/>
          </a:bodyPr>
          <a:lstStyle/>
          <a:p>
            <a:pPr>
              <a:buClr>
                <a:schemeClr val="accent6"/>
              </a:buClr>
            </a:pPr>
            <a:r>
              <a:rPr lang="en-GB" sz="1600" dirty="0"/>
              <a:t>What strategy should SPE pursue for Espresso House to optimize its market value in the next five years?</a:t>
            </a:r>
          </a:p>
        </p:txBody>
      </p:sp>
      <p:sp>
        <p:nvSpPr>
          <p:cNvPr id="46" name="Trekant 9">
            <a:extLst>
              <a:ext uri="{FF2B5EF4-FFF2-40B4-BE49-F238E27FC236}">
                <a16:creationId xmlns:a16="http://schemas.microsoft.com/office/drawing/2014/main" id="{20B66719-1044-FE46-8C80-2B1D14CB2CCD}"/>
              </a:ext>
            </a:extLst>
          </p:cNvPr>
          <p:cNvSpPr/>
          <p:nvPr/>
        </p:nvSpPr>
        <p:spPr>
          <a:xfrm rot="10800000">
            <a:off x="6752012" y="4282117"/>
            <a:ext cx="4423581" cy="25367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8160D8BC-7753-1C41-867F-1FB936F9C9D2}"/>
              </a:ext>
            </a:extLst>
          </p:cNvPr>
          <p:cNvPicPr>
            <a:picLocks noChangeAspect="1"/>
          </p:cNvPicPr>
          <p:nvPr/>
        </p:nvPicPr>
        <p:blipFill>
          <a:blip r:embed="rId3"/>
          <a:stretch>
            <a:fillRect/>
          </a:stretch>
        </p:blipFill>
        <p:spPr>
          <a:xfrm>
            <a:off x="1084660" y="2087993"/>
            <a:ext cx="560804" cy="558000"/>
          </a:xfrm>
          <a:prstGeom prst="rect">
            <a:avLst/>
          </a:prstGeom>
        </p:spPr>
      </p:pic>
      <p:pic>
        <p:nvPicPr>
          <p:cNvPr id="18" name="Picture 17">
            <a:extLst>
              <a:ext uri="{FF2B5EF4-FFF2-40B4-BE49-F238E27FC236}">
                <a16:creationId xmlns:a16="http://schemas.microsoft.com/office/drawing/2014/main" id="{FAF2DB6C-66E0-9C4B-9C3F-46E221EE4834}"/>
              </a:ext>
            </a:extLst>
          </p:cNvPr>
          <p:cNvPicPr>
            <a:picLocks noChangeAspect="1"/>
          </p:cNvPicPr>
          <p:nvPr/>
        </p:nvPicPr>
        <p:blipFill>
          <a:blip r:embed="rId4"/>
          <a:stretch>
            <a:fillRect/>
          </a:stretch>
        </p:blipFill>
        <p:spPr>
          <a:xfrm>
            <a:off x="1084660" y="3272198"/>
            <a:ext cx="558000" cy="558000"/>
          </a:xfrm>
          <a:prstGeom prst="rect">
            <a:avLst/>
          </a:prstGeom>
        </p:spPr>
      </p:pic>
      <p:pic>
        <p:nvPicPr>
          <p:cNvPr id="20" name="Picture 19">
            <a:extLst>
              <a:ext uri="{FF2B5EF4-FFF2-40B4-BE49-F238E27FC236}">
                <a16:creationId xmlns:a16="http://schemas.microsoft.com/office/drawing/2014/main" id="{9A7FD90A-6394-DE49-AC14-C308FB08DDF1}"/>
              </a:ext>
            </a:extLst>
          </p:cNvPr>
          <p:cNvPicPr>
            <a:picLocks noChangeAspect="1"/>
          </p:cNvPicPr>
          <p:nvPr/>
        </p:nvPicPr>
        <p:blipFill>
          <a:blip r:embed="rId5"/>
          <a:stretch>
            <a:fillRect/>
          </a:stretch>
        </p:blipFill>
        <p:spPr>
          <a:xfrm>
            <a:off x="1084660" y="4617893"/>
            <a:ext cx="558000" cy="558000"/>
          </a:xfrm>
          <a:prstGeom prst="rect">
            <a:avLst/>
          </a:prstGeom>
        </p:spPr>
      </p:pic>
      <p:sp>
        <p:nvSpPr>
          <p:cNvPr id="43" name="Rectangle 42">
            <a:extLst>
              <a:ext uri="{FF2B5EF4-FFF2-40B4-BE49-F238E27FC236}">
                <a16:creationId xmlns:a16="http://schemas.microsoft.com/office/drawing/2014/main" id="{F9F06C55-9B16-1645-BAC9-4809960303FB}"/>
              </a:ext>
            </a:extLst>
          </p:cNvPr>
          <p:cNvSpPr/>
          <p:nvPr/>
        </p:nvSpPr>
        <p:spPr>
          <a:xfrm>
            <a:off x="6677591" y="1937970"/>
            <a:ext cx="4594417" cy="9491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extBox 44">
            <a:extLst>
              <a:ext uri="{FF2B5EF4-FFF2-40B4-BE49-F238E27FC236}">
                <a16:creationId xmlns:a16="http://schemas.microsoft.com/office/drawing/2014/main" id="{54DEC6E5-B455-394F-9109-4245B33F8D16}"/>
              </a:ext>
            </a:extLst>
          </p:cNvPr>
          <p:cNvSpPr txBox="1"/>
          <p:nvPr/>
        </p:nvSpPr>
        <p:spPr>
          <a:xfrm>
            <a:off x="7828047" y="1930901"/>
            <a:ext cx="3443960" cy="949022"/>
          </a:xfrm>
          <a:prstGeom prst="rect">
            <a:avLst/>
          </a:prstGeom>
          <a:noFill/>
        </p:spPr>
        <p:txBody>
          <a:bodyPr wrap="square" rtlCol="0" anchor="ctr">
            <a:noAutofit/>
          </a:bodyPr>
          <a:lstStyle/>
          <a:p>
            <a:r>
              <a:rPr lang="en-GB" b="1" dirty="0">
                <a:solidFill>
                  <a:schemeClr val="accent6"/>
                </a:solidFill>
              </a:rPr>
              <a:t>Franchise</a:t>
            </a:r>
            <a:r>
              <a:rPr lang="en-GB" sz="1400" dirty="0"/>
              <a:t> </a:t>
            </a:r>
            <a:r>
              <a:rPr lang="en-GB" sz="1200" dirty="0"/>
              <a:t>the Espresso House concept to independent outlets, and thereby open </a:t>
            </a:r>
            <a:r>
              <a:rPr lang="en-GB" sz="1200" b="1" dirty="0"/>
              <a:t>100 new shops </a:t>
            </a:r>
            <a:r>
              <a:rPr lang="en-GB" sz="1200" dirty="0"/>
              <a:t>throughout Sweden</a:t>
            </a:r>
            <a:endParaRPr lang="en-GB" sz="1400" b="1" dirty="0"/>
          </a:p>
        </p:txBody>
      </p:sp>
      <p:sp>
        <p:nvSpPr>
          <p:cNvPr id="50" name="Oval 49">
            <a:extLst>
              <a:ext uri="{FF2B5EF4-FFF2-40B4-BE49-F238E27FC236}">
                <a16:creationId xmlns:a16="http://schemas.microsoft.com/office/drawing/2014/main" id="{89E7D40B-FC6D-CB40-876D-798D4E49210A}"/>
              </a:ext>
            </a:extLst>
          </p:cNvPr>
          <p:cNvSpPr/>
          <p:nvPr/>
        </p:nvSpPr>
        <p:spPr>
          <a:xfrm>
            <a:off x="6261656" y="2103056"/>
            <a:ext cx="612000" cy="61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a:extLst>
              <a:ext uri="{FF2B5EF4-FFF2-40B4-BE49-F238E27FC236}">
                <a16:creationId xmlns:a16="http://schemas.microsoft.com/office/drawing/2014/main" id="{A7E5E8A7-4E2A-3146-AFA5-B0C54D8717D4}"/>
              </a:ext>
            </a:extLst>
          </p:cNvPr>
          <p:cNvPicPr>
            <a:picLocks noChangeAspect="1"/>
          </p:cNvPicPr>
          <p:nvPr/>
        </p:nvPicPr>
        <p:blipFill>
          <a:blip r:embed="rId6"/>
          <a:stretch>
            <a:fillRect/>
          </a:stretch>
        </p:blipFill>
        <p:spPr>
          <a:xfrm>
            <a:off x="6321156" y="2165503"/>
            <a:ext cx="504000" cy="504000"/>
          </a:xfrm>
          <a:prstGeom prst="rect">
            <a:avLst/>
          </a:prstGeom>
        </p:spPr>
      </p:pic>
      <p:sp>
        <p:nvSpPr>
          <p:cNvPr id="52" name="Rectangle 51">
            <a:extLst>
              <a:ext uri="{FF2B5EF4-FFF2-40B4-BE49-F238E27FC236}">
                <a16:creationId xmlns:a16="http://schemas.microsoft.com/office/drawing/2014/main" id="{37D1E25A-4D2B-E846-8729-44549E568ED5}"/>
              </a:ext>
            </a:extLst>
          </p:cNvPr>
          <p:cNvSpPr/>
          <p:nvPr/>
        </p:nvSpPr>
        <p:spPr>
          <a:xfrm>
            <a:off x="6677591" y="3128390"/>
            <a:ext cx="4594417" cy="9491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Oval 64">
            <a:extLst>
              <a:ext uri="{FF2B5EF4-FFF2-40B4-BE49-F238E27FC236}">
                <a16:creationId xmlns:a16="http://schemas.microsoft.com/office/drawing/2014/main" id="{2F4AD711-0425-AB45-8D88-624EE9957B68}"/>
              </a:ext>
            </a:extLst>
          </p:cNvPr>
          <p:cNvSpPr/>
          <p:nvPr/>
        </p:nvSpPr>
        <p:spPr>
          <a:xfrm>
            <a:off x="6261656" y="3136996"/>
            <a:ext cx="612000" cy="61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Oval 66">
            <a:extLst>
              <a:ext uri="{FF2B5EF4-FFF2-40B4-BE49-F238E27FC236}">
                <a16:creationId xmlns:a16="http://schemas.microsoft.com/office/drawing/2014/main" id="{F45146EA-5032-A140-86CD-250CC08BC0C3}"/>
              </a:ext>
            </a:extLst>
          </p:cNvPr>
          <p:cNvSpPr/>
          <p:nvPr/>
        </p:nvSpPr>
        <p:spPr>
          <a:xfrm>
            <a:off x="6261656" y="3469081"/>
            <a:ext cx="612000" cy="61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Picture 29">
            <a:extLst>
              <a:ext uri="{FF2B5EF4-FFF2-40B4-BE49-F238E27FC236}">
                <a16:creationId xmlns:a16="http://schemas.microsoft.com/office/drawing/2014/main" id="{71EA456D-E7FF-8246-A1B3-1C2CD4337130}"/>
              </a:ext>
            </a:extLst>
          </p:cNvPr>
          <p:cNvPicPr>
            <a:picLocks noChangeAspect="1"/>
          </p:cNvPicPr>
          <p:nvPr/>
        </p:nvPicPr>
        <p:blipFill>
          <a:blip r:embed="rId7"/>
          <a:stretch>
            <a:fillRect/>
          </a:stretch>
        </p:blipFill>
        <p:spPr>
          <a:xfrm>
            <a:off x="6321156" y="3528348"/>
            <a:ext cx="504000" cy="504000"/>
          </a:xfrm>
          <a:prstGeom prst="rect">
            <a:avLst/>
          </a:prstGeom>
        </p:spPr>
      </p:pic>
      <p:pic>
        <p:nvPicPr>
          <p:cNvPr id="28" name="Picture 27">
            <a:extLst>
              <a:ext uri="{FF2B5EF4-FFF2-40B4-BE49-F238E27FC236}">
                <a16:creationId xmlns:a16="http://schemas.microsoft.com/office/drawing/2014/main" id="{AE1BD08E-9924-BC41-8994-32DFC63073F5}"/>
              </a:ext>
            </a:extLst>
          </p:cNvPr>
          <p:cNvPicPr>
            <a:picLocks noChangeAspect="1"/>
          </p:cNvPicPr>
          <p:nvPr/>
        </p:nvPicPr>
        <p:blipFill>
          <a:blip r:embed="rId8"/>
          <a:stretch>
            <a:fillRect/>
          </a:stretch>
        </p:blipFill>
        <p:spPr>
          <a:xfrm>
            <a:off x="6321156" y="3187125"/>
            <a:ext cx="504000" cy="504000"/>
          </a:xfrm>
          <a:prstGeom prst="rect">
            <a:avLst/>
          </a:prstGeom>
        </p:spPr>
      </p:pic>
      <p:pic>
        <p:nvPicPr>
          <p:cNvPr id="32" name="Picture 31">
            <a:extLst>
              <a:ext uri="{FF2B5EF4-FFF2-40B4-BE49-F238E27FC236}">
                <a16:creationId xmlns:a16="http://schemas.microsoft.com/office/drawing/2014/main" id="{B32BD980-3CEA-DE40-B032-CB395337F91C}"/>
              </a:ext>
            </a:extLst>
          </p:cNvPr>
          <p:cNvPicPr>
            <a:picLocks noChangeAspect="1"/>
          </p:cNvPicPr>
          <p:nvPr/>
        </p:nvPicPr>
        <p:blipFill>
          <a:blip r:embed="rId9"/>
          <a:stretch>
            <a:fillRect/>
          </a:stretch>
        </p:blipFill>
        <p:spPr>
          <a:xfrm>
            <a:off x="7018920" y="2038493"/>
            <a:ext cx="715112" cy="715112"/>
          </a:xfrm>
          <a:prstGeom prst="rect">
            <a:avLst/>
          </a:prstGeom>
        </p:spPr>
      </p:pic>
      <p:sp>
        <p:nvSpPr>
          <p:cNvPr id="68" name="TextBox 67">
            <a:extLst>
              <a:ext uri="{FF2B5EF4-FFF2-40B4-BE49-F238E27FC236}">
                <a16:creationId xmlns:a16="http://schemas.microsoft.com/office/drawing/2014/main" id="{E1ECF82C-44FF-0244-84A6-25E9870FE6A5}"/>
              </a:ext>
            </a:extLst>
          </p:cNvPr>
          <p:cNvSpPr txBox="1"/>
          <p:nvPr/>
        </p:nvSpPr>
        <p:spPr>
          <a:xfrm>
            <a:off x="7828047" y="3122344"/>
            <a:ext cx="3443960" cy="949022"/>
          </a:xfrm>
          <a:prstGeom prst="rect">
            <a:avLst/>
          </a:prstGeom>
          <a:noFill/>
        </p:spPr>
        <p:txBody>
          <a:bodyPr wrap="square" rtlCol="0" anchor="ctr">
            <a:noAutofit/>
          </a:bodyPr>
          <a:lstStyle/>
          <a:p>
            <a:r>
              <a:rPr lang="en-GB" b="1" dirty="0">
                <a:solidFill>
                  <a:schemeClr val="accent6"/>
                </a:solidFill>
              </a:rPr>
              <a:t>Fan out</a:t>
            </a:r>
            <a:r>
              <a:rPr lang="en-GB" sz="1400" dirty="0"/>
              <a:t> </a:t>
            </a:r>
            <a:r>
              <a:rPr lang="en-GB" sz="1200" dirty="0"/>
              <a:t>the easily scalable model by expanding it into </a:t>
            </a:r>
            <a:r>
              <a:rPr lang="en-GB" sz="1200" b="1" dirty="0"/>
              <a:t>Estonia and Lithuania</a:t>
            </a:r>
            <a:r>
              <a:rPr lang="en-GB" sz="1200" dirty="0"/>
              <a:t> that have </a:t>
            </a:r>
            <a:r>
              <a:rPr lang="en-GB" sz="1200" b="1" dirty="0"/>
              <a:t>potential for rapid growth</a:t>
            </a:r>
            <a:endParaRPr lang="en-GB" sz="1400" b="1" dirty="0"/>
          </a:p>
        </p:txBody>
      </p:sp>
      <p:pic>
        <p:nvPicPr>
          <p:cNvPr id="36" name="Picture 35">
            <a:extLst>
              <a:ext uri="{FF2B5EF4-FFF2-40B4-BE49-F238E27FC236}">
                <a16:creationId xmlns:a16="http://schemas.microsoft.com/office/drawing/2014/main" id="{A352BD97-9F8B-384A-9DB8-6D0CE78D2D40}"/>
              </a:ext>
            </a:extLst>
          </p:cNvPr>
          <p:cNvPicPr>
            <a:picLocks noChangeAspect="1"/>
          </p:cNvPicPr>
          <p:nvPr/>
        </p:nvPicPr>
        <p:blipFill>
          <a:blip r:embed="rId10"/>
          <a:stretch>
            <a:fillRect/>
          </a:stretch>
        </p:blipFill>
        <p:spPr>
          <a:xfrm>
            <a:off x="7017632" y="3248324"/>
            <a:ext cx="716400" cy="716400"/>
          </a:xfrm>
          <a:prstGeom prst="rect">
            <a:avLst/>
          </a:prstGeom>
        </p:spPr>
      </p:pic>
      <p:grpSp>
        <p:nvGrpSpPr>
          <p:cNvPr id="40" name="Group 39">
            <a:extLst>
              <a:ext uri="{FF2B5EF4-FFF2-40B4-BE49-F238E27FC236}">
                <a16:creationId xmlns:a16="http://schemas.microsoft.com/office/drawing/2014/main" id="{9E951A11-BC8F-4D42-8DDB-C51641A217C1}"/>
              </a:ext>
            </a:extLst>
          </p:cNvPr>
          <p:cNvGrpSpPr/>
          <p:nvPr/>
        </p:nvGrpSpPr>
        <p:grpSpPr>
          <a:xfrm>
            <a:off x="7295362" y="5034590"/>
            <a:ext cx="3663616" cy="1052093"/>
            <a:chOff x="6935143" y="4730947"/>
            <a:chExt cx="3663616" cy="1052093"/>
          </a:xfrm>
        </p:grpSpPr>
        <p:sp>
          <p:nvSpPr>
            <p:cNvPr id="37" name="TextBox 36">
              <a:extLst>
                <a:ext uri="{FF2B5EF4-FFF2-40B4-BE49-F238E27FC236}">
                  <a16:creationId xmlns:a16="http://schemas.microsoft.com/office/drawing/2014/main" id="{F7BD5966-5711-3845-B990-2E5F708B04F7}"/>
                </a:ext>
              </a:extLst>
            </p:cNvPr>
            <p:cNvSpPr txBox="1"/>
            <p:nvPr/>
          </p:nvSpPr>
          <p:spPr>
            <a:xfrm>
              <a:off x="6935143" y="4731191"/>
              <a:ext cx="1384853" cy="769441"/>
            </a:xfrm>
            <a:prstGeom prst="rect">
              <a:avLst/>
            </a:prstGeom>
            <a:noFill/>
          </p:spPr>
          <p:txBody>
            <a:bodyPr wrap="square" rtlCol="0">
              <a:spAutoFit/>
            </a:bodyPr>
            <a:lstStyle/>
            <a:p>
              <a:pPr algn="ctr"/>
              <a:r>
                <a:rPr lang="en-GB" sz="4400" b="1" dirty="0">
                  <a:solidFill>
                    <a:schemeClr val="accent6"/>
                  </a:solidFill>
                </a:rPr>
                <a:t>51%</a:t>
              </a:r>
            </a:p>
          </p:txBody>
        </p:sp>
        <p:sp>
          <p:nvSpPr>
            <p:cNvPr id="39" name="TextBox 38">
              <a:extLst>
                <a:ext uri="{FF2B5EF4-FFF2-40B4-BE49-F238E27FC236}">
                  <a16:creationId xmlns:a16="http://schemas.microsoft.com/office/drawing/2014/main" id="{80E4AA62-1C8B-3643-8B29-DA3890F6321A}"/>
                </a:ext>
              </a:extLst>
            </p:cNvPr>
            <p:cNvSpPr txBox="1"/>
            <p:nvPr/>
          </p:nvSpPr>
          <p:spPr>
            <a:xfrm>
              <a:off x="7015470" y="5321375"/>
              <a:ext cx="1304526" cy="461665"/>
            </a:xfrm>
            <a:prstGeom prst="rect">
              <a:avLst/>
            </a:prstGeom>
            <a:noFill/>
          </p:spPr>
          <p:txBody>
            <a:bodyPr wrap="square" rtlCol="0">
              <a:spAutoFit/>
            </a:bodyPr>
            <a:lstStyle/>
            <a:p>
              <a:pPr algn="ctr"/>
              <a:r>
                <a:rPr lang="en-GB" sz="1200" dirty="0"/>
                <a:t>Market share in Sweden</a:t>
              </a:r>
            </a:p>
          </p:txBody>
        </p:sp>
        <p:sp>
          <p:nvSpPr>
            <p:cNvPr id="70" name="TextBox 69">
              <a:extLst>
                <a:ext uri="{FF2B5EF4-FFF2-40B4-BE49-F238E27FC236}">
                  <a16:creationId xmlns:a16="http://schemas.microsoft.com/office/drawing/2014/main" id="{EFE5FCF8-79ED-AD40-9B0C-0865391D6B7D}"/>
                </a:ext>
              </a:extLst>
            </p:cNvPr>
            <p:cNvSpPr txBox="1"/>
            <p:nvPr/>
          </p:nvSpPr>
          <p:spPr>
            <a:xfrm>
              <a:off x="8731179" y="4730947"/>
              <a:ext cx="1703879" cy="769441"/>
            </a:xfrm>
            <a:prstGeom prst="rect">
              <a:avLst/>
            </a:prstGeom>
            <a:noFill/>
          </p:spPr>
          <p:txBody>
            <a:bodyPr wrap="square" rtlCol="0">
              <a:spAutoFit/>
            </a:bodyPr>
            <a:lstStyle/>
            <a:p>
              <a:pPr algn="ctr"/>
              <a:r>
                <a:rPr lang="en-GB" sz="4400" b="1" dirty="0">
                  <a:solidFill>
                    <a:schemeClr val="accent6"/>
                  </a:solidFill>
                </a:rPr>
                <a:t>148m</a:t>
              </a:r>
            </a:p>
          </p:txBody>
        </p:sp>
        <p:sp>
          <p:nvSpPr>
            <p:cNvPr id="71" name="TextBox 70">
              <a:extLst>
                <a:ext uri="{FF2B5EF4-FFF2-40B4-BE49-F238E27FC236}">
                  <a16:creationId xmlns:a16="http://schemas.microsoft.com/office/drawing/2014/main" id="{0CABCB8E-221C-5A44-83D8-7C9648C463C4}"/>
                </a:ext>
              </a:extLst>
            </p:cNvPr>
            <p:cNvSpPr txBox="1"/>
            <p:nvPr/>
          </p:nvSpPr>
          <p:spPr>
            <a:xfrm>
              <a:off x="8731179" y="5338133"/>
              <a:ext cx="1867580" cy="276999"/>
            </a:xfrm>
            <a:prstGeom prst="rect">
              <a:avLst/>
            </a:prstGeom>
            <a:noFill/>
          </p:spPr>
          <p:txBody>
            <a:bodyPr wrap="square" rtlCol="0">
              <a:spAutoFit/>
            </a:bodyPr>
            <a:lstStyle/>
            <a:p>
              <a:pPr algn="ctr"/>
              <a:r>
                <a:rPr lang="en-GB" sz="1200" dirty="0"/>
                <a:t>SEK in incremental NPV</a:t>
              </a:r>
            </a:p>
          </p:txBody>
        </p:sp>
      </p:grpSp>
      <p:sp>
        <p:nvSpPr>
          <p:cNvPr id="72" name="Half Frame 71">
            <a:extLst>
              <a:ext uri="{FF2B5EF4-FFF2-40B4-BE49-F238E27FC236}">
                <a16:creationId xmlns:a16="http://schemas.microsoft.com/office/drawing/2014/main" id="{742E34E9-0863-2249-A02E-D98E69CD2336}"/>
              </a:ext>
            </a:extLst>
          </p:cNvPr>
          <p:cNvSpPr/>
          <p:nvPr/>
        </p:nvSpPr>
        <p:spPr>
          <a:xfrm>
            <a:off x="7285549" y="5014849"/>
            <a:ext cx="3395937" cy="81257"/>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3" name="Half Frame 72">
            <a:extLst>
              <a:ext uri="{FF2B5EF4-FFF2-40B4-BE49-F238E27FC236}">
                <a16:creationId xmlns:a16="http://schemas.microsoft.com/office/drawing/2014/main" id="{4518F537-282A-9249-80DA-85900D518D0F}"/>
              </a:ext>
            </a:extLst>
          </p:cNvPr>
          <p:cNvSpPr/>
          <p:nvPr/>
        </p:nvSpPr>
        <p:spPr>
          <a:xfrm flipH="1">
            <a:off x="9067671" y="5017335"/>
            <a:ext cx="1730422" cy="64129"/>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4" name="TextBox 73">
            <a:extLst>
              <a:ext uri="{FF2B5EF4-FFF2-40B4-BE49-F238E27FC236}">
                <a16:creationId xmlns:a16="http://schemas.microsoft.com/office/drawing/2014/main" id="{2F0BA9C2-7160-B240-BDD6-1983C98221B8}"/>
              </a:ext>
            </a:extLst>
          </p:cNvPr>
          <p:cNvSpPr txBox="1"/>
          <p:nvPr/>
        </p:nvSpPr>
        <p:spPr>
          <a:xfrm>
            <a:off x="6752012" y="4707072"/>
            <a:ext cx="4784206" cy="307777"/>
          </a:xfrm>
          <a:prstGeom prst="rect">
            <a:avLst/>
          </a:prstGeom>
          <a:noFill/>
        </p:spPr>
        <p:txBody>
          <a:bodyPr wrap="square" rtlCol="0">
            <a:spAutoFit/>
          </a:bodyPr>
          <a:lstStyle/>
          <a:p>
            <a:pPr algn="ctr"/>
            <a:r>
              <a:rPr lang="en-GB" sz="1400" dirty="0">
                <a:solidFill>
                  <a:schemeClr val="accent5">
                    <a:lumMod val="50000"/>
                  </a:schemeClr>
                </a:solidFill>
              </a:rPr>
              <a:t>by 2022</a:t>
            </a:r>
          </a:p>
        </p:txBody>
      </p:sp>
    </p:spTree>
    <p:extLst>
      <p:ext uri="{BB962C8B-B14F-4D97-AF65-F5344CB8AC3E}">
        <p14:creationId xmlns:p14="http://schemas.microsoft.com/office/powerpoint/2010/main" val="32711983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1BDF65-907F-024D-B8F1-FC7E985BD6D1}"/>
              </a:ext>
            </a:extLst>
          </p:cNvPr>
          <p:cNvSpPr>
            <a:spLocks noGrp="1"/>
          </p:cNvSpPr>
          <p:nvPr>
            <p:ph type="body" sz="quarter" idx="13"/>
          </p:nvPr>
        </p:nvSpPr>
        <p:spPr/>
        <p:txBody>
          <a:bodyPr/>
          <a:lstStyle/>
          <a:p>
            <a:endParaRPr lang="en-GB"/>
          </a:p>
        </p:txBody>
      </p:sp>
      <p:sp>
        <p:nvSpPr>
          <p:cNvPr id="3" name="Text Placeholder 2">
            <a:extLst>
              <a:ext uri="{FF2B5EF4-FFF2-40B4-BE49-F238E27FC236}">
                <a16:creationId xmlns:a16="http://schemas.microsoft.com/office/drawing/2014/main" id="{7D3B29D7-8053-A34D-9F94-CD93E784FC0A}"/>
              </a:ext>
            </a:extLst>
          </p:cNvPr>
          <p:cNvSpPr>
            <a:spLocks noGrp="1"/>
          </p:cNvSpPr>
          <p:nvPr>
            <p:ph type="body" sz="quarter" idx="15"/>
          </p:nvPr>
        </p:nvSpPr>
        <p:spPr/>
        <p:txBody>
          <a:bodyPr/>
          <a:lstStyle/>
          <a:p>
            <a:endParaRPr lang="en-GB"/>
          </a:p>
        </p:txBody>
      </p:sp>
      <p:sp>
        <p:nvSpPr>
          <p:cNvPr id="4" name="Title 3">
            <a:extLst>
              <a:ext uri="{FF2B5EF4-FFF2-40B4-BE49-F238E27FC236}">
                <a16:creationId xmlns:a16="http://schemas.microsoft.com/office/drawing/2014/main" id="{E68BA38B-E262-5C42-BCB2-73AEBD8DD7BB}"/>
              </a:ext>
            </a:extLst>
          </p:cNvPr>
          <p:cNvSpPr>
            <a:spLocks noGrp="1"/>
          </p:cNvSpPr>
          <p:nvPr>
            <p:ph type="title"/>
          </p:nvPr>
        </p:nvSpPr>
        <p:spPr/>
        <p:txBody>
          <a:bodyPr/>
          <a:lstStyle/>
          <a:p>
            <a:endParaRPr lang="en-GB"/>
          </a:p>
        </p:txBody>
      </p:sp>
      <p:pic>
        <p:nvPicPr>
          <p:cNvPr id="5" name="Billede 5">
            <a:extLst>
              <a:ext uri="{FF2B5EF4-FFF2-40B4-BE49-F238E27FC236}">
                <a16:creationId xmlns:a16="http://schemas.microsoft.com/office/drawing/2014/main" id="{4AA5CF32-75B4-0D46-B0FB-1806AB008CFA}"/>
              </a:ext>
            </a:extLst>
          </p:cNvPr>
          <p:cNvPicPr>
            <a:picLocks noChangeAspect="1"/>
          </p:cNvPicPr>
          <p:nvPr/>
        </p:nvPicPr>
        <p:blipFill>
          <a:blip r:embed="rId2"/>
          <a:stretch>
            <a:fillRect/>
          </a:stretch>
        </p:blipFill>
        <p:spPr>
          <a:xfrm>
            <a:off x="8729375" y="1894845"/>
            <a:ext cx="2369128" cy="2062610"/>
          </a:xfrm>
          <a:prstGeom prst="rect">
            <a:avLst/>
          </a:prstGeom>
        </p:spPr>
      </p:pic>
      <p:sp>
        <p:nvSpPr>
          <p:cNvPr id="6" name="Rectangle 27">
            <a:extLst>
              <a:ext uri="{FF2B5EF4-FFF2-40B4-BE49-F238E27FC236}">
                <a16:creationId xmlns:a16="http://schemas.microsoft.com/office/drawing/2014/main" id="{9D9269AD-DB19-AE4E-8699-56629FD30380}"/>
              </a:ext>
            </a:extLst>
          </p:cNvPr>
          <p:cNvSpPr/>
          <p:nvPr/>
        </p:nvSpPr>
        <p:spPr>
          <a:xfrm>
            <a:off x="742228" y="1318698"/>
            <a:ext cx="3049200" cy="532213"/>
          </a:xfrm>
          <a:prstGeom prst="rect">
            <a:avLst/>
          </a:prstGeom>
          <a:solidFill>
            <a:schemeClr val="accent5">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SITUATION</a:t>
            </a:r>
          </a:p>
        </p:txBody>
      </p:sp>
      <p:sp>
        <p:nvSpPr>
          <p:cNvPr id="7" name="Rectangle 31">
            <a:extLst>
              <a:ext uri="{FF2B5EF4-FFF2-40B4-BE49-F238E27FC236}">
                <a16:creationId xmlns:a16="http://schemas.microsoft.com/office/drawing/2014/main" id="{312C5CAB-D1DA-704C-837E-C277EA8D686C}"/>
              </a:ext>
            </a:extLst>
          </p:cNvPr>
          <p:cNvSpPr/>
          <p:nvPr/>
        </p:nvSpPr>
        <p:spPr>
          <a:xfrm>
            <a:off x="742050" y="3880012"/>
            <a:ext cx="3049200" cy="1908893"/>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ea typeface="Avenir Book" charset="0"/>
                <a:cs typeface="Arial" panose="020B0604020202020204" pitchFamily="34" charset="0"/>
              </a:rPr>
              <a:t>The patient management </a:t>
            </a:r>
            <a:r>
              <a:rPr lang="en-US" b="1" dirty="0">
                <a:solidFill>
                  <a:schemeClr val="tx1"/>
                </a:solidFill>
                <a:latin typeface="Arial" panose="020B0604020202020204" pitchFamily="34" charset="0"/>
                <a:ea typeface="Avenir Book" charset="0"/>
                <a:cs typeface="Arial" panose="020B0604020202020204" pitchFamily="34" charset="0"/>
              </a:rPr>
              <a:t>software market is expanding </a:t>
            </a:r>
            <a:r>
              <a:rPr lang="en-US" dirty="0">
                <a:solidFill>
                  <a:schemeClr val="tx1"/>
                </a:solidFill>
                <a:latin typeface="Arial" panose="020B0604020202020204" pitchFamily="34" charset="0"/>
                <a:ea typeface="Avenir Book" charset="0"/>
                <a:cs typeface="Arial" panose="020B0604020202020204" pitchFamily="34" charset="0"/>
              </a:rPr>
              <a:t>due to new </a:t>
            </a:r>
            <a:r>
              <a:rPr lang="en-US" b="1" dirty="0">
                <a:solidFill>
                  <a:schemeClr val="tx1"/>
                </a:solidFill>
                <a:latin typeface="Arial" panose="020B0604020202020204" pitchFamily="34" charset="0"/>
                <a:ea typeface="Avenir Book" charset="0"/>
                <a:cs typeface="Arial" panose="020B0604020202020204" pitchFamily="34" charset="0"/>
              </a:rPr>
              <a:t>digital possibilities </a:t>
            </a:r>
            <a:r>
              <a:rPr lang="en-US" dirty="0">
                <a:solidFill>
                  <a:schemeClr val="tx1"/>
                </a:solidFill>
                <a:latin typeface="Arial" panose="020B0604020202020204" pitchFamily="34" charset="0"/>
                <a:ea typeface="Avenir Book" charset="0"/>
                <a:cs typeface="Arial" panose="020B0604020202020204" pitchFamily="34" charset="0"/>
              </a:rPr>
              <a:t>and the need for </a:t>
            </a:r>
            <a:r>
              <a:rPr lang="en-US" b="1" dirty="0">
                <a:solidFill>
                  <a:schemeClr val="tx1"/>
                </a:solidFill>
                <a:latin typeface="Arial" panose="020B0604020202020204" pitchFamily="34" charset="0"/>
                <a:ea typeface="Avenir Book" charset="0"/>
                <a:cs typeface="Arial" panose="020B0604020202020204" pitchFamily="34" charset="0"/>
              </a:rPr>
              <a:t>efficient patient solutions</a:t>
            </a:r>
            <a:r>
              <a:rPr lang="en-US" dirty="0">
                <a:solidFill>
                  <a:schemeClr val="tx1"/>
                </a:solidFill>
                <a:latin typeface="Arial" panose="020B0604020202020204" pitchFamily="34" charset="0"/>
                <a:ea typeface="Avenir Book" charset="0"/>
                <a:cs typeface="Arial" panose="020B0604020202020204" pitchFamily="34" charset="0"/>
              </a:rPr>
              <a:t>…</a:t>
            </a:r>
          </a:p>
        </p:txBody>
      </p:sp>
      <p:sp>
        <p:nvSpPr>
          <p:cNvPr id="8" name="Rectangle 28">
            <a:extLst>
              <a:ext uri="{FF2B5EF4-FFF2-40B4-BE49-F238E27FC236}">
                <a16:creationId xmlns:a16="http://schemas.microsoft.com/office/drawing/2014/main" id="{A9387736-FAF6-E646-998C-678B7E4334F7}"/>
              </a:ext>
            </a:extLst>
          </p:cNvPr>
          <p:cNvSpPr/>
          <p:nvPr/>
        </p:nvSpPr>
        <p:spPr>
          <a:xfrm>
            <a:off x="4565892" y="1318697"/>
            <a:ext cx="3048983" cy="532213"/>
          </a:xfrm>
          <a:prstGeom prst="rect">
            <a:avLst/>
          </a:prstGeom>
          <a:solidFill>
            <a:schemeClr val="accent5">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COMPLICATION</a:t>
            </a:r>
          </a:p>
        </p:txBody>
      </p:sp>
      <p:sp>
        <p:nvSpPr>
          <p:cNvPr id="9" name="Rectangle 32">
            <a:extLst>
              <a:ext uri="{FF2B5EF4-FFF2-40B4-BE49-F238E27FC236}">
                <a16:creationId xmlns:a16="http://schemas.microsoft.com/office/drawing/2014/main" id="{8C332922-7A6E-5C4F-ACD2-63BB4A4CC5BC}"/>
              </a:ext>
            </a:extLst>
          </p:cNvPr>
          <p:cNvSpPr/>
          <p:nvPr/>
        </p:nvSpPr>
        <p:spPr>
          <a:xfrm>
            <a:off x="4564800" y="3880012"/>
            <a:ext cx="3049200" cy="1908893"/>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ea typeface="Avenir Book" charset="0"/>
                <a:cs typeface="Arial" panose="020B0604020202020204" pitchFamily="34" charset="0"/>
              </a:rPr>
              <a:t>…but </a:t>
            </a:r>
            <a:r>
              <a:rPr lang="en-US" dirty="0" err="1">
                <a:solidFill>
                  <a:schemeClr val="tx1"/>
                </a:solidFill>
                <a:latin typeface="Arial" panose="020B0604020202020204" pitchFamily="34" charset="0"/>
                <a:ea typeface="Avenir Book" charset="0"/>
                <a:cs typeface="Arial" panose="020B0604020202020204" pitchFamily="34" charset="0"/>
              </a:rPr>
              <a:t>EasyMarkit</a:t>
            </a:r>
            <a:r>
              <a:rPr lang="en-US" dirty="0">
                <a:solidFill>
                  <a:schemeClr val="tx1"/>
                </a:solidFill>
                <a:latin typeface="Arial" panose="020B0604020202020204" pitchFamily="34" charset="0"/>
                <a:ea typeface="Avenir Book" charset="0"/>
                <a:cs typeface="Arial" panose="020B0604020202020204" pitchFamily="34" charset="0"/>
              </a:rPr>
              <a:t> is facing </a:t>
            </a:r>
            <a:r>
              <a:rPr lang="en-US" b="1" dirty="0">
                <a:solidFill>
                  <a:schemeClr val="tx1"/>
                </a:solidFill>
                <a:latin typeface="Arial" panose="020B0604020202020204" pitchFamily="34" charset="0"/>
                <a:ea typeface="Avenir Book" charset="0"/>
                <a:cs typeface="Arial" panose="020B0604020202020204" pitchFamily="34" charset="0"/>
              </a:rPr>
              <a:t>growth</a:t>
            </a:r>
            <a:r>
              <a:rPr lang="en-US" dirty="0">
                <a:solidFill>
                  <a:schemeClr val="tx1"/>
                </a:solidFill>
                <a:latin typeface="Arial" panose="020B0604020202020204" pitchFamily="34" charset="0"/>
                <a:ea typeface="Avenir Book" charset="0"/>
                <a:cs typeface="Arial" panose="020B0604020202020204" pitchFamily="34" charset="0"/>
              </a:rPr>
              <a:t> </a:t>
            </a:r>
            <a:r>
              <a:rPr lang="en-US" b="1" dirty="0">
                <a:solidFill>
                  <a:schemeClr val="tx1"/>
                </a:solidFill>
                <a:latin typeface="Arial" panose="020B0604020202020204" pitchFamily="34" charset="0"/>
                <a:ea typeface="Avenir Book" charset="0"/>
                <a:cs typeface="Arial" panose="020B0604020202020204" pitchFamily="34" charset="0"/>
              </a:rPr>
              <a:t>constraints </a:t>
            </a:r>
            <a:r>
              <a:rPr lang="en-US" dirty="0">
                <a:solidFill>
                  <a:schemeClr val="tx1"/>
                </a:solidFill>
                <a:latin typeface="Arial" panose="020B0604020202020204" pitchFamily="34" charset="0"/>
                <a:ea typeface="Avenir Book" charset="0"/>
                <a:cs typeface="Arial" panose="020B0604020202020204" pitchFamily="34" charset="0"/>
              </a:rPr>
              <a:t>in fully exploiting the market potential, especially seen in the </a:t>
            </a:r>
            <a:r>
              <a:rPr lang="en-US" b="1" dirty="0">
                <a:solidFill>
                  <a:schemeClr val="tx1"/>
                </a:solidFill>
                <a:latin typeface="Arial" panose="020B0604020202020204" pitchFamily="34" charset="0"/>
                <a:ea typeface="Avenir Book" charset="0"/>
                <a:cs typeface="Arial" panose="020B0604020202020204" pitchFamily="34" charset="0"/>
              </a:rPr>
              <a:t>high customer acquisition cost </a:t>
            </a:r>
            <a:endParaRPr lang="en-US" sz="1800" b="1" dirty="0">
              <a:solidFill>
                <a:schemeClr val="tx1"/>
              </a:solidFill>
              <a:latin typeface="Arial" panose="020B0604020202020204" pitchFamily="34" charset="0"/>
              <a:ea typeface="Avenir Book" charset="0"/>
              <a:cs typeface="Arial" panose="020B0604020202020204" pitchFamily="34" charset="0"/>
            </a:endParaRPr>
          </a:p>
        </p:txBody>
      </p:sp>
      <p:sp>
        <p:nvSpPr>
          <p:cNvPr id="10" name="Rectangle 29">
            <a:extLst>
              <a:ext uri="{FF2B5EF4-FFF2-40B4-BE49-F238E27FC236}">
                <a16:creationId xmlns:a16="http://schemas.microsoft.com/office/drawing/2014/main" id="{82F96EB5-F73B-114F-900A-DCC1A765D995}"/>
              </a:ext>
            </a:extLst>
          </p:cNvPr>
          <p:cNvSpPr/>
          <p:nvPr/>
        </p:nvSpPr>
        <p:spPr>
          <a:xfrm>
            <a:off x="8389339" y="1318696"/>
            <a:ext cx="3049200" cy="532213"/>
          </a:xfrm>
          <a:prstGeom prst="rect">
            <a:avLst/>
          </a:prstGeom>
          <a:solidFill>
            <a:schemeClr val="accent5">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QUESTION</a:t>
            </a:r>
          </a:p>
        </p:txBody>
      </p:sp>
      <p:sp>
        <p:nvSpPr>
          <p:cNvPr id="11" name="Rectangle 33">
            <a:extLst>
              <a:ext uri="{FF2B5EF4-FFF2-40B4-BE49-F238E27FC236}">
                <a16:creationId xmlns:a16="http://schemas.microsoft.com/office/drawing/2014/main" id="{192F9B1F-39C2-5340-AD85-A53A87F99F95}"/>
              </a:ext>
            </a:extLst>
          </p:cNvPr>
          <p:cNvSpPr/>
          <p:nvPr/>
        </p:nvSpPr>
        <p:spPr>
          <a:xfrm>
            <a:off x="8389339" y="3880012"/>
            <a:ext cx="3049200" cy="1908894"/>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i="1" dirty="0">
                <a:solidFill>
                  <a:schemeClr val="tx1"/>
                </a:solidFill>
                <a:latin typeface="Arial" panose="020B0604020202020204" pitchFamily="34" charset="0"/>
                <a:ea typeface="Avenir Book" charset="0"/>
                <a:cs typeface="Arial" panose="020B0604020202020204" pitchFamily="34" charset="0"/>
              </a:rPr>
              <a:t>How can </a:t>
            </a:r>
            <a:r>
              <a:rPr lang="en-US" i="1" dirty="0" err="1">
                <a:solidFill>
                  <a:schemeClr val="tx1"/>
                </a:solidFill>
                <a:latin typeface="Arial" panose="020B0604020202020204" pitchFamily="34" charset="0"/>
                <a:ea typeface="Avenir Book" charset="0"/>
                <a:cs typeface="Arial" panose="020B0604020202020204" pitchFamily="34" charset="0"/>
              </a:rPr>
              <a:t>EasyMarkit</a:t>
            </a:r>
            <a:r>
              <a:rPr lang="en-US" i="1" dirty="0">
                <a:solidFill>
                  <a:schemeClr val="tx1"/>
                </a:solidFill>
                <a:latin typeface="Arial" panose="020B0604020202020204" pitchFamily="34" charset="0"/>
                <a:ea typeface="Avenir Book" charset="0"/>
                <a:cs typeface="Arial" panose="020B0604020202020204" pitchFamily="34" charset="0"/>
              </a:rPr>
              <a:t> </a:t>
            </a:r>
            <a:r>
              <a:rPr lang="en-US" b="1" i="1" dirty="0">
                <a:solidFill>
                  <a:schemeClr val="tx1"/>
                </a:solidFill>
                <a:latin typeface="Arial" panose="020B0604020202020204" pitchFamily="34" charset="0"/>
                <a:ea typeface="Avenir Book" charset="0"/>
                <a:cs typeface="Arial" panose="020B0604020202020204" pitchFamily="34" charset="0"/>
              </a:rPr>
              <a:t>leverage its core capabilities </a:t>
            </a:r>
            <a:r>
              <a:rPr lang="en-US" i="1" dirty="0">
                <a:solidFill>
                  <a:schemeClr val="tx1"/>
                </a:solidFill>
                <a:latin typeface="Arial" panose="020B0604020202020204" pitchFamily="34" charset="0"/>
                <a:ea typeface="Avenir Book" charset="0"/>
                <a:cs typeface="Arial" panose="020B0604020202020204" pitchFamily="34" charset="0"/>
              </a:rPr>
              <a:t>to overcome these constraints and </a:t>
            </a:r>
            <a:r>
              <a:rPr lang="en-US" b="1" i="1" dirty="0">
                <a:solidFill>
                  <a:schemeClr val="tx1"/>
                </a:solidFill>
                <a:latin typeface="Arial" panose="020B0604020202020204" pitchFamily="34" charset="0"/>
                <a:ea typeface="Avenir Book" charset="0"/>
                <a:cs typeface="Arial" panose="020B0604020202020204" pitchFamily="34" charset="0"/>
              </a:rPr>
              <a:t>drive future growth</a:t>
            </a:r>
            <a:r>
              <a:rPr lang="en-US" i="1" dirty="0">
                <a:solidFill>
                  <a:schemeClr val="tx1"/>
                </a:solidFill>
                <a:latin typeface="Arial" panose="020B0604020202020204" pitchFamily="34" charset="0"/>
                <a:ea typeface="Avenir Book" charset="0"/>
                <a:cs typeface="Arial" panose="020B0604020202020204" pitchFamily="34" charset="0"/>
              </a:rPr>
              <a:t>?</a:t>
            </a:r>
            <a:endParaRPr lang="en-US" sz="1800" i="1" dirty="0">
              <a:solidFill>
                <a:schemeClr val="tx1"/>
              </a:solidFill>
              <a:latin typeface="Arial" panose="020B0604020202020204" pitchFamily="34" charset="0"/>
              <a:ea typeface="Avenir Book" charset="0"/>
              <a:cs typeface="Arial" panose="020B0604020202020204" pitchFamily="34" charset="0"/>
            </a:endParaRPr>
          </a:p>
        </p:txBody>
      </p:sp>
      <p:sp>
        <p:nvSpPr>
          <p:cNvPr id="12" name="Triangle 54">
            <a:extLst>
              <a:ext uri="{FF2B5EF4-FFF2-40B4-BE49-F238E27FC236}">
                <a16:creationId xmlns:a16="http://schemas.microsoft.com/office/drawing/2014/main" id="{C0D9D188-A1CC-2A49-9DA1-93D0FC5D4DF2}"/>
              </a:ext>
            </a:extLst>
          </p:cNvPr>
          <p:cNvSpPr/>
          <p:nvPr/>
        </p:nvSpPr>
        <p:spPr>
          <a:xfrm rot="5400000">
            <a:off x="2107206" y="3184688"/>
            <a:ext cx="4153964" cy="421979"/>
          </a:xfrm>
          <a:prstGeom prst="triangle">
            <a:avLst/>
          </a:prstGeom>
          <a:solidFill>
            <a:schemeClr val="accent5">
              <a:lumMod val="50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59"/>
          </a:p>
        </p:txBody>
      </p:sp>
      <p:sp>
        <p:nvSpPr>
          <p:cNvPr id="13" name="Triangle 54">
            <a:extLst>
              <a:ext uri="{FF2B5EF4-FFF2-40B4-BE49-F238E27FC236}">
                <a16:creationId xmlns:a16="http://schemas.microsoft.com/office/drawing/2014/main" id="{A2DB9FBA-163A-7443-9FFD-749913B78E49}"/>
              </a:ext>
            </a:extLst>
          </p:cNvPr>
          <p:cNvSpPr/>
          <p:nvPr/>
        </p:nvSpPr>
        <p:spPr>
          <a:xfrm rot="5400000">
            <a:off x="5930829" y="3218011"/>
            <a:ext cx="4153964" cy="421979"/>
          </a:xfrm>
          <a:prstGeom prst="triangle">
            <a:avLst/>
          </a:prstGeom>
          <a:solidFill>
            <a:schemeClr val="accent5">
              <a:lumMod val="50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59"/>
          </a:p>
        </p:txBody>
      </p:sp>
      <p:pic>
        <p:nvPicPr>
          <p:cNvPr id="14" name="Billede 2">
            <a:extLst>
              <a:ext uri="{FF2B5EF4-FFF2-40B4-BE49-F238E27FC236}">
                <a16:creationId xmlns:a16="http://schemas.microsoft.com/office/drawing/2014/main" id="{7CB32293-24A6-C84B-A5A8-0508801E5F24}"/>
              </a:ext>
            </a:extLst>
          </p:cNvPr>
          <p:cNvPicPr>
            <a:picLocks noChangeAspect="1"/>
          </p:cNvPicPr>
          <p:nvPr/>
        </p:nvPicPr>
        <p:blipFill>
          <a:blip r:embed="rId3"/>
          <a:stretch>
            <a:fillRect/>
          </a:stretch>
        </p:blipFill>
        <p:spPr>
          <a:xfrm>
            <a:off x="742050" y="1850908"/>
            <a:ext cx="3049200" cy="2029104"/>
          </a:xfrm>
          <a:prstGeom prst="rect">
            <a:avLst/>
          </a:prstGeom>
        </p:spPr>
      </p:pic>
      <p:pic>
        <p:nvPicPr>
          <p:cNvPr id="15" name="Billede 1">
            <a:extLst>
              <a:ext uri="{FF2B5EF4-FFF2-40B4-BE49-F238E27FC236}">
                <a16:creationId xmlns:a16="http://schemas.microsoft.com/office/drawing/2014/main" id="{12636244-C732-314A-A140-1D79FEFECBEB}"/>
              </a:ext>
            </a:extLst>
          </p:cNvPr>
          <p:cNvPicPr>
            <a:picLocks noChangeAspect="1"/>
          </p:cNvPicPr>
          <p:nvPr/>
        </p:nvPicPr>
        <p:blipFill>
          <a:blip r:embed="rId4"/>
          <a:stretch>
            <a:fillRect/>
          </a:stretch>
        </p:blipFill>
        <p:spPr>
          <a:xfrm>
            <a:off x="4564800" y="1849887"/>
            <a:ext cx="3049200" cy="2030125"/>
          </a:xfrm>
          <a:prstGeom prst="rect">
            <a:avLst/>
          </a:prstGeom>
        </p:spPr>
      </p:pic>
    </p:spTree>
    <p:extLst>
      <p:ext uri="{BB962C8B-B14F-4D97-AF65-F5344CB8AC3E}">
        <p14:creationId xmlns:p14="http://schemas.microsoft.com/office/powerpoint/2010/main" val="1804249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F0CA605-24BD-0E4F-9012-FA7956332A03}"/>
              </a:ext>
            </a:extLst>
          </p:cNvPr>
          <p:cNvSpPr>
            <a:spLocks noGrp="1"/>
          </p:cNvSpPr>
          <p:nvPr>
            <p:ph type="body" sz="quarter" idx="13"/>
          </p:nvPr>
        </p:nvSpPr>
        <p:spPr/>
        <p:txBody>
          <a:bodyPr/>
          <a:lstStyle/>
          <a:p>
            <a:endParaRPr lang="en-GB"/>
          </a:p>
        </p:txBody>
      </p:sp>
      <p:sp>
        <p:nvSpPr>
          <p:cNvPr id="4" name="Text Placeholder 3">
            <a:extLst>
              <a:ext uri="{FF2B5EF4-FFF2-40B4-BE49-F238E27FC236}">
                <a16:creationId xmlns:a16="http://schemas.microsoft.com/office/drawing/2014/main" id="{5D36CD08-2586-474E-8B19-2FEF4631E2BB}"/>
              </a:ext>
            </a:extLst>
          </p:cNvPr>
          <p:cNvSpPr>
            <a:spLocks noGrp="1"/>
          </p:cNvSpPr>
          <p:nvPr>
            <p:ph type="body" sz="quarter" idx="15"/>
          </p:nvPr>
        </p:nvSpPr>
        <p:spPr/>
        <p:txBody>
          <a:bodyPr/>
          <a:lstStyle/>
          <a:p>
            <a:endParaRPr lang="en-GB" dirty="0"/>
          </a:p>
        </p:txBody>
      </p:sp>
      <p:sp>
        <p:nvSpPr>
          <p:cNvPr id="2" name="Title 1">
            <a:extLst>
              <a:ext uri="{FF2B5EF4-FFF2-40B4-BE49-F238E27FC236}">
                <a16:creationId xmlns:a16="http://schemas.microsoft.com/office/drawing/2014/main" id="{EA94EEC1-C0C5-434F-9C3B-103F980D13DE}"/>
              </a:ext>
            </a:extLst>
          </p:cNvPr>
          <p:cNvSpPr>
            <a:spLocks noGrp="1"/>
          </p:cNvSpPr>
          <p:nvPr>
            <p:ph type="title"/>
          </p:nvPr>
        </p:nvSpPr>
        <p:spPr/>
        <p:txBody>
          <a:bodyPr/>
          <a:lstStyle/>
          <a:p>
            <a:r>
              <a:rPr lang="en-GB" sz="2000" dirty="0"/>
              <a:t>By using Phase 2 land to expand the </a:t>
            </a:r>
            <a:r>
              <a:rPr lang="en-GB" sz="2000" dirty="0" err="1"/>
              <a:t>Deltaport</a:t>
            </a:r>
            <a:r>
              <a:rPr lang="en-GB" sz="2000" dirty="0"/>
              <a:t> Logistics Centre and additionally create a start-up incubator, this will both have lasting economic and societal impact</a:t>
            </a:r>
          </a:p>
        </p:txBody>
      </p:sp>
      <p:sp>
        <p:nvSpPr>
          <p:cNvPr id="6" name="TextBox 5">
            <a:extLst>
              <a:ext uri="{FF2B5EF4-FFF2-40B4-BE49-F238E27FC236}">
                <a16:creationId xmlns:a16="http://schemas.microsoft.com/office/drawing/2014/main" id="{5AE19913-681A-464F-BC38-6B55C4DCE7E5}"/>
              </a:ext>
            </a:extLst>
          </p:cNvPr>
          <p:cNvSpPr txBox="1"/>
          <p:nvPr/>
        </p:nvSpPr>
        <p:spPr>
          <a:xfrm>
            <a:off x="919466" y="1242215"/>
            <a:ext cx="4759439" cy="400110"/>
          </a:xfrm>
          <a:prstGeom prst="rect">
            <a:avLst/>
          </a:prstGeom>
          <a:noFill/>
        </p:spPr>
        <p:txBody>
          <a:bodyPr wrap="square" rtlCol="0">
            <a:spAutoFit/>
          </a:bodyPr>
          <a:lstStyle/>
          <a:p>
            <a:pPr algn="ctr"/>
            <a:r>
              <a:rPr lang="en-US" sz="2000" dirty="0">
                <a:latin typeface="Arial" panose="020B0604020202020204" pitchFamily="34" charset="0"/>
                <a:ea typeface="Avenir Book" charset="0"/>
                <a:cs typeface="Arial" panose="020B0604020202020204" pitchFamily="34" charset="0"/>
              </a:rPr>
              <a:t>Setting the stage</a:t>
            </a:r>
          </a:p>
        </p:txBody>
      </p:sp>
      <p:sp>
        <p:nvSpPr>
          <p:cNvPr id="7" name="TextBox 6">
            <a:extLst>
              <a:ext uri="{FF2B5EF4-FFF2-40B4-BE49-F238E27FC236}">
                <a16:creationId xmlns:a16="http://schemas.microsoft.com/office/drawing/2014/main" id="{33853E14-CDD6-834A-AFDE-EDDC88DBE60D}"/>
              </a:ext>
            </a:extLst>
          </p:cNvPr>
          <p:cNvSpPr txBox="1"/>
          <p:nvPr/>
        </p:nvSpPr>
        <p:spPr>
          <a:xfrm>
            <a:off x="6657474" y="1242215"/>
            <a:ext cx="4614534" cy="400110"/>
          </a:xfrm>
          <a:prstGeom prst="rect">
            <a:avLst/>
          </a:prstGeom>
          <a:noFill/>
        </p:spPr>
        <p:txBody>
          <a:bodyPr wrap="square" rtlCol="0">
            <a:spAutoFit/>
          </a:bodyPr>
          <a:lstStyle/>
          <a:p>
            <a:pPr algn="ctr"/>
            <a:r>
              <a:rPr lang="en-US" sz="2000" dirty="0">
                <a:latin typeface="Arial" panose="020B0604020202020204" pitchFamily="34" charset="0"/>
                <a:ea typeface="Avenir Book" charset="0"/>
                <a:cs typeface="Arial" panose="020B0604020202020204" pitchFamily="34" charset="0"/>
              </a:rPr>
              <a:t>Strategy</a:t>
            </a:r>
          </a:p>
        </p:txBody>
      </p:sp>
      <p:cxnSp>
        <p:nvCxnSpPr>
          <p:cNvPr id="8" name="Straight Connector 7">
            <a:extLst>
              <a:ext uri="{FF2B5EF4-FFF2-40B4-BE49-F238E27FC236}">
                <a16:creationId xmlns:a16="http://schemas.microsoft.com/office/drawing/2014/main" id="{ACD0F851-8094-FE4E-BDCD-27FF675AD1AC}"/>
              </a:ext>
            </a:extLst>
          </p:cNvPr>
          <p:cNvCxnSpPr/>
          <p:nvPr/>
        </p:nvCxnSpPr>
        <p:spPr>
          <a:xfrm>
            <a:off x="911058" y="1626936"/>
            <a:ext cx="47678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9B96FB9-5EB9-6447-9064-0F30B6CCBC8E}"/>
              </a:ext>
            </a:extLst>
          </p:cNvPr>
          <p:cNvCxnSpPr/>
          <p:nvPr/>
        </p:nvCxnSpPr>
        <p:spPr>
          <a:xfrm flipV="1">
            <a:off x="6657474" y="1626937"/>
            <a:ext cx="4614534" cy="153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E1637BA-D6AC-8F4E-BA1D-A5E41E302A2A}"/>
              </a:ext>
            </a:extLst>
          </p:cNvPr>
          <p:cNvSpPr/>
          <p:nvPr/>
        </p:nvSpPr>
        <p:spPr>
          <a:xfrm>
            <a:off x="915261" y="1801916"/>
            <a:ext cx="4759439"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693619BB-C51A-9249-9FC2-FADFC652CD18}"/>
              </a:ext>
            </a:extLst>
          </p:cNvPr>
          <p:cNvSpPr txBox="1"/>
          <p:nvPr/>
        </p:nvSpPr>
        <p:spPr>
          <a:xfrm>
            <a:off x="1799760" y="1817304"/>
            <a:ext cx="3866535" cy="1027052"/>
          </a:xfrm>
          <a:prstGeom prst="rect">
            <a:avLst/>
          </a:prstGeom>
          <a:noFill/>
        </p:spPr>
        <p:txBody>
          <a:bodyPr wrap="square" rtlCol="0" anchor="ctr" anchorCtr="0">
            <a:noAutofit/>
          </a:bodyPr>
          <a:lstStyle/>
          <a:p>
            <a:r>
              <a:rPr lang="en-GB" sz="1400" dirty="0"/>
              <a:t>After Phase 1 development of TFN land for industrial use, </a:t>
            </a:r>
            <a:r>
              <a:rPr lang="en-GB" sz="1400" b="1" dirty="0"/>
              <a:t>next step is the development of Phase 2 land</a:t>
            </a:r>
          </a:p>
        </p:txBody>
      </p:sp>
      <p:sp>
        <p:nvSpPr>
          <p:cNvPr id="38" name="Rectangle 37">
            <a:extLst>
              <a:ext uri="{FF2B5EF4-FFF2-40B4-BE49-F238E27FC236}">
                <a16:creationId xmlns:a16="http://schemas.microsoft.com/office/drawing/2014/main" id="{93118FC1-72CB-934B-9642-F950F93CFF8B}"/>
              </a:ext>
            </a:extLst>
          </p:cNvPr>
          <p:cNvSpPr/>
          <p:nvPr/>
        </p:nvSpPr>
        <p:spPr>
          <a:xfrm>
            <a:off x="911058" y="3016996"/>
            <a:ext cx="4759439"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extBox 40">
            <a:extLst>
              <a:ext uri="{FF2B5EF4-FFF2-40B4-BE49-F238E27FC236}">
                <a16:creationId xmlns:a16="http://schemas.microsoft.com/office/drawing/2014/main" id="{3C99AFDE-B2DA-6247-8B3C-96AA579E0F5A}"/>
              </a:ext>
            </a:extLst>
          </p:cNvPr>
          <p:cNvSpPr txBox="1"/>
          <p:nvPr/>
        </p:nvSpPr>
        <p:spPr>
          <a:xfrm>
            <a:off x="1803962" y="3016997"/>
            <a:ext cx="3866535" cy="1079999"/>
          </a:xfrm>
          <a:prstGeom prst="rect">
            <a:avLst/>
          </a:prstGeom>
          <a:noFill/>
        </p:spPr>
        <p:txBody>
          <a:bodyPr wrap="square" rtlCol="0" anchor="ctr" anchorCtr="0">
            <a:noAutofit/>
          </a:bodyPr>
          <a:lstStyle/>
          <a:p>
            <a:r>
              <a:rPr lang="en-GB" sz="1400" dirty="0"/>
              <a:t>In the development of Phase 2 land, TFN needs to </a:t>
            </a:r>
            <a:r>
              <a:rPr lang="en-GB" sz="1400" b="1" dirty="0"/>
              <a:t>balance profits and lifestyle, environment and sustainability</a:t>
            </a:r>
          </a:p>
        </p:txBody>
      </p:sp>
      <p:sp>
        <p:nvSpPr>
          <p:cNvPr id="47" name="Rectangle 46">
            <a:extLst>
              <a:ext uri="{FF2B5EF4-FFF2-40B4-BE49-F238E27FC236}">
                <a16:creationId xmlns:a16="http://schemas.microsoft.com/office/drawing/2014/main" id="{8D349C2D-9FC8-BE49-89E8-202D3A065F4C}"/>
              </a:ext>
            </a:extLst>
          </p:cNvPr>
          <p:cNvSpPr/>
          <p:nvPr/>
        </p:nvSpPr>
        <p:spPr>
          <a:xfrm>
            <a:off x="911058" y="4232877"/>
            <a:ext cx="4759439" cy="13280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TextBox 48">
            <a:extLst>
              <a:ext uri="{FF2B5EF4-FFF2-40B4-BE49-F238E27FC236}">
                <a16:creationId xmlns:a16="http://schemas.microsoft.com/office/drawing/2014/main" id="{738FA7EF-8FBE-4D41-A15C-0E649C1DC321}"/>
              </a:ext>
            </a:extLst>
          </p:cNvPr>
          <p:cNvSpPr txBox="1"/>
          <p:nvPr/>
        </p:nvSpPr>
        <p:spPr>
          <a:xfrm>
            <a:off x="1803962" y="4232877"/>
            <a:ext cx="3866535" cy="1328033"/>
          </a:xfrm>
          <a:prstGeom prst="rect">
            <a:avLst/>
          </a:prstGeom>
          <a:noFill/>
        </p:spPr>
        <p:txBody>
          <a:bodyPr wrap="square" rtlCol="0" anchor="ctr" anchorCtr="0">
            <a:noAutofit/>
          </a:bodyPr>
          <a:lstStyle/>
          <a:p>
            <a:pPr>
              <a:buClr>
                <a:schemeClr val="accent6"/>
              </a:buClr>
            </a:pPr>
            <a:r>
              <a:rPr lang="en-GB" sz="1600" dirty="0"/>
              <a:t>What 10-year strategy should TFN pursue to sustainably optimize revenue from Phase 2 land and create lasting benefits to the community?</a:t>
            </a:r>
          </a:p>
        </p:txBody>
      </p:sp>
      <p:sp>
        <p:nvSpPr>
          <p:cNvPr id="46" name="Trekant 9">
            <a:extLst>
              <a:ext uri="{FF2B5EF4-FFF2-40B4-BE49-F238E27FC236}">
                <a16:creationId xmlns:a16="http://schemas.microsoft.com/office/drawing/2014/main" id="{20B66719-1044-FE46-8C80-2B1D14CB2CCD}"/>
              </a:ext>
            </a:extLst>
          </p:cNvPr>
          <p:cNvSpPr/>
          <p:nvPr/>
        </p:nvSpPr>
        <p:spPr>
          <a:xfrm rot="10800000">
            <a:off x="6752012" y="4282117"/>
            <a:ext cx="4423581" cy="25367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A7FD90A-6394-DE49-AC14-C308FB08DDF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1084660" y="4617893"/>
            <a:ext cx="558000" cy="558000"/>
          </a:xfrm>
          <a:prstGeom prst="rect">
            <a:avLst/>
          </a:prstGeom>
        </p:spPr>
      </p:pic>
      <p:sp>
        <p:nvSpPr>
          <p:cNvPr id="43" name="Rectangle 42">
            <a:extLst>
              <a:ext uri="{FF2B5EF4-FFF2-40B4-BE49-F238E27FC236}">
                <a16:creationId xmlns:a16="http://schemas.microsoft.com/office/drawing/2014/main" id="{F9F06C55-9B16-1645-BAC9-4809960303FB}"/>
              </a:ext>
            </a:extLst>
          </p:cNvPr>
          <p:cNvSpPr/>
          <p:nvPr/>
        </p:nvSpPr>
        <p:spPr>
          <a:xfrm>
            <a:off x="6677591" y="1833040"/>
            <a:ext cx="4594417" cy="9491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extBox 44">
            <a:extLst>
              <a:ext uri="{FF2B5EF4-FFF2-40B4-BE49-F238E27FC236}">
                <a16:creationId xmlns:a16="http://schemas.microsoft.com/office/drawing/2014/main" id="{54DEC6E5-B455-394F-9109-4245B33F8D16}"/>
              </a:ext>
            </a:extLst>
          </p:cNvPr>
          <p:cNvSpPr txBox="1"/>
          <p:nvPr/>
        </p:nvSpPr>
        <p:spPr>
          <a:xfrm>
            <a:off x="7828047" y="1825971"/>
            <a:ext cx="3443960" cy="949022"/>
          </a:xfrm>
          <a:prstGeom prst="rect">
            <a:avLst/>
          </a:prstGeom>
          <a:noFill/>
        </p:spPr>
        <p:txBody>
          <a:bodyPr wrap="square" rtlCol="0" anchor="ctr">
            <a:noAutofit/>
          </a:bodyPr>
          <a:lstStyle/>
          <a:p>
            <a:r>
              <a:rPr lang="en-GB" sz="1200" dirty="0"/>
              <a:t>Expand the </a:t>
            </a:r>
            <a:r>
              <a:rPr lang="en-GB" sz="1200" dirty="0" err="1"/>
              <a:t>Deltaport</a:t>
            </a:r>
            <a:r>
              <a:rPr lang="en-GB" sz="1200" dirty="0"/>
              <a:t> Logistics Centre using the Phase 2 Land, as </a:t>
            </a:r>
            <a:r>
              <a:rPr lang="en-GB" sz="1200" b="1" dirty="0"/>
              <a:t>this will give lasting financial impact to focus on community</a:t>
            </a:r>
            <a:endParaRPr lang="en-GB" sz="1400" b="1" dirty="0"/>
          </a:p>
        </p:txBody>
      </p:sp>
      <p:pic>
        <p:nvPicPr>
          <p:cNvPr id="32" name="Picture 31">
            <a:extLst>
              <a:ext uri="{FF2B5EF4-FFF2-40B4-BE49-F238E27FC236}">
                <a16:creationId xmlns:a16="http://schemas.microsoft.com/office/drawing/2014/main" id="{B32BD980-3CEA-DE40-B032-CB395337F91C}"/>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Lst>
          </a:blip>
          <a:stretch>
            <a:fillRect/>
          </a:stretch>
        </p:blipFill>
        <p:spPr>
          <a:xfrm>
            <a:off x="6825156" y="1947257"/>
            <a:ext cx="715112" cy="715112"/>
          </a:xfrm>
          <a:prstGeom prst="rect">
            <a:avLst/>
          </a:prstGeom>
        </p:spPr>
      </p:pic>
      <p:sp>
        <p:nvSpPr>
          <p:cNvPr id="72" name="Half Frame 71">
            <a:extLst>
              <a:ext uri="{FF2B5EF4-FFF2-40B4-BE49-F238E27FC236}">
                <a16:creationId xmlns:a16="http://schemas.microsoft.com/office/drawing/2014/main" id="{742E34E9-0863-2249-A02E-D98E69CD2336}"/>
              </a:ext>
            </a:extLst>
          </p:cNvPr>
          <p:cNvSpPr/>
          <p:nvPr/>
        </p:nvSpPr>
        <p:spPr>
          <a:xfrm>
            <a:off x="7285549" y="4939899"/>
            <a:ext cx="3395937" cy="81257"/>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3" name="Half Frame 72">
            <a:extLst>
              <a:ext uri="{FF2B5EF4-FFF2-40B4-BE49-F238E27FC236}">
                <a16:creationId xmlns:a16="http://schemas.microsoft.com/office/drawing/2014/main" id="{4518F537-282A-9249-80DA-85900D518D0F}"/>
              </a:ext>
            </a:extLst>
          </p:cNvPr>
          <p:cNvSpPr/>
          <p:nvPr/>
        </p:nvSpPr>
        <p:spPr>
          <a:xfrm flipH="1">
            <a:off x="9067671" y="4942385"/>
            <a:ext cx="1730422" cy="64129"/>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4" name="TextBox 73">
            <a:extLst>
              <a:ext uri="{FF2B5EF4-FFF2-40B4-BE49-F238E27FC236}">
                <a16:creationId xmlns:a16="http://schemas.microsoft.com/office/drawing/2014/main" id="{2F0BA9C2-7160-B240-BDD6-1983C98221B8}"/>
              </a:ext>
            </a:extLst>
          </p:cNvPr>
          <p:cNvSpPr txBox="1"/>
          <p:nvPr/>
        </p:nvSpPr>
        <p:spPr>
          <a:xfrm>
            <a:off x="6549600" y="4632122"/>
            <a:ext cx="4784206" cy="307777"/>
          </a:xfrm>
          <a:prstGeom prst="rect">
            <a:avLst/>
          </a:prstGeom>
          <a:noFill/>
        </p:spPr>
        <p:txBody>
          <a:bodyPr wrap="square" rtlCol="0">
            <a:spAutoFit/>
          </a:bodyPr>
          <a:lstStyle/>
          <a:p>
            <a:pPr algn="ctr"/>
            <a:r>
              <a:rPr lang="en-GB" sz="1400" dirty="0">
                <a:solidFill>
                  <a:schemeClr val="accent5">
                    <a:lumMod val="50000"/>
                  </a:schemeClr>
                </a:solidFill>
              </a:rPr>
              <a:t>By 2025, this will, among other things, lead to</a:t>
            </a:r>
          </a:p>
        </p:txBody>
      </p:sp>
      <p:pic>
        <p:nvPicPr>
          <p:cNvPr id="42" name="Billede 89">
            <a:extLst>
              <a:ext uri="{FF2B5EF4-FFF2-40B4-BE49-F238E27FC236}">
                <a16:creationId xmlns:a16="http://schemas.microsoft.com/office/drawing/2014/main" id="{484EA5B7-B9B2-EA4C-95FD-DCE076D4BF4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132755" y="3276390"/>
            <a:ext cx="558000" cy="558000"/>
          </a:xfrm>
          <a:prstGeom prst="rect">
            <a:avLst/>
          </a:prstGeom>
        </p:spPr>
      </p:pic>
      <p:pic>
        <p:nvPicPr>
          <p:cNvPr id="44" name="Billede 98" descr="magnifier13.png">
            <a:extLst>
              <a:ext uri="{FF2B5EF4-FFF2-40B4-BE49-F238E27FC236}">
                <a16:creationId xmlns:a16="http://schemas.microsoft.com/office/drawing/2014/main" id="{57EF6D72-CF77-A247-BCB5-87E562B0F2DA}"/>
              </a:ext>
            </a:extLst>
          </p:cNvPr>
          <p:cNvPicPr>
            <a:picLocks noChangeAspect="1"/>
          </p:cNvPicPr>
          <p:nvPr/>
        </p:nvPicPr>
        <p:blipFill>
          <a:blip r:embed="rId8" cstate="hqprint">
            <a:duotone>
              <a:prstClr val="black"/>
              <a:srgbClr val="FFFFFF">
                <a:tint val="45000"/>
                <a:satMod val="400000"/>
              </a:srgbClr>
            </a:duotone>
            <a:extLst>
              <a:ext uri="{28A0092B-C50C-407E-A947-70E740481C1C}">
                <a14:useLocalDpi xmlns:a14="http://schemas.microsoft.com/office/drawing/2010/main"/>
              </a:ext>
            </a:extLst>
          </a:blip>
          <a:stretch>
            <a:fillRect/>
          </a:stretch>
        </p:blipFill>
        <p:spPr>
          <a:xfrm>
            <a:off x="1132755" y="2068591"/>
            <a:ext cx="558000" cy="558000"/>
          </a:xfrm>
          <a:prstGeom prst="rect">
            <a:avLst/>
          </a:prstGeom>
        </p:spPr>
      </p:pic>
      <p:sp>
        <p:nvSpPr>
          <p:cNvPr id="10" name="TextBox 9">
            <a:extLst>
              <a:ext uri="{FF2B5EF4-FFF2-40B4-BE49-F238E27FC236}">
                <a16:creationId xmlns:a16="http://schemas.microsoft.com/office/drawing/2014/main" id="{B983239C-A497-804B-A287-7BDED4F46750}"/>
              </a:ext>
            </a:extLst>
          </p:cNvPr>
          <p:cNvSpPr txBox="1"/>
          <p:nvPr/>
        </p:nvSpPr>
        <p:spPr>
          <a:xfrm>
            <a:off x="6657474" y="2853921"/>
            <a:ext cx="1342677" cy="1046440"/>
          </a:xfrm>
          <a:prstGeom prst="rect">
            <a:avLst/>
          </a:prstGeom>
          <a:noFill/>
        </p:spPr>
        <p:txBody>
          <a:bodyPr wrap="square" rtlCol="0">
            <a:spAutoFit/>
          </a:bodyPr>
          <a:lstStyle/>
          <a:p>
            <a:pPr algn="ctr"/>
            <a:r>
              <a:rPr lang="en-GB" sz="4400" b="1" dirty="0">
                <a:solidFill>
                  <a:schemeClr val="accent1"/>
                </a:solidFill>
              </a:rPr>
              <a:t>T</a:t>
            </a:r>
            <a:endParaRPr lang="en-GB" b="1" dirty="0">
              <a:solidFill>
                <a:schemeClr val="accent1"/>
              </a:solidFill>
            </a:endParaRPr>
          </a:p>
          <a:p>
            <a:pPr algn="ctr"/>
            <a:r>
              <a:rPr lang="en-GB" dirty="0"/>
              <a:t>Take care</a:t>
            </a:r>
          </a:p>
        </p:txBody>
      </p:sp>
      <p:sp>
        <p:nvSpPr>
          <p:cNvPr id="48" name="TextBox 47">
            <a:extLst>
              <a:ext uri="{FF2B5EF4-FFF2-40B4-BE49-F238E27FC236}">
                <a16:creationId xmlns:a16="http://schemas.microsoft.com/office/drawing/2014/main" id="{2E26223E-456D-1F43-BCE3-70DAFDD1189F}"/>
              </a:ext>
            </a:extLst>
          </p:cNvPr>
          <p:cNvSpPr txBox="1"/>
          <p:nvPr/>
        </p:nvSpPr>
        <p:spPr>
          <a:xfrm>
            <a:off x="8312178" y="2853921"/>
            <a:ext cx="1342677" cy="1323439"/>
          </a:xfrm>
          <a:prstGeom prst="rect">
            <a:avLst/>
          </a:prstGeom>
          <a:noFill/>
        </p:spPr>
        <p:txBody>
          <a:bodyPr wrap="square" rtlCol="0">
            <a:spAutoFit/>
          </a:bodyPr>
          <a:lstStyle/>
          <a:p>
            <a:pPr algn="ctr"/>
            <a:r>
              <a:rPr lang="en-GB" sz="4400" b="1" dirty="0">
                <a:solidFill>
                  <a:schemeClr val="accent1"/>
                </a:solidFill>
              </a:rPr>
              <a:t>F</a:t>
            </a:r>
            <a:endParaRPr lang="en-GB" b="1" dirty="0">
              <a:solidFill>
                <a:schemeClr val="accent1"/>
              </a:solidFill>
            </a:endParaRPr>
          </a:p>
          <a:p>
            <a:pPr algn="ctr"/>
            <a:r>
              <a:rPr lang="en-GB" dirty="0"/>
              <a:t>Foster health</a:t>
            </a:r>
          </a:p>
        </p:txBody>
      </p:sp>
      <p:sp>
        <p:nvSpPr>
          <p:cNvPr id="51" name="TextBox 50">
            <a:extLst>
              <a:ext uri="{FF2B5EF4-FFF2-40B4-BE49-F238E27FC236}">
                <a16:creationId xmlns:a16="http://schemas.microsoft.com/office/drawing/2014/main" id="{BFB9DBB5-CF5C-A948-A573-30D057344EA4}"/>
              </a:ext>
            </a:extLst>
          </p:cNvPr>
          <p:cNvSpPr txBox="1"/>
          <p:nvPr/>
        </p:nvSpPr>
        <p:spPr>
          <a:xfrm>
            <a:off x="9929330" y="2853921"/>
            <a:ext cx="1342677" cy="1046440"/>
          </a:xfrm>
          <a:prstGeom prst="rect">
            <a:avLst/>
          </a:prstGeom>
          <a:noFill/>
        </p:spPr>
        <p:txBody>
          <a:bodyPr wrap="square" rtlCol="0">
            <a:spAutoFit/>
          </a:bodyPr>
          <a:lstStyle/>
          <a:p>
            <a:pPr algn="ctr"/>
            <a:r>
              <a:rPr lang="en-GB" sz="4400" b="1" dirty="0">
                <a:solidFill>
                  <a:schemeClr val="accent1"/>
                </a:solidFill>
              </a:rPr>
              <a:t>N</a:t>
            </a:r>
            <a:endParaRPr lang="en-GB" b="1" dirty="0">
              <a:solidFill>
                <a:schemeClr val="accent1"/>
              </a:solidFill>
            </a:endParaRPr>
          </a:p>
          <a:p>
            <a:pPr algn="ctr"/>
            <a:r>
              <a:rPr lang="en-GB" dirty="0"/>
              <a:t>Nest ideas</a:t>
            </a:r>
          </a:p>
        </p:txBody>
      </p:sp>
      <p:sp>
        <p:nvSpPr>
          <p:cNvPr id="53" name="Rectangle 52">
            <a:extLst>
              <a:ext uri="{FF2B5EF4-FFF2-40B4-BE49-F238E27FC236}">
                <a16:creationId xmlns:a16="http://schemas.microsoft.com/office/drawing/2014/main" id="{22137A08-E121-CD41-B571-33AD0FEB8393}"/>
              </a:ext>
            </a:extLst>
          </p:cNvPr>
          <p:cNvSpPr/>
          <p:nvPr/>
        </p:nvSpPr>
        <p:spPr>
          <a:xfrm>
            <a:off x="7285549" y="5144717"/>
            <a:ext cx="3512544" cy="4244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TextBox 53">
            <a:extLst>
              <a:ext uri="{FF2B5EF4-FFF2-40B4-BE49-F238E27FC236}">
                <a16:creationId xmlns:a16="http://schemas.microsoft.com/office/drawing/2014/main" id="{63D5FF51-611B-2849-B8A5-A0CDAB5206FE}"/>
              </a:ext>
            </a:extLst>
          </p:cNvPr>
          <p:cNvSpPr txBox="1"/>
          <p:nvPr/>
        </p:nvSpPr>
        <p:spPr>
          <a:xfrm>
            <a:off x="7323167" y="5114737"/>
            <a:ext cx="345057" cy="461665"/>
          </a:xfrm>
          <a:prstGeom prst="rect">
            <a:avLst/>
          </a:prstGeom>
          <a:noFill/>
        </p:spPr>
        <p:txBody>
          <a:bodyPr wrap="square" rtlCol="0">
            <a:spAutoFit/>
          </a:bodyPr>
          <a:lstStyle/>
          <a:p>
            <a:r>
              <a:rPr lang="en-GB" sz="2400" b="1" dirty="0">
                <a:solidFill>
                  <a:schemeClr val="accent6"/>
                </a:solidFill>
              </a:rPr>
              <a:t>1</a:t>
            </a:r>
          </a:p>
        </p:txBody>
      </p:sp>
      <p:sp>
        <p:nvSpPr>
          <p:cNvPr id="55" name="TextBox 54">
            <a:extLst>
              <a:ext uri="{FF2B5EF4-FFF2-40B4-BE49-F238E27FC236}">
                <a16:creationId xmlns:a16="http://schemas.microsoft.com/office/drawing/2014/main" id="{26810BAA-D959-274B-B331-92A418CAF815}"/>
              </a:ext>
            </a:extLst>
          </p:cNvPr>
          <p:cNvSpPr txBox="1"/>
          <p:nvPr/>
        </p:nvSpPr>
        <p:spPr>
          <a:xfrm>
            <a:off x="7821593" y="5085262"/>
            <a:ext cx="2976500" cy="523220"/>
          </a:xfrm>
          <a:prstGeom prst="rect">
            <a:avLst/>
          </a:prstGeom>
          <a:noFill/>
        </p:spPr>
        <p:txBody>
          <a:bodyPr wrap="square" rtlCol="0" anchor="ctr">
            <a:spAutoFit/>
          </a:bodyPr>
          <a:lstStyle/>
          <a:p>
            <a:r>
              <a:rPr lang="en-GB" sz="1400" dirty="0"/>
              <a:t>Sustainable and local long-term business development</a:t>
            </a:r>
          </a:p>
        </p:txBody>
      </p:sp>
      <p:sp>
        <p:nvSpPr>
          <p:cNvPr id="56" name="Rectangle 55">
            <a:extLst>
              <a:ext uri="{FF2B5EF4-FFF2-40B4-BE49-F238E27FC236}">
                <a16:creationId xmlns:a16="http://schemas.microsoft.com/office/drawing/2014/main" id="{1A567994-0193-3340-8265-97A29A291223}"/>
              </a:ext>
            </a:extLst>
          </p:cNvPr>
          <p:cNvSpPr/>
          <p:nvPr/>
        </p:nvSpPr>
        <p:spPr>
          <a:xfrm>
            <a:off x="7285549" y="5682146"/>
            <a:ext cx="3512544" cy="4244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TextBox 56">
            <a:extLst>
              <a:ext uri="{FF2B5EF4-FFF2-40B4-BE49-F238E27FC236}">
                <a16:creationId xmlns:a16="http://schemas.microsoft.com/office/drawing/2014/main" id="{21BEB75E-8F6A-6F49-A9A3-CD48309EA4A2}"/>
              </a:ext>
            </a:extLst>
          </p:cNvPr>
          <p:cNvSpPr txBox="1"/>
          <p:nvPr/>
        </p:nvSpPr>
        <p:spPr>
          <a:xfrm>
            <a:off x="7323167" y="5652166"/>
            <a:ext cx="345057" cy="461665"/>
          </a:xfrm>
          <a:prstGeom prst="rect">
            <a:avLst/>
          </a:prstGeom>
          <a:noFill/>
        </p:spPr>
        <p:txBody>
          <a:bodyPr wrap="square" rtlCol="0">
            <a:spAutoFit/>
          </a:bodyPr>
          <a:lstStyle/>
          <a:p>
            <a:r>
              <a:rPr lang="en-GB" sz="2400" b="1" dirty="0">
                <a:solidFill>
                  <a:schemeClr val="accent6"/>
                </a:solidFill>
              </a:rPr>
              <a:t>2</a:t>
            </a:r>
          </a:p>
        </p:txBody>
      </p:sp>
      <p:sp>
        <p:nvSpPr>
          <p:cNvPr id="58" name="TextBox 57">
            <a:extLst>
              <a:ext uri="{FF2B5EF4-FFF2-40B4-BE49-F238E27FC236}">
                <a16:creationId xmlns:a16="http://schemas.microsoft.com/office/drawing/2014/main" id="{C9D10E03-3323-8849-9568-26AF5FC9CB4B}"/>
              </a:ext>
            </a:extLst>
          </p:cNvPr>
          <p:cNvSpPr txBox="1"/>
          <p:nvPr/>
        </p:nvSpPr>
        <p:spPr>
          <a:xfrm>
            <a:off x="7821593" y="5730014"/>
            <a:ext cx="2976500" cy="338554"/>
          </a:xfrm>
          <a:prstGeom prst="rect">
            <a:avLst/>
          </a:prstGeom>
          <a:noFill/>
        </p:spPr>
        <p:txBody>
          <a:bodyPr wrap="square" rtlCol="0" anchor="ctr">
            <a:spAutoFit/>
          </a:bodyPr>
          <a:lstStyle/>
          <a:p>
            <a:r>
              <a:rPr lang="en-GB" sz="1600" dirty="0"/>
              <a:t>$25m cumulative project EBIT</a:t>
            </a:r>
          </a:p>
        </p:txBody>
      </p:sp>
    </p:spTree>
    <p:extLst>
      <p:ext uri="{BB962C8B-B14F-4D97-AF65-F5344CB8AC3E}">
        <p14:creationId xmlns:p14="http://schemas.microsoft.com/office/powerpoint/2010/main" val="1178812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B07A93E-EB36-4644-8F66-9CF236645FCE}"/>
              </a:ext>
            </a:extLst>
          </p:cNvPr>
          <p:cNvSpPr>
            <a:spLocks noGrp="1"/>
          </p:cNvSpPr>
          <p:nvPr>
            <p:ph type="body" sz="quarter" idx="13"/>
          </p:nvPr>
        </p:nvSpPr>
        <p:spPr/>
        <p:txBody>
          <a:bodyPr/>
          <a:lstStyle/>
          <a:p>
            <a:endParaRPr lang="en-GB"/>
          </a:p>
        </p:txBody>
      </p:sp>
      <p:sp>
        <p:nvSpPr>
          <p:cNvPr id="5" name="Text Placeholder 4">
            <a:extLst>
              <a:ext uri="{FF2B5EF4-FFF2-40B4-BE49-F238E27FC236}">
                <a16:creationId xmlns:a16="http://schemas.microsoft.com/office/drawing/2014/main" id="{97D622DE-4B69-7945-93DB-123BE7EFC0BC}"/>
              </a:ext>
            </a:extLst>
          </p:cNvPr>
          <p:cNvSpPr>
            <a:spLocks noGrp="1"/>
          </p:cNvSpPr>
          <p:nvPr>
            <p:ph type="body" sz="quarter" idx="15"/>
          </p:nvPr>
        </p:nvSpPr>
        <p:spPr/>
        <p:txBody>
          <a:bodyPr/>
          <a:lstStyle/>
          <a:p>
            <a:endParaRPr lang="en-GB"/>
          </a:p>
        </p:txBody>
      </p:sp>
      <p:sp>
        <p:nvSpPr>
          <p:cNvPr id="2" name="Titel 1"/>
          <p:cNvSpPr>
            <a:spLocks noGrp="1"/>
          </p:cNvSpPr>
          <p:nvPr>
            <p:ph type="title"/>
          </p:nvPr>
        </p:nvSpPr>
        <p:spPr/>
        <p:txBody>
          <a:bodyPr>
            <a:normAutofit/>
          </a:bodyPr>
          <a:lstStyle/>
          <a:p>
            <a:r>
              <a:rPr lang="en-US" dirty="0"/>
              <a:t>Leveraging core capabilities to overcome constraints will allow </a:t>
            </a:r>
            <a:r>
              <a:rPr lang="en-US" dirty="0" err="1"/>
              <a:t>EasyMarkit</a:t>
            </a:r>
            <a:r>
              <a:rPr lang="en-US" dirty="0"/>
              <a:t> drive revenue growth towards 2021</a:t>
            </a:r>
          </a:p>
        </p:txBody>
      </p:sp>
      <p:grpSp>
        <p:nvGrpSpPr>
          <p:cNvPr id="38" name="Grupper 37"/>
          <p:cNvGrpSpPr/>
          <p:nvPr/>
        </p:nvGrpSpPr>
        <p:grpSpPr>
          <a:xfrm>
            <a:off x="603414" y="2742565"/>
            <a:ext cx="1530698" cy="3049010"/>
            <a:chOff x="603414" y="2742565"/>
            <a:chExt cx="1530698" cy="3049010"/>
          </a:xfrm>
        </p:grpSpPr>
        <p:sp>
          <p:nvSpPr>
            <p:cNvPr id="4" name="Rektangel 3"/>
            <p:cNvSpPr/>
            <p:nvPr/>
          </p:nvSpPr>
          <p:spPr>
            <a:xfrm>
              <a:off x="603414" y="2919787"/>
              <a:ext cx="1528762" cy="287178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ight Triangle 56"/>
            <p:cNvSpPr/>
            <p:nvPr/>
          </p:nvSpPr>
          <p:spPr>
            <a:xfrm flipH="1">
              <a:off x="1262427" y="2742566"/>
              <a:ext cx="871685" cy="183810"/>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latin typeface="Arial" panose="020B0604020202020204" pitchFamily="34" charset="0"/>
                <a:cs typeface="Arial" panose="020B0604020202020204" pitchFamily="34" charset="0"/>
              </a:endParaRPr>
            </a:p>
          </p:txBody>
        </p:sp>
        <p:sp>
          <p:nvSpPr>
            <p:cNvPr id="30" name="Right Triangle 57"/>
            <p:cNvSpPr/>
            <p:nvPr/>
          </p:nvSpPr>
          <p:spPr>
            <a:xfrm>
              <a:off x="604800" y="2742565"/>
              <a:ext cx="871127" cy="18454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latin typeface="Arial" panose="020B0604020202020204" pitchFamily="34" charset="0"/>
                <a:cs typeface="Arial" panose="020B0604020202020204" pitchFamily="34" charset="0"/>
              </a:endParaRPr>
            </a:p>
          </p:txBody>
        </p:sp>
      </p:grpSp>
      <p:grpSp>
        <p:nvGrpSpPr>
          <p:cNvPr id="39" name="Grupper 38"/>
          <p:cNvGrpSpPr/>
          <p:nvPr/>
        </p:nvGrpSpPr>
        <p:grpSpPr>
          <a:xfrm>
            <a:off x="2377022" y="2742565"/>
            <a:ext cx="1530698" cy="3049010"/>
            <a:chOff x="603414" y="2742565"/>
            <a:chExt cx="1530698" cy="3049010"/>
          </a:xfrm>
        </p:grpSpPr>
        <p:sp>
          <p:nvSpPr>
            <p:cNvPr id="40" name="Rektangel 39"/>
            <p:cNvSpPr/>
            <p:nvPr/>
          </p:nvSpPr>
          <p:spPr>
            <a:xfrm>
              <a:off x="603414" y="2919787"/>
              <a:ext cx="1528762" cy="287178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1" name="Right Triangle 56"/>
            <p:cNvSpPr/>
            <p:nvPr/>
          </p:nvSpPr>
          <p:spPr>
            <a:xfrm flipH="1">
              <a:off x="1262427" y="2742566"/>
              <a:ext cx="871685" cy="183810"/>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latin typeface="Arial" panose="020B0604020202020204" pitchFamily="34" charset="0"/>
                <a:cs typeface="Arial" panose="020B0604020202020204" pitchFamily="34" charset="0"/>
              </a:endParaRPr>
            </a:p>
          </p:txBody>
        </p:sp>
        <p:sp>
          <p:nvSpPr>
            <p:cNvPr id="42" name="Right Triangle 57"/>
            <p:cNvSpPr/>
            <p:nvPr/>
          </p:nvSpPr>
          <p:spPr>
            <a:xfrm>
              <a:off x="604800" y="2742565"/>
              <a:ext cx="871127" cy="18454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latin typeface="Arial" panose="020B0604020202020204" pitchFamily="34" charset="0"/>
                <a:cs typeface="Arial" panose="020B0604020202020204" pitchFamily="34" charset="0"/>
              </a:endParaRPr>
            </a:p>
          </p:txBody>
        </p:sp>
      </p:grpSp>
      <p:cxnSp>
        <p:nvCxnSpPr>
          <p:cNvPr id="54" name="Straight Connector 41"/>
          <p:cNvCxnSpPr/>
          <p:nvPr/>
        </p:nvCxnSpPr>
        <p:spPr>
          <a:xfrm>
            <a:off x="6450033" y="1691734"/>
            <a:ext cx="5075979" cy="0"/>
          </a:xfrm>
          <a:prstGeom prst="line">
            <a:avLst/>
          </a:prstGeom>
          <a:ln w="190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55" name="Rectangle 68"/>
          <p:cNvSpPr/>
          <p:nvPr/>
        </p:nvSpPr>
        <p:spPr>
          <a:xfrm>
            <a:off x="6450033" y="1336366"/>
            <a:ext cx="5075979" cy="323165"/>
          </a:xfrm>
          <a:prstGeom prst="rect">
            <a:avLst/>
          </a:prstGeom>
        </p:spPr>
        <p:txBody>
          <a:bodyPr wrap="square">
            <a:spAutoFit/>
          </a:bodyPr>
          <a:lstStyle/>
          <a:p>
            <a:pPr algn="ctr"/>
            <a:r>
              <a:rPr lang="da-DK" sz="1500" dirty="0">
                <a:latin typeface="Arial" panose="020B0604020202020204" pitchFamily="34" charset="0"/>
                <a:cs typeface="Arial" panose="020B0604020202020204" pitchFamily="34" charset="0"/>
              </a:rPr>
              <a:t>IMPACT</a:t>
            </a:r>
            <a:endParaRPr lang="da-DK" sz="1200" dirty="0">
              <a:latin typeface="Arial" panose="020B0604020202020204" pitchFamily="34" charset="0"/>
              <a:cs typeface="Arial" panose="020B0604020202020204" pitchFamily="34" charset="0"/>
            </a:endParaRPr>
          </a:p>
        </p:txBody>
      </p:sp>
      <p:grpSp>
        <p:nvGrpSpPr>
          <p:cNvPr id="56" name="Grupper 55"/>
          <p:cNvGrpSpPr/>
          <p:nvPr/>
        </p:nvGrpSpPr>
        <p:grpSpPr>
          <a:xfrm>
            <a:off x="4148694" y="2742565"/>
            <a:ext cx="1530698" cy="3049010"/>
            <a:chOff x="603414" y="2742565"/>
            <a:chExt cx="1530698" cy="3049010"/>
          </a:xfrm>
          <a:solidFill>
            <a:schemeClr val="accent5">
              <a:lumMod val="50000"/>
            </a:schemeClr>
          </a:solidFill>
        </p:grpSpPr>
        <p:sp>
          <p:nvSpPr>
            <p:cNvPr id="57" name="Rektangel 56"/>
            <p:cNvSpPr/>
            <p:nvPr/>
          </p:nvSpPr>
          <p:spPr>
            <a:xfrm>
              <a:off x="603414" y="2919787"/>
              <a:ext cx="1528762" cy="2871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8" name="Right Triangle 56"/>
            <p:cNvSpPr/>
            <p:nvPr/>
          </p:nvSpPr>
          <p:spPr>
            <a:xfrm flipH="1">
              <a:off x="1262427" y="2742566"/>
              <a:ext cx="871685" cy="18381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latin typeface="Arial" panose="020B0604020202020204" pitchFamily="34" charset="0"/>
                <a:cs typeface="Arial" panose="020B0604020202020204" pitchFamily="34" charset="0"/>
              </a:endParaRPr>
            </a:p>
          </p:txBody>
        </p:sp>
        <p:sp>
          <p:nvSpPr>
            <p:cNvPr id="59" name="Right Triangle 57"/>
            <p:cNvSpPr/>
            <p:nvPr/>
          </p:nvSpPr>
          <p:spPr>
            <a:xfrm>
              <a:off x="604800" y="2742565"/>
              <a:ext cx="871127" cy="184547"/>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latin typeface="Arial" panose="020B0604020202020204" pitchFamily="34" charset="0"/>
                <a:cs typeface="Arial" panose="020B0604020202020204" pitchFamily="34" charset="0"/>
              </a:endParaRPr>
            </a:p>
          </p:txBody>
        </p:sp>
      </p:grpSp>
      <p:cxnSp>
        <p:nvCxnSpPr>
          <p:cNvPr id="22" name="Straight Connector 41"/>
          <p:cNvCxnSpPr/>
          <p:nvPr/>
        </p:nvCxnSpPr>
        <p:spPr>
          <a:xfrm>
            <a:off x="603414" y="1691734"/>
            <a:ext cx="3302370" cy="0"/>
          </a:xfrm>
          <a:prstGeom prst="line">
            <a:avLst/>
          </a:prstGeom>
          <a:ln w="190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23" name="Rectangle 68"/>
          <p:cNvSpPr/>
          <p:nvPr/>
        </p:nvSpPr>
        <p:spPr>
          <a:xfrm>
            <a:off x="603415" y="1336366"/>
            <a:ext cx="3302370" cy="323165"/>
          </a:xfrm>
          <a:prstGeom prst="rect">
            <a:avLst/>
          </a:prstGeom>
        </p:spPr>
        <p:txBody>
          <a:bodyPr wrap="square">
            <a:spAutoFit/>
          </a:bodyPr>
          <a:lstStyle/>
          <a:p>
            <a:pPr algn="ctr"/>
            <a:r>
              <a:rPr lang="da-DK" sz="1500" dirty="0">
                <a:latin typeface="Arial" panose="020B0604020202020204" pitchFamily="34" charset="0"/>
                <a:cs typeface="Arial" panose="020B0604020202020204" pitchFamily="34" charset="0"/>
              </a:rPr>
              <a:t>LEVERAGE THE CORE</a:t>
            </a:r>
            <a:endParaRPr lang="da-DK" sz="1200" dirty="0">
              <a:latin typeface="Arial" panose="020B0604020202020204" pitchFamily="34" charset="0"/>
              <a:cs typeface="Arial" panose="020B0604020202020204" pitchFamily="34" charset="0"/>
            </a:endParaRPr>
          </a:p>
        </p:txBody>
      </p:sp>
      <p:cxnSp>
        <p:nvCxnSpPr>
          <p:cNvPr id="25" name="Straight Connector 41"/>
          <p:cNvCxnSpPr/>
          <p:nvPr/>
        </p:nvCxnSpPr>
        <p:spPr>
          <a:xfrm>
            <a:off x="4148693" y="1690998"/>
            <a:ext cx="1528762" cy="0"/>
          </a:xfrm>
          <a:prstGeom prst="line">
            <a:avLst/>
          </a:prstGeom>
          <a:ln w="190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26" name="Rectangle 68"/>
          <p:cNvSpPr/>
          <p:nvPr/>
        </p:nvSpPr>
        <p:spPr>
          <a:xfrm>
            <a:off x="4148693" y="1168517"/>
            <a:ext cx="1528762" cy="553998"/>
          </a:xfrm>
          <a:prstGeom prst="rect">
            <a:avLst/>
          </a:prstGeom>
        </p:spPr>
        <p:txBody>
          <a:bodyPr wrap="square">
            <a:spAutoFit/>
          </a:bodyPr>
          <a:lstStyle/>
          <a:p>
            <a:pPr algn="ctr"/>
            <a:r>
              <a:rPr lang="da-DK" sz="1500" dirty="0">
                <a:latin typeface="Arial" panose="020B0604020202020204" pitchFamily="34" charset="0"/>
                <a:cs typeface="Arial" panose="020B0604020202020204" pitchFamily="34" charset="0"/>
              </a:rPr>
              <a:t>GROW FOR MORE</a:t>
            </a:r>
            <a:endParaRPr lang="da-DK" sz="1200" dirty="0">
              <a:latin typeface="Arial" panose="020B0604020202020204" pitchFamily="34" charset="0"/>
              <a:cs typeface="Arial" panose="020B0604020202020204" pitchFamily="34" charset="0"/>
            </a:endParaRPr>
          </a:p>
        </p:txBody>
      </p:sp>
      <p:sp>
        <p:nvSpPr>
          <p:cNvPr id="28" name="Ellipse 27"/>
          <p:cNvSpPr/>
          <p:nvPr/>
        </p:nvSpPr>
        <p:spPr>
          <a:xfrm>
            <a:off x="959722" y="1873039"/>
            <a:ext cx="816146" cy="789074"/>
          </a:xfrm>
          <a:prstGeom prst="ellipse">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latin typeface="Arial" panose="020B0604020202020204" pitchFamily="34" charset="0"/>
                <a:ea typeface="Avenir Book" charset="0"/>
                <a:cs typeface="Arial" panose="020B0604020202020204" pitchFamily="34" charset="0"/>
              </a:rPr>
              <a:t>1</a:t>
            </a:r>
          </a:p>
        </p:txBody>
      </p:sp>
      <p:sp>
        <p:nvSpPr>
          <p:cNvPr id="31" name="Ellipse 30"/>
          <p:cNvSpPr/>
          <p:nvPr/>
        </p:nvSpPr>
        <p:spPr>
          <a:xfrm>
            <a:off x="2733330" y="1873039"/>
            <a:ext cx="816146" cy="789074"/>
          </a:xfrm>
          <a:prstGeom prst="ellipse">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latin typeface="Arial" panose="020B0604020202020204" pitchFamily="34" charset="0"/>
                <a:ea typeface="Avenir Book" charset="0"/>
                <a:cs typeface="Arial" panose="020B0604020202020204" pitchFamily="34" charset="0"/>
              </a:rPr>
              <a:t>2</a:t>
            </a:r>
          </a:p>
        </p:txBody>
      </p:sp>
      <p:sp>
        <p:nvSpPr>
          <p:cNvPr id="32" name="Ellipse 31"/>
          <p:cNvSpPr/>
          <p:nvPr/>
        </p:nvSpPr>
        <p:spPr>
          <a:xfrm>
            <a:off x="4509424" y="1873039"/>
            <a:ext cx="816146" cy="789074"/>
          </a:xfrm>
          <a:prstGeom prst="ellipse">
            <a:avLst/>
          </a:prstGeom>
          <a:solidFill>
            <a:schemeClr val="bg1"/>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latin typeface="Arial" panose="020B0604020202020204" pitchFamily="34" charset="0"/>
                <a:ea typeface="Avenir Book" charset="0"/>
                <a:cs typeface="Arial" panose="020B0604020202020204" pitchFamily="34" charset="0"/>
              </a:rPr>
              <a:t>3</a:t>
            </a:r>
          </a:p>
        </p:txBody>
      </p:sp>
      <p:sp>
        <p:nvSpPr>
          <p:cNvPr id="6" name="Tekstfelt 5"/>
          <p:cNvSpPr txBox="1"/>
          <p:nvPr/>
        </p:nvSpPr>
        <p:spPr>
          <a:xfrm>
            <a:off x="858644" y="3059668"/>
            <a:ext cx="917224" cy="307777"/>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DATA</a:t>
            </a:r>
          </a:p>
        </p:txBody>
      </p:sp>
      <p:sp>
        <p:nvSpPr>
          <p:cNvPr id="33" name="Tekstfelt 32"/>
          <p:cNvSpPr txBox="1"/>
          <p:nvPr/>
        </p:nvSpPr>
        <p:spPr>
          <a:xfrm>
            <a:off x="2598242" y="3059668"/>
            <a:ext cx="1086321" cy="307777"/>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PRODUCT</a:t>
            </a:r>
          </a:p>
        </p:txBody>
      </p:sp>
      <p:sp>
        <p:nvSpPr>
          <p:cNvPr id="34" name="Tekstfelt 33"/>
          <p:cNvSpPr txBox="1"/>
          <p:nvPr/>
        </p:nvSpPr>
        <p:spPr>
          <a:xfrm>
            <a:off x="4369913" y="3059668"/>
            <a:ext cx="1086321" cy="307777"/>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USA</a:t>
            </a:r>
          </a:p>
        </p:txBody>
      </p:sp>
      <p:cxnSp>
        <p:nvCxnSpPr>
          <p:cNvPr id="35" name="Straight Connector 41"/>
          <p:cNvCxnSpPr/>
          <p:nvPr/>
        </p:nvCxnSpPr>
        <p:spPr>
          <a:xfrm flipV="1">
            <a:off x="756298" y="3363998"/>
            <a:ext cx="1222993" cy="344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41"/>
          <p:cNvCxnSpPr/>
          <p:nvPr/>
        </p:nvCxnSpPr>
        <p:spPr>
          <a:xfrm flipV="1">
            <a:off x="2534002" y="3360551"/>
            <a:ext cx="1222993" cy="344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41"/>
          <p:cNvCxnSpPr/>
          <p:nvPr/>
        </p:nvCxnSpPr>
        <p:spPr>
          <a:xfrm flipV="1">
            <a:off x="4301576" y="3357104"/>
            <a:ext cx="1222993" cy="344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kstfelt 7"/>
          <p:cNvSpPr txBox="1"/>
          <p:nvPr/>
        </p:nvSpPr>
        <p:spPr>
          <a:xfrm>
            <a:off x="756298" y="3568390"/>
            <a:ext cx="1222993" cy="1600438"/>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Use customer data to improve the customer acquisition process</a:t>
            </a:r>
          </a:p>
        </p:txBody>
      </p:sp>
      <p:sp>
        <p:nvSpPr>
          <p:cNvPr id="43" name="Tekstfelt 42"/>
          <p:cNvSpPr txBox="1"/>
          <p:nvPr/>
        </p:nvSpPr>
        <p:spPr>
          <a:xfrm>
            <a:off x="2529905" y="3568390"/>
            <a:ext cx="1222993" cy="1384995"/>
          </a:xfrm>
          <a:prstGeom prst="rect">
            <a:avLst/>
          </a:prstGeom>
          <a:noFill/>
        </p:spPr>
        <p:txBody>
          <a:bodyPr wrap="square" rtlCol="0">
            <a:spAutoFit/>
          </a:bodyPr>
          <a:lstStyle/>
          <a:p>
            <a:pPr algn="ctr"/>
            <a:r>
              <a:rPr lang="en-US" sz="1400" dirty="0" err="1">
                <a:solidFill>
                  <a:schemeClr val="bg1"/>
                </a:solidFill>
                <a:latin typeface="Arial" panose="020B0604020202020204" pitchFamily="34" charset="0"/>
                <a:cs typeface="Arial" panose="020B0604020202020204" pitchFamily="34" charset="0"/>
              </a:rPr>
              <a:t>Simplifi</a:t>
            </a:r>
            <a:r>
              <a:rPr lang="en-US" sz="1400" dirty="0">
                <a:solidFill>
                  <a:schemeClr val="bg1"/>
                </a:solidFill>
                <a:latin typeface="Arial" panose="020B0604020202020204" pitchFamily="34" charset="0"/>
                <a:cs typeface="Arial" panose="020B0604020202020204" pitchFamily="34" charset="0"/>
              </a:rPr>
              <a:t>-cation of products and data- driven optimization of pricing</a:t>
            </a:r>
          </a:p>
        </p:txBody>
      </p:sp>
      <p:sp>
        <p:nvSpPr>
          <p:cNvPr id="44" name="Tekstfelt 43"/>
          <p:cNvSpPr txBox="1"/>
          <p:nvPr/>
        </p:nvSpPr>
        <p:spPr>
          <a:xfrm>
            <a:off x="4301575" y="3564612"/>
            <a:ext cx="1222993" cy="1600438"/>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cs typeface="Arial" panose="020B0604020202020204" pitchFamily="34" charset="0"/>
              </a:rPr>
              <a:t>Use scalability of core to expand to the US and secure high growth</a:t>
            </a:r>
          </a:p>
        </p:txBody>
      </p:sp>
      <p:sp>
        <p:nvSpPr>
          <p:cNvPr id="9" name="Rektangel 8"/>
          <p:cNvSpPr/>
          <p:nvPr/>
        </p:nvSpPr>
        <p:spPr>
          <a:xfrm>
            <a:off x="6450033" y="4817327"/>
            <a:ext cx="2352768" cy="9742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Decreased customer acquisition cost</a:t>
            </a:r>
          </a:p>
        </p:txBody>
      </p:sp>
      <p:sp>
        <p:nvSpPr>
          <p:cNvPr id="45" name="Rektangel 44"/>
          <p:cNvSpPr/>
          <p:nvPr/>
        </p:nvSpPr>
        <p:spPr>
          <a:xfrm>
            <a:off x="9173244" y="4817327"/>
            <a:ext cx="2352768" cy="9742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Improved customer lifetime value</a:t>
            </a:r>
          </a:p>
        </p:txBody>
      </p:sp>
      <p:graphicFrame>
        <p:nvGraphicFramePr>
          <p:cNvPr id="66" name="Chart 26"/>
          <p:cNvGraphicFramePr>
            <a:graphicFrameLocks/>
          </p:cNvGraphicFramePr>
          <p:nvPr/>
        </p:nvGraphicFramePr>
        <p:xfrm>
          <a:off x="6416182" y="2015169"/>
          <a:ext cx="5223045" cy="3613575"/>
        </p:xfrm>
        <a:graphic>
          <a:graphicData uri="http://schemas.openxmlformats.org/drawingml/2006/chart">
            <c:chart xmlns:c="http://schemas.openxmlformats.org/drawingml/2006/chart" xmlns:r="http://schemas.openxmlformats.org/officeDocument/2006/relationships" r:id="rId3"/>
          </a:graphicData>
        </a:graphic>
      </p:graphicFrame>
      <p:cxnSp>
        <p:nvCxnSpPr>
          <p:cNvPr id="68" name="Straight Arrow Connector 8"/>
          <p:cNvCxnSpPr/>
          <p:nvPr/>
        </p:nvCxnSpPr>
        <p:spPr>
          <a:xfrm flipV="1">
            <a:off x="6851209" y="2726175"/>
            <a:ext cx="4044100" cy="8384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Oval 40"/>
          <p:cNvSpPr/>
          <p:nvPr/>
        </p:nvSpPr>
        <p:spPr>
          <a:xfrm>
            <a:off x="8429042" y="2742566"/>
            <a:ext cx="1040421" cy="52518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dirty="0">
                <a:solidFill>
                  <a:schemeClr val="tx1"/>
                </a:solidFill>
                <a:latin typeface="Arial" panose="020B0604020202020204" pitchFamily="34" charset="0"/>
                <a:cs typeface="Arial" panose="020B0604020202020204" pitchFamily="34" charset="0"/>
              </a:rPr>
              <a:t>27% CAGR</a:t>
            </a:r>
          </a:p>
        </p:txBody>
      </p:sp>
      <p:sp>
        <p:nvSpPr>
          <p:cNvPr id="71" name="TextBox 13"/>
          <p:cNvSpPr txBox="1"/>
          <p:nvPr/>
        </p:nvSpPr>
        <p:spPr>
          <a:xfrm>
            <a:off x="10724380" y="2416023"/>
            <a:ext cx="605956" cy="30777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45</a:t>
            </a:r>
          </a:p>
        </p:txBody>
      </p:sp>
      <p:sp>
        <p:nvSpPr>
          <p:cNvPr id="72" name="TextBox 31"/>
          <p:cNvSpPr txBox="1"/>
          <p:nvPr/>
        </p:nvSpPr>
        <p:spPr>
          <a:xfrm>
            <a:off x="6769453" y="3564612"/>
            <a:ext cx="605956" cy="30777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13.7</a:t>
            </a:r>
          </a:p>
        </p:txBody>
      </p:sp>
    </p:spTree>
    <p:extLst>
      <p:ext uri="{BB962C8B-B14F-4D97-AF65-F5344CB8AC3E}">
        <p14:creationId xmlns:p14="http://schemas.microsoft.com/office/powerpoint/2010/main" val="17090836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p:cNvSpPr/>
          <p:nvPr/>
        </p:nvSpPr>
        <p:spPr>
          <a:xfrm>
            <a:off x="-294968" y="1120877"/>
            <a:ext cx="12816349" cy="46162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kstfelt 4"/>
          <p:cNvSpPr txBox="1"/>
          <p:nvPr/>
        </p:nvSpPr>
        <p:spPr>
          <a:xfrm>
            <a:off x="1993692" y="2896523"/>
            <a:ext cx="6699270" cy="1200329"/>
          </a:xfrm>
          <a:prstGeom prst="rect">
            <a:avLst/>
          </a:prstGeom>
          <a:noFill/>
        </p:spPr>
        <p:txBody>
          <a:bodyPr wrap="none" rtlCol="0">
            <a:spAutoFit/>
          </a:bodyPr>
          <a:lstStyle/>
          <a:p>
            <a:r>
              <a:rPr lang="da-DK" sz="7200" dirty="0">
                <a:solidFill>
                  <a:schemeClr val="bg1"/>
                </a:solidFill>
              </a:rPr>
              <a:t>Standard Slides</a:t>
            </a:r>
          </a:p>
        </p:txBody>
      </p:sp>
    </p:spTree>
    <p:extLst>
      <p:ext uri="{BB962C8B-B14F-4D97-AF65-F5344CB8AC3E}">
        <p14:creationId xmlns:p14="http://schemas.microsoft.com/office/powerpoint/2010/main" val="20443057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p:txBody>
          <a:bodyPr/>
          <a:lstStyle/>
          <a:p>
            <a:endParaRPr lang="en-US"/>
          </a:p>
        </p:txBody>
      </p:sp>
      <p:sp>
        <p:nvSpPr>
          <p:cNvPr id="4" name="Pladsholder til tekst 3"/>
          <p:cNvSpPr>
            <a:spLocks noGrp="1"/>
          </p:cNvSpPr>
          <p:nvPr>
            <p:ph type="body" sz="quarter" idx="15"/>
          </p:nvPr>
        </p:nvSpPr>
        <p:spPr/>
        <p:txBody>
          <a:bodyPr/>
          <a:lstStyle/>
          <a:p>
            <a:endParaRPr lang="en-US"/>
          </a:p>
        </p:txBody>
      </p:sp>
      <p:sp>
        <p:nvSpPr>
          <p:cNvPr id="2" name="Titel 1"/>
          <p:cNvSpPr>
            <a:spLocks noGrp="1"/>
          </p:cNvSpPr>
          <p:nvPr>
            <p:ph type="title"/>
          </p:nvPr>
        </p:nvSpPr>
        <p:spPr>
          <a:xfrm>
            <a:off x="527050" y="127212"/>
            <a:ext cx="9314374" cy="925103"/>
          </a:xfrm>
          <a:prstGeom prst="rect">
            <a:avLst/>
          </a:prstGeom>
        </p:spPr>
        <p:txBody>
          <a:bodyPr/>
          <a:lstStyle/>
          <a:p>
            <a:endParaRPr lang="en-US" dirty="0"/>
          </a:p>
        </p:txBody>
      </p:sp>
      <p:sp>
        <p:nvSpPr>
          <p:cNvPr id="10" name="Trekant 9"/>
          <p:cNvSpPr/>
          <p:nvPr/>
        </p:nvSpPr>
        <p:spPr>
          <a:xfrm rot="5400000">
            <a:off x="4133803" y="3513840"/>
            <a:ext cx="3927096" cy="39115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ktangel 7">
            <a:extLst>
              <a:ext uri="{FF2B5EF4-FFF2-40B4-BE49-F238E27FC236}">
                <a16:creationId xmlns:a16="http://schemas.microsoft.com/office/drawing/2014/main" id="{EEDC61DE-4AB4-0F4A-B22F-7C1CD8927E3A}"/>
              </a:ext>
            </a:extLst>
          </p:cNvPr>
          <p:cNvSpPr/>
          <p:nvPr/>
        </p:nvSpPr>
        <p:spPr>
          <a:xfrm>
            <a:off x="6771804" y="1584287"/>
            <a:ext cx="4895849" cy="323165"/>
          </a:xfrm>
          <a:prstGeom prst="rect">
            <a:avLst/>
          </a:prstGeom>
        </p:spPr>
        <p:txBody>
          <a:bodyPr wrap="square" anchor="b">
            <a:spAutoFit/>
          </a:bodyPr>
          <a:lstStyle/>
          <a:p>
            <a:r>
              <a:rPr lang="en-US" sz="1500" b="1" dirty="0">
                <a:solidFill>
                  <a:schemeClr val="tx1">
                    <a:lumMod val="75000"/>
                    <a:lumOff val="25000"/>
                  </a:schemeClr>
                </a:solidFill>
                <a:latin typeface="Arial" charset="0"/>
                <a:ea typeface="Arial" charset="0"/>
                <a:cs typeface="Arial" charset="0"/>
              </a:rPr>
              <a:t>Sub-headline #2</a:t>
            </a:r>
          </a:p>
        </p:txBody>
      </p:sp>
      <p:cxnSp>
        <p:nvCxnSpPr>
          <p:cNvPr id="12" name="Lige forbindelse 4">
            <a:extLst>
              <a:ext uri="{FF2B5EF4-FFF2-40B4-BE49-F238E27FC236}">
                <a16:creationId xmlns:a16="http://schemas.microsoft.com/office/drawing/2014/main" id="{04012533-A9E7-8144-9B5E-D34967503F58}"/>
              </a:ext>
            </a:extLst>
          </p:cNvPr>
          <p:cNvCxnSpPr/>
          <p:nvPr/>
        </p:nvCxnSpPr>
        <p:spPr>
          <a:xfrm>
            <a:off x="587375" y="1907452"/>
            <a:ext cx="4835525"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14" name="Rektangel 7">
            <a:extLst>
              <a:ext uri="{FF2B5EF4-FFF2-40B4-BE49-F238E27FC236}">
                <a16:creationId xmlns:a16="http://schemas.microsoft.com/office/drawing/2014/main" id="{7B156928-D336-294B-B556-59AECC247695}"/>
              </a:ext>
            </a:extLst>
          </p:cNvPr>
          <p:cNvSpPr/>
          <p:nvPr/>
        </p:nvSpPr>
        <p:spPr>
          <a:xfrm>
            <a:off x="527050" y="1584287"/>
            <a:ext cx="4895849" cy="323165"/>
          </a:xfrm>
          <a:prstGeom prst="rect">
            <a:avLst/>
          </a:prstGeom>
        </p:spPr>
        <p:txBody>
          <a:bodyPr wrap="square" anchor="b">
            <a:spAutoFit/>
          </a:bodyPr>
          <a:lstStyle/>
          <a:p>
            <a:r>
              <a:rPr lang="en-US" sz="1500" b="1" dirty="0">
                <a:solidFill>
                  <a:schemeClr val="tx1">
                    <a:lumMod val="75000"/>
                    <a:lumOff val="25000"/>
                  </a:schemeClr>
                </a:solidFill>
                <a:latin typeface="Arial" charset="0"/>
                <a:ea typeface="Arial" charset="0"/>
                <a:cs typeface="Arial" charset="0"/>
              </a:rPr>
              <a:t>Sub-headline #1</a:t>
            </a:r>
          </a:p>
        </p:txBody>
      </p:sp>
      <p:cxnSp>
        <p:nvCxnSpPr>
          <p:cNvPr id="15" name="Lige forbindelse 12">
            <a:extLst>
              <a:ext uri="{FF2B5EF4-FFF2-40B4-BE49-F238E27FC236}">
                <a16:creationId xmlns:a16="http://schemas.microsoft.com/office/drawing/2014/main" id="{29925C68-7035-E343-ACB9-93BB7BCE5B4F}"/>
              </a:ext>
            </a:extLst>
          </p:cNvPr>
          <p:cNvCxnSpPr/>
          <p:nvPr/>
        </p:nvCxnSpPr>
        <p:spPr>
          <a:xfrm>
            <a:off x="6734186" y="1907452"/>
            <a:ext cx="4835525"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8348299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9D0CB5B-FD57-42DD-A8AC-D9A2ECEB4A18}"/>
              </a:ext>
            </a:extLst>
          </p:cNvPr>
          <p:cNvGraphicFramePr>
            <a:graphicFrameLocks noChangeAspect="1"/>
          </p:cNvGraphicFramePr>
          <p:nvPr>
            <p:custDataLst>
              <p:tags r:id="rId2"/>
            </p:custDataLst>
            <p:extLst>
              <p:ext uri="{D42A27DB-BD31-4B8C-83A1-F6EECF244321}">
                <p14:modId xmlns:p14="http://schemas.microsoft.com/office/powerpoint/2010/main" val="683475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98" name="think-cell Slide" r:id="rId15" imgW="592" imgH="591" progId="TCLayout.ActiveDocument.1">
                  <p:embed/>
                </p:oleObj>
              </mc:Choice>
              <mc:Fallback>
                <p:oleObj name="think-cell Slide" r:id="rId15" imgW="592" imgH="59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99C337-F5A6-4706-B02A-9FD953437D8D}"/>
              </a:ext>
            </a:extLst>
          </p:cNvPr>
          <p:cNvSpPr>
            <a:spLocks noGrp="1"/>
          </p:cNvSpPr>
          <p:nvPr>
            <p:ph type="title"/>
          </p:nvPr>
        </p:nvSpPr>
        <p:spPr/>
        <p:txBody>
          <a:bodyPr/>
          <a:lstStyle/>
          <a:p>
            <a:r>
              <a:rPr lang="da-DK" dirty="0"/>
              <a:t>Agenda</a:t>
            </a:r>
            <a:endParaRPr lang="en-DK" dirty="0"/>
          </a:p>
        </p:txBody>
      </p:sp>
      <p:grpSp>
        <p:nvGrpSpPr>
          <p:cNvPr id="14" name="Group 13">
            <a:extLst>
              <a:ext uri="{FF2B5EF4-FFF2-40B4-BE49-F238E27FC236}">
                <a16:creationId xmlns:a16="http://schemas.microsoft.com/office/drawing/2014/main" id="{AC039D63-F18E-4DA5-ACFF-AEE7E90CA200}"/>
              </a:ext>
            </a:extLst>
          </p:cNvPr>
          <p:cNvGrpSpPr/>
          <p:nvPr/>
        </p:nvGrpSpPr>
        <p:grpSpPr>
          <a:xfrm>
            <a:off x="2128059" y="2301725"/>
            <a:ext cx="3967941" cy="2254550"/>
            <a:chOff x="3930968" y="2163823"/>
            <a:chExt cx="2170808" cy="2254550"/>
          </a:xfrm>
        </p:grpSpPr>
        <p:sp>
          <p:nvSpPr>
            <p:cNvPr id="3" name="Rectangle 2">
              <a:hlinkClick r:id="" action="ppaction://noaction"/>
              <a:extLst>
                <a:ext uri="{FF2B5EF4-FFF2-40B4-BE49-F238E27FC236}">
                  <a16:creationId xmlns:a16="http://schemas.microsoft.com/office/drawing/2014/main" id="{E36979C8-EF48-4A34-9F31-72CB743D19BB}"/>
                </a:ext>
              </a:extLst>
            </p:cNvPr>
            <p:cNvSpPr/>
            <p:nvPr>
              <p:custDataLst>
                <p:tags r:id="rId3"/>
              </p:custDataLst>
            </p:nvPr>
          </p:nvSpPr>
          <p:spPr>
            <a:xfrm>
              <a:off x="4394577" y="4018263"/>
              <a:ext cx="170719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pPr>
                <a:spcBef>
                  <a:spcPct val="0"/>
                </a:spcBef>
                <a:spcAft>
                  <a:spcPct val="0"/>
                </a:spcAft>
              </a:pPr>
              <a:r>
                <a:rPr lang="en-US" sz="2400" b="1" dirty="0">
                  <a:solidFill>
                    <a:schemeClr val="tx1">
                      <a:lumMod val="100000"/>
                    </a:schemeClr>
                  </a:solidFill>
                  <a:latin typeface="Arial" panose="020B0604020202020204" pitchFamily="34" charset="0"/>
                </a:rPr>
                <a:t>Preliminary data-analysis</a:t>
              </a:r>
            </a:p>
          </p:txBody>
        </p:sp>
        <p:sp>
          <p:nvSpPr>
            <p:cNvPr id="4" name="Rectangle 3">
              <a:hlinkClick r:id="" action="ppaction://noaction"/>
              <a:extLst>
                <a:ext uri="{FF2B5EF4-FFF2-40B4-BE49-F238E27FC236}">
                  <a16:creationId xmlns:a16="http://schemas.microsoft.com/office/drawing/2014/main" id="{54E2F730-4766-4F52-99AA-D44342C77EE5}"/>
                </a:ext>
              </a:extLst>
            </p:cNvPr>
            <p:cNvSpPr/>
            <p:nvPr>
              <p:custDataLst>
                <p:tags r:id="rId4"/>
              </p:custDataLst>
            </p:nvPr>
          </p:nvSpPr>
          <p:spPr>
            <a:xfrm>
              <a:off x="3930968" y="4018263"/>
              <a:ext cx="400109" cy="400110"/>
            </a:xfrm>
            <a:prstGeom prst="rect">
              <a:avLst/>
            </a:prstGeom>
            <a:solidFill>
              <a:srgbClr val="00901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2400" b="1">
                  <a:solidFill>
                    <a:schemeClr val="bg1">
                      <a:lumMod val="100000"/>
                    </a:schemeClr>
                  </a:solidFill>
                  <a:latin typeface="Arial" panose="020B0604020202020204" pitchFamily="34" charset="0"/>
                </a:rPr>
                <a:t>5</a:t>
              </a:r>
            </a:p>
          </p:txBody>
        </p:sp>
        <p:sp>
          <p:nvSpPr>
            <p:cNvPr id="5" name="Rectangle 4">
              <a:hlinkClick r:id="" action="ppaction://noaction"/>
              <a:extLst>
                <a:ext uri="{FF2B5EF4-FFF2-40B4-BE49-F238E27FC236}">
                  <a16:creationId xmlns:a16="http://schemas.microsoft.com/office/drawing/2014/main" id="{0E987E57-F243-4B2C-B12C-DEB25750CA19}"/>
                </a:ext>
              </a:extLst>
            </p:cNvPr>
            <p:cNvSpPr/>
            <p:nvPr>
              <p:custDataLst>
                <p:tags r:id="rId5"/>
              </p:custDataLst>
            </p:nvPr>
          </p:nvSpPr>
          <p:spPr>
            <a:xfrm>
              <a:off x="4394577" y="3554653"/>
              <a:ext cx="170719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pPr>
                <a:spcBef>
                  <a:spcPct val="0"/>
                </a:spcBef>
                <a:spcAft>
                  <a:spcPct val="0"/>
                </a:spcAft>
              </a:pPr>
              <a:r>
                <a:rPr lang="en-US" sz="2400" b="1" dirty="0">
                  <a:solidFill>
                    <a:schemeClr val="tx1">
                      <a:lumMod val="100000"/>
                    </a:schemeClr>
                  </a:solidFill>
                  <a:latin typeface="Arial" panose="020B0604020202020204" pitchFamily="34" charset="0"/>
                </a:rPr>
                <a:t>Implementation plan</a:t>
              </a:r>
            </a:p>
          </p:txBody>
        </p:sp>
        <p:sp>
          <p:nvSpPr>
            <p:cNvPr id="6" name="Rectangle 5">
              <a:hlinkClick r:id="" action="ppaction://noaction"/>
              <a:extLst>
                <a:ext uri="{FF2B5EF4-FFF2-40B4-BE49-F238E27FC236}">
                  <a16:creationId xmlns:a16="http://schemas.microsoft.com/office/drawing/2014/main" id="{8AEB7614-77B2-48C8-9E7B-330D5019712D}"/>
                </a:ext>
              </a:extLst>
            </p:cNvPr>
            <p:cNvSpPr/>
            <p:nvPr>
              <p:custDataLst>
                <p:tags r:id="rId6"/>
              </p:custDataLst>
            </p:nvPr>
          </p:nvSpPr>
          <p:spPr>
            <a:xfrm>
              <a:off x="3930968" y="3554653"/>
              <a:ext cx="400109" cy="400110"/>
            </a:xfrm>
            <a:prstGeom prst="rect">
              <a:avLst/>
            </a:prstGeom>
            <a:solidFill>
              <a:srgbClr val="00901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2400" b="1">
                  <a:solidFill>
                    <a:schemeClr val="bg1">
                      <a:lumMod val="100000"/>
                    </a:schemeClr>
                  </a:solidFill>
                  <a:latin typeface="Arial" panose="020B0604020202020204" pitchFamily="34" charset="0"/>
                </a:rPr>
                <a:t>4</a:t>
              </a:r>
            </a:p>
          </p:txBody>
        </p:sp>
        <p:sp>
          <p:nvSpPr>
            <p:cNvPr id="7" name="Rectangle 6">
              <a:hlinkClick r:id="" action="ppaction://noaction"/>
              <a:extLst>
                <a:ext uri="{FF2B5EF4-FFF2-40B4-BE49-F238E27FC236}">
                  <a16:creationId xmlns:a16="http://schemas.microsoft.com/office/drawing/2014/main" id="{7302C522-2CAE-4CCE-A48C-17EA1D82B919}"/>
                </a:ext>
              </a:extLst>
            </p:cNvPr>
            <p:cNvSpPr/>
            <p:nvPr>
              <p:custDataLst>
                <p:tags r:id="rId7"/>
              </p:custDataLst>
            </p:nvPr>
          </p:nvSpPr>
          <p:spPr>
            <a:xfrm>
              <a:off x="4394577" y="3091043"/>
              <a:ext cx="170719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pPr>
                <a:spcBef>
                  <a:spcPct val="0"/>
                </a:spcBef>
                <a:spcAft>
                  <a:spcPct val="0"/>
                </a:spcAft>
              </a:pPr>
              <a:r>
                <a:rPr lang="en-US" sz="2400" b="1" dirty="0">
                  <a:solidFill>
                    <a:schemeClr val="tx1">
                      <a:lumMod val="100000"/>
                    </a:schemeClr>
                  </a:solidFill>
                  <a:latin typeface="Arial" panose="020B0604020202020204" pitchFamily="34" charset="0"/>
                </a:rPr>
                <a:t>Elements</a:t>
              </a:r>
            </a:p>
          </p:txBody>
        </p:sp>
        <p:sp>
          <p:nvSpPr>
            <p:cNvPr id="8" name="Rectangle 7">
              <a:hlinkClick r:id="" action="ppaction://noaction"/>
              <a:extLst>
                <a:ext uri="{FF2B5EF4-FFF2-40B4-BE49-F238E27FC236}">
                  <a16:creationId xmlns:a16="http://schemas.microsoft.com/office/drawing/2014/main" id="{C0B644C0-4FEB-41F5-8B26-7C761AA5C2F0}"/>
                </a:ext>
              </a:extLst>
            </p:cNvPr>
            <p:cNvSpPr/>
            <p:nvPr>
              <p:custDataLst>
                <p:tags r:id="rId8"/>
              </p:custDataLst>
            </p:nvPr>
          </p:nvSpPr>
          <p:spPr>
            <a:xfrm>
              <a:off x="3930968" y="3091043"/>
              <a:ext cx="400109" cy="400110"/>
            </a:xfrm>
            <a:prstGeom prst="rect">
              <a:avLst/>
            </a:prstGeom>
            <a:solidFill>
              <a:srgbClr val="00901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2400" b="1">
                  <a:solidFill>
                    <a:schemeClr val="bg1">
                      <a:lumMod val="100000"/>
                    </a:schemeClr>
                  </a:solidFill>
                  <a:latin typeface="Arial" panose="020B0604020202020204" pitchFamily="34" charset="0"/>
                </a:rPr>
                <a:t>3</a:t>
              </a:r>
            </a:p>
          </p:txBody>
        </p:sp>
        <p:sp>
          <p:nvSpPr>
            <p:cNvPr id="9" name="Rectangle 8">
              <a:hlinkClick r:id="" action="ppaction://noaction"/>
              <a:extLst>
                <a:ext uri="{FF2B5EF4-FFF2-40B4-BE49-F238E27FC236}">
                  <a16:creationId xmlns:a16="http://schemas.microsoft.com/office/drawing/2014/main" id="{191CF39D-1428-49E5-ABD9-72007BE4E00B}"/>
                </a:ext>
              </a:extLst>
            </p:cNvPr>
            <p:cNvSpPr/>
            <p:nvPr>
              <p:custDataLst>
                <p:tags r:id="rId9"/>
              </p:custDataLst>
            </p:nvPr>
          </p:nvSpPr>
          <p:spPr>
            <a:xfrm>
              <a:off x="4394577" y="2627433"/>
              <a:ext cx="170719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pPr>
                <a:spcBef>
                  <a:spcPct val="0"/>
                </a:spcBef>
                <a:spcAft>
                  <a:spcPct val="0"/>
                </a:spcAft>
              </a:pPr>
              <a:r>
                <a:rPr lang="en-US" sz="2400" b="1" dirty="0">
                  <a:solidFill>
                    <a:schemeClr val="tx1">
                      <a:lumMod val="100000"/>
                    </a:schemeClr>
                  </a:solidFill>
                  <a:latin typeface="Arial" panose="020B0604020202020204" pitchFamily="34" charset="0"/>
                </a:rPr>
                <a:t>Visualization</a:t>
              </a:r>
            </a:p>
          </p:txBody>
        </p:sp>
        <p:sp>
          <p:nvSpPr>
            <p:cNvPr id="10" name="Rectangle 9">
              <a:hlinkClick r:id="" action="ppaction://noaction"/>
              <a:extLst>
                <a:ext uri="{FF2B5EF4-FFF2-40B4-BE49-F238E27FC236}">
                  <a16:creationId xmlns:a16="http://schemas.microsoft.com/office/drawing/2014/main" id="{933EA0D2-C413-4018-A202-54147B9D015F}"/>
                </a:ext>
              </a:extLst>
            </p:cNvPr>
            <p:cNvSpPr/>
            <p:nvPr>
              <p:custDataLst>
                <p:tags r:id="rId10"/>
              </p:custDataLst>
            </p:nvPr>
          </p:nvSpPr>
          <p:spPr>
            <a:xfrm>
              <a:off x="3930968" y="2627433"/>
              <a:ext cx="400109" cy="400110"/>
            </a:xfrm>
            <a:prstGeom prst="rect">
              <a:avLst/>
            </a:prstGeom>
            <a:solidFill>
              <a:srgbClr val="00901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2400" b="1" dirty="0">
                  <a:solidFill>
                    <a:schemeClr val="bg1">
                      <a:lumMod val="100000"/>
                    </a:schemeClr>
                  </a:solidFill>
                  <a:latin typeface="Arial" panose="020B0604020202020204" pitchFamily="34" charset="0"/>
                </a:rPr>
                <a:t>2</a:t>
              </a:r>
            </a:p>
          </p:txBody>
        </p:sp>
        <p:sp>
          <p:nvSpPr>
            <p:cNvPr id="11" name="Rectangle 10">
              <a:hlinkClick r:id="" action="ppaction://noaction"/>
              <a:extLst>
                <a:ext uri="{FF2B5EF4-FFF2-40B4-BE49-F238E27FC236}">
                  <a16:creationId xmlns:a16="http://schemas.microsoft.com/office/drawing/2014/main" id="{23C70DB1-84B3-4B45-B470-C39ACEEB435B}"/>
                </a:ext>
              </a:extLst>
            </p:cNvPr>
            <p:cNvSpPr/>
            <p:nvPr>
              <p:custDataLst>
                <p:tags r:id="rId11"/>
              </p:custDataLst>
            </p:nvPr>
          </p:nvSpPr>
          <p:spPr>
            <a:xfrm>
              <a:off x="4394577" y="2163823"/>
              <a:ext cx="170719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pPr>
                <a:spcBef>
                  <a:spcPct val="0"/>
                </a:spcBef>
                <a:spcAft>
                  <a:spcPct val="0"/>
                </a:spcAft>
              </a:pPr>
              <a:r>
                <a:rPr lang="en-US" sz="2400" b="1" dirty="0">
                  <a:solidFill>
                    <a:schemeClr val="tx1">
                      <a:lumMod val="100000"/>
                    </a:schemeClr>
                  </a:solidFill>
                  <a:latin typeface="Arial" panose="020B0604020202020204" pitchFamily="34" charset="0"/>
                </a:rPr>
                <a:t>Idea</a:t>
              </a:r>
            </a:p>
          </p:txBody>
        </p:sp>
        <p:sp>
          <p:nvSpPr>
            <p:cNvPr id="12" name="Rectangle 11">
              <a:hlinkClick r:id="" action="ppaction://noaction"/>
              <a:extLst>
                <a:ext uri="{FF2B5EF4-FFF2-40B4-BE49-F238E27FC236}">
                  <a16:creationId xmlns:a16="http://schemas.microsoft.com/office/drawing/2014/main" id="{CB05E31B-4380-4702-B53B-94D24CDB6C60}"/>
                </a:ext>
              </a:extLst>
            </p:cNvPr>
            <p:cNvSpPr/>
            <p:nvPr>
              <p:custDataLst>
                <p:tags r:id="rId12"/>
              </p:custDataLst>
            </p:nvPr>
          </p:nvSpPr>
          <p:spPr>
            <a:xfrm>
              <a:off x="3930968" y="2163823"/>
              <a:ext cx="400109" cy="400110"/>
            </a:xfrm>
            <a:prstGeom prst="rect">
              <a:avLst/>
            </a:prstGeom>
            <a:solidFill>
              <a:srgbClr val="009015"/>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2400" b="1" dirty="0">
                  <a:solidFill>
                    <a:schemeClr val="bg1">
                      <a:lumMod val="100000"/>
                    </a:schemeClr>
                  </a:solidFill>
                  <a:latin typeface="Arial" panose="020B0604020202020204" pitchFamily="34" charset="0"/>
                </a:rPr>
                <a:t>1</a:t>
              </a:r>
            </a:p>
          </p:txBody>
        </p:sp>
      </p:grpSp>
      <p:pic>
        <p:nvPicPr>
          <p:cNvPr id="16" name="Billede 15">
            <a:extLst>
              <a:ext uri="{FF2B5EF4-FFF2-40B4-BE49-F238E27FC236}">
                <a16:creationId xmlns:a16="http://schemas.microsoft.com/office/drawing/2014/main" id="{FB1EA375-8F4B-CF4D-AE2A-FA1765BDBEA5}"/>
              </a:ext>
            </a:extLst>
          </p:cNvPr>
          <p:cNvPicPr>
            <a:picLocks noChangeAspect="1"/>
          </p:cNvPicPr>
          <p:nvPr/>
        </p:nvPicPr>
        <p:blipFill>
          <a:blip r:embed="rId17"/>
          <a:stretch>
            <a:fillRect/>
          </a:stretch>
        </p:blipFill>
        <p:spPr>
          <a:xfrm>
            <a:off x="7159379" y="1140282"/>
            <a:ext cx="4473526" cy="5590506"/>
          </a:xfrm>
          <a:prstGeom prst="rect">
            <a:avLst/>
          </a:prstGeom>
        </p:spPr>
      </p:pic>
    </p:spTree>
    <p:extLst>
      <p:ext uri="{BB962C8B-B14F-4D97-AF65-F5344CB8AC3E}">
        <p14:creationId xmlns:p14="http://schemas.microsoft.com/office/powerpoint/2010/main" val="937554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p:cNvSpPr>
            <a:spLocks noGrp="1"/>
          </p:cNvSpPr>
          <p:nvPr>
            <p:ph type="body" sz="quarter" idx="13"/>
          </p:nvPr>
        </p:nvSpPr>
        <p:spPr/>
        <p:txBody>
          <a:bodyPr/>
          <a:lstStyle/>
          <a:p>
            <a:endParaRPr lang="en-US"/>
          </a:p>
        </p:txBody>
      </p:sp>
      <p:sp>
        <p:nvSpPr>
          <p:cNvPr id="5" name="Pladsholder til tekst 4"/>
          <p:cNvSpPr>
            <a:spLocks noGrp="1"/>
          </p:cNvSpPr>
          <p:nvPr>
            <p:ph type="body" sz="quarter" idx="15"/>
          </p:nvPr>
        </p:nvSpPr>
        <p:spPr/>
        <p:txBody>
          <a:bodyPr/>
          <a:lstStyle/>
          <a:p>
            <a:endParaRPr lang="en-US"/>
          </a:p>
        </p:txBody>
      </p:sp>
      <p:sp>
        <p:nvSpPr>
          <p:cNvPr id="2" name="Title 1"/>
          <p:cNvSpPr>
            <a:spLocks noGrp="1"/>
          </p:cNvSpPr>
          <p:nvPr>
            <p:ph type="title"/>
          </p:nvPr>
        </p:nvSpPr>
        <p:spPr>
          <a:xfrm>
            <a:off x="527050" y="127212"/>
            <a:ext cx="9314374" cy="925103"/>
          </a:xfrm>
          <a:prstGeom prst="rect">
            <a:avLst/>
          </a:prstGeom>
        </p:spPr>
        <p:txBody>
          <a:bodyPr/>
          <a:lstStyle/>
          <a:p>
            <a:endParaRPr lang="en-GB" dirty="0"/>
          </a:p>
        </p:txBody>
      </p:sp>
      <p:grpSp>
        <p:nvGrpSpPr>
          <p:cNvPr id="6" name="Group 5"/>
          <p:cNvGrpSpPr/>
          <p:nvPr/>
        </p:nvGrpSpPr>
        <p:grpSpPr>
          <a:xfrm>
            <a:off x="7572096" y="1790532"/>
            <a:ext cx="5162092" cy="1107996"/>
            <a:chOff x="7503320" y="1790532"/>
            <a:chExt cx="5162092" cy="1107996"/>
          </a:xfrm>
        </p:grpSpPr>
        <p:sp>
          <p:nvSpPr>
            <p:cNvPr id="7" name="Rectangle 6"/>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8" name="Rectangle 7"/>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1</a:t>
              </a:r>
              <a:endParaRPr lang="da-DK" sz="6600" b="1" dirty="0">
                <a:solidFill>
                  <a:schemeClr val="accent1"/>
                </a:solidFill>
                <a:latin typeface="Arial" panose="020B0604020202020204" pitchFamily="34" charset="0"/>
                <a:cs typeface="Arial" panose="020B0604020202020204" pitchFamily="34" charset="0"/>
              </a:endParaRPr>
            </a:p>
          </p:txBody>
        </p:sp>
        <p:sp>
          <p:nvSpPr>
            <p:cNvPr id="9" name="Rectangle 8"/>
            <p:cNvSpPr/>
            <p:nvPr/>
          </p:nvSpPr>
          <p:spPr>
            <a:xfrm>
              <a:off x="8132277" y="1867160"/>
              <a:ext cx="3719483" cy="936194"/>
            </a:xfrm>
            <a:prstGeom prst="rect">
              <a:avLst/>
            </a:prstGeom>
          </p:spPr>
          <p:txBody>
            <a:bodyPr wrap="square" anchor="ctr" anchorCtr="0">
              <a:no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10" name="Group 9"/>
          <p:cNvGrpSpPr/>
          <p:nvPr/>
        </p:nvGrpSpPr>
        <p:grpSpPr>
          <a:xfrm>
            <a:off x="7572096" y="3133256"/>
            <a:ext cx="5162092" cy="1107996"/>
            <a:chOff x="7503320" y="1790532"/>
            <a:chExt cx="5162092" cy="1107996"/>
          </a:xfrm>
        </p:grpSpPr>
        <p:sp>
          <p:nvSpPr>
            <p:cNvPr id="11" name="Rectangle 10"/>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12" name="Rectangle 11"/>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2</a:t>
              </a:r>
              <a:endParaRPr lang="da-DK" sz="6600" b="1" dirty="0">
                <a:solidFill>
                  <a:schemeClr val="accent1"/>
                </a:solidFill>
                <a:latin typeface="Arial" panose="020B0604020202020204" pitchFamily="34" charset="0"/>
                <a:cs typeface="Arial" panose="020B0604020202020204" pitchFamily="34" charset="0"/>
              </a:endParaRPr>
            </a:p>
          </p:txBody>
        </p:sp>
        <p:sp>
          <p:nvSpPr>
            <p:cNvPr id="13" name="Rectangle 12"/>
            <p:cNvSpPr/>
            <p:nvPr/>
          </p:nvSpPr>
          <p:spPr>
            <a:xfrm>
              <a:off x="8132277" y="1867160"/>
              <a:ext cx="3719483" cy="936194"/>
            </a:xfrm>
            <a:prstGeom prst="rect">
              <a:avLst/>
            </a:prstGeom>
          </p:spPr>
          <p:txBody>
            <a:bodyPr wrap="square" anchor="ctr" anchorCtr="0">
              <a:no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14" name="Group 13"/>
          <p:cNvGrpSpPr/>
          <p:nvPr/>
        </p:nvGrpSpPr>
        <p:grpSpPr>
          <a:xfrm>
            <a:off x="7572096" y="4475980"/>
            <a:ext cx="5162092" cy="1107996"/>
            <a:chOff x="7503320" y="1790532"/>
            <a:chExt cx="5162092" cy="1107996"/>
          </a:xfrm>
        </p:grpSpPr>
        <p:sp>
          <p:nvSpPr>
            <p:cNvPr id="15" name="Rectangle 14"/>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16" name="Rectangle 15"/>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3</a:t>
              </a:r>
              <a:endParaRPr lang="da-DK" sz="6600" b="1" dirty="0">
                <a:solidFill>
                  <a:schemeClr val="accent1"/>
                </a:solidFill>
                <a:latin typeface="Arial" panose="020B0604020202020204" pitchFamily="34" charset="0"/>
                <a:cs typeface="Arial" panose="020B0604020202020204" pitchFamily="34" charset="0"/>
              </a:endParaRPr>
            </a:p>
          </p:txBody>
        </p:sp>
        <p:sp>
          <p:nvSpPr>
            <p:cNvPr id="17" name="Rectangle 16"/>
            <p:cNvSpPr/>
            <p:nvPr/>
          </p:nvSpPr>
          <p:spPr>
            <a:xfrm>
              <a:off x="8132277" y="1867160"/>
              <a:ext cx="3719483" cy="936194"/>
            </a:xfrm>
            <a:prstGeom prst="rect">
              <a:avLst/>
            </a:prstGeom>
          </p:spPr>
          <p:txBody>
            <a:bodyPr wrap="square" anchor="ctr" anchorCtr="0">
              <a:no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8" name="Trekant 17"/>
          <p:cNvSpPr/>
          <p:nvPr/>
        </p:nvSpPr>
        <p:spPr>
          <a:xfrm rot="5400000">
            <a:off x="5006232" y="3491677"/>
            <a:ext cx="3927096" cy="39115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Lige forbindelse 4">
            <a:extLst>
              <a:ext uri="{FF2B5EF4-FFF2-40B4-BE49-F238E27FC236}">
                <a16:creationId xmlns:a16="http://schemas.microsoft.com/office/drawing/2014/main" id="{3E702488-ECC5-B142-A2AD-3E99D21CD079}"/>
              </a:ext>
            </a:extLst>
          </p:cNvPr>
          <p:cNvCxnSpPr>
            <a:cxnSpLocks/>
          </p:cNvCxnSpPr>
          <p:nvPr/>
        </p:nvCxnSpPr>
        <p:spPr>
          <a:xfrm>
            <a:off x="587375" y="1907452"/>
            <a:ext cx="5508625"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24" name="Rektangel 7">
            <a:extLst>
              <a:ext uri="{FF2B5EF4-FFF2-40B4-BE49-F238E27FC236}">
                <a16:creationId xmlns:a16="http://schemas.microsoft.com/office/drawing/2014/main" id="{E7621F3F-496D-B845-BCE3-3664CCC03979}"/>
              </a:ext>
            </a:extLst>
          </p:cNvPr>
          <p:cNvSpPr/>
          <p:nvPr/>
        </p:nvSpPr>
        <p:spPr>
          <a:xfrm>
            <a:off x="527050" y="1584287"/>
            <a:ext cx="4895849" cy="323165"/>
          </a:xfrm>
          <a:prstGeom prst="rect">
            <a:avLst/>
          </a:prstGeom>
        </p:spPr>
        <p:txBody>
          <a:bodyPr wrap="square" anchor="b">
            <a:spAutoFit/>
          </a:bodyPr>
          <a:lstStyle/>
          <a:p>
            <a:r>
              <a:rPr lang="en-US" sz="1500" b="1" dirty="0">
                <a:solidFill>
                  <a:schemeClr val="tx1">
                    <a:lumMod val="75000"/>
                    <a:lumOff val="25000"/>
                  </a:schemeClr>
                </a:solidFill>
                <a:latin typeface="Arial" charset="0"/>
                <a:ea typeface="Arial" charset="0"/>
                <a:cs typeface="Arial" charset="0"/>
              </a:rPr>
              <a:t>Sub-headline #1</a:t>
            </a:r>
          </a:p>
        </p:txBody>
      </p:sp>
    </p:spTree>
    <p:extLst>
      <p:ext uri="{BB962C8B-B14F-4D97-AF65-F5344CB8AC3E}">
        <p14:creationId xmlns:p14="http://schemas.microsoft.com/office/powerpoint/2010/main" val="14424890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p:cNvSpPr>
            <a:spLocks noGrp="1"/>
          </p:cNvSpPr>
          <p:nvPr>
            <p:ph type="body" sz="quarter" idx="13"/>
          </p:nvPr>
        </p:nvSpPr>
        <p:spPr/>
        <p:txBody>
          <a:bodyPr/>
          <a:lstStyle/>
          <a:p>
            <a:endParaRPr lang="en-US"/>
          </a:p>
        </p:txBody>
      </p:sp>
      <p:sp>
        <p:nvSpPr>
          <p:cNvPr id="5" name="Pladsholder til tekst 4"/>
          <p:cNvSpPr>
            <a:spLocks noGrp="1"/>
          </p:cNvSpPr>
          <p:nvPr>
            <p:ph type="body" sz="quarter" idx="15"/>
          </p:nvPr>
        </p:nvSpPr>
        <p:spPr/>
        <p:txBody>
          <a:bodyPr/>
          <a:lstStyle/>
          <a:p>
            <a:endParaRPr lang="en-US"/>
          </a:p>
        </p:txBody>
      </p:sp>
      <p:sp>
        <p:nvSpPr>
          <p:cNvPr id="2" name="Title 1"/>
          <p:cNvSpPr>
            <a:spLocks noGrp="1"/>
          </p:cNvSpPr>
          <p:nvPr>
            <p:ph type="title"/>
          </p:nvPr>
        </p:nvSpPr>
        <p:spPr>
          <a:xfrm>
            <a:off x="527050" y="127212"/>
            <a:ext cx="9314374" cy="925103"/>
          </a:xfrm>
          <a:prstGeom prst="rect">
            <a:avLst/>
          </a:prstGeom>
        </p:spPr>
        <p:txBody>
          <a:bodyPr/>
          <a:lstStyle/>
          <a:p>
            <a:endParaRPr lang="en-GB" dirty="0"/>
          </a:p>
        </p:txBody>
      </p:sp>
      <p:sp>
        <p:nvSpPr>
          <p:cNvPr id="7" name="Rectangle 6"/>
          <p:cNvSpPr/>
          <p:nvPr/>
        </p:nvSpPr>
        <p:spPr>
          <a:xfrm>
            <a:off x="334964" y="4781271"/>
            <a:ext cx="11526996" cy="1095815"/>
          </a:xfrm>
          <a:prstGeom prst="rect">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bg1"/>
              </a:solidFill>
              <a:latin typeface="Arial" panose="020B0604020202020204" pitchFamily="34" charset="0"/>
              <a:cs typeface="Arial" panose="020B0604020202020204" pitchFamily="34" charset="0"/>
            </a:endParaRPr>
          </a:p>
        </p:txBody>
      </p:sp>
      <p:grpSp>
        <p:nvGrpSpPr>
          <p:cNvPr id="8" name="Group 7"/>
          <p:cNvGrpSpPr/>
          <p:nvPr/>
        </p:nvGrpSpPr>
        <p:grpSpPr>
          <a:xfrm>
            <a:off x="4430324" y="4781271"/>
            <a:ext cx="3580786" cy="1361346"/>
            <a:chOff x="4630552" y="4567263"/>
            <a:chExt cx="3580786" cy="1361346"/>
          </a:xfrm>
        </p:grpSpPr>
        <p:sp>
          <p:nvSpPr>
            <p:cNvPr id="9" name="Rectangle 8"/>
            <p:cNvSpPr/>
            <p:nvPr/>
          </p:nvSpPr>
          <p:spPr>
            <a:xfrm>
              <a:off x="4630552" y="4567263"/>
              <a:ext cx="655949" cy="1107996"/>
            </a:xfrm>
            <a:prstGeom prst="rect">
              <a:avLst/>
            </a:prstGeom>
          </p:spPr>
          <p:txBody>
            <a:bodyPr wrap="none">
              <a:spAutoFit/>
            </a:bodyPr>
            <a:lstStyle/>
            <a:p>
              <a:r>
                <a:rPr lang="en-US" sz="6600" b="1" kern="0" dirty="0">
                  <a:solidFill>
                    <a:schemeClr val="bg1"/>
                  </a:solidFill>
                  <a:latin typeface="Arial" panose="020B0604020202020204" pitchFamily="34" charset="0"/>
                  <a:ea typeface="Verdana" panose="020B0604030504040204" pitchFamily="34" charset="0"/>
                  <a:cs typeface="Arial" panose="020B0604020202020204" pitchFamily="34" charset="0"/>
                </a:rPr>
                <a:t>2</a:t>
              </a:r>
              <a:endParaRPr lang="da-DK" sz="6600" b="1" dirty="0">
                <a:solidFill>
                  <a:schemeClr val="bg1"/>
                </a:solidFill>
              </a:endParaRPr>
            </a:p>
          </p:txBody>
        </p:sp>
        <p:sp>
          <p:nvSpPr>
            <p:cNvPr id="11" name="Content Placeholder 2"/>
            <p:cNvSpPr txBox="1">
              <a:spLocks/>
            </p:cNvSpPr>
            <p:nvPr/>
          </p:nvSpPr>
          <p:spPr>
            <a:xfrm>
              <a:off x="5286501" y="4767998"/>
              <a:ext cx="2924837" cy="11606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chemeClr val="bg1"/>
                  </a:solidFill>
                  <a:latin typeface="Arial" panose="020B0604020202020204" pitchFamily="34" charset="0"/>
                  <a:cs typeface="Arial" panose="020B0604020202020204" pitchFamily="34" charset="0"/>
                </a:rPr>
                <a:t>Productivity increase </a:t>
              </a:r>
              <a:br>
                <a:rPr lang="en-US" sz="20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volvement of outside, complementary knowledge leads</a:t>
              </a:r>
              <a:br>
                <a:rPr lang="en-US" sz="2000" dirty="0">
                  <a:solidFill>
                    <a:schemeClr val="bg1"/>
                  </a:solidFill>
                  <a:latin typeface="Arial" panose="020B0604020202020204" pitchFamily="34" charset="0"/>
                  <a:cs typeface="Arial" panose="020B0604020202020204" pitchFamily="34" charset="0"/>
                </a:rPr>
              </a:br>
              <a:endParaRPr lang="da-DK" sz="2000" dirty="0">
                <a:solidFill>
                  <a:schemeClr val="bg1"/>
                </a:solidFill>
                <a:latin typeface="Arial" panose="020B0604020202020204" pitchFamily="34" charset="0"/>
                <a:cs typeface="Arial" panose="020B0604020202020204" pitchFamily="34" charset="0"/>
              </a:endParaRPr>
            </a:p>
          </p:txBody>
        </p:sp>
      </p:grpSp>
      <p:grpSp>
        <p:nvGrpSpPr>
          <p:cNvPr id="12" name="Group 11"/>
          <p:cNvGrpSpPr/>
          <p:nvPr/>
        </p:nvGrpSpPr>
        <p:grpSpPr>
          <a:xfrm>
            <a:off x="655497" y="4781271"/>
            <a:ext cx="3529986" cy="1361346"/>
            <a:chOff x="4630552" y="4567263"/>
            <a:chExt cx="3529986" cy="1361346"/>
          </a:xfrm>
        </p:grpSpPr>
        <p:sp>
          <p:nvSpPr>
            <p:cNvPr id="13" name="Rectangle 12"/>
            <p:cNvSpPr/>
            <p:nvPr/>
          </p:nvSpPr>
          <p:spPr>
            <a:xfrm>
              <a:off x="4630552" y="4567263"/>
              <a:ext cx="655949" cy="1107996"/>
            </a:xfrm>
            <a:prstGeom prst="rect">
              <a:avLst/>
            </a:prstGeom>
          </p:spPr>
          <p:txBody>
            <a:bodyPr wrap="none">
              <a:spAutoFit/>
            </a:bodyPr>
            <a:lstStyle/>
            <a:p>
              <a:r>
                <a:rPr lang="en-US" sz="6600" b="1" kern="0" dirty="0">
                  <a:solidFill>
                    <a:schemeClr val="bg1"/>
                  </a:solidFill>
                  <a:latin typeface="Arial" panose="020B0604020202020204" pitchFamily="34" charset="0"/>
                  <a:ea typeface="Verdana" panose="020B0604030504040204" pitchFamily="34" charset="0"/>
                  <a:cs typeface="Arial" panose="020B0604020202020204" pitchFamily="34" charset="0"/>
                </a:rPr>
                <a:t>1</a:t>
              </a:r>
              <a:endParaRPr lang="da-DK" sz="6600" b="1" dirty="0">
                <a:solidFill>
                  <a:schemeClr val="bg1"/>
                </a:solidFill>
              </a:endParaRPr>
            </a:p>
          </p:txBody>
        </p:sp>
        <p:sp>
          <p:nvSpPr>
            <p:cNvPr id="15" name="Content Placeholder 2"/>
            <p:cNvSpPr txBox="1">
              <a:spLocks/>
            </p:cNvSpPr>
            <p:nvPr/>
          </p:nvSpPr>
          <p:spPr>
            <a:xfrm>
              <a:off x="5235701" y="4767998"/>
              <a:ext cx="2924837" cy="11606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chemeClr val="bg1"/>
                  </a:solidFill>
                  <a:latin typeface="Arial" panose="020B0604020202020204" pitchFamily="34" charset="0"/>
                  <a:cs typeface="Arial" panose="020B0604020202020204" pitchFamily="34" charset="0"/>
                </a:rPr>
                <a:t>Cost reduction </a:t>
              </a:r>
              <a:br>
                <a:rPr lang="en-US" sz="20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minimizing the costs of research and development through external</a:t>
              </a:r>
              <a:br>
                <a:rPr lang="en-US" sz="2000" dirty="0">
                  <a:solidFill>
                    <a:schemeClr val="bg1"/>
                  </a:solidFill>
                  <a:latin typeface="Arial" panose="020B0604020202020204" pitchFamily="34" charset="0"/>
                  <a:cs typeface="Arial" panose="020B0604020202020204" pitchFamily="34" charset="0"/>
                </a:rPr>
              </a:br>
              <a:endParaRPr lang="da-DK" sz="2000" dirty="0">
                <a:solidFill>
                  <a:schemeClr val="bg1"/>
                </a:solidFill>
                <a:latin typeface="Arial" panose="020B0604020202020204" pitchFamily="34" charset="0"/>
                <a:cs typeface="Arial" panose="020B0604020202020204" pitchFamily="34" charset="0"/>
              </a:endParaRPr>
            </a:p>
          </p:txBody>
        </p:sp>
      </p:grpSp>
      <p:sp>
        <p:nvSpPr>
          <p:cNvPr id="16" name="Content Placeholder 2"/>
          <p:cNvSpPr txBox="1">
            <a:spLocks/>
          </p:cNvSpPr>
          <p:nvPr/>
        </p:nvSpPr>
        <p:spPr>
          <a:xfrm>
            <a:off x="8797601" y="4982006"/>
            <a:ext cx="3571385" cy="11606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chemeClr val="bg1"/>
                </a:solidFill>
                <a:latin typeface="Arial" panose="020B0604020202020204" pitchFamily="34" charset="0"/>
                <a:cs typeface="Arial" panose="020B0604020202020204" pitchFamily="34" charset="0"/>
              </a:rPr>
              <a:t>Differentiation</a:t>
            </a:r>
            <a:br>
              <a:rPr lang="en-US" sz="20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BI can utilize external and internal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sources of knowledge and</a:t>
            </a:r>
            <a:endParaRPr lang="da-DK" sz="1400" dirty="0">
              <a:solidFill>
                <a:schemeClr val="bg1"/>
              </a:solidFill>
              <a:latin typeface="Arial" panose="020B0604020202020204" pitchFamily="34" charset="0"/>
              <a:cs typeface="Arial" panose="020B0604020202020204" pitchFamily="34" charset="0"/>
            </a:endParaRPr>
          </a:p>
          <a:p>
            <a:pPr marL="0" indent="0">
              <a:buNone/>
            </a:pPr>
            <a:br>
              <a:rPr lang="en-US" sz="1200" dirty="0">
                <a:solidFill>
                  <a:schemeClr val="bg1"/>
                </a:solidFill>
                <a:latin typeface="Arial" panose="020B0604020202020204" pitchFamily="34" charset="0"/>
                <a:cs typeface="Arial" panose="020B0604020202020204" pitchFamily="34" charset="0"/>
              </a:rPr>
            </a:br>
            <a:br>
              <a:rPr lang="en-US" sz="2000" dirty="0">
                <a:solidFill>
                  <a:schemeClr val="bg1"/>
                </a:solidFill>
                <a:latin typeface="Arial" panose="020B0604020202020204" pitchFamily="34" charset="0"/>
                <a:cs typeface="Arial" panose="020B0604020202020204" pitchFamily="34" charset="0"/>
              </a:rPr>
            </a:br>
            <a:endParaRPr lang="da-DK" sz="2000" dirty="0">
              <a:solidFill>
                <a:schemeClr val="bg1"/>
              </a:solidFill>
              <a:latin typeface="Arial" panose="020B0604020202020204" pitchFamily="34" charset="0"/>
              <a:cs typeface="Arial" panose="020B0604020202020204" pitchFamily="34" charset="0"/>
            </a:endParaRPr>
          </a:p>
        </p:txBody>
      </p:sp>
      <p:sp>
        <p:nvSpPr>
          <p:cNvPr id="17" name="Rectangle 16"/>
          <p:cNvSpPr/>
          <p:nvPr/>
        </p:nvSpPr>
        <p:spPr>
          <a:xfrm>
            <a:off x="8205152" y="4769090"/>
            <a:ext cx="655949" cy="1107996"/>
          </a:xfrm>
          <a:prstGeom prst="rect">
            <a:avLst/>
          </a:prstGeom>
        </p:spPr>
        <p:txBody>
          <a:bodyPr wrap="none">
            <a:spAutoFit/>
          </a:bodyPr>
          <a:lstStyle/>
          <a:p>
            <a:r>
              <a:rPr lang="en-US" sz="6600" b="1" kern="0" dirty="0">
                <a:solidFill>
                  <a:schemeClr val="bg1"/>
                </a:solidFill>
                <a:latin typeface="Arial" panose="020B0604020202020204" pitchFamily="34" charset="0"/>
                <a:ea typeface="Verdana" panose="020B0604030504040204" pitchFamily="34" charset="0"/>
                <a:cs typeface="Arial" panose="020B0604020202020204" pitchFamily="34" charset="0"/>
              </a:rPr>
              <a:t>3</a:t>
            </a:r>
            <a:endParaRPr lang="da-DK" sz="6600" b="1" dirty="0">
              <a:solidFill>
                <a:schemeClr val="bg1"/>
              </a:solidFill>
            </a:endParaRPr>
          </a:p>
        </p:txBody>
      </p:sp>
    </p:spTree>
    <p:extLst>
      <p:ext uri="{BB962C8B-B14F-4D97-AF65-F5344CB8AC3E}">
        <p14:creationId xmlns:p14="http://schemas.microsoft.com/office/powerpoint/2010/main" val="3680488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p:cNvSpPr/>
          <p:nvPr/>
        </p:nvSpPr>
        <p:spPr>
          <a:xfrm>
            <a:off x="-162046" y="-127322"/>
            <a:ext cx="12477509" cy="7106856"/>
          </a:xfrm>
          <a:prstGeom prst="rect">
            <a:avLst/>
          </a:prstGeom>
          <a:solidFill>
            <a:schemeClr val="bg1">
              <a:alpha val="69000"/>
            </a:schemeClr>
          </a:solidFill>
          <a:ln>
            <a:solidFill>
              <a:schemeClr val="accent5">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accent5">
                    <a:lumMod val="50000"/>
                  </a:schemeClr>
                </a:solidFill>
                <a:prstDash val="dash"/>
              </a:ln>
              <a:solidFill>
                <a:schemeClr val="accent5">
                  <a:lumMod val="50000"/>
                </a:schemeClr>
              </a:solidFill>
            </a:endParaRPr>
          </a:p>
        </p:txBody>
      </p:sp>
      <p:sp>
        <p:nvSpPr>
          <p:cNvPr id="7" name="Rektangel 6"/>
          <p:cNvSpPr/>
          <p:nvPr/>
        </p:nvSpPr>
        <p:spPr>
          <a:xfrm>
            <a:off x="0" y="1687035"/>
            <a:ext cx="12192000" cy="3073028"/>
          </a:xfrm>
          <a:prstGeom prst="rect">
            <a:avLst/>
          </a:prstGeom>
          <a:solidFill>
            <a:schemeClr val="accent6">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t>Takeaway / Key Question</a:t>
            </a:r>
          </a:p>
        </p:txBody>
      </p:sp>
      <p:sp>
        <p:nvSpPr>
          <p:cNvPr id="4" name="Rektangel 3"/>
          <p:cNvSpPr/>
          <p:nvPr/>
        </p:nvSpPr>
        <p:spPr>
          <a:xfrm>
            <a:off x="-246927" y="4976915"/>
            <a:ext cx="12685853" cy="1470183"/>
          </a:xfrm>
          <a:prstGeom prst="rect">
            <a:avLst/>
          </a:prstGeom>
          <a:solidFill>
            <a:schemeClr val="accent5">
              <a:lumMod val="75000"/>
              <a:alpha val="5019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READ:</a:t>
            </a:r>
          </a:p>
          <a:p>
            <a:pPr algn="ctr"/>
            <a:r>
              <a:rPr lang="da-DK" dirty="0"/>
              <a:t>THIS IS A </a:t>
            </a:r>
            <a:r>
              <a:rPr lang="da-DK" dirty="0" err="1"/>
              <a:t>takeaway</a:t>
            </a:r>
            <a:r>
              <a:rPr lang="da-DK" dirty="0"/>
              <a:t> ANIMATION SLIDE. YOU COPY THE WHITE SHADE AND BLUE BOX ON TO ANOTHER SLIDE.</a:t>
            </a:r>
          </a:p>
          <a:p>
            <a:pPr algn="ctr"/>
            <a:r>
              <a:rPr lang="da-DK" dirty="0"/>
              <a:t>DELETE THIS WHEN USING</a:t>
            </a:r>
            <a:endParaRPr lang="en-US" dirty="0"/>
          </a:p>
        </p:txBody>
      </p:sp>
    </p:spTree>
    <p:extLst>
      <p:ext uri="{BB962C8B-B14F-4D97-AF65-F5344CB8AC3E}">
        <p14:creationId xmlns:p14="http://schemas.microsoft.com/office/powerpoint/2010/main" val="3859214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p:cNvSpPr/>
          <p:nvPr/>
        </p:nvSpPr>
        <p:spPr>
          <a:xfrm>
            <a:off x="-294968" y="1120877"/>
            <a:ext cx="12816349" cy="4616246"/>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kstfelt 7"/>
          <p:cNvSpPr txBox="1"/>
          <p:nvPr/>
        </p:nvSpPr>
        <p:spPr>
          <a:xfrm>
            <a:off x="1993692" y="2896523"/>
            <a:ext cx="3365024" cy="1200329"/>
          </a:xfrm>
          <a:prstGeom prst="rect">
            <a:avLst/>
          </a:prstGeom>
          <a:noFill/>
        </p:spPr>
        <p:txBody>
          <a:bodyPr wrap="none" rtlCol="0">
            <a:spAutoFit/>
          </a:bodyPr>
          <a:lstStyle/>
          <a:p>
            <a:r>
              <a:rPr lang="da-DK" sz="7200" dirty="0" err="1">
                <a:solidFill>
                  <a:schemeClr val="bg1"/>
                </a:solidFill>
              </a:rPr>
              <a:t>Insights</a:t>
            </a:r>
            <a:endParaRPr lang="da-DK" sz="7200" dirty="0">
              <a:solidFill>
                <a:schemeClr val="bg1"/>
              </a:solidFill>
            </a:endParaRPr>
          </a:p>
        </p:txBody>
      </p:sp>
    </p:spTree>
    <p:extLst>
      <p:ext uri="{BB962C8B-B14F-4D97-AF65-F5344CB8AC3E}">
        <p14:creationId xmlns:p14="http://schemas.microsoft.com/office/powerpoint/2010/main" val="32615166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F96E59-A7B5-EA4D-A807-F07022569923}"/>
              </a:ext>
            </a:extLst>
          </p:cNvPr>
          <p:cNvSpPr>
            <a:spLocks noGrp="1"/>
          </p:cNvSpPr>
          <p:nvPr>
            <p:ph type="body" sz="quarter" idx="13"/>
          </p:nvPr>
        </p:nvSpPr>
        <p:spPr/>
        <p:txBody>
          <a:bodyPr/>
          <a:lstStyle/>
          <a:p>
            <a:endParaRPr lang="en-GB" dirty="0"/>
          </a:p>
        </p:txBody>
      </p:sp>
      <p:sp>
        <p:nvSpPr>
          <p:cNvPr id="3" name="Text Placeholder 2">
            <a:extLst>
              <a:ext uri="{FF2B5EF4-FFF2-40B4-BE49-F238E27FC236}">
                <a16:creationId xmlns:a16="http://schemas.microsoft.com/office/drawing/2014/main" id="{BE30CABB-71BA-484E-A2CF-C9624BD3D45F}"/>
              </a:ext>
            </a:extLst>
          </p:cNvPr>
          <p:cNvSpPr>
            <a:spLocks noGrp="1"/>
          </p:cNvSpPr>
          <p:nvPr>
            <p:ph type="body" sz="quarter" idx="15"/>
          </p:nvPr>
        </p:nvSpPr>
        <p:spPr/>
        <p:txBody>
          <a:bodyPr/>
          <a:lstStyle/>
          <a:p>
            <a:endParaRPr lang="en-GB" dirty="0"/>
          </a:p>
        </p:txBody>
      </p:sp>
      <p:sp>
        <p:nvSpPr>
          <p:cNvPr id="4" name="Title 3">
            <a:extLst>
              <a:ext uri="{FF2B5EF4-FFF2-40B4-BE49-F238E27FC236}">
                <a16:creationId xmlns:a16="http://schemas.microsoft.com/office/drawing/2014/main" id="{5691EFA2-AB68-0847-AEEE-70D5C0A4D977}"/>
              </a:ext>
            </a:extLst>
          </p:cNvPr>
          <p:cNvSpPr>
            <a:spLocks noGrp="1"/>
          </p:cNvSpPr>
          <p:nvPr>
            <p:ph type="title"/>
          </p:nvPr>
        </p:nvSpPr>
        <p:spPr>
          <a:xfrm>
            <a:off x="527050" y="127212"/>
            <a:ext cx="9314374" cy="925103"/>
          </a:xfrm>
          <a:prstGeom prst="rect">
            <a:avLst/>
          </a:prstGeom>
        </p:spPr>
        <p:txBody>
          <a:bodyPr/>
          <a:lstStyle/>
          <a:p>
            <a:r>
              <a:rPr lang="en-GB" dirty="0"/>
              <a:t>Two insights, one conclusion</a:t>
            </a:r>
          </a:p>
        </p:txBody>
      </p:sp>
      <p:sp>
        <p:nvSpPr>
          <p:cNvPr id="8" name="Rektangel 7">
            <a:extLst>
              <a:ext uri="{FF2B5EF4-FFF2-40B4-BE49-F238E27FC236}">
                <a16:creationId xmlns:a16="http://schemas.microsoft.com/office/drawing/2014/main" id="{1F0EBF51-1CAD-9746-BC00-7CC86834C09E}"/>
              </a:ext>
            </a:extLst>
          </p:cNvPr>
          <p:cNvSpPr/>
          <p:nvPr/>
        </p:nvSpPr>
        <p:spPr>
          <a:xfrm>
            <a:off x="6771804" y="1426606"/>
            <a:ext cx="4895849" cy="553998"/>
          </a:xfrm>
          <a:prstGeom prst="rect">
            <a:avLst/>
          </a:prstGeom>
        </p:spPr>
        <p:txBody>
          <a:bodyPr wrap="square" anchor="b">
            <a:spAutoFit/>
          </a:bodyPr>
          <a:lstStyle/>
          <a:p>
            <a:r>
              <a:rPr lang="en-US" sz="1500" b="1" dirty="0">
                <a:solidFill>
                  <a:schemeClr val="tx1">
                    <a:lumMod val="75000"/>
                    <a:lumOff val="25000"/>
                  </a:schemeClr>
                </a:solidFill>
                <a:latin typeface="Arial" charset="0"/>
                <a:ea typeface="Arial" charset="0"/>
                <a:cs typeface="Arial" charset="0"/>
              </a:rPr>
              <a:t>... which bolsters the Asian households to save more than any other region in the world</a:t>
            </a:r>
          </a:p>
        </p:txBody>
      </p:sp>
      <p:cxnSp>
        <p:nvCxnSpPr>
          <p:cNvPr id="9" name="Lige forbindelse 4">
            <a:extLst>
              <a:ext uri="{FF2B5EF4-FFF2-40B4-BE49-F238E27FC236}">
                <a16:creationId xmlns:a16="http://schemas.microsoft.com/office/drawing/2014/main" id="{BE57E1A8-01D9-6642-AD94-4DBCBB3F2B7D}"/>
              </a:ext>
            </a:extLst>
          </p:cNvPr>
          <p:cNvCxnSpPr/>
          <p:nvPr/>
        </p:nvCxnSpPr>
        <p:spPr>
          <a:xfrm>
            <a:off x="587375" y="1980604"/>
            <a:ext cx="4835525"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10" name="Rektangel 7">
            <a:extLst>
              <a:ext uri="{FF2B5EF4-FFF2-40B4-BE49-F238E27FC236}">
                <a16:creationId xmlns:a16="http://schemas.microsoft.com/office/drawing/2014/main" id="{FC6D5021-FC9B-C643-9DA9-7B7086DB189A}"/>
              </a:ext>
            </a:extLst>
          </p:cNvPr>
          <p:cNvSpPr/>
          <p:nvPr/>
        </p:nvSpPr>
        <p:spPr>
          <a:xfrm>
            <a:off x="527050" y="1426606"/>
            <a:ext cx="4895849" cy="553998"/>
          </a:xfrm>
          <a:prstGeom prst="rect">
            <a:avLst/>
          </a:prstGeom>
        </p:spPr>
        <p:txBody>
          <a:bodyPr wrap="square" anchor="b">
            <a:spAutoFit/>
          </a:bodyPr>
          <a:lstStyle/>
          <a:p>
            <a:r>
              <a:rPr lang="en-US" sz="1500" b="1" dirty="0">
                <a:solidFill>
                  <a:schemeClr val="tx1">
                    <a:lumMod val="75000"/>
                    <a:lumOff val="25000"/>
                  </a:schemeClr>
                </a:solidFill>
                <a:latin typeface="Arial" charset="0"/>
                <a:ea typeface="Arial" charset="0"/>
                <a:cs typeface="Arial" charset="0"/>
              </a:rPr>
              <a:t>Disposable income of the median Asian is rapidly rising...</a:t>
            </a:r>
          </a:p>
        </p:txBody>
      </p:sp>
      <p:sp>
        <p:nvSpPr>
          <p:cNvPr id="11" name="Trekant 9">
            <a:extLst>
              <a:ext uri="{FF2B5EF4-FFF2-40B4-BE49-F238E27FC236}">
                <a16:creationId xmlns:a16="http://schemas.microsoft.com/office/drawing/2014/main" id="{D94C64F9-57FE-1744-8DB9-3F3BB68D66D6}"/>
              </a:ext>
            </a:extLst>
          </p:cNvPr>
          <p:cNvSpPr/>
          <p:nvPr/>
        </p:nvSpPr>
        <p:spPr>
          <a:xfrm rot="10800000">
            <a:off x="1652912" y="4887165"/>
            <a:ext cx="8884798" cy="230927"/>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Lige forbindelse 12">
            <a:extLst>
              <a:ext uri="{FF2B5EF4-FFF2-40B4-BE49-F238E27FC236}">
                <a16:creationId xmlns:a16="http://schemas.microsoft.com/office/drawing/2014/main" id="{4C31DED1-3F8E-F242-87EC-9CC2D4B9F95D}"/>
              </a:ext>
            </a:extLst>
          </p:cNvPr>
          <p:cNvCxnSpPr/>
          <p:nvPr/>
        </p:nvCxnSpPr>
        <p:spPr>
          <a:xfrm>
            <a:off x="6734186" y="1980604"/>
            <a:ext cx="4835525"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graphicFrame>
        <p:nvGraphicFramePr>
          <p:cNvPr id="13" name="Chart 12">
            <a:extLst>
              <a:ext uri="{FF2B5EF4-FFF2-40B4-BE49-F238E27FC236}">
                <a16:creationId xmlns:a16="http://schemas.microsoft.com/office/drawing/2014/main" id="{93052D14-F73C-1943-8E54-0BB55D552999}"/>
              </a:ext>
            </a:extLst>
          </p:cNvPr>
          <p:cNvGraphicFramePr/>
          <p:nvPr/>
        </p:nvGraphicFramePr>
        <p:xfrm>
          <a:off x="620911" y="2119940"/>
          <a:ext cx="4801988" cy="2669014"/>
        </p:xfrm>
        <a:graphic>
          <a:graphicData uri="http://schemas.openxmlformats.org/drawingml/2006/chart">
            <c:chart xmlns:c="http://schemas.openxmlformats.org/drawingml/2006/chart" xmlns:r="http://schemas.openxmlformats.org/officeDocument/2006/relationships" r:id="rId3"/>
          </a:graphicData>
        </a:graphic>
      </p:graphicFrame>
      <p:sp>
        <p:nvSpPr>
          <p:cNvPr id="24" name="Rounded Rectangle 23">
            <a:extLst>
              <a:ext uri="{FF2B5EF4-FFF2-40B4-BE49-F238E27FC236}">
                <a16:creationId xmlns:a16="http://schemas.microsoft.com/office/drawing/2014/main" id="{14D4564E-A42D-464E-B695-1497F225959A}"/>
              </a:ext>
            </a:extLst>
          </p:cNvPr>
          <p:cNvSpPr/>
          <p:nvPr/>
        </p:nvSpPr>
        <p:spPr>
          <a:xfrm>
            <a:off x="620911" y="5265156"/>
            <a:ext cx="10948800" cy="53422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50" b="1" dirty="0"/>
              <a:t>How can banking provide digital solutions that allow the Asian middle-class to manage its increasing wealth?</a:t>
            </a:r>
          </a:p>
        </p:txBody>
      </p:sp>
      <p:sp>
        <p:nvSpPr>
          <p:cNvPr id="25" name="Oval 24">
            <a:extLst>
              <a:ext uri="{FF2B5EF4-FFF2-40B4-BE49-F238E27FC236}">
                <a16:creationId xmlns:a16="http://schemas.microsoft.com/office/drawing/2014/main" id="{04240A92-0223-0C4C-8587-743CCBE62AD8}"/>
              </a:ext>
            </a:extLst>
          </p:cNvPr>
          <p:cNvSpPr/>
          <p:nvPr/>
        </p:nvSpPr>
        <p:spPr bwMode="auto">
          <a:xfrm>
            <a:off x="364909" y="1294120"/>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1</a:t>
            </a:r>
          </a:p>
        </p:txBody>
      </p:sp>
      <p:sp>
        <p:nvSpPr>
          <p:cNvPr id="26" name="Oval 25">
            <a:extLst>
              <a:ext uri="{FF2B5EF4-FFF2-40B4-BE49-F238E27FC236}">
                <a16:creationId xmlns:a16="http://schemas.microsoft.com/office/drawing/2014/main" id="{13BA30A3-7D62-A44B-AC83-52E9BA186944}"/>
              </a:ext>
            </a:extLst>
          </p:cNvPr>
          <p:cNvSpPr/>
          <p:nvPr/>
        </p:nvSpPr>
        <p:spPr bwMode="auto">
          <a:xfrm>
            <a:off x="6612463" y="1319649"/>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2</a:t>
            </a:r>
          </a:p>
        </p:txBody>
      </p:sp>
      <p:sp>
        <p:nvSpPr>
          <p:cNvPr id="27" name="Oval 26">
            <a:extLst>
              <a:ext uri="{FF2B5EF4-FFF2-40B4-BE49-F238E27FC236}">
                <a16:creationId xmlns:a16="http://schemas.microsoft.com/office/drawing/2014/main" id="{366EE5A0-5D99-984E-956F-6A50C95E76E0}"/>
              </a:ext>
            </a:extLst>
          </p:cNvPr>
          <p:cNvSpPr/>
          <p:nvPr/>
        </p:nvSpPr>
        <p:spPr bwMode="auto">
          <a:xfrm>
            <a:off x="521530" y="5121823"/>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3</a:t>
            </a:r>
          </a:p>
        </p:txBody>
      </p:sp>
      <p:graphicFrame>
        <p:nvGraphicFramePr>
          <p:cNvPr id="28" name="Chart 27">
            <a:extLst>
              <a:ext uri="{FF2B5EF4-FFF2-40B4-BE49-F238E27FC236}">
                <a16:creationId xmlns:a16="http://schemas.microsoft.com/office/drawing/2014/main" id="{BCF7304C-4EAD-8E47-91EC-12CCAA0B8EE9}"/>
              </a:ext>
            </a:extLst>
          </p:cNvPr>
          <p:cNvGraphicFramePr/>
          <p:nvPr/>
        </p:nvGraphicFramePr>
        <p:xfrm>
          <a:off x="7098224" y="2119940"/>
          <a:ext cx="4471487" cy="2669014"/>
        </p:xfrm>
        <a:graphic>
          <a:graphicData uri="http://schemas.openxmlformats.org/drawingml/2006/chart">
            <c:chart xmlns:c="http://schemas.openxmlformats.org/drawingml/2006/chart" xmlns:r="http://schemas.openxmlformats.org/officeDocument/2006/relationships" r:id="rId4"/>
          </a:graphicData>
        </a:graphic>
      </p:graphicFrame>
      <p:pic>
        <p:nvPicPr>
          <p:cNvPr id="32" name="Picture 31">
            <a:extLst>
              <a:ext uri="{FF2B5EF4-FFF2-40B4-BE49-F238E27FC236}">
                <a16:creationId xmlns:a16="http://schemas.microsoft.com/office/drawing/2014/main" id="{BF606A96-7FEE-6040-B268-B3366E7C17A1}"/>
              </a:ext>
            </a:extLst>
          </p:cNvPr>
          <p:cNvPicPr>
            <a:picLocks noChangeAspect="1"/>
          </p:cNvPicPr>
          <p:nvPr/>
        </p:nvPicPr>
        <p:blipFill>
          <a:blip r:embed="rId5"/>
          <a:stretch>
            <a:fillRect/>
          </a:stretch>
        </p:blipFill>
        <p:spPr>
          <a:xfrm>
            <a:off x="6899127" y="3858812"/>
            <a:ext cx="382115" cy="119839"/>
          </a:xfrm>
          <a:prstGeom prst="rect">
            <a:avLst/>
          </a:prstGeom>
        </p:spPr>
      </p:pic>
      <p:sp>
        <p:nvSpPr>
          <p:cNvPr id="33" name="TextBox 32">
            <a:extLst>
              <a:ext uri="{FF2B5EF4-FFF2-40B4-BE49-F238E27FC236}">
                <a16:creationId xmlns:a16="http://schemas.microsoft.com/office/drawing/2014/main" id="{7223D075-778C-C947-80BC-3D8EDF786CB8}"/>
              </a:ext>
            </a:extLst>
          </p:cNvPr>
          <p:cNvSpPr txBox="1"/>
          <p:nvPr/>
        </p:nvSpPr>
        <p:spPr>
          <a:xfrm>
            <a:off x="6369804" y="3954725"/>
            <a:ext cx="991892" cy="338554"/>
          </a:xfrm>
          <a:prstGeom prst="rect">
            <a:avLst/>
          </a:prstGeom>
          <a:noFill/>
        </p:spPr>
        <p:txBody>
          <a:bodyPr wrap="square" rtlCol="0">
            <a:spAutoFit/>
          </a:bodyPr>
          <a:lstStyle/>
          <a:p>
            <a:pPr algn="r"/>
            <a:r>
              <a:rPr lang="en-GB" sz="800" dirty="0"/>
              <a:t>CORE MARKETS AVG.</a:t>
            </a:r>
          </a:p>
        </p:txBody>
      </p:sp>
      <p:pic>
        <p:nvPicPr>
          <p:cNvPr id="35" name="Picture 34">
            <a:extLst>
              <a:ext uri="{FF2B5EF4-FFF2-40B4-BE49-F238E27FC236}">
                <a16:creationId xmlns:a16="http://schemas.microsoft.com/office/drawing/2014/main" id="{67BE07B2-481E-BE4C-9B19-7F54EB784A6C}"/>
              </a:ext>
            </a:extLst>
          </p:cNvPr>
          <p:cNvPicPr>
            <a:picLocks noChangeAspect="1"/>
          </p:cNvPicPr>
          <p:nvPr/>
        </p:nvPicPr>
        <p:blipFill>
          <a:blip r:embed="rId6"/>
          <a:stretch>
            <a:fillRect/>
          </a:stretch>
        </p:blipFill>
        <p:spPr>
          <a:xfrm>
            <a:off x="6852633" y="2799591"/>
            <a:ext cx="434908" cy="434908"/>
          </a:xfrm>
          <a:prstGeom prst="rect">
            <a:avLst/>
          </a:prstGeom>
        </p:spPr>
      </p:pic>
      <p:pic>
        <p:nvPicPr>
          <p:cNvPr id="36" name="Picture 35">
            <a:extLst>
              <a:ext uri="{FF2B5EF4-FFF2-40B4-BE49-F238E27FC236}">
                <a16:creationId xmlns:a16="http://schemas.microsoft.com/office/drawing/2014/main" id="{1C4D50BB-BA99-B949-B5DC-7C5137E3FB88}"/>
              </a:ext>
            </a:extLst>
          </p:cNvPr>
          <p:cNvPicPr>
            <a:picLocks noChangeAspect="1"/>
          </p:cNvPicPr>
          <p:nvPr/>
        </p:nvPicPr>
        <p:blipFill>
          <a:blip r:embed="rId7"/>
          <a:stretch>
            <a:fillRect/>
          </a:stretch>
        </p:blipFill>
        <p:spPr>
          <a:xfrm>
            <a:off x="6852633" y="3310879"/>
            <a:ext cx="434908" cy="434908"/>
          </a:xfrm>
          <a:prstGeom prst="rect">
            <a:avLst/>
          </a:prstGeom>
        </p:spPr>
      </p:pic>
    </p:spTree>
    <p:extLst>
      <p:ext uri="{BB962C8B-B14F-4D97-AF65-F5344CB8AC3E}">
        <p14:creationId xmlns:p14="http://schemas.microsoft.com/office/powerpoint/2010/main" val="10754102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ktangel 4"/>
          <p:cNvSpPr/>
          <p:nvPr/>
        </p:nvSpPr>
        <p:spPr>
          <a:xfrm>
            <a:off x="0" y="1136318"/>
            <a:ext cx="12192000" cy="22781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cxnSp>
        <p:nvCxnSpPr>
          <p:cNvPr id="42" name="Straight Connector 41"/>
          <p:cNvCxnSpPr>
            <a:cxnSpLocks/>
          </p:cNvCxnSpPr>
          <p:nvPr/>
        </p:nvCxnSpPr>
        <p:spPr>
          <a:xfrm>
            <a:off x="7850013" y="3622801"/>
            <a:ext cx="0" cy="1762263"/>
          </a:xfrm>
          <a:prstGeom prst="line">
            <a:avLst/>
          </a:prstGeom>
          <a:noFill/>
          <a:ln w="3175" cap="flat" cmpd="sng" algn="ctr">
            <a:solidFill>
              <a:schemeClr val="accent6"/>
            </a:solidFill>
            <a:prstDash val="dash"/>
            <a:miter lim="800000"/>
          </a:ln>
          <a:effectLst/>
        </p:spPr>
      </p:cxnSp>
      <p:sp>
        <p:nvSpPr>
          <p:cNvPr id="59" name="Tekstfelt 11"/>
          <p:cNvSpPr txBox="1"/>
          <p:nvPr/>
        </p:nvSpPr>
        <p:spPr>
          <a:xfrm>
            <a:off x="1097387" y="1295663"/>
            <a:ext cx="2323701" cy="584775"/>
          </a:xfrm>
          <a:prstGeom prst="rect">
            <a:avLst/>
          </a:prstGeom>
          <a:noFill/>
        </p:spPr>
        <p:txBody>
          <a:bodyPr wrap="square" rtlCol="0">
            <a:spAutoFit/>
          </a:bodyPr>
          <a:lstStyle/>
          <a:p>
            <a:pPr algn="ctr">
              <a:defRPr/>
            </a:pPr>
            <a:r>
              <a:rPr lang="en-US" sz="1600" b="1" kern="0" dirty="0">
                <a:solidFill>
                  <a:schemeClr val="accent6"/>
                </a:solidFill>
                <a:latin typeface="Arial" panose="020B0604020202020204" pitchFamily="34" charset="0"/>
                <a:cs typeface="Arial" panose="020B0604020202020204" pitchFamily="34" charset="0"/>
              </a:rPr>
              <a:t>QUALITY PRODUCT AND BRAND</a:t>
            </a:r>
            <a:endParaRPr lang="en-US" sz="1600" b="1" dirty="0">
              <a:solidFill>
                <a:schemeClr val="accent6"/>
              </a:solidFill>
              <a:latin typeface="Arial" panose="020B0604020202020204" pitchFamily="34" charset="0"/>
              <a:cs typeface="Arial" panose="020B0604020202020204" pitchFamily="34" charset="0"/>
            </a:endParaRPr>
          </a:p>
        </p:txBody>
      </p:sp>
      <p:sp>
        <p:nvSpPr>
          <p:cNvPr id="67" name="Tekstfelt 25"/>
          <p:cNvSpPr txBox="1">
            <a:spLocks/>
          </p:cNvSpPr>
          <p:nvPr/>
        </p:nvSpPr>
        <p:spPr>
          <a:xfrm>
            <a:off x="587375" y="3784626"/>
            <a:ext cx="3228359" cy="1107996"/>
          </a:xfrm>
          <a:prstGeom prst="rect">
            <a:avLst/>
          </a:prstGeom>
          <a:noFill/>
        </p:spPr>
        <p:txBody>
          <a:bodyPr wrap="square" rtlCol="0">
            <a:spAutoFit/>
          </a:bodyPr>
          <a:lstStyle/>
          <a:p>
            <a:pPr marL="355600" indent="-355600">
              <a:buClr>
                <a:schemeClr val="accent6"/>
              </a:buClr>
              <a:buFont typeface="Wingdings" pitchFamily="2" charset="2"/>
              <a:buChar char="ü"/>
              <a:defRPr/>
            </a:pPr>
            <a:r>
              <a:rPr lang="en-US" sz="1600" kern="0" dirty="0">
                <a:solidFill>
                  <a:srgbClr val="E7E6E6">
                    <a:lumMod val="25000"/>
                  </a:srgbClr>
                </a:solidFill>
                <a:latin typeface="Arial" panose="020B0604020202020204" pitchFamily="34" charset="0"/>
                <a:cs typeface="Arial" panose="020B0604020202020204" pitchFamily="34" charset="0"/>
              </a:rPr>
              <a:t>Strong brand and reputation for quality mapping</a:t>
            </a:r>
            <a:br>
              <a:rPr lang="en-US" sz="1600" kern="0" dirty="0">
                <a:solidFill>
                  <a:srgbClr val="E7E6E6">
                    <a:lumMod val="25000"/>
                  </a:srgbClr>
                </a:solidFill>
                <a:latin typeface="Arial" panose="020B0604020202020204" pitchFamily="34" charset="0"/>
                <a:cs typeface="Arial" panose="020B0604020202020204" pitchFamily="34" charset="0"/>
              </a:rPr>
            </a:br>
            <a:endParaRPr lang="en-US" sz="1600" kern="0" dirty="0">
              <a:solidFill>
                <a:srgbClr val="E7E6E6">
                  <a:lumMod val="25000"/>
                </a:srgbClr>
              </a:solidFill>
              <a:latin typeface="Arial" panose="020B0604020202020204" pitchFamily="34" charset="0"/>
              <a:cs typeface="Arial" panose="020B0604020202020204" pitchFamily="34" charset="0"/>
            </a:endParaRPr>
          </a:p>
          <a:p>
            <a:pPr marL="355600" indent="-355600">
              <a:buClr>
                <a:schemeClr val="accent6"/>
              </a:buClr>
              <a:buFont typeface="Wingdings" pitchFamily="2" charset="2"/>
              <a:buChar char="ü"/>
              <a:defRPr/>
            </a:pPr>
            <a:r>
              <a:rPr lang="en-US" sz="1600" kern="0" dirty="0">
                <a:solidFill>
                  <a:srgbClr val="E7E6E6">
                    <a:lumMod val="25000"/>
                  </a:srgbClr>
                </a:solidFill>
                <a:latin typeface="Arial" panose="020B0604020202020204" pitchFamily="34" charset="0"/>
                <a:cs typeface="Arial" panose="020B0604020202020204" pitchFamily="34" charset="0"/>
              </a:rPr>
              <a:t>Strong delivery skills</a:t>
            </a:r>
          </a:p>
        </p:txBody>
      </p:sp>
      <p:sp>
        <p:nvSpPr>
          <p:cNvPr id="69" name="Isosceles Triangle 68"/>
          <p:cNvSpPr/>
          <p:nvPr/>
        </p:nvSpPr>
        <p:spPr>
          <a:xfrm flipV="1">
            <a:off x="1854907" y="3414456"/>
            <a:ext cx="558855" cy="20834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6" name="Tekstfelt 11"/>
          <p:cNvSpPr txBox="1"/>
          <p:nvPr/>
        </p:nvSpPr>
        <p:spPr>
          <a:xfrm>
            <a:off x="4797414" y="1295663"/>
            <a:ext cx="2597186" cy="584775"/>
          </a:xfrm>
          <a:prstGeom prst="rect">
            <a:avLst/>
          </a:prstGeom>
          <a:noFill/>
        </p:spPr>
        <p:txBody>
          <a:bodyPr wrap="none" rtlCol="0">
            <a:spAutoFit/>
          </a:bodyPr>
          <a:lstStyle/>
          <a:p>
            <a:pPr algn="ctr">
              <a:defRPr/>
            </a:pPr>
            <a:r>
              <a:rPr lang="en-US" sz="1600" b="1" kern="0" dirty="0">
                <a:solidFill>
                  <a:schemeClr val="accent6"/>
                </a:solidFill>
                <a:latin typeface="Arial" panose="020B0604020202020204" pitchFamily="34" charset="0"/>
                <a:cs typeface="Arial" panose="020B0604020202020204" pitchFamily="34" charset="0"/>
              </a:rPr>
              <a:t>STRONG</a:t>
            </a:r>
          </a:p>
          <a:p>
            <a:pPr algn="ctr">
              <a:defRPr/>
            </a:pPr>
            <a:r>
              <a:rPr lang="en-US" sz="1600" b="1" kern="0" dirty="0">
                <a:solidFill>
                  <a:schemeClr val="accent6"/>
                </a:solidFill>
                <a:latin typeface="Arial" panose="020B0604020202020204" pitchFamily="34" charset="0"/>
                <a:cs typeface="Arial" panose="020B0604020202020204" pitchFamily="34" charset="0"/>
              </a:rPr>
              <a:t>CUSTOMER RELATIONS</a:t>
            </a:r>
            <a:endParaRPr lang="en-US" sz="1600" b="1" dirty="0">
              <a:solidFill>
                <a:schemeClr val="accent6"/>
              </a:solidFill>
              <a:latin typeface="Arial" panose="020B0604020202020204" pitchFamily="34" charset="0"/>
              <a:cs typeface="Arial" panose="020B0604020202020204" pitchFamily="34" charset="0"/>
            </a:endParaRPr>
          </a:p>
        </p:txBody>
      </p:sp>
      <p:sp>
        <p:nvSpPr>
          <p:cNvPr id="77" name="Isosceles Triangle 76"/>
          <p:cNvSpPr/>
          <p:nvPr/>
        </p:nvSpPr>
        <p:spPr>
          <a:xfrm flipV="1">
            <a:off x="5844930" y="3414456"/>
            <a:ext cx="558855" cy="20834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Isosceles Triangle 77"/>
          <p:cNvSpPr/>
          <p:nvPr/>
        </p:nvSpPr>
        <p:spPr>
          <a:xfrm flipV="1">
            <a:off x="9755510" y="3414456"/>
            <a:ext cx="558855" cy="20834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9" name="Tekstfelt 11"/>
          <p:cNvSpPr txBox="1"/>
          <p:nvPr/>
        </p:nvSpPr>
        <p:spPr>
          <a:xfrm>
            <a:off x="9269614" y="1295663"/>
            <a:ext cx="1444627" cy="584775"/>
          </a:xfrm>
          <a:prstGeom prst="rect">
            <a:avLst/>
          </a:prstGeom>
          <a:noFill/>
        </p:spPr>
        <p:txBody>
          <a:bodyPr wrap="none" rtlCol="0">
            <a:spAutoFit/>
          </a:bodyPr>
          <a:lstStyle/>
          <a:p>
            <a:pPr algn="ctr">
              <a:defRPr/>
            </a:pPr>
            <a:r>
              <a:rPr lang="en-US" sz="1600" b="1" kern="0" dirty="0">
                <a:solidFill>
                  <a:schemeClr val="accent6"/>
                </a:solidFill>
                <a:latin typeface="Arial" panose="020B0604020202020204" pitchFamily="34" charset="0"/>
                <a:cs typeface="Arial" panose="020B0604020202020204" pitchFamily="34" charset="0"/>
              </a:rPr>
              <a:t>LOW COST</a:t>
            </a:r>
          </a:p>
          <a:p>
            <a:pPr algn="ctr">
              <a:defRPr/>
            </a:pPr>
            <a:r>
              <a:rPr lang="en-US" sz="1600" b="1" kern="0" dirty="0">
                <a:solidFill>
                  <a:schemeClr val="accent6"/>
                </a:solidFill>
                <a:latin typeface="Arial" panose="020B0604020202020204" pitchFamily="34" charset="0"/>
                <a:cs typeface="Arial" panose="020B0604020202020204" pitchFamily="34" charset="0"/>
              </a:rPr>
              <a:t>STRUCTURE</a:t>
            </a:r>
            <a:endParaRPr lang="en-US" sz="1600" b="1" dirty="0">
              <a:solidFill>
                <a:schemeClr val="accent6"/>
              </a:solidFill>
              <a:latin typeface="Arial" panose="020B0604020202020204" pitchFamily="34" charset="0"/>
              <a:cs typeface="Arial" panose="020B0604020202020204" pitchFamily="34" charset="0"/>
            </a:endParaRPr>
          </a:p>
        </p:txBody>
      </p:sp>
      <p:sp>
        <p:nvSpPr>
          <p:cNvPr id="80" name="Tekstfelt 25"/>
          <p:cNvSpPr txBox="1">
            <a:spLocks/>
          </p:cNvSpPr>
          <p:nvPr/>
        </p:nvSpPr>
        <p:spPr>
          <a:xfrm>
            <a:off x="4480711" y="3784626"/>
            <a:ext cx="3229200" cy="1600438"/>
          </a:xfrm>
          <a:prstGeom prst="rect">
            <a:avLst/>
          </a:prstGeom>
          <a:noFill/>
        </p:spPr>
        <p:txBody>
          <a:bodyPr wrap="square" rtlCol="0">
            <a:spAutoFit/>
          </a:bodyPr>
          <a:lstStyle/>
          <a:p>
            <a:pPr marL="355600" indent="-355600">
              <a:buClr>
                <a:schemeClr val="accent6"/>
              </a:buClr>
              <a:buFont typeface="Wingdings" pitchFamily="2" charset="2"/>
              <a:buChar char="ü"/>
              <a:defRPr/>
            </a:pPr>
            <a:r>
              <a:rPr lang="en-US" sz="1600" kern="0" dirty="0">
                <a:solidFill>
                  <a:srgbClr val="E7E6E6">
                    <a:lumMod val="25000"/>
                  </a:srgbClr>
                </a:solidFill>
                <a:latin typeface="Arial" panose="020B0604020202020204" pitchFamily="34" charset="0"/>
                <a:cs typeface="Arial" panose="020B0604020202020204" pitchFamily="34" charset="0"/>
              </a:rPr>
              <a:t>Cooperation and experience sharing as core value</a:t>
            </a:r>
          </a:p>
          <a:p>
            <a:pPr marL="355600" indent="-355600">
              <a:buClr>
                <a:schemeClr val="accent6"/>
              </a:buClr>
              <a:buFont typeface="Wingdings" pitchFamily="2" charset="2"/>
              <a:buChar char="ü"/>
              <a:defRPr/>
            </a:pPr>
            <a:r>
              <a:rPr lang="en-US" sz="1600" kern="0" dirty="0">
                <a:solidFill>
                  <a:srgbClr val="E7E6E6">
                    <a:lumMod val="25000"/>
                  </a:srgbClr>
                </a:solidFill>
                <a:latin typeface="Arial" panose="020B0604020202020204" pitchFamily="34" charset="0"/>
                <a:cs typeface="Arial" panose="020B0604020202020204" pitchFamily="34" charset="0"/>
              </a:rPr>
              <a:t>Sales representatives trained to focus on customer relations</a:t>
            </a:r>
          </a:p>
          <a:p>
            <a:pPr marL="355600" indent="-355600">
              <a:buClr>
                <a:schemeClr val="accent6"/>
              </a:buClr>
              <a:buFont typeface="Wingdings" pitchFamily="2" charset="2"/>
              <a:buChar char="ü"/>
              <a:defRPr/>
            </a:pPr>
            <a:r>
              <a:rPr lang="en-US" sz="1600" kern="0" dirty="0">
                <a:solidFill>
                  <a:srgbClr val="E7E6E6">
                    <a:lumMod val="25000"/>
                  </a:srgbClr>
                </a:solidFill>
                <a:latin typeface="Arial" panose="020B0604020202020204" pitchFamily="34" charset="0"/>
                <a:cs typeface="Arial" panose="020B0604020202020204" pitchFamily="34" charset="0"/>
              </a:rPr>
              <a:t>Constantly high NPS</a:t>
            </a:r>
          </a:p>
        </p:txBody>
      </p:sp>
      <p:sp>
        <p:nvSpPr>
          <p:cNvPr id="81" name="Tekstfelt 25"/>
          <p:cNvSpPr txBox="1">
            <a:spLocks/>
          </p:cNvSpPr>
          <p:nvPr/>
        </p:nvSpPr>
        <p:spPr>
          <a:xfrm>
            <a:off x="8375425" y="3779602"/>
            <a:ext cx="3229200" cy="1107996"/>
          </a:xfrm>
          <a:prstGeom prst="rect">
            <a:avLst/>
          </a:prstGeom>
          <a:noFill/>
        </p:spPr>
        <p:txBody>
          <a:bodyPr wrap="square" rtlCol="0">
            <a:spAutoFit/>
          </a:bodyPr>
          <a:lstStyle/>
          <a:p>
            <a:pPr marL="355600" indent="-355600">
              <a:buClr>
                <a:schemeClr val="accent6"/>
              </a:buClr>
              <a:buFont typeface="Wingdings" pitchFamily="2" charset="2"/>
              <a:buChar char="ü"/>
              <a:defRPr/>
            </a:pPr>
            <a:r>
              <a:rPr lang="en-US" sz="1600" kern="0" dirty="0">
                <a:solidFill>
                  <a:srgbClr val="E7E6E6">
                    <a:lumMod val="25000"/>
                  </a:srgbClr>
                </a:solidFill>
                <a:latin typeface="Arial" panose="020B0604020202020204" pitchFamily="34" charset="0"/>
                <a:cs typeface="Arial" panose="020B0604020202020204" pitchFamily="34" charset="0"/>
              </a:rPr>
              <a:t>Lowest cost structure when it comes to mapping venues</a:t>
            </a:r>
            <a:br>
              <a:rPr lang="en-US" sz="1600" kern="0" dirty="0">
                <a:solidFill>
                  <a:srgbClr val="E7E6E6">
                    <a:lumMod val="25000"/>
                  </a:srgbClr>
                </a:solidFill>
                <a:latin typeface="Arial" panose="020B0604020202020204" pitchFamily="34" charset="0"/>
                <a:cs typeface="Arial" panose="020B0604020202020204" pitchFamily="34" charset="0"/>
              </a:rPr>
            </a:br>
            <a:endParaRPr lang="en-US" sz="1600" kern="0" dirty="0">
              <a:solidFill>
                <a:srgbClr val="E7E6E6">
                  <a:lumMod val="25000"/>
                </a:srgbClr>
              </a:solidFill>
              <a:latin typeface="Arial" panose="020B0604020202020204" pitchFamily="34" charset="0"/>
              <a:cs typeface="Arial" panose="020B0604020202020204" pitchFamily="34" charset="0"/>
            </a:endParaRPr>
          </a:p>
          <a:p>
            <a:pPr marL="355600" indent="-355600">
              <a:buClr>
                <a:schemeClr val="accent6"/>
              </a:buClr>
              <a:buFont typeface="Wingdings" pitchFamily="2" charset="2"/>
              <a:buChar char="ü"/>
              <a:defRPr/>
            </a:pPr>
            <a:r>
              <a:rPr lang="en-US" sz="1600" kern="0" dirty="0">
                <a:solidFill>
                  <a:srgbClr val="E7E6E6">
                    <a:lumMod val="25000"/>
                  </a:srgbClr>
                </a:solidFill>
                <a:latin typeface="Arial" panose="020B0604020202020204" pitchFamily="34" charset="0"/>
                <a:cs typeface="Arial" panose="020B0604020202020204" pitchFamily="34" charset="0"/>
              </a:rPr>
              <a:t>Competitive price point</a:t>
            </a:r>
          </a:p>
        </p:txBody>
      </p:sp>
      <p:sp>
        <p:nvSpPr>
          <p:cNvPr id="2" name="Text Placeholder 1">
            <a:extLst>
              <a:ext uri="{FF2B5EF4-FFF2-40B4-BE49-F238E27FC236}">
                <a16:creationId xmlns:a16="http://schemas.microsoft.com/office/drawing/2014/main" id="{6CDB7F99-FA9F-F240-9DEA-F063E54F2647}"/>
              </a:ext>
            </a:extLst>
          </p:cNvPr>
          <p:cNvSpPr>
            <a:spLocks noGrp="1"/>
          </p:cNvSpPr>
          <p:nvPr>
            <p:ph type="body" sz="quarter" idx="13"/>
          </p:nvPr>
        </p:nvSpPr>
        <p:spPr/>
        <p:txBody>
          <a:bodyPr/>
          <a:lstStyle/>
          <a:p>
            <a:endParaRPr lang="en-GB" dirty="0"/>
          </a:p>
        </p:txBody>
      </p:sp>
      <p:sp>
        <p:nvSpPr>
          <p:cNvPr id="4" name="Text Placeholder 3">
            <a:extLst>
              <a:ext uri="{FF2B5EF4-FFF2-40B4-BE49-F238E27FC236}">
                <a16:creationId xmlns:a16="http://schemas.microsoft.com/office/drawing/2014/main" id="{7FC02FFE-2740-F74B-B273-F118BBFC89EC}"/>
              </a:ext>
            </a:extLst>
          </p:cNvPr>
          <p:cNvSpPr>
            <a:spLocks noGrp="1"/>
          </p:cNvSpPr>
          <p:nvPr>
            <p:ph type="body" sz="quarter" idx="15"/>
          </p:nvPr>
        </p:nvSpPr>
        <p:spPr/>
        <p:txBody>
          <a:bodyPr/>
          <a:lstStyle/>
          <a:p>
            <a:endParaRPr lang="en-GB"/>
          </a:p>
        </p:txBody>
      </p:sp>
      <p:sp>
        <p:nvSpPr>
          <p:cNvPr id="5" name="Titel 4"/>
          <p:cNvSpPr>
            <a:spLocks noGrp="1"/>
          </p:cNvSpPr>
          <p:nvPr>
            <p:ph type="title"/>
          </p:nvPr>
        </p:nvSpPr>
        <p:spPr>
          <a:xfrm>
            <a:off x="527050" y="127212"/>
            <a:ext cx="9314374" cy="925103"/>
          </a:xfrm>
          <a:prstGeom prst="rect">
            <a:avLst/>
          </a:prstGeom>
        </p:spPr>
        <p:txBody>
          <a:bodyPr/>
          <a:lstStyle/>
          <a:p>
            <a:r>
              <a:rPr lang="en-US" dirty="0"/>
              <a:t>Core capabilities</a:t>
            </a:r>
          </a:p>
        </p:txBody>
      </p:sp>
      <p:pic>
        <p:nvPicPr>
          <p:cNvPr id="14" name="Picture 13">
            <a:extLst>
              <a:ext uri="{FF2B5EF4-FFF2-40B4-BE49-F238E27FC236}">
                <a16:creationId xmlns:a16="http://schemas.microsoft.com/office/drawing/2014/main" id="{BCD1696D-6365-D04F-9D90-9F0D4BD1F2B9}"/>
              </a:ext>
            </a:extLst>
          </p:cNvPr>
          <p:cNvPicPr>
            <a:picLocks noChangeAspect="1"/>
          </p:cNvPicPr>
          <p:nvPr/>
        </p:nvPicPr>
        <p:blipFill>
          <a:blip r:embed="rId3"/>
          <a:stretch>
            <a:fillRect/>
          </a:stretch>
        </p:blipFill>
        <p:spPr>
          <a:xfrm>
            <a:off x="9451737" y="1976284"/>
            <a:ext cx="1166400" cy="1166400"/>
          </a:xfrm>
          <a:prstGeom prst="rect">
            <a:avLst/>
          </a:prstGeom>
        </p:spPr>
      </p:pic>
      <p:pic>
        <p:nvPicPr>
          <p:cNvPr id="16" name="Picture 15">
            <a:extLst>
              <a:ext uri="{FF2B5EF4-FFF2-40B4-BE49-F238E27FC236}">
                <a16:creationId xmlns:a16="http://schemas.microsoft.com/office/drawing/2014/main" id="{EFD724D7-1A5D-F746-9598-0B81C5B1579B}"/>
              </a:ext>
            </a:extLst>
          </p:cNvPr>
          <p:cNvPicPr>
            <a:picLocks noChangeAspect="1"/>
          </p:cNvPicPr>
          <p:nvPr/>
        </p:nvPicPr>
        <p:blipFill>
          <a:blip r:embed="rId4"/>
          <a:stretch>
            <a:fillRect/>
          </a:stretch>
        </p:blipFill>
        <p:spPr>
          <a:xfrm>
            <a:off x="5512111" y="1976284"/>
            <a:ext cx="1166400" cy="1166400"/>
          </a:xfrm>
          <a:prstGeom prst="rect">
            <a:avLst/>
          </a:prstGeom>
        </p:spPr>
      </p:pic>
      <p:pic>
        <p:nvPicPr>
          <p:cNvPr id="18" name="Picture 17">
            <a:extLst>
              <a:ext uri="{FF2B5EF4-FFF2-40B4-BE49-F238E27FC236}">
                <a16:creationId xmlns:a16="http://schemas.microsoft.com/office/drawing/2014/main" id="{C70942B8-ADE9-9540-AE77-FF60B1AFB70C}"/>
              </a:ext>
            </a:extLst>
          </p:cNvPr>
          <p:cNvPicPr>
            <a:picLocks noChangeAspect="1"/>
          </p:cNvPicPr>
          <p:nvPr/>
        </p:nvPicPr>
        <p:blipFill>
          <a:blip r:embed="rId5"/>
          <a:stretch>
            <a:fillRect/>
          </a:stretch>
        </p:blipFill>
        <p:spPr>
          <a:xfrm>
            <a:off x="1551134" y="1976284"/>
            <a:ext cx="1166400" cy="1166400"/>
          </a:xfrm>
          <a:prstGeom prst="rect">
            <a:avLst/>
          </a:prstGeom>
        </p:spPr>
      </p:pic>
      <p:cxnSp>
        <p:nvCxnSpPr>
          <p:cNvPr id="36" name="Straight Connector 35">
            <a:extLst>
              <a:ext uri="{FF2B5EF4-FFF2-40B4-BE49-F238E27FC236}">
                <a16:creationId xmlns:a16="http://schemas.microsoft.com/office/drawing/2014/main" id="{E6EAF514-0D7B-AB4B-AD8C-6D0CA8BD9119}"/>
              </a:ext>
            </a:extLst>
          </p:cNvPr>
          <p:cNvCxnSpPr>
            <a:cxnSpLocks/>
          </p:cNvCxnSpPr>
          <p:nvPr/>
        </p:nvCxnSpPr>
        <p:spPr>
          <a:xfrm>
            <a:off x="3815734" y="3622801"/>
            <a:ext cx="0" cy="1762263"/>
          </a:xfrm>
          <a:prstGeom prst="line">
            <a:avLst/>
          </a:prstGeom>
          <a:noFill/>
          <a:ln w="3175" cap="flat" cmpd="sng" algn="ctr">
            <a:solidFill>
              <a:schemeClr val="accent6"/>
            </a:solidFill>
            <a:prstDash val="dash"/>
            <a:miter lim="800000"/>
          </a:ln>
          <a:effectLst/>
        </p:spPr>
      </p:cxnSp>
      <p:sp>
        <p:nvSpPr>
          <p:cNvPr id="45" name="Rounded Rectangle 44">
            <a:extLst>
              <a:ext uri="{FF2B5EF4-FFF2-40B4-BE49-F238E27FC236}">
                <a16:creationId xmlns:a16="http://schemas.microsoft.com/office/drawing/2014/main" id="{071C51E6-08C6-F44D-AFEE-437CB194FB72}"/>
              </a:ext>
            </a:extLst>
          </p:cNvPr>
          <p:cNvSpPr/>
          <p:nvPr/>
        </p:nvSpPr>
        <p:spPr>
          <a:xfrm>
            <a:off x="620911" y="5443595"/>
            <a:ext cx="10948800" cy="46808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50" b="1" dirty="0" err="1"/>
              <a:t>BigBang</a:t>
            </a:r>
            <a:r>
              <a:rPr lang="en-GB" sz="1450" b="1" dirty="0"/>
              <a:t> should pursue a growth initiative that demands its core capabilities</a:t>
            </a:r>
          </a:p>
        </p:txBody>
      </p:sp>
    </p:spTree>
    <p:extLst>
      <p:ext uri="{BB962C8B-B14F-4D97-AF65-F5344CB8AC3E}">
        <p14:creationId xmlns:p14="http://schemas.microsoft.com/office/powerpoint/2010/main" val="39109650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tekst 5"/>
          <p:cNvSpPr>
            <a:spLocks noGrp="1"/>
          </p:cNvSpPr>
          <p:nvPr>
            <p:ph type="body" sz="quarter" idx="13"/>
          </p:nvPr>
        </p:nvSpPr>
        <p:spPr/>
        <p:txBody>
          <a:bodyPr/>
          <a:lstStyle/>
          <a:p>
            <a:endParaRPr lang="en-US" dirty="0"/>
          </a:p>
        </p:txBody>
      </p:sp>
      <p:sp>
        <p:nvSpPr>
          <p:cNvPr id="14" name="Pladsholder til tekst 13"/>
          <p:cNvSpPr>
            <a:spLocks noGrp="1"/>
          </p:cNvSpPr>
          <p:nvPr>
            <p:ph type="body" sz="quarter" idx="15"/>
          </p:nvPr>
        </p:nvSpPr>
        <p:spPr/>
        <p:txBody>
          <a:bodyPr/>
          <a:lstStyle/>
          <a:p>
            <a:endParaRPr lang="en-US" dirty="0"/>
          </a:p>
        </p:txBody>
      </p:sp>
      <p:sp>
        <p:nvSpPr>
          <p:cNvPr id="16" name="Titel 15"/>
          <p:cNvSpPr>
            <a:spLocks noGrp="1"/>
          </p:cNvSpPr>
          <p:nvPr>
            <p:ph type="title"/>
          </p:nvPr>
        </p:nvSpPr>
        <p:spPr>
          <a:xfrm>
            <a:off x="527050" y="127212"/>
            <a:ext cx="9314374" cy="925103"/>
          </a:xfrm>
          <a:prstGeom prst="rect">
            <a:avLst/>
          </a:prstGeom>
        </p:spPr>
        <p:txBody>
          <a:bodyPr/>
          <a:lstStyle/>
          <a:p>
            <a:r>
              <a:rPr lang="en-GB" dirty="0"/>
              <a:t>Solution assessment / customer segment justification</a:t>
            </a:r>
          </a:p>
        </p:txBody>
      </p:sp>
      <p:sp>
        <p:nvSpPr>
          <p:cNvPr id="21" name="Tekstfelt 20"/>
          <p:cNvSpPr txBox="1"/>
          <p:nvPr/>
        </p:nvSpPr>
        <p:spPr>
          <a:xfrm>
            <a:off x="836399" y="3852227"/>
            <a:ext cx="1865553" cy="261610"/>
          </a:xfrm>
          <a:prstGeom prst="rect">
            <a:avLst/>
          </a:prstGeom>
          <a:noFill/>
        </p:spPr>
        <p:txBody>
          <a:bodyPr wrap="square" rtlCol="0">
            <a:spAutoFit/>
          </a:bodyPr>
          <a:lstStyle/>
          <a:p>
            <a:r>
              <a:rPr lang="en-US" sz="1100" b="1" dirty="0"/>
              <a:t>Regional growth rate</a:t>
            </a:r>
          </a:p>
        </p:txBody>
      </p:sp>
      <p:sp>
        <p:nvSpPr>
          <p:cNvPr id="58" name="Tekstfelt 57"/>
          <p:cNvSpPr txBox="1"/>
          <p:nvPr/>
        </p:nvSpPr>
        <p:spPr>
          <a:xfrm>
            <a:off x="5624999" y="1472441"/>
            <a:ext cx="2422078" cy="577081"/>
          </a:xfrm>
          <a:prstGeom prst="rect">
            <a:avLst/>
          </a:prstGeom>
          <a:noFill/>
        </p:spPr>
        <p:txBody>
          <a:bodyPr wrap="square" rtlCol="0">
            <a:spAutoFit/>
          </a:bodyPr>
          <a:lstStyle/>
          <a:p>
            <a:r>
              <a:rPr lang="en-US" sz="1050" b="1" dirty="0"/>
              <a:t>Digital readiness</a:t>
            </a:r>
          </a:p>
          <a:p>
            <a:pPr marL="171450" indent="-171450">
              <a:buFont typeface="Wingdings" charset="2"/>
              <a:buChar char="§"/>
            </a:pPr>
            <a:r>
              <a:rPr lang="en-US" sz="1050" dirty="0"/>
              <a:t>Readiness to embrace and use new digital initiatives</a:t>
            </a:r>
          </a:p>
        </p:txBody>
      </p:sp>
      <p:sp>
        <p:nvSpPr>
          <p:cNvPr id="72" name="Tekstfelt 71"/>
          <p:cNvSpPr txBox="1"/>
          <p:nvPr/>
        </p:nvSpPr>
        <p:spPr>
          <a:xfrm>
            <a:off x="832425" y="4852726"/>
            <a:ext cx="1865553" cy="261610"/>
          </a:xfrm>
          <a:prstGeom prst="rect">
            <a:avLst/>
          </a:prstGeom>
          <a:noFill/>
        </p:spPr>
        <p:txBody>
          <a:bodyPr wrap="square" rtlCol="0">
            <a:spAutoFit/>
          </a:bodyPr>
          <a:lstStyle/>
          <a:p>
            <a:r>
              <a:rPr lang="en-US" sz="1100" b="1" dirty="0"/>
              <a:t>Disposable income</a:t>
            </a:r>
          </a:p>
        </p:txBody>
      </p:sp>
      <p:sp>
        <p:nvSpPr>
          <p:cNvPr id="81" name="Tekstfelt 80"/>
          <p:cNvSpPr txBox="1"/>
          <p:nvPr/>
        </p:nvSpPr>
        <p:spPr>
          <a:xfrm>
            <a:off x="832424" y="4354283"/>
            <a:ext cx="1865553" cy="261610"/>
          </a:xfrm>
          <a:prstGeom prst="rect">
            <a:avLst/>
          </a:prstGeom>
          <a:noFill/>
        </p:spPr>
        <p:txBody>
          <a:bodyPr wrap="square" rtlCol="0">
            <a:spAutoFit/>
          </a:bodyPr>
          <a:lstStyle/>
          <a:p>
            <a:r>
              <a:rPr lang="en-US" sz="1100" b="1" dirty="0"/>
              <a:t>Digital readiness</a:t>
            </a:r>
          </a:p>
        </p:txBody>
      </p:sp>
      <p:sp>
        <p:nvSpPr>
          <p:cNvPr id="85" name="Tekstfelt 84"/>
          <p:cNvSpPr txBox="1"/>
          <p:nvPr/>
        </p:nvSpPr>
        <p:spPr>
          <a:xfrm>
            <a:off x="852907" y="3315673"/>
            <a:ext cx="1414955" cy="261610"/>
          </a:xfrm>
          <a:prstGeom prst="rect">
            <a:avLst/>
          </a:prstGeom>
          <a:noFill/>
        </p:spPr>
        <p:txBody>
          <a:bodyPr wrap="square" rtlCol="0">
            <a:spAutoFit/>
          </a:bodyPr>
          <a:lstStyle/>
          <a:p>
            <a:r>
              <a:rPr lang="en-US" sz="1100" b="1" dirty="0"/>
              <a:t>Segment size</a:t>
            </a:r>
          </a:p>
        </p:txBody>
      </p:sp>
      <p:cxnSp>
        <p:nvCxnSpPr>
          <p:cNvPr id="96" name="Lige forbindelse 95"/>
          <p:cNvCxnSpPr/>
          <p:nvPr/>
        </p:nvCxnSpPr>
        <p:spPr>
          <a:xfrm>
            <a:off x="925400" y="3162741"/>
            <a:ext cx="10337111"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2" name="Picture 15" descr="black - 3 quarters.emf"/>
          <p:cNvPicPr>
            <a:picLocks noChangeAspect="1"/>
          </p:cNvPicPr>
          <p:nvPr/>
        </p:nvPicPr>
        <p:blipFill>
          <a:blip r:embed="rId3" cstate="print"/>
          <a:srcRect/>
          <a:stretch>
            <a:fillRect/>
          </a:stretch>
        </p:blipFill>
        <p:spPr bwMode="auto">
          <a:xfrm>
            <a:off x="4604475" y="7019168"/>
            <a:ext cx="329316" cy="328174"/>
          </a:xfrm>
          <a:prstGeom prst="rect">
            <a:avLst/>
          </a:prstGeom>
          <a:noFill/>
          <a:ln w="9525">
            <a:noFill/>
            <a:miter lim="800000"/>
            <a:headEnd/>
            <a:tailEnd/>
          </a:ln>
        </p:spPr>
      </p:pic>
      <p:pic>
        <p:nvPicPr>
          <p:cNvPr id="103" name="Picture 17" descr="black - whole.emf"/>
          <p:cNvPicPr>
            <a:picLocks noChangeAspect="1"/>
          </p:cNvPicPr>
          <p:nvPr/>
        </p:nvPicPr>
        <p:blipFill>
          <a:blip r:embed="rId4" cstate="print"/>
          <a:srcRect/>
          <a:stretch>
            <a:fillRect/>
          </a:stretch>
        </p:blipFill>
        <p:spPr bwMode="auto">
          <a:xfrm>
            <a:off x="3967163" y="6990821"/>
            <a:ext cx="329316" cy="328174"/>
          </a:xfrm>
          <a:prstGeom prst="rect">
            <a:avLst/>
          </a:prstGeom>
          <a:noFill/>
          <a:ln w="9525">
            <a:noFill/>
            <a:miter lim="800000"/>
            <a:headEnd/>
            <a:tailEnd/>
          </a:ln>
        </p:spPr>
      </p:pic>
      <p:pic>
        <p:nvPicPr>
          <p:cNvPr id="106" name="Picture 14" descr="black - 1 quarter.emf"/>
          <p:cNvPicPr>
            <a:picLocks noChangeAspect="1"/>
          </p:cNvPicPr>
          <p:nvPr/>
        </p:nvPicPr>
        <p:blipFill>
          <a:blip r:embed="rId5" cstate="print"/>
          <a:srcRect/>
          <a:stretch>
            <a:fillRect/>
          </a:stretch>
        </p:blipFill>
        <p:spPr bwMode="auto">
          <a:xfrm>
            <a:off x="5546829" y="7003692"/>
            <a:ext cx="329316" cy="328173"/>
          </a:xfrm>
          <a:prstGeom prst="rect">
            <a:avLst/>
          </a:prstGeom>
          <a:noFill/>
          <a:ln w="9525">
            <a:noFill/>
            <a:miter lim="800000"/>
            <a:headEnd/>
            <a:tailEnd/>
          </a:ln>
        </p:spPr>
      </p:pic>
      <p:sp>
        <p:nvSpPr>
          <p:cNvPr id="13" name="Tekstfelt 12"/>
          <p:cNvSpPr txBox="1"/>
          <p:nvPr/>
        </p:nvSpPr>
        <p:spPr>
          <a:xfrm>
            <a:off x="16804257" y="1897811"/>
            <a:ext cx="184731" cy="276999"/>
          </a:xfrm>
          <a:prstGeom prst="rect">
            <a:avLst/>
          </a:prstGeom>
          <a:noFill/>
        </p:spPr>
        <p:txBody>
          <a:bodyPr wrap="none" rtlCol="0">
            <a:spAutoFit/>
          </a:bodyPr>
          <a:lstStyle/>
          <a:p>
            <a:endParaRPr lang="en-US" sz="1200" dirty="0"/>
          </a:p>
        </p:txBody>
      </p:sp>
      <p:sp>
        <p:nvSpPr>
          <p:cNvPr id="4" name="Rektangel 3"/>
          <p:cNvSpPr/>
          <p:nvPr/>
        </p:nvSpPr>
        <p:spPr>
          <a:xfrm>
            <a:off x="303281" y="7019055"/>
            <a:ext cx="635260" cy="3608651"/>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ektangel 83"/>
          <p:cNvSpPr/>
          <p:nvPr/>
        </p:nvSpPr>
        <p:spPr>
          <a:xfrm>
            <a:off x="1441015" y="7108995"/>
            <a:ext cx="1900841" cy="418468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Tekstfelt 106"/>
          <p:cNvSpPr txBox="1"/>
          <p:nvPr/>
        </p:nvSpPr>
        <p:spPr>
          <a:xfrm>
            <a:off x="8632778" y="1473884"/>
            <a:ext cx="2175977" cy="577081"/>
          </a:xfrm>
          <a:prstGeom prst="rect">
            <a:avLst/>
          </a:prstGeom>
          <a:noFill/>
        </p:spPr>
        <p:txBody>
          <a:bodyPr wrap="square" rtlCol="0">
            <a:spAutoFit/>
          </a:bodyPr>
          <a:lstStyle/>
          <a:p>
            <a:r>
              <a:rPr lang="en-US" sz="1050" b="1" dirty="0"/>
              <a:t>Disposable income</a:t>
            </a:r>
          </a:p>
          <a:p>
            <a:pPr marL="171450" indent="-171450">
              <a:buFont typeface="Wingdings" charset="2"/>
              <a:buChar char="§"/>
            </a:pPr>
            <a:r>
              <a:rPr lang="en-US" sz="1050" dirty="0"/>
              <a:t>General attractiveness of segment to banks</a:t>
            </a:r>
          </a:p>
        </p:txBody>
      </p:sp>
      <p:sp>
        <p:nvSpPr>
          <p:cNvPr id="108" name="Tekstfelt 107"/>
          <p:cNvSpPr txBox="1"/>
          <p:nvPr/>
        </p:nvSpPr>
        <p:spPr>
          <a:xfrm>
            <a:off x="3292089" y="1487694"/>
            <a:ext cx="1519678" cy="577081"/>
          </a:xfrm>
          <a:prstGeom prst="rect">
            <a:avLst/>
          </a:prstGeom>
          <a:noFill/>
        </p:spPr>
        <p:txBody>
          <a:bodyPr wrap="square" rtlCol="0">
            <a:spAutoFit/>
          </a:bodyPr>
          <a:lstStyle/>
          <a:p>
            <a:r>
              <a:rPr lang="en-US" sz="1050" b="1" dirty="0"/>
              <a:t>Size and growth</a:t>
            </a:r>
          </a:p>
          <a:p>
            <a:pPr marL="171450" indent="-171450">
              <a:buFont typeface="Wingdings" charset="2"/>
              <a:buChar char="§"/>
            </a:pPr>
            <a:r>
              <a:rPr lang="en-US" sz="1050" dirty="0"/>
              <a:t>Market potential for business initiative</a:t>
            </a:r>
          </a:p>
        </p:txBody>
      </p:sp>
      <p:pic>
        <p:nvPicPr>
          <p:cNvPr id="19" name="Billed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12460" y="1579244"/>
            <a:ext cx="405595" cy="405595"/>
          </a:xfrm>
          <a:prstGeom prst="rect">
            <a:avLst/>
          </a:prstGeom>
        </p:spPr>
      </p:pic>
      <p:sp>
        <p:nvSpPr>
          <p:cNvPr id="32" name="Tekstfelt 31"/>
          <p:cNvSpPr txBox="1"/>
          <p:nvPr/>
        </p:nvSpPr>
        <p:spPr>
          <a:xfrm>
            <a:off x="2257734" y="2590617"/>
            <a:ext cx="1167908" cy="523220"/>
          </a:xfrm>
          <a:prstGeom prst="rect">
            <a:avLst/>
          </a:prstGeom>
          <a:noFill/>
        </p:spPr>
        <p:txBody>
          <a:bodyPr wrap="square" rtlCol="0" anchor="b">
            <a:spAutoFit/>
          </a:bodyPr>
          <a:lstStyle/>
          <a:p>
            <a:pPr algn="ctr"/>
            <a:r>
              <a:rPr lang="en-GB" sz="1400" dirty="0"/>
              <a:t>Middle-income</a:t>
            </a:r>
          </a:p>
        </p:txBody>
      </p:sp>
      <p:pic>
        <p:nvPicPr>
          <p:cNvPr id="127" name="Picture 16" descr="black - half.emf"/>
          <p:cNvPicPr>
            <a:picLocks noChangeAspect="1"/>
          </p:cNvPicPr>
          <p:nvPr/>
        </p:nvPicPr>
        <p:blipFill>
          <a:blip r:embed="rId7" cstate="print"/>
          <a:srcRect/>
          <a:stretch>
            <a:fillRect/>
          </a:stretch>
        </p:blipFill>
        <p:spPr bwMode="auto">
          <a:xfrm>
            <a:off x="5077129" y="7013160"/>
            <a:ext cx="329316" cy="328174"/>
          </a:xfrm>
          <a:prstGeom prst="rect">
            <a:avLst/>
          </a:prstGeom>
          <a:noFill/>
          <a:ln w="9525">
            <a:noFill/>
            <a:miter lim="800000"/>
            <a:headEnd/>
            <a:tailEnd/>
          </a:ln>
        </p:spPr>
      </p:pic>
      <p:sp>
        <p:nvSpPr>
          <p:cNvPr id="143" name="Ellipse 142"/>
          <p:cNvSpPr/>
          <p:nvPr/>
        </p:nvSpPr>
        <p:spPr>
          <a:xfrm>
            <a:off x="7028887" y="7105594"/>
            <a:ext cx="321277" cy="28644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7" name="Tekstfelt 76"/>
          <p:cNvSpPr txBox="1"/>
          <p:nvPr/>
        </p:nvSpPr>
        <p:spPr>
          <a:xfrm>
            <a:off x="2569818" y="3834729"/>
            <a:ext cx="543739" cy="307777"/>
          </a:xfrm>
          <a:prstGeom prst="rect">
            <a:avLst/>
          </a:prstGeom>
          <a:noFill/>
        </p:spPr>
        <p:txBody>
          <a:bodyPr wrap="none" rtlCol="0">
            <a:spAutoFit/>
          </a:bodyPr>
          <a:lstStyle/>
          <a:p>
            <a:pPr algn="ctr"/>
            <a:r>
              <a:rPr lang="en-US" sz="1400" dirty="0"/>
              <a:t>52%</a:t>
            </a:r>
          </a:p>
        </p:txBody>
      </p:sp>
      <p:pic>
        <p:nvPicPr>
          <p:cNvPr id="116" name="Picture 17" descr="black - whole.emf"/>
          <p:cNvPicPr>
            <a:picLocks noChangeAspect="1"/>
          </p:cNvPicPr>
          <p:nvPr/>
        </p:nvPicPr>
        <p:blipFill>
          <a:blip r:embed="rId4" cstate="print"/>
          <a:srcRect/>
          <a:stretch>
            <a:fillRect/>
          </a:stretch>
        </p:blipFill>
        <p:spPr bwMode="auto">
          <a:xfrm>
            <a:off x="2677828" y="4316216"/>
            <a:ext cx="329316" cy="328174"/>
          </a:xfrm>
          <a:prstGeom prst="rect">
            <a:avLst/>
          </a:prstGeom>
          <a:noFill/>
          <a:ln w="9525">
            <a:noFill/>
            <a:miter lim="800000"/>
            <a:headEnd/>
            <a:tailEnd/>
          </a:ln>
        </p:spPr>
      </p:pic>
      <p:pic>
        <p:nvPicPr>
          <p:cNvPr id="11" name="Billede 10"/>
          <p:cNvPicPr>
            <a:picLocks noChangeAspect="1"/>
          </p:cNvPicPr>
          <p:nvPr/>
        </p:nvPicPr>
        <p:blipFill>
          <a:blip r:embed="rId8"/>
          <a:stretch>
            <a:fillRect/>
          </a:stretch>
        </p:blipFill>
        <p:spPr>
          <a:xfrm>
            <a:off x="5160666" y="1498031"/>
            <a:ext cx="510917" cy="510917"/>
          </a:xfrm>
          <a:prstGeom prst="rect">
            <a:avLst/>
          </a:prstGeom>
        </p:spPr>
      </p:pic>
      <p:pic>
        <p:nvPicPr>
          <p:cNvPr id="12" name="Billede 11"/>
          <p:cNvPicPr>
            <a:picLocks noChangeAspect="1"/>
          </p:cNvPicPr>
          <p:nvPr/>
        </p:nvPicPr>
        <p:blipFill>
          <a:blip r:embed="rId9"/>
          <a:stretch>
            <a:fillRect/>
          </a:stretch>
        </p:blipFill>
        <p:spPr>
          <a:xfrm>
            <a:off x="2864981" y="1526926"/>
            <a:ext cx="444139" cy="444139"/>
          </a:xfrm>
          <a:prstGeom prst="rect">
            <a:avLst/>
          </a:prstGeom>
        </p:spPr>
      </p:pic>
      <p:sp>
        <p:nvSpPr>
          <p:cNvPr id="86" name="Rektangel 85"/>
          <p:cNvSpPr/>
          <p:nvPr/>
        </p:nvSpPr>
        <p:spPr>
          <a:xfrm>
            <a:off x="2524112" y="1354326"/>
            <a:ext cx="8755327" cy="77550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9" name="Rektangel 88"/>
          <p:cNvSpPr/>
          <p:nvPr/>
        </p:nvSpPr>
        <p:spPr>
          <a:xfrm>
            <a:off x="942328" y="1346204"/>
            <a:ext cx="1777335" cy="798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1" name="Billede 9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18263" y="1529991"/>
            <a:ext cx="255699" cy="242361"/>
          </a:xfrm>
          <a:prstGeom prst="rect">
            <a:avLst/>
          </a:prstGeom>
        </p:spPr>
      </p:pic>
      <p:sp>
        <p:nvSpPr>
          <p:cNvPr id="104" name="Tekstfelt 103"/>
          <p:cNvSpPr txBox="1"/>
          <p:nvPr/>
        </p:nvSpPr>
        <p:spPr>
          <a:xfrm>
            <a:off x="938544" y="1750874"/>
            <a:ext cx="1890119" cy="400110"/>
          </a:xfrm>
          <a:prstGeom prst="rect">
            <a:avLst/>
          </a:prstGeom>
          <a:noFill/>
        </p:spPr>
        <p:txBody>
          <a:bodyPr wrap="square" rtlCol="0">
            <a:spAutoFit/>
          </a:bodyPr>
          <a:lstStyle/>
          <a:p>
            <a:r>
              <a:rPr lang="da-DK" sz="1000" b="1" dirty="0">
                <a:solidFill>
                  <a:schemeClr val="bg1"/>
                </a:solidFill>
              </a:rPr>
              <a:t>BUSINESS SEGMENT EVALUATORS</a:t>
            </a:r>
          </a:p>
        </p:txBody>
      </p:sp>
      <p:cxnSp>
        <p:nvCxnSpPr>
          <p:cNvPr id="97" name="Lige forbindelse 96"/>
          <p:cNvCxnSpPr/>
          <p:nvPr/>
        </p:nvCxnSpPr>
        <p:spPr>
          <a:xfrm>
            <a:off x="925398" y="3713655"/>
            <a:ext cx="10337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Lige forbindelse 97"/>
          <p:cNvCxnSpPr/>
          <p:nvPr/>
        </p:nvCxnSpPr>
        <p:spPr>
          <a:xfrm>
            <a:off x="925397" y="4217711"/>
            <a:ext cx="10337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9" name="Lige forbindelse 98"/>
          <p:cNvCxnSpPr/>
          <p:nvPr/>
        </p:nvCxnSpPr>
        <p:spPr>
          <a:xfrm>
            <a:off x="925397" y="4721767"/>
            <a:ext cx="10337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8" name="Tekstfelt 31">
            <a:extLst>
              <a:ext uri="{FF2B5EF4-FFF2-40B4-BE49-F238E27FC236}">
                <a16:creationId xmlns:a16="http://schemas.microsoft.com/office/drawing/2014/main" id="{991E28F9-F743-3541-868A-C20276B01E94}"/>
              </a:ext>
            </a:extLst>
          </p:cNvPr>
          <p:cNvSpPr txBox="1"/>
          <p:nvPr/>
        </p:nvSpPr>
        <p:spPr>
          <a:xfrm>
            <a:off x="3813372" y="2806060"/>
            <a:ext cx="1167908" cy="307777"/>
          </a:xfrm>
          <a:prstGeom prst="rect">
            <a:avLst/>
          </a:prstGeom>
          <a:noFill/>
        </p:spPr>
        <p:txBody>
          <a:bodyPr wrap="square" rtlCol="0" anchor="b">
            <a:spAutoFit/>
          </a:bodyPr>
          <a:lstStyle/>
          <a:p>
            <a:pPr algn="ctr"/>
            <a:r>
              <a:rPr lang="en-GB" sz="1400" dirty="0"/>
              <a:t>HNWI</a:t>
            </a:r>
          </a:p>
        </p:txBody>
      </p:sp>
      <p:sp>
        <p:nvSpPr>
          <p:cNvPr id="129" name="Tekstfelt 76">
            <a:extLst>
              <a:ext uri="{FF2B5EF4-FFF2-40B4-BE49-F238E27FC236}">
                <a16:creationId xmlns:a16="http://schemas.microsoft.com/office/drawing/2014/main" id="{B5DF95CC-558C-D44E-B689-2C45815F8742}"/>
              </a:ext>
            </a:extLst>
          </p:cNvPr>
          <p:cNvSpPr txBox="1"/>
          <p:nvPr/>
        </p:nvSpPr>
        <p:spPr>
          <a:xfrm>
            <a:off x="4175149" y="3834729"/>
            <a:ext cx="444353" cy="307777"/>
          </a:xfrm>
          <a:prstGeom prst="rect">
            <a:avLst/>
          </a:prstGeom>
          <a:noFill/>
        </p:spPr>
        <p:txBody>
          <a:bodyPr wrap="none" rtlCol="0">
            <a:spAutoFit/>
          </a:bodyPr>
          <a:lstStyle/>
          <a:p>
            <a:pPr algn="ctr"/>
            <a:r>
              <a:rPr lang="en-US" sz="1400" dirty="0"/>
              <a:t>9%</a:t>
            </a:r>
          </a:p>
        </p:txBody>
      </p:sp>
      <p:sp>
        <p:nvSpPr>
          <p:cNvPr id="150" name="Tekstfelt 31">
            <a:extLst>
              <a:ext uri="{FF2B5EF4-FFF2-40B4-BE49-F238E27FC236}">
                <a16:creationId xmlns:a16="http://schemas.microsoft.com/office/drawing/2014/main" id="{526783EB-4227-3842-8D74-D73F9688747E}"/>
              </a:ext>
            </a:extLst>
          </p:cNvPr>
          <p:cNvSpPr txBox="1"/>
          <p:nvPr/>
        </p:nvSpPr>
        <p:spPr>
          <a:xfrm>
            <a:off x="5376581" y="2806060"/>
            <a:ext cx="1167908" cy="307777"/>
          </a:xfrm>
          <a:prstGeom prst="rect">
            <a:avLst/>
          </a:prstGeom>
          <a:noFill/>
        </p:spPr>
        <p:txBody>
          <a:bodyPr wrap="square" rtlCol="0" anchor="b">
            <a:spAutoFit/>
          </a:bodyPr>
          <a:lstStyle/>
          <a:p>
            <a:pPr algn="ctr"/>
            <a:r>
              <a:rPr lang="en-GB" sz="1400" dirty="0"/>
              <a:t>Start-ups</a:t>
            </a:r>
          </a:p>
        </p:txBody>
      </p:sp>
      <p:sp>
        <p:nvSpPr>
          <p:cNvPr id="151" name="Tekstfelt 76">
            <a:extLst>
              <a:ext uri="{FF2B5EF4-FFF2-40B4-BE49-F238E27FC236}">
                <a16:creationId xmlns:a16="http://schemas.microsoft.com/office/drawing/2014/main" id="{E17F0A05-F0A7-064C-A6FC-D645CB27329B}"/>
              </a:ext>
            </a:extLst>
          </p:cNvPr>
          <p:cNvSpPr txBox="1"/>
          <p:nvPr/>
        </p:nvSpPr>
        <p:spPr>
          <a:xfrm>
            <a:off x="5688664" y="3834729"/>
            <a:ext cx="543740" cy="307777"/>
          </a:xfrm>
          <a:prstGeom prst="rect">
            <a:avLst/>
          </a:prstGeom>
          <a:noFill/>
        </p:spPr>
        <p:txBody>
          <a:bodyPr wrap="none" rtlCol="0">
            <a:spAutoFit/>
          </a:bodyPr>
          <a:lstStyle/>
          <a:p>
            <a:pPr algn="ctr"/>
            <a:r>
              <a:rPr lang="en-US" sz="1400" dirty="0"/>
              <a:t>37%</a:t>
            </a:r>
          </a:p>
        </p:txBody>
      </p:sp>
      <p:sp>
        <p:nvSpPr>
          <p:cNvPr id="186" name="Tekstfelt 31">
            <a:extLst>
              <a:ext uri="{FF2B5EF4-FFF2-40B4-BE49-F238E27FC236}">
                <a16:creationId xmlns:a16="http://schemas.microsoft.com/office/drawing/2014/main" id="{EF826A40-C7C9-834E-ADE6-157A9443AEE8}"/>
              </a:ext>
            </a:extLst>
          </p:cNvPr>
          <p:cNvSpPr txBox="1"/>
          <p:nvPr/>
        </p:nvSpPr>
        <p:spPr>
          <a:xfrm>
            <a:off x="6901675" y="2806060"/>
            <a:ext cx="1167908" cy="307777"/>
          </a:xfrm>
          <a:prstGeom prst="rect">
            <a:avLst/>
          </a:prstGeom>
          <a:noFill/>
        </p:spPr>
        <p:txBody>
          <a:bodyPr wrap="square" rtlCol="0" anchor="b">
            <a:spAutoFit/>
          </a:bodyPr>
          <a:lstStyle/>
          <a:p>
            <a:pPr algn="ctr"/>
            <a:r>
              <a:rPr lang="en-GB" sz="1400" dirty="0"/>
              <a:t>SMEs</a:t>
            </a:r>
          </a:p>
        </p:txBody>
      </p:sp>
      <p:sp>
        <p:nvSpPr>
          <p:cNvPr id="187" name="Tekstfelt 76">
            <a:extLst>
              <a:ext uri="{FF2B5EF4-FFF2-40B4-BE49-F238E27FC236}">
                <a16:creationId xmlns:a16="http://schemas.microsoft.com/office/drawing/2014/main" id="{DA5D8140-B7CB-5C49-BA82-AD51FFE464FE}"/>
              </a:ext>
            </a:extLst>
          </p:cNvPr>
          <p:cNvSpPr txBox="1"/>
          <p:nvPr/>
        </p:nvSpPr>
        <p:spPr>
          <a:xfrm>
            <a:off x="7213758" y="3834729"/>
            <a:ext cx="543740" cy="307777"/>
          </a:xfrm>
          <a:prstGeom prst="rect">
            <a:avLst/>
          </a:prstGeom>
          <a:noFill/>
        </p:spPr>
        <p:txBody>
          <a:bodyPr wrap="none" rtlCol="0">
            <a:spAutoFit/>
          </a:bodyPr>
          <a:lstStyle/>
          <a:p>
            <a:pPr algn="ctr"/>
            <a:r>
              <a:rPr lang="en-US" sz="1400" dirty="0"/>
              <a:t>14%</a:t>
            </a:r>
          </a:p>
        </p:txBody>
      </p:sp>
      <p:pic>
        <p:nvPicPr>
          <p:cNvPr id="188" name="Picture 15" descr="black - 3 quarters.emf">
            <a:extLst>
              <a:ext uri="{FF2B5EF4-FFF2-40B4-BE49-F238E27FC236}">
                <a16:creationId xmlns:a16="http://schemas.microsoft.com/office/drawing/2014/main" id="{3BCE29F1-7DD6-E34B-8CA6-313C7C01D7FA}"/>
              </a:ext>
            </a:extLst>
          </p:cNvPr>
          <p:cNvPicPr>
            <a:picLocks noChangeAspect="1"/>
          </p:cNvPicPr>
          <p:nvPr/>
        </p:nvPicPr>
        <p:blipFill>
          <a:blip r:embed="rId3" cstate="print"/>
          <a:srcRect/>
          <a:stretch>
            <a:fillRect/>
          </a:stretch>
        </p:blipFill>
        <p:spPr bwMode="auto">
          <a:xfrm>
            <a:off x="7320971" y="3276441"/>
            <a:ext cx="329316" cy="328174"/>
          </a:xfrm>
          <a:prstGeom prst="rect">
            <a:avLst/>
          </a:prstGeom>
          <a:noFill/>
          <a:ln w="9525">
            <a:noFill/>
            <a:miter lim="800000"/>
            <a:headEnd/>
            <a:tailEnd/>
          </a:ln>
        </p:spPr>
      </p:pic>
      <p:sp>
        <p:nvSpPr>
          <p:cNvPr id="191" name="Tekstfelt 31">
            <a:extLst>
              <a:ext uri="{FF2B5EF4-FFF2-40B4-BE49-F238E27FC236}">
                <a16:creationId xmlns:a16="http://schemas.microsoft.com/office/drawing/2014/main" id="{9D0811CB-8CD6-7140-9D1F-923B52F64EA6}"/>
              </a:ext>
            </a:extLst>
          </p:cNvPr>
          <p:cNvSpPr txBox="1"/>
          <p:nvPr/>
        </p:nvSpPr>
        <p:spPr>
          <a:xfrm>
            <a:off x="8447457" y="2600422"/>
            <a:ext cx="1167908" cy="523220"/>
          </a:xfrm>
          <a:prstGeom prst="rect">
            <a:avLst/>
          </a:prstGeom>
          <a:noFill/>
        </p:spPr>
        <p:txBody>
          <a:bodyPr wrap="square" rtlCol="0" anchor="b">
            <a:spAutoFit/>
          </a:bodyPr>
          <a:lstStyle/>
          <a:p>
            <a:pPr algn="ctr"/>
            <a:r>
              <a:rPr lang="en-GB" sz="1400" dirty="0"/>
              <a:t>Large enterprises</a:t>
            </a:r>
          </a:p>
        </p:txBody>
      </p:sp>
      <p:sp>
        <p:nvSpPr>
          <p:cNvPr id="192" name="Tekstfelt 76">
            <a:extLst>
              <a:ext uri="{FF2B5EF4-FFF2-40B4-BE49-F238E27FC236}">
                <a16:creationId xmlns:a16="http://schemas.microsoft.com/office/drawing/2014/main" id="{C3E122D5-F1AD-6A40-A63D-EED69ED52482}"/>
              </a:ext>
            </a:extLst>
          </p:cNvPr>
          <p:cNvSpPr txBox="1"/>
          <p:nvPr/>
        </p:nvSpPr>
        <p:spPr>
          <a:xfrm>
            <a:off x="8819090" y="3834729"/>
            <a:ext cx="444352" cy="307777"/>
          </a:xfrm>
          <a:prstGeom prst="rect">
            <a:avLst/>
          </a:prstGeom>
          <a:noFill/>
        </p:spPr>
        <p:txBody>
          <a:bodyPr wrap="none" rtlCol="0">
            <a:spAutoFit/>
          </a:bodyPr>
          <a:lstStyle/>
          <a:p>
            <a:pPr algn="ctr"/>
            <a:r>
              <a:rPr lang="en-US" sz="1400" dirty="0"/>
              <a:t>6%</a:t>
            </a:r>
          </a:p>
        </p:txBody>
      </p:sp>
      <p:pic>
        <p:nvPicPr>
          <p:cNvPr id="194" name="Picture 15" descr="black - 3 quarters.emf">
            <a:extLst>
              <a:ext uri="{FF2B5EF4-FFF2-40B4-BE49-F238E27FC236}">
                <a16:creationId xmlns:a16="http://schemas.microsoft.com/office/drawing/2014/main" id="{2A65792C-F6CE-614C-9CD7-C79472D60DE1}"/>
              </a:ext>
            </a:extLst>
          </p:cNvPr>
          <p:cNvPicPr>
            <a:picLocks noChangeAspect="1"/>
          </p:cNvPicPr>
          <p:nvPr/>
        </p:nvPicPr>
        <p:blipFill>
          <a:blip r:embed="rId3" cstate="print"/>
          <a:srcRect/>
          <a:stretch>
            <a:fillRect/>
          </a:stretch>
        </p:blipFill>
        <p:spPr bwMode="auto">
          <a:xfrm>
            <a:off x="8883733" y="4861354"/>
            <a:ext cx="329316" cy="328174"/>
          </a:xfrm>
          <a:prstGeom prst="rect">
            <a:avLst/>
          </a:prstGeom>
          <a:noFill/>
          <a:ln w="9525">
            <a:noFill/>
            <a:miter lim="800000"/>
            <a:headEnd/>
            <a:tailEnd/>
          </a:ln>
        </p:spPr>
      </p:pic>
      <p:sp>
        <p:nvSpPr>
          <p:cNvPr id="196" name="Tekstfelt 31">
            <a:extLst>
              <a:ext uri="{FF2B5EF4-FFF2-40B4-BE49-F238E27FC236}">
                <a16:creationId xmlns:a16="http://schemas.microsoft.com/office/drawing/2014/main" id="{095A7639-6CFC-3C47-A662-69E11FBB10B9}"/>
              </a:ext>
            </a:extLst>
          </p:cNvPr>
          <p:cNvSpPr txBox="1"/>
          <p:nvPr/>
        </p:nvSpPr>
        <p:spPr>
          <a:xfrm>
            <a:off x="9851188" y="2806060"/>
            <a:ext cx="1497811" cy="307777"/>
          </a:xfrm>
          <a:prstGeom prst="rect">
            <a:avLst/>
          </a:prstGeom>
          <a:noFill/>
        </p:spPr>
        <p:txBody>
          <a:bodyPr wrap="square" rtlCol="0" anchor="b">
            <a:spAutoFit/>
          </a:bodyPr>
          <a:lstStyle/>
          <a:p>
            <a:pPr algn="ctr"/>
            <a:r>
              <a:rPr lang="en-GB" sz="1400" dirty="0"/>
              <a:t>Organizations</a:t>
            </a:r>
          </a:p>
        </p:txBody>
      </p:sp>
      <p:sp>
        <p:nvSpPr>
          <p:cNvPr id="197" name="Tekstfelt 76">
            <a:extLst>
              <a:ext uri="{FF2B5EF4-FFF2-40B4-BE49-F238E27FC236}">
                <a16:creationId xmlns:a16="http://schemas.microsoft.com/office/drawing/2014/main" id="{8D80B76D-9131-2E46-AD71-398DD8A3D95B}"/>
              </a:ext>
            </a:extLst>
          </p:cNvPr>
          <p:cNvSpPr txBox="1"/>
          <p:nvPr/>
        </p:nvSpPr>
        <p:spPr>
          <a:xfrm>
            <a:off x="10339274" y="3834729"/>
            <a:ext cx="530402" cy="307777"/>
          </a:xfrm>
          <a:prstGeom prst="rect">
            <a:avLst/>
          </a:prstGeom>
          <a:noFill/>
        </p:spPr>
        <p:txBody>
          <a:bodyPr wrap="none" rtlCol="0">
            <a:spAutoFit/>
          </a:bodyPr>
          <a:lstStyle/>
          <a:p>
            <a:pPr algn="ctr"/>
            <a:r>
              <a:rPr lang="en-US" sz="1400" dirty="0"/>
              <a:t>11%</a:t>
            </a:r>
          </a:p>
        </p:txBody>
      </p:sp>
      <p:sp>
        <p:nvSpPr>
          <p:cNvPr id="201" name="Half Frame 200">
            <a:extLst>
              <a:ext uri="{FF2B5EF4-FFF2-40B4-BE49-F238E27FC236}">
                <a16:creationId xmlns:a16="http://schemas.microsoft.com/office/drawing/2014/main" id="{FD4A6C73-A7BB-A74B-88CC-1ECC71A23B39}"/>
              </a:ext>
            </a:extLst>
          </p:cNvPr>
          <p:cNvSpPr/>
          <p:nvPr/>
        </p:nvSpPr>
        <p:spPr>
          <a:xfrm>
            <a:off x="5605210" y="2522885"/>
            <a:ext cx="3968064" cy="102400"/>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2" name="Half Frame 201">
            <a:extLst>
              <a:ext uri="{FF2B5EF4-FFF2-40B4-BE49-F238E27FC236}">
                <a16:creationId xmlns:a16="http://schemas.microsoft.com/office/drawing/2014/main" id="{EBA60AEF-009E-DD4A-948B-DBA5B4CEF932}"/>
              </a:ext>
            </a:extLst>
          </p:cNvPr>
          <p:cNvSpPr/>
          <p:nvPr/>
        </p:nvSpPr>
        <p:spPr>
          <a:xfrm flipH="1">
            <a:off x="7464205" y="2522885"/>
            <a:ext cx="3798302" cy="102400"/>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3" name="TextBox 202">
            <a:extLst>
              <a:ext uri="{FF2B5EF4-FFF2-40B4-BE49-F238E27FC236}">
                <a16:creationId xmlns:a16="http://schemas.microsoft.com/office/drawing/2014/main" id="{F90AE3D8-D9F9-B449-8770-AA2AB61C53C1}"/>
              </a:ext>
            </a:extLst>
          </p:cNvPr>
          <p:cNvSpPr txBox="1"/>
          <p:nvPr/>
        </p:nvSpPr>
        <p:spPr>
          <a:xfrm>
            <a:off x="5605209" y="2250210"/>
            <a:ext cx="5657297" cy="276999"/>
          </a:xfrm>
          <a:prstGeom prst="rect">
            <a:avLst/>
          </a:prstGeom>
          <a:noFill/>
        </p:spPr>
        <p:txBody>
          <a:bodyPr wrap="square" rtlCol="0">
            <a:spAutoFit/>
          </a:bodyPr>
          <a:lstStyle/>
          <a:p>
            <a:pPr algn="ctr"/>
            <a:r>
              <a:rPr lang="en-GB" sz="1200" dirty="0">
                <a:solidFill>
                  <a:schemeClr val="accent5">
                    <a:lumMod val="50000"/>
                  </a:schemeClr>
                </a:solidFill>
              </a:rPr>
              <a:t>B2B</a:t>
            </a:r>
          </a:p>
        </p:txBody>
      </p:sp>
      <p:sp>
        <p:nvSpPr>
          <p:cNvPr id="204" name="Half Frame 203">
            <a:extLst>
              <a:ext uri="{FF2B5EF4-FFF2-40B4-BE49-F238E27FC236}">
                <a16:creationId xmlns:a16="http://schemas.microsoft.com/office/drawing/2014/main" id="{7A181513-FFAF-AE4F-AC65-870CE2354D62}"/>
              </a:ext>
            </a:extLst>
          </p:cNvPr>
          <p:cNvSpPr/>
          <p:nvPr/>
        </p:nvSpPr>
        <p:spPr>
          <a:xfrm>
            <a:off x="2509494" y="2522885"/>
            <a:ext cx="2375406" cy="102555"/>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5" name="Half Frame 204">
            <a:extLst>
              <a:ext uri="{FF2B5EF4-FFF2-40B4-BE49-F238E27FC236}">
                <a16:creationId xmlns:a16="http://schemas.microsoft.com/office/drawing/2014/main" id="{7581FB52-78EA-BD49-97D9-3D8F19D1AB16}"/>
              </a:ext>
            </a:extLst>
          </p:cNvPr>
          <p:cNvSpPr/>
          <p:nvPr/>
        </p:nvSpPr>
        <p:spPr>
          <a:xfrm flipH="1">
            <a:off x="2641290" y="2523040"/>
            <a:ext cx="2356923" cy="101589"/>
          </a:xfrm>
          <a:prstGeom prst="halfFram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6" name="TextBox 205">
            <a:extLst>
              <a:ext uri="{FF2B5EF4-FFF2-40B4-BE49-F238E27FC236}">
                <a16:creationId xmlns:a16="http://schemas.microsoft.com/office/drawing/2014/main" id="{373B1F8A-65E6-D046-B4E6-2AF28B5D3D1D}"/>
              </a:ext>
            </a:extLst>
          </p:cNvPr>
          <p:cNvSpPr txBox="1"/>
          <p:nvPr/>
        </p:nvSpPr>
        <p:spPr>
          <a:xfrm>
            <a:off x="2509494" y="2250790"/>
            <a:ext cx="2488720" cy="276999"/>
          </a:xfrm>
          <a:prstGeom prst="rect">
            <a:avLst/>
          </a:prstGeom>
          <a:noFill/>
        </p:spPr>
        <p:txBody>
          <a:bodyPr wrap="square" rtlCol="0">
            <a:spAutoFit/>
          </a:bodyPr>
          <a:lstStyle/>
          <a:p>
            <a:pPr algn="ctr"/>
            <a:r>
              <a:rPr lang="en-GB" sz="1200" dirty="0">
                <a:solidFill>
                  <a:schemeClr val="accent5">
                    <a:lumMod val="50000"/>
                  </a:schemeClr>
                </a:solidFill>
              </a:rPr>
              <a:t>B2C</a:t>
            </a:r>
          </a:p>
        </p:txBody>
      </p:sp>
      <p:pic>
        <p:nvPicPr>
          <p:cNvPr id="207" name="Picture 16" descr="black - half.emf">
            <a:extLst>
              <a:ext uri="{FF2B5EF4-FFF2-40B4-BE49-F238E27FC236}">
                <a16:creationId xmlns:a16="http://schemas.microsoft.com/office/drawing/2014/main" id="{0AD412D7-54CD-3A4D-B4C5-4D72671479EC}"/>
              </a:ext>
            </a:extLst>
          </p:cNvPr>
          <p:cNvPicPr>
            <a:picLocks noChangeAspect="1"/>
          </p:cNvPicPr>
          <p:nvPr/>
        </p:nvPicPr>
        <p:blipFill>
          <a:blip r:embed="rId7" cstate="print"/>
          <a:srcRect/>
          <a:stretch>
            <a:fillRect/>
          </a:stretch>
        </p:blipFill>
        <p:spPr bwMode="auto">
          <a:xfrm>
            <a:off x="8866753" y="3271277"/>
            <a:ext cx="329316" cy="328174"/>
          </a:xfrm>
          <a:prstGeom prst="rect">
            <a:avLst/>
          </a:prstGeom>
          <a:noFill/>
          <a:ln w="9525">
            <a:noFill/>
            <a:miter lim="800000"/>
            <a:headEnd/>
            <a:tailEnd/>
          </a:ln>
        </p:spPr>
      </p:pic>
      <p:pic>
        <p:nvPicPr>
          <p:cNvPr id="208" name="Picture 14" descr="black - 1 quarter.emf">
            <a:extLst>
              <a:ext uri="{FF2B5EF4-FFF2-40B4-BE49-F238E27FC236}">
                <a16:creationId xmlns:a16="http://schemas.microsoft.com/office/drawing/2014/main" id="{0A4D7C6C-7E1E-FF46-938D-30710E154130}"/>
              </a:ext>
            </a:extLst>
          </p:cNvPr>
          <p:cNvPicPr>
            <a:picLocks noChangeAspect="1"/>
          </p:cNvPicPr>
          <p:nvPr/>
        </p:nvPicPr>
        <p:blipFill>
          <a:blip r:embed="rId5" cstate="print"/>
          <a:srcRect/>
          <a:stretch>
            <a:fillRect/>
          </a:stretch>
        </p:blipFill>
        <p:spPr bwMode="auto">
          <a:xfrm>
            <a:off x="10440616" y="3283815"/>
            <a:ext cx="329316" cy="328173"/>
          </a:xfrm>
          <a:prstGeom prst="rect">
            <a:avLst/>
          </a:prstGeom>
          <a:noFill/>
          <a:ln w="9525">
            <a:noFill/>
            <a:miter lim="800000"/>
            <a:headEnd/>
            <a:tailEnd/>
          </a:ln>
        </p:spPr>
      </p:pic>
      <p:pic>
        <p:nvPicPr>
          <p:cNvPr id="209" name="Picture 14" descr="black - 1 quarter.emf">
            <a:extLst>
              <a:ext uri="{FF2B5EF4-FFF2-40B4-BE49-F238E27FC236}">
                <a16:creationId xmlns:a16="http://schemas.microsoft.com/office/drawing/2014/main" id="{5716011D-1CAA-3146-975B-D637B8FCB3B0}"/>
              </a:ext>
            </a:extLst>
          </p:cNvPr>
          <p:cNvPicPr>
            <a:picLocks noChangeAspect="1"/>
          </p:cNvPicPr>
          <p:nvPr/>
        </p:nvPicPr>
        <p:blipFill>
          <a:blip r:embed="rId5" cstate="print"/>
          <a:srcRect/>
          <a:stretch>
            <a:fillRect/>
          </a:stretch>
        </p:blipFill>
        <p:spPr bwMode="auto">
          <a:xfrm>
            <a:off x="4240668" y="3279322"/>
            <a:ext cx="329316" cy="328173"/>
          </a:xfrm>
          <a:prstGeom prst="rect">
            <a:avLst/>
          </a:prstGeom>
          <a:noFill/>
          <a:ln w="9525">
            <a:noFill/>
            <a:miter lim="800000"/>
            <a:headEnd/>
            <a:tailEnd/>
          </a:ln>
        </p:spPr>
      </p:pic>
      <p:pic>
        <p:nvPicPr>
          <p:cNvPr id="210" name="Picture 16" descr="black - half.emf">
            <a:extLst>
              <a:ext uri="{FF2B5EF4-FFF2-40B4-BE49-F238E27FC236}">
                <a16:creationId xmlns:a16="http://schemas.microsoft.com/office/drawing/2014/main" id="{C513FA81-8122-3A46-8558-210383CC6417}"/>
              </a:ext>
            </a:extLst>
          </p:cNvPr>
          <p:cNvPicPr>
            <a:picLocks noChangeAspect="1"/>
          </p:cNvPicPr>
          <p:nvPr/>
        </p:nvPicPr>
        <p:blipFill>
          <a:blip r:embed="rId7" cstate="print"/>
          <a:srcRect/>
          <a:stretch>
            <a:fillRect/>
          </a:stretch>
        </p:blipFill>
        <p:spPr bwMode="auto">
          <a:xfrm>
            <a:off x="2687698" y="3271277"/>
            <a:ext cx="329316" cy="328174"/>
          </a:xfrm>
          <a:prstGeom prst="rect">
            <a:avLst/>
          </a:prstGeom>
          <a:noFill/>
          <a:ln w="9525">
            <a:noFill/>
            <a:miter lim="800000"/>
            <a:headEnd/>
            <a:tailEnd/>
          </a:ln>
        </p:spPr>
      </p:pic>
      <p:pic>
        <p:nvPicPr>
          <p:cNvPr id="212" name="Picture 16" descr="black - half.emf">
            <a:extLst>
              <a:ext uri="{FF2B5EF4-FFF2-40B4-BE49-F238E27FC236}">
                <a16:creationId xmlns:a16="http://schemas.microsoft.com/office/drawing/2014/main" id="{474457A8-CAE3-8449-90F0-3E6EE40594A6}"/>
              </a:ext>
            </a:extLst>
          </p:cNvPr>
          <p:cNvPicPr>
            <a:picLocks noChangeAspect="1"/>
          </p:cNvPicPr>
          <p:nvPr/>
        </p:nvPicPr>
        <p:blipFill>
          <a:blip r:embed="rId7" cstate="print"/>
          <a:srcRect/>
          <a:stretch>
            <a:fillRect/>
          </a:stretch>
        </p:blipFill>
        <p:spPr bwMode="auto">
          <a:xfrm>
            <a:off x="5793638" y="3271277"/>
            <a:ext cx="329316" cy="328174"/>
          </a:xfrm>
          <a:prstGeom prst="rect">
            <a:avLst/>
          </a:prstGeom>
          <a:noFill/>
          <a:ln w="9525">
            <a:noFill/>
            <a:miter lim="800000"/>
            <a:headEnd/>
            <a:tailEnd/>
          </a:ln>
        </p:spPr>
      </p:pic>
      <p:sp>
        <p:nvSpPr>
          <p:cNvPr id="214" name="Ellipse 1">
            <a:extLst>
              <a:ext uri="{FF2B5EF4-FFF2-40B4-BE49-F238E27FC236}">
                <a16:creationId xmlns:a16="http://schemas.microsoft.com/office/drawing/2014/main" id="{7F28A853-07A8-364A-81DC-BDE6B943CD3E}"/>
              </a:ext>
            </a:extLst>
          </p:cNvPr>
          <p:cNvSpPr/>
          <p:nvPr/>
        </p:nvSpPr>
        <p:spPr>
          <a:xfrm>
            <a:off x="5788776" y="4881706"/>
            <a:ext cx="291600" cy="2916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15" name="Picture 16" descr="black - half.emf">
            <a:extLst>
              <a:ext uri="{FF2B5EF4-FFF2-40B4-BE49-F238E27FC236}">
                <a16:creationId xmlns:a16="http://schemas.microsoft.com/office/drawing/2014/main" id="{10463CAB-A04C-AB45-BCF9-3FE17632F28B}"/>
              </a:ext>
            </a:extLst>
          </p:cNvPr>
          <p:cNvPicPr>
            <a:picLocks noChangeAspect="1"/>
          </p:cNvPicPr>
          <p:nvPr/>
        </p:nvPicPr>
        <p:blipFill>
          <a:blip r:embed="rId7" cstate="print"/>
          <a:srcRect/>
          <a:stretch>
            <a:fillRect/>
          </a:stretch>
        </p:blipFill>
        <p:spPr bwMode="auto">
          <a:xfrm>
            <a:off x="7316155" y="4323157"/>
            <a:ext cx="329316" cy="328174"/>
          </a:xfrm>
          <a:prstGeom prst="rect">
            <a:avLst/>
          </a:prstGeom>
          <a:noFill/>
          <a:ln w="9525">
            <a:noFill/>
            <a:miter lim="800000"/>
            <a:headEnd/>
            <a:tailEnd/>
          </a:ln>
        </p:spPr>
      </p:pic>
      <p:pic>
        <p:nvPicPr>
          <p:cNvPr id="216" name="Picture 16" descr="black - half.emf">
            <a:extLst>
              <a:ext uri="{FF2B5EF4-FFF2-40B4-BE49-F238E27FC236}">
                <a16:creationId xmlns:a16="http://schemas.microsoft.com/office/drawing/2014/main" id="{96E1DED1-C630-5043-8E3F-D9FF67776AFC}"/>
              </a:ext>
            </a:extLst>
          </p:cNvPr>
          <p:cNvPicPr>
            <a:picLocks noChangeAspect="1"/>
          </p:cNvPicPr>
          <p:nvPr/>
        </p:nvPicPr>
        <p:blipFill>
          <a:blip r:embed="rId7" cstate="print"/>
          <a:srcRect/>
          <a:stretch>
            <a:fillRect/>
          </a:stretch>
        </p:blipFill>
        <p:spPr bwMode="auto">
          <a:xfrm>
            <a:off x="4231291" y="4321585"/>
            <a:ext cx="329316" cy="328174"/>
          </a:xfrm>
          <a:prstGeom prst="rect">
            <a:avLst/>
          </a:prstGeom>
          <a:noFill/>
          <a:ln w="9525">
            <a:noFill/>
            <a:miter lim="800000"/>
            <a:headEnd/>
            <a:tailEnd/>
          </a:ln>
        </p:spPr>
      </p:pic>
      <p:pic>
        <p:nvPicPr>
          <p:cNvPr id="217" name="Picture 15" descr="black - 3 quarters.emf">
            <a:extLst>
              <a:ext uri="{FF2B5EF4-FFF2-40B4-BE49-F238E27FC236}">
                <a16:creationId xmlns:a16="http://schemas.microsoft.com/office/drawing/2014/main" id="{ECC5BA18-7DD4-2B43-83E6-9AA034CA1F4D}"/>
              </a:ext>
            </a:extLst>
          </p:cNvPr>
          <p:cNvPicPr>
            <a:picLocks noChangeAspect="1"/>
          </p:cNvPicPr>
          <p:nvPr/>
        </p:nvPicPr>
        <p:blipFill>
          <a:blip r:embed="rId3" cstate="print"/>
          <a:srcRect/>
          <a:stretch>
            <a:fillRect/>
          </a:stretch>
        </p:blipFill>
        <p:spPr bwMode="auto">
          <a:xfrm>
            <a:off x="5793638" y="4319827"/>
            <a:ext cx="329316" cy="328174"/>
          </a:xfrm>
          <a:prstGeom prst="rect">
            <a:avLst/>
          </a:prstGeom>
          <a:noFill/>
          <a:ln w="9525">
            <a:noFill/>
            <a:miter lim="800000"/>
            <a:headEnd/>
            <a:tailEnd/>
          </a:ln>
        </p:spPr>
      </p:pic>
      <p:pic>
        <p:nvPicPr>
          <p:cNvPr id="218" name="Picture 14" descr="black - 1 quarter.emf">
            <a:extLst>
              <a:ext uri="{FF2B5EF4-FFF2-40B4-BE49-F238E27FC236}">
                <a16:creationId xmlns:a16="http://schemas.microsoft.com/office/drawing/2014/main" id="{02801D2E-6DFB-5047-94C4-E56D9BFA12A0}"/>
              </a:ext>
            </a:extLst>
          </p:cNvPr>
          <p:cNvPicPr>
            <a:picLocks noChangeAspect="1"/>
          </p:cNvPicPr>
          <p:nvPr/>
        </p:nvPicPr>
        <p:blipFill>
          <a:blip r:embed="rId5" cstate="print"/>
          <a:srcRect/>
          <a:stretch>
            <a:fillRect/>
          </a:stretch>
        </p:blipFill>
        <p:spPr bwMode="auto">
          <a:xfrm>
            <a:off x="8883733" y="4316217"/>
            <a:ext cx="329316" cy="328173"/>
          </a:xfrm>
          <a:prstGeom prst="rect">
            <a:avLst/>
          </a:prstGeom>
          <a:noFill/>
          <a:ln w="9525">
            <a:noFill/>
            <a:miter lim="800000"/>
            <a:headEnd/>
            <a:tailEnd/>
          </a:ln>
        </p:spPr>
      </p:pic>
      <p:pic>
        <p:nvPicPr>
          <p:cNvPr id="219" name="Picture 16" descr="black - half.emf">
            <a:extLst>
              <a:ext uri="{FF2B5EF4-FFF2-40B4-BE49-F238E27FC236}">
                <a16:creationId xmlns:a16="http://schemas.microsoft.com/office/drawing/2014/main" id="{5B4E0D6C-F923-F747-8D79-E4E2B4BD6BD8}"/>
              </a:ext>
            </a:extLst>
          </p:cNvPr>
          <p:cNvPicPr>
            <a:picLocks noChangeAspect="1"/>
          </p:cNvPicPr>
          <p:nvPr/>
        </p:nvPicPr>
        <p:blipFill>
          <a:blip r:embed="rId7" cstate="print"/>
          <a:srcRect/>
          <a:stretch>
            <a:fillRect/>
          </a:stretch>
        </p:blipFill>
        <p:spPr bwMode="auto">
          <a:xfrm>
            <a:off x="10449189" y="4323157"/>
            <a:ext cx="329316" cy="328174"/>
          </a:xfrm>
          <a:prstGeom prst="rect">
            <a:avLst/>
          </a:prstGeom>
          <a:noFill/>
          <a:ln w="9525">
            <a:noFill/>
            <a:miter lim="800000"/>
            <a:headEnd/>
            <a:tailEnd/>
          </a:ln>
        </p:spPr>
      </p:pic>
      <p:pic>
        <p:nvPicPr>
          <p:cNvPr id="220" name="Picture 16" descr="black - half.emf">
            <a:extLst>
              <a:ext uri="{FF2B5EF4-FFF2-40B4-BE49-F238E27FC236}">
                <a16:creationId xmlns:a16="http://schemas.microsoft.com/office/drawing/2014/main" id="{19822D59-0188-594E-AFE4-9C3781B15FE8}"/>
              </a:ext>
            </a:extLst>
          </p:cNvPr>
          <p:cNvPicPr>
            <a:picLocks noChangeAspect="1"/>
          </p:cNvPicPr>
          <p:nvPr/>
        </p:nvPicPr>
        <p:blipFill>
          <a:blip r:embed="rId7" cstate="print"/>
          <a:srcRect/>
          <a:stretch>
            <a:fillRect/>
          </a:stretch>
        </p:blipFill>
        <p:spPr bwMode="auto">
          <a:xfrm>
            <a:off x="2672144" y="4844421"/>
            <a:ext cx="329316" cy="328174"/>
          </a:xfrm>
          <a:prstGeom prst="rect">
            <a:avLst/>
          </a:prstGeom>
          <a:noFill/>
          <a:ln w="9525">
            <a:noFill/>
            <a:miter lim="800000"/>
            <a:headEnd/>
            <a:tailEnd/>
          </a:ln>
        </p:spPr>
      </p:pic>
      <p:pic>
        <p:nvPicPr>
          <p:cNvPr id="221" name="Picture 17" descr="black - whole.emf">
            <a:extLst>
              <a:ext uri="{FF2B5EF4-FFF2-40B4-BE49-F238E27FC236}">
                <a16:creationId xmlns:a16="http://schemas.microsoft.com/office/drawing/2014/main" id="{199C2A1B-48FB-5B41-B94E-75CAE1954D0D}"/>
              </a:ext>
            </a:extLst>
          </p:cNvPr>
          <p:cNvPicPr>
            <a:picLocks noChangeAspect="1"/>
          </p:cNvPicPr>
          <p:nvPr/>
        </p:nvPicPr>
        <p:blipFill>
          <a:blip r:embed="rId4" cstate="print"/>
          <a:srcRect/>
          <a:stretch>
            <a:fillRect/>
          </a:stretch>
        </p:blipFill>
        <p:spPr bwMode="auto">
          <a:xfrm>
            <a:off x="4231291" y="4857872"/>
            <a:ext cx="329316" cy="328174"/>
          </a:xfrm>
          <a:prstGeom prst="rect">
            <a:avLst/>
          </a:prstGeom>
          <a:noFill/>
          <a:ln w="9525">
            <a:noFill/>
            <a:miter lim="800000"/>
            <a:headEnd/>
            <a:tailEnd/>
          </a:ln>
        </p:spPr>
      </p:pic>
      <p:pic>
        <p:nvPicPr>
          <p:cNvPr id="222" name="Picture 16" descr="black - half.emf">
            <a:extLst>
              <a:ext uri="{FF2B5EF4-FFF2-40B4-BE49-F238E27FC236}">
                <a16:creationId xmlns:a16="http://schemas.microsoft.com/office/drawing/2014/main" id="{7D8019D8-C300-5E49-9D4D-DFCA3FF2A80D}"/>
              </a:ext>
            </a:extLst>
          </p:cNvPr>
          <p:cNvPicPr>
            <a:picLocks noChangeAspect="1"/>
          </p:cNvPicPr>
          <p:nvPr/>
        </p:nvPicPr>
        <p:blipFill>
          <a:blip r:embed="rId7" cstate="print"/>
          <a:srcRect/>
          <a:stretch>
            <a:fillRect/>
          </a:stretch>
        </p:blipFill>
        <p:spPr bwMode="auto">
          <a:xfrm>
            <a:off x="7313042" y="4844421"/>
            <a:ext cx="329316" cy="328174"/>
          </a:xfrm>
          <a:prstGeom prst="rect">
            <a:avLst/>
          </a:prstGeom>
          <a:noFill/>
          <a:ln w="9525">
            <a:noFill/>
            <a:miter lim="800000"/>
            <a:headEnd/>
            <a:tailEnd/>
          </a:ln>
        </p:spPr>
      </p:pic>
      <p:sp>
        <p:nvSpPr>
          <p:cNvPr id="223" name="Ellipse 1">
            <a:extLst>
              <a:ext uri="{FF2B5EF4-FFF2-40B4-BE49-F238E27FC236}">
                <a16:creationId xmlns:a16="http://schemas.microsoft.com/office/drawing/2014/main" id="{8DEFA877-C324-F048-B9E9-9173E83C4187}"/>
              </a:ext>
            </a:extLst>
          </p:cNvPr>
          <p:cNvSpPr/>
          <p:nvPr/>
        </p:nvSpPr>
        <p:spPr>
          <a:xfrm>
            <a:off x="10451114" y="4881706"/>
            <a:ext cx="291600" cy="2916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5" name="Rounded Rectangle 224">
            <a:extLst>
              <a:ext uri="{FF2B5EF4-FFF2-40B4-BE49-F238E27FC236}">
                <a16:creationId xmlns:a16="http://schemas.microsoft.com/office/drawing/2014/main" id="{C8416652-7860-7446-AAA2-AE33A955A029}"/>
              </a:ext>
            </a:extLst>
          </p:cNvPr>
          <p:cNvSpPr/>
          <p:nvPr/>
        </p:nvSpPr>
        <p:spPr>
          <a:xfrm>
            <a:off x="620911" y="5349822"/>
            <a:ext cx="10948800" cy="53422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50" b="1" dirty="0"/>
              <a:t>DBS should launch an initiative that accommodates to the rising, tech-savvy Asian middle-class</a:t>
            </a:r>
          </a:p>
        </p:txBody>
      </p:sp>
      <p:sp>
        <p:nvSpPr>
          <p:cNvPr id="15" name="Rectangle 14">
            <a:extLst>
              <a:ext uri="{FF2B5EF4-FFF2-40B4-BE49-F238E27FC236}">
                <a16:creationId xmlns:a16="http://schemas.microsoft.com/office/drawing/2014/main" id="{5E2F6A2F-3DC1-6444-9690-56AA7515A1A6}"/>
              </a:ext>
            </a:extLst>
          </p:cNvPr>
          <p:cNvSpPr/>
          <p:nvPr/>
        </p:nvSpPr>
        <p:spPr>
          <a:xfrm>
            <a:off x="3425642" y="2658495"/>
            <a:ext cx="7923357" cy="262206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6A398405-A042-4348-BA95-11822BB52712}"/>
              </a:ext>
            </a:extLst>
          </p:cNvPr>
          <p:cNvSpPr txBox="1"/>
          <p:nvPr/>
        </p:nvSpPr>
        <p:spPr>
          <a:xfrm>
            <a:off x="863387" y="2639182"/>
            <a:ext cx="1561954" cy="430887"/>
          </a:xfrm>
          <a:prstGeom prst="rect">
            <a:avLst/>
          </a:prstGeom>
          <a:noFill/>
        </p:spPr>
        <p:txBody>
          <a:bodyPr wrap="square" rtlCol="0">
            <a:spAutoFit/>
          </a:bodyPr>
          <a:lstStyle/>
          <a:p>
            <a:r>
              <a:rPr lang="en-GB" sz="1100" dirty="0"/>
              <a:t>Asian customers breakdown</a:t>
            </a:r>
          </a:p>
        </p:txBody>
      </p:sp>
    </p:spTree>
    <p:extLst>
      <p:ext uri="{BB962C8B-B14F-4D97-AF65-F5344CB8AC3E}">
        <p14:creationId xmlns:p14="http://schemas.microsoft.com/office/powerpoint/2010/main" val="2241146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3"/>
          </p:nvPr>
        </p:nvSpPr>
        <p:spPr/>
        <p:txBody>
          <a:bodyPr/>
          <a:lstStyle/>
          <a:p>
            <a:endParaRPr lang="en-GB"/>
          </a:p>
        </p:txBody>
      </p:sp>
      <p:sp>
        <p:nvSpPr>
          <p:cNvPr id="3" name="Pladsholder til tekst 2"/>
          <p:cNvSpPr>
            <a:spLocks noGrp="1"/>
          </p:cNvSpPr>
          <p:nvPr>
            <p:ph type="body" sz="quarter" idx="15"/>
          </p:nvPr>
        </p:nvSpPr>
        <p:spPr/>
        <p:txBody>
          <a:bodyPr/>
          <a:lstStyle/>
          <a:p>
            <a:endParaRPr lang="en-GB"/>
          </a:p>
        </p:txBody>
      </p:sp>
      <p:sp>
        <p:nvSpPr>
          <p:cNvPr id="4" name="Titel 3"/>
          <p:cNvSpPr>
            <a:spLocks noGrp="1"/>
          </p:cNvSpPr>
          <p:nvPr>
            <p:ph type="title"/>
          </p:nvPr>
        </p:nvSpPr>
        <p:spPr>
          <a:xfrm>
            <a:off x="527050" y="127212"/>
            <a:ext cx="9314374" cy="925103"/>
          </a:xfrm>
          <a:prstGeom prst="rect">
            <a:avLst/>
          </a:prstGeom>
        </p:spPr>
        <p:txBody>
          <a:bodyPr/>
          <a:lstStyle/>
          <a:p>
            <a:r>
              <a:rPr lang="en-GB"/>
              <a:t>Customer Segments</a:t>
            </a:r>
          </a:p>
        </p:txBody>
      </p:sp>
      <p:pic>
        <p:nvPicPr>
          <p:cNvPr id="64" name="Picture 13" descr="white - whole.emf"/>
          <p:cNvPicPr>
            <a:picLocks noChangeAspect="1"/>
          </p:cNvPicPr>
          <p:nvPr/>
        </p:nvPicPr>
        <p:blipFill>
          <a:blip r:embed="rId3" cstate="print"/>
          <a:srcRect/>
          <a:stretch>
            <a:fillRect/>
          </a:stretch>
        </p:blipFill>
        <p:spPr bwMode="auto">
          <a:xfrm>
            <a:off x="15284295" y="3345598"/>
            <a:ext cx="329316" cy="328174"/>
          </a:xfrm>
          <a:prstGeom prst="rect">
            <a:avLst/>
          </a:prstGeom>
          <a:noFill/>
          <a:ln w="9525">
            <a:noFill/>
            <a:miter lim="800000"/>
            <a:headEnd/>
            <a:tailEnd/>
          </a:ln>
        </p:spPr>
      </p:pic>
      <p:cxnSp>
        <p:nvCxnSpPr>
          <p:cNvPr id="5" name="Lige forbindelse 4"/>
          <p:cNvCxnSpPr/>
          <p:nvPr/>
        </p:nvCxnSpPr>
        <p:spPr>
          <a:xfrm flipV="1">
            <a:off x="727234" y="4153954"/>
            <a:ext cx="10349809" cy="61625"/>
          </a:xfrm>
          <a:prstGeom prst="line">
            <a:avLst/>
          </a:prstGeom>
          <a:ln w="127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 name="Lige forbindelse 9"/>
          <p:cNvCxnSpPr/>
          <p:nvPr/>
        </p:nvCxnSpPr>
        <p:spPr>
          <a:xfrm>
            <a:off x="727234" y="4687714"/>
            <a:ext cx="10349809" cy="79104"/>
          </a:xfrm>
          <a:prstGeom prst="line">
            <a:avLst/>
          </a:prstGeom>
          <a:ln w="127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 name="Lige forbindelse 10"/>
          <p:cNvCxnSpPr/>
          <p:nvPr/>
        </p:nvCxnSpPr>
        <p:spPr>
          <a:xfrm>
            <a:off x="727234" y="5219032"/>
            <a:ext cx="10349809" cy="3908"/>
          </a:xfrm>
          <a:prstGeom prst="line">
            <a:avLst/>
          </a:prstGeom>
          <a:ln w="127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39" name="Billede 38"/>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874135" y="2814777"/>
            <a:ext cx="545587" cy="545587"/>
          </a:xfrm>
          <a:prstGeom prst="rect">
            <a:avLst/>
          </a:prstGeom>
        </p:spPr>
      </p:pic>
      <p:pic>
        <p:nvPicPr>
          <p:cNvPr id="40" name="Billede 39"/>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670043" y="2814777"/>
            <a:ext cx="545587" cy="545587"/>
          </a:xfrm>
          <a:prstGeom prst="rect">
            <a:avLst/>
          </a:prstGeom>
        </p:spPr>
      </p:pic>
      <p:pic>
        <p:nvPicPr>
          <p:cNvPr id="41" name="Billede 4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04861" y="2814667"/>
            <a:ext cx="545587" cy="545587"/>
          </a:xfrm>
          <a:prstGeom prst="rect">
            <a:avLst/>
          </a:prstGeom>
        </p:spPr>
      </p:pic>
      <p:pic>
        <p:nvPicPr>
          <p:cNvPr id="42" name="Billede 41"/>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14561" y="2836549"/>
            <a:ext cx="545587" cy="545587"/>
          </a:xfrm>
          <a:prstGeom prst="rect">
            <a:avLst/>
          </a:prstGeom>
        </p:spPr>
      </p:pic>
      <p:pic>
        <p:nvPicPr>
          <p:cNvPr id="43" name="Billede 42"/>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055708" y="2836549"/>
            <a:ext cx="545587" cy="545587"/>
          </a:xfrm>
          <a:prstGeom prst="rect">
            <a:avLst/>
          </a:prstGeom>
        </p:spPr>
      </p:pic>
      <p:sp>
        <p:nvSpPr>
          <p:cNvPr id="44" name="Tekstfelt 43"/>
          <p:cNvSpPr txBox="1"/>
          <p:nvPr/>
        </p:nvSpPr>
        <p:spPr>
          <a:xfrm>
            <a:off x="2643502" y="3438865"/>
            <a:ext cx="975855" cy="461665"/>
          </a:xfrm>
          <a:prstGeom prst="rect">
            <a:avLst/>
          </a:prstGeom>
          <a:noFill/>
        </p:spPr>
        <p:txBody>
          <a:bodyPr wrap="square" rtlCol="0">
            <a:spAutoFit/>
          </a:bodyPr>
          <a:lstStyle/>
          <a:p>
            <a:pPr algn="ctr"/>
            <a:r>
              <a:rPr lang="en-GB" sz="1200" b="1"/>
              <a:t>The Aware Shopper</a:t>
            </a:r>
          </a:p>
        </p:txBody>
      </p:sp>
      <p:sp>
        <p:nvSpPr>
          <p:cNvPr id="45" name="Tekstfelt 44"/>
          <p:cNvSpPr txBox="1"/>
          <p:nvPr/>
        </p:nvSpPr>
        <p:spPr>
          <a:xfrm>
            <a:off x="4157023" y="3417093"/>
            <a:ext cx="1571625" cy="461665"/>
          </a:xfrm>
          <a:prstGeom prst="rect">
            <a:avLst/>
          </a:prstGeom>
          <a:noFill/>
        </p:spPr>
        <p:txBody>
          <a:bodyPr wrap="square" rtlCol="0">
            <a:spAutoFit/>
          </a:bodyPr>
          <a:lstStyle/>
          <a:p>
            <a:pPr algn="ctr"/>
            <a:r>
              <a:rPr lang="en-GB" sz="1200" b="1"/>
              <a:t>The Promotion-hunter</a:t>
            </a:r>
          </a:p>
        </p:txBody>
      </p:sp>
      <p:sp>
        <p:nvSpPr>
          <p:cNvPr id="46" name="Tekstfelt 45"/>
          <p:cNvSpPr txBox="1"/>
          <p:nvPr/>
        </p:nvSpPr>
        <p:spPr>
          <a:xfrm>
            <a:off x="6063278" y="3416983"/>
            <a:ext cx="1428750" cy="461665"/>
          </a:xfrm>
          <a:prstGeom prst="rect">
            <a:avLst/>
          </a:prstGeom>
          <a:noFill/>
        </p:spPr>
        <p:txBody>
          <a:bodyPr wrap="square" rtlCol="0">
            <a:spAutoFit/>
          </a:bodyPr>
          <a:lstStyle/>
          <a:p>
            <a:pPr algn="ctr"/>
            <a:r>
              <a:rPr lang="en-GB" sz="1200" b="1"/>
              <a:t>The Innovative Shopper</a:t>
            </a:r>
          </a:p>
        </p:txBody>
      </p:sp>
      <p:sp>
        <p:nvSpPr>
          <p:cNvPr id="47" name="Tekstfelt 46"/>
          <p:cNvSpPr txBox="1"/>
          <p:nvPr/>
        </p:nvSpPr>
        <p:spPr>
          <a:xfrm>
            <a:off x="7937921" y="3438865"/>
            <a:ext cx="1298864" cy="461665"/>
          </a:xfrm>
          <a:prstGeom prst="rect">
            <a:avLst/>
          </a:prstGeom>
          <a:noFill/>
        </p:spPr>
        <p:txBody>
          <a:bodyPr wrap="square" rtlCol="0">
            <a:spAutoFit/>
          </a:bodyPr>
          <a:lstStyle/>
          <a:p>
            <a:pPr algn="ctr"/>
            <a:r>
              <a:rPr lang="en-GB" sz="1200" b="1"/>
              <a:t>The Habitual Shopper</a:t>
            </a:r>
          </a:p>
        </p:txBody>
      </p:sp>
      <p:sp>
        <p:nvSpPr>
          <p:cNvPr id="48" name="Tekstfelt 47"/>
          <p:cNvSpPr txBox="1"/>
          <p:nvPr/>
        </p:nvSpPr>
        <p:spPr>
          <a:xfrm>
            <a:off x="9679068" y="3438865"/>
            <a:ext cx="1298864" cy="461665"/>
          </a:xfrm>
          <a:prstGeom prst="rect">
            <a:avLst/>
          </a:prstGeom>
          <a:noFill/>
        </p:spPr>
        <p:txBody>
          <a:bodyPr wrap="square" rtlCol="0">
            <a:spAutoFit/>
          </a:bodyPr>
          <a:lstStyle/>
          <a:p>
            <a:pPr algn="ctr"/>
            <a:r>
              <a:rPr lang="en-GB" sz="1200" b="1"/>
              <a:t>The Critical Shopper</a:t>
            </a:r>
          </a:p>
        </p:txBody>
      </p:sp>
      <p:sp>
        <p:nvSpPr>
          <p:cNvPr id="54" name="Tekstfelt 53"/>
          <p:cNvSpPr txBox="1"/>
          <p:nvPr/>
        </p:nvSpPr>
        <p:spPr>
          <a:xfrm>
            <a:off x="722338" y="3930408"/>
            <a:ext cx="1414955" cy="261610"/>
          </a:xfrm>
          <a:prstGeom prst="rect">
            <a:avLst/>
          </a:prstGeom>
          <a:noFill/>
        </p:spPr>
        <p:txBody>
          <a:bodyPr wrap="square" rtlCol="0">
            <a:spAutoFit/>
          </a:bodyPr>
          <a:lstStyle/>
          <a:p>
            <a:r>
              <a:rPr lang="en-GB" sz="1100" b="1"/>
              <a:t>Age group</a:t>
            </a:r>
          </a:p>
        </p:txBody>
      </p:sp>
      <p:sp>
        <p:nvSpPr>
          <p:cNvPr id="55" name="Tekstfelt 54"/>
          <p:cNvSpPr txBox="1"/>
          <p:nvPr/>
        </p:nvSpPr>
        <p:spPr>
          <a:xfrm>
            <a:off x="700934" y="4401062"/>
            <a:ext cx="1865553" cy="261610"/>
          </a:xfrm>
          <a:prstGeom prst="rect">
            <a:avLst/>
          </a:prstGeom>
          <a:noFill/>
        </p:spPr>
        <p:txBody>
          <a:bodyPr wrap="square" rtlCol="0">
            <a:spAutoFit/>
          </a:bodyPr>
          <a:lstStyle/>
          <a:p>
            <a:r>
              <a:rPr lang="en-GB" sz="1100" b="1"/>
              <a:t>Loyalty</a:t>
            </a:r>
          </a:p>
        </p:txBody>
      </p:sp>
      <p:sp>
        <p:nvSpPr>
          <p:cNvPr id="57" name="Tekstfelt 56"/>
          <p:cNvSpPr txBox="1"/>
          <p:nvPr/>
        </p:nvSpPr>
        <p:spPr>
          <a:xfrm>
            <a:off x="722338" y="4934752"/>
            <a:ext cx="1865553" cy="261610"/>
          </a:xfrm>
          <a:prstGeom prst="rect">
            <a:avLst/>
          </a:prstGeom>
          <a:noFill/>
        </p:spPr>
        <p:txBody>
          <a:bodyPr wrap="square" rtlCol="0">
            <a:spAutoFit/>
          </a:bodyPr>
          <a:lstStyle/>
          <a:p>
            <a:r>
              <a:rPr lang="en-GB" sz="1100" b="1"/>
              <a:t>Price-consciousness</a:t>
            </a:r>
          </a:p>
        </p:txBody>
      </p:sp>
      <p:sp>
        <p:nvSpPr>
          <p:cNvPr id="58" name="Tekstfelt 57"/>
          <p:cNvSpPr txBox="1"/>
          <p:nvPr/>
        </p:nvSpPr>
        <p:spPr>
          <a:xfrm>
            <a:off x="700934" y="5464064"/>
            <a:ext cx="1865553" cy="261610"/>
          </a:xfrm>
          <a:prstGeom prst="rect">
            <a:avLst/>
          </a:prstGeom>
          <a:noFill/>
        </p:spPr>
        <p:txBody>
          <a:bodyPr wrap="square" rtlCol="0">
            <a:spAutoFit/>
          </a:bodyPr>
          <a:lstStyle/>
          <a:p>
            <a:r>
              <a:rPr lang="en-GB" sz="1100" b="1"/>
              <a:t>Main challenge</a:t>
            </a:r>
          </a:p>
        </p:txBody>
      </p:sp>
      <p:sp>
        <p:nvSpPr>
          <p:cNvPr id="59" name="Tekstfelt 58"/>
          <p:cNvSpPr txBox="1"/>
          <p:nvPr/>
        </p:nvSpPr>
        <p:spPr>
          <a:xfrm>
            <a:off x="2660498" y="3902716"/>
            <a:ext cx="966434" cy="261610"/>
          </a:xfrm>
          <a:prstGeom prst="rect">
            <a:avLst/>
          </a:prstGeom>
          <a:noFill/>
        </p:spPr>
        <p:txBody>
          <a:bodyPr wrap="square" rtlCol="0">
            <a:spAutoFit/>
          </a:bodyPr>
          <a:lstStyle/>
          <a:p>
            <a:pPr algn="ctr"/>
            <a:r>
              <a:rPr lang="en-GB" sz="1050"/>
              <a:t>17-35</a:t>
            </a:r>
          </a:p>
        </p:txBody>
      </p:sp>
      <p:sp>
        <p:nvSpPr>
          <p:cNvPr id="60" name="Tekstfelt 59"/>
          <p:cNvSpPr txBox="1"/>
          <p:nvPr/>
        </p:nvSpPr>
        <p:spPr>
          <a:xfrm>
            <a:off x="4459618" y="3897530"/>
            <a:ext cx="966434" cy="261610"/>
          </a:xfrm>
          <a:prstGeom prst="rect">
            <a:avLst/>
          </a:prstGeom>
          <a:noFill/>
        </p:spPr>
        <p:txBody>
          <a:bodyPr wrap="square" rtlCol="0">
            <a:spAutoFit/>
          </a:bodyPr>
          <a:lstStyle/>
          <a:p>
            <a:pPr algn="ctr"/>
            <a:r>
              <a:rPr lang="en-GB" sz="1050"/>
              <a:t>35-44</a:t>
            </a:r>
          </a:p>
        </p:txBody>
      </p:sp>
      <p:sp>
        <p:nvSpPr>
          <p:cNvPr id="61" name="Tekstfelt 60"/>
          <p:cNvSpPr txBox="1"/>
          <p:nvPr/>
        </p:nvSpPr>
        <p:spPr>
          <a:xfrm>
            <a:off x="6269432" y="3902716"/>
            <a:ext cx="966434" cy="261610"/>
          </a:xfrm>
          <a:prstGeom prst="rect">
            <a:avLst/>
          </a:prstGeom>
          <a:noFill/>
        </p:spPr>
        <p:txBody>
          <a:bodyPr wrap="square" rtlCol="0">
            <a:spAutoFit/>
          </a:bodyPr>
          <a:lstStyle/>
          <a:p>
            <a:pPr algn="ctr"/>
            <a:r>
              <a:rPr lang="en-GB" sz="1050"/>
              <a:t>17-35</a:t>
            </a:r>
          </a:p>
        </p:txBody>
      </p:sp>
      <p:sp>
        <p:nvSpPr>
          <p:cNvPr id="62" name="Tekstfelt 61"/>
          <p:cNvSpPr txBox="1"/>
          <p:nvPr/>
        </p:nvSpPr>
        <p:spPr>
          <a:xfrm>
            <a:off x="8104136" y="3921795"/>
            <a:ext cx="966434" cy="261610"/>
          </a:xfrm>
          <a:prstGeom prst="rect">
            <a:avLst/>
          </a:prstGeom>
          <a:noFill/>
        </p:spPr>
        <p:txBody>
          <a:bodyPr wrap="square" rtlCol="0">
            <a:spAutoFit/>
          </a:bodyPr>
          <a:lstStyle/>
          <a:p>
            <a:pPr algn="ctr"/>
            <a:r>
              <a:rPr lang="en-GB" sz="1050"/>
              <a:t>44-50</a:t>
            </a:r>
          </a:p>
        </p:txBody>
      </p:sp>
      <p:sp>
        <p:nvSpPr>
          <p:cNvPr id="63" name="Tekstfelt 62"/>
          <p:cNvSpPr txBox="1"/>
          <p:nvPr/>
        </p:nvSpPr>
        <p:spPr>
          <a:xfrm>
            <a:off x="9845283" y="3891759"/>
            <a:ext cx="966434" cy="261610"/>
          </a:xfrm>
          <a:prstGeom prst="rect">
            <a:avLst/>
          </a:prstGeom>
          <a:noFill/>
        </p:spPr>
        <p:txBody>
          <a:bodyPr wrap="square" rtlCol="0">
            <a:spAutoFit/>
          </a:bodyPr>
          <a:lstStyle/>
          <a:p>
            <a:pPr algn="ctr"/>
            <a:r>
              <a:rPr lang="en-GB" sz="1050"/>
              <a:t>55+</a:t>
            </a:r>
          </a:p>
        </p:txBody>
      </p:sp>
      <p:pic>
        <p:nvPicPr>
          <p:cNvPr id="65" name="Picture 14" descr="black - 1 quarter.emf"/>
          <p:cNvPicPr>
            <a:picLocks noChangeAspect="1"/>
          </p:cNvPicPr>
          <p:nvPr/>
        </p:nvPicPr>
        <p:blipFill>
          <a:blip r:embed="rId5" cstate="print"/>
          <a:srcRect/>
          <a:stretch>
            <a:fillRect/>
          </a:stretch>
        </p:blipFill>
        <p:spPr bwMode="auto">
          <a:xfrm>
            <a:off x="2979057" y="4827967"/>
            <a:ext cx="329316" cy="328173"/>
          </a:xfrm>
          <a:prstGeom prst="rect">
            <a:avLst/>
          </a:prstGeom>
          <a:noFill/>
          <a:ln w="9525">
            <a:noFill/>
            <a:miter lim="800000"/>
            <a:headEnd/>
            <a:tailEnd/>
          </a:ln>
        </p:spPr>
      </p:pic>
      <p:pic>
        <p:nvPicPr>
          <p:cNvPr id="67" name="Picture 16" descr="black - half.emf"/>
          <p:cNvPicPr>
            <a:picLocks noChangeAspect="1"/>
          </p:cNvPicPr>
          <p:nvPr/>
        </p:nvPicPr>
        <p:blipFill>
          <a:blip r:embed="rId6" cstate="print"/>
          <a:srcRect/>
          <a:stretch>
            <a:fillRect/>
          </a:stretch>
        </p:blipFill>
        <p:spPr bwMode="auto">
          <a:xfrm>
            <a:off x="4778177" y="4336061"/>
            <a:ext cx="329316" cy="328174"/>
          </a:xfrm>
          <a:prstGeom prst="rect">
            <a:avLst/>
          </a:prstGeom>
          <a:noFill/>
          <a:ln w="9525">
            <a:noFill/>
            <a:miter lim="800000"/>
            <a:headEnd/>
            <a:tailEnd/>
          </a:ln>
        </p:spPr>
      </p:pic>
      <p:pic>
        <p:nvPicPr>
          <p:cNvPr id="68" name="Picture 17" descr="black - whole.emf"/>
          <p:cNvPicPr>
            <a:picLocks noChangeAspect="1"/>
          </p:cNvPicPr>
          <p:nvPr/>
        </p:nvPicPr>
        <p:blipFill>
          <a:blip r:embed="rId7" cstate="print"/>
          <a:srcRect/>
          <a:stretch>
            <a:fillRect/>
          </a:stretch>
        </p:blipFill>
        <p:spPr bwMode="auto">
          <a:xfrm>
            <a:off x="2966771" y="4311529"/>
            <a:ext cx="329316" cy="328174"/>
          </a:xfrm>
          <a:prstGeom prst="rect">
            <a:avLst/>
          </a:prstGeom>
          <a:noFill/>
          <a:ln w="9525">
            <a:noFill/>
            <a:miter lim="800000"/>
            <a:headEnd/>
            <a:tailEnd/>
          </a:ln>
        </p:spPr>
      </p:pic>
      <p:pic>
        <p:nvPicPr>
          <p:cNvPr id="70" name="Picture 17" descr="black - whole.emf"/>
          <p:cNvPicPr>
            <a:picLocks noChangeAspect="1"/>
          </p:cNvPicPr>
          <p:nvPr/>
        </p:nvPicPr>
        <p:blipFill>
          <a:blip r:embed="rId7" cstate="print"/>
          <a:srcRect/>
          <a:stretch>
            <a:fillRect/>
          </a:stretch>
        </p:blipFill>
        <p:spPr bwMode="auto">
          <a:xfrm>
            <a:off x="6593903" y="4331186"/>
            <a:ext cx="329316" cy="328174"/>
          </a:xfrm>
          <a:prstGeom prst="rect">
            <a:avLst/>
          </a:prstGeom>
          <a:noFill/>
          <a:ln w="9525">
            <a:noFill/>
            <a:miter lim="800000"/>
            <a:headEnd/>
            <a:tailEnd/>
          </a:ln>
        </p:spPr>
      </p:pic>
      <p:pic>
        <p:nvPicPr>
          <p:cNvPr id="71" name="Picture 14" descr="black - 1 quarter.emf"/>
          <p:cNvPicPr>
            <a:picLocks noChangeAspect="1"/>
          </p:cNvPicPr>
          <p:nvPr/>
        </p:nvPicPr>
        <p:blipFill>
          <a:blip r:embed="rId5" cstate="print"/>
          <a:srcRect/>
          <a:stretch>
            <a:fillRect/>
          </a:stretch>
        </p:blipFill>
        <p:spPr bwMode="auto">
          <a:xfrm>
            <a:off x="4780623" y="4832040"/>
            <a:ext cx="329316" cy="328173"/>
          </a:xfrm>
          <a:prstGeom prst="rect">
            <a:avLst/>
          </a:prstGeom>
          <a:noFill/>
          <a:ln w="9525">
            <a:noFill/>
            <a:miter lim="800000"/>
            <a:headEnd/>
            <a:tailEnd/>
          </a:ln>
        </p:spPr>
      </p:pic>
      <p:pic>
        <p:nvPicPr>
          <p:cNvPr id="72" name="Picture 16" descr="black - half.emf"/>
          <p:cNvPicPr>
            <a:picLocks noChangeAspect="1"/>
          </p:cNvPicPr>
          <p:nvPr/>
        </p:nvPicPr>
        <p:blipFill>
          <a:blip r:embed="rId6" cstate="print"/>
          <a:srcRect/>
          <a:stretch>
            <a:fillRect/>
          </a:stretch>
        </p:blipFill>
        <p:spPr bwMode="auto">
          <a:xfrm>
            <a:off x="6593903" y="4824854"/>
            <a:ext cx="329316" cy="328174"/>
          </a:xfrm>
          <a:prstGeom prst="rect">
            <a:avLst/>
          </a:prstGeom>
          <a:noFill/>
          <a:ln w="9525">
            <a:noFill/>
            <a:miter lim="800000"/>
            <a:headEnd/>
            <a:tailEnd/>
          </a:ln>
        </p:spPr>
      </p:pic>
      <p:pic>
        <p:nvPicPr>
          <p:cNvPr id="73" name="Picture 14" descr="black - 1 quarter.emf"/>
          <p:cNvPicPr>
            <a:picLocks noChangeAspect="1"/>
          </p:cNvPicPr>
          <p:nvPr/>
        </p:nvPicPr>
        <p:blipFill>
          <a:blip r:embed="rId5" cstate="print"/>
          <a:srcRect/>
          <a:stretch>
            <a:fillRect/>
          </a:stretch>
        </p:blipFill>
        <p:spPr bwMode="auto">
          <a:xfrm>
            <a:off x="8422695" y="4328421"/>
            <a:ext cx="329316" cy="328173"/>
          </a:xfrm>
          <a:prstGeom prst="rect">
            <a:avLst/>
          </a:prstGeom>
          <a:noFill/>
          <a:ln w="9525">
            <a:noFill/>
            <a:miter lim="800000"/>
            <a:headEnd/>
            <a:tailEnd/>
          </a:ln>
        </p:spPr>
      </p:pic>
      <p:pic>
        <p:nvPicPr>
          <p:cNvPr id="74" name="Picture 14" descr="black - 1 quarter.emf"/>
          <p:cNvPicPr>
            <a:picLocks noChangeAspect="1"/>
          </p:cNvPicPr>
          <p:nvPr/>
        </p:nvPicPr>
        <p:blipFill>
          <a:blip r:embed="rId5" cstate="print"/>
          <a:srcRect/>
          <a:stretch>
            <a:fillRect/>
          </a:stretch>
        </p:blipFill>
        <p:spPr bwMode="auto">
          <a:xfrm>
            <a:off x="8422695" y="4825741"/>
            <a:ext cx="329316" cy="328173"/>
          </a:xfrm>
          <a:prstGeom prst="rect">
            <a:avLst/>
          </a:prstGeom>
          <a:noFill/>
          <a:ln w="9525">
            <a:noFill/>
            <a:miter lim="800000"/>
            <a:headEnd/>
            <a:tailEnd/>
          </a:ln>
        </p:spPr>
      </p:pic>
      <p:pic>
        <p:nvPicPr>
          <p:cNvPr id="75" name="Picture 16" descr="black - half.emf"/>
          <p:cNvPicPr>
            <a:picLocks noChangeAspect="1"/>
          </p:cNvPicPr>
          <p:nvPr/>
        </p:nvPicPr>
        <p:blipFill>
          <a:blip r:embed="rId6" cstate="print"/>
          <a:srcRect/>
          <a:stretch>
            <a:fillRect/>
          </a:stretch>
        </p:blipFill>
        <p:spPr bwMode="auto">
          <a:xfrm>
            <a:off x="10163842" y="4311529"/>
            <a:ext cx="329316" cy="328174"/>
          </a:xfrm>
          <a:prstGeom prst="rect">
            <a:avLst/>
          </a:prstGeom>
          <a:noFill/>
          <a:ln w="9525">
            <a:noFill/>
            <a:miter lim="800000"/>
            <a:headEnd/>
            <a:tailEnd/>
          </a:ln>
        </p:spPr>
      </p:pic>
      <p:pic>
        <p:nvPicPr>
          <p:cNvPr id="76" name="Picture 15" descr="black - 3 quarters.emf"/>
          <p:cNvPicPr>
            <a:picLocks noChangeAspect="1"/>
          </p:cNvPicPr>
          <p:nvPr/>
        </p:nvPicPr>
        <p:blipFill>
          <a:blip r:embed="rId8" cstate="print"/>
          <a:srcRect/>
          <a:stretch>
            <a:fillRect/>
          </a:stretch>
        </p:blipFill>
        <p:spPr bwMode="auto">
          <a:xfrm>
            <a:off x="10163842" y="4810511"/>
            <a:ext cx="329316" cy="328174"/>
          </a:xfrm>
          <a:prstGeom prst="rect">
            <a:avLst/>
          </a:prstGeom>
          <a:noFill/>
          <a:ln w="9525">
            <a:noFill/>
            <a:miter lim="800000"/>
            <a:headEnd/>
            <a:tailEnd/>
          </a:ln>
        </p:spPr>
      </p:pic>
      <p:sp>
        <p:nvSpPr>
          <p:cNvPr id="78" name="Tekstfelt 77"/>
          <p:cNvSpPr txBox="1"/>
          <p:nvPr/>
        </p:nvSpPr>
        <p:spPr>
          <a:xfrm>
            <a:off x="2470076" y="5535829"/>
            <a:ext cx="1265938" cy="415498"/>
          </a:xfrm>
          <a:prstGeom prst="rect">
            <a:avLst/>
          </a:prstGeom>
          <a:noFill/>
        </p:spPr>
        <p:txBody>
          <a:bodyPr wrap="square" rtlCol="0">
            <a:spAutoFit/>
          </a:bodyPr>
          <a:lstStyle/>
          <a:p>
            <a:pPr algn="ctr"/>
            <a:r>
              <a:rPr lang="en-GB" sz="1050"/>
              <a:t>Environmentally conscious</a:t>
            </a:r>
          </a:p>
        </p:txBody>
      </p:sp>
      <p:sp>
        <p:nvSpPr>
          <p:cNvPr id="79" name="Tekstfelt 78"/>
          <p:cNvSpPr txBox="1"/>
          <p:nvPr/>
        </p:nvSpPr>
        <p:spPr>
          <a:xfrm>
            <a:off x="4447939" y="5548034"/>
            <a:ext cx="966434" cy="415498"/>
          </a:xfrm>
          <a:prstGeom prst="rect">
            <a:avLst/>
          </a:prstGeom>
          <a:noFill/>
        </p:spPr>
        <p:txBody>
          <a:bodyPr wrap="square" rtlCol="0">
            <a:spAutoFit/>
          </a:bodyPr>
          <a:lstStyle/>
          <a:p>
            <a:pPr algn="ctr"/>
            <a:r>
              <a:rPr lang="en-GB" sz="1050"/>
              <a:t>Convenience seekers</a:t>
            </a:r>
          </a:p>
        </p:txBody>
      </p:sp>
      <p:sp>
        <p:nvSpPr>
          <p:cNvPr id="80" name="Tekstfelt 79"/>
          <p:cNvSpPr txBox="1"/>
          <p:nvPr/>
        </p:nvSpPr>
        <p:spPr>
          <a:xfrm>
            <a:off x="6134784" y="5551977"/>
            <a:ext cx="1315590" cy="415498"/>
          </a:xfrm>
          <a:prstGeom prst="rect">
            <a:avLst/>
          </a:prstGeom>
          <a:noFill/>
        </p:spPr>
        <p:txBody>
          <a:bodyPr wrap="square" rtlCol="0">
            <a:spAutoFit/>
          </a:bodyPr>
          <a:lstStyle/>
          <a:p>
            <a:pPr algn="ctr"/>
            <a:r>
              <a:rPr lang="en-GB" sz="1050"/>
              <a:t>Excited about trying new things</a:t>
            </a:r>
          </a:p>
        </p:txBody>
      </p:sp>
      <p:sp>
        <p:nvSpPr>
          <p:cNvPr id="81" name="Tekstfelt 80"/>
          <p:cNvSpPr txBox="1"/>
          <p:nvPr/>
        </p:nvSpPr>
        <p:spPr>
          <a:xfrm>
            <a:off x="7883067" y="5557278"/>
            <a:ext cx="1476881" cy="415498"/>
          </a:xfrm>
          <a:prstGeom prst="rect">
            <a:avLst/>
          </a:prstGeom>
          <a:noFill/>
        </p:spPr>
        <p:txBody>
          <a:bodyPr wrap="square" rtlCol="0">
            <a:spAutoFit/>
          </a:bodyPr>
          <a:lstStyle/>
          <a:p>
            <a:pPr algn="ctr"/>
            <a:r>
              <a:rPr lang="en-GB" sz="1050"/>
              <a:t>See no direct incentive to buy</a:t>
            </a:r>
          </a:p>
        </p:txBody>
      </p:sp>
      <p:sp>
        <p:nvSpPr>
          <p:cNvPr id="82" name="Tekstfelt 81"/>
          <p:cNvSpPr txBox="1"/>
          <p:nvPr/>
        </p:nvSpPr>
        <p:spPr>
          <a:xfrm>
            <a:off x="9704321" y="5586864"/>
            <a:ext cx="1280539" cy="415498"/>
          </a:xfrm>
          <a:prstGeom prst="rect">
            <a:avLst/>
          </a:prstGeom>
          <a:noFill/>
        </p:spPr>
        <p:txBody>
          <a:bodyPr wrap="square" rtlCol="0">
            <a:spAutoFit/>
          </a:bodyPr>
          <a:lstStyle/>
          <a:p>
            <a:pPr algn="ctr"/>
            <a:r>
              <a:rPr lang="en-GB" sz="1050"/>
              <a:t>Lack of trust in product claim</a:t>
            </a:r>
          </a:p>
        </p:txBody>
      </p:sp>
      <p:sp>
        <p:nvSpPr>
          <p:cNvPr id="83" name="Freeform 69"/>
          <p:cNvSpPr>
            <a:spLocks/>
          </p:cNvSpPr>
          <p:nvPr/>
        </p:nvSpPr>
        <p:spPr bwMode="auto">
          <a:xfrm>
            <a:off x="2979057" y="5295820"/>
            <a:ext cx="294704" cy="280868"/>
          </a:xfrm>
          <a:custGeom>
            <a:avLst/>
            <a:gdLst>
              <a:gd name="T0" fmla="*/ 128239 w 2969"/>
              <a:gd name="T1" fmla="*/ 210070 h 2904"/>
              <a:gd name="T2" fmla="*/ 180173 w 2969"/>
              <a:gd name="T3" fmla="*/ 121292 h 2904"/>
              <a:gd name="T4" fmla="*/ 222995 w 2969"/>
              <a:gd name="T5" fmla="*/ 61478 h 2904"/>
              <a:gd name="T6" fmla="*/ 247140 w 2969"/>
              <a:gd name="T7" fmla="*/ 34401 h 2904"/>
              <a:gd name="T8" fmla="*/ 261945 w 2969"/>
              <a:gd name="T9" fmla="*/ 18088 h 2904"/>
              <a:gd name="T10" fmla="*/ 276865 w 2969"/>
              <a:gd name="T11" fmla="*/ 7213 h 2904"/>
              <a:gd name="T12" fmla="*/ 286204 w 2969"/>
              <a:gd name="T13" fmla="*/ 5438 h 2904"/>
              <a:gd name="T14" fmla="*/ 304767 w 2969"/>
              <a:gd name="T15" fmla="*/ 1776 h 2904"/>
              <a:gd name="T16" fmla="*/ 332556 w 2969"/>
              <a:gd name="T17" fmla="*/ 0 h 2904"/>
              <a:gd name="T18" fmla="*/ 338137 w 2969"/>
              <a:gd name="T19" fmla="*/ 3551 h 2904"/>
              <a:gd name="T20" fmla="*/ 336315 w 2969"/>
              <a:gd name="T21" fmla="*/ 7213 h 2904"/>
              <a:gd name="T22" fmla="*/ 325154 w 2969"/>
              <a:gd name="T23" fmla="*/ 16202 h 2904"/>
              <a:gd name="T24" fmla="*/ 280623 w 2969"/>
              <a:gd name="T25" fmla="*/ 63365 h 2904"/>
              <a:gd name="T26" fmla="*/ 232220 w 2969"/>
              <a:gd name="T27" fmla="*/ 126730 h 2904"/>
              <a:gd name="T28" fmla="*/ 185753 w 2969"/>
              <a:gd name="T29" fmla="*/ 199194 h 2904"/>
              <a:gd name="T30" fmla="*/ 146803 w 2969"/>
              <a:gd name="T31" fmla="*/ 276986 h 2904"/>
              <a:gd name="T32" fmla="*/ 135642 w 2969"/>
              <a:gd name="T33" fmla="*/ 302398 h 2904"/>
              <a:gd name="T34" fmla="*/ 128239 w 2969"/>
              <a:gd name="T35" fmla="*/ 315049 h 2904"/>
              <a:gd name="T36" fmla="*/ 118900 w 2969"/>
              <a:gd name="T37" fmla="*/ 320486 h 2904"/>
              <a:gd name="T38" fmla="*/ 96578 w 2969"/>
              <a:gd name="T39" fmla="*/ 322262 h 2904"/>
              <a:gd name="T40" fmla="*/ 79836 w 2969"/>
              <a:gd name="T41" fmla="*/ 320486 h 2904"/>
              <a:gd name="T42" fmla="*/ 72434 w 2969"/>
              <a:gd name="T43" fmla="*/ 318711 h 2904"/>
              <a:gd name="T44" fmla="*/ 63095 w 2969"/>
              <a:gd name="T45" fmla="*/ 306060 h 2904"/>
              <a:gd name="T46" fmla="*/ 37128 w 2969"/>
              <a:gd name="T47" fmla="*/ 271548 h 2904"/>
              <a:gd name="T48" fmla="*/ 7403 w 2969"/>
              <a:gd name="T49" fmla="*/ 239033 h 2904"/>
              <a:gd name="T50" fmla="*/ 0 w 2969"/>
              <a:gd name="T51" fmla="*/ 226271 h 2904"/>
              <a:gd name="T52" fmla="*/ 3644 w 2969"/>
              <a:gd name="T53" fmla="*/ 217283 h 2904"/>
              <a:gd name="T54" fmla="*/ 25967 w 2969"/>
              <a:gd name="T55" fmla="*/ 200970 h 2904"/>
              <a:gd name="T56" fmla="*/ 50111 w 2969"/>
              <a:gd name="T57" fmla="*/ 202745 h 2904"/>
              <a:gd name="T58" fmla="*/ 65031 w 2969"/>
              <a:gd name="T59" fmla="*/ 211845 h 2904"/>
              <a:gd name="T60" fmla="*/ 83595 w 2969"/>
              <a:gd name="T61" fmla="*/ 228158 h 2904"/>
              <a:gd name="T62" fmla="*/ 103981 w 2969"/>
              <a:gd name="T63" fmla="*/ 257122 h 29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9"/>
              <a:gd name="T97" fmla="*/ 0 h 2904"/>
              <a:gd name="T98" fmla="*/ 2969 w 2969"/>
              <a:gd name="T99" fmla="*/ 2904 h 29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9" h="2904">
                <a:moveTo>
                  <a:pt x="913" y="2317"/>
                </a:moveTo>
                <a:lnTo>
                  <a:pt x="1126" y="1893"/>
                </a:lnTo>
                <a:lnTo>
                  <a:pt x="1338" y="1485"/>
                </a:lnTo>
                <a:lnTo>
                  <a:pt x="1582" y="1093"/>
                </a:lnTo>
                <a:lnTo>
                  <a:pt x="1843" y="718"/>
                </a:lnTo>
                <a:lnTo>
                  <a:pt x="1958" y="554"/>
                </a:lnTo>
                <a:lnTo>
                  <a:pt x="2072" y="424"/>
                </a:lnTo>
                <a:lnTo>
                  <a:pt x="2170" y="310"/>
                </a:lnTo>
                <a:lnTo>
                  <a:pt x="2235" y="228"/>
                </a:lnTo>
                <a:lnTo>
                  <a:pt x="2300" y="163"/>
                </a:lnTo>
                <a:lnTo>
                  <a:pt x="2366" y="114"/>
                </a:lnTo>
                <a:lnTo>
                  <a:pt x="2431" y="65"/>
                </a:lnTo>
                <a:lnTo>
                  <a:pt x="2464" y="65"/>
                </a:lnTo>
                <a:lnTo>
                  <a:pt x="2513" y="49"/>
                </a:lnTo>
                <a:lnTo>
                  <a:pt x="2594" y="32"/>
                </a:lnTo>
                <a:lnTo>
                  <a:pt x="2676" y="16"/>
                </a:lnTo>
                <a:lnTo>
                  <a:pt x="2823" y="0"/>
                </a:lnTo>
                <a:lnTo>
                  <a:pt x="2920" y="0"/>
                </a:lnTo>
                <a:lnTo>
                  <a:pt x="2953" y="16"/>
                </a:lnTo>
                <a:lnTo>
                  <a:pt x="2969" y="32"/>
                </a:lnTo>
                <a:lnTo>
                  <a:pt x="2969" y="49"/>
                </a:lnTo>
                <a:lnTo>
                  <a:pt x="2953" y="65"/>
                </a:lnTo>
                <a:lnTo>
                  <a:pt x="2920" y="98"/>
                </a:lnTo>
                <a:lnTo>
                  <a:pt x="2855" y="146"/>
                </a:lnTo>
                <a:lnTo>
                  <a:pt x="2659" y="342"/>
                </a:lnTo>
                <a:lnTo>
                  <a:pt x="2464" y="571"/>
                </a:lnTo>
                <a:lnTo>
                  <a:pt x="2251" y="832"/>
                </a:lnTo>
                <a:lnTo>
                  <a:pt x="2039" y="1142"/>
                </a:lnTo>
                <a:lnTo>
                  <a:pt x="1827" y="1468"/>
                </a:lnTo>
                <a:lnTo>
                  <a:pt x="1631" y="1795"/>
                </a:lnTo>
                <a:lnTo>
                  <a:pt x="1452" y="2137"/>
                </a:lnTo>
                <a:lnTo>
                  <a:pt x="1289" y="2496"/>
                </a:lnTo>
                <a:lnTo>
                  <a:pt x="1240" y="2627"/>
                </a:lnTo>
                <a:lnTo>
                  <a:pt x="1191" y="2725"/>
                </a:lnTo>
                <a:lnTo>
                  <a:pt x="1158" y="2806"/>
                </a:lnTo>
                <a:lnTo>
                  <a:pt x="1126" y="2839"/>
                </a:lnTo>
                <a:lnTo>
                  <a:pt x="1093" y="2872"/>
                </a:lnTo>
                <a:lnTo>
                  <a:pt x="1044" y="2888"/>
                </a:lnTo>
                <a:lnTo>
                  <a:pt x="962" y="2904"/>
                </a:lnTo>
                <a:lnTo>
                  <a:pt x="848" y="2904"/>
                </a:lnTo>
                <a:lnTo>
                  <a:pt x="767" y="2904"/>
                </a:lnTo>
                <a:lnTo>
                  <a:pt x="701" y="2888"/>
                </a:lnTo>
                <a:lnTo>
                  <a:pt x="669" y="2888"/>
                </a:lnTo>
                <a:lnTo>
                  <a:pt x="636" y="2872"/>
                </a:lnTo>
                <a:lnTo>
                  <a:pt x="587" y="2806"/>
                </a:lnTo>
                <a:lnTo>
                  <a:pt x="554" y="2758"/>
                </a:lnTo>
                <a:lnTo>
                  <a:pt x="505" y="2692"/>
                </a:lnTo>
                <a:lnTo>
                  <a:pt x="326" y="2447"/>
                </a:lnTo>
                <a:lnTo>
                  <a:pt x="114" y="2203"/>
                </a:lnTo>
                <a:lnTo>
                  <a:pt x="65" y="2154"/>
                </a:lnTo>
                <a:lnTo>
                  <a:pt x="32" y="2105"/>
                </a:lnTo>
                <a:lnTo>
                  <a:pt x="0" y="2039"/>
                </a:lnTo>
                <a:lnTo>
                  <a:pt x="16" y="2007"/>
                </a:lnTo>
                <a:lnTo>
                  <a:pt x="32" y="1958"/>
                </a:lnTo>
                <a:lnTo>
                  <a:pt x="114" y="1876"/>
                </a:lnTo>
                <a:lnTo>
                  <a:pt x="228" y="1811"/>
                </a:lnTo>
                <a:lnTo>
                  <a:pt x="326" y="1795"/>
                </a:lnTo>
                <a:lnTo>
                  <a:pt x="440" y="1827"/>
                </a:lnTo>
                <a:lnTo>
                  <a:pt x="505" y="1860"/>
                </a:lnTo>
                <a:lnTo>
                  <a:pt x="571" y="1909"/>
                </a:lnTo>
                <a:lnTo>
                  <a:pt x="652" y="1974"/>
                </a:lnTo>
                <a:lnTo>
                  <a:pt x="734" y="2056"/>
                </a:lnTo>
                <a:lnTo>
                  <a:pt x="815" y="2170"/>
                </a:lnTo>
                <a:lnTo>
                  <a:pt x="913" y="2317"/>
                </a:lnTo>
                <a:close/>
              </a:path>
            </a:pathLst>
          </a:custGeom>
          <a:solidFill>
            <a:schemeClr val="accent6"/>
          </a:solidFill>
          <a:ln w="19050" cmpd="sng">
            <a:noFill/>
            <a:round/>
            <a:headEnd/>
            <a:tailEnd/>
          </a:ln>
        </p:spPr>
        <p:txBody>
          <a:bodyPr/>
          <a:lstStyle/>
          <a:p>
            <a:endParaRPr lang="en-GB"/>
          </a:p>
        </p:txBody>
      </p:sp>
      <p:sp>
        <p:nvSpPr>
          <p:cNvPr id="84" name="Freeform 68"/>
          <p:cNvSpPr>
            <a:spLocks/>
          </p:cNvSpPr>
          <p:nvPr/>
        </p:nvSpPr>
        <p:spPr bwMode="auto">
          <a:xfrm>
            <a:off x="8472515" y="5295820"/>
            <a:ext cx="229676" cy="283635"/>
          </a:xfrm>
          <a:custGeom>
            <a:avLst/>
            <a:gdLst>
              <a:gd name="T0" fmla="*/ 654 w 1612"/>
              <a:gd name="T1" fmla="*/ 278784 h 2009"/>
              <a:gd name="T2" fmla="*/ 102010 w 1612"/>
              <a:gd name="T3" fmla="*/ 157778 h 2009"/>
              <a:gd name="T4" fmla="*/ 70295 w 1612"/>
              <a:gd name="T5" fmla="*/ 25756 h 2009"/>
              <a:gd name="T6" fmla="*/ 93999 w 1612"/>
              <a:gd name="T7" fmla="*/ 2916 h 2009"/>
              <a:gd name="T8" fmla="*/ 115415 w 1612"/>
              <a:gd name="T9" fmla="*/ 23812 h 2009"/>
              <a:gd name="T10" fmla="*/ 137811 w 1612"/>
              <a:gd name="T11" fmla="*/ 60098 h 2009"/>
              <a:gd name="T12" fmla="*/ 152688 w 1612"/>
              <a:gd name="T13" fmla="*/ 95736 h 2009"/>
              <a:gd name="T14" fmla="*/ 160207 w 1612"/>
              <a:gd name="T15" fmla="*/ 91200 h 2009"/>
              <a:gd name="T16" fmla="*/ 189960 w 1612"/>
              <a:gd name="T17" fmla="*/ 59450 h 2009"/>
              <a:gd name="T18" fmla="*/ 231157 w 1612"/>
              <a:gd name="T19" fmla="*/ 17819 h 2009"/>
              <a:gd name="T20" fmla="*/ 253553 w 1612"/>
              <a:gd name="T21" fmla="*/ 16361 h 2009"/>
              <a:gd name="T22" fmla="*/ 263035 w 1612"/>
              <a:gd name="T23" fmla="*/ 39201 h 2009"/>
              <a:gd name="T24" fmla="*/ 250610 w 1612"/>
              <a:gd name="T25" fmla="*/ 44709 h 2009"/>
              <a:gd name="T26" fmla="*/ 245216 w 1612"/>
              <a:gd name="T27" fmla="*/ 55238 h 2009"/>
              <a:gd name="T28" fmla="*/ 238676 w 1612"/>
              <a:gd name="T29" fmla="*/ 63014 h 2009"/>
              <a:gd name="T30" fmla="*/ 204837 w 1612"/>
              <a:gd name="T31" fmla="*/ 115013 h 2009"/>
              <a:gd name="T32" fmla="*/ 192413 w 1612"/>
              <a:gd name="T33" fmla="*/ 134451 h 2009"/>
              <a:gd name="T34" fmla="*/ 177536 w 1612"/>
              <a:gd name="T35" fmla="*/ 156320 h 2009"/>
              <a:gd name="T36" fmla="*/ 173613 w 1612"/>
              <a:gd name="T37" fmla="*/ 183534 h 2009"/>
              <a:gd name="T38" fmla="*/ 191432 w 1612"/>
              <a:gd name="T39" fmla="*/ 236667 h 2009"/>
              <a:gd name="T40" fmla="*/ 218242 w 1612"/>
              <a:gd name="T41" fmla="*/ 281700 h 2009"/>
              <a:gd name="T42" fmla="*/ 214809 w 1612"/>
              <a:gd name="T43" fmla="*/ 287207 h 2009"/>
              <a:gd name="T44" fmla="*/ 213828 w 1612"/>
              <a:gd name="T45" fmla="*/ 295145 h 2009"/>
              <a:gd name="T46" fmla="*/ 203365 w 1612"/>
              <a:gd name="T47" fmla="*/ 302434 h 2009"/>
              <a:gd name="T48" fmla="*/ 201404 w 1612"/>
              <a:gd name="T49" fmla="*/ 312964 h 2009"/>
              <a:gd name="T50" fmla="*/ 183585 w 1612"/>
              <a:gd name="T51" fmla="*/ 303568 h 2009"/>
              <a:gd name="T52" fmla="*/ 177046 w 1612"/>
              <a:gd name="T53" fmla="*/ 298061 h 2009"/>
              <a:gd name="T54" fmla="*/ 162823 w 1612"/>
              <a:gd name="T55" fmla="*/ 288827 h 2009"/>
              <a:gd name="T56" fmla="*/ 149091 w 1612"/>
              <a:gd name="T57" fmla="*/ 271494 h 2009"/>
              <a:gd name="T58" fmla="*/ 122444 w 1612"/>
              <a:gd name="T59" fmla="*/ 228243 h 2009"/>
              <a:gd name="T60" fmla="*/ 24522 w 1612"/>
              <a:gd name="T61" fmla="*/ 325437 h 2009"/>
              <a:gd name="T62" fmla="*/ 22887 w 1612"/>
              <a:gd name="T63" fmla="*/ 324465 h 2009"/>
              <a:gd name="T64" fmla="*/ 19127 w 1612"/>
              <a:gd name="T65" fmla="*/ 308914 h 2009"/>
              <a:gd name="T66" fmla="*/ 10626 w 1612"/>
              <a:gd name="T67" fmla="*/ 301139 h 2009"/>
              <a:gd name="T68" fmla="*/ 1635 w 1612"/>
              <a:gd name="T69" fmla="*/ 289151 h 2009"/>
              <a:gd name="T70" fmla="*/ 654 w 1612"/>
              <a:gd name="T71" fmla="*/ 278784 h 20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2"/>
              <a:gd name="T109" fmla="*/ 0 h 2009"/>
              <a:gd name="T110" fmla="*/ 1612 w 1612"/>
              <a:gd name="T111" fmla="*/ 2009 h 20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2" h="2009">
                <a:moveTo>
                  <a:pt x="4" y="1721"/>
                </a:moveTo>
                <a:lnTo>
                  <a:pt x="624" y="974"/>
                </a:lnTo>
                <a:lnTo>
                  <a:pt x="430" y="159"/>
                </a:lnTo>
                <a:cubicBezTo>
                  <a:pt x="422" y="0"/>
                  <a:pt x="529" y="20"/>
                  <a:pt x="575" y="18"/>
                </a:cubicBezTo>
                <a:cubicBezTo>
                  <a:pt x="621" y="16"/>
                  <a:pt x="661" y="88"/>
                  <a:pt x="706" y="147"/>
                </a:cubicBezTo>
                <a:cubicBezTo>
                  <a:pt x="752" y="205"/>
                  <a:pt x="806" y="297"/>
                  <a:pt x="843" y="371"/>
                </a:cubicBezTo>
                <a:lnTo>
                  <a:pt x="934" y="591"/>
                </a:lnTo>
                <a:lnTo>
                  <a:pt x="980" y="563"/>
                </a:lnTo>
                <a:cubicBezTo>
                  <a:pt x="1016" y="527"/>
                  <a:pt x="1089" y="444"/>
                  <a:pt x="1162" y="367"/>
                </a:cubicBezTo>
                <a:cubicBezTo>
                  <a:pt x="1235" y="291"/>
                  <a:pt x="1351" y="153"/>
                  <a:pt x="1414" y="110"/>
                </a:cubicBezTo>
                <a:cubicBezTo>
                  <a:pt x="1478" y="67"/>
                  <a:pt x="1518" y="80"/>
                  <a:pt x="1551" y="101"/>
                </a:cubicBezTo>
                <a:cubicBezTo>
                  <a:pt x="1585" y="122"/>
                  <a:pt x="1612" y="214"/>
                  <a:pt x="1609" y="242"/>
                </a:cubicBezTo>
                <a:cubicBezTo>
                  <a:pt x="1606" y="269"/>
                  <a:pt x="1551" y="260"/>
                  <a:pt x="1533" y="276"/>
                </a:cubicBezTo>
                <a:cubicBezTo>
                  <a:pt x="1515" y="292"/>
                  <a:pt x="1512" y="322"/>
                  <a:pt x="1500" y="341"/>
                </a:cubicBezTo>
                <a:cubicBezTo>
                  <a:pt x="1488" y="360"/>
                  <a:pt x="1501" y="327"/>
                  <a:pt x="1460" y="389"/>
                </a:cubicBezTo>
                <a:lnTo>
                  <a:pt x="1253" y="710"/>
                </a:lnTo>
                <a:lnTo>
                  <a:pt x="1177" y="830"/>
                </a:lnTo>
                <a:cubicBezTo>
                  <a:pt x="1150" y="873"/>
                  <a:pt x="1104" y="916"/>
                  <a:pt x="1086" y="965"/>
                </a:cubicBezTo>
                <a:cubicBezTo>
                  <a:pt x="1068" y="1014"/>
                  <a:pt x="1047" y="1050"/>
                  <a:pt x="1062" y="1133"/>
                </a:cubicBezTo>
                <a:cubicBezTo>
                  <a:pt x="1077" y="1216"/>
                  <a:pt x="1126" y="1360"/>
                  <a:pt x="1171" y="1461"/>
                </a:cubicBezTo>
                <a:cubicBezTo>
                  <a:pt x="1217" y="1562"/>
                  <a:pt x="1311" y="1687"/>
                  <a:pt x="1335" y="1739"/>
                </a:cubicBezTo>
                <a:lnTo>
                  <a:pt x="1314" y="1773"/>
                </a:lnTo>
                <a:cubicBezTo>
                  <a:pt x="1311" y="1785"/>
                  <a:pt x="1320" y="1806"/>
                  <a:pt x="1308" y="1822"/>
                </a:cubicBezTo>
                <a:cubicBezTo>
                  <a:pt x="1296" y="1838"/>
                  <a:pt x="1259" y="1861"/>
                  <a:pt x="1244" y="1867"/>
                </a:cubicBezTo>
                <a:cubicBezTo>
                  <a:pt x="1229" y="1873"/>
                  <a:pt x="1250" y="1932"/>
                  <a:pt x="1232" y="1932"/>
                </a:cubicBezTo>
                <a:cubicBezTo>
                  <a:pt x="1214" y="1932"/>
                  <a:pt x="1148" y="1891"/>
                  <a:pt x="1123" y="1874"/>
                </a:cubicBezTo>
                <a:cubicBezTo>
                  <a:pt x="1098" y="1859"/>
                  <a:pt x="1104" y="1855"/>
                  <a:pt x="1083" y="1840"/>
                </a:cubicBezTo>
                <a:cubicBezTo>
                  <a:pt x="1062" y="1825"/>
                  <a:pt x="1024" y="1810"/>
                  <a:pt x="996" y="1783"/>
                </a:cubicBezTo>
                <a:cubicBezTo>
                  <a:pt x="968" y="1756"/>
                  <a:pt x="953" y="1738"/>
                  <a:pt x="912" y="1676"/>
                </a:cubicBezTo>
                <a:lnTo>
                  <a:pt x="749" y="1409"/>
                </a:lnTo>
                <a:lnTo>
                  <a:pt x="150" y="2009"/>
                </a:lnTo>
                <a:lnTo>
                  <a:pt x="140" y="2003"/>
                </a:lnTo>
                <a:cubicBezTo>
                  <a:pt x="135" y="1986"/>
                  <a:pt x="129" y="1931"/>
                  <a:pt x="117" y="1907"/>
                </a:cubicBezTo>
                <a:cubicBezTo>
                  <a:pt x="105" y="1883"/>
                  <a:pt x="83" y="1879"/>
                  <a:pt x="65" y="1859"/>
                </a:cubicBezTo>
                <a:cubicBezTo>
                  <a:pt x="47" y="1839"/>
                  <a:pt x="20" y="1808"/>
                  <a:pt x="10" y="1785"/>
                </a:cubicBezTo>
                <a:cubicBezTo>
                  <a:pt x="0" y="1762"/>
                  <a:pt x="5" y="1734"/>
                  <a:pt x="4" y="1721"/>
                </a:cubicBezTo>
                <a:close/>
              </a:path>
            </a:pathLst>
          </a:custGeom>
          <a:solidFill>
            <a:srgbClr val="C00000"/>
          </a:solidFill>
          <a:ln w="19050" cap="flat" cmpd="sng">
            <a:noFill/>
            <a:prstDash val="solid"/>
            <a:round/>
            <a:headEnd type="none" w="med" len="med"/>
            <a:tailEnd type="none" w="med" len="med"/>
          </a:ln>
        </p:spPr>
        <p:txBody>
          <a:bodyPr wrap="none" anchor="ctr"/>
          <a:lstStyle/>
          <a:p>
            <a:endParaRPr lang="en-GB"/>
          </a:p>
        </p:txBody>
      </p:sp>
      <p:sp>
        <p:nvSpPr>
          <p:cNvPr id="85" name="Freeform 69"/>
          <p:cNvSpPr>
            <a:spLocks/>
          </p:cNvSpPr>
          <p:nvPr/>
        </p:nvSpPr>
        <p:spPr bwMode="auto">
          <a:xfrm>
            <a:off x="4795483" y="5331637"/>
            <a:ext cx="294704" cy="280868"/>
          </a:xfrm>
          <a:custGeom>
            <a:avLst/>
            <a:gdLst>
              <a:gd name="T0" fmla="*/ 128239 w 2969"/>
              <a:gd name="T1" fmla="*/ 210070 h 2904"/>
              <a:gd name="T2" fmla="*/ 180173 w 2969"/>
              <a:gd name="T3" fmla="*/ 121292 h 2904"/>
              <a:gd name="T4" fmla="*/ 222995 w 2969"/>
              <a:gd name="T5" fmla="*/ 61478 h 2904"/>
              <a:gd name="T6" fmla="*/ 247140 w 2969"/>
              <a:gd name="T7" fmla="*/ 34401 h 2904"/>
              <a:gd name="T8" fmla="*/ 261945 w 2969"/>
              <a:gd name="T9" fmla="*/ 18088 h 2904"/>
              <a:gd name="T10" fmla="*/ 276865 w 2969"/>
              <a:gd name="T11" fmla="*/ 7213 h 2904"/>
              <a:gd name="T12" fmla="*/ 286204 w 2969"/>
              <a:gd name="T13" fmla="*/ 5438 h 2904"/>
              <a:gd name="T14" fmla="*/ 304767 w 2969"/>
              <a:gd name="T15" fmla="*/ 1776 h 2904"/>
              <a:gd name="T16" fmla="*/ 332556 w 2969"/>
              <a:gd name="T17" fmla="*/ 0 h 2904"/>
              <a:gd name="T18" fmla="*/ 338137 w 2969"/>
              <a:gd name="T19" fmla="*/ 3551 h 2904"/>
              <a:gd name="T20" fmla="*/ 336315 w 2969"/>
              <a:gd name="T21" fmla="*/ 7213 h 2904"/>
              <a:gd name="T22" fmla="*/ 325154 w 2969"/>
              <a:gd name="T23" fmla="*/ 16202 h 2904"/>
              <a:gd name="T24" fmla="*/ 280623 w 2969"/>
              <a:gd name="T25" fmla="*/ 63365 h 2904"/>
              <a:gd name="T26" fmla="*/ 232220 w 2969"/>
              <a:gd name="T27" fmla="*/ 126730 h 2904"/>
              <a:gd name="T28" fmla="*/ 185753 w 2969"/>
              <a:gd name="T29" fmla="*/ 199194 h 2904"/>
              <a:gd name="T30" fmla="*/ 146803 w 2969"/>
              <a:gd name="T31" fmla="*/ 276986 h 2904"/>
              <a:gd name="T32" fmla="*/ 135642 w 2969"/>
              <a:gd name="T33" fmla="*/ 302398 h 2904"/>
              <a:gd name="T34" fmla="*/ 128239 w 2969"/>
              <a:gd name="T35" fmla="*/ 315049 h 2904"/>
              <a:gd name="T36" fmla="*/ 118900 w 2969"/>
              <a:gd name="T37" fmla="*/ 320486 h 2904"/>
              <a:gd name="T38" fmla="*/ 96578 w 2969"/>
              <a:gd name="T39" fmla="*/ 322262 h 2904"/>
              <a:gd name="T40" fmla="*/ 79836 w 2969"/>
              <a:gd name="T41" fmla="*/ 320486 h 2904"/>
              <a:gd name="T42" fmla="*/ 72434 w 2969"/>
              <a:gd name="T43" fmla="*/ 318711 h 2904"/>
              <a:gd name="T44" fmla="*/ 63095 w 2969"/>
              <a:gd name="T45" fmla="*/ 306060 h 2904"/>
              <a:gd name="T46" fmla="*/ 37128 w 2969"/>
              <a:gd name="T47" fmla="*/ 271548 h 2904"/>
              <a:gd name="T48" fmla="*/ 7403 w 2969"/>
              <a:gd name="T49" fmla="*/ 239033 h 2904"/>
              <a:gd name="T50" fmla="*/ 0 w 2969"/>
              <a:gd name="T51" fmla="*/ 226271 h 2904"/>
              <a:gd name="T52" fmla="*/ 3644 w 2969"/>
              <a:gd name="T53" fmla="*/ 217283 h 2904"/>
              <a:gd name="T54" fmla="*/ 25967 w 2969"/>
              <a:gd name="T55" fmla="*/ 200970 h 2904"/>
              <a:gd name="T56" fmla="*/ 50111 w 2969"/>
              <a:gd name="T57" fmla="*/ 202745 h 2904"/>
              <a:gd name="T58" fmla="*/ 65031 w 2969"/>
              <a:gd name="T59" fmla="*/ 211845 h 2904"/>
              <a:gd name="T60" fmla="*/ 83595 w 2969"/>
              <a:gd name="T61" fmla="*/ 228158 h 2904"/>
              <a:gd name="T62" fmla="*/ 103981 w 2969"/>
              <a:gd name="T63" fmla="*/ 257122 h 29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9"/>
              <a:gd name="T97" fmla="*/ 0 h 2904"/>
              <a:gd name="T98" fmla="*/ 2969 w 2969"/>
              <a:gd name="T99" fmla="*/ 2904 h 29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9" h="2904">
                <a:moveTo>
                  <a:pt x="913" y="2317"/>
                </a:moveTo>
                <a:lnTo>
                  <a:pt x="1126" y="1893"/>
                </a:lnTo>
                <a:lnTo>
                  <a:pt x="1338" y="1485"/>
                </a:lnTo>
                <a:lnTo>
                  <a:pt x="1582" y="1093"/>
                </a:lnTo>
                <a:lnTo>
                  <a:pt x="1843" y="718"/>
                </a:lnTo>
                <a:lnTo>
                  <a:pt x="1958" y="554"/>
                </a:lnTo>
                <a:lnTo>
                  <a:pt x="2072" y="424"/>
                </a:lnTo>
                <a:lnTo>
                  <a:pt x="2170" y="310"/>
                </a:lnTo>
                <a:lnTo>
                  <a:pt x="2235" y="228"/>
                </a:lnTo>
                <a:lnTo>
                  <a:pt x="2300" y="163"/>
                </a:lnTo>
                <a:lnTo>
                  <a:pt x="2366" y="114"/>
                </a:lnTo>
                <a:lnTo>
                  <a:pt x="2431" y="65"/>
                </a:lnTo>
                <a:lnTo>
                  <a:pt x="2464" y="65"/>
                </a:lnTo>
                <a:lnTo>
                  <a:pt x="2513" y="49"/>
                </a:lnTo>
                <a:lnTo>
                  <a:pt x="2594" y="32"/>
                </a:lnTo>
                <a:lnTo>
                  <a:pt x="2676" y="16"/>
                </a:lnTo>
                <a:lnTo>
                  <a:pt x="2823" y="0"/>
                </a:lnTo>
                <a:lnTo>
                  <a:pt x="2920" y="0"/>
                </a:lnTo>
                <a:lnTo>
                  <a:pt x="2953" y="16"/>
                </a:lnTo>
                <a:lnTo>
                  <a:pt x="2969" y="32"/>
                </a:lnTo>
                <a:lnTo>
                  <a:pt x="2969" y="49"/>
                </a:lnTo>
                <a:lnTo>
                  <a:pt x="2953" y="65"/>
                </a:lnTo>
                <a:lnTo>
                  <a:pt x="2920" y="98"/>
                </a:lnTo>
                <a:lnTo>
                  <a:pt x="2855" y="146"/>
                </a:lnTo>
                <a:lnTo>
                  <a:pt x="2659" y="342"/>
                </a:lnTo>
                <a:lnTo>
                  <a:pt x="2464" y="571"/>
                </a:lnTo>
                <a:lnTo>
                  <a:pt x="2251" y="832"/>
                </a:lnTo>
                <a:lnTo>
                  <a:pt x="2039" y="1142"/>
                </a:lnTo>
                <a:lnTo>
                  <a:pt x="1827" y="1468"/>
                </a:lnTo>
                <a:lnTo>
                  <a:pt x="1631" y="1795"/>
                </a:lnTo>
                <a:lnTo>
                  <a:pt x="1452" y="2137"/>
                </a:lnTo>
                <a:lnTo>
                  <a:pt x="1289" y="2496"/>
                </a:lnTo>
                <a:lnTo>
                  <a:pt x="1240" y="2627"/>
                </a:lnTo>
                <a:lnTo>
                  <a:pt x="1191" y="2725"/>
                </a:lnTo>
                <a:lnTo>
                  <a:pt x="1158" y="2806"/>
                </a:lnTo>
                <a:lnTo>
                  <a:pt x="1126" y="2839"/>
                </a:lnTo>
                <a:lnTo>
                  <a:pt x="1093" y="2872"/>
                </a:lnTo>
                <a:lnTo>
                  <a:pt x="1044" y="2888"/>
                </a:lnTo>
                <a:lnTo>
                  <a:pt x="962" y="2904"/>
                </a:lnTo>
                <a:lnTo>
                  <a:pt x="848" y="2904"/>
                </a:lnTo>
                <a:lnTo>
                  <a:pt x="767" y="2904"/>
                </a:lnTo>
                <a:lnTo>
                  <a:pt x="701" y="2888"/>
                </a:lnTo>
                <a:lnTo>
                  <a:pt x="669" y="2888"/>
                </a:lnTo>
                <a:lnTo>
                  <a:pt x="636" y="2872"/>
                </a:lnTo>
                <a:lnTo>
                  <a:pt x="587" y="2806"/>
                </a:lnTo>
                <a:lnTo>
                  <a:pt x="554" y="2758"/>
                </a:lnTo>
                <a:lnTo>
                  <a:pt x="505" y="2692"/>
                </a:lnTo>
                <a:lnTo>
                  <a:pt x="326" y="2447"/>
                </a:lnTo>
                <a:lnTo>
                  <a:pt x="114" y="2203"/>
                </a:lnTo>
                <a:lnTo>
                  <a:pt x="65" y="2154"/>
                </a:lnTo>
                <a:lnTo>
                  <a:pt x="32" y="2105"/>
                </a:lnTo>
                <a:lnTo>
                  <a:pt x="0" y="2039"/>
                </a:lnTo>
                <a:lnTo>
                  <a:pt x="16" y="2007"/>
                </a:lnTo>
                <a:lnTo>
                  <a:pt x="32" y="1958"/>
                </a:lnTo>
                <a:lnTo>
                  <a:pt x="114" y="1876"/>
                </a:lnTo>
                <a:lnTo>
                  <a:pt x="228" y="1811"/>
                </a:lnTo>
                <a:lnTo>
                  <a:pt x="326" y="1795"/>
                </a:lnTo>
                <a:lnTo>
                  <a:pt x="440" y="1827"/>
                </a:lnTo>
                <a:lnTo>
                  <a:pt x="505" y="1860"/>
                </a:lnTo>
                <a:lnTo>
                  <a:pt x="571" y="1909"/>
                </a:lnTo>
                <a:lnTo>
                  <a:pt x="652" y="1974"/>
                </a:lnTo>
                <a:lnTo>
                  <a:pt x="734" y="2056"/>
                </a:lnTo>
                <a:lnTo>
                  <a:pt x="815" y="2170"/>
                </a:lnTo>
                <a:lnTo>
                  <a:pt x="913" y="2317"/>
                </a:lnTo>
                <a:close/>
              </a:path>
            </a:pathLst>
          </a:custGeom>
          <a:solidFill>
            <a:schemeClr val="accent6"/>
          </a:solidFill>
          <a:ln w="19050" cmpd="sng">
            <a:noFill/>
            <a:round/>
            <a:headEnd/>
            <a:tailEnd/>
          </a:ln>
        </p:spPr>
        <p:txBody>
          <a:bodyPr/>
          <a:lstStyle/>
          <a:p>
            <a:endParaRPr lang="en-GB"/>
          </a:p>
        </p:txBody>
      </p:sp>
      <p:sp>
        <p:nvSpPr>
          <p:cNvPr id="86" name="Freeform 69"/>
          <p:cNvSpPr>
            <a:spLocks/>
          </p:cNvSpPr>
          <p:nvPr/>
        </p:nvSpPr>
        <p:spPr bwMode="auto">
          <a:xfrm>
            <a:off x="6605297" y="5331637"/>
            <a:ext cx="294704" cy="280868"/>
          </a:xfrm>
          <a:custGeom>
            <a:avLst/>
            <a:gdLst>
              <a:gd name="T0" fmla="*/ 128239 w 2969"/>
              <a:gd name="T1" fmla="*/ 210070 h 2904"/>
              <a:gd name="T2" fmla="*/ 180173 w 2969"/>
              <a:gd name="T3" fmla="*/ 121292 h 2904"/>
              <a:gd name="T4" fmla="*/ 222995 w 2969"/>
              <a:gd name="T5" fmla="*/ 61478 h 2904"/>
              <a:gd name="T6" fmla="*/ 247140 w 2969"/>
              <a:gd name="T7" fmla="*/ 34401 h 2904"/>
              <a:gd name="T8" fmla="*/ 261945 w 2969"/>
              <a:gd name="T9" fmla="*/ 18088 h 2904"/>
              <a:gd name="T10" fmla="*/ 276865 w 2969"/>
              <a:gd name="T11" fmla="*/ 7213 h 2904"/>
              <a:gd name="T12" fmla="*/ 286204 w 2969"/>
              <a:gd name="T13" fmla="*/ 5438 h 2904"/>
              <a:gd name="T14" fmla="*/ 304767 w 2969"/>
              <a:gd name="T15" fmla="*/ 1776 h 2904"/>
              <a:gd name="T16" fmla="*/ 332556 w 2969"/>
              <a:gd name="T17" fmla="*/ 0 h 2904"/>
              <a:gd name="T18" fmla="*/ 338137 w 2969"/>
              <a:gd name="T19" fmla="*/ 3551 h 2904"/>
              <a:gd name="T20" fmla="*/ 336315 w 2969"/>
              <a:gd name="T21" fmla="*/ 7213 h 2904"/>
              <a:gd name="T22" fmla="*/ 325154 w 2969"/>
              <a:gd name="T23" fmla="*/ 16202 h 2904"/>
              <a:gd name="T24" fmla="*/ 280623 w 2969"/>
              <a:gd name="T25" fmla="*/ 63365 h 2904"/>
              <a:gd name="T26" fmla="*/ 232220 w 2969"/>
              <a:gd name="T27" fmla="*/ 126730 h 2904"/>
              <a:gd name="T28" fmla="*/ 185753 w 2969"/>
              <a:gd name="T29" fmla="*/ 199194 h 2904"/>
              <a:gd name="T30" fmla="*/ 146803 w 2969"/>
              <a:gd name="T31" fmla="*/ 276986 h 2904"/>
              <a:gd name="T32" fmla="*/ 135642 w 2969"/>
              <a:gd name="T33" fmla="*/ 302398 h 2904"/>
              <a:gd name="T34" fmla="*/ 128239 w 2969"/>
              <a:gd name="T35" fmla="*/ 315049 h 2904"/>
              <a:gd name="T36" fmla="*/ 118900 w 2969"/>
              <a:gd name="T37" fmla="*/ 320486 h 2904"/>
              <a:gd name="T38" fmla="*/ 96578 w 2969"/>
              <a:gd name="T39" fmla="*/ 322262 h 2904"/>
              <a:gd name="T40" fmla="*/ 79836 w 2969"/>
              <a:gd name="T41" fmla="*/ 320486 h 2904"/>
              <a:gd name="T42" fmla="*/ 72434 w 2969"/>
              <a:gd name="T43" fmla="*/ 318711 h 2904"/>
              <a:gd name="T44" fmla="*/ 63095 w 2969"/>
              <a:gd name="T45" fmla="*/ 306060 h 2904"/>
              <a:gd name="T46" fmla="*/ 37128 w 2969"/>
              <a:gd name="T47" fmla="*/ 271548 h 2904"/>
              <a:gd name="T48" fmla="*/ 7403 w 2969"/>
              <a:gd name="T49" fmla="*/ 239033 h 2904"/>
              <a:gd name="T50" fmla="*/ 0 w 2969"/>
              <a:gd name="T51" fmla="*/ 226271 h 2904"/>
              <a:gd name="T52" fmla="*/ 3644 w 2969"/>
              <a:gd name="T53" fmla="*/ 217283 h 2904"/>
              <a:gd name="T54" fmla="*/ 25967 w 2969"/>
              <a:gd name="T55" fmla="*/ 200970 h 2904"/>
              <a:gd name="T56" fmla="*/ 50111 w 2969"/>
              <a:gd name="T57" fmla="*/ 202745 h 2904"/>
              <a:gd name="T58" fmla="*/ 65031 w 2969"/>
              <a:gd name="T59" fmla="*/ 211845 h 2904"/>
              <a:gd name="T60" fmla="*/ 83595 w 2969"/>
              <a:gd name="T61" fmla="*/ 228158 h 2904"/>
              <a:gd name="T62" fmla="*/ 103981 w 2969"/>
              <a:gd name="T63" fmla="*/ 257122 h 29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9"/>
              <a:gd name="T97" fmla="*/ 0 h 2904"/>
              <a:gd name="T98" fmla="*/ 2969 w 2969"/>
              <a:gd name="T99" fmla="*/ 2904 h 29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9" h="2904">
                <a:moveTo>
                  <a:pt x="913" y="2317"/>
                </a:moveTo>
                <a:lnTo>
                  <a:pt x="1126" y="1893"/>
                </a:lnTo>
                <a:lnTo>
                  <a:pt x="1338" y="1485"/>
                </a:lnTo>
                <a:lnTo>
                  <a:pt x="1582" y="1093"/>
                </a:lnTo>
                <a:lnTo>
                  <a:pt x="1843" y="718"/>
                </a:lnTo>
                <a:lnTo>
                  <a:pt x="1958" y="554"/>
                </a:lnTo>
                <a:lnTo>
                  <a:pt x="2072" y="424"/>
                </a:lnTo>
                <a:lnTo>
                  <a:pt x="2170" y="310"/>
                </a:lnTo>
                <a:lnTo>
                  <a:pt x="2235" y="228"/>
                </a:lnTo>
                <a:lnTo>
                  <a:pt x="2300" y="163"/>
                </a:lnTo>
                <a:lnTo>
                  <a:pt x="2366" y="114"/>
                </a:lnTo>
                <a:lnTo>
                  <a:pt x="2431" y="65"/>
                </a:lnTo>
                <a:lnTo>
                  <a:pt x="2464" y="65"/>
                </a:lnTo>
                <a:lnTo>
                  <a:pt x="2513" y="49"/>
                </a:lnTo>
                <a:lnTo>
                  <a:pt x="2594" y="32"/>
                </a:lnTo>
                <a:lnTo>
                  <a:pt x="2676" y="16"/>
                </a:lnTo>
                <a:lnTo>
                  <a:pt x="2823" y="0"/>
                </a:lnTo>
                <a:lnTo>
                  <a:pt x="2920" y="0"/>
                </a:lnTo>
                <a:lnTo>
                  <a:pt x="2953" y="16"/>
                </a:lnTo>
                <a:lnTo>
                  <a:pt x="2969" y="32"/>
                </a:lnTo>
                <a:lnTo>
                  <a:pt x="2969" y="49"/>
                </a:lnTo>
                <a:lnTo>
                  <a:pt x="2953" y="65"/>
                </a:lnTo>
                <a:lnTo>
                  <a:pt x="2920" y="98"/>
                </a:lnTo>
                <a:lnTo>
                  <a:pt x="2855" y="146"/>
                </a:lnTo>
                <a:lnTo>
                  <a:pt x="2659" y="342"/>
                </a:lnTo>
                <a:lnTo>
                  <a:pt x="2464" y="571"/>
                </a:lnTo>
                <a:lnTo>
                  <a:pt x="2251" y="832"/>
                </a:lnTo>
                <a:lnTo>
                  <a:pt x="2039" y="1142"/>
                </a:lnTo>
                <a:lnTo>
                  <a:pt x="1827" y="1468"/>
                </a:lnTo>
                <a:lnTo>
                  <a:pt x="1631" y="1795"/>
                </a:lnTo>
                <a:lnTo>
                  <a:pt x="1452" y="2137"/>
                </a:lnTo>
                <a:lnTo>
                  <a:pt x="1289" y="2496"/>
                </a:lnTo>
                <a:lnTo>
                  <a:pt x="1240" y="2627"/>
                </a:lnTo>
                <a:lnTo>
                  <a:pt x="1191" y="2725"/>
                </a:lnTo>
                <a:lnTo>
                  <a:pt x="1158" y="2806"/>
                </a:lnTo>
                <a:lnTo>
                  <a:pt x="1126" y="2839"/>
                </a:lnTo>
                <a:lnTo>
                  <a:pt x="1093" y="2872"/>
                </a:lnTo>
                <a:lnTo>
                  <a:pt x="1044" y="2888"/>
                </a:lnTo>
                <a:lnTo>
                  <a:pt x="962" y="2904"/>
                </a:lnTo>
                <a:lnTo>
                  <a:pt x="848" y="2904"/>
                </a:lnTo>
                <a:lnTo>
                  <a:pt x="767" y="2904"/>
                </a:lnTo>
                <a:lnTo>
                  <a:pt x="701" y="2888"/>
                </a:lnTo>
                <a:lnTo>
                  <a:pt x="669" y="2888"/>
                </a:lnTo>
                <a:lnTo>
                  <a:pt x="636" y="2872"/>
                </a:lnTo>
                <a:lnTo>
                  <a:pt x="587" y="2806"/>
                </a:lnTo>
                <a:lnTo>
                  <a:pt x="554" y="2758"/>
                </a:lnTo>
                <a:lnTo>
                  <a:pt x="505" y="2692"/>
                </a:lnTo>
                <a:lnTo>
                  <a:pt x="326" y="2447"/>
                </a:lnTo>
                <a:lnTo>
                  <a:pt x="114" y="2203"/>
                </a:lnTo>
                <a:lnTo>
                  <a:pt x="65" y="2154"/>
                </a:lnTo>
                <a:lnTo>
                  <a:pt x="32" y="2105"/>
                </a:lnTo>
                <a:lnTo>
                  <a:pt x="0" y="2039"/>
                </a:lnTo>
                <a:lnTo>
                  <a:pt x="16" y="2007"/>
                </a:lnTo>
                <a:lnTo>
                  <a:pt x="32" y="1958"/>
                </a:lnTo>
                <a:lnTo>
                  <a:pt x="114" y="1876"/>
                </a:lnTo>
                <a:lnTo>
                  <a:pt x="228" y="1811"/>
                </a:lnTo>
                <a:lnTo>
                  <a:pt x="326" y="1795"/>
                </a:lnTo>
                <a:lnTo>
                  <a:pt x="440" y="1827"/>
                </a:lnTo>
                <a:lnTo>
                  <a:pt x="505" y="1860"/>
                </a:lnTo>
                <a:lnTo>
                  <a:pt x="571" y="1909"/>
                </a:lnTo>
                <a:lnTo>
                  <a:pt x="652" y="1974"/>
                </a:lnTo>
                <a:lnTo>
                  <a:pt x="734" y="2056"/>
                </a:lnTo>
                <a:lnTo>
                  <a:pt x="815" y="2170"/>
                </a:lnTo>
                <a:lnTo>
                  <a:pt x="913" y="2317"/>
                </a:lnTo>
                <a:close/>
              </a:path>
            </a:pathLst>
          </a:custGeom>
          <a:solidFill>
            <a:schemeClr val="accent6"/>
          </a:solidFill>
          <a:ln w="19050" cmpd="sng">
            <a:noFill/>
            <a:round/>
            <a:headEnd/>
            <a:tailEnd/>
          </a:ln>
        </p:spPr>
        <p:txBody>
          <a:bodyPr/>
          <a:lstStyle/>
          <a:p>
            <a:endParaRPr lang="en-GB"/>
          </a:p>
        </p:txBody>
      </p:sp>
      <p:sp>
        <p:nvSpPr>
          <p:cNvPr id="87" name="Freeform 68"/>
          <p:cNvSpPr>
            <a:spLocks/>
          </p:cNvSpPr>
          <p:nvPr/>
        </p:nvSpPr>
        <p:spPr bwMode="auto">
          <a:xfrm>
            <a:off x="10191890" y="5323470"/>
            <a:ext cx="229676" cy="283635"/>
          </a:xfrm>
          <a:custGeom>
            <a:avLst/>
            <a:gdLst>
              <a:gd name="T0" fmla="*/ 654 w 1612"/>
              <a:gd name="T1" fmla="*/ 278784 h 2009"/>
              <a:gd name="T2" fmla="*/ 102010 w 1612"/>
              <a:gd name="T3" fmla="*/ 157778 h 2009"/>
              <a:gd name="T4" fmla="*/ 70295 w 1612"/>
              <a:gd name="T5" fmla="*/ 25756 h 2009"/>
              <a:gd name="T6" fmla="*/ 93999 w 1612"/>
              <a:gd name="T7" fmla="*/ 2916 h 2009"/>
              <a:gd name="T8" fmla="*/ 115415 w 1612"/>
              <a:gd name="T9" fmla="*/ 23812 h 2009"/>
              <a:gd name="T10" fmla="*/ 137811 w 1612"/>
              <a:gd name="T11" fmla="*/ 60098 h 2009"/>
              <a:gd name="T12" fmla="*/ 152688 w 1612"/>
              <a:gd name="T13" fmla="*/ 95736 h 2009"/>
              <a:gd name="T14" fmla="*/ 160207 w 1612"/>
              <a:gd name="T15" fmla="*/ 91200 h 2009"/>
              <a:gd name="T16" fmla="*/ 189960 w 1612"/>
              <a:gd name="T17" fmla="*/ 59450 h 2009"/>
              <a:gd name="T18" fmla="*/ 231157 w 1612"/>
              <a:gd name="T19" fmla="*/ 17819 h 2009"/>
              <a:gd name="T20" fmla="*/ 253553 w 1612"/>
              <a:gd name="T21" fmla="*/ 16361 h 2009"/>
              <a:gd name="T22" fmla="*/ 263035 w 1612"/>
              <a:gd name="T23" fmla="*/ 39201 h 2009"/>
              <a:gd name="T24" fmla="*/ 250610 w 1612"/>
              <a:gd name="T25" fmla="*/ 44709 h 2009"/>
              <a:gd name="T26" fmla="*/ 245216 w 1612"/>
              <a:gd name="T27" fmla="*/ 55238 h 2009"/>
              <a:gd name="T28" fmla="*/ 238676 w 1612"/>
              <a:gd name="T29" fmla="*/ 63014 h 2009"/>
              <a:gd name="T30" fmla="*/ 204837 w 1612"/>
              <a:gd name="T31" fmla="*/ 115013 h 2009"/>
              <a:gd name="T32" fmla="*/ 192413 w 1612"/>
              <a:gd name="T33" fmla="*/ 134451 h 2009"/>
              <a:gd name="T34" fmla="*/ 177536 w 1612"/>
              <a:gd name="T35" fmla="*/ 156320 h 2009"/>
              <a:gd name="T36" fmla="*/ 173613 w 1612"/>
              <a:gd name="T37" fmla="*/ 183534 h 2009"/>
              <a:gd name="T38" fmla="*/ 191432 w 1612"/>
              <a:gd name="T39" fmla="*/ 236667 h 2009"/>
              <a:gd name="T40" fmla="*/ 218242 w 1612"/>
              <a:gd name="T41" fmla="*/ 281700 h 2009"/>
              <a:gd name="T42" fmla="*/ 214809 w 1612"/>
              <a:gd name="T43" fmla="*/ 287207 h 2009"/>
              <a:gd name="T44" fmla="*/ 213828 w 1612"/>
              <a:gd name="T45" fmla="*/ 295145 h 2009"/>
              <a:gd name="T46" fmla="*/ 203365 w 1612"/>
              <a:gd name="T47" fmla="*/ 302434 h 2009"/>
              <a:gd name="T48" fmla="*/ 201404 w 1612"/>
              <a:gd name="T49" fmla="*/ 312964 h 2009"/>
              <a:gd name="T50" fmla="*/ 183585 w 1612"/>
              <a:gd name="T51" fmla="*/ 303568 h 2009"/>
              <a:gd name="T52" fmla="*/ 177046 w 1612"/>
              <a:gd name="T53" fmla="*/ 298061 h 2009"/>
              <a:gd name="T54" fmla="*/ 162823 w 1612"/>
              <a:gd name="T55" fmla="*/ 288827 h 2009"/>
              <a:gd name="T56" fmla="*/ 149091 w 1612"/>
              <a:gd name="T57" fmla="*/ 271494 h 2009"/>
              <a:gd name="T58" fmla="*/ 122444 w 1612"/>
              <a:gd name="T59" fmla="*/ 228243 h 2009"/>
              <a:gd name="T60" fmla="*/ 24522 w 1612"/>
              <a:gd name="T61" fmla="*/ 325437 h 2009"/>
              <a:gd name="T62" fmla="*/ 22887 w 1612"/>
              <a:gd name="T63" fmla="*/ 324465 h 2009"/>
              <a:gd name="T64" fmla="*/ 19127 w 1612"/>
              <a:gd name="T65" fmla="*/ 308914 h 2009"/>
              <a:gd name="T66" fmla="*/ 10626 w 1612"/>
              <a:gd name="T67" fmla="*/ 301139 h 2009"/>
              <a:gd name="T68" fmla="*/ 1635 w 1612"/>
              <a:gd name="T69" fmla="*/ 289151 h 2009"/>
              <a:gd name="T70" fmla="*/ 654 w 1612"/>
              <a:gd name="T71" fmla="*/ 278784 h 20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2"/>
              <a:gd name="T109" fmla="*/ 0 h 2009"/>
              <a:gd name="T110" fmla="*/ 1612 w 1612"/>
              <a:gd name="T111" fmla="*/ 2009 h 20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2" h="2009">
                <a:moveTo>
                  <a:pt x="4" y="1721"/>
                </a:moveTo>
                <a:lnTo>
                  <a:pt x="624" y="974"/>
                </a:lnTo>
                <a:lnTo>
                  <a:pt x="430" y="159"/>
                </a:lnTo>
                <a:cubicBezTo>
                  <a:pt x="422" y="0"/>
                  <a:pt x="529" y="20"/>
                  <a:pt x="575" y="18"/>
                </a:cubicBezTo>
                <a:cubicBezTo>
                  <a:pt x="621" y="16"/>
                  <a:pt x="661" y="88"/>
                  <a:pt x="706" y="147"/>
                </a:cubicBezTo>
                <a:cubicBezTo>
                  <a:pt x="752" y="205"/>
                  <a:pt x="806" y="297"/>
                  <a:pt x="843" y="371"/>
                </a:cubicBezTo>
                <a:lnTo>
                  <a:pt x="934" y="591"/>
                </a:lnTo>
                <a:lnTo>
                  <a:pt x="980" y="563"/>
                </a:lnTo>
                <a:cubicBezTo>
                  <a:pt x="1016" y="527"/>
                  <a:pt x="1089" y="444"/>
                  <a:pt x="1162" y="367"/>
                </a:cubicBezTo>
                <a:cubicBezTo>
                  <a:pt x="1235" y="291"/>
                  <a:pt x="1351" y="153"/>
                  <a:pt x="1414" y="110"/>
                </a:cubicBezTo>
                <a:cubicBezTo>
                  <a:pt x="1478" y="67"/>
                  <a:pt x="1518" y="80"/>
                  <a:pt x="1551" y="101"/>
                </a:cubicBezTo>
                <a:cubicBezTo>
                  <a:pt x="1585" y="122"/>
                  <a:pt x="1612" y="214"/>
                  <a:pt x="1609" y="242"/>
                </a:cubicBezTo>
                <a:cubicBezTo>
                  <a:pt x="1606" y="269"/>
                  <a:pt x="1551" y="260"/>
                  <a:pt x="1533" y="276"/>
                </a:cubicBezTo>
                <a:cubicBezTo>
                  <a:pt x="1515" y="292"/>
                  <a:pt x="1512" y="322"/>
                  <a:pt x="1500" y="341"/>
                </a:cubicBezTo>
                <a:cubicBezTo>
                  <a:pt x="1488" y="360"/>
                  <a:pt x="1501" y="327"/>
                  <a:pt x="1460" y="389"/>
                </a:cubicBezTo>
                <a:lnTo>
                  <a:pt x="1253" y="710"/>
                </a:lnTo>
                <a:lnTo>
                  <a:pt x="1177" y="830"/>
                </a:lnTo>
                <a:cubicBezTo>
                  <a:pt x="1150" y="873"/>
                  <a:pt x="1104" y="916"/>
                  <a:pt x="1086" y="965"/>
                </a:cubicBezTo>
                <a:cubicBezTo>
                  <a:pt x="1068" y="1014"/>
                  <a:pt x="1047" y="1050"/>
                  <a:pt x="1062" y="1133"/>
                </a:cubicBezTo>
                <a:cubicBezTo>
                  <a:pt x="1077" y="1216"/>
                  <a:pt x="1126" y="1360"/>
                  <a:pt x="1171" y="1461"/>
                </a:cubicBezTo>
                <a:cubicBezTo>
                  <a:pt x="1217" y="1562"/>
                  <a:pt x="1311" y="1687"/>
                  <a:pt x="1335" y="1739"/>
                </a:cubicBezTo>
                <a:lnTo>
                  <a:pt x="1314" y="1773"/>
                </a:lnTo>
                <a:cubicBezTo>
                  <a:pt x="1311" y="1785"/>
                  <a:pt x="1320" y="1806"/>
                  <a:pt x="1308" y="1822"/>
                </a:cubicBezTo>
                <a:cubicBezTo>
                  <a:pt x="1296" y="1838"/>
                  <a:pt x="1259" y="1861"/>
                  <a:pt x="1244" y="1867"/>
                </a:cubicBezTo>
                <a:cubicBezTo>
                  <a:pt x="1229" y="1873"/>
                  <a:pt x="1250" y="1932"/>
                  <a:pt x="1232" y="1932"/>
                </a:cubicBezTo>
                <a:cubicBezTo>
                  <a:pt x="1214" y="1932"/>
                  <a:pt x="1148" y="1891"/>
                  <a:pt x="1123" y="1874"/>
                </a:cubicBezTo>
                <a:cubicBezTo>
                  <a:pt x="1098" y="1859"/>
                  <a:pt x="1104" y="1855"/>
                  <a:pt x="1083" y="1840"/>
                </a:cubicBezTo>
                <a:cubicBezTo>
                  <a:pt x="1062" y="1825"/>
                  <a:pt x="1024" y="1810"/>
                  <a:pt x="996" y="1783"/>
                </a:cubicBezTo>
                <a:cubicBezTo>
                  <a:pt x="968" y="1756"/>
                  <a:pt x="953" y="1738"/>
                  <a:pt x="912" y="1676"/>
                </a:cubicBezTo>
                <a:lnTo>
                  <a:pt x="749" y="1409"/>
                </a:lnTo>
                <a:lnTo>
                  <a:pt x="150" y="2009"/>
                </a:lnTo>
                <a:lnTo>
                  <a:pt x="140" y="2003"/>
                </a:lnTo>
                <a:cubicBezTo>
                  <a:pt x="135" y="1986"/>
                  <a:pt x="129" y="1931"/>
                  <a:pt x="117" y="1907"/>
                </a:cubicBezTo>
                <a:cubicBezTo>
                  <a:pt x="105" y="1883"/>
                  <a:pt x="83" y="1879"/>
                  <a:pt x="65" y="1859"/>
                </a:cubicBezTo>
                <a:cubicBezTo>
                  <a:pt x="47" y="1839"/>
                  <a:pt x="20" y="1808"/>
                  <a:pt x="10" y="1785"/>
                </a:cubicBezTo>
                <a:cubicBezTo>
                  <a:pt x="0" y="1762"/>
                  <a:pt x="5" y="1734"/>
                  <a:pt x="4" y="1721"/>
                </a:cubicBezTo>
                <a:close/>
              </a:path>
            </a:pathLst>
          </a:custGeom>
          <a:solidFill>
            <a:srgbClr val="C00000"/>
          </a:solidFill>
          <a:ln w="19050" cap="flat" cmpd="sng">
            <a:noFill/>
            <a:prstDash val="solid"/>
            <a:round/>
            <a:headEnd type="none" w="med" len="med"/>
            <a:tailEnd type="none" w="med" len="med"/>
          </a:ln>
        </p:spPr>
        <p:txBody>
          <a:bodyPr wrap="none" anchor="ctr"/>
          <a:lstStyle/>
          <a:p>
            <a:endParaRPr lang="en-GB"/>
          </a:p>
        </p:txBody>
      </p:sp>
      <p:pic>
        <p:nvPicPr>
          <p:cNvPr id="89" name="Billede 88"/>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44008" y="2662217"/>
            <a:ext cx="279972" cy="279972"/>
          </a:xfrm>
          <a:prstGeom prst="rect">
            <a:avLst/>
          </a:prstGeom>
        </p:spPr>
      </p:pic>
      <p:pic>
        <p:nvPicPr>
          <p:cNvPr id="90" name="Billede 89"/>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92473" y="2650476"/>
            <a:ext cx="307969" cy="307969"/>
          </a:xfrm>
          <a:prstGeom prst="rect">
            <a:avLst/>
          </a:prstGeom>
        </p:spPr>
      </p:pic>
      <p:pic>
        <p:nvPicPr>
          <p:cNvPr id="91" name="Billede 90"/>
          <p:cNvPicPr>
            <a:picLocks noChangeAspect="1"/>
          </p:cNvPicPr>
          <p:nvPr/>
        </p:nvPicPr>
        <p:blipFill rotWithShape="1">
          <a:blip r:embed="rId11">
            <a:duotone>
              <a:schemeClr val="accent1">
                <a:shade val="45000"/>
                <a:satMod val="135000"/>
              </a:schemeClr>
              <a:prstClr val="white"/>
            </a:duotone>
            <a:extLst>
              <a:ext uri="{28A0092B-C50C-407E-A947-70E740481C1C}">
                <a14:useLocalDpi xmlns:a14="http://schemas.microsoft.com/office/drawing/2010/main" val="0"/>
              </a:ext>
            </a:extLst>
          </a:blip>
          <a:srcRect l="44782" t="47312" r="52384" b="47354"/>
          <a:stretch/>
        </p:blipFill>
        <p:spPr>
          <a:xfrm>
            <a:off x="5124816" y="2600311"/>
            <a:ext cx="314124" cy="332509"/>
          </a:xfrm>
          <a:prstGeom prst="rect">
            <a:avLst/>
          </a:prstGeom>
          <a:ln>
            <a:noFill/>
          </a:ln>
        </p:spPr>
      </p:pic>
      <p:pic>
        <p:nvPicPr>
          <p:cNvPr id="93" name="Billede 92"/>
          <p:cNvPicPr>
            <a:picLocks noChangeAspect="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508764" y="2679696"/>
            <a:ext cx="173841" cy="173841"/>
          </a:xfrm>
          <a:prstGeom prst="rect">
            <a:avLst/>
          </a:prstGeom>
        </p:spPr>
      </p:pic>
      <p:pic>
        <p:nvPicPr>
          <p:cNvPr id="104" name="Billede 103"/>
          <p:cNvPicPr>
            <a:picLocks noChangeAspect="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759052" y="2661435"/>
            <a:ext cx="191225" cy="191225"/>
          </a:xfrm>
          <a:prstGeom prst="rect">
            <a:avLst/>
          </a:prstGeom>
        </p:spPr>
      </p:pic>
      <p:sp>
        <p:nvSpPr>
          <p:cNvPr id="66" name="Rektangel 65"/>
          <p:cNvSpPr/>
          <p:nvPr/>
        </p:nvSpPr>
        <p:spPr>
          <a:xfrm>
            <a:off x="2619981" y="1296364"/>
            <a:ext cx="8298622" cy="77550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ktangel 68"/>
          <p:cNvSpPr/>
          <p:nvPr/>
        </p:nvSpPr>
        <p:spPr>
          <a:xfrm>
            <a:off x="1038197" y="1288242"/>
            <a:ext cx="1684624" cy="798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7" name="Billede 7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14131" y="1472029"/>
            <a:ext cx="242361" cy="242361"/>
          </a:xfrm>
          <a:prstGeom prst="rect">
            <a:avLst/>
          </a:prstGeom>
        </p:spPr>
      </p:pic>
      <p:sp>
        <p:nvSpPr>
          <p:cNvPr id="88" name="Tekstfelt 87"/>
          <p:cNvSpPr txBox="1"/>
          <p:nvPr/>
        </p:nvSpPr>
        <p:spPr>
          <a:xfrm>
            <a:off x="1034412" y="1692912"/>
            <a:ext cx="1791525" cy="400110"/>
          </a:xfrm>
          <a:prstGeom prst="rect">
            <a:avLst/>
          </a:prstGeom>
          <a:noFill/>
        </p:spPr>
        <p:txBody>
          <a:bodyPr wrap="square" rtlCol="0">
            <a:spAutoFit/>
          </a:bodyPr>
          <a:lstStyle/>
          <a:p>
            <a:r>
              <a:rPr lang="en-GB" sz="1000" b="1">
                <a:solidFill>
                  <a:schemeClr val="bg1"/>
                </a:solidFill>
              </a:rPr>
              <a:t>CRITERIA FOR MEDIA CHANNELS</a:t>
            </a:r>
          </a:p>
        </p:txBody>
      </p:sp>
      <p:sp>
        <p:nvSpPr>
          <p:cNvPr id="92" name="Tekstfelt 91"/>
          <p:cNvSpPr txBox="1"/>
          <p:nvPr/>
        </p:nvSpPr>
        <p:spPr>
          <a:xfrm>
            <a:off x="3610552" y="1399857"/>
            <a:ext cx="1229249" cy="415498"/>
          </a:xfrm>
          <a:prstGeom prst="rect">
            <a:avLst/>
          </a:prstGeom>
          <a:noFill/>
        </p:spPr>
        <p:txBody>
          <a:bodyPr wrap="square" rtlCol="0">
            <a:spAutoFit/>
          </a:bodyPr>
          <a:lstStyle/>
          <a:p>
            <a:r>
              <a:rPr lang="en-GB" sz="1050" b="1"/>
              <a:t>Age Group</a:t>
            </a:r>
          </a:p>
          <a:p>
            <a:pPr marL="171450" indent="-171450">
              <a:buFont typeface="Wingdings" charset="2"/>
              <a:buChar char="§"/>
            </a:pPr>
            <a:r>
              <a:rPr lang="en-GB" sz="1050"/>
              <a:t>Explanation</a:t>
            </a:r>
          </a:p>
        </p:txBody>
      </p:sp>
      <p:sp>
        <p:nvSpPr>
          <p:cNvPr id="98" name="Tekstfelt 97"/>
          <p:cNvSpPr txBox="1"/>
          <p:nvPr/>
        </p:nvSpPr>
        <p:spPr>
          <a:xfrm>
            <a:off x="9686341" y="1411168"/>
            <a:ext cx="1229249" cy="415498"/>
          </a:xfrm>
          <a:prstGeom prst="rect">
            <a:avLst/>
          </a:prstGeom>
          <a:noFill/>
        </p:spPr>
        <p:txBody>
          <a:bodyPr wrap="square" rtlCol="0">
            <a:spAutoFit/>
          </a:bodyPr>
          <a:lstStyle/>
          <a:p>
            <a:r>
              <a:rPr lang="en-GB" sz="1050" b="1"/>
              <a:t>Main challenge</a:t>
            </a:r>
          </a:p>
          <a:p>
            <a:pPr marL="171450" indent="-171450">
              <a:buFont typeface="Wingdings" charset="2"/>
              <a:buChar char="§"/>
            </a:pPr>
            <a:r>
              <a:rPr lang="en-GB" sz="1050"/>
              <a:t>Explanation</a:t>
            </a:r>
          </a:p>
        </p:txBody>
      </p:sp>
      <p:pic>
        <p:nvPicPr>
          <p:cNvPr id="99" name="Billede 98"/>
          <p:cNvPicPr>
            <a:picLocks noChangeAspect="1"/>
          </p:cNvPicPr>
          <p:nvPr/>
        </p:nvPicPr>
        <p:blipFill>
          <a:blip r:embed="rId15">
            <a:alphaModFix amt="4100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24873" y="1338057"/>
            <a:ext cx="703440" cy="703440"/>
          </a:xfrm>
          <a:prstGeom prst="rect">
            <a:avLst/>
          </a:prstGeom>
        </p:spPr>
      </p:pic>
      <p:pic>
        <p:nvPicPr>
          <p:cNvPr id="100" name="Billede 99"/>
          <p:cNvPicPr>
            <a:picLocks noChangeAspect="1"/>
          </p:cNvPicPr>
          <p:nvPr/>
        </p:nvPicPr>
        <p:blipFill>
          <a:blip r:embed="rId16">
            <a:alphaModFix amt="4100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118358" y="1406339"/>
            <a:ext cx="563010" cy="563010"/>
          </a:xfrm>
          <a:prstGeom prst="rect">
            <a:avLst/>
          </a:prstGeom>
        </p:spPr>
      </p:pic>
      <p:pic>
        <p:nvPicPr>
          <p:cNvPr id="105" name="Billede 104"/>
          <p:cNvPicPr>
            <a:picLocks noChangeAspect="1"/>
          </p:cNvPicPr>
          <p:nvPr/>
        </p:nvPicPr>
        <p:blipFill>
          <a:blip r:embed="rId16">
            <a:alphaModFix amt="4100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966486" y="1410724"/>
            <a:ext cx="563010" cy="563010"/>
          </a:xfrm>
          <a:prstGeom prst="rect">
            <a:avLst/>
          </a:prstGeom>
        </p:spPr>
      </p:pic>
      <p:sp>
        <p:nvSpPr>
          <p:cNvPr id="106" name="Tekstfelt 105"/>
          <p:cNvSpPr txBox="1"/>
          <p:nvPr/>
        </p:nvSpPr>
        <p:spPr>
          <a:xfrm>
            <a:off x="5480261" y="1415287"/>
            <a:ext cx="1229249" cy="415498"/>
          </a:xfrm>
          <a:prstGeom prst="rect">
            <a:avLst/>
          </a:prstGeom>
          <a:noFill/>
        </p:spPr>
        <p:txBody>
          <a:bodyPr wrap="square" rtlCol="0">
            <a:spAutoFit/>
          </a:bodyPr>
          <a:lstStyle/>
          <a:p>
            <a:r>
              <a:rPr lang="en-GB" sz="1050" b="1"/>
              <a:t>Loyalty</a:t>
            </a:r>
          </a:p>
          <a:p>
            <a:pPr marL="171450" indent="-171450">
              <a:buFont typeface="Wingdings" charset="2"/>
              <a:buChar char="§"/>
            </a:pPr>
            <a:r>
              <a:rPr lang="en-GB" sz="1050"/>
              <a:t>Explanation</a:t>
            </a:r>
          </a:p>
        </p:txBody>
      </p:sp>
      <p:pic>
        <p:nvPicPr>
          <p:cNvPr id="107" name="Billede 106"/>
          <p:cNvPicPr>
            <a:picLocks noChangeAspect="1"/>
          </p:cNvPicPr>
          <p:nvPr/>
        </p:nvPicPr>
        <p:blipFill>
          <a:blip r:embed="rId17">
            <a:alphaModFix amt="4100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968884" y="1288586"/>
            <a:ext cx="691485" cy="691485"/>
          </a:xfrm>
          <a:prstGeom prst="rect">
            <a:avLst/>
          </a:prstGeom>
        </p:spPr>
      </p:pic>
      <p:sp>
        <p:nvSpPr>
          <p:cNvPr id="108" name="Tekstfelt 107"/>
          <p:cNvSpPr txBox="1"/>
          <p:nvPr/>
        </p:nvSpPr>
        <p:spPr>
          <a:xfrm>
            <a:off x="7591802" y="1399471"/>
            <a:ext cx="1521583" cy="415498"/>
          </a:xfrm>
          <a:prstGeom prst="rect">
            <a:avLst/>
          </a:prstGeom>
          <a:noFill/>
        </p:spPr>
        <p:txBody>
          <a:bodyPr wrap="square" rtlCol="0">
            <a:spAutoFit/>
          </a:bodyPr>
          <a:lstStyle/>
          <a:p>
            <a:r>
              <a:rPr lang="en-GB" sz="1050" b="1"/>
              <a:t>Price-consciousness</a:t>
            </a:r>
          </a:p>
          <a:p>
            <a:pPr marL="171450" indent="-171450">
              <a:buFont typeface="Wingdings" charset="2"/>
              <a:buChar char="§"/>
            </a:pPr>
            <a:r>
              <a:rPr lang="en-GB" sz="1050"/>
              <a:t>Explanation</a:t>
            </a:r>
          </a:p>
        </p:txBody>
      </p:sp>
    </p:spTree>
    <p:extLst>
      <p:ext uri="{BB962C8B-B14F-4D97-AF65-F5344CB8AC3E}">
        <p14:creationId xmlns:p14="http://schemas.microsoft.com/office/powerpoint/2010/main" val="16855620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94968" y="1120877"/>
            <a:ext cx="12816349" cy="461624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kstfelt 2"/>
          <p:cNvSpPr txBox="1"/>
          <p:nvPr/>
        </p:nvSpPr>
        <p:spPr>
          <a:xfrm>
            <a:off x="1993692" y="2896523"/>
            <a:ext cx="5981125" cy="1200329"/>
          </a:xfrm>
          <a:prstGeom prst="rect">
            <a:avLst/>
          </a:prstGeom>
          <a:noFill/>
        </p:spPr>
        <p:txBody>
          <a:bodyPr wrap="none" rtlCol="0">
            <a:spAutoFit/>
          </a:bodyPr>
          <a:lstStyle/>
          <a:p>
            <a:r>
              <a:rPr lang="da-DK" sz="7200" dirty="0" err="1">
                <a:solidFill>
                  <a:schemeClr val="bg1"/>
                </a:solidFill>
              </a:rPr>
              <a:t>Where</a:t>
            </a:r>
            <a:r>
              <a:rPr lang="da-DK" sz="7200" dirty="0">
                <a:solidFill>
                  <a:schemeClr val="bg1"/>
                </a:solidFill>
              </a:rPr>
              <a:t> to Play</a:t>
            </a:r>
          </a:p>
        </p:txBody>
      </p:sp>
    </p:spTree>
    <p:extLst>
      <p:ext uri="{BB962C8B-B14F-4D97-AF65-F5344CB8AC3E}">
        <p14:creationId xmlns:p14="http://schemas.microsoft.com/office/powerpoint/2010/main" val="17906804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tekst 5"/>
          <p:cNvSpPr>
            <a:spLocks noGrp="1"/>
          </p:cNvSpPr>
          <p:nvPr>
            <p:ph type="body" sz="quarter" idx="13"/>
          </p:nvPr>
        </p:nvSpPr>
        <p:spPr/>
        <p:txBody>
          <a:bodyPr/>
          <a:lstStyle/>
          <a:p>
            <a:endParaRPr lang="en-US"/>
          </a:p>
        </p:txBody>
      </p:sp>
      <p:sp>
        <p:nvSpPr>
          <p:cNvPr id="9" name="Pladsholder til tekst 8"/>
          <p:cNvSpPr>
            <a:spLocks noGrp="1"/>
          </p:cNvSpPr>
          <p:nvPr>
            <p:ph type="body" sz="quarter" idx="15"/>
          </p:nvPr>
        </p:nvSpPr>
        <p:spPr/>
        <p:txBody>
          <a:bodyPr/>
          <a:lstStyle/>
          <a:p>
            <a:endParaRPr lang="en-US"/>
          </a:p>
        </p:txBody>
      </p:sp>
      <p:sp>
        <p:nvSpPr>
          <p:cNvPr id="5" name="Titel 4"/>
          <p:cNvSpPr>
            <a:spLocks noGrp="1"/>
          </p:cNvSpPr>
          <p:nvPr>
            <p:ph type="title"/>
          </p:nvPr>
        </p:nvSpPr>
        <p:spPr>
          <a:xfrm>
            <a:off x="527050" y="127212"/>
            <a:ext cx="9314374" cy="925103"/>
          </a:xfrm>
          <a:prstGeom prst="rect">
            <a:avLst/>
          </a:prstGeom>
        </p:spPr>
        <p:txBody>
          <a:bodyPr/>
          <a:lstStyle/>
          <a:p>
            <a:endParaRPr lang="en-US"/>
          </a:p>
        </p:txBody>
      </p:sp>
      <p:sp>
        <p:nvSpPr>
          <p:cNvPr id="22" name="Rectangle 21"/>
          <p:cNvSpPr/>
          <p:nvPr/>
        </p:nvSpPr>
        <p:spPr>
          <a:xfrm>
            <a:off x="278408" y="1865451"/>
            <a:ext cx="439544"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60</a:t>
            </a:r>
          </a:p>
        </p:txBody>
      </p:sp>
      <p:sp>
        <p:nvSpPr>
          <p:cNvPr id="24" name="Rectangle 23"/>
          <p:cNvSpPr/>
          <p:nvPr/>
        </p:nvSpPr>
        <p:spPr>
          <a:xfrm rot="16200000">
            <a:off x="-342077" y="3664514"/>
            <a:ext cx="1479892"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Price ( dollar/900g)</a:t>
            </a:r>
          </a:p>
        </p:txBody>
      </p:sp>
      <p:grpSp>
        <p:nvGrpSpPr>
          <p:cNvPr id="25" name="Group 24"/>
          <p:cNvGrpSpPr/>
          <p:nvPr/>
        </p:nvGrpSpPr>
        <p:grpSpPr>
          <a:xfrm>
            <a:off x="669916" y="1882587"/>
            <a:ext cx="6472968" cy="3744910"/>
            <a:chOff x="510084" y="1805002"/>
            <a:chExt cx="7120265" cy="4119400"/>
          </a:xfrm>
        </p:grpSpPr>
        <p:sp>
          <p:nvSpPr>
            <p:cNvPr id="26" name="Rectangle 25"/>
            <p:cNvSpPr/>
            <p:nvPr/>
          </p:nvSpPr>
          <p:spPr>
            <a:xfrm>
              <a:off x="510084" y="1805002"/>
              <a:ext cx="3523891" cy="2024674"/>
            </a:xfrm>
            <a:prstGeom prst="rect">
              <a:avLst/>
            </a:prstGeom>
            <a:solidFill>
              <a:schemeClr val="bg1">
                <a:lumMod val="85000"/>
                <a:alpha val="50196"/>
              </a:schemeClr>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7" name="Rectangle 26"/>
            <p:cNvSpPr/>
            <p:nvPr/>
          </p:nvSpPr>
          <p:spPr>
            <a:xfrm>
              <a:off x="4106458" y="1805002"/>
              <a:ext cx="3523891" cy="2024674"/>
            </a:xfrm>
            <a:prstGeom prst="rect">
              <a:avLst/>
            </a:prstGeom>
            <a:solidFill>
              <a:schemeClr val="bg1">
                <a:lumMod val="85000"/>
                <a:alpha val="50196"/>
              </a:schemeClr>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8" name="Rectangle 27"/>
            <p:cNvSpPr/>
            <p:nvPr/>
          </p:nvSpPr>
          <p:spPr>
            <a:xfrm>
              <a:off x="510084" y="3899728"/>
              <a:ext cx="3523891" cy="2024674"/>
            </a:xfrm>
            <a:prstGeom prst="rect">
              <a:avLst/>
            </a:prstGeom>
            <a:solidFill>
              <a:schemeClr val="bg1">
                <a:lumMod val="85000"/>
                <a:alpha val="50196"/>
              </a:schemeClr>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9" name="Rectangle 28"/>
            <p:cNvSpPr/>
            <p:nvPr/>
          </p:nvSpPr>
          <p:spPr>
            <a:xfrm>
              <a:off x="4106458" y="3899728"/>
              <a:ext cx="3523891" cy="2024674"/>
            </a:xfrm>
            <a:prstGeom prst="rect">
              <a:avLst/>
            </a:prstGeom>
            <a:solidFill>
              <a:schemeClr val="bg1">
                <a:lumMod val="85000"/>
                <a:alpha val="50196"/>
              </a:schemeClr>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cxnSp>
        <p:nvCxnSpPr>
          <p:cNvPr id="30" name="Straight Connector 29"/>
          <p:cNvCxnSpPr/>
          <p:nvPr/>
        </p:nvCxnSpPr>
        <p:spPr>
          <a:xfrm>
            <a:off x="819150" y="5709560"/>
            <a:ext cx="5861304" cy="0"/>
          </a:xfrm>
          <a:prstGeom prst="line">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527835" y="2230697"/>
            <a:ext cx="0" cy="3181032"/>
          </a:xfrm>
          <a:prstGeom prst="line">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6765216" y="5593693"/>
            <a:ext cx="269626"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5</a:t>
            </a:r>
          </a:p>
        </p:txBody>
      </p:sp>
      <p:sp>
        <p:nvSpPr>
          <p:cNvPr id="33" name="Rectangle 32"/>
          <p:cNvSpPr/>
          <p:nvPr/>
        </p:nvSpPr>
        <p:spPr>
          <a:xfrm>
            <a:off x="3212876" y="5715681"/>
            <a:ext cx="1386918"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Perceived Quality</a:t>
            </a:r>
          </a:p>
        </p:txBody>
      </p:sp>
      <p:sp>
        <p:nvSpPr>
          <p:cNvPr id="50" name="Rectangle 49"/>
          <p:cNvSpPr/>
          <p:nvPr/>
        </p:nvSpPr>
        <p:spPr>
          <a:xfrm>
            <a:off x="589921" y="5585780"/>
            <a:ext cx="313462" cy="276999"/>
          </a:xfrm>
          <a:prstGeom prst="rect">
            <a:avLst/>
          </a:prstGeom>
        </p:spPr>
        <p:txBody>
          <a:bodyPr wrap="squar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1</a:t>
            </a:r>
          </a:p>
        </p:txBody>
      </p:sp>
      <p:sp>
        <p:nvSpPr>
          <p:cNvPr id="56" name="Rectangle 55"/>
          <p:cNvSpPr/>
          <p:nvPr/>
        </p:nvSpPr>
        <p:spPr>
          <a:xfrm rot="10800000" flipH="1" flipV="1">
            <a:off x="377164" y="5475413"/>
            <a:ext cx="365157" cy="276999"/>
          </a:xfrm>
          <a:prstGeom prst="rect">
            <a:avLst/>
          </a:prstGeom>
        </p:spPr>
        <p:txBody>
          <a:bodyPr wrap="squar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0</a:t>
            </a:r>
          </a:p>
        </p:txBody>
      </p:sp>
      <p:sp>
        <p:nvSpPr>
          <p:cNvPr id="49" name="Rectangle 48"/>
          <p:cNvSpPr/>
          <p:nvPr/>
        </p:nvSpPr>
        <p:spPr>
          <a:xfrm>
            <a:off x="3926941" y="1879040"/>
            <a:ext cx="3192998" cy="1848333"/>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65" name="Group 5"/>
          <p:cNvGrpSpPr/>
          <p:nvPr/>
        </p:nvGrpSpPr>
        <p:grpSpPr>
          <a:xfrm>
            <a:off x="7843560" y="1790532"/>
            <a:ext cx="5162092" cy="1107996"/>
            <a:chOff x="7503320" y="1790532"/>
            <a:chExt cx="5162092" cy="1107996"/>
          </a:xfrm>
        </p:grpSpPr>
        <p:sp>
          <p:nvSpPr>
            <p:cNvPr id="66" name="Rectangle 6"/>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67" name="Rectangle 7"/>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1</a:t>
              </a:r>
              <a:endParaRPr lang="da-DK" sz="6600" b="1" dirty="0">
                <a:solidFill>
                  <a:schemeClr val="accent1"/>
                </a:solidFill>
                <a:latin typeface="Arial" panose="020B0604020202020204" pitchFamily="34" charset="0"/>
                <a:cs typeface="Arial" panose="020B0604020202020204" pitchFamily="34" charset="0"/>
              </a:endParaRPr>
            </a:p>
          </p:txBody>
        </p:sp>
        <p:sp>
          <p:nvSpPr>
            <p:cNvPr id="68" name="Rectangle 8"/>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69" name="Group 9"/>
          <p:cNvGrpSpPr/>
          <p:nvPr/>
        </p:nvGrpSpPr>
        <p:grpSpPr>
          <a:xfrm>
            <a:off x="7843560" y="3133256"/>
            <a:ext cx="5162092" cy="1107996"/>
            <a:chOff x="7503320" y="1790532"/>
            <a:chExt cx="5162092" cy="1107996"/>
          </a:xfrm>
        </p:grpSpPr>
        <p:sp>
          <p:nvSpPr>
            <p:cNvPr id="70" name="Rectangle 10"/>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71" name="Rectangle 11"/>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2</a:t>
              </a:r>
              <a:endParaRPr lang="da-DK" sz="6600" b="1" dirty="0">
                <a:solidFill>
                  <a:schemeClr val="accent1"/>
                </a:solidFill>
                <a:latin typeface="Arial" panose="020B0604020202020204" pitchFamily="34" charset="0"/>
                <a:cs typeface="Arial" panose="020B0604020202020204" pitchFamily="34" charset="0"/>
              </a:endParaRPr>
            </a:p>
          </p:txBody>
        </p:sp>
        <p:sp>
          <p:nvSpPr>
            <p:cNvPr id="72" name="Rectangle 12"/>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73" name="Group 13"/>
          <p:cNvGrpSpPr/>
          <p:nvPr/>
        </p:nvGrpSpPr>
        <p:grpSpPr>
          <a:xfrm>
            <a:off x="7843560" y="4475980"/>
            <a:ext cx="5162092" cy="1107996"/>
            <a:chOff x="7503320" y="1790532"/>
            <a:chExt cx="5162092" cy="1107996"/>
          </a:xfrm>
        </p:grpSpPr>
        <p:sp>
          <p:nvSpPr>
            <p:cNvPr id="74" name="Rectangle 14"/>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75" name="Rectangle 15"/>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3</a:t>
              </a:r>
              <a:endParaRPr lang="da-DK" sz="6600" b="1" dirty="0">
                <a:solidFill>
                  <a:schemeClr val="accent1"/>
                </a:solidFill>
                <a:latin typeface="Arial" panose="020B0604020202020204" pitchFamily="34" charset="0"/>
                <a:cs typeface="Arial" panose="020B0604020202020204" pitchFamily="34" charset="0"/>
              </a:endParaRPr>
            </a:p>
          </p:txBody>
        </p:sp>
        <p:sp>
          <p:nvSpPr>
            <p:cNvPr id="76" name="Rectangle 16"/>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cxnSp>
        <p:nvCxnSpPr>
          <p:cNvPr id="77" name="Lige forbindelse 76"/>
          <p:cNvCxnSpPr/>
          <p:nvPr/>
        </p:nvCxnSpPr>
        <p:spPr>
          <a:xfrm>
            <a:off x="527052" y="1665884"/>
            <a:ext cx="1971216"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78" name="Rektangel 77"/>
          <p:cNvSpPr/>
          <p:nvPr/>
        </p:nvSpPr>
        <p:spPr>
          <a:xfrm>
            <a:off x="527051" y="1268677"/>
            <a:ext cx="4077489" cy="338554"/>
          </a:xfrm>
          <a:prstGeom prst="rect">
            <a:avLst/>
          </a:prstGeom>
        </p:spPr>
        <p:txBody>
          <a:bodyPr wrap="square">
            <a:spAutoFit/>
          </a:bodyPr>
          <a:lstStyle/>
          <a:p>
            <a:r>
              <a:rPr lang="en-US" sz="1600" b="1" dirty="0">
                <a:solidFill>
                  <a:schemeClr val="tx1">
                    <a:lumMod val="75000"/>
                    <a:lumOff val="25000"/>
                  </a:schemeClr>
                </a:solidFill>
                <a:latin typeface="Arial" charset="0"/>
                <a:ea typeface="Arial" charset="0"/>
                <a:cs typeface="Arial" charset="0"/>
              </a:rPr>
              <a:t>Sub-headline</a:t>
            </a:r>
          </a:p>
        </p:txBody>
      </p:sp>
      <p:sp>
        <p:nvSpPr>
          <p:cNvPr id="2" name="Rektangel 1"/>
          <p:cNvSpPr/>
          <p:nvPr/>
        </p:nvSpPr>
        <p:spPr>
          <a:xfrm>
            <a:off x="4826643" y="2230697"/>
            <a:ext cx="972273" cy="9791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ste Logos</a:t>
            </a:r>
          </a:p>
        </p:txBody>
      </p:sp>
    </p:spTree>
    <p:extLst>
      <p:ext uri="{BB962C8B-B14F-4D97-AF65-F5344CB8AC3E}">
        <p14:creationId xmlns:p14="http://schemas.microsoft.com/office/powerpoint/2010/main" val="4078952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EEB8B6-8095-42AB-BBC9-46F90B92F7FE}"/>
              </a:ext>
            </a:extLst>
          </p:cNvPr>
          <p:cNvSpPr>
            <a:spLocks noGrp="1"/>
          </p:cNvSpPr>
          <p:nvPr>
            <p:ph type="body" sz="quarter" idx="13"/>
          </p:nvPr>
        </p:nvSpPr>
        <p:spPr/>
        <p:txBody>
          <a:bodyPr/>
          <a:lstStyle/>
          <a:p>
            <a:r>
              <a:rPr lang="da-DK" dirty="0">
                <a:hlinkClick r:id="rId3">
                  <a:extLst>
                    <a:ext uri="{A12FA001-AC4F-418D-AE19-62706E023703}">
                      <ahyp:hlinkClr xmlns:ahyp="http://schemas.microsoft.com/office/drawing/2018/hyperlinkcolor" val="tx"/>
                    </a:ext>
                  </a:extLst>
                </a:hlinkClick>
              </a:rPr>
              <a:t>https://www.cloudred.com/labprojects/nyctrees/</a:t>
            </a:r>
            <a:endParaRPr lang="en-GB" dirty="0"/>
          </a:p>
        </p:txBody>
      </p:sp>
      <p:sp>
        <p:nvSpPr>
          <p:cNvPr id="3" name="Text Placeholder 2">
            <a:extLst>
              <a:ext uri="{FF2B5EF4-FFF2-40B4-BE49-F238E27FC236}">
                <a16:creationId xmlns:a16="http://schemas.microsoft.com/office/drawing/2014/main" id="{B5651856-5CBF-43BC-9A7D-3A36600A26E5}"/>
              </a:ext>
            </a:extLst>
          </p:cNvPr>
          <p:cNvSpPr>
            <a:spLocks noGrp="1"/>
          </p:cNvSpPr>
          <p:nvPr>
            <p:ph type="body" sz="quarter" idx="15"/>
          </p:nvPr>
        </p:nvSpPr>
        <p:spPr/>
        <p:txBody>
          <a:bodyPr/>
          <a:lstStyle/>
          <a:p>
            <a:endParaRPr lang="en-GB" dirty="0">
              <a:solidFill>
                <a:srgbClr val="404040"/>
              </a:solidFill>
            </a:endParaRPr>
          </a:p>
        </p:txBody>
      </p:sp>
      <p:sp>
        <p:nvSpPr>
          <p:cNvPr id="4" name="Title 3">
            <a:extLst>
              <a:ext uri="{FF2B5EF4-FFF2-40B4-BE49-F238E27FC236}">
                <a16:creationId xmlns:a16="http://schemas.microsoft.com/office/drawing/2014/main" id="{65E02C8B-F34C-4B50-9C3B-854FBC2BAE32}"/>
              </a:ext>
            </a:extLst>
          </p:cNvPr>
          <p:cNvSpPr>
            <a:spLocks noGrp="1"/>
          </p:cNvSpPr>
          <p:nvPr>
            <p:ph type="title"/>
          </p:nvPr>
        </p:nvSpPr>
        <p:spPr/>
        <p:txBody>
          <a:bodyPr/>
          <a:lstStyle/>
          <a:p>
            <a:r>
              <a:rPr lang="en-GB" dirty="0"/>
              <a:t>Idea</a:t>
            </a:r>
          </a:p>
        </p:txBody>
      </p:sp>
      <p:sp>
        <p:nvSpPr>
          <p:cNvPr id="12" name="Tekstfelt 11">
            <a:extLst>
              <a:ext uri="{FF2B5EF4-FFF2-40B4-BE49-F238E27FC236}">
                <a16:creationId xmlns:a16="http://schemas.microsoft.com/office/drawing/2014/main" id="{563A3CDB-0B3E-DA44-8F46-0D5605A27174}"/>
              </a:ext>
            </a:extLst>
          </p:cNvPr>
          <p:cNvSpPr txBox="1"/>
          <p:nvPr/>
        </p:nvSpPr>
        <p:spPr>
          <a:xfrm>
            <a:off x="1028700" y="1355271"/>
            <a:ext cx="184731" cy="369332"/>
          </a:xfrm>
          <a:prstGeom prst="rect">
            <a:avLst/>
          </a:prstGeom>
          <a:noFill/>
        </p:spPr>
        <p:txBody>
          <a:bodyPr wrap="square" rtlCol="0">
            <a:spAutoFit/>
          </a:bodyPr>
          <a:lstStyle/>
          <a:p>
            <a:endParaRPr lang="da-DK" dirty="0"/>
          </a:p>
        </p:txBody>
      </p:sp>
      <p:pic>
        <p:nvPicPr>
          <p:cNvPr id="60" name="Picture 85">
            <a:extLst>
              <a:ext uri="{FF2B5EF4-FFF2-40B4-BE49-F238E27FC236}">
                <a16:creationId xmlns:a16="http://schemas.microsoft.com/office/drawing/2014/main" id="{A30DFA8C-201B-BA4B-87E1-A5CBC3201E4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355086" y="2283266"/>
            <a:ext cx="571693" cy="571693"/>
          </a:xfrm>
          <a:prstGeom prst="rect">
            <a:avLst/>
          </a:prstGeom>
        </p:spPr>
      </p:pic>
      <p:sp>
        <p:nvSpPr>
          <p:cNvPr id="14" name="Tekstfelt 13">
            <a:extLst>
              <a:ext uri="{FF2B5EF4-FFF2-40B4-BE49-F238E27FC236}">
                <a16:creationId xmlns:a16="http://schemas.microsoft.com/office/drawing/2014/main" id="{0D2CFABC-36E1-484A-8BF3-9A8A98FA6C6D}"/>
              </a:ext>
            </a:extLst>
          </p:cNvPr>
          <p:cNvSpPr txBox="1"/>
          <p:nvPr/>
        </p:nvSpPr>
        <p:spPr>
          <a:xfrm>
            <a:off x="2077959" y="2367855"/>
            <a:ext cx="3095719" cy="2031325"/>
          </a:xfrm>
          <a:prstGeom prst="rect">
            <a:avLst/>
          </a:prstGeom>
          <a:noFill/>
        </p:spPr>
        <p:txBody>
          <a:bodyPr wrap="none" rtlCol="0">
            <a:spAutoFit/>
          </a:bodyPr>
          <a:lstStyle/>
          <a:p>
            <a:r>
              <a:rPr lang="da-DK" dirty="0"/>
              <a:t>Inspiration from webpage</a:t>
            </a:r>
          </a:p>
          <a:p>
            <a:endParaRPr lang="da-DK" dirty="0"/>
          </a:p>
          <a:p>
            <a:endParaRPr lang="da-DK" dirty="0"/>
          </a:p>
          <a:p>
            <a:r>
              <a:rPr lang="da-DK" dirty="0" err="1"/>
              <a:t>Two</a:t>
            </a:r>
            <a:r>
              <a:rPr lang="da-DK" dirty="0"/>
              <a:t> datasets </a:t>
            </a:r>
            <a:r>
              <a:rPr lang="da-DK" dirty="0" err="1"/>
              <a:t>investigated</a:t>
            </a:r>
            <a:endParaRPr lang="da-DK" dirty="0"/>
          </a:p>
          <a:p>
            <a:endParaRPr lang="da-DK" dirty="0"/>
          </a:p>
          <a:p>
            <a:endParaRPr lang="da-DK" dirty="0"/>
          </a:p>
          <a:p>
            <a:r>
              <a:rPr lang="da-DK" dirty="0"/>
              <a:t>Help the city of Copenhagen</a:t>
            </a:r>
          </a:p>
        </p:txBody>
      </p:sp>
      <p:pic>
        <p:nvPicPr>
          <p:cNvPr id="63" name="Picture 7">
            <a:extLst>
              <a:ext uri="{FF2B5EF4-FFF2-40B4-BE49-F238E27FC236}">
                <a16:creationId xmlns:a16="http://schemas.microsoft.com/office/drawing/2014/main" id="{5CC2E792-323D-6E4F-AE73-507ACA2ABC28}"/>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313521" y="3105696"/>
            <a:ext cx="679583" cy="599125"/>
          </a:xfrm>
          <a:prstGeom prst="rect">
            <a:avLst/>
          </a:prstGeom>
        </p:spPr>
      </p:pic>
      <p:pic>
        <p:nvPicPr>
          <p:cNvPr id="65" name="Picture 147">
            <a:extLst>
              <a:ext uri="{FF2B5EF4-FFF2-40B4-BE49-F238E27FC236}">
                <a16:creationId xmlns:a16="http://schemas.microsoft.com/office/drawing/2014/main" id="{C68A6900-06BF-FE48-A750-D32DC312D05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313521" y="3961987"/>
            <a:ext cx="607657" cy="517121"/>
          </a:xfrm>
          <a:prstGeom prst="rect">
            <a:avLst/>
          </a:prstGeom>
        </p:spPr>
      </p:pic>
      <p:pic>
        <p:nvPicPr>
          <p:cNvPr id="29" name="Billede 28">
            <a:extLst>
              <a:ext uri="{FF2B5EF4-FFF2-40B4-BE49-F238E27FC236}">
                <a16:creationId xmlns:a16="http://schemas.microsoft.com/office/drawing/2014/main" id="{10AD427A-C1FE-2446-AD14-23F9B5D2C134}"/>
              </a:ext>
            </a:extLst>
          </p:cNvPr>
          <p:cNvPicPr>
            <a:picLocks noChangeAspect="1"/>
          </p:cNvPicPr>
          <p:nvPr/>
        </p:nvPicPr>
        <p:blipFill>
          <a:blip r:embed="rId7"/>
          <a:stretch>
            <a:fillRect/>
          </a:stretch>
        </p:blipFill>
        <p:spPr>
          <a:xfrm>
            <a:off x="5366423" y="1926731"/>
            <a:ext cx="6288259" cy="2885743"/>
          </a:xfrm>
          <a:prstGeom prst="rect">
            <a:avLst/>
          </a:prstGeom>
        </p:spPr>
      </p:pic>
    </p:spTree>
    <p:extLst>
      <p:ext uri="{BB962C8B-B14F-4D97-AF65-F5344CB8AC3E}">
        <p14:creationId xmlns:p14="http://schemas.microsoft.com/office/powerpoint/2010/main" val="21826967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55" name="think-cell Slide" r:id="rId5" imgW="270" imgH="270" progId="TCLayout.ActiveDocument.1">
                  <p:embed/>
                </p:oleObj>
              </mc:Choice>
              <mc:Fallback>
                <p:oleObj name="think-cell Slide" r:id="rId5" imgW="270" imgH="270" progId="TCLayout.ActiveDocument.1">
                  <p:embed/>
                  <p:pic>
                    <p:nvPicPr>
                      <p:cNvPr id="20" name="Object 1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143" name="Tekstfelt 5"/>
          <p:cNvSpPr txBox="1"/>
          <p:nvPr/>
        </p:nvSpPr>
        <p:spPr>
          <a:xfrm>
            <a:off x="9839768" y="1277189"/>
            <a:ext cx="2521478" cy="338554"/>
          </a:xfrm>
          <a:prstGeom prst="rect">
            <a:avLst/>
          </a:prstGeom>
          <a:noFill/>
          <a:ln>
            <a:noFill/>
          </a:ln>
        </p:spPr>
        <p:txBody>
          <a:bodyPr wrap="square" rtlCol="0">
            <a:spAutoFit/>
          </a:bodyPr>
          <a:lstStyle/>
          <a:p>
            <a:pPr>
              <a:defRPr/>
            </a:pPr>
            <a:r>
              <a:rPr lang="da-DK" sz="1600" dirty="0">
                <a:solidFill>
                  <a:prstClr val="white"/>
                </a:solidFill>
                <a:latin typeface="Montserrat Black" panose="00000A00000000000000" pitchFamily="50" charset="0"/>
              </a:rPr>
              <a:t>PROPOSED FOCUS</a:t>
            </a:r>
          </a:p>
        </p:txBody>
      </p:sp>
      <p:cxnSp>
        <p:nvCxnSpPr>
          <p:cNvPr id="144" name="Straight Connector 55"/>
          <p:cNvCxnSpPr/>
          <p:nvPr/>
        </p:nvCxnSpPr>
        <p:spPr>
          <a:xfrm>
            <a:off x="9935018" y="1693013"/>
            <a:ext cx="96989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Pladsholder til tekst 3"/>
          <p:cNvSpPr>
            <a:spLocks noGrp="1"/>
          </p:cNvSpPr>
          <p:nvPr>
            <p:ph type="body" sz="quarter" idx="13"/>
          </p:nvPr>
        </p:nvSpPr>
        <p:spPr/>
        <p:txBody>
          <a:bodyPr/>
          <a:lstStyle/>
          <a:p>
            <a:endParaRPr lang="en-US"/>
          </a:p>
        </p:txBody>
      </p:sp>
      <p:sp>
        <p:nvSpPr>
          <p:cNvPr id="5" name="Pladsholder til tekst 4"/>
          <p:cNvSpPr>
            <a:spLocks noGrp="1"/>
          </p:cNvSpPr>
          <p:nvPr>
            <p:ph type="body" sz="quarter" idx="15"/>
          </p:nvPr>
        </p:nvSpPr>
        <p:spPr/>
        <p:txBody>
          <a:bodyPr/>
          <a:lstStyle/>
          <a:p>
            <a:endParaRPr lang="en-US"/>
          </a:p>
        </p:txBody>
      </p:sp>
      <p:sp>
        <p:nvSpPr>
          <p:cNvPr id="2" name="Titel 1"/>
          <p:cNvSpPr>
            <a:spLocks noGrp="1"/>
          </p:cNvSpPr>
          <p:nvPr>
            <p:ph type="title"/>
          </p:nvPr>
        </p:nvSpPr>
        <p:spPr>
          <a:xfrm>
            <a:off x="527050" y="127212"/>
            <a:ext cx="9314374" cy="925103"/>
          </a:xfrm>
          <a:prstGeom prst="rect">
            <a:avLst/>
          </a:prstGeom>
        </p:spPr>
        <p:txBody>
          <a:bodyPr/>
          <a:lstStyle/>
          <a:p>
            <a:endParaRPr lang="en-US"/>
          </a:p>
        </p:txBody>
      </p:sp>
      <p:sp>
        <p:nvSpPr>
          <p:cNvPr id="107" name="Tekstfelt 5"/>
          <p:cNvSpPr txBox="1"/>
          <p:nvPr/>
        </p:nvSpPr>
        <p:spPr>
          <a:xfrm rot="16200000">
            <a:off x="426657" y="2338348"/>
            <a:ext cx="728146" cy="276999"/>
          </a:xfrm>
          <a:prstGeom prst="rect">
            <a:avLst/>
          </a:prstGeom>
          <a:noFill/>
          <a:ln>
            <a:noFill/>
          </a:ln>
        </p:spPr>
        <p:txBody>
          <a:bodyPr wrap="square" rtlCol="0">
            <a:spAutoFit/>
          </a:bodyPr>
          <a:lstStyle/>
          <a:p>
            <a:r>
              <a:rPr lang="da-DK" sz="1200" dirty="0">
                <a:solidFill>
                  <a:prstClr val="black"/>
                </a:solidFill>
                <a:latin typeface="Arial" charset="0"/>
                <a:ea typeface="Arial" charset="0"/>
                <a:cs typeface="Arial" charset="0"/>
              </a:rPr>
              <a:t>HIGH</a:t>
            </a:r>
          </a:p>
        </p:txBody>
      </p:sp>
      <p:sp>
        <p:nvSpPr>
          <p:cNvPr id="109" name="Tekstfelt 5"/>
          <p:cNvSpPr txBox="1"/>
          <p:nvPr/>
        </p:nvSpPr>
        <p:spPr>
          <a:xfrm>
            <a:off x="1228134" y="5906510"/>
            <a:ext cx="847452" cy="276999"/>
          </a:xfrm>
          <a:prstGeom prst="rect">
            <a:avLst/>
          </a:prstGeom>
          <a:noFill/>
          <a:ln>
            <a:noFill/>
          </a:ln>
        </p:spPr>
        <p:txBody>
          <a:bodyPr wrap="square" rtlCol="0">
            <a:spAutoFit/>
          </a:bodyPr>
          <a:lstStyle/>
          <a:p>
            <a:r>
              <a:rPr lang="da-DK" sz="1200" dirty="0">
                <a:solidFill>
                  <a:prstClr val="black"/>
                </a:solidFill>
                <a:latin typeface="Arial" charset="0"/>
                <a:ea typeface="Arial" charset="0"/>
                <a:cs typeface="Arial" charset="0"/>
              </a:rPr>
              <a:t>LOW</a:t>
            </a:r>
          </a:p>
        </p:txBody>
      </p:sp>
      <p:sp>
        <p:nvSpPr>
          <p:cNvPr id="110" name="Tekstfelt 5"/>
          <p:cNvSpPr txBox="1"/>
          <p:nvPr/>
        </p:nvSpPr>
        <p:spPr>
          <a:xfrm>
            <a:off x="6159591" y="5884738"/>
            <a:ext cx="847452" cy="276999"/>
          </a:xfrm>
          <a:prstGeom prst="rect">
            <a:avLst/>
          </a:prstGeom>
          <a:noFill/>
          <a:ln>
            <a:noFill/>
          </a:ln>
        </p:spPr>
        <p:txBody>
          <a:bodyPr wrap="square" rtlCol="0">
            <a:spAutoFit/>
          </a:bodyPr>
          <a:lstStyle/>
          <a:p>
            <a:r>
              <a:rPr lang="da-DK" sz="1200" dirty="0">
                <a:solidFill>
                  <a:prstClr val="black"/>
                </a:solidFill>
                <a:latin typeface="Arial" charset="0"/>
                <a:ea typeface="Arial" charset="0"/>
                <a:cs typeface="Arial" charset="0"/>
              </a:rPr>
              <a:t>HIGH</a:t>
            </a:r>
          </a:p>
        </p:txBody>
      </p:sp>
      <p:grpSp>
        <p:nvGrpSpPr>
          <p:cNvPr id="154" name="Group 153"/>
          <p:cNvGrpSpPr/>
          <p:nvPr/>
        </p:nvGrpSpPr>
        <p:grpSpPr>
          <a:xfrm>
            <a:off x="502720" y="1830029"/>
            <a:ext cx="1995548" cy="253916"/>
            <a:chOff x="818588" y="1444771"/>
            <a:chExt cx="1995548" cy="253916"/>
          </a:xfrm>
        </p:grpSpPr>
        <p:sp>
          <p:nvSpPr>
            <p:cNvPr id="94" name="Oval 93"/>
            <p:cNvSpPr/>
            <p:nvPr/>
          </p:nvSpPr>
          <p:spPr>
            <a:xfrm>
              <a:off x="818588" y="1475749"/>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prstClr val="black"/>
                </a:solidFill>
                <a:latin typeface="Arial" charset="0"/>
                <a:ea typeface="Arial" charset="0"/>
                <a:cs typeface="Arial" charset="0"/>
              </a:endParaRPr>
            </a:p>
          </p:txBody>
        </p:sp>
        <p:sp>
          <p:nvSpPr>
            <p:cNvPr id="112" name="TextBox 111"/>
            <p:cNvSpPr txBox="1"/>
            <p:nvPr/>
          </p:nvSpPr>
          <p:spPr>
            <a:xfrm>
              <a:off x="983186" y="1444771"/>
              <a:ext cx="1830950" cy="253916"/>
            </a:xfrm>
            <a:prstGeom prst="rect">
              <a:avLst/>
            </a:prstGeom>
            <a:noFill/>
          </p:spPr>
          <p:txBody>
            <a:bodyPr wrap="none" rtlCol="0">
              <a:spAutoFit/>
            </a:bodyPr>
            <a:lstStyle/>
            <a:p>
              <a:r>
                <a:rPr lang="da-DK" sz="1050" dirty="0">
                  <a:solidFill>
                    <a:prstClr val="black"/>
                  </a:solidFill>
                  <a:latin typeface="Arial" charset="0"/>
                  <a:ea typeface="Arial" charset="0"/>
                  <a:cs typeface="Arial" charset="0"/>
                </a:rPr>
                <a:t>Bubble size = segment size</a:t>
              </a:r>
            </a:p>
          </p:txBody>
        </p:sp>
      </p:grpSp>
      <p:sp>
        <p:nvSpPr>
          <p:cNvPr id="159" name="Isosceles Triangle 53"/>
          <p:cNvSpPr/>
          <p:nvPr/>
        </p:nvSpPr>
        <p:spPr>
          <a:xfrm rot="16200000" flipV="1">
            <a:off x="6276430" y="4058509"/>
            <a:ext cx="431720" cy="202315"/>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Arial" charset="0"/>
              <a:ea typeface="Arial" charset="0"/>
              <a:cs typeface="Arial" charset="0"/>
            </a:endParaRPr>
          </a:p>
        </p:txBody>
      </p:sp>
      <p:sp>
        <p:nvSpPr>
          <p:cNvPr id="106" name="Tekstfelt 5"/>
          <p:cNvSpPr txBox="1"/>
          <p:nvPr/>
        </p:nvSpPr>
        <p:spPr>
          <a:xfrm>
            <a:off x="9163266" y="1583007"/>
            <a:ext cx="3677063" cy="1877437"/>
          </a:xfrm>
          <a:prstGeom prst="rect">
            <a:avLst/>
          </a:prstGeom>
          <a:noFill/>
          <a:ln>
            <a:noFill/>
          </a:ln>
        </p:spPr>
        <p:txBody>
          <a:bodyPr wrap="square" rtlCol="0">
            <a:spAutoFit/>
          </a:bodyPr>
          <a:lstStyle/>
          <a:p>
            <a:endParaRPr lang="da-DK" sz="400" b="1" dirty="0">
              <a:solidFill>
                <a:schemeClr val="tx1">
                  <a:lumMod val="75000"/>
                  <a:lumOff val="25000"/>
                </a:schemeClr>
              </a:solidFill>
            </a:endParaRPr>
          </a:p>
          <a:p>
            <a:r>
              <a:rPr lang="da-DK" sz="1400" dirty="0" err="1">
                <a:solidFill>
                  <a:schemeClr val="tx1">
                    <a:lumMod val="75000"/>
                    <a:lumOff val="25000"/>
                  </a:schemeClr>
                </a:solidFill>
              </a:rPr>
              <a:t>Size</a:t>
            </a:r>
            <a:endParaRPr lang="da-DK" sz="1400" dirty="0">
              <a:solidFill>
                <a:schemeClr val="tx1">
                  <a:lumMod val="75000"/>
                  <a:lumOff val="25000"/>
                </a:schemeClr>
              </a:solidFill>
            </a:endParaRPr>
          </a:p>
          <a:p>
            <a:endParaRPr lang="da-DK" sz="1400" dirty="0">
              <a:solidFill>
                <a:schemeClr val="tx1">
                  <a:lumMod val="75000"/>
                  <a:lumOff val="25000"/>
                </a:schemeClr>
              </a:solidFill>
            </a:endParaRPr>
          </a:p>
          <a:p>
            <a:r>
              <a:rPr lang="da-DK" sz="1400" dirty="0">
                <a:solidFill>
                  <a:schemeClr val="tx1">
                    <a:lumMod val="75000"/>
                    <a:lumOff val="25000"/>
                  </a:schemeClr>
                </a:solidFill>
              </a:rPr>
              <a:t>Price </a:t>
            </a:r>
            <a:r>
              <a:rPr lang="da-DK" sz="1400" dirty="0" err="1">
                <a:solidFill>
                  <a:schemeClr val="tx1">
                    <a:lumMod val="75000"/>
                    <a:lumOff val="25000"/>
                  </a:schemeClr>
                </a:solidFill>
              </a:rPr>
              <a:t>sensitivity</a:t>
            </a:r>
            <a:endParaRPr lang="da-DK" sz="1400" dirty="0">
              <a:solidFill>
                <a:schemeClr val="tx1">
                  <a:lumMod val="75000"/>
                  <a:lumOff val="25000"/>
                </a:schemeClr>
              </a:solidFill>
            </a:endParaRPr>
          </a:p>
          <a:p>
            <a:endParaRPr lang="da-DK" sz="1400" dirty="0">
              <a:solidFill>
                <a:schemeClr val="tx1">
                  <a:lumMod val="75000"/>
                  <a:lumOff val="25000"/>
                </a:schemeClr>
              </a:solidFill>
            </a:endParaRPr>
          </a:p>
          <a:p>
            <a:r>
              <a:rPr lang="da-DK" sz="1400" dirty="0">
                <a:solidFill>
                  <a:schemeClr val="tx1">
                    <a:lumMod val="75000"/>
                    <a:lumOff val="25000"/>
                  </a:schemeClr>
                </a:solidFill>
              </a:rPr>
              <a:t>Growth</a:t>
            </a:r>
          </a:p>
          <a:p>
            <a:endParaRPr lang="da-DK" sz="1400" dirty="0">
              <a:solidFill>
                <a:schemeClr val="tx1">
                  <a:lumMod val="75000"/>
                  <a:lumOff val="25000"/>
                </a:schemeClr>
              </a:solidFill>
            </a:endParaRPr>
          </a:p>
          <a:p>
            <a:r>
              <a:rPr lang="da-DK" sz="1400" dirty="0" err="1">
                <a:solidFill>
                  <a:schemeClr val="tx1">
                    <a:lumMod val="75000"/>
                    <a:lumOff val="25000"/>
                  </a:schemeClr>
                </a:solidFill>
              </a:rPr>
              <a:t>Profitability</a:t>
            </a:r>
            <a:endParaRPr lang="da-DK" sz="1400" dirty="0">
              <a:solidFill>
                <a:schemeClr val="tx1">
                  <a:lumMod val="75000"/>
                  <a:lumOff val="25000"/>
                </a:schemeClr>
              </a:solidFill>
            </a:endParaRPr>
          </a:p>
          <a:p>
            <a:pPr marL="171450" indent="-171450">
              <a:buFont typeface="Arial" panose="020B0604020202020204" pitchFamily="34" charset="0"/>
              <a:buChar char="•"/>
            </a:pPr>
            <a:endParaRPr lang="da-DK" sz="1400" dirty="0">
              <a:solidFill>
                <a:schemeClr val="tx1">
                  <a:lumMod val="75000"/>
                  <a:lumOff val="25000"/>
                </a:schemeClr>
              </a:solidFill>
            </a:endParaRPr>
          </a:p>
        </p:txBody>
      </p:sp>
      <p:sp>
        <p:nvSpPr>
          <p:cNvPr id="105" name="Tekstfelt 5"/>
          <p:cNvSpPr txBox="1"/>
          <p:nvPr/>
        </p:nvSpPr>
        <p:spPr>
          <a:xfrm>
            <a:off x="9311138" y="4170919"/>
            <a:ext cx="2635152" cy="1785104"/>
          </a:xfrm>
          <a:prstGeom prst="rect">
            <a:avLst/>
          </a:prstGeom>
          <a:noFill/>
          <a:ln>
            <a:noFill/>
          </a:ln>
        </p:spPr>
        <p:txBody>
          <a:bodyPr wrap="square" rtlCol="0">
            <a:spAutoFit/>
          </a:bodyPr>
          <a:lstStyle/>
          <a:p>
            <a:r>
              <a:rPr lang="da-DK" sz="1400">
                <a:solidFill>
                  <a:schemeClr val="tx1">
                    <a:lumMod val="75000"/>
                    <a:lumOff val="25000"/>
                  </a:schemeClr>
                </a:solidFill>
                <a:latin typeface="Arial" charset="0"/>
                <a:ea typeface="Arial" charset="0"/>
                <a:cs typeface="Arial" charset="0"/>
              </a:rPr>
              <a:t>Market </a:t>
            </a:r>
            <a:r>
              <a:rPr lang="da-DK" sz="1400" dirty="0" err="1">
                <a:solidFill>
                  <a:schemeClr val="tx1">
                    <a:lumMod val="75000"/>
                    <a:lumOff val="25000"/>
                  </a:schemeClr>
                </a:solidFill>
                <a:latin typeface="Arial" charset="0"/>
                <a:ea typeface="Arial" charset="0"/>
                <a:cs typeface="Arial" charset="0"/>
              </a:rPr>
              <a:t>share</a:t>
            </a:r>
            <a:r>
              <a:rPr lang="da-DK" sz="1400" dirty="0">
                <a:solidFill>
                  <a:schemeClr val="tx1">
                    <a:lumMod val="75000"/>
                    <a:lumOff val="25000"/>
                  </a:schemeClr>
                </a:solidFill>
                <a:latin typeface="Arial" charset="0"/>
                <a:ea typeface="Arial" charset="0"/>
                <a:cs typeface="Arial" charset="0"/>
              </a:rPr>
              <a:t> </a:t>
            </a:r>
          </a:p>
          <a:p>
            <a:endParaRPr lang="da-DK" sz="1400" dirty="0">
              <a:solidFill>
                <a:schemeClr val="tx1">
                  <a:lumMod val="75000"/>
                  <a:lumOff val="25000"/>
                </a:schemeClr>
              </a:solidFill>
              <a:latin typeface="Arial" charset="0"/>
              <a:ea typeface="Arial" charset="0"/>
              <a:cs typeface="Arial" charset="0"/>
            </a:endParaRPr>
          </a:p>
          <a:p>
            <a:r>
              <a:rPr lang="da-DK" sz="1400" dirty="0" err="1">
                <a:solidFill>
                  <a:schemeClr val="tx1">
                    <a:lumMod val="75000"/>
                    <a:lumOff val="25000"/>
                  </a:schemeClr>
                </a:solidFill>
                <a:latin typeface="Arial" charset="0"/>
                <a:ea typeface="Arial" charset="0"/>
                <a:cs typeface="Arial" charset="0"/>
              </a:rPr>
              <a:t>Quality</a:t>
            </a:r>
            <a:endParaRPr lang="da-DK" sz="1400" dirty="0">
              <a:solidFill>
                <a:schemeClr val="tx1">
                  <a:lumMod val="75000"/>
                  <a:lumOff val="25000"/>
                </a:schemeClr>
              </a:solidFill>
              <a:latin typeface="Arial" charset="0"/>
              <a:ea typeface="Arial" charset="0"/>
              <a:cs typeface="Arial" charset="0"/>
            </a:endParaRPr>
          </a:p>
          <a:p>
            <a:endParaRPr lang="da-DK" sz="1400" dirty="0">
              <a:solidFill>
                <a:schemeClr val="tx1">
                  <a:lumMod val="75000"/>
                  <a:lumOff val="25000"/>
                </a:schemeClr>
              </a:solidFill>
              <a:latin typeface="Arial" charset="0"/>
              <a:ea typeface="Arial" charset="0"/>
              <a:cs typeface="Arial" charset="0"/>
            </a:endParaRPr>
          </a:p>
          <a:p>
            <a:r>
              <a:rPr lang="da-DK" sz="1400" dirty="0" err="1">
                <a:solidFill>
                  <a:schemeClr val="tx1">
                    <a:lumMod val="75000"/>
                    <a:lumOff val="25000"/>
                  </a:schemeClr>
                </a:solidFill>
                <a:latin typeface="Arial" charset="0"/>
                <a:ea typeface="Arial" charset="0"/>
                <a:cs typeface="Arial" charset="0"/>
              </a:rPr>
              <a:t>Cost</a:t>
            </a:r>
            <a:r>
              <a:rPr lang="da-DK" sz="1400" dirty="0">
                <a:solidFill>
                  <a:schemeClr val="tx1">
                    <a:lumMod val="75000"/>
                    <a:lumOff val="25000"/>
                  </a:schemeClr>
                </a:solidFill>
                <a:latin typeface="Arial" charset="0"/>
                <a:ea typeface="Arial" charset="0"/>
                <a:cs typeface="Arial" charset="0"/>
              </a:rPr>
              <a:t> </a:t>
            </a:r>
            <a:r>
              <a:rPr lang="da-DK" sz="1400" dirty="0" err="1">
                <a:solidFill>
                  <a:schemeClr val="tx1">
                    <a:lumMod val="75000"/>
                    <a:lumOff val="25000"/>
                  </a:schemeClr>
                </a:solidFill>
                <a:latin typeface="Arial" charset="0"/>
                <a:ea typeface="Arial" charset="0"/>
                <a:cs typeface="Arial" charset="0"/>
              </a:rPr>
              <a:t>structure</a:t>
            </a:r>
            <a:endParaRPr lang="da-DK" sz="1400" dirty="0">
              <a:solidFill>
                <a:schemeClr val="tx1">
                  <a:lumMod val="75000"/>
                  <a:lumOff val="25000"/>
                </a:schemeClr>
              </a:solidFill>
              <a:latin typeface="Arial" charset="0"/>
              <a:ea typeface="Arial" charset="0"/>
              <a:cs typeface="Arial" charset="0"/>
            </a:endParaRPr>
          </a:p>
          <a:p>
            <a:endParaRPr lang="da-DK" sz="1400" dirty="0">
              <a:solidFill>
                <a:schemeClr val="tx1">
                  <a:lumMod val="75000"/>
                  <a:lumOff val="25000"/>
                </a:schemeClr>
              </a:solidFill>
              <a:latin typeface="Arial" charset="0"/>
              <a:ea typeface="Arial" charset="0"/>
              <a:cs typeface="Arial" charset="0"/>
            </a:endParaRPr>
          </a:p>
          <a:p>
            <a:r>
              <a:rPr lang="da-DK" sz="1400" dirty="0">
                <a:solidFill>
                  <a:schemeClr val="tx1">
                    <a:lumMod val="75000"/>
                    <a:lumOff val="25000"/>
                  </a:schemeClr>
                </a:solidFill>
                <a:latin typeface="Arial" charset="0"/>
                <a:ea typeface="Arial" charset="0"/>
                <a:cs typeface="Arial" charset="0"/>
              </a:rPr>
              <a:t>Brand </a:t>
            </a:r>
            <a:r>
              <a:rPr lang="da-DK" sz="1400" dirty="0" err="1">
                <a:solidFill>
                  <a:schemeClr val="tx1">
                    <a:lumMod val="75000"/>
                    <a:lumOff val="25000"/>
                  </a:schemeClr>
                </a:solidFill>
                <a:latin typeface="Arial" charset="0"/>
                <a:ea typeface="Arial" charset="0"/>
                <a:cs typeface="Arial" charset="0"/>
              </a:rPr>
              <a:t>equity</a:t>
            </a:r>
            <a:endParaRPr lang="da-DK" sz="1400" dirty="0">
              <a:solidFill>
                <a:schemeClr val="tx1">
                  <a:lumMod val="75000"/>
                  <a:lumOff val="25000"/>
                </a:schemeClr>
              </a:solidFill>
              <a:latin typeface="Arial" charset="0"/>
              <a:ea typeface="Arial" charset="0"/>
              <a:cs typeface="Arial" charset="0"/>
            </a:endParaRPr>
          </a:p>
          <a:p>
            <a:pPr marL="171450" indent="-171450">
              <a:buFont typeface="Arial" panose="020B0604020202020204" pitchFamily="34" charset="0"/>
              <a:buChar char="•"/>
            </a:pPr>
            <a:endParaRPr lang="da-DK" sz="1200" dirty="0">
              <a:solidFill>
                <a:schemeClr val="tx1">
                  <a:lumMod val="75000"/>
                  <a:lumOff val="25000"/>
                </a:schemeClr>
              </a:solidFill>
              <a:latin typeface="Arial" charset="0"/>
              <a:ea typeface="Arial" charset="0"/>
              <a:cs typeface="Arial" charset="0"/>
            </a:endParaRPr>
          </a:p>
        </p:txBody>
      </p:sp>
      <p:sp>
        <p:nvSpPr>
          <p:cNvPr id="39" name="TextBox 38"/>
          <p:cNvSpPr txBox="1"/>
          <p:nvPr/>
        </p:nvSpPr>
        <p:spPr>
          <a:xfrm rot="16200000">
            <a:off x="-944931" y="3538887"/>
            <a:ext cx="2993572" cy="307777"/>
          </a:xfrm>
          <a:prstGeom prst="rect">
            <a:avLst/>
          </a:prstGeom>
          <a:noFill/>
        </p:spPr>
        <p:txBody>
          <a:bodyPr wrap="square" rtlCol="0">
            <a:spAutoFit/>
          </a:bodyPr>
          <a:lstStyle/>
          <a:p>
            <a:r>
              <a:rPr lang="da-DK" sz="1400" dirty="0">
                <a:latin typeface="Arial" charset="0"/>
                <a:ea typeface="Arial" charset="0"/>
                <a:cs typeface="Arial" charset="0"/>
              </a:rPr>
              <a:t>SEGMENT ATTRACTIVENESS</a:t>
            </a:r>
            <a:endParaRPr lang="en-US" sz="1400" dirty="0">
              <a:latin typeface="Arial" charset="0"/>
              <a:ea typeface="Arial" charset="0"/>
              <a:cs typeface="Arial" charset="0"/>
            </a:endParaRPr>
          </a:p>
        </p:txBody>
      </p:sp>
      <p:sp>
        <p:nvSpPr>
          <p:cNvPr id="82" name="TextBox 81"/>
          <p:cNvSpPr txBox="1"/>
          <p:nvPr/>
        </p:nvSpPr>
        <p:spPr>
          <a:xfrm>
            <a:off x="2916464" y="5935962"/>
            <a:ext cx="2993572" cy="307777"/>
          </a:xfrm>
          <a:prstGeom prst="rect">
            <a:avLst/>
          </a:prstGeom>
          <a:noFill/>
        </p:spPr>
        <p:txBody>
          <a:bodyPr wrap="square" rtlCol="0">
            <a:spAutoFit/>
          </a:bodyPr>
          <a:lstStyle/>
          <a:p>
            <a:r>
              <a:rPr lang="da-DK" sz="1400" dirty="0">
                <a:latin typeface="Arial" charset="0"/>
                <a:ea typeface="Arial" charset="0"/>
                <a:cs typeface="Arial" charset="0"/>
              </a:rPr>
              <a:t>ABILITY TO COMPETE</a:t>
            </a:r>
            <a:endParaRPr lang="en-US" sz="1400" dirty="0">
              <a:latin typeface="Arial" charset="0"/>
              <a:ea typeface="Arial" charset="0"/>
              <a:cs typeface="Arial" charset="0"/>
            </a:endParaRPr>
          </a:p>
        </p:txBody>
      </p:sp>
      <p:sp>
        <p:nvSpPr>
          <p:cNvPr id="84" name="Tekstfelt 5"/>
          <p:cNvSpPr txBox="1"/>
          <p:nvPr/>
        </p:nvSpPr>
        <p:spPr>
          <a:xfrm>
            <a:off x="8527202" y="1244126"/>
            <a:ext cx="2920734" cy="523220"/>
          </a:xfrm>
          <a:prstGeom prst="rect">
            <a:avLst/>
          </a:prstGeom>
          <a:noFill/>
          <a:ln>
            <a:noFill/>
          </a:ln>
        </p:spPr>
        <p:txBody>
          <a:bodyPr wrap="square" rtlCol="0">
            <a:spAutoFit/>
          </a:bodyPr>
          <a:lstStyle/>
          <a:p>
            <a:r>
              <a:rPr lang="da-DK" sz="1600" b="1" dirty="0">
                <a:solidFill>
                  <a:schemeClr val="tx1">
                    <a:lumMod val="75000"/>
                    <a:lumOff val="25000"/>
                  </a:schemeClr>
                </a:solidFill>
                <a:latin typeface="Arial" charset="0"/>
                <a:ea typeface="Arial" charset="0"/>
                <a:cs typeface="Arial" charset="0"/>
              </a:rPr>
              <a:t>MARKET ATTRACTIVENESS</a:t>
            </a:r>
          </a:p>
          <a:p>
            <a:pPr marL="171450" indent="-171450">
              <a:buFont typeface="Arial" panose="020B0604020202020204" pitchFamily="34" charset="0"/>
              <a:buChar char="•"/>
            </a:pPr>
            <a:endParaRPr lang="da-DK" sz="1200" dirty="0">
              <a:solidFill>
                <a:schemeClr val="tx1">
                  <a:lumMod val="75000"/>
                  <a:lumOff val="25000"/>
                </a:schemeClr>
              </a:solidFill>
              <a:latin typeface="Arial" charset="0"/>
              <a:ea typeface="Arial" charset="0"/>
              <a:cs typeface="Arial" charset="0"/>
            </a:endParaRPr>
          </a:p>
        </p:txBody>
      </p:sp>
      <p:sp>
        <p:nvSpPr>
          <p:cNvPr id="85" name="Tekstfelt 5"/>
          <p:cNvSpPr txBox="1"/>
          <p:nvPr/>
        </p:nvSpPr>
        <p:spPr>
          <a:xfrm>
            <a:off x="8502482" y="3754820"/>
            <a:ext cx="2635152" cy="553998"/>
          </a:xfrm>
          <a:prstGeom prst="rect">
            <a:avLst/>
          </a:prstGeom>
          <a:noFill/>
          <a:ln>
            <a:noFill/>
          </a:ln>
        </p:spPr>
        <p:txBody>
          <a:bodyPr wrap="square" rtlCol="0">
            <a:spAutoFit/>
          </a:bodyPr>
          <a:lstStyle/>
          <a:p>
            <a:r>
              <a:rPr lang="da-DK" sz="1600" b="1" dirty="0">
                <a:solidFill>
                  <a:schemeClr val="tx1">
                    <a:lumMod val="75000"/>
                    <a:lumOff val="25000"/>
                  </a:schemeClr>
                </a:solidFill>
                <a:latin typeface="Arial" charset="0"/>
                <a:ea typeface="Arial" charset="0"/>
                <a:cs typeface="Arial" charset="0"/>
              </a:rPr>
              <a:t>ABILITY TO COMPETE</a:t>
            </a:r>
          </a:p>
          <a:p>
            <a:endParaRPr lang="da-DK" sz="1400" dirty="0">
              <a:solidFill>
                <a:schemeClr val="tx1">
                  <a:lumMod val="75000"/>
                  <a:lumOff val="25000"/>
                </a:schemeClr>
              </a:solidFill>
              <a:latin typeface="Arial" charset="0"/>
              <a:ea typeface="Arial" charset="0"/>
              <a:cs typeface="Arial" charset="0"/>
            </a:endParaRPr>
          </a:p>
        </p:txBody>
      </p:sp>
      <p:pic>
        <p:nvPicPr>
          <p:cNvPr id="41" name="Picture 40"/>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749984" y="2978633"/>
            <a:ext cx="296614" cy="296614"/>
          </a:xfrm>
          <a:prstGeom prst="rect">
            <a:avLst/>
          </a:prstGeom>
        </p:spPr>
      </p:pic>
      <p:pic>
        <p:nvPicPr>
          <p:cNvPr id="42" name="Picture 41"/>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717389" y="1682588"/>
            <a:ext cx="263521" cy="263521"/>
          </a:xfrm>
          <a:prstGeom prst="rect">
            <a:avLst/>
          </a:prstGeom>
        </p:spPr>
      </p:pic>
      <p:pic>
        <p:nvPicPr>
          <p:cNvPr id="43" name="Picture 42"/>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ackgroundRemoval t="10000" b="90000" l="10000" r="90000">
                        <a14:foregroundMark x1="37931" y1="33333" x2="37931" y2="33333"/>
                      </a14:backgroundRemoval>
                    </a14:imgEffect>
                  </a14:imgLayer>
                </a14:imgProps>
              </a:ext>
              <a:ext uri="{28A0092B-C50C-407E-A947-70E740481C1C}">
                <a14:useLocalDpi xmlns:a14="http://schemas.microsoft.com/office/drawing/2010/main" val="0"/>
              </a:ext>
            </a:extLst>
          </a:blip>
          <a:stretch>
            <a:fillRect/>
          </a:stretch>
        </p:blipFill>
        <p:spPr>
          <a:xfrm>
            <a:off x="8717389" y="2130035"/>
            <a:ext cx="263521" cy="263521"/>
          </a:xfrm>
          <a:prstGeom prst="rect">
            <a:avLst/>
          </a:prstGeom>
        </p:spPr>
      </p:pic>
      <p:pic>
        <p:nvPicPr>
          <p:cNvPr id="44" name="Picture 43"/>
          <p:cNvPicPr>
            <a:picLocks noChangeAspect="1"/>
          </p:cNvPicPr>
          <p:nvPr/>
        </p:nvPicPr>
        <p:blipFill>
          <a:blip r:embed="rId11"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717389" y="2542758"/>
            <a:ext cx="263521" cy="263521"/>
          </a:xfrm>
          <a:prstGeom prst="rect">
            <a:avLst/>
          </a:prstGeom>
        </p:spPr>
      </p:pic>
      <p:pic>
        <p:nvPicPr>
          <p:cNvPr id="45" name="Picture 44"/>
          <p:cNvPicPr>
            <a:picLocks noChangeAspect="1"/>
          </p:cNvPicPr>
          <p:nvPr/>
        </p:nvPicPr>
        <p:blipFill>
          <a:blip r:embed="rId12"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701265" y="4679655"/>
            <a:ext cx="279645" cy="279645"/>
          </a:xfrm>
          <a:prstGeom prst="rect">
            <a:avLst/>
          </a:prstGeom>
        </p:spPr>
      </p:pic>
      <p:pic>
        <p:nvPicPr>
          <p:cNvPr id="47" name="Picture 46"/>
          <p:cNvPicPr>
            <a:picLocks noChangeAspect="1"/>
          </p:cNvPicPr>
          <p:nvPr/>
        </p:nvPicPr>
        <p:blipFill>
          <a:blip r:embed="rId1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710890" y="4248450"/>
            <a:ext cx="270020" cy="270020"/>
          </a:xfrm>
          <a:prstGeom prst="rect">
            <a:avLst/>
          </a:prstGeom>
        </p:spPr>
      </p:pic>
      <p:pic>
        <p:nvPicPr>
          <p:cNvPr id="52" name="Picture 51"/>
          <p:cNvPicPr>
            <a:picLocks noChangeAspect="1"/>
          </p:cNvPicPr>
          <p:nvPr/>
        </p:nvPicPr>
        <p:blipFill>
          <a:blip r:embed="rId1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710890" y="5106963"/>
            <a:ext cx="270020" cy="270020"/>
          </a:xfrm>
          <a:prstGeom prst="rect">
            <a:avLst/>
          </a:prstGeom>
        </p:spPr>
      </p:pic>
      <p:pic>
        <p:nvPicPr>
          <p:cNvPr id="54" name="Picture 53"/>
          <p:cNvPicPr>
            <a:picLocks noChangeAspect="1"/>
          </p:cNvPicPr>
          <p:nvPr/>
        </p:nvPicPr>
        <p:blipFill>
          <a:blip r:embed="rId15"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710890" y="5489920"/>
            <a:ext cx="270020" cy="270020"/>
          </a:xfrm>
          <a:prstGeom prst="rect">
            <a:avLst/>
          </a:prstGeom>
        </p:spPr>
      </p:pic>
      <p:cxnSp>
        <p:nvCxnSpPr>
          <p:cNvPr id="77" name="Straight Connector 76"/>
          <p:cNvCxnSpPr/>
          <p:nvPr/>
        </p:nvCxnSpPr>
        <p:spPr>
          <a:xfrm>
            <a:off x="964668" y="5884738"/>
            <a:ext cx="5998106" cy="0"/>
          </a:xfrm>
          <a:prstGeom prst="line">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964668" y="2147990"/>
            <a:ext cx="0" cy="3736749"/>
          </a:xfrm>
          <a:prstGeom prst="line">
            <a:avLst/>
          </a:prstGeom>
          <a:ln w="19050">
            <a:solidFill>
              <a:schemeClr val="tx1">
                <a:lumMod val="65000"/>
                <a:lumOff val="3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8" name="Tekstfelt 5"/>
          <p:cNvSpPr txBox="1"/>
          <p:nvPr/>
        </p:nvSpPr>
        <p:spPr>
          <a:xfrm rot="16200000">
            <a:off x="493139" y="5440852"/>
            <a:ext cx="728146" cy="276999"/>
          </a:xfrm>
          <a:prstGeom prst="rect">
            <a:avLst/>
          </a:prstGeom>
          <a:noFill/>
          <a:ln>
            <a:noFill/>
          </a:ln>
        </p:spPr>
        <p:txBody>
          <a:bodyPr wrap="square" rtlCol="0">
            <a:spAutoFit/>
          </a:bodyPr>
          <a:lstStyle/>
          <a:p>
            <a:r>
              <a:rPr lang="da-DK" sz="1200" dirty="0">
                <a:solidFill>
                  <a:prstClr val="black"/>
                </a:solidFill>
                <a:latin typeface="Arial" charset="0"/>
                <a:ea typeface="Arial" charset="0"/>
                <a:cs typeface="Arial" charset="0"/>
              </a:rPr>
              <a:t>LOW</a:t>
            </a:r>
          </a:p>
        </p:txBody>
      </p:sp>
      <p:sp>
        <p:nvSpPr>
          <p:cNvPr id="129" name="Isosceles Triangle 53"/>
          <p:cNvSpPr/>
          <p:nvPr/>
        </p:nvSpPr>
        <p:spPr>
          <a:xfrm rot="16200000" flipV="1">
            <a:off x="6428830" y="4210909"/>
            <a:ext cx="431720" cy="202315"/>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Arial" charset="0"/>
              <a:ea typeface="Arial" charset="0"/>
              <a:cs typeface="Arial" charset="0"/>
            </a:endParaRPr>
          </a:p>
        </p:txBody>
      </p:sp>
      <p:sp>
        <p:nvSpPr>
          <p:cNvPr id="132" name="Arc 131"/>
          <p:cNvSpPr/>
          <p:nvPr/>
        </p:nvSpPr>
        <p:spPr>
          <a:xfrm rot="10800000">
            <a:off x="2756161" y="453418"/>
            <a:ext cx="7737667" cy="3636827"/>
          </a:xfrm>
          <a:prstGeom prst="arc">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charset="0"/>
              <a:ea typeface="Arial" charset="0"/>
              <a:cs typeface="Arial" charset="0"/>
            </a:endParaRPr>
          </a:p>
        </p:txBody>
      </p:sp>
      <p:sp>
        <p:nvSpPr>
          <p:cNvPr id="133" name="Arc 132"/>
          <p:cNvSpPr/>
          <p:nvPr/>
        </p:nvSpPr>
        <p:spPr>
          <a:xfrm rot="10800000">
            <a:off x="1133241" y="548911"/>
            <a:ext cx="11092081" cy="4704319"/>
          </a:xfrm>
          <a:prstGeom prst="arc">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6"/>
          <p:cNvSpPr/>
          <p:nvPr/>
        </p:nvSpPr>
        <p:spPr>
          <a:xfrm>
            <a:off x="3619099" y="2217440"/>
            <a:ext cx="2764239" cy="1925535"/>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 name="TextBox 99"/>
          <p:cNvSpPr txBox="1"/>
          <p:nvPr/>
        </p:nvSpPr>
        <p:spPr>
          <a:xfrm>
            <a:off x="6565723" y="3198333"/>
            <a:ext cx="1182335" cy="550247"/>
          </a:xfrm>
          <a:prstGeom prst="leftArrow">
            <a:avLst/>
          </a:prstGeom>
          <a:solidFill>
            <a:schemeClr val="accent1"/>
          </a:solidFill>
          <a:ln w="12700">
            <a:noFill/>
          </a:ln>
        </p:spPr>
        <p:txBody>
          <a:bodyPr wrap="none" rtlCol="0">
            <a:spAutoFit/>
          </a:bodyPr>
          <a:lstStyle/>
          <a:p>
            <a:r>
              <a:rPr lang="da-DK" sz="1200" dirty="0">
                <a:solidFill>
                  <a:schemeClr val="bg1"/>
                </a:solidFill>
                <a:latin typeface="Arial" charset="0"/>
                <a:ea typeface="Arial" charset="0"/>
                <a:cs typeface="Arial" charset="0"/>
              </a:rPr>
              <a:t>PRIORITIZE</a:t>
            </a:r>
          </a:p>
        </p:txBody>
      </p:sp>
      <p:sp>
        <p:nvSpPr>
          <p:cNvPr id="56" name="TextBox 55"/>
          <p:cNvSpPr txBox="1"/>
          <p:nvPr/>
        </p:nvSpPr>
        <p:spPr>
          <a:xfrm>
            <a:off x="6588004" y="4608659"/>
            <a:ext cx="1109863" cy="550247"/>
          </a:xfrm>
          <a:prstGeom prst="leftArrow">
            <a:avLst/>
          </a:prstGeom>
          <a:solidFill>
            <a:schemeClr val="accent1"/>
          </a:solidFill>
          <a:ln w="12700">
            <a:noFill/>
          </a:ln>
        </p:spPr>
        <p:txBody>
          <a:bodyPr wrap="none" rtlCol="0">
            <a:spAutoFit/>
          </a:bodyPr>
          <a:lstStyle/>
          <a:p>
            <a:r>
              <a:rPr lang="da-DK" sz="1200" dirty="0">
                <a:solidFill>
                  <a:schemeClr val="bg1"/>
                </a:solidFill>
                <a:latin typeface="Arial" charset="0"/>
                <a:ea typeface="Arial" charset="0"/>
                <a:cs typeface="Arial" charset="0"/>
              </a:rPr>
              <a:t>BE AWARE</a:t>
            </a:r>
          </a:p>
        </p:txBody>
      </p:sp>
      <p:cxnSp>
        <p:nvCxnSpPr>
          <p:cNvPr id="61" name="Lige forbindelse 60"/>
          <p:cNvCxnSpPr/>
          <p:nvPr/>
        </p:nvCxnSpPr>
        <p:spPr>
          <a:xfrm>
            <a:off x="8229803" y="1327724"/>
            <a:ext cx="0" cy="4742118"/>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62" name="Lige forbindelse 61"/>
          <p:cNvCxnSpPr/>
          <p:nvPr/>
        </p:nvCxnSpPr>
        <p:spPr>
          <a:xfrm>
            <a:off x="527052" y="1665884"/>
            <a:ext cx="1971216"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63" name="Rektangel 62"/>
          <p:cNvSpPr/>
          <p:nvPr/>
        </p:nvSpPr>
        <p:spPr>
          <a:xfrm>
            <a:off x="527051" y="1268677"/>
            <a:ext cx="4077489" cy="338554"/>
          </a:xfrm>
          <a:prstGeom prst="rect">
            <a:avLst/>
          </a:prstGeom>
        </p:spPr>
        <p:txBody>
          <a:bodyPr wrap="square">
            <a:spAutoFit/>
          </a:bodyPr>
          <a:lstStyle/>
          <a:p>
            <a:r>
              <a:rPr lang="en-US" sz="1600" b="1" dirty="0">
                <a:solidFill>
                  <a:schemeClr val="tx1">
                    <a:lumMod val="75000"/>
                    <a:lumOff val="25000"/>
                  </a:schemeClr>
                </a:solidFill>
                <a:latin typeface="Arial" charset="0"/>
                <a:ea typeface="Arial" charset="0"/>
                <a:cs typeface="Arial" charset="0"/>
              </a:rPr>
              <a:t>Sub-headline</a:t>
            </a:r>
          </a:p>
        </p:txBody>
      </p:sp>
    </p:spTree>
    <p:extLst>
      <p:ext uri="{BB962C8B-B14F-4D97-AF65-F5344CB8AC3E}">
        <p14:creationId xmlns:p14="http://schemas.microsoft.com/office/powerpoint/2010/main" val="2059847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9" name="think-cell Slide" r:id="rId20" imgW="270" imgH="270" progId="TCLayout.ActiveDocument.1">
                  <p:embed/>
                </p:oleObj>
              </mc:Choice>
              <mc:Fallback>
                <p:oleObj name="think-cell Slide" r:id="rId20" imgW="270" imgH="270" progId="TCLayout.ActiveDocument.1">
                  <p:embed/>
                  <p:pic>
                    <p:nvPicPr>
                      <p:cNvPr id="67" name="Object 66"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dirty="0" err="1">
                <a:solidFill>
                  <a:schemeClr val="tx1">
                    <a:lumMod val="75000"/>
                    <a:lumOff val="25000"/>
                  </a:schemeClr>
                </a:solidFill>
                <a:latin typeface="Arial" charset="0"/>
                <a:ea typeface="Arial" charset="0"/>
                <a:cs typeface="Arial" charset="0"/>
              </a:rPr>
              <a:t>Appendix</a:t>
            </a:r>
            <a:r>
              <a:rPr lang="da-DK" dirty="0">
                <a:solidFill>
                  <a:schemeClr val="tx1">
                    <a:lumMod val="75000"/>
                    <a:lumOff val="25000"/>
                  </a:schemeClr>
                </a:solidFill>
                <a:latin typeface="Arial" charset="0"/>
                <a:ea typeface="Arial" charset="0"/>
                <a:cs typeface="Arial" charset="0"/>
              </a:rPr>
              <a:t>: </a:t>
            </a:r>
            <a:r>
              <a:rPr lang="da-DK" dirty="0" err="1">
                <a:solidFill>
                  <a:schemeClr val="tx1">
                    <a:lumMod val="75000"/>
                    <a:lumOff val="25000"/>
                  </a:schemeClr>
                </a:solidFill>
                <a:latin typeface="Arial" charset="0"/>
                <a:ea typeface="Arial" charset="0"/>
                <a:cs typeface="Arial" charset="0"/>
              </a:rPr>
              <a:t>Priority</a:t>
            </a:r>
            <a:r>
              <a:rPr lang="da-DK" dirty="0">
                <a:solidFill>
                  <a:schemeClr val="tx1">
                    <a:lumMod val="75000"/>
                    <a:lumOff val="25000"/>
                  </a:schemeClr>
                </a:solidFill>
                <a:latin typeface="Arial" charset="0"/>
                <a:ea typeface="Arial" charset="0"/>
                <a:cs typeface="Arial" charset="0"/>
              </a:rPr>
              <a:t> matrix on different segments</a:t>
            </a:r>
          </a:p>
        </p:txBody>
      </p:sp>
      <p:sp>
        <p:nvSpPr>
          <p:cNvPr id="44" name="Ellipse 36"/>
          <p:cNvSpPr/>
          <p:nvPr>
            <p:custDataLst>
              <p:tags r:id="rId3"/>
            </p:custDataLst>
          </p:nvPr>
        </p:nvSpPr>
        <p:spPr bwMode="auto">
          <a:xfrm>
            <a:off x="3130550" y="1585616"/>
            <a:ext cx="307975" cy="307975"/>
          </a:xfrm>
          <a:prstGeom prst="ellipse">
            <a:avLst/>
          </a:prstGeom>
          <a:solidFill>
            <a:schemeClr val="bg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45" name="Ellipse 42"/>
          <p:cNvSpPr/>
          <p:nvPr>
            <p:custDataLst>
              <p:tags r:id="rId4"/>
            </p:custDataLst>
          </p:nvPr>
        </p:nvSpPr>
        <p:spPr bwMode="auto">
          <a:xfrm>
            <a:off x="4027488" y="1585616"/>
            <a:ext cx="307975" cy="307975"/>
          </a:xfrm>
          <a:prstGeom prst="ellipse">
            <a:avLst/>
          </a:prstGeom>
          <a:solidFill>
            <a:schemeClr val="bg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46" name="Bue 50"/>
          <p:cNvSpPr/>
          <p:nvPr>
            <p:custDataLst>
              <p:tags r:id="rId5"/>
            </p:custDataLst>
          </p:nvPr>
        </p:nvSpPr>
        <p:spPr bwMode="gray">
          <a:xfrm>
            <a:off x="4027488" y="1585616"/>
            <a:ext cx="307974" cy="307974"/>
          </a:xfrm>
          <a:prstGeom prst="arc">
            <a:avLst>
              <a:gd name="adj1" fmla="val 16200000"/>
              <a:gd name="adj2" fmla="val 0"/>
            </a:avLst>
          </a:prstGeom>
          <a:solidFill>
            <a:schemeClr val="accent1"/>
          </a:solidFill>
          <a:ln w="9525">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47" name="Ellipse 44"/>
          <p:cNvSpPr/>
          <p:nvPr>
            <p:custDataLst>
              <p:tags r:id="rId6"/>
            </p:custDataLst>
          </p:nvPr>
        </p:nvSpPr>
        <p:spPr bwMode="auto">
          <a:xfrm>
            <a:off x="4968875" y="1585616"/>
            <a:ext cx="307975" cy="307975"/>
          </a:xfrm>
          <a:prstGeom prst="ellipse">
            <a:avLst/>
          </a:prstGeom>
          <a:solidFill>
            <a:schemeClr val="bg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48" name="Bue 51"/>
          <p:cNvSpPr/>
          <p:nvPr>
            <p:custDataLst>
              <p:tags r:id="rId7"/>
            </p:custDataLst>
          </p:nvPr>
        </p:nvSpPr>
        <p:spPr bwMode="gray">
          <a:xfrm>
            <a:off x="4968875" y="1585616"/>
            <a:ext cx="307975" cy="307974"/>
          </a:xfrm>
          <a:prstGeom prst="arc">
            <a:avLst>
              <a:gd name="adj1" fmla="val 16200000"/>
              <a:gd name="adj2" fmla="val 5400000"/>
            </a:avLst>
          </a:prstGeom>
          <a:solidFill>
            <a:schemeClr val="accent1"/>
          </a:solidFill>
          <a:ln w="9525">
            <a:no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49" name="Ellipse 46"/>
          <p:cNvSpPr/>
          <p:nvPr>
            <p:custDataLst>
              <p:tags r:id="rId8"/>
            </p:custDataLst>
          </p:nvPr>
        </p:nvSpPr>
        <p:spPr bwMode="auto">
          <a:xfrm>
            <a:off x="5905500" y="1585616"/>
            <a:ext cx="307975" cy="307975"/>
          </a:xfrm>
          <a:prstGeom prst="ellipse">
            <a:avLst/>
          </a:prstGeom>
          <a:solidFill>
            <a:schemeClr val="bg1"/>
          </a:solidFill>
          <a:ln w="9525">
            <a:solidFill>
              <a:schemeClr val="hlink"/>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50" name="Bue 52"/>
          <p:cNvSpPr/>
          <p:nvPr>
            <p:custDataLst>
              <p:tags r:id="rId9"/>
            </p:custDataLst>
          </p:nvPr>
        </p:nvSpPr>
        <p:spPr bwMode="gray">
          <a:xfrm>
            <a:off x="5905500" y="1585616"/>
            <a:ext cx="307974" cy="307974"/>
          </a:xfrm>
          <a:prstGeom prst="arc">
            <a:avLst>
              <a:gd name="adj1" fmla="val 16200000"/>
              <a:gd name="adj2" fmla="val 10800000"/>
            </a:avLst>
          </a:prstGeom>
          <a:solidFill>
            <a:schemeClr val="accent1"/>
          </a:solidFill>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51" name="Ellipse 48"/>
          <p:cNvSpPr/>
          <p:nvPr>
            <p:custDataLst>
              <p:tags r:id="rId10"/>
            </p:custDataLst>
          </p:nvPr>
        </p:nvSpPr>
        <p:spPr bwMode="auto">
          <a:xfrm>
            <a:off x="6757988" y="1585616"/>
            <a:ext cx="307975" cy="307975"/>
          </a:xfrm>
          <a:prstGeom prst="ellipse">
            <a:avLst/>
          </a:prstGeom>
          <a:solidFill>
            <a:schemeClr val="accent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71" name="Isosceles Triangle 53"/>
          <p:cNvSpPr/>
          <p:nvPr/>
        </p:nvSpPr>
        <p:spPr>
          <a:xfrm rot="16200000" flipV="1">
            <a:off x="7350357" y="3328296"/>
            <a:ext cx="431720" cy="202315"/>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schemeClr val="tx1">
                  <a:lumMod val="75000"/>
                  <a:lumOff val="25000"/>
                </a:schemeClr>
              </a:solidFill>
              <a:latin typeface="Arial" charset="0"/>
              <a:ea typeface="Arial" charset="0"/>
              <a:cs typeface="Arial" charset="0"/>
            </a:endParaRPr>
          </a:p>
        </p:txBody>
      </p:sp>
      <p:sp>
        <p:nvSpPr>
          <p:cNvPr id="131" name="Ellipse 36"/>
          <p:cNvSpPr/>
          <p:nvPr>
            <p:custDataLst>
              <p:tags r:id="rId11"/>
            </p:custDataLst>
          </p:nvPr>
        </p:nvSpPr>
        <p:spPr bwMode="auto">
          <a:xfrm>
            <a:off x="3130550" y="3992887"/>
            <a:ext cx="307975" cy="307975"/>
          </a:xfrm>
          <a:prstGeom prst="ellipse">
            <a:avLst/>
          </a:prstGeom>
          <a:solidFill>
            <a:schemeClr val="bg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132" name="Ellipse 42"/>
          <p:cNvSpPr/>
          <p:nvPr>
            <p:custDataLst>
              <p:tags r:id="rId12"/>
            </p:custDataLst>
          </p:nvPr>
        </p:nvSpPr>
        <p:spPr bwMode="auto">
          <a:xfrm>
            <a:off x="4027488" y="3992887"/>
            <a:ext cx="307975" cy="307975"/>
          </a:xfrm>
          <a:prstGeom prst="ellipse">
            <a:avLst/>
          </a:prstGeom>
          <a:solidFill>
            <a:schemeClr val="bg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133" name="Bue 50"/>
          <p:cNvSpPr/>
          <p:nvPr>
            <p:custDataLst>
              <p:tags r:id="rId13"/>
            </p:custDataLst>
          </p:nvPr>
        </p:nvSpPr>
        <p:spPr bwMode="gray">
          <a:xfrm>
            <a:off x="4027489" y="3992887"/>
            <a:ext cx="307974" cy="307975"/>
          </a:xfrm>
          <a:prstGeom prst="arc">
            <a:avLst>
              <a:gd name="adj1" fmla="val 16200000"/>
              <a:gd name="adj2" fmla="val 0"/>
            </a:avLst>
          </a:prstGeom>
          <a:solidFill>
            <a:schemeClr val="accent1"/>
          </a:solidFill>
          <a:ln w="9525">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134" name="Ellipse 44"/>
          <p:cNvSpPr/>
          <p:nvPr>
            <p:custDataLst>
              <p:tags r:id="rId14"/>
            </p:custDataLst>
          </p:nvPr>
        </p:nvSpPr>
        <p:spPr bwMode="auto">
          <a:xfrm>
            <a:off x="4968875" y="3992887"/>
            <a:ext cx="307975" cy="307975"/>
          </a:xfrm>
          <a:prstGeom prst="ellipse">
            <a:avLst/>
          </a:prstGeom>
          <a:solidFill>
            <a:schemeClr val="bg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135" name="Bue 51"/>
          <p:cNvSpPr/>
          <p:nvPr>
            <p:custDataLst>
              <p:tags r:id="rId15"/>
            </p:custDataLst>
          </p:nvPr>
        </p:nvSpPr>
        <p:spPr bwMode="gray">
          <a:xfrm>
            <a:off x="4968875" y="3992887"/>
            <a:ext cx="307975" cy="307972"/>
          </a:xfrm>
          <a:prstGeom prst="arc">
            <a:avLst>
              <a:gd name="adj1" fmla="val 16200000"/>
              <a:gd name="adj2" fmla="val 5400000"/>
            </a:avLst>
          </a:prstGeom>
          <a:solidFill>
            <a:schemeClr val="accent1"/>
          </a:solidFill>
          <a:ln w="9525">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136" name="Ellipse 46"/>
          <p:cNvSpPr/>
          <p:nvPr>
            <p:custDataLst>
              <p:tags r:id="rId16"/>
            </p:custDataLst>
          </p:nvPr>
        </p:nvSpPr>
        <p:spPr bwMode="auto">
          <a:xfrm>
            <a:off x="5905500" y="3992887"/>
            <a:ext cx="307975" cy="307975"/>
          </a:xfrm>
          <a:prstGeom prst="ellipse">
            <a:avLst/>
          </a:prstGeom>
          <a:solidFill>
            <a:schemeClr val="bg1"/>
          </a:solidFill>
          <a:ln w="9525">
            <a:solidFill>
              <a:schemeClr val="hlink"/>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137" name="Bue 52"/>
          <p:cNvSpPr/>
          <p:nvPr>
            <p:custDataLst>
              <p:tags r:id="rId17"/>
            </p:custDataLst>
          </p:nvPr>
        </p:nvSpPr>
        <p:spPr bwMode="gray">
          <a:xfrm>
            <a:off x="5905501" y="3992887"/>
            <a:ext cx="307974" cy="307975"/>
          </a:xfrm>
          <a:prstGeom prst="arc">
            <a:avLst>
              <a:gd name="adj1" fmla="val 16200000"/>
              <a:gd name="adj2" fmla="val 10800000"/>
            </a:avLst>
          </a:prstGeom>
          <a:solidFill>
            <a:schemeClr val="accent1"/>
          </a:solidFill>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138" name="Ellipse 48"/>
          <p:cNvSpPr/>
          <p:nvPr>
            <p:custDataLst>
              <p:tags r:id="rId18"/>
            </p:custDataLst>
          </p:nvPr>
        </p:nvSpPr>
        <p:spPr bwMode="auto">
          <a:xfrm>
            <a:off x="6757988" y="3992887"/>
            <a:ext cx="307975" cy="307975"/>
          </a:xfrm>
          <a:prstGeom prst="ellipse">
            <a:avLst/>
          </a:prstGeom>
          <a:solidFill>
            <a:schemeClr val="accent1"/>
          </a:solidFill>
          <a:ln w="9525">
            <a:solidFill>
              <a:schemeClr val="accent1"/>
            </a:solidFill>
            <a:miter lim="800000"/>
            <a:headEnd/>
            <a:tailEnd/>
          </a:ln>
          <a:effectLst/>
        </p:spPr>
        <p:txBody>
          <a:bodyPr wrap="square" lIns="108000" tIns="108000" rIns="108000" bIns="108000" rtlCol="0" anchor="ctr" anchorCtr="0">
            <a:noAutofit/>
          </a:bodyPr>
          <a:lstStyle/>
          <a:p>
            <a:pPr>
              <a:spcBef>
                <a:spcPts val="600"/>
              </a:spcBef>
            </a:pPr>
            <a:endParaRPr lang="da-DK" sz="1200" dirty="0">
              <a:solidFill>
                <a:schemeClr val="tx1">
                  <a:lumMod val="75000"/>
                  <a:lumOff val="25000"/>
                </a:schemeClr>
              </a:solidFill>
              <a:latin typeface="Arial" charset="0"/>
              <a:ea typeface="Arial" charset="0"/>
              <a:cs typeface="Arial" charset="0"/>
              <a:sym typeface="Verdana"/>
            </a:endParaRPr>
          </a:p>
        </p:txBody>
      </p:sp>
      <p:sp>
        <p:nvSpPr>
          <p:cNvPr id="145" name="Oval 144"/>
          <p:cNvSpPr/>
          <p:nvPr/>
        </p:nvSpPr>
        <p:spPr>
          <a:xfrm>
            <a:off x="10412818" y="1955346"/>
            <a:ext cx="527548" cy="5381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146" name="Oval 145"/>
          <p:cNvSpPr/>
          <p:nvPr/>
        </p:nvSpPr>
        <p:spPr>
          <a:xfrm>
            <a:off x="9611967" y="2757545"/>
            <a:ext cx="396382" cy="4040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sp>
        <p:nvSpPr>
          <p:cNvPr id="148" name="Oval 147"/>
          <p:cNvSpPr/>
          <p:nvPr/>
        </p:nvSpPr>
        <p:spPr>
          <a:xfrm>
            <a:off x="9015791" y="3682947"/>
            <a:ext cx="527548" cy="5381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grpSp>
        <p:nvGrpSpPr>
          <p:cNvPr id="72" name="Group 71"/>
          <p:cNvGrpSpPr/>
          <p:nvPr/>
        </p:nvGrpSpPr>
        <p:grpSpPr>
          <a:xfrm>
            <a:off x="7790562" y="1882776"/>
            <a:ext cx="4065902" cy="3698296"/>
            <a:chOff x="7790562" y="1273175"/>
            <a:chExt cx="4065902" cy="3698296"/>
          </a:xfrm>
        </p:grpSpPr>
        <p:sp>
          <p:nvSpPr>
            <p:cNvPr id="4" name="Rektangel 3"/>
            <p:cNvSpPr/>
            <p:nvPr/>
          </p:nvSpPr>
          <p:spPr>
            <a:xfrm>
              <a:off x="8407077" y="1331706"/>
              <a:ext cx="3380575" cy="2988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lumMod val="75000"/>
                    <a:lumOff val="25000"/>
                  </a:schemeClr>
                </a:solidFill>
                <a:latin typeface="Arial" charset="0"/>
                <a:ea typeface="Arial" charset="0"/>
                <a:cs typeface="Arial" charset="0"/>
              </a:endParaRPr>
            </a:p>
          </p:txBody>
        </p:sp>
        <p:cxnSp>
          <p:nvCxnSpPr>
            <p:cNvPr id="19" name="Straight Arrow Connector 97"/>
            <p:cNvCxnSpPr/>
            <p:nvPr/>
          </p:nvCxnSpPr>
          <p:spPr>
            <a:xfrm flipV="1">
              <a:off x="8400789" y="1273175"/>
              <a:ext cx="6287" cy="3056383"/>
            </a:xfrm>
            <a:prstGeom prst="straightConnector1">
              <a:avLst/>
            </a:prstGeom>
            <a:noFill/>
            <a:ln w="38100">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97"/>
            <p:cNvCxnSpPr/>
            <p:nvPr/>
          </p:nvCxnSpPr>
          <p:spPr>
            <a:xfrm flipV="1">
              <a:off x="8386491" y="4310396"/>
              <a:ext cx="3424052" cy="13502"/>
            </a:xfrm>
            <a:prstGeom prst="straightConnector1">
              <a:avLst/>
            </a:prstGeom>
            <a:noFill/>
            <a:ln w="38100">
              <a:solidFill>
                <a:schemeClr val="tx1">
                  <a:lumMod val="75000"/>
                  <a:lumOff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Tekstfelt 5"/>
            <p:cNvSpPr txBox="1"/>
            <p:nvPr/>
          </p:nvSpPr>
          <p:spPr>
            <a:xfrm>
              <a:off x="9442017" y="4509806"/>
              <a:ext cx="1702415" cy="461665"/>
            </a:xfrm>
            <a:prstGeom prst="rect">
              <a:avLst/>
            </a:prstGeom>
            <a:noFill/>
          </p:spPr>
          <p:txBody>
            <a:bodyPr wrap="square" rtlCol="0">
              <a:spAutoFit/>
            </a:bodyPr>
            <a:lstStyle/>
            <a:p>
              <a:r>
                <a:rPr lang="da-DK" sz="1200" dirty="0">
                  <a:solidFill>
                    <a:schemeClr val="tx1">
                      <a:lumMod val="75000"/>
                      <a:lumOff val="25000"/>
                    </a:schemeClr>
                  </a:solidFill>
                  <a:latin typeface="Arial" charset="0"/>
                  <a:ea typeface="Arial" charset="0"/>
                  <a:cs typeface="Arial" charset="0"/>
                </a:rPr>
                <a:t>ABILITY TO COMPETE</a:t>
              </a:r>
            </a:p>
          </p:txBody>
        </p:sp>
        <p:sp>
          <p:nvSpPr>
            <p:cNvPr id="32" name="Tekstfelt 5"/>
            <p:cNvSpPr txBox="1"/>
            <p:nvPr/>
          </p:nvSpPr>
          <p:spPr>
            <a:xfrm rot="16200000">
              <a:off x="7074073" y="2536141"/>
              <a:ext cx="1892730" cy="459752"/>
            </a:xfrm>
            <a:prstGeom prst="rect">
              <a:avLst/>
            </a:prstGeom>
            <a:noFill/>
          </p:spPr>
          <p:txBody>
            <a:bodyPr wrap="square" rtlCol="0">
              <a:spAutoFit/>
            </a:bodyPr>
            <a:lstStyle/>
            <a:p>
              <a:r>
                <a:rPr lang="da-DK" sz="1200" dirty="0">
                  <a:solidFill>
                    <a:schemeClr val="tx1">
                      <a:lumMod val="75000"/>
                      <a:lumOff val="25000"/>
                    </a:schemeClr>
                  </a:solidFill>
                  <a:latin typeface="Arial" charset="0"/>
                  <a:ea typeface="Arial" charset="0"/>
                  <a:cs typeface="Arial" charset="0"/>
                </a:rPr>
                <a:t>SEGMENT ATTRACTIVENESS</a:t>
              </a:r>
            </a:p>
          </p:txBody>
        </p:sp>
        <p:sp>
          <p:nvSpPr>
            <p:cNvPr id="34" name="Tekstfelt 5"/>
            <p:cNvSpPr txBox="1"/>
            <p:nvPr/>
          </p:nvSpPr>
          <p:spPr>
            <a:xfrm rot="16200000">
              <a:off x="7811059" y="1515491"/>
              <a:ext cx="588546" cy="276999"/>
            </a:xfrm>
            <a:prstGeom prst="rect">
              <a:avLst/>
            </a:prstGeom>
            <a:noFill/>
          </p:spPr>
          <p:txBody>
            <a:bodyPr wrap="square" rtlCol="0">
              <a:spAutoFit/>
            </a:bodyPr>
            <a:lstStyle/>
            <a:p>
              <a:r>
                <a:rPr lang="da-DK" sz="1200" dirty="0">
                  <a:solidFill>
                    <a:schemeClr val="tx1">
                      <a:lumMod val="75000"/>
                      <a:lumOff val="25000"/>
                    </a:schemeClr>
                  </a:solidFill>
                  <a:latin typeface="Arial" charset="0"/>
                  <a:ea typeface="Arial" charset="0"/>
                  <a:cs typeface="Arial" charset="0"/>
                </a:rPr>
                <a:t>HIGH</a:t>
              </a:r>
            </a:p>
          </p:txBody>
        </p:sp>
        <p:sp>
          <p:nvSpPr>
            <p:cNvPr id="35" name="Tekstfelt 5"/>
            <p:cNvSpPr txBox="1"/>
            <p:nvPr/>
          </p:nvSpPr>
          <p:spPr>
            <a:xfrm rot="16200000">
              <a:off x="7811059" y="3868155"/>
              <a:ext cx="588546" cy="276999"/>
            </a:xfrm>
            <a:prstGeom prst="rect">
              <a:avLst/>
            </a:prstGeom>
            <a:noFill/>
          </p:spPr>
          <p:txBody>
            <a:bodyPr wrap="square" rtlCol="0">
              <a:spAutoFit/>
            </a:bodyPr>
            <a:lstStyle/>
            <a:p>
              <a:r>
                <a:rPr lang="da-DK" sz="1200" dirty="0">
                  <a:solidFill>
                    <a:schemeClr val="tx1">
                      <a:lumMod val="75000"/>
                      <a:lumOff val="25000"/>
                    </a:schemeClr>
                  </a:solidFill>
                  <a:latin typeface="Arial" charset="0"/>
                  <a:ea typeface="Arial" charset="0"/>
                  <a:cs typeface="Arial" charset="0"/>
                </a:rPr>
                <a:t>LOW</a:t>
              </a:r>
            </a:p>
          </p:txBody>
        </p:sp>
        <p:sp>
          <p:nvSpPr>
            <p:cNvPr id="36" name="Tekstfelt 5"/>
            <p:cNvSpPr txBox="1"/>
            <p:nvPr/>
          </p:nvSpPr>
          <p:spPr>
            <a:xfrm>
              <a:off x="8345689" y="4509805"/>
              <a:ext cx="589129" cy="276999"/>
            </a:xfrm>
            <a:prstGeom prst="rect">
              <a:avLst/>
            </a:prstGeom>
            <a:noFill/>
          </p:spPr>
          <p:txBody>
            <a:bodyPr wrap="square" rtlCol="0">
              <a:spAutoFit/>
            </a:bodyPr>
            <a:lstStyle/>
            <a:p>
              <a:r>
                <a:rPr lang="da-DK" sz="1200" dirty="0">
                  <a:solidFill>
                    <a:schemeClr val="tx1">
                      <a:lumMod val="75000"/>
                      <a:lumOff val="25000"/>
                    </a:schemeClr>
                  </a:solidFill>
                  <a:latin typeface="Arial" charset="0"/>
                  <a:ea typeface="Arial" charset="0"/>
                  <a:cs typeface="Arial" charset="0"/>
                </a:rPr>
                <a:t>LOW</a:t>
              </a:r>
            </a:p>
          </p:txBody>
        </p:sp>
        <p:sp>
          <p:nvSpPr>
            <p:cNvPr id="37" name="Tekstfelt 5"/>
            <p:cNvSpPr txBox="1"/>
            <p:nvPr/>
          </p:nvSpPr>
          <p:spPr>
            <a:xfrm>
              <a:off x="11267335" y="4509805"/>
              <a:ext cx="589129" cy="276999"/>
            </a:xfrm>
            <a:prstGeom prst="rect">
              <a:avLst/>
            </a:prstGeom>
            <a:noFill/>
          </p:spPr>
          <p:txBody>
            <a:bodyPr wrap="square" rtlCol="0">
              <a:spAutoFit/>
            </a:bodyPr>
            <a:lstStyle/>
            <a:p>
              <a:r>
                <a:rPr lang="da-DK" sz="1200" dirty="0">
                  <a:solidFill>
                    <a:schemeClr val="tx1">
                      <a:lumMod val="75000"/>
                      <a:lumOff val="25000"/>
                    </a:schemeClr>
                  </a:solidFill>
                  <a:latin typeface="Arial" charset="0"/>
                  <a:ea typeface="Arial" charset="0"/>
                  <a:cs typeface="Arial" charset="0"/>
                </a:rPr>
                <a:t>HIGH</a:t>
              </a:r>
            </a:p>
          </p:txBody>
        </p:sp>
      </p:grpSp>
      <p:grpSp>
        <p:nvGrpSpPr>
          <p:cNvPr id="13" name="Group 12"/>
          <p:cNvGrpSpPr/>
          <p:nvPr/>
        </p:nvGrpSpPr>
        <p:grpSpPr>
          <a:xfrm>
            <a:off x="276048" y="3738156"/>
            <a:ext cx="7081078" cy="2420521"/>
            <a:chOff x="264158" y="3584575"/>
            <a:chExt cx="7081078" cy="2841001"/>
          </a:xfrm>
        </p:grpSpPr>
        <p:sp>
          <p:nvSpPr>
            <p:cNvPr id="96" name="TextBox 67"/>
            <p:cNvSpPr txBox="1">
              <a:spLocks/>
            </p:cNvSpPr>
            <p:nvPr/>
          </p:nvSpPr>
          <p:spPr>
            <a:xfrm>
              <a:off x="264158" y="4258439"/>
              <a:ext cx="2633936" cy="547996"/>
            </a:xfrm>
            <a:prstGeom prst="rect">
              <a:avLst/>
            </a:prstGeom>
            <a:noFill/>
          </p:spPr>
          <p:txBody>
            <a:bodyPr wrap="square" lIns="0" tIns="0" rIns="0" bIns="0" rtlCol="0">
              <a:noAutofit/>
            </a:bodyPr>
            <a:lstStyle/>
            <a:p>
              <a:r>
                <a:rPr lang="da-DK" sz="1000" b="1" dirty="0">
                  <a:solidFill>
                    <a:schemeClr val="tx1">
                      <a:lumMod val="75000"/>
                      <a:lumOff val="25000"/>
                    </a:schemeClr>
                  </a:solidFill>
                  <a:latin typeface="Arial" charset="0"/>
                  <a:ea typeface="Arial" charset="0"/>
                  <a:cs typeface="Arial" charset="0"/>
                </a:rPr>
                <a:t>MARKET SHARE INTERNATIONALLY</a:t>
              </a:r>
            </a:p>
            <a:p>
              <a:r>
                <a:rPr lang="da-DK" sz="1000" dirty="0">
                  <a:solidFill>
                    <a:schemeClr val="tx1">
                      <a:lumMod val="75000"/>
                      <a:lumOff val="25000"/>
                    </a:schemeClr>
                  </a:solidFill>
                  <a:latin typeface="Arial" charset="0"/>
                  <a:ea typeface="Arial" charset="0"/>
                  <a:cs typeface="Arial" charset="0"/>
                </a:rPr>
                <a:t>Arla share of volume sold in the segment</a:t>
              </a:r>
            </a:p>
          </p:txBody>
        </p:sp>
        <p:sp>
          <p:nvSpPr>
            <p:cNvPr id="97" name="TextBox 91"/>
            <p:cNvSpPr txBox="1">
              <a:spLocks/>
            </p:cNvSpPr>
            <p:nvPr/>
          </p:nvSpPr>
          <p:spPr>
            <a:xfrm>
              <a:off x="264158" y="5309425"/>
              <a:ext cx="2633936" cy="461665"/>
            </a:xfrm>
            <a:prstGeom prst="rect">
              <a:avLst/>
            </a:prstGeom>
            <a:noFill/>
          </p:spPr>
          <p:txBody>
            <a:bodyPr wrap="square" lIns="0" tIns="0" rIns="0" bIns="0" rtlCol="0">
              <a:spAutoFit/>
            </a:bodyPr>
            <a:lstStyle/>
            <a:p>
              <a:r>
                <a:rPr lang="da-DK" sz="1000" b="1" dirty="0">
                  <a:solidFill>
                    <a:schemeClr val="tx1">
                      <a:lumMod val="75000"/>
                      <a:lumOff val="25000"/>
                    </a:schemeClr>
                  </a:solidFill>
                  <a:latin typeface="Arial" charset="0"/>
                  <a:ea typeface="Arial" charset="0"/>
                  <a:cs typeface="Arial" charset="0"/>
                </a:rPr>
                <a:t>COST STRUCTURE AGAINST COMPETITION</a:t>
              </a:r>
              <a:br>
                <a:rPr lang="da-DK" sz="1000" b="1" dirty="0">
                  <a:solidFill>
                    <a:schemeClr val="tx1">
                      <a:lumMod val="75000"/>
                      <a:lumOff val="25000"/>
                    </a:schemeClr>
                  </a:solidFill>
                  <a:latin typeface="Arial" charset="0"/>
                  <a:ea typeface="Arial" charset="0"/>
                  <a:cs typeface="Arial" charset="0"/>
                </a:rPr>
              </a:br>
              <a:r>
                <a:rPr lang="da-DK" sz="1000" dirty="0">
                  <a:solidFill>
                    <a:schemeClr val="tx1">
                      <a:lumMod val="75000"/>
                      <a:lumOff val="25000"/>
                    </a:schemeClr>
                  </a:solidFill>
                  <a:latin typeface="Arial" charset="0"/>
                  <a:ea typeface="Arial" charset="0"/>
                  <a:cs typeface="Arial" charset="0"/>
                </a:rPr>
                <a:t>The </a:t>
              </a:r>
              <a:r>
                <a:rPr lang="da-DK" sz="1000" dirty="0" err="1">
                  <a:solidFill>
                    <a:schemeClr val="tx1">
                      <a:lumMod val="75000"/>
                      <a:lumOff val="25000"/>
                    </a:schemeClr>
                  </a:solidFill>
                  <a:latin typeface="Arial" charset="0"/>
                  <a:ea typeface="Arial" charset="0"/>
                  <a:cs typeface="Arial" charset="0"/>
                </a:rPr>
                <a:t>cost</a:t>
              </a:r>
              <a:r>
                <a:rPr lang="da-DK" sz="1000" dirty="0">
                  <a:solidFill>
                    <a:schemeClr val="tx1">
                      <a:lumMod val="75000"/>
                      <a:lumOff val="25000"/>
                    </a:schemeClr>
                  </a:solidFill>
                  <a:latin typeface="Arial" charset="0"/>
                  <a:ea typeface="Arial" charset="0"/>
                  <a:cs typeface="Arial" charset="0"/>
                </a:rPr>
                <a:t> of </a:t>
              </a:r>
              <a:r>
                <a:rPr lang="da-DK" sz="1000" dirty="0" err="1">
                  <a:solidFill>
                    <a:schemeClr val="tx1">
                      <a:lumMod val="75000"/>
                      <a:lumOff val="25000"/>
                    </a:schemeClr>
                  </a:solidFill>
                  <a:latin typeface="Arial" charset="0"/>
                  <a:ea typeface="Arial" charset="0"/>
                  <a:cs typeface="Arial" charset="0"/>
                </a:rPr>
                <a:t>production</a:t>
              </a:r>
              <a:r>
                <a:rPr lang="da-DK" sz="1000" dirty="0">
                  <a:solidFill>
                    <a:schemeClr val="tx1">
                      <a:lumMod val="75000"/>
                      <a:lumOff val="25000"/>
                    </a:schemeClr>
                  </a:solidFill>
                  <a:latin typeface="Arial" charset="0"/>
                  <a:ea typeface="Arial" charset="0"/>
                  <a:cs typeface="Arial" charset="0"/>
                </a:rPr>
                <a:t> relative to </a:t>
              </a:r>
              <a:r>
                <a:rPr lang="da-DK" sz="1000" dirty="0" err="1">
                  <a:solidFill>
                    <a:schemeClr val="tx1">
                      <a:lumMod val="75000"/>
                      <a:lumOff val="25000"/>
                    </a:schemeClr>
                  </a:solidFill>
                  <a:latin typeface="Arial" charset="0"/>
                  <a:ea typeface="Arial" charset="0"/>
                  <a:cs typeface="Arial" charset="0"/>
                </a:rPr>
                <a:t>competition</a:t>
              </a:r>
              <a:r>
                <a:rPr lang="da-DK" sz="1000" dirty="0">
                  <a:solidFill>
                    <a:schemeClr val="tx1">
                      <a:lumMod val="75000"/>
                      <a:lumOff val="25000"/>
                    </a:schemeClr>
                  </a:solidFill>
                  <a:latin typeface="Arial" charset="0"/>
                  <a:ea typeface="Arial" charset="0"/>
                  <a:cs typeface="Arial" charset="0"/>
                </a:rPr>
                <a:t> </a:t>
              </a:r>
            </a:p>
          </p:txBody>
        </p:sp>
        <p:cxnSp>
          <p:nvCxnSpPr>
            <p:cNvPr id="104" name="Straight Arrow Connector 97"/>
            <p:cNvCxnSpPr>
              <a:cxnSpLocks/>
            </p:cNvCxnSpPr>
            <p:nvPr/>
          </p:nvCxnSpPr>
          <p:spPr>
            <a:xfrm flipH="1">
              <a:off x="3063875" y="4705350"/>
              <a:ext cx="4052666" cy="0"/>
            </a:xfrm>
            <a:prstGeom prst="straightConnector1">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97"/>
            <p:cNvCxnSpPr>
              <a:cxnSpLocks/>
            </p:cNvCxnSpPr>
            <p:nvPr/>
          </p:nvCxnSpPr>
          <p:spPr>
            <a:xfrm flipH="1">
              <a:off x="3063875" y="5303838"/>
              <a:ext cx="4052666" cy="0"/>
            </a:xfrm>
            <a:prstGeom prst="straightConnector1">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97"/>
            <p:cNvCxnSpPr/>
            <p:nvPr/>
          </p:nvCxnSpPr>
          <p:spPr>
            <a:xfrm flipH="1">
              <a:off x="3083282" y="3692525"/>
              <a:ext cx="4052666" cy="0"/>
            </a:xfrm>
            <a:prstGeom prst="straightConnector1">
              <a:avLst/>
            </a:prstGeom>
            <a:ln w="38100">
              <a:solidFill>
                <a:schemeClr val="tx1">
                  <a:lumMod val="75000"/>
                  <a:lumOff val="2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8" name="TextBox 105"/>
            <p:cNvSpPr txBox="1"/>
            <p:nvPr/>
          </p:nvSpPr>
          <p:spPr>
            <a:xfrm>
              <a:off x="4343548" y="3584575"/>
              <a:ext cx="1533483" cy="216024"/>
            </a:xfrm>
            <a:prstGeom prst="rect">
              <a:avLst/>
            </a:prstGeom>
            <a:solidFill>
              <a:srgbClr val="FFFFFF"/>
            </a:solidFill>
          </p:spPr>
          <p:txBody>
            <a:bodyPr wrap="none" lIns="0" tIns="0" rIns="0" bIns="0" rtlCol="0" anchor="ctr">
              <a:noAutofit/>
            </a:bodyPr>
            <a:lstStyle/>
            <a:p>
              <a:pPr algn="ctr"/>
              <a:r>
                <a:rPr lang="da-DK" sz="1000" i="1" dirty="0">
                  <a:solidFill>
                    <a:schemeClr val="tx1">
                      <a:lumMod val="75000"/>
                      <a:lumOff val="25000"/>
                    </a:schemeClr>
                  </a:solidFill>
                  <a:latin typeface="Arial" charset="0"/>
                  <a:ea typeface="Arial" charset="0"/>
                  <a:cs typeface="Arial" charset="0"/>
                </a:rPr>
                <a:t>ABILITY TO COMPETE</a:t>
              </a:r>
            </a:p>
          </p:txBody>
        </p:sp>
        <p:sp>
          <p:nvSpPr>
            <p:cNvPr id="111" name="Tekstboks 71"/>
            <p:cNvSpPr txBox="1"/>
            <p:nvPr/>
          </p:nvSpPr>
          <p:spPr>
            <a:xfrm>
              <a:off x="3035038" y="4316413"/>
              <a:ext cx="399429"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0%</a:t>
              </a:r>
            </a:p>
          </p:txBody>
        </p:sp>
        <p:sp>
          <p:nvSpPr>
            <p:cNvPr id="112" name="Tekstboks 72"/>
            <p:cNvSpPr txBox="1"/>
            <p:nvPr/>
          </p:nvSpPr>
          <p:spPr>
            <a:xfrm>
              <a:off x="6604308" y="4316413"/>
              <a:ext cx="531640"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12%</a:t>
              </a:r>
            </a:p>
          </p:txBody>
        </p:sp>
        <p:sp>
          <p:nvSpPr>
            <p:cNvPr id="113" name="Tekstboks 71"/>
            <p:cNvSpPr txBox="1"/>
            <p:nvPr/>
          </p:nvSpPr>
          <p:spPr>
            <a:xfrm>
              <a:off x="2763837" y="5484813"/>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High</a:t>
              </a:r>
            </a:p>
          </p:txBody>
        </p:sp>
        <p:sp>
          <p:nvSpPr>
            <p:cNvPr id="114" name="Tekstboks 72"/>
            <p:cNvSpPr txBox="1"/>
            <p:nvPr/>
          </p:nvSpPr>
          <p:spPr>
            <a:xfrm>
              <a:off x="6399212" y="5484813"/>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Low</a:t>
              </a:r>
            </a:p>
          </p:txBody>
        </p:sp>
        <p:grpSp>
          <p:nvGrpSpPr>
            <p:cNvPr id="7" name="Group 6"/>
            <p:cNvGrpSpPr/>
            <p:nvPr/>
          </p:nvGrpSpPr>
          <p:grpSpPr>
            <a:xfrm>
              <a:off x="268351" y="5963911"/>
              <a:ext cx="7076885" cy="461665"/>
              <a:chOff x="274129" y="1924875"/>
              <a:chExt cx="7076885" cy="461665"/>
            </a:xfrm>
          </p:grpSpPr>
          <p:sp>
            <p:nvSpPr>
              <p:cNvPr id="98" name="TextBox 73"/>
              <p:cNvSpPr txBox="1">
                <a:spLocks/>
              </p:cNvSpPr>
              <p:nvPr/>
            </p:nvSpPr>
            <p:spPr>
              <a:xfrm>
                <a:off x="274129" y="1924875"/>
                <a:ext cx="2633936" cy="461665"/>
              </a:xfrm>
              <a:prstGeom prst="rect">
                <a:avLst/>
              </a:prstGeom>
              <a:noFill/>
            </p:spPr>
            <p:txBody>
              <a:bodyPr wrap="square" lIns="0" tIns="0" rIns="0" bIns="0" rtlCol="0">
                <a:spAutoFit/>
              </a:bodyPr>
              <a:lstStyle/>
              <a:p>
                <a:r>
                  <a:rPr lang="da-DK" sz="1000" b="1" dirty="0">
                    <a:solidFill>
                      <a:schemeClr val="tx1">
                        <a:lumMod val="75000"/>
                        <a:lumOff val="25000"/>
                      </a:schemeClr>
                    </a:solidFill>
                    <a:latin typeface="Arial" charset="0"/>
                    <a:ea typeface="Arial" charset="0"/>
                    <a:cs typeface="Arial" charset="0"/>
                  </a:rPr>
                  <a:t>BRAND EQUITY</a:t>
                </a:r>
                <a:br>
                  <a:rPr lang="da-DK" sz="1000" b="1" dirty="0">
                    <a:solidFill>
                      <a:schemeClr val="tx1">
                        <a:lumMod val="75000"/>
                        <a:lumOff val="25000"/>
                      </a:schemeClr>
                    </a:solidFill>
                    <a:latin typeface="Arial" charset="0"/>
                    <a:ea typeface="Arial" charset="0"/>
                    <a:cs typeface="Arial" charset="0"/>
                  </a:rPr>
                </a:br>
                <a:r>
                  <a:rPr lang="da-DK" sz="1000" dirty="0">
                    <a:solidFill>
                      <a:schemeClr val="tx1">
                        <a:lumMod val="75000"/>
                        <a:lumOff val="25000"/>
                      </a:schemeClr>
                    </a:solidFill>
                    <a:latin typeface="Arial" charset="0"/>
                    <a:ea typeface="Arial" charset="0"/>
                    <a:cs typeface="Arial" charset="0"/>
                  </a:rPr>
                  <a:t>How </a:t>
                </a:r>
                <a:r>
                  <a:rPr lang="da-DK" sz="1000" dirty="0" err="1">
                    <a:solidFill>
                      <a:schemeClr val="tx1">
                        <a:lumMod val="75000"/>
                        <a:lumOff val="25000"/>
                      </a:schemeClr>
                    </a:solidFill>
                    <a:latin typeface="Arial" charset="0"/>
                    <a:ea typeface="Arial" charset="0"/>
                    <a:cs typeface="Arial" charset="0"/>
                  </a:rPr>
                  <a:t>will</a:t>
                </a:r>
                <a:r>
                  <a:rPr lang="da-DK" sz="1000" dirty="0">
                    <a:solidFill>
                      <a:schemeClr val="tx1">
                        <a:lumMod val="75000"/>
                        <a:lumOff val="25000"/>
                      </a:schemeClr>
                    </a:solidFill>
                    <a:latin typeface="Arial" charset="0"/>
                    <a:ea typeface="Arial" charset="0"/>
                    <a:cs typeface="Arial" charset="0"/>
                  </a:rPr>
                  <a:t> </a:t>
                </a:r>
                <a:r>
                  <a:rPr lang="da-DK" sz="1000" dirty="0" err="1">
                    <a:solidFill>
                      <a:schemeClr val="tx1">
                        <a:lumMod val="75000"/>
                        <a:lumOff val="25000"/>
                      </a:schemeClr>
                    </a:solidFill>
                    <a:latin typeface="Arial" charset="0"/>
                    <a:ea typeface="Arial" charset="0"/>
                    <a:cs typeface="Arial" charset="0"/>
                  </a:rPr>
                  <a:t>entering</a:t>
                </a:r>
                <a:r>
                  <a:rPr lang="da-DK" sz="1000" dirty="0">
                    <a:solidFill>
                      <a:schemeClr val="tx1">
                        <a:lumMod val="75000"/>
                        <a:lumOff val="25000"/>
                      </a:schemeClr>
                    </a:solidFill>
                    <a:latin typeface="Arial" charset="0"/>
                    <a:ea typeface="Arial" charset="0"/>
                    <a:cs typeface="Arial" charset="0"/>
                  </a:rPr>
                  <a:t> the segment </a:t>
                </a:r>
                <a:r>
                  <a:rPr lang="da-DK" sz="1000" dirty="0" err="1">
                    <a:solidFill>
                      <a:schemeClr val="tx1">
                        <a:lumMod val="75000"/>
                        <a:lumOff val="25000"/>
                      </a:schemeClr>
                    </a:solidFill>
                    <a:latin typeface="Arial" charset="0"/>
                    <a:ea typeface="Arial" charset="0"/>
                    <a:cs typeface="Arial" charset="0"/>
                  </a:rPr>
                  <a:t>affect</a:t>
                </a:r>
                <a:r>
                  <a:rPr lang="da-DK" sz="1000" dirty="0">
                    <a:solidFill>
                      <a:schemeClr val="tx1">
                        <a:lumMod val="75000"/>
                        <a:lumOff val="25000"/>
                      </a:schemeClr>
                    </a:solidFill>
                    <a:latin typeface="Arial" charset="0"/>
                    <a:ea typeface="Arial" charset="0"/>
                    <a:cs typeface="Arial" charset="0"/>
                  </a:rPr>
                  <a:t> Arlas brand</a:t>
                </a:r>
              </a:p>
            </p:txBody>
          </p:sp>
          <p:sp>
            <p:nvSpPr>
              <p:cNvPr id="115" name="Tekstboks 71"/>
              <p:cNvSpPr txBox="1"/>
              <p:nvPr/>
            </p:nvSpPr>
            <p:spPr>
              <a:xfrm>
                <a:off x="2795580" y="2047113"/>
                <a:ext cx="941831" cy="216024"/>
              </a:xfrm>
              <a:prstGeom prst="rect">
                <a:avLst/>
              </a:prstGeom>
              <a:noFill/>
            </p:spPr>
            <p:txBody>
              <a:bodyPr wrap="square" lIns="0" tIns="0" rIns="0" bIns="0" rtlCol="0">
                <a:noAutofit/>
              </a:bodyPr>
              <a:lstStyle/>
              <a:p>
                <a:pPr algn="ctr"/>
                <a:r>
                  <a:rPr lang="da-DK" sz="1200" dirty="0" err="1">
                    <a:solidFill>
                      <a:schemeClr val="tx1">
                        <a:lumMod val="75000"/>
                        <a:lumOff val="25000"/>
                      </a:schemeClr>
                    </a:solidFill>
                    <a:latin typeface="Arial" charset="0"/>
                    <a:ea typeface="Arial" charset="0"/>
                    <a:cs typeface="Arial" charset="0"/>
                  </a:rPr>
                  <a:t>Negatively</a:t>
                </a:r>
                <a:endParaRPr lang="da-DK" sz="1200" dirty="0">
                  <a:solidFill>
                    <a:schemeClr val="tx1">
                      <a:lumMod val="75000"/>
                      <a:lumOff val="25000"/>
                    </a:schemeClr>
                  </a:solidFill>
                  <a:latin typeface="Arial" charset="0"/>
                  <a:ea typeface="Arial" charset="0"/>
                  <a:cs typeface="Arial" charset="0"/>
                </a:endParaRPr>
              </a:p>
            </p:txBody>
          </p:sp>
          <p:sp>
            <p:nvSpPr>
              <p:cNvPr id="116" name="Tekstboks 72"/>
              <p:cNvSpPr txBox="1"/>
              <p:nvPr/>
            </p:nvSpPr>
            <p:spPr>
              <a:xfrm>
                <a:off x="6409183" y="2047113"/>
                <a:ext cx="941831" cy="216024"/>
              </a:xfrm>
              <a:prstGeom prst="rect">
                <a:avLst/>
              </a:prstGeom>
              <a:noFill/>
            </p:spPr>
            <p:txBody>
              <a:bodyPr wrap="square" lIns="0" tIns="0" rIns="0" bIns="0" rtlCol="0">
                <a:noAutofit/>
              </a:bodyPr>
              <a:lstStyle/>
              <a:p>
                <a:pPr algn="ctr"/>
                <a:r>
                  <a:rPr lang="da-DK" sz="1200" dirty="0" err="1">
                    <a:solidFill>
                      <a:schemeClr val="tx1">
                        <a:lumMod val="75000"/>
                        <a:lumOff val="25000"/>
                      </a:schemeClr>
                    </a:solidFill>
                    <a:latin typeface="Arial" charset="0"/>
                    <a:ea typeface="Arial" charset="0"/>
                    <a:cs typeface="Arial" charset="0"/>
                  </a:rPr>
                  <a:t>Positively</a:t>
                </a:r>
                <a:endParaRPr lang="da-DK" sz="1200" dirty="0">
                  <a:solidFill>
                    <a:schemeClr val="tx1">
                      <a:lumMod val="75000"/>
                      <a:lumOff val="25000"/>
                    </a:schemeClr>
                  </a:solidFill>
                  <a:latin typeface="Arial" charset="0"/>
                  <a:ea typeface="Arial" charset="0"/>
                  <a:cs typeface="Arial" charset="0"/>
                </a:endParaRPr>
              </a:p>
            </p:txBody>
          </p:sp>
          <p:sp>
            <p:nvSpPr>
              <p:cNvPr id="117" name="Tekstboks 71"/>
              <p:cNvSpPr txBox="1"/>
              <p:nvPr/>
            </p:nvSpPr>
            <p:spPr>
              <a:xfrm>
                <a:off x="4629938" y="2047113"/>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None</a:t>
                </a:r>
              </a:p>
            </p:txBody>
          </p:sp>
        </p:grpSp>
        <p:sp>
          <p:nvSpPr>
            <p:cNvPr id="127" name="Tekstboks 71"/>
            <p:cNvSpPr txBox="1"/>
            <p:nvPr/>
          </p:nvSpPr>
          <p:spPr>
            <a:xfrm>
              <a:off x="4619967" y="5509535"/>
              <a:ext cx="941831" cy="383646"/>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Same</a:t>
              </a:r>
            </a:p>
          </p:txBody>
        </p:sp>
        <p:sp>
          <p:nvSpPr>
            <p:cNvPr id="128" name="Tekstboks 72"/>
            <p:cNvSpPr txBox="1"/>
            <p:nvPr/>
          </p:nvSpPr>
          <p:spPr>
            <a:xfrm>
              <a:off x="3883739" y="4316413"/>
              <a:ext cx="584804"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0.-4%[</a:t>
              </a:r>
            </a:p>
          </p:txBody>
        </p:sp>
        <p:sp>
          <p:nvSpPr>
            <p:cNvPr id="129" name="Tekstboks 72"/>
            <p:cNvSpPr txBox="1"/>
            <p:nvPr/>
          </p:nvSpPr>
          <p:spPr>
            <a:xfrm>
              <a:off x="4851708" y="4316413"/>
              <a:ext cx="531640"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4-8%[</a:t>
              </a:r>
            </a:p>
          </p:txBody>
        </p:sp>
        <p:sp>
          <p:nvSpPr>
            <p:cNvPr id="130" name="Tekstboks 72"/>
            <p:cNvSpPr txBox="1"/>
            <p:nvPr/>
          </p:nvSpPr>
          <p:spPr>
            <a:xfrm>
              <a:off x="5711204" y="4310063"/>
              <a:ext cx="660497" cy="229309"/>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8-12%[</a:t>
              </a:r>
            </a:p>
          </p:txBody>
        </p:sp>
        <p:grpSp>
          <p:nvGrpSpPr>
            <p:cNvPr id="5" name="Group 4"/>
            <p:cNvGrpSpPr/>
            <p:nvPr/>
          </p:nvGrpSpPr>
          <p:grpSpPr>
            <a:xfrm>
              <a:off x="287176" y="4750990"/>
              <a:ext cx="7049104" cy="568191"/>
              <a:chOff x="291939" y="5431348"/>
              <a:chExt cx="7049104" cy="568191"/>
            </a:xfrm>
          </p:grpSpPr>
          <p:sp>
            <p:nvSpPr>
              <p:cNvPr id="139" name="TextBox 91"/>
              <p:cNvSpPr txBox="1">
                <a:spLocks/>
              </p:cNvSpPr>
              <p:nvPr/>
            </p:nvSpPr>
            <p:spPr>
              <a:xfrm>
                <a:off x="291939" y="5431348"/>
                <a:ext cx="2633936" cy="461665"/>
              </a:xfrm>
              <a:prstGeom prst="rect">
                <a:avLst/>
              </a:prstGeom>
              <a:noFill/>
            </p:spPr>
            <p:txBody>
              <a:bodyPr wrap="square" lIns="0" tIns="0" rIns="0" bIns="0" rtlCol="0">
                <a:spAutoFit/>
              </a:bodyPr>
              <a:lstStyle/>
              <a:p>
                <a:r>
                  <a:rPr lang="da-DK" sz="1000" b="1" dirty="0">
                    <a:solidFill>
                      <a:schemeClr val="tx1">
                        <a:lumMod val="75000"/>
                        <a:lumOff val="25000"/>
                      </a:schemeClr>
                    </a:solidFill>
                    <a:latin typeface="Arial" charset="0"/>
                    <a:ea typeface="Arial" charset="0"/>
                    <a:cs typeface="Arial" charset="0"/>
                  </a:rPr>
                  <a:t>PERCIEVED QUALITY OF CURRENT </a:t>
                </a:r>
                <a:br>
                  <a:rPr lang="da-DK" sz="1000" b="1" dirty="0">
                    <a:solidFill>
                      <a:schemeClr val="tx1">
                        <a:lumMod val="75000"/>
                        <a:lumOff val="25000"/>
                      </a:schemeClr>
                    </a:solidFill>
                    <a:latin typeface="Arial" charset="0"/>
                    <a:ea typeface="Arial" charset="0"/>
                    <a:cs typeface="Arial" charset="0"/>
                  </a:rPr>
                </a:br>
                <a:r>
                  <a:rPr lang="da-DK" sz="1000" b="1" dirty="0">
                    <a:solidFill>
                      <a:schemeClr val="tx1">
                        <a:lumMod val="75000"/>
                        <a:lumOff val="25000"/>
                      </a:schemeClr>
                    </a:solidFill>
                    <a:latin typeface="Arial" charset="0"/>
                    <a:ea typeface="Arial" charset="0"/>
                    <a:cs typeface="Arial" charset="0"/>
                  </a:rPr>
                  <a:t>PORTFOLIO</a:t>
                </a:r>
              </a:p>
              <a:p>
                <a:r>
                  <a:rPr lang="da-DK" sz="1000" dirty="0">
                    <a:solidFill>
                      <a:schemeClr val="tx1">
                        <a:lumMod val="75000"/>
                        <a:lumOff val="25000"/>
                      </a:schemeClr>
                    </a:solidFill>
                    <a:latin typeface="Arial" charset="0"/>
                    <a:ea typeface="Arial" charset="0"/>
                    <a:cs typeface="Arial" charset="0"/>
                  </a:rPr>
                  <a:t>How </a:t>
                </a:r>
                <a:r>
                  <a:rPr lang="da-DK" sz="1000" dirty="0" err="1">
                    <a:solidFill>
                      <a:schemeClr val="tx1">
                        <a:lumMod val="75000"/>
                        <a:lumOff val="25000"/>
                      </a:schemeClr>
                    </a:solidFill>
                    <a:latin typeface="Arial" charset="0"/>
                    <a:ea typeface="Arial" charset="0"/>
                    <a:cs typeface="Arial" charset="0"/>
                  </a:rPr>
                  <a:t>good</a:t>
                </a:r>
                <a:r>
                  <a:rPr lang="da-DK" sz="1000" dirty="0">
                    <a:solidFill>
                      <a:schemeClr val="tx1">
                        <a:lumMod val="75000"/>
                        <a:lumOff val="25000"/>
                      </a:schemeClr>
                    </a:solidFill>
                    <a:latin typeface="Arial" charset="0"/>
                    <a:ea typeface="Arial" charset="0"/>
                    <a:cs typeface="Arial" charset="0"/>
                  </a:rPr>
                  <a:t> </a:t>
                </a:r>
                <a:r>
                  <a:rPr lang="da-DK" sz="1000" dirty="0" err="1">
                    <a:solidFill>
                      <a:schemeClr val="tx1">
                        <a:lumMod val="75000"/>
                        <a:lumOff val="25000"/>
                      </a:schemeClr>
                    </a:solidFill>
                    <a:latin typeface="Arial" charset="0"/>
                    <a:ea typeface="Arial" charset="0"/>
                    <a:cs typeface="Arial" charset="0"/>
                  </a:rPr>
                  <a:t>are</a:t>
                </a:r>
                <a:r>
                  <a:rPr lang="da-DK" sz="1000" dirty="0">
                    <a:solidFill>
                      <a:schemeClr val="tx1">
                        <a:lumMod val="75000"/>
                        <a:lumOff val="25000"/>
                      </a:schemeClr>
                    </a:solidFill>
                    <a:latin typeface="Arial" charset="0"/>
                    <a:ea typeface="Arial" charset="0"/>
                    <a:cs typeface="Arial" charset="0"/>
                  </a:rPr>
                  <a:t> Arlas products? </a:t>
                </a:r>
              </a:p>
            </p:txBody>
          </p:sp>
          <p:sp>
            <p:nvSpPr>
              <p:cNvPr id="140" name="Tekstboks 71"/>
              <p:cNvSpPr txBox="1"/>
              <p:nvPr/>
            </p:nvSpPr>
            <p:spPr>
              <a:xfrm>
                <a:off x="2763837" y="5589588"/>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Low</a:t>
                </a:r>
              </a:p>
            </p:txBody>
          </p:sp>
          <p:sp>
            <p:nvSpPr>
              <p:cNvPr id="141" name="Tekstboks 72"/>
              <p:cNvSpPr txBox="1"/>
              <p:nvPr/>
            </p:nvSpPr>
            <p:spPr>
              <a:xfrm>
                <a:off x="6399212" y="5589588"/>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High</a:t>
                </a:r>
              </a:p>
            </p:txBody>
          </p:sp>
          <p:sp>
            <p:nvSpPr>
              <p:cNvPr id="142" name="Tekstboks 71"/>
              <p:cNvSpPr txBox="1"/>
              <p:nvPr/>
            </p:nvSpPr>
            <p:spPr>
              <a:xfrm>
                <a:off x="4619967" y="5615893"/>
                <a:ext cx="941831" cy="383646"/>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Medium</a:t>
                </a:r>
              </a:p>
            </p:txBody>
          </p:sp>
        </p:grpSp>
        <p:cxnSp>
          <p:nvCxnSpPr>
            <p:cNvPr id="100" name="Straight Arrow Connector 97"/>
            <p:cNvCxnSpPr>
              <a:cxnSpLocks/>
            </p:cNvCxnSpPr>
            <p:nvPr/>
          </p:nvCxnSpPr>
          <p:spPr>
            <a:xfrm flipH="1">
              <a:off x="3063875" y="5897563"/>
              <a:ext cx="4052666" cy="0"/>
            </a:xfrm>
            <a:prstGeom prst="straightConnector1">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upper 13"/>
          <p:cNvGrpSpPr/>
          <p:nvPr/>
        </p:nvGrpSpPr>
        <p:grpSpPr>
          <a:xfrm>
            <a:off x="264158" y="1288968"/>
            <a:ext cx="7119183" cy="2287931"/>
            <a:chOff x="264158" y="774700"/>
            <a:chExt cx="7119183" cy="2755900"/>
          </a:xfrm>
        </p:grpSpPr>
        <p:grpSp>
          <p:nvGrpSpPr>
            <p:cNvPr id="10" name="Group 9"/>
            <p:cNvGrpSpPr/>
            <p:nvPr/>
          </p:nvGrpSpPr>
          <p:grpSpPr>
            <a:xfrm>
              <a:off x="264158" y="774700"/>
              <a:ext cx="7081648" cy="2755900"/>
              <a:chOff x="264158" y="774700"/>
              <a:chExt cx="7081648" cy="2755900"/>
            </a:xfrm>
          </p:grpSpPr>
          <p:cxnSp>
            <p:nvCxnSpPr>
              <p:cNvPr id="38" name="Straight Arrow Connector 97"/>
              <p:cNvCxnSpPr/>
              <p:nvPr/>
            </p:nvCxnSpPr>
            <p:spPr>
              <a:xfrm flipH="1">
                <a:off x="3063875" y="885825"/>
                <a:ext cx="4052666" cy="0"/>
              </a:xfrm>
              <a:prstGeom prst="straightConnector1">
                <a:avLst/>
              </a:prstGeom>
              <a:ln w="38100">
                <a:solidFill>
                  <a:schemeClr val="tx1">
                    <a:lumMod val="75000"/>
                    <a:lumOff val="2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TextBox 105"/>
              <p:cNvSpPr txBox="1"/>
              <p:nvPr/>
            </p:nvSpPr>
            <p:spPr>
              <a:xfrm>
                <a:off x="4070350" y="774700"/>
                <a:ext cx="2041065" cy="216024"/>
              </a:xfrm>
              <a:prstGeom prst="rect">
                <a:avLst/>
              </a:prstGeom>
              <a:solidFill>
                <a:srgbClr val="FFFFFF"/>
              </a:solidFill>
            </p:spPr>
            <p:txBody>
              <a:bodyPr wrap="none" lIns="0" tIns="0" rIns="0" bIns="0" rtlCol="0" anchor="ctr">
                <a:noAutofit/>
              </a:bodyPr>
              <a:lstStyle/>
              <a:p>
                <a:pPr algn="ctr"/>
                <a:r>
                  <a:rPr lang="da-DK" sz="1000" i="1" dirty="0">
                    <a:solidFill>
                      <a:schemeClr val="tx1">
                        <a:lumMod val="75000"/>
                        <a:lumOff val="25000"/>
                      </a:schemeClr>
                    </a:solidFill>
                    <a:latin typeface="Arial" charset="0"/>
                    <a:ea typeface="Arial" charset="0"/>
                    <a:cs typeface="Arial" charset="0"/>
                  </a:rPr>
                  <a:t>SEGMENT ATTRACTIVENESS</a:t>
                </a:r>
              </a:p>
            </p:txBody>
          </p:sp>
          <p:cxnSp>
            <p:nvCxnSpPr>
              <p:cNvPr id="41" name="Straight Arrow Connector 97"/>
              <p:cNvCxnSpPr>
                <a:cxnSpLocks/>
              </p:cNvCxnSpPr>
              <p:nvPr/>
            </p:nvCxnSpPr>
            <p:spPr>
              <a:xfrm flipH="1">
                <a:off x="3063875" y="1887993"/>
                <a:ext cx="4052666" cy="0"/>
              </a:xfrm>
              <a:prstGeom prst="straightConnector1">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97"/>
              <p:cNvCxnSpPr>
                <a:cxnSpLocks/>
              </p:cNvCxnSpPr>
              <p:nvPr/>
            </p:nvCxnSpPr>
            <p:spPr>
              <a:xfrm flipH="1">
                <a:off x="3063875" y="2959100"/>
                <a:ext cx="4052666" cy="0"/>
              </a:xfrm>
              <a:prstGeom prst="straightConnector1">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kstboks 61"/>
              <p:cNvSpPr txBox="1"/>
              <p:nvPr/>
            </p:nvSpPr>
            <p:spPr>
              <a:xfrm>
                <a:off x="2768600" y="1556205"/>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lt;300</a:t>
                </a:r>
              </a:p>
            </p:txBody>
          </p:sp>
          <p:sp>
            <p:nvSpPr>
              <p:cNvPr id="53" name="Tekstboks 62"/>
              <p:cNvSpPr txBox="1"/>
              <p:nvPr/>
            </p:nvSpPr>
            <p:spPr>
              <a:xfrm>
                <a:off x="3709988" y="1556205"/>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300-600</a:t>
                </a:r>
              </a:p>
            </p:txBody>
          </p:sp>
          <p:sp>
            <p:nvSpPr>
              <p:cNvPr id="54" name="Tekstboks 63"/>
              <p:cNvSpPr txBox="1"/>
              <p:nvPr/>
            </p:nvSpPr>
            <p:spPr>
              <a:xfrm>
                <a:off x="4651375" y="1556205"/>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600-900</a:t>
                </a:r>
              </a:p>
            </p:txBody>
          </p:sp>
          <p:sp>
            <p:nvSpPr>
              <p:cNvPr id="55" name="Tekstboks 64"/>
              <p:cNvSpPr txBox="1"/>
              <p:nvPr/>
            </p:nvSpPr>
            <p:spPr>
              <a:xfrm>
                <a:off x="5575300" y="1556205"/>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900-1200</a:t>
                </a:r>
              </a:p>
            </p:txBody>
          </p:sp>
          <p:sp>
            <p:nvSpPr>
              <p:cNvPr id="56" name="Tekstboks 65"/>
              <p:cNvSpPr txBox="1"/>
              <p:nvPr/>
            </p:nvSpPr>
            <p:spPr>
              <a:xfrm>
                <a:off x="6403975" y="1556205"/>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1200&lt;</a:t>
                </a:r>
              </a:p>
            </p:txBody>
          </p:sp>
          <p:sp>
            <p:nvSpPr>
              <p:cNvPr id="57" name="Tekstboks 66"/>
              <p:cNvSpPr txBox="1"/>
              <p:nvPr/>
            </p:nvSpPr>
            <p:spPr>
              <a:xfrm>
                <a:off x="2768600" y="2628900"/>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lt;0%</a:t>
                </a:r>
              </a:p>
            </p:txBody>
          </p:sp>
          <p:sp>
            <p:nvSpPr>
              <p:cNvPr id="58" name="Tekstboks 67"/>
              <p:cNvSpPr txBox="1"/>
              <p:nvPr/>
            </p:nvSpPr>
            <p:spPr>
              <a:xfrm>
                <a:off x="3709988" y="2628900"/>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0-5%[</a:t>
                </a:r>
              </a:p>
            </p:txBody>
          </p:sp>
          <p:sp>
            <p:nvSpPr>
              <p:cNvPr id="59" name="Tekstboks 68"/>
              <p:cNvSpPr txBox="1"/>
              <p:nvPr/>
            </p:nvSpPr>
            <p:spPr>
              <a:xfrm>
                <a:off x="4651375" y="2628900"/>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5-10%[</a:t>
                </a:r>
              </a:p>
            </p:txBody>
          </p:sp>
          <p:sp>
            <p:nvSpPr>
              <p:cNvPr id="60" name="Tekstboks 69"/>
              <p:cNvSpPr txBox="1"/>
              <p:nvPr/>
            </p:nvSpPr>
            <p:spPr>
              <a:xfrm>
                <a:off x="5575300" y="2628900"/>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10-15%[</a:t>
                </a:r>
              </a:p>
            </p:txBody>
          </p:sp>
          <p:sp>
            <p:nvSpPr>
              <p:cNvPr id="61" name="Tekstboks 70"/>
              <p:cNvSpPr txBox="1"/>
              <p:nvPr/>
            </p:nvSpPr>
            <p:spPr>
              <a:xfrm>
                <a:off x="6403975" y="2628900"/>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15%</a:t>
                </a:r>
              </a:p>
            </p:txBody>
          </p:sp>
          <p:sp>
            <p:nvSpPr>
              <p:cNvPr id="93" name="TextBox 67"/>
              <p:cNvSpPr txBox="1">
                <a:spLocks/>
              </p:cNvSpPr>
              <p:nvPr/>
            </p:nvSpPr>
            <p:spPr>
              <a:xfrm>
                <a:off x="264158" y="1373643"/>
                <a:ext cx="2633936" cy="547996"/>
              </a:xfrm>
              <a:prstGeom prst="rect">
                <a:avLst/>
              </a:prstGeom>
              <a:noFill/>
            </p:spPr>
            <p:txBody>
              <a:bodyPr wrap="square" lIns="0" tIns="0" rIns="0" bIns="0" rtlCol="0">
                <a:noAutofit/>
              </a:bodyPr>
              <a:lstStyle/>
              <a:p>
                <a:r>
                  <a:rPr lang="da-DK" sz="1000" b="1" dirty="0">
                    <a:solidFill>
                      <a:schemeClr val="tx1">
                        <a:lumMod val="75000"/>
                        <a:lumOff val="25000"/>
                      </a:schemeClr>
                    </a:solidFill>
                    <a:latin typeface="Arial" charset="0"/>
                    <a:ea typeface="Arial" charset="0"/>
                    <a:cs typeface="Arial" charset="0"/>
                  </a:rPr>
                  <a:t>MARKET SIZE</a:t>
                </a:r>
              </a:p>
              <a:p>
                <a:r>
                  <a:rPr lang="da-DK" sz="1000" dirty="0">
                    <a:solidFill>
                      <a:schemeClr val="tx1">
                        <a:lumMod val="75000"/>
                        <a:lumOff val="25000"/>
                      </a:schemeClr>
                    </a:solidFill>
                    <a:latin typeface="Arial" charset="0"/>
                    <a:ea typeface="Arial" charset="0"/>
                    <a:cs typeface="Arial" charset="0"/>
                  </a:rPr>
                  <a:t>Size of the </a:t>
                </a:r>
                <a:r>
                  <a:rPr lang="da-DK" sz="1000" dirty="0" err="1">
                    <a:solidFill>
                      <a:schemeClr val="tx1">
                        <a:lumMod val="75000"/>
                        <a:lumOff val="25000"/>
                      </a:schemeClr>
                    </a:solidFill>
                    <a:latin typeface="Arial" charset="0"/>
                    <a:ea typeface="Arial" charset="0"/>
                    <a:cs typeface="Arial" charset="0"/>
                  </a:rPr>
                  <a:t>market</a:t>
                </a:r>
                <a:r>
                  <a:rPr lang="da-DK" sz="1000" dirty="0">
                    <a:solidFill>
                      <a:schemeClr val="tx1">
                        <a:lumMod val="75000"/>
                        <a:lumOff val="25000"/>
                      </a:schemeClr>
                    </a:solidFill>
                    <a:latin typeface="Arial" charset="0"/>
                    <a:ea typeface="Arial" charset="0"/>
                    <a:cs typeface="Arial" charset="0"/>
                  </a:rPr>
                  <a:t> in </a:t>
                </a:r>
                <a:r>
                  <a:rPr lang="da-DK" sz="1000" dirty="0" err="1">
                    <a:solidFill>
                      <a:schemeClr val="tx1">
                        <a:lumMod val="75000"/>
                        <a:lumOff val="25000"/>
                      </a:schemeClr>
                    </a:solidFill>
                    <a:latin typeface="Arial" charset="0"/>
                    <a:ea typeface="Arial" charset="0"/>
                    <a:cs typeface="Arial" charset="0"/>
                  </a:rPr>
                  <a:t>value</a:t>
                </a:r>
                <a:endParaRPr lang="da-DK" sz="1000" dirty="0">
                  <a:solidFill>
                    <a:schemeClr val="tx1">
                      <a:lumMod val="75000"/>
                      <a:lumOff val="25000"/>
                    </a:schemeClr>
                  </a:solidFill>
                  <a:latin typeface="Arial" charset="0"/>
                  <a:ea typeface="Arial" charset="0"/>
                  <a:cs typeface="Arial" charset="0"/>
                </a:endParaRPr>
              </a:p>
            </p:txBody>
          </p:sp>
          <p:sp>
            <p:nvSpPr>
              <p:cNvPr id="94" name="TextBox 91"/>
              <p:cNvSpPr txBox="1">
                <a:spLocks/>
              </p:cNvSpPr>
              <p:nvPr/>
            </p:nvSpPr>
            <p:spPr>
              <a:xfrm>
                <a:off x="264158" y="3008313"/>
                <a:ext cx="2633936" cy="307777"/>
              </a:xfrm>
              <a:prstGeom prst="rect">
                <a:avLst/>
              </a:prstGeom>
              <a:noFill/>
            </p:spPr>
            <p:txBody>
              <a:bodyPr wrap="square" lIns="0" tIns="0" rIns="0" bIns="0" rtlCol="0">
                <a:spAutoFit/>
              </a:bodyPr>
              <a:lstStyle/>
              <a:p>
                <a:r>
                  <a:rPr lang="da-DK" sz="1000" b="1" dirty="0">
                    <a:solidFill>
                      <a:schemeClr val="tx1">
                        <a:lumMod val="75000"/>
                        <a:lumOff val="25000"/>
                      </a:schemeClr>
                    </a:solidFill>
                    <a:latin typeface="Arial" charset="0"/>
                    <a:ea typeface="Arial" charset="0"/>
                    <a:cs typeface="Arial" charset="0"/>
                  </a:rPr>
                  <a:t>PROFITABILITY</a:t>
                </a:r>
                <a:br>
                  <a:rPr lang="da-DK" sz="1000" b="1" dirty="0">
                    <a:solidFill>
                      <a:schemeClr val="tx1">
                        <a:lumMod val="75000"/>
                        <a:lumOff val="25000"/>
                      </a:schemeClr>
                    </a:solidFill>
                    <a:latin typeface="Arial" charset="0"/>
                    <a:ea typeface="Arial" charset="0"/>
                    <a:cs typeface="Arial" charset="0"/>
                  </a:rPr>
                </a:br>
                <a:r>
                  <a:rPr lang="da-DK" sz="1000" dirty="0">
                    <a:solidFill>
                      <a:schemeClr val="tx1">
                        <a:lumMod val="75000"/>
                        <a:lumOff val="25000"/>
                      </a:schemeClr>
                    </a:solidFill>
                    <a:latin typeface="Arial" charset="0"/>
                    <a:ea typeface="Arial" charset="0"/>
                    <a:cs typeface="Arial" charset="0"/>
                  </a:rPr>
                  <a:t>Contribution ratio in the individual segments</a:t>
                </a:r>
                <a:endParaRPr lang="da-DK" sz="1000" b="1" dirty="0">
                  <a:solidFill>
                    <a:schemeClr val="tx1">
                      <a:lumMod val="75000"/>
                      <a:lumOff val="25000"/>
                    </a:schemeClr>
                  </a:solidFill>
                  <a:latin typeface="Arial" charset="0"/>
                  <a:ea typeface="Arial" charset="0"/>
                  <a:cs typeface="Arial" charset="0"/>
                </a:endParaRPr>
              </a:p>
            </p:txBody>
          </p:sp>
          <p:sp>
            <p:nvSpPr>
              <p:cNvPr id="95" name="TextBox 73"/>
              <p:cNvSpPr txBox="1">
                <a:spLocks/>
              </p:cNvSpPr>
              <p:nvPr/>
            </p:nvSpPr>
            <p:spPr>
              <a:xfrm>
                <a:off x="264158" y="2540000"/>
                <a:ext cx="2633936" cy="307777"/>
              </a:xfrm>
              <a:prstGeom prst="rect">
                <a:avLst/>
              </a:prstGeom>
              <a:noFill/>
            </p:spPr>
            <p:txBody>
              <a:bodyPr wrap="square" lIns="0" tIns="0" rIns="0" bIns="0" rtlCol="0">
                <a:spAutoFit/>
              </a:bodyPr>
              <a:lstStyle/>
              <a:p>
                <a:r>
                  <a:rPr lang="da-DK" sz="1000" b="1" dirty="0">
                    <a:solidFill>
                      <a:schemeClr val="tx1">
                        <a:lumMod val="75000"/>
                        <a:lumOff val="25000"/>
                      </a:schemeClr>
                    </a:solidFill>
                    <a:latin typeface="Arial" charset="0"/>
                    <a:ea typeface="Arial" charset="0"/>
                    <a:cs typeface="Arial" charset="0"/>
                  </a:rPr>
                  <a:t>GROWTH</a:t>
                </a:r>
                <a:br>
                  <a:rPr lang="da-DK" sz="1000" b="1" dirty="0">
                    <a:solidFill>
                      <a:schemeClr val="tx1">
                        <a:lumMod val="75000"/>
                        <a:lumOff val="25000"/>
                      </a:schemeClr>
                    </a:solidFill>
                    <a:latin typeface="Arial" charset="0"/>
                    <a:ea typeface="Arial" charset="0"/>
                    <a:cs typeface="Arial" charset="0"/>
                  </a:rPr>
                </a:br>
                <a:r>
                  <a:rPr lang="da-DK" sz="1000" dirty="0">
                    <a:solidFill>
                      <a:schemeClr val="tx1">
                        <a:lumMod val="75000"/>
                        <a:lumOff val="25000"/>
                      </a:schemeClr>
                    </a:solidFill>
                    <a:latin typeface="Arial" charset="0"/>
                    <a:ea typeface="Arial" charset="0"/>
                    <a:cs typeface="Arial" charset="0"/>
                  </a:rPr>
                  <a:t>Expected growth </a:t>
                </a:r>
                <a:r>
                  <a:rPr lang="da-DK" sz="1000" dirty="0" err="1">
                    <a:solidFill>
                      <a:schemeClr val="tx1">
                        <a:lumMod val="75000"/>
                        <a:lumOff val="25000"/>
                      </a:schemeClr>
                    </a:solidFill>
                    <a:latin typeface="Arial" charset="0"/>
                    <a:ea typeface="Arial" charset="0"/>
                    <a:cs typeface="Arial" charset="0"/>
                  </a:rPr>
                  <a:t>towards</a:t>
                </a:r>
                <a:r>
                  <a:rPr lang="da-DK" sz="1000" dirty="0">
                    <a:solidFill>
                      <a:schemeClr val="tx1">
                        <a:lumMod val="75000"/>
                        <a:lumOff val="25000"/>
                      </a:schemeClr>
                    </a:solidFill>
                    <a:latin typeface="Arial" charset="0"/>
                    <a:ea typeface="Arial" charset="0"/>
                    <a:cs typeface="Arial" charset="0"/>
                  </a:rPr>
                  <a:t> ‘20</a:t>
                </a:r>
                <a:endParaRPr lang="da-DK" sz="1000" b="1" dirty="0">
                  <a:solidFill>
                    <a:schemeClr val="tx1">
                      <a:lumMod val="75000"/>
                      <a:lumOff val="25000"/>
                    </a:schemeClr>
                  </a:solidFill>
                  <a:latin typeface="Arial" charset="0"/>
                  <a:ea typeface="Arial" charset="0"/>
                  <a:cs typeface="Arial" charset="0"/>
                </a:endParaRPr>
              </a:p>
            </p:txBody>
          </p:sp>
          <p:cxnSp>
            <p:nvCxnSpPr>
              <p:cNvPr id="106" name="Straight Arrow Connector 97"/>
              <p:cNvCxnSpPr>
                <a:cxnSpLocks/>
              </p:cNvCxnSpPr>
              <p:nvPr/>
            </p:nvCxnSpPr>
            <p:spPr>
              <a:xfrm flipH="1">
                <a:off x="3063875" y="2411413"/>
                <a:ext cx="4052666" cy="0"/>
              </a:xfrm>
              <a:prstGeom prst="straightConnector1">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7"/>
              <p:cNvCxnSpPr>
                <a:cxnSpLocks/>
              </p:cNvCxnSpPr>
              <p:nvPr/>
            </p:nvCxnSpPr>
            <p:spPr>
              <a:xfrm flipH="1">
                <a:off x="266779" y="3530600"/>
                <a:ext cx="6831091" cy="0"/>
              </a:xfrm>
              <a:prstGeom prst="straightConnector1">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67677" y="1924280"/>
                <a:ext cx="7072122" cy="461665"/>
                <a:chOff x="268921" y="5942013"/>
                <a:chExt cx="7072122" cy="461665"/>
              </a:xfrm>
            </p:grpSpPr>
            <p:sp>
              <p:nvSpPr>
                <p:cNvPr id="101" name="TextBox 91"/>
                <p:cNvSpPr txBox="1">
                  <a:spLocks/>
                </p:cNvSpPr>
                <p:nvPr/>
              </p:nvSpPr>
              <p:spPr>
                <a:xfrm>
                  <a:off x="268921" y="5942013"/>
                  <a:ext cx="2633936" cy="461665"/>
                </a:xfrm>
                <a:prstGeom prst="rect">
                  <a:avLst/>
                </a:prstGeom>
                <a:noFill/>
              </p:spPr>
              <p:txBody>
                <a:bodyPr wrap="square" lIns="0" tIns="0" rIns="0" bIns="0" rtlCol="0">
                  <a:spAutoFit/>
                </a:bodyPr>
                <a:lstStyle/>
                <a:p>
                  <a:r>
                    <a:rPr lang="da-DK" sz="1000" b="1" dirty="0">
                      <a:solidFill>
                        <a:schemeClr val="tx1">
                          <a:lumMod val="75000"/>
                          <a:lumOff val="25000"/>
                        </a:schemeClr>
                      </a:solidFill>
                      <a:latin typeface="Arial" charset="0"/>
                      <a:ea typeface="Arial" charset="0"/>
                      <a:cs typeface="Arial" charset="0"/>
                    </a:rPr>
                    <a:t>PRICE SENSITIVITY</a:t>
                  </a:r>
                </a:p>
                <a:p>
                  <a:r>
                    <a:rPr lang="da-DK" sz="1000" dirty="0">
                      <a:solidFill>
                        <a:schemeClr val="tx1">
                          <a:lumMod val="75000"/>
                          <a:lumOff val="25000"/>
                        </a:schemeClr>
                      </a:solidFill>
                      <a:latin typeface="Arial" charset="0"/>
                      <a:ea typeface="Arial" charset="0"/>
                      <a:cs typeface="Arial" charset="0"/>
                    </a:rPr>
                    <a:t>The degree to which price is important to customers</a:t>
                  </a:r>
                </a:p>
              </p:txBody>
            </p:sp>
            <p:sp>
              <p:nvSpPr>
                <p:cNvPr id="102" name="Tekstboks 71"/>
                <p:cNvSpPr txBox="1"/>
                <p:nvPr/>
              </p:nvSpPr>
              <p:spPr>
                <a:xfrm>
                  <a:off x="2763837" y="6083300"/>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No</a:t>
                  </a:r>
                </a:p>
              </p:txBody>
            </p:sp>
            <p:sp>
              <p:nvSpPr>
                <p:cNvPr id="103" name="Tekstboks 72"/>
                <p:cNvSpPr txBox="1"/>
                <p:nvPr/>
              </p:nvSpPr>
              <p:spPr>
                <a:xfrm>
                  <a:off x="6399212" y="6083300"/>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Yes</a:t>
                  </a:r>
                </a:p>
              </p:txBody>
            </p:sp>
            <p:sp>
              <p:nvSpPr>
                <p:cNvPr id="109" name="Tekstboks 71"/>
                <p:cNvSpPr txBox="1"/>
                <p:nvPr/>
              </p:nvSpPr>
              <p:spPr>
                <a:xfrm>
                  <a:off x="4619967" y="5999163"/>
                  <a:ext cx="941831" cy="383646"/>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To some degree</a:t>
                  </a:r>
                </a:p>
              </p:txBody>
            </p:sp>
          </p:grpSp>
        </p:grpSp>
        <p:sp>
          <p:nvSpPr>
            <p:cNvPr id="118" name="Tekstboks 71"/>
            <p:cNvSpPr txBox="1"/>
            <p:nvPr/>
          </p:nvSpPr>
          <p:spPr>
            <a:xfrm>
              <a:off x="2806135" y="3143249"/>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Low</a:t>
              </a:r>
            </a:p>
          </p:txBody>
        </p:sp>
        <p:sp>
          <p:nvSpPr>
            <p:cNvPr id="119" name="Tekstboks 72"/>
            <p:cNvSpPr txBox="1"/>
            <p:nvPr/>
          </p:nvSpPr>
          <p:spPr>
            <a:xfrm>
              <a:off x="6441510" y="3143249"/>
              <a:ext cx="941831" cy="216024"/>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High</a:t>
              </a:r>
            </a:p>
          </p:txBody>
        </p:sp>
        <p:sp>
          <p:nvSpPr>
            <p:cNvPr id="120" name="Tekstboks 71"/>
            <p:cNvSpPr txBox="1"/>
            <p:nvPr/>
          </p:nvSpPr>
          <p:spPr>
            <a:xfrm>
              <a:off x="4662265" y="3059112"/>
              <a:ext cx="941831" cy="383646"/>
            </a:xfrm>
            <a:prstGeom prst="rect">
              <a:avLst/>
            </a:prstGeom>
            <a:noFill/>
          </p:spPr>
          <p:txBody>
            <a:bodyPr wrap="square" lIns="0" tIns="0" rIns="0" bIns="0" rtlCol="0">
              <a:noAutofit/>
            </a:bodyPr>
            <a:lstStyle/>
            <a:p>
              <a:pPr algn="ctr"/>
              <a:r>
                <a:rPr lang="da-DK" sz="1200" dirty="0">
                  <a:solidFill>
                    <a:schemeClr val="tx1">
                      <a:lumMod val="75000"/>
                      <a:lumOff val="25000"/>
                    </a:schemeClr>
                  </a:solidFill>
                  <a:latin typeface="Arial" charset="0"/>
                  <a:ea typeface="Arial" charset="0"/>
                  <a:cs typeface="Arial" charset="0"/>
                </a:rPr>
                <a:t>To some degree</a:t>
              </a:r>
            </a:p>
          </p:txBody>
        </p:sp>
      </p:grpSp>
      <p:sp>
        <p:nvSpPr>
          <p:cNvPr id="8" name="Arc 7"/>
          <p:cNvSpPr/>
          <p:nvPr/>
        </p:nvSpPr>
        <p:spPr>
          <a:xfrm rot="10800000">
            <a:off x="9319712" y="766079"/>
            <a:ext cx="4561801" cy="2413911"/>
          </a:xfrm>
          <a:prstGeom prst="arc">
            <a:avLst>
              <a:gd name="adj1" fmla="val 16200000"/>
              <a:gd name="adj2" fmla="val 21573571"/>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Arc 120"/>
          <p:cNvSpPr/>
          <p:nvPr/>
        </p:nvSpPr>
        <p:spPr>
          <a:xfrm rot="10800000">
            <a:off x="8404277" y="798735"/>
            <a:ext cx="6444000" cy="3157508"/>
          </a:xfrm>
          <a:prstGeom prst="arc">
            <a:avLst>
              <a:gd name="adj1" fmla="val 16200000"/>
              <a:gd name="adj2" fmla="val 21573571"/>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7" name="Oval 146"/>
          <p:cNvSpPr/>
          <p:nvPr/>
        </p:nvSpPr>
        <p:spPr>
          <a:xfrm>
            <a:off x="10231872" y="3620290"/>
            <a:ext cx="831640" cy="83594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charset="0"/>
              <a:ea typeface="Arial" charset="0"/>
              <a:cs typeface="Arial" charset="0"/>
            </a:endParaRPr>
          </a:p>
        </p:txBody>
      </p:sp>
      <p:cxnSp>
        <p:nvCxnSpPr>
          <p:cNvPr id="123" name="Lige forbindelse 122"/>
          <p:cNvCxnSpPr/>
          <p:nvPr/>
        </p:nvCxnSpPr>
        <p:spPr>
          <a:xfrm>
            <a:off x="7996820" y="1686966"/>
            <a:ext cx="1971216"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124" name="Rektangel 123"/>
          <p:cNvSpPr/>
          <p:nvPr/>
        </p:nvSpPr>
        <p:spPr>
          <a:xfrm>
            <a:off x="7996819" y="1289759"/>
            <a:ext cx="4077489" cy="338554"/>
          </a:xfrm>
          <a:prstGeom prst="rect">
            <a:avLst/>
          </a:prstGeom>
        </p:spPr>
        <p:txBody>
          <a:bodyPr wrap="square">
            <a:spAutoFit/>
          </a:bodyPr>
          <a:lstStyle/>
          <a:p>
            <a:r>
              <a:rPr lang="en-US" sz="1600" b="1" dirty="0">
                <a:solidFill>
                  <a:schemeClr val="tx1">
                    <a:lumMod val="75000"/>
                    <a:lumOff val="25000"/>
                  </a:schemeClr>
                </a:solidFill>
                <a:latin typeface="Arial" charset="0"/>
                <a:ea typeface="Arial" charset="0"/>
                <a:cs typeface="Arial" charset="0"/>
              </a:rPr>
              <a:t>Sub-headline</a:t>
            </a:r>
          </a:p>
        </p:txBody>
      </p:sp>
      <p:cxnSp>
        <p:nvCxnSpPr>
          <p:cNvPr id="125" name="Lige forbindelse 124"/>
          <p:cNvCxnSpPr/>
          <p:nvPr/>
        </p:nvCxnSpPr>
        <p:spPr>
          <a:xfrm>
            <a:off x="7593189" y="1327724"/>
            <a:ext cx="0" cy="4742118"/>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126" name="Pladsholder til tekst 3"/>
          <p:cNvSpPr>
            <a:spLocks noGrp="1"/>
          </p:cNvSpPr>
          <p:nvPr>
            <p:ph type="body" sz="quarter" idx="13"/>
          </p:nvPr>
        </p:nvSpPr>
        <p:spPr>
          <a:xfrm>
            <a:off x="620911" y="6510692"/>
            <a:ext cx="10948800" cy="180595"/>
          </a:xfrm>
        </p:spPr>
        <p:txBody>
          <a:bodyPr/>
          <a:lstStyle/>
          <a:p>
            <a:endParaRPr lang="en-US"/>
          </a:p>
        </p:txBody>
      </p:sp>
      <p:sp>
        <p:nvSpPr>
          <p:cNvPr id="149" name="Pladsholder til tekst 4"/>
          <p:cNvSpPr>
            <a:spLocks noGrp="1"/>
          </p:cNvSpPr>
          <p:nvPr>
            <p:ph type="body" sz="quarter" idx="15"/>
          </p:nvPr>
        </p:nvSpPr>
        <p:spPr>
          <a:xfrm>
            <a:off x="620911" y="6323027"/>
            <a:ext cx="10948800" cy="180595"/>
          </a:xfrm>
        </p:spPr>
        <p:txBody>
          <a:bodyPr/>
          <a:lstStyle/>
          <a:p>
            <a:endParaRPr lang="en-US"/>
          </a:p>
        </p:txBody>
      </p:sp>
    </p:spTree>
    <p:extLst>
      <p:ext uri="{BB962C8B-B14F-4D97-AF65-F5344CB8AC3E}">
        <p14:creationId xmlns:p14="http://schemas.microsoft.com/office/powerpoint/2010/main" val="1315129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p:cNvSpPr>
            <a:spLocks noGrp="1"/>
          </p:cNvSpPr>
          <p:nvPr>
            <p:ph type="body" sz="quarter" idx="13"/>
          </p:nvPr>
        </p:nvSpPr>
        <p:spPr/>
        <p:txBody>
          <a:bodyPr/>
          <a:lstStyle/>
          <a:p>
            <a:endParaRPr lang="en-US"/>
          </a:p>
        </p:txBody>
      </p:sp>
      <p:sp>
        <p:nvSpPr>
          <p:cNvPr id="5" name="Pladsholder til tekst 4"/>
          <p:cNvSpPr>
            <a:spLocks noGrp="1"/>
          </p:cNvSpPr>
          <p:nvPr>
            <p:ph type="body" sz="quarter" idx="15"/>
          </p:nvPr>
        </p:nvSpPr>
        <p:spPr/>
        <p:txBody>
          <a:bodyPr/>
          <a:lstStyle/>
          <a:p>
            <a:endParaRPr lang="en-US"/>
          </a:p>
        </p:txBody>
      </p:sp>
      <p:sp>
        <p:nvSpPr>
          <p:cNvPr id="2" name="Title 1"/>
          <p:cNvSpPr>
            <a:spLocks noGrp="1"/>
          </p:cNvSpPr>
          <p:nvPr>
            <p:ph type="title"/>
          </p:nvPr>
        </p:nvSpPr>
        <p:spPr>
          <a:xfrm>
            <a:off x="527050" y="127212"/>
            <a:ext cx="9314374" cy="925103"/>
          </a:xfrm>
          <a:prstGeom prst="rect">
            <a:avLst/>
          </a:prstGeom>
        </p:spPr>
        <p:txBody>
          <a:bodyPr/>
          <a:lstStyle/>
          <a:p>
            <a:r>
              <a:rPr lang="en-GB" dirty="0"/>
              <a:t>Where to play</a:t>
            </a:r>
          </a:p>
        </p:txBody>
      </p:sp>
      <p:grpSp>
        <p:nvGrpSpPr>
          <p:cNvPr id="6" name="World (I)"/>
          <p:cNvGrpSpPr>
            <a:grpSpLocks noChangeAspect="1"/>
          </p:cNvGrpSpPr>
          <p:nvPr/>
        </p:nvGrpSpPr>
        <p:grpSpPr>
          <a:xfrm>
            <a:off x="-621943" y="2110704"/>
            <a:ext cx="8090067" cy="3484800"/>
            <a:chOff x="273050" y="1541463"/>
            <a:chExt cx="11657012" cy="5021263"/>
          </a:xfrm>
          <a:solidFill>
            <a:schemeClr val="bg1">
              <a:lumMod val="85000"/>
            </a:schemeClr>
          </a:solidFill>
        </p:grpSpPr>
        <p:sp>
          <p:nvSpPr>
            <p:cNvPr id="7" name="Afghanistan"/>
            <p:cNvSpPr>
              <a:spLocks/>
            </p:cNvSpPr>
            <p:nvPr/>
          </p:nvSpPr>
          <p:spPr bwMode="auto">
            <a:xfrm>
              <a:off x="7912100" y="3028951"/>
              <a:ext cx="428625" cy="347663"/>
            </a:xfrm>
            <a:custGeom>
              <a:avLst/>
              <a:gdLst>
                <a:gd name="T0" fmla="*/ 245 w 270"/>
                <a:gd name="T1" fmla="*/ 26 h 219"/>
                <a:gd name="T2" fmla="*/ 221 w 270"/>
                <a:gd name="T3" fmla="*/ 35 h 219"/>
                <a:gd name="T4" fmla="*/ 207 w 270"/>
                <a:gd name="T5" fmla="*/ 42 h 219"/>
                <a:gd name="T6" fmla="*/ 194 w 270"/>
                <a:gd name="T7" fmla="*/ 14 h 219"/>
                <a:gd name="T8" fmla="*/ 189 w 270"/>
                <a:gd name="T9" fmla="*/ 6 h 219"/>
                <a:gd name="T10" fmla="*/ 170 w 270"/>
                <a:gd name="T11" fmla="*/ 9 h 219"/>
                <a:gd name="T12" fmla="*/ 168 w 270"/>
                <a:gd name="T13" fmla="*/ 22 h 219"/>
                <a:gd name="T14" fmla="*/ 153 w 270"/>
                <a:gd name="T15" fmla="*/ 32 h 219"/>
                <a:gd name="T16" fmla="*/ 133 w 270"/>
                <a:gd name="T17" fmla="*/ 36 h 219"/>
                <a:gd name="T18" fmla="*/ 110 w 270"/>
                <a:gd name="T19" fmla="*/ 27 h 219"/>
                <a:gd name="T20" fmla="*/ 93 w 270"/>
                <a:gd name="T21" fmla="*/ 27 h 219"/>
                <a:gd name="T22" fmla="*/ 81 w 270"/>
                <a:gd name="T23" fmla="*/ 28 h 219"/>
                <a:gd name="T24" fmla="*/ 66 w 270"/>
                <a:gd name="T25" fmla="*/ 53 h 219"/>
                <a:gd name="T26" fmla="*/ 42 w 270"/>
                <a:gd name="T27" fmla="*/ 64 h 219"/>
                <a:gd name="T28" fmla="*/ 26 w 270"/>
                <a:gd name="T29" fmla="*/ 78 h 219"/>
                <a:gd name="T30" fmla="*/ 2 w 270"/>
                <a:gd name="T31" fmla="*/ 98 h 219"/>
                <a:gd name="T32" fmla="*/ 9 w 270"/>
                <a:gd name="T33" fmla="*/ 120 h 219"/>
                <a:gd name="T34" fmla="*/ 14 w 270"/>
                <a:gd name="T35" fmla="*/ 152 h 219"/>
                <a:gd name="T36" fmla="*/ 34 w 270"/>
                <a:gd name="T37" fmla="*/ 170 h 219"/>
                <a:gd name="T38" fmla="*/ 23 w 270"/>
                <a:gd name="T39" fmla="*/ 208 h 219"/>
                <a:gd name="T40" fmla="*/ 79 w 270"/>
                <a:gd name="T41" fmla="*/ 216 h 219"/>
                <a:gd name="T42" fmla="*/ 95 w 270"/>
                <a:gd name="T43" fmla="*/ 213 h 219"/>
                <a:gd name="T44" fmla="*/ 133 w 270"/>
                <a:gd name="T45" fmla="*/ 206 h 219"/>
                <a:gd name="T46" fmla="*/ 139 w 270"/>
                <a:gd name="T47" fmla="*/ 172 h 219"/>
                <a:gd name="T48" fmla="*/ 155 w 270"/>
                <a:gd name="T49" fmla="*/ 166 h 219"/>
                <a:gd name="T50" fmla="*/ 177 w 270"/>
                <a:gd name="T51" fmla="*/ 165 h 219"/>
                <a:gd name="T52" fmla="*/ 180 w 270"/>
                <a:gd name="T53" fmla="*/ 144 h 219"/>
                <a:gd name="T54" fmla="*/ 197 w 270"/>
                <a:gd name="T55" fmla="*/ 124 h 219"/>
                <a:gd name="T56" fmla="*/ 204 w 270"/>
                <a:gd name="T57" fmla="*/ 109 h 219"/>
                <a:gd name="T58" fmla="*/ 205 w 270"/>
                <a:gd name="T59" fmla="*/ 91 h 219"/>
                <a:gd name="T60" fmla="*/ 207 w 270"/>
                <a:gd name="T61" fmla="*/ 69 h 219"/>
                <a:gd name="T62" fmla="*/ 209 w 270"/>
                <a:gd name="T63" fmla="*/ 48 h 219"/>
                <a:gd name="T64" fmla="*/ 250 w 270"/>
                <a:gd name="T65" fmla="*/ 40 h 219"/>
                <a:gd name="T66" fmla="*/ 270 w 270"/>
                <a:gd name="T67" fmla="*/ 33 h 219"/>
                <a:gd name="T68" fmla="*/ 265 w 270"/>
                <a:gd name="T69" fmla="*/ 2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219">
                  <a:moveTo>
                    <a:pt x="265" y="26"/>
                  </a:moveTo>
                  <a:lnTo>
                    <a:pt x="245" y="26"/>
                  </a:lnTo>
                  <a:lnTo>
                    <a:pt x="231" y="24"/>
                  </a:lnTo>
                  <a:lnTo>
                    <a:pt x="221" y="35"/>
                  </a:lnTo>
                  <a:lnTo>
                    <a:pt x="213" y="38"/>
                  </a:lnTo>
                  <a:lnTo>
                    <a:pt x="207" y="42"/>
                  </a:lnTo>
                  <a:lnTo>
                    <a:pt x="198" y="34"/>
                  </a:lnTo>
                  <a:lnTo>
                    <a:pt x="194" y="14"/>
                  </a:lnTo>
                  <a:lnTo>
                    <a:pt x="189" y="13"/>
                  </a:lnTo>
                  <a:lnTo>
                    <a:pt x="189" y="6"/>
                  </a:lnTo>
                  <a:lnTo>
                    <a:pt x="176" y="0"/>
                  </a:lnTo>
                  <a:lnTo>
                    <a:pt x="170" y="9"/>
                  </a:lnTo>
                  <a:lnTo>
                    <a:pt x="171" y="18"/>
                  </a:lnTo>
                  <a:lnTo>
                    <a:pt x="168" y="22"/>
                  </a:lnTo>
                  <a:lnTo>
                    <a:pt x="157" y="21"/>
                  </a:lnTo>
                  <a:lnTo>
                    <a:pt x="153" y="32"/>
                  </a:lnTo>
                  <a:lnTo>
                    <a:pt x="146" y="27"/>
                  </a:lnTo>
                  <a:lnTo>
                    <a:pt x="133" y="36"/>
                  </a:lnTo>
                  <a:lnTo>
                    <a:pt x="126" y="32"/>
                  </a:lnTo>
                  <a:lnTo>
                    <a:pt x="110" y="27"/>
                  </a:lnTo>
                  <a:lnTo>
                    <a:pt x="99" y="27"/>
                  </a:lnTo>
                  <a:lnTo>
                    <a:pt x="93" y="27"/>
                  </a:lnTo>
                  <a:lnTo>
                    <a:pt x="82" y="20"/>
                  </a:lnTo>
                  <a:lnTo>
                    <a:pt x="81" y="28"/>
                  </a:lnTo>
                  <a:lnTo>
                    <a:pt x="66" y="33"/>
                  </a:lnTo>
                  <a:lnTo>
                    <a:pt x="66" y="53"/>
                  </a:lnTo>
                  <a:lnTo>
                    <a:pt x="57" y="60"/>
                  </a:lnTo>
                  <a:lnTo>
                    <a:pt x="42" y="64"/>
                  </a:lnTo>
                  <a:lnTo>
                    <a:pt x="41" y="75"/>
                  </a:lnTo>
                  <a:lnTo>
                    <a:pt x="26" y="78"/>
                  </a:lnTo>
                  <a:lnTo>
                    <a:pt x="4" y="69"/>
                  </a:lnTo>
                  <a:lnTo>
                    <a:pt x="2" y="98"/>
                  </a:lnTo>
                  <a:lnTo>
                    <a:pt x="0" y="116"/>
                  </a:lnTo>
                  <a:lnTo>
                    <a:pt x="9" y="120"/>
                  </a:lnTo>
                  <a:lnTo>
                    <a:pt x="4" y="133"/>
                  </a:lnTo>
                  <a:lnTo>
                    <a:pt x="14" y="152"/>
                  </a:lnTo>
                  <a:lnTo>
                    <a:pt x="18" y="167"/>
                  </a:lnTo>
                  <a:lnTo>
                    <a:pt x="34" y="170"/>
                  </a:lnTo>
                  <a:lnTo>
                    <a:pt x="38" y="185"/>
                  </a:lnTo>
                  <a:lnTo>
                    <a:pt x="23" y="208"/>
                  </a:lnTo>
                  <a:lnTo>
                    <a:pt x="60" y="219"/>
                  </a:lnTo>
                  <a:lnTo>
                    <a:pt x="79" y="216"/>
                  </a:lnTo>
                  <a:lnTo>
                    <a:pt x="91" y="219"/>
                  </a:lnTo>
                  <a:lnTo>
                    <a:pt x="95" y="213"/>
                  </a:lnTo>
                  <a:lnTo>
                    <a:pt x="109" y="215"/>
                  </a:lnTo>
                  <a:lnTo>
                    <a:pt x="133" y="206"/>
                  </a:lnTo>
                  <a:lnTo>
                    <a:pt x="131" y="185"/>
                  </a:lnTo>
                  <a:lnTo>
                    <a:pt x="139" y="172"/>
                  </a:lnTo>
                  <a:lnTo>
                    <a:pt x="154" y="172"/>
                  </a:lnTo>
                  <a:lnTo>
                    <a:pt x="155" y="166"/>
                  </a:lnTo>
                  <a:lnTo>
                    <a:pt x="170" y="163"/>
                  </a:lnTo>
                  <a:lnTo>
                    <a:pt x="177" y="165"/>
                  </a:lnTo>
                  <a:lnTo>
                    <a:pt x="184" y="158"/>
                  </a:lnTo>
                  <a:lnTo>
                    <a:pt x="180" y="144"/>
                  </a:lnTo>
                  <a:lnTo>
                    <a:pt x="186" y="129"/>
                  </a:lnTo>
                  <a:lnTo>
                    <a:pt x="197" y="124"/>
                  </a:lnTo>
                  <a:lnTo>
                    <a:pt x="186" y="108"/>
                  </a:lnTo>
                  <a:lnTo>
                    <a:pt x="204" y="109"/>
                  </a:lnTo>
                  <a:lnTo>
                    <a:pt x="208" y="100"/>
                  </a:lnTo>
                  <a:lnTo>
                    <a:pt x="205" y="91"/>
                  </a:lnTo>
                  <a:lnTo>
                    <a:pt x="213" y="81"/>
                  </a:lnTo>
                  <a:lnTo>
                    <a:pt x="207" y="69"/>
                  </a:lnTo>
                  <a:lnTo>
                    <a:pt x="200" y="58"/>
                  </a:lnTo>
                  <a:lnTo>
                    <a:pt x="209" y="48"/>
                  </a:lnTo>
                  <a:lnTo>
                    <a:pt x="229" y="43"/>
                  </a:lnTo>
                  <a:lnTo>
                    <a:pt x="250" y="40"/>
                  </a:lnTo>
                  <a:lnTo>
                    <a:pt x="259" y="36"/>
                  </a:lnTo>
                  <a:lnTo>
                    <a:pt x="270" y="33"/>
                  </a:lnTo>
                  <a:lnTo>
                    <a:pt x="265" y="26"/>
                  </a:lnTo>
                  <a:lnTo>
                    <a:pt x="265" y="2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Angola"/>
            <p:cNvSpPr>
              <a:spLocks noEditPoints="1"/>
            </p:cNvSpPr>
            <p:nvPr/>
          </p:nvSpPr>
          <p:spPr bwMode="auto">
            <a:xfrm>
              <a:off x="6383337" y="4651376"/>
              <a:ext cx="414337" cy="508000"/>
            </a:xfrm>
            <a:custGeom>
              <a:avLst/>
              <a:gdLst>
                <a:gd name="T0" fmla="*/ 40 w 261"/>
                <a:gd name="T1" fmla="*/ 33 h 320"/>
                <a:gd name="T2" fmla="*/ 26 w 261"/>
                <a:gd name="T3" fmla="*/ 35 h 320"/>
                <a:gd name="T4" fmla="*/ 15 w 261"/>
                <a:gd name="T5" fmla="*/ 44 h 320"/>
                <a:gd name="T6" fmla="*/ 30 w 261"/>
                <a:gd name="T7" fmla="*/ 75 h 320"/>
                <a:gd name="T8" fmla="*/ 29 w 261"/>
                <a:gd name="T9" fmla="*/ 107 h 320"/>
                <a:gd name="T10" fmla="*/ 33 w 261"/>
                <a:gd name="T11" fmla="*/ 126 h 320"/>
                <a:gd name="T12" fmla="*/ 45 w 261"/>
                <a:gd name="T13" fmla="*/ 149 h 320"/>
                <a:gd name="T14" fmla="*/ 43 w 261"/>
                <a:gd name="T15" fmla="*/ 180 h 320"/>
                <a:gd name="T16" fmla="*/ 25 w 261"/>
                <a:gd name="T17" fmla="*/ 206 h 320"/>
                <a:gd name="T18" fmla="*/ 12 w 261"/>
                <a:gd name="T19" fmla="*/ 237 h 320"/>
                <a:gd name="T20" fmla="*/ 4 w 261"/>
                <a:gd name="T21" fmla="*/ 270 h 320"/>
                <a:gd name="T22" fmla="*/ 2 w 261"/>
                <a:gd name="T23" fmla="*/ 305 h 320"/>
                <a:gd name="T24" fmla="*/ 25 w 261"/>
                <a:gd name="T25" fmla="*/ 297 h 320"/>
                <a:gd name="T26" fmla="*/ 50 w 261"/>
                <a:gd name="T27" fmla="*/ 308 h 320"/>
                <a:gd name="T28" fmla="*/ 138 w 261"/>
                <a:gd name="T29" fmla="*/ 305 h 320"/>
                <a:gd name="T30" fmla="*/ 201 w 261"/>
                <a:gd name="T31" fmla="*/ 320 h 320"/>
                <a:gd name="T32" fmla="*/ 227 w 261"/>
                <a:gd name="T33" fmla="*/ 296 h 320"/>
                <a:gd name="T34" fmla="*/ 216 w 261"/>
                <a:gd name="T35" fmla="*/ 201 h 320"/>
                <a:gd name="T36" fmla="*/ 258 w 261"/>
                <a:gd name="T37" fmla="*/ 192 h 320"/>
                <a:gd name="T38" fmla="*/ 258 w 261"/>
                <a:gd name="T39" fmla="*/ 173 h 320"/>
                <a:gd name="T40" fmla="*/ 259 w 261"/>
                <a:gd name="T41" fmla="*/ 154 h 320"/>
                <a:gd name="T42" fmla="*/ 236 w 261"/>
                <a:gd name="T43" fmla="*/ 156 h 320"/>
                <a:gd name="T44" fmla="*/ 222 w 261"/>
                <a:gd name="T45" fmla="*/ 158 h 320"/>
                <a:gd name="T46" fmla="*/ 216 w 261"/>
                <a:gd name="T47" fmla="*/ 120 h 320"/>
                <a:gd name="T48" fmla="*/ 219 w 261"/>
                <a:gd name="T49" fmla="*/ 91 h 320"/>
                <a:gd name="T50" fmla="*/ 214 w 261"/>
                <a:gd name="T51" fmla="*/ 67 h 320"/>
                <a:gd name="T52" fmla="*/ 191 w 261"/>
                <a:gd name="T53" fmla="*/ 59 h 320"/>
                <a:gd name="T54" fmla="*/ 179 w 261"/>
                <a:gd name="T55" fmla="*/ 63 h 320"/>
                <a:gd name="T56" fmla="*/ 160 w 261"/>
                <a:gd name="T57" fmla="*/ 78 h 320"/>
                <a:gd name="T58" fmla="*/ 146 w 261"/>
                <a:gd name="T59" fmla="*/ 80 h 320"/>
                <a:gd name="T60" fmla="*/ 124 w 261"/>
                <a:gd name="T61" fmla="*/ 86 h 320"/>
                <a:gd name="T62" fmla="*/ 112 w 261"/>
                <a:gd name="T63" fmla="*/ 65 h 320"/>
                <a:gd name="T64" fmla="*/ 101 w 261"/>
                <a:gd name="T65" fmla="*/ 33 h 320"/>
                <a:gd name="T66" fmla="*/ 20 w 261"/>
                <a:gd name="T67" fmla="*/ 29 h 320"/>
                <a:gd name="T68" fmla="*/ 24 w 261"/>
                <a:gd name="T69" fmla="*/ 13 h 320"/>
                <a:gd name="T70" fmla="*/ 24 w 261"/>
                <a:gd name="T71" fmla="*/ 0 h 320"/>
                <a:gd name="T72" fmla="*/ 9 w 261"/>
                <a:gd name="T73" fmla="*/ 14 h 320"/>
                <a:gd name="T74" fmla="*/ 20 w 261"/>
                <a:gd name="T75" fmla="*/ 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320">
                  <a:moveTo>
                    <a:pt x="101" y="33"/>
                  </a:moveTo>
                  <a:lnTo>
                    <a:pt x="40" y="33"/>
                  </a:lnTo>
                  <a:lnTo>
                    <a:pt x="32" y="36"/>
                  </a:lnTo>
                  <a:lnTo>
                    <a:pt x="26" y="35"/>
                  </a:lnTo>
                  <a:lnTo>
                    <a:pt x="17" y="39"/>
                  </a:lnTo>
                  <a:lnTo>
                    <a:pt x="15" y="44"/>
                  </a:lnTo>
                  <a:lnTo>
                    <a:pt x="26" y="59"/>
                  </a:lnTo>
                  <a:lnTo>
                    <a:pt x="30" y="75"/>
                  </a:lnTo>
                  <a:lnTo>
                    <a:pt x="36" y="97"/>
                  </a:lnTo>
                  <a:lnTo>
                    <a:pt x="29" y="107"/>
                  </a:lnTo>
                  <a:lnTo>
                    <a:pt x="28" y="112"/>
                  </a:lnTo>
                  <a:lnTo>
                    <a:pt x="33" y="126"/>
                  </a:lnTo>
                  <a:lnTo>
                    <a:pt x="39" y="141"/>
                  </a:lnTo>
                  <a:lnTo>
                    <a:pt x="45" y="149"/>
                  </a:lnTo>
                  <a:lnTo>
                    <a:pt x="46" y="162"/>
                  </a:lnTo>
                  <a:lnTo>
                    <a:pt x="43" y="180"/>
                  </a:lnTo>
                  <a:lnTo>
                    <a:pt x="37" y="190"/>
                  </a:lnTo>
                  <a:lnTo>
                    <a:pt x="25" y="206"/>
                  </a:lnTo>
                  <a:lnTo>
                    <a:pt x="20" y="216"/>
                  </a:lnTo>
                  <a:lnTo>
                    <a:pt x="12" y="237"/>
                  </a:lnTo>
                  <a:lnTo>
                    <a:pt x="12" y="247"/>
                  </a:lnTo>
                  <a:lnTo>
                    <a:pt x="4" y="270"/>
                  </a:lnTo>
                  <a:lnTo>
                    <a:pt x="0" y="290"/>
                  </a:lnTo>
                  <a:lnTo>
                    <a:pt x="2" y="305"/>
                  </a:lnTo>
                  <a:lnTo>
                    <a:pt x="12" y="300"/>
                  </a:lnTo>
                  <a:lnTo>
                    <a:pt x="25" y="297"/>
                  </a:lnTo>
                  <a:lnTo>
                    <a:pt x="39" y="297"/>
                  </a:lnTo>
                  <a:lnTo>
                    <a:pt x="50" y="308"/>
                  </a:lnTo>
                  <a:lnTo>
                    <a:pt x="54" y="306"/>
                  </a:lnTo>
                  <a:lnTo>
                    <a:pt x="138" y="305"/>
                  </a:lnTo>
                  <a:lnTo>
                    <a:pt x="152" y="316"/>
                  </a:lnTo>
                  <a:lnTo>
                    <a:pt x="201" y="320"/>
                  </a:lnTo>
                  <a:lnTo>
                    <a:pt x="240" y="311"/>
                  </a:lnTo>
                  <a:lnTo>
                    <a:pt x="227" y="296"/>
                  </a:lnTo>
                  <a:lnTo>
                    <a:pt x="213" y="276"/>
                  </a:lnTo>
                  <a:lnTo>
                    <a:pt x="216" y="201"/>
                  </a:lnTo>
                  <a:lnTo>
                    <a:pt x="260" y="201"/>
                  </a:lnTo>
                  <a:lnTo>
                    <a:pt x="258" y="192"/>
                  </a:lnTo>
                  <a:lnTo>
                    <a:pt x="261" y="184"/>
                  </a:lnTo>
                  <a:lnTo>
                    <a:pt x="258" y="173"/>
                  </a:lnTo>
                  <a:lnTo>
                    <a:pt x="261" y="161"/>
                  </a:lnTo>
                  <a:lnTo>
                    <a:pt x="259" y="154"/>
                  </a:lnTo>
                  <a:lnTo>
                    <a:pt x="249" y="152"/>
                  </a:lnTo>
                  <a:lnTo>
                    <a:pt x="236" y="156"/>
                  </a:lnTo>
                  <a:lnTo>
                    <a:pt x="227" y="155"/>
                  </a:lnTo>
                  <a:lnTo>
                    <a:pt x="222" y="158"/>
                  </a:lnTo>
                  <a:lnTo>
                    <a:pt x="223" y="129"/>
                  </a:lnTo>
                  <a:lnTo>
                    <a:pt x="216" y="120"/>
                  </a:lnTo>
                  <a:lnTo>
                    <a:pt x="215" y="105"/>
                  </a:lnTo>
                  <a:lnTo>
                    <a:pt x="219" y="91"/>
                  </a:lnTo>
                  <a:lnTo>
                    <a:pt x="214" y="82"/>
                  </a:lnTo>
                  <a:lnTo>
                    <a:pt x="214" y="67"/>
                  </a:lnTo>
                  <a:lnTo>
                    <a:pt x="189" y="67"/>
                  </a:lnTo>
                  <a:lnTo>
                    <a:pt x="191" y="59"/>
                  </a:lnTo>
                  <a:lnTo>
                    <a:pt x="180" y="59"/>
                  </a:lnTo>
                  <a:lnTo>
                    <a:pt x="179" y="63"/>
                  </a:lnTo>
                  <a:lnTo>
                    <a:pt x="166" y="64"/>
                  </a:lnTo>
                  <a:lnTo>
                    <a:pt x="160" y="78"/>
                  </a:lnTo>
                  <a:lnTo>
                    <a:pt x="157" y="84"/>
                  </a:lnTo>
                  <a:lnTo>
                    <a:pt x="146" y="80"/>
                  </a:lnTo>
                  <a:lnTo>
                    <a:pt x="139" y="84"/>
                  </a:lnTo>
                  <a:lnTo>
                    <a:pt x="124" y="86"/>
                  </a:lnTo>
                  <a:lnTo>
                    <a:pt x="117" y="74"/>
                  </a:lnTo>
                  <a:lnTo>
                    <a:pt x="112" y="65"/>
                  </a:lnTo>
                  <a:lnTo>
                    <a:pt x="106" y="51"/>
                  </a:lnTo>
                  <a:lnTo>
                    <a:pt x="101" y="33"/>
                  </a:lnTo>
                  <a:lnTo>
                    <a:pt x="101" y="33"/>
                  </a:lnTo>
                  <a:close/>
                  <a:moveTo>
                    <a:pt x="20" y="29"/>
                  </a:moveTo>
                  <a:lnTo>
                    <a:pt x="21" y="18"/>
                  </a:lnTo>
                  <a:lnTo>
                    <a:pt x="24" y="13"/>
                  </a:lnTo>
                  <a:lnTo>
                    <a:pt x="31" y="7"/>
                  </a:lnTo>
                  <a:lnTo>
                    <a:pt x="24" y="0"/>
                  </a:lnTo>
                  <a:lnTo>
                    <a:pt x="17" y="4"/>
                  </a:lnTo>
                  <a:lnTo>
                    <a:pt x="9" y="14"/>
                  </a:lnTo>
                  <a:lnTo>
                    <a:pt x="14" y="32"/>
                  </a:lnTo>
                  <a:lnTo>
                    <a:pt x="20" y="29"/>
                  </a:lnTo>
                  <a:lnTo>
                    <a:pt x="20" y="2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Albania"/>
            <p:cNvSpPr>
              <a:spLocks/>
            </p:cNvSpPr>
            <p:nvPr/>
          </p:nvSpPr>
          <p:spPr bwMode="auto">
            <a:xfrm>
              <a:off x="6586537" y="2871788"/>
              <a:ext cx="57150" cy="112713"/>
            </a:xfrm>
            <a:custGeom>
              <a:avLst/>
              <a:gdLst>
                <a:gd name="T0" fmla="*/ 8 w 36"/>
                <a:gd name="T1" fmla="*/ 0 h 71"/>
                <a:gd name="T2" fmla="*/ 0 w 36"/>
                <a:gd name="T3" fmla="*/ 12 h 71"/>
                <a:gd name="T4" fmla="*/ 2 w 36"/>
                <a:gd name="T5" fmla="*/ 19 h 71"/>
                <a:gd name="T6" fmla="*/ 2 w 36"/>
                <a:gd name="T7" fmla="*/ 19 h 71"/>
                <a:gd name="T8" fmla="*/ 6 w 36"/>
                <a:gd name="T9" fmla="*/ 23 h 71"/>
                <a:gd name="T10" fmla="*/ 4 w 36"/>
                <a:gd name="T11" fmla="*/ 30 h 71"/>
                <a:gd name="T12" fmla="*/ 4 w 36"/>
                <a:gd name="T13" fmla="*/ 46 h 71"/>
                <a:gd name="T14" fmla="*/ 6 w 36"/>
                <a:gd name="T15" fmla="*/ 57 h 71"/>
                <a:gd name="T16" fmla="*/ 17 w 36"/>
                <a:gd name="T17" fmla="*/ 65 h 71"/>
                <a:gd name="T18" fmla="*/ 18 w 36"/>
                <a:gd name="T19" fmla="*/ 70 h 71"/>
                <a:gd name="T20" fmla="*/ 22 w 36"/>
                <a:gd name="T21" fmla="*/ 71 h 71"/>
                <a:gd name="T22" fmla="*/ 30 w 36"/>
                <a:gd name="T23" fmla="*/ 60 h 71"/>
                <a:gd name="T24" fmla="*/ 30 w 36"/>
                <a:gd name="T25" fmla="*/ 53 h 71"/>
                <a:gd name="T26" fmla="*/ 36 w 36"/>
                <a:gd name="T27" fmla="*/ 49 h 71"/>
                <a:gd name="T28" fmla="*/ 36 w 36"/>
                <a:gd name="T29" fmla="*/ 43 h 71"/>
                <a:gd name="T30" fmla="*/ 27 w 36"/>
                <a:gd name="T31" fmla="*/ 38 h 71"/>
                <a:gd name="T32" fmla="*/ 25 w 36"/>
                <a:gd name="T33" fmla="*/ 27 h 71"/>
                <a:gd name="T34" fmla="*/ 25 w 36"/>
                <a:gd name="T35" fmla="*/ 20 h 71"/>
                <a:gd name="T36" fmla="*/ 25 w 36"/>
                <a:gd name="T37" fmla="*/ 20 h 71"/>
                <a:gd name="T38" fmla="*/ 24 w 36"/>
                <a:gd name="T39" fmla="*/ 12 h 71"/>
                <a:gd name="T40" fmla="*/ 19 w 36"/>
                <a:gd name="T41" fmla="*/ 9 h 71"/>
                <a:gd name="T42" fmla="*/ 14 w 36"/>
                <a:gd name="T43" fmla="*/ 3 h 71"/>
                <a:gd name="T44" fmla="*/ 10 w 36"/>
                <a:gd name="T45" fmla="*/ 5 h 71"/>
                <a:gd name="T46" fmla="*/ 8 w 36"/>
                <a:gd name="T47" fmla="*/ 0 h 71"/>
                <a:gd name="T48" fmla="*/ 8 w 36"/>
                <a:gd name="T4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1">
                  <a:moveTo>
                    <a:pt x="8" y="0"/>
                  </a:moveTo>
                  <a:lnTo>
                    <a:pt x="0" y="12"/>
                  </a:lnTo>
                  <a:lnTo>
                    <a:pt x="2" y="19"/>
                  </a:lnTo>
                  <a:lnTo>
                    <a:pt x="2" y="19"/>
                  </a:lnTo>
                  <a:lnTo>
                    <a:pt x="6" y="23"/>
                  </a:lnTo>
                  <a:lnTo>
                    <a:pt x="4" y="30"/>
                  </a:lnTo>
                  <a:lnTo>
                    <a:pt x="4" y="46"/>
                  </a:lnTo>
                  <a:lnTo>
                    <a:pt x="6" y="57"/>
                  </a:lnTo>
                  <a:lnTo>
                    <a:pt x="17" y="65"/>
                  </a:lnTo>
                  <a:lnTo>
                    <a:pt x="18" y="70"/>
                  </a:lnTo>
                  <a:lnTo>
                    <a:pt x="22" y="71"/>
                  </a:lnTo>
                  <a:lnTo>
                    <a:pt x="30" y="60"/>
                  </a:lnTo>
                  <a:lnTo>
                    <a:pt x="30" y="53"/>
                  </a:lnTo>
                  <a:lnTo>
                    <a:pt x="36" y="49"/>
                  </a:lnTo>
                  <a:lnTo>
                    <a:pt x="36" y="43"/>
                  </a:lnTo>
                  <a:lnTo>
                    <a:pt x="27" y="38"/>
                  </a:lnTo>
                  <a:lnTo>
                    <a:pt x="25" y="27"/>
                  </a:lnTo>
                  <a:lnTo>
                    <a:pt x="25" y="20"/>
                  </a:lnTo>
                  <a:lnTo>
                    <a:pt x="25" y="20"/>
                  </a:lnTo>
                  <a:lnTo>
                    <a:pt x="24" y="12"/>
                  </a:lnTo>
                  <a:lnTo>
                    <a:pt x="19" y="9"/>
                  </a:lnTo>
                  <a:lnTo>
                    <a:pt x="14" y="3"/>
                  </a:lnTo>
                  <a:lnTo>
                    <a:pt x="10" y="5"/>
                  </a:lnTo>
                  <a:lnTo>
                    <a:pt x="8" y="0"/>
                  </a:lnTo>
                  <a:lnTo>
                    <a:pt x="8"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United Arab Emirates"/>
            <p:cNvSpPr>
              <a:spLocks/>
            </p:cNvSpPr>
            <p:nvPr/>
          </p:nvSpPr>
          <p:spPr bwMode="auto">
            <a:xfrm>
              <a:off x="7675562" y="3500438"/>
              <a:ext cx="155575" cy="133350"/>
            </a:xfrm>
            <a:custGeom>
              <a:avLst/>
              <a:gdLst>
                <a:gd name="T0" fmla="*/ 93 w 98"/>
                <a:gd name="T1" fmla="*/ 8 h 84"/>
                <a:gd name="T2" fmla="*/ 87 w 98"/>
                <a:gd name="T3" fmla="*/ 0 h 84"/>
                <a:gd name="T4" fmla="*/ 76 w 98"/>
                <a:gd name="T5" fmla="*/ 14 h 84"/>
                <a:gd name="T6" fmla="*/ 63 w 98"/>
                <a:gd name="T7" fmla="*/ 30 h 84"/>
                <a:gd name="T8" fmla="*/ 50 w 98"/>
                <a:gd name="T9" fmla="*/ 46 h 84"/>
                <a:gd name="T10" fmla="*/ 38 w 98"/>
                <a:gd name="T11" fmla="*/ 45 h 84"/>
                <a:gd name="T12" fmla="*/ 21 w 98"/>
                <a:gd name="T13" fmla="*/ 44 h 84"/>
                <a:gd name="T14" fmla="*/ 5 w 98"/>
                <a:gd name="T15" fmla="*/ 48 h 84"/>
                <a:gd name="T16" fmla="*/ 4 w 98"/>
                <a:gd name="T17" fmla="*/ 41 h 84"/>
                <a:gd name="T18" fmla="*/ 0 w 98"/>
                <a:gd name="T19" fmla="*/ 43 h 84"/>
                <a:gd name="T20" fmla="*/ 1 w 98"/>
                <a:gd name="T21" fmla="*/ 49 h 84"/>
                <a:gd name="T22" fmla="*/ 12 w 98"/>
                <a:gd name="T23" fmla="*/ 72 h 84"/>
                <a:gd name="T24" fmla="*/ 74 w 98"/>
                <a:gd name="T25" fmla="*/ 84 h 84"/>
                <a:gd name="T26" fmla="*/ 78 w 98"/>
                <a:gd name="T27" fmla="*/ 80 h 84"/>
                <a:gd name="T28" fmla="*/ 78 w 98"/>
                <a:gd name="T29" fmla="*/ 69 h 84"/>
                <a:gd name="T30" fmla="*/ 83 w 98"/>
                <a:gd name="T31" fmla="*/ 60 h 84"/>
                <a:gd name="T32" fmla="*/ 82 w 98"/>
                <a:gd name="T33" fmla="*/ 51 h 84"/>
                <a:gd name="T34" fmla="*/ 91 w 98"/>
                <a:gd name="T35" fmla="*/ 45 h 84"/>
                <a:gd name="T36" fmla="*/ 86 w 98"/>
                <a:gd name="T37" fmla="*/ 42 h 84"/>
                <a:gd name="T38" fmla="*/ 87 w 98"/>
                <a:gd name="T39" fmla="*/ 26 h 84"/>
                <a:gd name="T40" fmla="*/ 98 w 98"/>
                <a:gd name="T41" fmla="*/ 26 h 84"/>
                <a:gd name="T42" fmla="*/ 93 w 98"/>
                <a:gd name="T43" fmla="*/ 8 h 84"/>
                <a:gd name="T44" fmla="*/ 93 w 98"/>
                <a:gd name="T4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93" y="8"/>
                  </a:moveTo>
                  <a:lnTo>
                    <a:pt x="87" y="0"/>
                  </a:lnTo>
                  <a:lnTo>
                    <a:pt x="76" y="14"/>
                  </a:lnTo>
                  <a:lnTo>
                    <a:pt x="63" y="30"/>
                  </a:lnTo>
                  <a:lnTo>
                    <a:pt x="50" y="46"/>
                  </a:lnTo>
                  <a:lnTo>
                    <a:pt x="38" y="45"/>
                  </a:lnTo>
                  <a:lnTo>
                    <a:pt x="21" y="44"/>
                  </a:lnTo>
                  <a:lnTo>
                    <a:pt x="5" y="48"/>
                  </a:lnTo>
                  <a:lnTo>
                    <a:pt x="4" y="41"/>
                  </a:lnTo>
                  <a:lnTo>
                    <a:pt x="0" y="43"/>
                  </a:lnTo>
                  <a:lnTo>
                    <a:pt x="1" y="49"/>
                  </a:lnTo>
                  <a:lnTo>
                    <a:pt x="12" y="72"/>
                  </a:lnTo>
                  <a:lnTo>
                    <a:pt x="74" y="84"/>
                  </a:lnTo>
                  <a:lnTo>
                    <a:pt x="78" y="80"/>
                  </a:lnTo>
                  <a:lnTo>
                    <a:pt x="78" y="69"/>
                  </a:lnTo>
                  <a:lnTo>
                    <a:pt x="83" y="60"/>
                  </a:lnTo>
                  <a:lnTo>
                    <a:pt x="82" y="51"/>
                  </a:lnTo>
                  <a:lnTo>
                    <a:pt x="91" y="45"/>
                  </a:lnTo>
                  <a:lnTo>
                    <a:pt x="86" y="42"/>
                  </a:lnTo>
                  <a:lnTo>
                    <a:pt x="87" y="26"/>
                  </a:lnTo>
                  <a:lnTo>
                    <a:pt x="98" y="26"/>
                  </a:lnTo>
                  <a:lnTo>
                    <a:pt x="93" y="8"/>
                  </a:lnTo>
                  <a:lnTo>
                    <a:pt x="93" y="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Argentina"/>
            <p:cNvSpPr>
              <a:spLocks noEditPoints="1"/>
            </p:cNvSpPr>
            <p:nvPr/>
          </p:nvSpPr>
          <p:spPr bwMode="auto">
            <a:xfrm>
              <a:off x="3754437" y="5305426"/>
              <a:ext cx="515937" cy="1246188"/>
            </a:xfrm>
            <a:custGeom>
              <a:avLst/>
              <a:gdLst>
                <a:gd name="T0" fmla="*/ 273 w 325"/>
                <a:gd name="T1" fmla="*/ 773 h 785"/>
                <a:gd name="T2" fmla="*/ 217 w 325"/>
                <a:gd name="T3" fmla="*/ 753 h 785"/>
                <a:gd name="T4" fmla="*/ 190 w 325"/>
                <a:gd name="T5" fmla="*/ 726 h 785"/>
                <a:gd name="T6" fmla="*/ 230 w 325"/>
                <a:gd name="T7" fmla="*/ 776 h 785"/>
                <a:gd name="T8" fmla="*/ 253 w 325"/>
                <a:gd name="T9" fmla="*/ 785 h 785"/>
                <a:gd name="T10" fmla="*/ 269 w 325"/>
                <a:gd name="T11" fmla="*/ 784 h 785"/>
                <a:gd name="T12" fmla="*/ 53 w 325"/>
                <a:gd name="T13" fmla="*/ 0 h 785"/>
                <a:gd name="T14" fmla="*/ 42 w 325"/>
                <a:gd name="T15" fmla="*/ 29 h 785"/>
                <a:gd name="T16" fmla="*/ 17 w 325"/>
                <a:gd name="T17" fmla="*/ 65 h 785"/>
                <a:gd name="T18" fmla="*/ 20 w 325"/>
                <a:gd name="T19" fmla="*/ 112 h 785"/>
                <a:gd name="T20" fmla="*/ 15 w 325"/>
                <a:gd name="T21" fmla="*/ 136 h 785"/>
                <a:gd name="T22" fmla="*/ 2 w 325"/>
                <a:gd name="T23" fmla="*/ 180 h 785"/>
                <a:gd name="T24" fmla="*/ 0 w 325"/>
                <a:gd name="T25" fmla="*/ 227 h 785"/>
                <a:gd name="T26" fmla="*/ 24 w 325"/>
                <a:gd name="T27" fmla="*/ 272 h 785"/>
                <a:gd name="T28" fmla="*/ 23 w 325"/>
                <a:gd name="T29" fmla="*/ 318 h 785"/>
                <a:gd name="T30" fmla="*/ 18 w 325"/>
                <a:gd name="T31" fmla="*/ 353 h 785"/>
                <a:gd name="T32" fmla="*/ 35 w 325"/>
                <a:gd name="T33" fmla="*/ 399 h 785"/>
                <a:gd name="T34" fmla="*/ 27 w 325"/>
                <a:gd name="T35" fmla="*/ 430 h 785"/>
                <a:gd name="T36" fmla="*/ 42 w 325"/>
                <a:gd name="T37" fmla="*/ 482 h 785"/>
                <a:gd name="T38" fmla="*/ 49 w 325"/>
                <a:gd name="T39" fmla="*/ 513 h 785"/>
                <a:gd name="T40" fmla="*/ 59 w 325"/>
                <a:gd name="T41" fmla="*/ 531 h 785"/>
                <a:gd name="T42" fmla="*/ 74 w 325"/>
                <a:gd name="T43" fmla="*/ 545 h 785"/>
                <a:gd name="T44" fmla="*/ 74 w 325"/>
                <a:gd name="T45" fmla="*/ 563 h 785"/>
                <a:gd name="T46" fmla="*/ 76 w 325"/>
                <a:gd name="T47" fmla="*/ 613 h 785"/>
                <a:gd name="T48" fmla="*/ 81 w 325"/>
                <a:gd name="T49" fmla="*/ 639 h 785"/>
                <a:gd name="T50" fmla="*/ 83 w 325"/>
                <a:gd name="T51" fmla="*/ 675 h 785"/>
                <a:gd name="T52" fmla="*/ 105 w 325"/>
                <a:gd name="T53" fmla="*/ 681 h 785"/>
                <a:gd name="T54" fmla="*/ 124 w 325"/>
                <a:gd name="T55" fmla="*/ 712 h 785"/>
                <a:gd name="T56" fmla="*/ 187 w 325"/>
                <a:gd name="T57" fmla="*/ 718 h 785"/>
                <a:gd name="T58" fmla="*/ 177 w 325"/>
                <a:gd name="T59" fmla="*/ 706 h 785"/>
                <a:gd name="T60" fmla="*/ 165 w 325"/>
                <a:gd name="T61" fmla="*/ 672 h 785"/>
                <a:gd name="T62" fmla="*/ 180 w 325"/>
                <a:gd name="T63" fmla="*/ 635 h 785"/>
                <a:gd name="T64" fmla="*/ 197 w 325"/>
                <a:gd name="T65" fmla="*/ 602 h 785"/>
                <a:gd name="T66" fmla="*/ 154 w 325"/>
                <a:gd name="T67" fmla="*/ 579 h 785"/>
                <a:gd name="T68" fmla="*/ 164 w 325"/>
                <a:gd name="T69" fmla="*/ 550 h 785"/>
                <a:gd name="T70" fmla="*/ 183 w 325"/>
                <a:gd name="T71" fmla="*/ 538 h 785"/>
                <a:gd name="T72" fmla="*/ 190 w 325"/>
                <a:gd name="T73" fmla="*/ 501 h 785"/>
                <a:gd name="T74" fmla="*/ 195 w 325"/>
                <a:gd name="T75" fmla="*/ 481 h 785"/>
                <a:gd name="T76" fmla="*/ 172 w 325"/>
                <a:gd name="T77" fmla="*/ 482 h 785"/>
                <a:gd name="T78" fmla="*/ 168 w 325"/>
                <a:gd name="T79" fmla="*/ 452 h 785"/>
                <a:gd name="T80" fmla="*/ 208 w 325"/>
                <a:gd name="T81" fmla="*/ 458 h 785"/>
                <a:gd name="T82" fmla="*/ 210 w 325"/>
                <a:gd name="T83" fmla="*/ 438 h 785"/>
                <a:gd name="T84" fmla="*/ 203 w 325"/>
                <a:gd name="T85" fmla="*/ 406 h 785"/>
                <a:gd name="T86" fmla="*/ 262 w 325"/>
                <a:gd name="T87" fmla="*/ 404 h 785"/>
                <a:gd name="T88" fmla="*/ 301 w 325"/>
                <a:gd name="T89" fmla="*/ 360 h 785"/>
                <a:gd name="T90" fmla="*/ 285 w 325"/>
                <a:gd name="T91" fmla="*/ 338 h 785"/>
                <a:gd name="T92" fmla="*/ 255 w 325"/>
                <a:gd name="T93" fmla="*/ 300 h 785"/>
                <a:gd name="T94" fmla="*/ 253 w 325"/>
                <a:gd name="T95" fmla="*/ 272 h 785"/>
                <a:gd name="T96" fmla="*/ 252 w 325"/>
                <a:gd name="T97" fmla="*/ 243 h 785"/>
                <a:gd name="T98" fmla="*/ 255 w 325"/>
                <a:gd name="T99" fmla="*/ 200 h 785"/>
                <a:gd name="T100" fmla="*/ 297 w 325"/>
                <a:gd name="T101" fmla="*/ 144 h 785"/>
                <a:gd name="T102" fmla="*/ 325 w 325"/>
                <a:gd name="T103" fmla="*/ 122 h 785"/>
                <a:gd name="T104" fmla="*/ 311 w 325"/>
                <a:gd name="T105" fmla="*/ 89 h 785"/>
                <a:gd name="T106" fmla="*/ 301 w 325"/>
                <a:gd name="T107" fmla="*/ 114 h 785"/>
                <a:gd name="T108" fmla="*/ 269 w 325"/>
                <a:gd name="T109" fmla="*/ 137 h 785"/>
                <a:gd name="T110" fmla="*/ 224 w 325"/>
                <a:gd name="T111" fmla="*/ 127 h 785"/>
                <a:gd name="T112" fmla="*/ 236 w 325"/>
                <a:gd name="T113" fmla="*/ 80 h 785"/>
                <a:gd name="T114" fmla="*/ 187 w 325"/>
                <a:gd name="T115" fmla="*/ 53 h 785"/>
                <a:gd name="T116" fmla="*/ 128 w 325"/>
                <a:gd name="T117" fmla="*/ 11 h 785"/>
                <a:gd name="T118" fmla="*/ 101 w 325"/>
                <a:gd name="T119" fmla="*/ 4 h 785"/>
                <a:gd name="T120" fmla="*/ 81 w 325"/>
                <a:gd name="T121" fmla="*/ 6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785">
                  <a:moveTo>
                    <a:pt x="269" y="784"/>
                  </a:moveTo>
                  <a:lnTo>
                    <a:pt x="273" y="773"/>
                  </a:lnTo>
                  <a:lnTo>
                    <a:pt x="246" y="767"/>
                  </a:lnTo>
                  <a:lnTo>
                    <a:pt x="217" y="753"/>
                  </a:lnTo>
                  <a:lnTo>
                    <a:pt x="201" y="736"/>
                  </a:lnTo>
                  <a:lnTo>
                    <a:pt x="190" y="726"/>
                  </a:lnTo>
                  <a:lnTo>
                    <a:pt x="211" y="776"/>
                  </a:lnTo>
                  <a:lnTo>
                    <a:pt x="230" y="776"/>
                  </a:lnTo>
                  <a:lnTo>
                    <a:pt x="241" y="777"/>
                  </a:lnTo>
                  <a:lnTo>
                    <a:pt x="253" y="785"/>
                  </a:lnTo>
                  <a:lnTo>
                    <a:pt x="269" y="784"/>
                  </a:lnTo>
                  <a:lnTo>
                    <a:pt x="269" y="784"/>
                  </a:lnTo>
                  <a:close/>
                  <a:moveTo>
                    <a:pt x="81" y="6"/>
                  </a:moveTo>
                  <a:lnTo>
                    <a:pt x="53" y="0"/>
                  </a:lnTo>
                  <a:lnTo>
                    <a:pt x="38" y="22"/>
                  </a:lnTo>
                  <a:lnTo>
                    <a:pt x="42" y="29"/>
                  </a:lnTo>
                  <a:lnTo>
                    <a:pt x="37" y="53"/>
                  </a:lnTo>
                  <a:lnTo>
                    <a:pt x="17" y="65"/>
                  </a:lnTo>
                  <a:lnTo>
                    <a:pt x="22" y="104"/>
                  </a:lnTo>
                  <a:lnTo>
                    <a:pt x="20" y="112"/>
                  </a:lnTo>
                  <a:lnTo>
                    <a:pt x="27" y="121"/>
                  </a:lnTo>
                  <a:lnTo>
                    <a:pt x="15" y="136"/>
                  </a:lnTo>
                  <a:lnTo>
                    <a:pt x="5" y="158"/>
                  </a:lnTo>
                  <a:lnTo>
                    <a:pt x="2" y="180"/>
                  </a:lnTo>
                  <a:lnTo>
                    <a:pt x="8" y="203"/>
                  </a:lnTo>
                  <a:lnTo>
                    <a:pt x="0" y="227"/>
                  </a:lnTo>
                  <a:lnTo>
                    <a:pt x="19" y="268"/>
                  </a:lnTo>
                  <a:lnTo>
                    <a:pt x="24" y="272"/>
                  </a:lnTo>
                  <a:lnTo>
                    <a:pt x="29" y="295"/>
                  </a:lnTo>
                  <a:lnTo>
                    <a:pt x="23" y="318"/>
                  </a:lnTo>
                  <a:lnTo>
                    <a:pt x="29" y="338"/>
                  </a:lnTo>
                  <a:lnTo>
                    <a:pt x="18" y="353"/>
                  </a:lnTo>
                  <a:lnTo>
                    <a:pt x="23" y="376"/>
                  </a:lnTo>
                  <a:lnTo>
                    <a:pt x="35" y="399"/>
                  </a:lnTo>
                  <a:lnTo>
                    <a:pt x="26" y="409"/>
                  </a:lnTo>
                  <a:lnTo>
                    <a:pt x="27" y="430"/>
                  </a:lnTo>
                  <a:lnTo>
                    <a:pt x="30" y="453"/>
                  </a:lnTo>
                  <a:lnTo>
                    <a:pt x="42" y="482"/>
                  </a:lnTo>
                  <a:lnTo>
                    <a:pt x="36" y="486"/>
                  </a:lnTo>
                  <a:lnTo>
                    <a:pt x="49" y="513"/>
                  </a:lnTo>
                  <a:lnTo>
                    <a:pt x="62" y="521"/>
                  </a:lnTo>
                  <a:lnTo>
                    <a:pt x="59" y="531"/>
                  </a:lnTo>
                  <a:lnTo>
                    <a:pt x="69" y="536"/>
                  </a:lnTo>
                  <a:lnTo>
                    <a:pt x="74" y="545"/>
                  </a:lnTo>
                  <a:lnTo>
                    <a:pt x="67" y="549"/>
                  </a:lnTo>
                  <a:lnTo>
                    <a:pt x="74" y="563"/>
                  </a:lnTo>
                  <a:lnTo>
                    <a:pt x="78" y="593"/>
                  </a:lnTo>
                  <a:lnTo>
                    <a:pt x="76" y="613"/>
                  </a:lnTo>
                  <a:lnTo>
                    <a:pt x="82" y="625"/>
                  </a:lnTo>
                  <a:lnTo>
                    <a:pt x="81" y="639"/>
                  </a:lnTo>
                  <a:lnTo>
                    <a:pt x="72" y="649"/>
                  </a:lnTo>
                  <a:lnTo>
                    <a:pt x="83" y="675"/>
                  </a:lnTo>
                  <a:lnTo>
                    <a:pt x="92" y="682"/>
                  </a:lnTo>
                  <a:lnTo>
                    <a:pt x="105" y="681"/>
                  </a:lnTo>
                  <a:lnTo>
                    <a:pt x="111" y="698"/>
                  </a:lnTo>
                  <a:lnTo>
                    <a:pt x="124" y="712"/>
                  </a:lnTo>
                  <a:lnTo>
                    <a:pt x="169" y="715"/>
                  </a:lnTo>
                  <a:lnTo>
                    <a:pt x="187" y="718"/>
                  </a:lnTo>
                  <a:lnTo>
                    <a:pt x="195" y="719"/>
                  </a:lnTo>
                  <a:lnTo>
                    <a:pt x="177" y="706"/>
                  </a:lnTo>
                  <a:lnTo>
                    <a:pt x="162" y="682"/>
                  </a:lnTo>
                  <a:lnTo>
                    <a:pt x="165" y="672"/>
                  </a:lnTo>
                  <a:lnTo>
                    <a:pt x="178" y="662"/>
                  </a:lnTo>
                  <a:lnTo>
                    <a:pt x="180" y="635"/>
                  </a:lnTo>
                  <a:lnTo>
                    <a:pt x="198" y="622"/>
                  </a:lnTo>
                  <a:lnTo>
                    <a:pt x="197" y="602"/>
                  </a:lnTo>
                  <a:lnTo>
                    <a:pt x="178" y="596"/>
                  </a:lnTo>
                  <a:lnTo>
                    <a:pt x="154" y="579"/>
                  </a:lnTo>
                  <a:lnTo>
                    <a:pt x="154" y="563"/>
                  </a:lnTo>
                  <a:lnTo>
                    <a:pt x="164" y="550"/>
                  </a:lnTo>
                  <a:lnTo>
                    <a:pt x="182" y="550"/>
                  </a:lnTo>
                  <a:lnTo>
                    <a:pt x="183" y="538"/>
                  </a:lnTo>
                  <a:lnTo>
                    <a:pt x="178" y="515"/>
                  </a:lnTo>
                  <a:lnTo>
                    <a:pt x="190" y="501"/>
                  </a:lnTo>
                  <a:lnTo>
                    <a:pt x="204" y="493"/>
                  </a:lnTo>
                  <a:lnTo>
                    <a:pt x="195" y="481"/>
                  </a:lnTo>
                  <a:lnTo>
                    <a:pt x="187" y="489"/>
                  </a:lnTo>
                  <a:lnTo>
                    <a:pt x="172" y="482"/>
                  </a:lnTo>
                  <a:lnTo>
                    <a:pt x="162" y="459"/>
                  </a:lnTo>
                  <a:lnTo>
                    <a:pt x="168" y="452"/>
                  </a:lnTo>
                  <a:lnTo>
                    <a:pt x="190" y="462"/>
                  </a:lnTo>
                  <a:lnTo>
                    <a:pt x="208" y="458"/>
                  </a:lnTo>
                  <a:lnTo>
                    <a:pt x="218" y="450"/>
                  </a:lnTo>
                  <a:lnTo>
                    <a:pt x="210" y="438"/>
                  </a:lnTo>
                  <a:lnTo>
                    <a:pt x="210" y="421"/>
                  </a:lnTo>
                  <a:lnTo>
                    <a:pt x="203" y="406"/>
                  </a:lnTo>
                  <a:lnTo>
                    <a:pt x="224" y="409"/>
                  </a:lnTo>
                  <a:lnTo>
                    <a:pt x="262" y="404"/>
                  </a:lnTo>
                  <a:lnTo>
                    <a:pt x="289" y="391"/>
                  </a:lnTo>
                  <a:lnTo>
                    <a:pt x="301" y="360"/>
                  </a:lnTo>
                  <a:lnTo>
                    <a:pt x="300" y="348"/>
                  </a:lnTo>
                  <a:lnTo>
                    <a:pt x="285" y="338"/>
                  </a:lnTo>
                  <a:lnTo>
                    <a:pt x="285" y="321"/>
                  </a:lnTo>
                  <a:lnTo>
                    <a:pt x="255" y="300"/>
                  </a:lnTo>
                  <a:lnTo>
                    <a:pt x="254" y="288"/>
                  </a:lnTo>
                  <a:lnTo>
                    <a:pt x="253" y="272"/>
                  </a:lnTo>
                  <a:lnTo>
                    <a:pt x="256" y="267"/>
                  </a:lnTo>
                  <a:lnTo>
                    <a:pt x="252" y="243"/>
                  </a:lnTo>
                  <a:lnTo>
                    <a:pt x="253" y="219"/>
                  </a:lnTo>
                  <a:lnTo>
                    <a:pt x="255" y="200"/>
                  </a:lnTo>
                  <a:lnTo>
                    <a:pt x="277" y="168"/>
                  </a:lnTo>
                  <a:lnTo>
                    <a:pt x="297" y="144"/>
                  </a:lnTo>
                  <a:lnTo>
                    <a:pt x="309" y="135"/>
                  </a:lnTo>
                  <a:lnTo>
                    <a:pt x="325" y="122"/>
                  </a:lnTo>
                  <a:lnTo>
                    <a:pt x="323" y="103"/>
                  </a:lnTo>
                  <a:lnTo>
                    <a:pt x="311" y="89"/>
                  </a:lnTo>
                  <a:lnTo>
                    <a:pt x="302" y="94"/>
                  </a:lnTo>
                  <a:lnTo>
                    <a:pt x="301" y="114"/>
                  </a:lnTo>
                  <a:lnTo>
                    <a:pt x="285" y="133"/>
                  </a:lnTo>
                  <a:lnTo>
                    <a:pt x="269" y="137"/>
                  </a:lnTo>
                  <a:lnTo>
                    <a:pt x="246" y="133"/>
                  </a:lnTo>
                  <a:lnTo>
                    <a:pt x="224" y="127"/>
                  </a:lnTo>
                  <a:lnTo>
                    <a:pt x="240" y="90"/>
                  </a:lnTo>
                  <a:lnTo>
                    <a:pt x="236" y="80"/>
                  </a:lnTo>
                  <a:lnTo>
                    <a:pt x="214" y="71"/>
                  </a:lnTo>
                  <a:lnTo>
                    <a:pt x="187" y="53"/>
                  </a:lnTo>
                  <a:lnTo>
                    <a:pt x="170" y="49"/>
                  </a:lnTo>
                  <a:lnTo>
                    <a:pt x="128" y="11"/>
                  </a:lnTo>
                  <a:lnTo>
                    <a:pt x="124" y="6"/>
                  </a:lnTo>
                  <a:lnTo>
                    <a:pt x="101" y="4"/>
                  </a:lnTo>
                  <a:lnTo>
                    <a:pt x="94" y="24"/>
                  </a:lnTo>
                  <a:lnTo>
                    <a:pt x="81" y="6"/>
                  </a:lnTo>
                  <a:lnTo>
                    <a:pt x="81" y="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Armenia"/>
            <p:cNvSpPr>
              <a:spLocks/>
            </p:cNvSpPr>
            <p:nvPr/>
          </p:nvSpPr>
          <p:spPr bwMode="auto">
            <a:xfrm>
              <a:off x="7332662" y="2925763"/>
              <a:ext cx="104775" cy="93663"/>
            </a:xfrm>
            <a:custGeom>
              <a:avLst/>
              <a:gdLst>
                <a:gd name="T0" fmla="*/ 66 w 66"/>
                <a:gd name="T1" fmla="*/ 58 h 59"/>
                <a:gd name="T2" fmla="*/ 62 w 66"/>
                <a:gd name="T3" fmla="*/ 42 h 59"/>
                <a:gd name="T4" fmla="*/ 53 w 66"/>
                <a:gd name="T5" fmla="*/ 37 h 59"/>
                <a:gd name="T6" fmla="*/ 44 w 66"/>
                <a:gd name="T7" fmla="*/ 32 h 59"/>
                <a:gd name="T8" fmla="*/ 47 w 66"/>
                <a:gd name="T9" fmla="*/ 24 h 59"/>
                <a:gd name="T10" fmla="*/ 36 w 66"/>
                <a:gd name="T11" fmla="*/ 16 h 59"/>
                <a:gd name="T12" fmla="*/ 39 w 66"/>
                <a:gd name="T13" fmla="*/ 10 h 59"/>
                <a:gd name="T14" fmla="*/ 31 w 66"/>
                <a:gd name="T15" fmla="*/ 6 h 59"/>
                <a:gd name="T16" fmla="*/ 25 w 66"/>
                <a:gd name="T17" fmla="*/ 0 h 59"/>
                <a:gd name="T18" fmla="*/ 0 w 66"/>
                <a:gd name="T19" fmla="*/ 4 h 59"/>
                <a:gd name="T20" fmla="*/ 5 w 66"/>
                <a:gd name="T21" fmla="*/ 11 h 59"/>
                <a:gd name="T22" fmla="*/ 5 w 66"/>
                <a:gd name="T23" fmla="*/ 23 h 59"/>
                <a:gd name="T24" fmla="*/ 20 w 66"/>
                <a:gd name="T25" fmla="*/ 29 h 59"/>
                <a:gd name="T26" fmla="*/ 29 w 66"/>
                <a:gd name="T27" fmla="*/ 35 h 59"/>
                <a:gd name="T28" fmla="*/ 33 w 66"/>
                <a:gd name="T29" fmla="*/ 35 h 59"/>
                <a:gd name="T30" fmla="*/ 40 w 66"/>
                <a:gd name="T31" fmla="*/ 41 h 59"/>
                <a:gd name="T32" fmla="*/ 48 w 66"/>
                <a:gd name="T33" fmla="*/ 41 h 59"/>
                <a:gd name="T34" fmla="*/ 49 w 66"/>
                <a:gd name="T35" fmla="*/ 45 h 59"/>
                <a:gd name="T36" fmla="*/ 60 w 66"/>
                <a:gd name="T37" fmla="*/ 59 h 59"/>
                <a:gd name="T38" fmla="*/ 66 w 66"/>
                <a:gd name="T39" fmla="*/ 58 h 59"/>
                <a:gd name="T40" fmla="*/ 66 w 66"/>
                <a:gd name="T4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59">
                  <a:moveTo>
                    <a:pt x="66" y="58"/>
                  </a:moveTo>
                  <a:lnTo>
                    <a:pt x="62" y="42"/>
                  </a:lnTo>
                  <a:lnTo>
                    <a:pt x="53" y="37"/>
                  </a:lnTo>
                  <a:lnTo>
                    <a:pt x="44" y="32"/>
                  </a:lnTo>
                  <a:lnTo>
                    <a:pt x="47" y="24"/>
                  </a:lnTo>
                  <a:lnTo>
                    <a:pt x="36" y="16"/>
                  </a:lnTo>
                  <a:lnTo>
                    <a:pt x="39" y="10"/>
                  </a:lnTo>
                  <a:lnTo>
                    <a:pt x="31" y="6"/>
                  </a:lnTo>
                  <a:lnTo>
                    <a:pt x="25" y="0"/>
                  </a:lnTo>
                  <a:lnTo>
                    <a:pt x="0" y="4"/>
                  </a:lnTo>
                  <a:lnTo>
                    <a:pt x="5" y="11"/>
                  </a:lnTo>
                  <a:lnTo>
                    <a:pt x="5" y="23"/>
                  </a:lnTo>
                  <a:lnTo>
                    <a:pt x="20" y="29"/>
                  </a:lnTo>
                  <a:lnTo>
                    <a:pt x="29" y="35"/>
                  </a:lnTo>
                  <a:lnTo>
                    <a:pt x="33" y="35"/>
                  </a:lnTo>
                  <a:lnTo>
                    <a:pt x="40" y="41"/>
                  </a:lnTo>
                  <a:lnTo>
                    <a:pt x="48" y="41"/>
                  </a:lnTo>
                  <a:lnTo>
                    <a:pt x="49" y="45"/>
                  </a:lnTo>
                  <a:lnTo>
                    <a:pt x="60" y="59"/>
                  </a:lnTo>
                  <a:lnTo>
                    <a:pt x="66" y="58"/>
                  </a:lnTo>
                  <a:lnTo>
                    <a:pt x="66" y="5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Australia"/>
            <p:cNvSpPr>
              <a:spLocks noEditPoints="1"/>
            </p:cNvSpPr>
            <p:nvPr/>
          </p:nvSpPr>
          <p:spPr bwMode="auto">
            <a:xfrm>
              <a:off x="9625012" y="4884738"/>
              <a:ext cx="1328737" cy="1243013"/>
            </a:xfrm>
            <a:custGeom>
              <a:avLst/>
              <a:gdLst>
                <a:gd name="T0" fmla="*/ 498 w 837"/>
                <a:gd name="T1" fmla="*/ 746 h 783"/>
                <a:gd name="T2" fmla="*/ 503 w 837"/>
                <a:gd name="T3" fmla="*/ 783 h 783"/>
                <a:gd name="T4" fmla="*/ 556 w 837"/>
                <a:gd name="T5" fmla="*/ 747 h 783"/>
                <a:gd name="T6" fmla="*/ 531 w 837"/>
                <a:gd name="T7" fmla="*/ 726 h 783"/>
                <a:gd name="T8" fmla="*/ 707 w 837"/>
                <a:gd name="T9" fmla="*/ 66 h 783"/>
                <a:gd name="T10" fmla="*/ 697 w 837"/>
                <a:gd name="T11" fmla="*/ 26 h 783"/>
                <a:gd name="T12" fmla="*/ 683 w 837"/>
                <a:gd name="T13" fmla="*/ 16 h 783"/>
                <a:gd name="T14" fmla="*/ 669 w 837"/>
                <a:gd name="T15" fmla="*/ 54 h 783"/>
                <a:gd name="T16" fmla="*/ 661 w 837"/>
                <a:gd name="T17" fmla="*/ 105 h 783"/>
                <a:gd name="T18" fmla="*/ 634 w 837"/>
                <a:gd name="T19" fmla="*/ 160 h 783"/>
                <a:gd name="T20" fmla="*/ 589 w 837"/>
                <a:gd name="T21" fmla="*/ 146 h 783"/>
                <a:gd name="T22" fmla="*/ 547 w 837"/>
                <a:gd name="T23" fmla="*/ 116 h 783"/>
                <a:gd name="T24" fmla="*/ 549 w 837"/>
                <a:gd name="T25" fmla="*/ 73 h 783"/>
                <a:gd name="T26" fmla="*/ 573 w 837"/>
                <a:gd name="T27" fmla="*/ 40 h 783"/>
                <a:gd name="T28" fmla="*/ 538 w 837"/>
                <a:gd name="T29" fmla="*/ 38 h 783"/>
                <a:gd name="T30" fmla="*/ 493 w 837"/>
                <a:gd name="T31" fmla="*/ 17 h 783"/>
                <a:gd name="T32" fmla="*/ 482 w 837"/>
                <a:gd name="T33" fmla="*/ 35 h 783"/>
                <a:gd name="T34" fmla="*/ 429 w 837"/>
                <a:gd name="T35" fmla="*/ 58 h 783"/>
                <a:gd name="T36" fmla="*/ 411 w 837"/>
                <a:gd name="T37" fmla="*/ 103 h 783"/>
                <a:gd name="T38" fmla="*/ 362 w 837"/>
                <a:gd name="T39" fmla="*/ 75 h 783"/>
                <a:gd name="T40" fmla="*/ 332 w 837"/>
                <a:gd name="T41" fmla="*/ 85 h 783"/>
                <a:gd name="T42" fmla="*/ 300 w 837"/>
                <a:gd name="T43" fmla="*/ 117 h 783"/>
                <a:gd name="T44" fmla="*/ 283 w 837"/>
                <a:gd name="T45" fmla="*/ 153 h 783"/>
                <a:gd name="T46" fmla="*/ 248 w 837"/>
                <a:gd name="T47" fmla="*/ 170 h 783"/>
                <a:gd name="T48" fmla="*/ 210 w 837"/>
                <a:gd name="T49" fmla="*/ 215 h 783"/>
                <a:gd name="T50" fmla="*/ 166 w 837"/>
                <a:gd name="T51" fmla="*/ 228 h 783"/>
                <a:gd name="T52" fmla="*/ 121 w 837"/>
                <a:gd name="T53" fmla="*/ 239 h 783"/>
                <a:gd name="T54" fmla="*/ 62 w 837"/>
                <a:gd name="T55" fmla="*/ 282 h 783"/>
                <a:gd name="T56" fmla="*/ 47 w 837"/>
                <a:gd name="T57" fmla="*/ 307 h 783"/>
                <a:gd name="T58" fmla="*/ 39 w 837"/>
                <a:gd name="T59" fmla="*/ 341 h 783"/>
                <a:gd name="T60" fmla="*/ 31 w 837"/>
                <a:gd name="T61" fmla="*/ 356 h 783"/>
                <a:gd name="T62" fmla="*/ 33 w 837"/>
                <a:gd name="T63" fmla="*/ 396 h 783"/>
                <a:gd name="T64" fmla="*/ 39 w 837"/>
                <a:gd name="T65" fmla="*/ 447 h 783"/>
                <a:gd name="T66" fmla="*/ 33 w 837"/>
                <a:gd name="T67" fmla="*/ 512 h 783"/>
                <a:gd name="T68" fmla="*/ 6 w 837"/>
                <a:gd name="T69" fmla="*/ 546 h 783"/>
                <a:gd name="T70" fmla="*/ 38 w 837"/>
                <a:gd name="T71" fmla="*/ 579 h 783"/>
                <a:gd name="T72" fmla="*/ 82 w 837"/>
                <a:gd name="T73" fmla="*/ 567 h 783"/>
                <a:gd name="T74" fmla="*/ 144 w 837"/>
                <a:gd name="T75" fmla="*/ 555 h 783"/>
                <a:gd name="T76" fmla="*/ 194 w 837"/>
                <a:gd name="T77" fmla="*/ 530 h 783"/>
                <a:gd name="T78" fmla="*/ 284 w 837"/>
                <a:gd name="T79" fmla="*/ 506 h 783"/>
                <a:gd name="T80" fmla="*/ 379 w 837"/>
                <a:gd name="T81" fmla="*/ 507 h 783"/>
                <a:gd name="T82" fmla="*/ 405 w 837"/>
                <a:gd name="T83" fmla="*/ 553 h 783"/>
                <a:gd name="T84" fmla="*/ 441 w 837"/>
                <a:gd name="T85" fmla="*/ 549 h 783"/>
                <a:gd name="T86" fmla="*/ 438 w 837"/>
                <a:gd name="T87" fmla="*/ 572 h 783"/>
                <a:gd name="T88" fmla="*/ 456 w 837"/>
                <a:gd name="T89" fmla="*/ 582 h 783"/>
                <a:gd name="T90" fmla="*/ 464 w 837"/>
                <a:gd name="T91" fmla="*/ 618 h 783"/>
                <a:gd name="T92" fmla="*/ 489 w 837"/>
                <a:gd name="T93" fmla="*/ 660 h 783"/>
                <a:gd name="T94" fmla="*/ 551 w 837"/>
                <a:gd name="T95" fmla="*/ 648 h 783"/>
                <a:gd name="T96" fmla="*/ 579 w 837"/>
                <a:gd name="T97" fmla="*/ 666 h 783"/>
                <a:gd name="T98" fmla="*/ 655 w 837"/>
                <a:gd name="T99" fmla="*/ 637 h 783"/>
                <a:gd name="T100" fmla="*/ 697 w 837"/>
                <a:gd name="T101" fmla="*/ 583 h 783"/>
                <a:gd name="T102" fmla="*/ 762 w 837"/>
                <a:gd name="T103" fmla="*/ 520 h 783"/>
                <a:gd name="T104" fmla="*/ 813 w 837"/>
                <a:gd name="T105" fmla="*/ 447 h 783"/>
                <a:gd name="T106" fmla="*/ 833 w 837"/>
                <a:gd name="T107" fmla="*/ 380 h 783"/>
                <a:gd name="T108" fmla="*/ 820 w 837"/>
                <a:gd name="T109" fmla="*/ 319 h 783"/>
                <a:gd name="T110" fmla="*/ 799 w 837"/>
                <a:gd name="T111" fmla="*/ 273 h 783"/>
                <a:gd name="T112" fmla="*/ 784 w 837"/>
                <a:gd name="T113" fmla="*/ 232 h 783"/>
                <a:gd name="T114" fmla="*/ 737 w 837"/>
                <a:gd name="T115" fmla="*/ 181 h 783"/>
                <a:gd name="T116" fmla="*/ 735 w 837"/>
                <a:gd name="T117" fmla="*/ 134 h 783"/>
                <a:gd name="T118" fmla="*/ 725 w 837"/>
                <a:gd name="T119" fmla="*/ 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7" h="783">
                  <a:moveTo>
                    <a:pt x="518" y="717"/>
                  </a:moveTo>
                  <a:lnTo>
                    <a:pt x="507" y="716"/>
                  </a:lnTo>
                  <a:lnTo>
                    <a:pt x="500" y="727"/>
                  </a:lnTo>
                  <a:lnTo>
                    <a:pt x="498" y="746"/>
                  </a:lnTo>
                  <a:lnTo>
                    <a:pt x="489" y="761"/>
                  </a:lnTo>
                  <a:lnTo>
                    <a:pt x="488" y="781"/>
                  </a:lnTo>
                  <a:lnTo>
                    <a:pt x="499" y="782"/>
                  </a:lnTo>
                  <a:lnTo>
                    <a:pt x="503" y="783"/>
                  </a:lnTo>
                  <a:lnTo>
                    <a:pt x="527" y="767"/>
                  </a:lnTo>
                  <a:lnTo>
                    <a:pt x="529" y="773"/>
                  </a:lnTo>
                  <a:lnTo>
                    <a:pt x="544" y="755"/>
                  </a:lnTo>
                  <a:lnTo>
                    <a:pt x="556" y="747"/>
                  </a:lnTo>
                  <a:lnTo>
                    <a:pt x="573" y="719"/>
                  </a:lnTo>
                  <a:lnTo>
                    <a:pt x="562" y="717"/>
                  </a:lnTo>
                  <a:lnTo>
                    <a:pt x="545" y="722"/>
                  </a:lnTo>
                  <a:lnTo>
                    <a:pt x="531" y="726"/>
                  </a:lnTo>
                  <a:lnTo>
                    <a:pt x="518" y="717"/>
                  </a:lnTo>
                  <a:lnTo>
                    <a:pt x="518" y="717"/>
                  </a:lnTo>
                  <a:close/>
                  <a:moveTo>
                    <a:pt x="705" y="74"/>
                  </a:moveTo>
                  <a:lnTo>
                    <a:pt x="707" y="66"/>
                  </a:lnTo>
                  <a:lnTo>
                    <a:pt x="708" y="52"/>
                  </a:lnTo>
                  <a:lnTo>
                    <a:pt x="701" y="40"/>
                  </a:lnTo>
                  <a:lnTo>
                    <a:pt x="702" y="30"/>
                  </a:lnTo>
                  <a:lnTo>
                    <a:pt x="697" y="26"/>
                  </a:lnTo>
                  <a:lnTo>
                    <a:pt x="698" y="12"/>
                  </a:lnTo>
                  <a:lnTo>
                    <a:pt x="693" y="0"/>
                  </a:lnTo>
                  <a:lnTo>
                    <a:pt x="685" y="10"/>
                  </a:lnTo>
                  <a:lnTo>
                    <a:pt x="683" y="16"/>
                  </a:lnTo>
                  <a:lnTo>
                    <a:pt x="677" y="29"/>
                  </a:lnTo>
                  <a:lnTo>
                    <a:pt x="671" y="41"/>
                  </a:lnTo>
                  <a:lnTo>
                    <a:pt x="672" y="50"/>
                  </a:lnTo>
                  <a:lnTo>
                    <a:pt x="669" y="54"/>
                  </a:lnTo>
                  <a:lnTo>
                    <a:pt x="663" y="72"/>
                  </a:lnTo>
                  <a:lnTo>
                    <a:pt x="663" y="86"/>
                  </a:lnTo>
                  <a:lnTo>
                    <a:pt x="660" y="93"/>
                  </a:lnTo>
                  <a:lnTo>
                    <a:pt x="661" y="105"/>
                  </a:lnTo>
                  <a:lnTo>
                    <a:pt x="652" y="124"/>
                  </a:lnTo>
                  <a:lnTo>
                    <a:pt x="647" y="137"/>
                  </a:lnTo>
                  <a:lnTo>
                    <a:pt x="641" y="147"/>
                  </a:lnTo>
                  <a:lnTo>
                    <a:pt x="634" y="160"/>
                  </a:lnTo>
                  <a:lnTo>
                    <a:pt x="619" y="167"/>
                  </a:lnTo>
                  <a:lnTo>
                    <a:pt x="601" y="160"/>
                  </a:lnTo>
                  <a:lnTo>
                    <a:pt x="599" y="153"/>
                  </a:lnTo>
                  <a:lnTo>
                    <a:pt x="589" y="146"/>
                  </a:lnTo>
                  <a:lnTo>
                    <a:pt x="584" y="146"/>
                  </a:lnTo>
                  <a:lnTo>
                    <a:pt x="572" y="132"/>
                  </a:lnTo>
                  <a:lnTo>
                    <a:pt x="562" y="124"/>
                  </a:lnTo>
                  <a:lnTo>
                    <a:pt x="547" y="116"/>
                  </a:lnTo>
                  <a:lnTo>
                    <a:pt x="532" y="103"/>
                  </a:lnTo>
                  <a:lnTo>
                    <a:pt x="532" y="96"/>
                  </a:lnTo>
                  <a:lnTo>
                    <a:pt x="542" y="85"/>
                  </a:lnTo>
                  <a:lnTo>
                    <a:pt x="549" y="73"/>
                  </a:lnTo>
                  <a:lnTo>
                    <a:pt x="548" y="64"/>
                  </a:lnTo>
                  <a:lnTo>
                    <a:pt x="556" y="63"/>
                  </a:lnTo>
                  <a:lnTo>
                    <a:pt x="565" y="54"/>
                  </a:lnTo>
                  <a:lnTo>
                    <a:pt x="573" y="40"/>
                  </a:lnTo>
                  <a:lnTo>
                    <a:pt x="564" y="28"/>
                  </a:lnTo>
                  <a:lnTo>
                    <a:pt x="559" y="33"/>
                  </a:lnTo>
                  <a:lnTo>
                    <a:pt x="551" y="31"/>
                  </a:lnTo>
                  <a:lnTo>
                    <a:pt x="538" y="38"/>
                  </a:lnTo>
                  <a:lnTo>
                    <a:pt x="526" y="30"/>
                  </a:lnTo>
                  <a:lnTo>
                    <a:pt x="519" y="33"/>
                  </a:lnTo>
                  <a:lnTo>
                    <a:pt x="503" y="27"/>
                  </a:lnTo>
                  <a:lnTo>
                    <a:pt x="493" y="17"/>
                  </a:lnTo>
                  <a:lnTo>
                    <a:pt x="480" y="12"/>
                  </a:lnTo>
                  <a:lnTo>
                    <a:pt x="468" y="15"/>
                  </a:lnTo>
                  <a:lnTo>
                    <a:pt x="483" y="23"/>
                  </a:lnTo>
                  <a:lnTo>
                    <a:pt x="482" y="35"/>
                  </a:lnTo>
                  <a:lnTo>
                    <a:pt x="463" y="40"/>
                  </a:lnTo>
                  <a:lnTo>
                    <a:pt x="453" y="37"/>
                  </a:lnTo>
                  <a:lnTo>
                    <a:pt x="440" y="45"/>
                  </a:lnTo>
                  <a:lnTo>
                    <a:pt x="429" y="58"/>
                  </a:lnTo>
                  <a:lnTo>
                    <a:pt x="432" y="64"/>
                  </a:lnTo>
                  <a:lnTo>
                    <a:pt x="421" y="70"/>
                  </a:lnTo>
                  <a:lnTo>
                    <a:pt x="408" y="90"/>
                  </a:lnTo>
                  <a:lnTo>
                    <a:pt x="411" y="103"/>
                  </a:lnTo>
                  <a:lnTo>
                    <a:pt x="398" y="100"/>
                  </a:lnTo>
                  <a:lnTo>
                    <a:pt x="385" y="100"/>
                  </a:lnTo>
                  <a:lnTo>
                    <a:pt x="376" y="86"/>
                  </a:lnTo>
                  <a:lnTo>
                    <a:pt x="362" y="75"/>
                  </a:lnTo>
                  <a:lnTo>
                    <a:pt x="351" y="79"/>
                  </a:lnTo>
                  <a:lnTo>
                    <a:pt x="342" y="82"/>
                  </a:lnTo>
                  <a:lnTo>
                    <a:pt x="340" y="88"/>
                  </a:lnTo>
                  <a:lnTo>
                    <a:pt x="332" y="85"/>
                  </a:lnTo>
                  <a:lnTo>
                    <a:pt x="331" y="92"/>
                  </a:lnTo>
                  <a:lnTo>
                    <a:pt x="320" y="96"/>
                  </a:lnTo>
                  <a:lnTo>
                    <a:pt x="313" y="105"/>
                  </a:lnTo>
                  <a:lnTo>
                    <a:pt x="300" y="117"/>
                  </a:lnTo>
                  <a:lnTo>
                    <a:pt x="294" y="135"/>
                  </a:lnTo>
                  <a:lnTo>
                    <a:pt x="286" y="130"/>
                  </a:lnTo>
                  <a:lnTo>
                    <a:pt x="278" y="141"/>
                  </a:lnTo>
                  <a:lnTo>
                    <a:pt x="283" y="153"/>
                  </a:lnTo>
                  <a:lnTo>
                    <a:pt x="274" y="157"/>
                  </a:lnTo>
                  <a:lnTo>
                    <a:pt x="268" y="137"/>
                  </a:lnTo>
                  <a:lnTo>
                    <a:pt x="250" y="157"/>
                  </a:lnTo>
                  <a:lnTo>
                    <a:pt x="248" y="170"/>
                  </a:lnTo>
                  <a:lnTo>
                    <a:pt x="245" y="180"/>
                  </a:lnTo>
                  <a:lnTo>
                    <a:pt x="231" y="192"/>
                  </a:lnTo>
                  <a:lnTo>
                    <a:pt x="223" y="204"/>
                  </a:lnTo>
                  <a:lnTo>
                    <a:pt x="210" y="215"/>
                  </a:lnTo>
                  <a:lnTo>
                    <a:pt x="187" y="222"/>
                  </a:lnTo>
                  <a:lnTo>
                    <a:pt x="176" y="221"/>
                  </a:lnTo>
                  <a:lnTo>
                    <a:pt x="170" y="223"/>
                  </a:lnTo>
                  <a:lnTo>
                    <a:pt x="166" y="228"/>
                  </a:lnTo>
                  <a:lnTo>
                    <a:pt x="153" y="231"/>
                  </a:lnTo>
                  <a:lnTo>
                    <a:pt x="136" y="240"/>
                  </a:lnTo>
                  <a:lnTo>
                    <a:pt x="130" y="237"/>
                  </a:lnTo>
                  <a:lnTo>
                    <a:pt x="121" y="239"/>
                  </a:lnTo>
                  <a:lnTo>
                    <a:pt x="103" y="248"/>
                  </a:lnTo>
                  <a:lnTo>
                    <a:pt x="92" y="258"/>
                  </a:lnTo>
                  <a:lnTo>
                    <a:pt x="73" y="265"/>
                  </a:lnTo>
                  <a:lnTo>
                    <a:pt x="62" y="282"/>
                  </a:lnTo>
                  <a:lnTo>
                    <a:pt x="64" y="264"/>
                  </a:lnTo>
                  <a:lnTo>
                    <a:pt x="52" y="281"/>
                  </a:lnTo>
                  <a:lnTo>
                    <a:pt x="52" y="295"/>
                  </a:lnTo>
                  <a:lnTo>
                    <a:pt x="47" y="307"/>
                  </a:lnTo>
                  <a:lnTo>
                    <a:pt x="41" y="312"/>
                  </a:lnTo>
                  <a:lnTo>
                    <a:pt x="36" y="326"/>
                  </a:lnTo>
                  <a:lnTo>
                    <a:pt x="39" y="334"/>
                  </a:lnTo>
                  <a:lnTo>
                    <a:pt x="39" y="341"/>
                  </a:lnTo>
                  <a:lnTo>
                    <a:pt x="46" y="360"/>
                  </a:lnTo>
                  <a:lnTo>
                    <a:pt x="43" y="372"/>
                  </a:lnTo>
                  <a:lnTo>
                    <a:pt x="39" y="363"/>
                  </a:lnTo>
                  <a:lnTo>
                    <a:pt x="31" y="356"/>
                  </a:lnTo>
                  <a:lnTo>
                    <a:pt x="32" y="378"/>
                  </a:lnTo>
                  <a:lnTo>
                    <a:pt x="26" y="367"/>
                  </a:lnTo>
                  <a:lnTo>
                    <a:pt x="26" y="378"/>
                  </a:lnTo>
                  <a:lnTo>
                    <a:pt x="33" y="396"/>
                  </a:lnTo>
                  <a:lnTo>
                    <a:pt x="31" y="415"/>
                  </a:lnTo>
                  <a:lnTo>
                    <a:pt x="38" y="424"/>
                  </a:lnTo>
                  <a:lnTo>
                    <a:pt x="36" y="432"/>
                  </a:lnTo>
                  <a:lnTo>
                    <a:pt x="39" y="447"/>
                  </a:lnTo>
                  <a:lnTo>
                    <a:pt x="34" y="461"/>
                  </a:lnTo>
                  <a:lnTo>
                    <a:pt x="33" y="474"/>
                  </a:lnTo>
                  <a:lnTo>
                    <a:pt x="36" y="498"/>
                  </a:lnTo>
                  <a:lnTo>
                    <a:pt x="33" y="512"/>
                  </a:lnTo>
                  <a:lnTo>
                    <a:pt x="25" y="529"/>
                  </a:lnTo>
                  <a:lnTo>
                    <a:pt x="23" y="537"/>
                  </a:lnTo>
                  <a:lnTo>
                    <a:pt x="17" y="543"/>
                  </a:lnTo>
                  <a:lnTo>
                    <a:pt x="6" y="546"/>
                  </a:lnTo>
                  <a:lnTo>
                    <a:pt x="0" y="560"/>
                  </a:lnTo>
                  <a:lnTo>
                    <a:pt x="10" y="564"/>
                  </a:lnTo>
                  <a:lnTo>
                    <a:pt x="25" y="579"/>
                  </a:lnTo>
                  <a:lnTo>
                    <a:pt x="38" y="579"/>
                  </a:lnTo>
                  <a:lnTo>
                    <a:pt x="53" y="580"/>
                  </a:lnTo>
                  <a:lnTo>
                    <a:pt x="65" y="573"/>
                  </a:lnTo>
                  <a:lnTo>
                    <a:pt x="77" y="566"/>
                  </a:lnTo>
                  <a:lnTo>
                    <a:pt x="82" y="567"/>
                  </a:lnTo>
                  <a:lnTo>
                    <a:pt x="99" y="554"/>
                  </a:lnTo>
                  <a:lnTo>
                    <a:pt x="113" y="553"/>
                  </a:lnTo>
                  <a:lnTo>
                    <a:pt x="129" y="550"/>
                  </a:lnTo>
                  <a:lnTo>
                    <a:pt x="144" y="555"/>
                  </a:lnTo>
                  <a:lnTo>
                    <a:pt x="158" y="553"/>
                  </a:lnTo>
                  <a:lnTo>
                    <a:pt x="175" y="552"/>
                  </a:lnTo>
                  <a:lnTo>
                    <a:pt x="186" y="542"/>
                  </a:lnTo>
                  <a:lnTo>
                    <a:pt x="194" y="530"/>
                  </a:lnTo>
                  <a:lnTo>
                    <a:pt x="214" y="524"/>
                  </a:lnTo>
                  <a:lnTo>
                    <a:pt x="240" y="512"/>
                  </a:lnTo>
                  <a:lnTo>
                    <a:pt x="259" y="514"/>
                  </a:lnTo>
                  <a:lnTo>
                    <a:pt x="284" y="506"/>
                  </a:lnTo>
                  <a:lnTo>
                    <a:pt x="314" y="497"/>
                  </a:lnTo>
                  <a:lnTo>
                    <a:pt x="350" y="495"/>
                  </a:lnTo>
                  <a:lnTo>
                    <a:pt x="365" y="506"/>
                  </a:lnTo>
                  <a:lnTo>
                    <a:pt x="379" y="507"/>
                  </a:lnTo>
                  <a:lnTo>
                    <a:pt x="399" y="521"/>
                  </a:lnTo>
                  <a:lnTo>
                    <a:pt x="392" y="527"/>
                  </a:lnTo>
                  <a:lnTo>
                    <a:pt x="400" y="536"/>
                  </a:lnTo>
                  <a:lnTo>
                    <a:pt x="405" y="553"/>
                  </a:lnTo>
                  <a:lnTo>
                    <a:pt x="398" y="566"/>
                  </a:lnTo>
                  <a:lnTo>
                    <a:pt x="409" y="575"/>
                  </a:lnTo>
                  <a:lnTo>
                    <a:pt x="425" y="557"/>
                  </a:lnTo>
                  <a:lnTo>
                    <a:pt x="441" y="549"/>
                  </a:lnTo>
                  <a:lnTo>
                    <a:pt x="466" y="529"/>
                  </a:lnTo>
                  <a:lnTo>
                    <a:pt x="461" y="546"/>
                  </a:lnTo>
                  <a:lnTo>
                    <a:pt x="447" y="558"/>
                  </a:lnTo>
                  <a:lnTo>
                    <a:pt x="438" y="572"/>
                  </a:lnTo>
                  <a:lnTo>
                    <a:pt x="422" y="585"/>
                  </a:lnTo>
                  <a:lnTo>
                    <a:pt x="441" y="580"/>
                  </a:lnTo>
                  <a:lnTo>
                    <a:pt x="459" y="564"/>
                  </a:lnTo>
                  <a:lnTo>
                    <a:pt x="456" y="582"/>
                  </a:lnTo>
                  <a:lnTo>
                    <a:pt x="444" y="593"/>
                  </a:lnTo>
                  <a:lnTo>
                    <a:pt x="461" y="596"/>
                  </a:lnTo>
                  <a:lnTo>
                    <a:pt x="466" y="606"/>
                  </a:lnTo>
                  <a:lnTo>
                    <a:pt x="464" y="618"/>
                  </a:lnTo>
                  <a:lnTo>
                    <a:pt x="459" y="637"/>
                  </a:lnTo>
                  <a:lnTo>
                    <a:pt x="464" y="652"/>
                  </a:lnTo>
                  <a:lnTo>
                    <a:pt x="479" y="659"/>
                  </a:lnTo>
                  <a:lnTo>
                    <a:pt x="489" y="660"/>
                  </a:lnTo>
                  <a:lnTo>
                    <a:pt x="499" y="664"/>
                  </a:lnTo>
                  <a:lnTo>
                    <a:pt x="512" y="671"/>
                  </a:lnTo>
                  <a:lnTo>
                    <a:pt x="538" y="653"/>
                  </a:lnTo>
                  <a:lnTo>
                    <a:pt x="551" y="648"/>
                  </a:lnTo>
                  <a:lnTo>
                    <a:pt x="542" y="661"/>
                  </a:lnTo>
                  <a:lnTo>
                    <a:pt x="551" y="665"/>
                  </a:lnTo>
                  <a:lnTo>
                    <a:pt x="561" y="676"/>
                  </a:lnTo>
                  <a:lnTo>
                    <a:pt x="579" y="666"/>
                  </a:lnTo>
                  <a:lnTo>
                    <a:pt x="593" y="657"/>
                  </a:lnTo>
                  <a:lnTo>
                    <a:pt x="616" y="646"/>
                  </a:lnTo>
                  <a:lnTo>
                    <a:pt x="639" y="646"/>
                  </a:lnTo>
                  <a:lnTo>
                    <a:pt x="655" y="637"/>
                  </a:lnTo>
                  <a:lnTo>
                    <a:pt x="658" y="630"/>
                  </a:lnTo>
                  <a:lnTo>
                    <a:pt x="669" y="613"/>
                  </a:lnTo>
                  <a:lnTo>
                    <a:pt x="684" y="595"/>
                  </a:lnTo>
                  <a:lnTo>
                    <a:pt x="697" y="583"/>
                  </a:lnTo>
                  <a:lnTo>
                    <a:pt x="714" y="562"/>
                  </a:lnTo>
                  <a:lnTo>
                    <a:pt x="726" y="550"/>
                  </a:lnTo>
                  <a:lnTo>
                    <a:pt x="742" y="532"/>
                  </a:lnTo>
                  <a:lnTo>
                    <a:pt x="762" y="520"/>
                  </a:lnTo>
                  <a:lnTo>
                    <a:pt x="781" y="499"/>
                  </a:lnTo>
                  <a:lnTo>
                    <a:pt x="793" y="482"/>
                  </a:lnTo>
                  <a:lnTo>
                    <a:pt x="798" y="468"/>
                  </a:lnTo>
                  <a:lnTo>
                    <a:pt x="813" y="447"/>
                  </a:lnTo>
                  <a:lnTo>
                    <a:pt x="820" y="436"/>
                  </a:lnTo>
                  <a:lnTo>
                    <a:pt x="829" y="415"/>
                  </a:lnTo>
                  <a:lnTo>
                    <a:pt x="827" y="394"/>
                  </a:lnTo>
                  <a:lnTo>
                    <a:pt x="833" y="380"/>
                  </a:lnTo>
                  <a:lnTo>
                    <a:pt x="837" y="366"/>
                  </a:lnTo>
                  <a:lnTo>
                    <a:pt x="837" y="348"/>
                  </a:lnTo>
                  <a:lnTo>
                    <a:pt x="827" y="328"/>
                  </a:lnTo>
                  <a:lnTo>
                    <a:pt x="820" y="319"/>
                  </a:lnTo>
                  <a:lnTo>
                    <a:pt x="809" y="305"/>
                  </a:lnTo>
                  <a:lnTo>
                    <a:pt x="812" y="279"/>
                  </a:lnTo>
                  <a:lnTo>
                    <a:pt x="806" y="283"/>
                  </a:lnTo>
                  <a:lnTo>
                    <a:pt x="799" y="273"/>
                  </a:lnTo>
                  <a:lnTo>
                    <a:pt x="790" y="278"/>
                  </a:lnTo>
                  <a:lnTo>
                    <a:pt x="788" y="252"/>
                  </a:lnTo>
                  <a:lnTo>
                    <a:pt x="780" y="237"/>
                  </a:lnTo>
                  <a:lnTo>
                    <a:pt x="784" y="232"/>
                  </a:lnTo>
                  <a:lnTo>
                    <a:pt x="772" y="221"/>
                  </a:lnTo>
                  <a:lnTo>
                    <a:pt x="760" y="209"/>
                  </a:lnTo>
                  <a:lnTo>
                    <a:pt x="741" y="197"/>
                  </a:lnTo>
                  <a:lnTo>
                    <a:pt x="737" y="181"/>
                  </a:lnTo>
                  <a:lnTo>
                    <a:pt x="742" y="169"/>
                  </a:lnTo>
                  <a:lnTo>
                    <a:pt x="741" y="149"/>
                  </a:lnTo>
                  <a:lnTo>
                    <a:pt x="736" y="146"/>
                  </a:lnTo>
                  <a:lnTo>
                    <a:pt x="735" y="134"/>
                  </a:lnTo>
                  <a:lnTo>
                    <a:pt x="734" y="113"/>
                  </a:lnTo>
                  <a:lnTo>
                    <a:pt x="738" y="103"/>
                  </a:lnTo>
                  <a:lnTo>
                    <a:pt x="729" y="94"/>
                  </a:lnTo>
                  <a:lnTo>
                    <a:pt x="725" y="83"/>
                  </a:lnTo>
                  <a:lnTo>
                    <a:pt x="710" y="93"/>
                  </a:lnTo>
                  <a:lnTo>
                    <a:pt x="705" y="74"/>
                  </a:lnTo>
                  <a:lnTo>
                    <a:pt x="705" y="7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Austria"/>
            <p:cNvSpPr>
              <a:spLocks/>
            </p:cNvSpPr>
            <p:nvPr/>
          </p:nvSpPr>
          <p:spPr bwMode="auto">
            <a:xfrm>
              <a:off x="6280150" y="2640013"/>
              <a:ext cx="217487" cy="95250"/>
            </a:xfrm>
            <a:custGeom>
              <a:avLst/>
              <a:gdLst>
                <a:gd name="T0" fmla="*/ 136 w 137"/>
                <a:gd name="T1" fmla="*/ 10 h 60"/>
                <a:gd name="T2" fmla="*/ 128 w 137"/>
                <a:gd name="T3" fmla="*/ 5 h 60"/>
                <a:gd name="T4" fmla="*/ 119 w 137"/>
                <a:gd name="T5" fmla="*/ 6 h 60"/>
                <a:gd name="T6" fmla="*/ 104 w 137"/>
                <a:gd name="T7" fmla="*/ 0 h 60"/>
                <a:gd name="T8" fmla="*/ 98 w 137"/>
                <a:gd name="T9" fmla="*/ 2 h 60"/>
                <a:gd name="T10" fmla="*/ 88 w 137"/>
                <a:gd name="T11" fmla="*/ 11 h 60"/>
                <a:gd name="T12" fmla="*/ 74 w 137"/>
                <a:gd name="T13" fmla="*/ 4 h 60"/>
                <a:gd name="T14" fmla="*/ 68 w 137"/>
                <a:gd name="T15" fmla="*/ 14 h 60"/>
                <a:gd name="T16" fmla="*/ 62 w 137"/>
                <a:gd name="T17" fmla="*/ 18 h 60"/>
                <a:gd name="T18" fmla="*/ 65 w 137"/>
                <a:gd name="T19" fmla="*/ 32 h 60"/>
                <a:gd name="T20" fmla="*/ 64 w 137"/>
                <a:gd name="T21" fmla="*/ 36 h 60"/>
                <a:gd name="T22" fmla="*/ 58 w 137"/>
                <a:gd name="T23" fmla="*/ 32 h 60"/>
                <a:gd name="T24" fmla="*/ 49 w 137"/>
                <a:gd name="T25" fmla="*/ 31 h 60"/>
                <a:gd name="T26" fmla="*/ 36 w 137"/>
                <a:gd name="T27" fmla="*/ 35 h 60"/>
                <a:gd name="T28" fmla="*/ 20 w 137"/>
                <a:gd name="T29" fmla="*/ 34 h 60"/>
                <a:gd name="T30" fmla="*/ 18 w 137"/>
                <a:gd name="T31" fmla="*/ 40 h 60"/>
                <a:gd name="T32" fmla="*/ 7 w 137"/>
                <a:gd name="T33" fmla="*/ 33 h 60"/>
                <a:gd name="T34" fmla="*/ 2 w 137"/>
                <a:gd name="T35" fmla="*/ 34 h 60"/>
                <a:gd name="T36" fmla="*/ 3 w 137"/>
                <a:gd name="T37" fmla="*/ 39 h 60"/>
                <a:gd name="T38" fmla="*/ 0 w 137"/>
                <a:gd name="T39" fmla="*/ 45 h 60"/>
                <a:gd name="T40" fmla="*/ 8 w 137"/>
                <a:gd name="T41" fmla="*/ 49 h 60"/>
                <a:gd name="T42" fmla="*/ 19 w 137"/>
                <a:gd name="T43" fmla="*/ 49 h 60"/>
                <a:gd name="T44" fmla="*/ 30 w 137"/>
                <a:gd name="T45" fmla="*/ 53 h 60"/>
                <a:gd name="T46" fmla="*/ 32 w 137"/>
                <a:gd name="T47" fmla="*/ 48 h 60"/>
                <a:gd name="T48" fmla="*/ 49 w 137"/>
                <a:gd name="T49" fmla="*/ 45 h 60"/>
                <a:gd name="T50" fmla="*/ 55 w 137"/>
                <a:gd name="T51" fmla="*/ 53 h 60"/>
                <a:gd name="T52" fmla="*/ 81 w 137"/>
                <a:gd name="T53" fmla="*/ 59 h 60"/>
                <a:gd name="T54" fmla="*/ 97 w 137"/>
                <a:gd name="T55" fmla="*/ 60 h 60"/>
                <a:gd name="T56" fmla="*/ 106 w 137"/>
                <a:gd name="T57" fmla="*/ 55 h 60"/>
                <a:gd name="T58" fmla="*/ 122 w 137"/>
                <a:gd name="T59" fmla="*/ 55 h 60"/>
                <a:gd name="T60" fmla="*/ 126 w 137"/>
                <a:gd name="T61" fmla="*/ 50 h 60"/>
                <a:gd name="T62" fmla="*/ 131 w 137"/>
                <a:gd name="T63" fmla="*/ 35 h 60"/>
                <a:gd name="T64" fmla="*/ 126 w 137"/>
                <a:gd name="T65" fmla="*/ 31 h 60"/>
                <a:gd name="T66" fmla="*/ 137 w 137"/>
                <a:gd name="T67" fmla="*/ 31 h 60"/>
                <a:gd name="T68" fmla="*/ 137 w 137"/>
                <a:gd name="T69" fmla="*/ 21 h 60"/>
                <a:gd name="T70" fmla="*/ 135 w 137"/>
                <a:gd name="T71" fmla="*/ 13 h 60"/>
                <a:gd name="T72" fmla="*/ 136 w 137"/>
                <a:gd name="T73" fmla="*/ 10 h 60"/>
                <a:gd name="T74" fmla="*/ 136 w 137"/>
                <a:gd name="T75"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60">
                  <a:moveTo>
                    <a:pt x="136" y="10"/>
                  </a:moveTo>
                  <a:lnTo>
                    <a:pt x="128" y="5"/>
                  </a:lnTo>
                  <a:lnTo>
                    <a:pt x="119" y="6"/>
                  </a:lnTo>
                  <a:lnTo>
                    <a:pt x="104" y="0"/>
                  </a:lnTo>
                  <a:lnTo>
                    <a:pt x="98" y="2"/>
                  </a:lnTo>
                  <a:lnTo>
                    <a:pt x="88" y="11"/>
                  </a:lnTo>
                  <a:lnTo>
                    <a:pt x="74" y="4"/>
                  </a:lnTo>
                  <a:lnTo>
                    <a:pt x="68" y="14"/>
                  </a:lnTo>
                  <a:lnTo>
                    <a:pt x="62" y="18"/>
                  </a:lnTo>
                  <a:lnTo>
                    <a:pt x="65" y="32"/>
                  </a:lnTo>
                  <a:lnTo>
                    <a:pt x="64" y="36"/>
                  </a:lnTo>
                  <a:lnTo>
                    <a:pt x="58" y="32"/>
                  </a:lnTo>
                  <a:lnTo>
                    <a:pt x="49" y="31"/>
                  </a:lnTo>
                  <a:lnTo>
                    <a:pt x="36" y="35"/>
                  </a:lnTo>
                  <a:lnTo>
                    <a:pt x="20" y="34"/>
                  </a:lnTo>
                  <a:lnTo>
                    <a:pt x="18" y="40"/>
                  </a:lnTo>
                  <a:lnTo>
                    <a:pt x="7" y="33"/>
                  </a:lnTo>
                  <a:lnTo>
                    <a:pt x="2" y="34"/>
                  </a:lnTo>
                  <a:lnTo>
                    <a:pt x="3" y="39"/>
                  </a:lnTo>
                  <a:lnTo>
                    <a:pt x="0" y="45"/>
                  </a:lnTo>
                  <a:lnTo>
                    <a:pt x="8" y="49"/>
                  </a:lnTo>
                  <a:lnTo>
                    <a:pt x="19" y="49"/>
                  </a:lnTo>
                  <a:lnTo>
                    <a:pt x="30" y="53"/>
                  </a:lnTo>
                  <a:lnTo>
                    <a:pt x="32" y="48"/>
                  </a:lnTo>
                  <a:lnTo>
                    <a:pt x="49" y="45"/>
                  </a:lnTo>
                  <a:lnTo>
                    <a:pt x="55" y="53"/>
                  </a:lnTo>
                  <a:lnTo>
                    <a:pt x="81" y="59"/>
                  </a:lnTo>
                  <a:lnTo>
                    <a:pt x="97" y="60"/>
                  </a:lnTo>
                  <a:lnTo>
                    <a:pt x="106" y="55"/>
                  </a:lnTo>
                  <a:lnTo>
                    <a:pt x="122" y="55"/>
                  </a:lnTo>
                  <a:lnTo>
                    <a:pt x="126" y="50"/>
                  </a:lnTo>
                  <a:lnTo>
                    <a:pt x="131" y="35"/>
                  </a:lnTo>
                  <a:lnTo>
                    <a:pt x="126" y="31"/>
                  </a:lnTo>
                  <a:lnTo>
                    <a:pt x="137" y="31"/>
                  </a:lnTo>
                  <a:lnTo>
                    <a:pt x="137" y="21"/>
                  </a:lnTo>
                  <a:lnTo>
                    <a:pt x="135" y="13"/>
                  </a:lnTo>
                  <a:lnTo>
                    <a:pt x="136" y="10"/>
                  </a:lnTo>
                  <a:lnTo>
                    <a:pt x="136" y="1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Azerbaijan"/>
            <p:cNvSpPr>
              <a:spLocks noEditPoints="1"/>
            </p:cNvSpPr>
            <p:nvPr/>
          </p:nvSpPr>
          <p:spPr bwMode="auto">
            <a:xfrm>
              <a:off x="7372350" y="2901951"/>
              <a:ext cx="174625" cy="134938"/>
            </a:xfrm>
            <a:custGeom>
              <a:avLst/>
              <a:gdLst>
                <a:gd name="T0" fmla="*/ 8 w 110"/>
                <a:gd name="T1" fmla="*/ 50 h 85"/>
                <a:gd name="T2" fmla="*/ 4 w 110"/>
                <a:gd name="T3" fmla="*/ 50 h 85"/>
                <a:gd name="T4" fmla="*/ 8 w 110"/>
                <a:gd name="T5" fmla="*/ 60 h 85"/>
                <a:gd name="T6" fmla="*/ 21 w 110"/>
                <a:gd name="T7" fmla="*/ 71 h 85"/>
                <a:gd name="T8" fmla="*/ 35 w 110"/>
                <a:gd name="T9" fmla="*/ 74 h 85"/>
                <a:gd name="T10" fmla="*/ 24 w 110"/>
                <a:gd name="T11" fmla="*/ 60 h 85"/>
                <a:gd name="T12" fmla="*/ 23 w 110"/>
                <a:gd name="T13" fmla="*/ 56 h 85"/>
                <a:gd name="T14" fmla="*/ 15 w 110"/>
                <a:gd name="T15" fmla="*/ 56 h 85"/>
                <a:gd name="T16" fmla="*/ 8 w 110"/>
                <a:gd name="T17" fmla="*/ 50 h 85"/>
                <a:gd name="T18" fmla="*/ 8 w 110"/>
                <a:gd name="T19" fmla="*/ 50 h 85"/>
                <a:gd name="T20" fmla="*/ 47 w 110"/>
                <a:gd name="T21" fmla="*/ 15 h 85"/>
                <a:gd name="T22" fmla="*/ 31 w 110"/>
                <a:gd name="T23" fmla="*/ 1 h 85"/>
                <a:gd name="T24" fmla="*/ 25 w 110"/>
                <a:gd name="T25" fmla="*/ 0 h 85"/>
                <a:gd name="T26" fmla="*/ 21 w 110"/>
                <a:gd name="T27" fmla="*/ 4 h 85"/>
                <a:gd name="T28" fmla="*/ 33 w 110"/>
                <a:gd name="T29" fmla="*/ 17 h 85"/>
                <a:gd name="T30" fmla="*/ 31 w 110"/>
                <a:gd name="T31" fmla="*/ 19 h 85"/>
                <a:gd name="T32" fmla="*/ 21 w 110"/>
                <a:gd name="T33" fmla="*/ 18 h 85"/>
                <a:gd name="T34" fmla="*/ 5 w 110"/>
                <a:gd name="T35" fmla="*/ 11 h 85"/>
                <a:gd name="T36" fmla="*/ 0 w 110"/>
                <a:gd name="T37" fmla="*/ 15 h 85"/>
                <a:gd name="T38" fmla="*/ 6 w 110"/>
                <a:gd name="T39" fmla="*/ 21 h 85"/>
                <a:gd name="T40" fmla="*/ 14 w 110"/>
                <a:gd name="T41" fmla="*/ 25 h 85"/>
                <a:gd name="T42" fmla="*/ 11 w 110"/>
                <a:gd name="T43" fmla="*/ 31 h 85"/>
                <a:gd name="T44" fmla="*/ 22 w 110"/>
                <a:gd name="T45" fmla="*/ 39 h 85"/>
                <a:gd name="T46" fmla="*/ 19 w 110"/>
                <a:gd name="T47" fmla="*/ 47 h 85"/>
                <a:gd name="T48" fmla="*/ 28 w 110"/>
                <a:gd name="T49" fmla="*/ 52 h 85"/>
                <a:gd name="T50" fmla="*/ 37 w 110"/>
                <a:gd name="T51" fmla="*/ 57 h 85"/>
                <a:gd name="T52" fmla="*/ 41 w 110"/>
                <a:gd name="T53" fmla="*/ 73 h 85"/>
                <a:gd name="T54" fmla="*/ 61 w 110"/>
                <a:gd name="T55" fmla="*/ 56 h 85"/>
                <a:gd name="T56" fmla="*/ 68 w 110"/>
                <a:gd name="T57" fmla="*/ 54 h 85"/>
                <a:gd name="T58" fmla="*/ 75 w 110"/>
                <a:gd name="T59" fmla="*/ 61 h 85"/>
                <a:gd name="T60" fmla="*/ 71 w 110"/>
                <a:gd name="T61" fmla="*/ 73 h 85"/>
                <a:gd name="T62" fmla="*/ 85 w 110"/>
                <a:gd name="T63" fmla="*/ 85 h 85"/>
                <a:gd name="T64" fmla="*/ 90 w 110"/>
                <a:gd name="T65" fmla="*/ 84 h 85"/>
                <a:gd name="T66" fmla="*/ 87 w 110"/>
                <a:gd name="T67" fmla="*/ 72 h 85"/>
                <a:gd name="T68" fmla="*/ 93 w 110"/>
                <a:gd name="T69" fmla="*/ 66 h 85"/>
                <a:gd name="T70" fmla="*/ 94 w 110"/>
                <a:gd name="T71" fmla="*/ 58 h 85"/>
                <a:gd name="T72" fmla="*/ 94 w 110"/>
                <a:gd name="T73" fmla="*/ 39 h 85"/>
                <a:gd name="T74" fmla="*/ 110 w 110"/>
                <a:gd name="T75" fmla="*/ 37 h 85"/>
                <a:gd name="T76" fmla="*/ 103 w 110"/>
                <a:gd name="T77" fmla="*/ 32 h 85"/>
                <a:gd name="T78" fmla="*/ 93 w 110"/>
                <a:gd name="T79" fmla="*/ 31 h 85"/>
                <a:gd name="T80" fmla="*/ 80 w 110"/>
                <a:gd name="T81" fmla="*/ 14 h 85"/>
                <a:gd name="T82" fmla="*/ 67 w 110"/>
                <a:gd name="T83" fmla="*/ 2 h 85"/>
                <a:gd name="T84" fmla="*/ 67 w 110"/>
                <a:gd name="T85" fmla="*/ 2 h 85"/>
                <a:gd name="T86" fmla="*/ 58 w 110"/>
                <a:gd name="T87" fmla="*/ 11 h 85"/>
                <a:gd name="T88" fmla="*/ 56 w 110"/>
                <a:gd name="T89" fmla="*/ 17 h 85"/>
                <a:gd name="T90" fmla="*/ 47 w 110"/>
                <a:gd name="T91" fmla="*/ 15 h 85"/>
                <a:gd name="T92" fmla="*/ 47 w 110"/>
                <a:gd name="T93"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5">
                  <a:moveTo>
                    <a:pt x="8" y="50"/>
                  </a:moveTo>
                  <a:lnTo>
                    <a:pt x="4" y="50"/>
                  </a:lnTo>
                  <a:lnTo>
                    <a:pt x="8" y="60"/>
                  </a:lnTo>
                  <a:lnTo>
                    <a:pt x="21" y="71"/>
                  </a:lnTo>
                  <a:lnTo>
                    <a:pt x="35" y="74"/>
                  </a:lnTo>
                  <a:lnTo>
                    <a:pt x="24" y="60"/>
                  </a:lnTo>
                  <a:lnTo>
                    <a:pt x="23" y="56"/>
                  </a:lnTo>
                  <a:lnTo>
                    <a:pt x="15" y="56"/>
                  </a:lnTo>
                  <a:lnTo>
                    <a:pt x="8" y="50"/>
                  </a:lnTo>
                  <a:lnTo>
                    <a:pt x="8" y="50"/>
                  </a:lnTo>
                  <a:close/>
                  <a:moveTo>
                    <a:pt x="47" y="15"/>
                  </a:moveTo>
                  <a:lnTo>
                    <a:pt x="31" y="1"/>
                  </a:lnTo>
                  <a:lnTo>
                    <a:pt x="25" y="0"/>
                  </a:lnTo>
                  <a:lnTo>
                    <a:pt x="21" y="4"/>
                  </a:lnTo>
                  <a:lnTo>
                    <a:pt x="33" y="17"/>
                  </a:lnTo>
                  <a:lnTo>
                    <a:pt x="31" y="19"/>
                  </a:lnTo>
                  <a:lnTo>
                    <a:pt x="21" y="18"/>
                  </a:lnTo>
                  <a:lnTo>
                    <a:pt x="5" y="11"/>
                  </a:lnTo>
                  <a:lnTo>
                    <a:pt x="0" y="15"/>
                  </a:lnTo>
                  <a:lnTo>
                    <a:pt x="6" y="21"/>
                  </a:lnTo>
                  <a:lnTo>
                    <a:pt x="14" y="25"/>
                  </a:lnTo>
                  <a:lnTo>
                    <a:pt x="11" y="31"/>
                  </a:lnTo>
                  <a:lnTo>
                    <a:pt x="22" y="39"/>
                  </a:lnTo>
                  <a:lnTo>
                    <a:pt x="19" y="47"/>
                  </a:lnTo>
                  <a:lnTo>
                    <a:pt x="28" y="52"/>
                  </a:lnTo>
                  <a:lnTo>
                    <a:pt x="37" y="57"/>
                  </a:lnTo>
                  <a:lnTo>
                    <a:pt x="41" y="73"/>
                  </a:lnTo>
                  <a:lnTo>
                    <a:pt x="61" y="56"/>
                  </a:lnTo>
                  <a:lnTo>
                    <a:pt x="68" y="54"/>
                  </a:lnTo>
                  <a:lnTo>
                    <a:pt x="75" y="61"/>
                  </a:lnTo>
                  <a:lnTo>
                    <a:pt x="71" y="73"/>
                  </a:lnTo>
                  <a:lnTo>
                    <a:pt x="85" y="85"/>
                  </a:lnTo>
                  <a:lnTo>
                    <a:pt x="90" y="84"/>
                  </a:lnTo>
                  <a:lnTo>
                    <a:pt x="87" y="72"/>
                  </a:lnTo>
                  <a:lnTo>
                    <a:pt x="93" y="66"/>
                  </a:lnTo>
                  <a:lnTo>
                    <a:pt x="94" y="58"/>
                  </a:lnTo>
                  <a:lnTo>
                    <a:pt x="94" y="39"/>
                  </a:lnTo>
                  <a:lnTo>
                    <a:pt x="110" y="37"/>
                  </a:lnTo>
                  <a:lnTo>
                    <a:pt x="103" y="32"/>
                  </a:lnTo>
                  <a:lnTo>
                    <a:pt x="93" y="31"/>
                  </a:lnTo>
                  <a:lnTo>
                    <a:pt x="80" y="14"/>
                  </a:lnTo>
                  <a:lnTo>
                    <a:pt x="67" y="2"/>
                  </a:lnTo>
                  <a:lnTo>
                    <a:pt x="67" y="2"/>
                  </a:lnTo>
                  <a:lnTo>
                    <a:pt x="58" y="11"/>
                  </a:lnTo>
                  <a:lnTo>
                    <a:pt x="56" y="17"/>
                  </a:lnTo>
                  <a:lnTo>
                    <a:pt x="47" y="15"/>
                  </a:lnTo>
                  <a:lnTo>
                    <a:pt x="47" y="1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Burundi"/>
            <p:cNvSpPr>
              <a:spLocks/>
            </p:cNvSpPr>
            <p:nvPr/>
          </p:nvSpPr>
          <p:spPr bwMode="auto">
            <a:xfrm>
              <a:off x="6967537" y="4570413"/>
              <a:ext cx="58737" cy="80963"/>
            </a:xfrm>
            <a:custGeom>
              <a:avLst/>
              <a:gdLst>
                <a:gd name="T0" fmla="*/ 32 w 37"/>
                <a:gd name="T1" fmla="*/ 12 h 51"/>
                <a:gd name="T2" fmla="*/ 31 w 37"/>
                <a:gd name="T3" fmla="*/ 2 h 51"/>
                <a:gd name="T4" fmla="*/ 31 w 37"/>
                <a:gd name="T5" fmla="*/ 2 h 51"/>
                <a:gd name="T6" fmla="*/ 20 w 37"/>
                <a:gd name="T7" fmla="*/ 0 h 51"/>
                <a:gd name="T8" fmla="*/ 13 w 37"/>
                <a:gd name="T9" fmla="*/ 14 h 51"/>
                <a:gd name="T10" fmla="*/ 0 w 37"/>
                <a:gd name="T11" fmla="*/ 13 h 51"/>
                <a:gd name="T12" fmla="*/ 5 w 37"/>
                <a:gd name="T13" fmla="*/ 23 h 51"/>
                <a:gd name="T14" fmla="*/ 6 w 37"/>
                <a:gd name="T15" fmla="*/ 27 h 51"/>
                <a:gd name="T16" fmla="*/ 13 w 37"/>
                <a:gd name="T17" fmla="*/ 50 h 51"/>
                <a:gd name="T18" fmla="*/ 12 w 37"/>
                <a:gd name="T19" fmla="*/ 51 h 51"/>
                <a:gd name="T20" fmla="*/ 15 w 37"/>
                <a:gd name="T21" fmla="*/ 51 h 51"/>
                <a:gd name="T22" fmla="*/ 23 w 37"/>
                <a:gd name="T23" fmla="*/ 42 h 51"/>
                <a:gd name="T24" fmla="*/ 31 w 37"/>
                <a:gd name="T25" fmla="*/ 30 h 51"/>
                <a:gd name="T26" fmla="*/ 37 w 37"/>
                <a:gd name="T27" fmla="*/ 25 h 51"/>
                <a:gd name="T28" fmla="*/ 37 w 37"/>
                <a:gd name="T29" fmla="*/ 17 h 51"/>
                <a:gd name="T30" fmla="*/ 32 w 37"/>
                <a:gd name="T31" fmla="*/ 12 h 51"/>
                <a:gd name="T32" fmla="*/ 32 w 37"/>
                <a:gd name="T3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51">
                  <a:moveTo>
                    <a:pt x="32" y="12"/>
                  </a:moveTo>
                  <a:lnTo>
                    <a:pt x="31" y="2"/>
                  </a:lnTo>
                  <a:lnTo>
                    <a:pt x="31" y="2"/>
                  </a:lnTo>
                  <a:lnTo>
                    <a:pt x="20" y="0"/>
                  </a:lnTo>
                  <a:lnTo>
                    <a:pt x="13" y="14"/>
                  </a:lnTo>
                  <a:lnTo>
                    <a:pt x="0" y="13"/>
                  </a:lnTo>
                  <a:lnTo>
                    <a:pt x="5" y="23"/>
                  </a:lnTo>
                  <a:lnTo>
                    <a:pt x="6" y="27"/>
                  </a:lnTo>
                  <a:lnTo>
                    <a:pt x="13" y="50"/>
                  </a:lnTo>
                  <a:lnTo>
                    <a:pt x="12" y="51"/>
                  </a:lnTo>
                  <a:lnTo>
                    <a:pt x="15" y="51"/>
                  </a:lnTo>
                  <a:lnTo>
                    <a:pt x="23" y="42"/>
                  </a:lnTo>
                  <a:lnTo>
                    <a:pt x="31" y="30"/>
                  </a:lnTo>
                  <a:lnTo>
                    <a:pt x="37" y="25"/>
                  </a:lnTo>
                  <a:lnTo>
                    <a:pt x="37" y="17"/>
                  </a:lnTo>
                  <a:lnTo>
                    <a:pt x="32" y="12"/>
                  </a:lnTo>
                  <a:lnTo>
                    <a:pt x="32" y="1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Belgium"/>
            <p:cNvSpPr>
              <a:spLocks/>
            </p:cNvSpPr>
            <p:nvPr/>
          </p:nvSpPr>
          <p:spPr bwMode="auto">
            <a:xfrm>
              <a:off x="6073775" y="2551113"/>
              <a:ext cx="104775" cy="71438"/>
            </a:xfrm>
            <a:custGeom>
              <a:avLst/>
              <a:gdLst>
                <a:gd name="T0" fmla="*/ 44 w 66"/>
                <a:gd name="T1" fmla="*/ 0 h 45"/>
                <a:gd name="T2" fmla="*/ 27 w 66"/>
                <a:gd name="T3" fmla="*/ 4 h 45"/>
                <a:gd name="T4" fmla="*/ 14 w 66"/>
                <a:gd name="T5" fmla="*/ 3 h 45"/>
                <a:gd name="T6" fmla="*/ 14 w 66"/>
                <a:gd name="T7" fmla="*/ 3 h 45"/>
                <a:gd name="T8" fmla="*/ 0 w 66"/>
                <a:gd name="T9" fmla="*/ 7 h 45"/>
                <a:gd name="T10" fmla="*/ 2 w 66"/>
                <a:gd name="T11" fmla="*/ 16 h 45"/>
                <a:gd name="T12" fmla="*/ 10 w 66"/>
                <a:gd name="T13" fmla="*/ 16 h 45"/>
                <a:gd name="T14" fmla="*/ 20 w 66"/>
                <a:gd name="T15" fmla="*/ 25 h 45"/>
                <a:gd name="T16" fmla="*/ 32 w 66"/>
                <a:gd name="T17" fmla="*/ 35 h 45"/>
                <a:gd name="T18" fmla="*/ 41 w 66"/>
                <a:gd name="T19" fmla="*/ 34 h 45"/>
                <a:gd name="T20" fmla="*/ 58 w 66"/>
                <a:gd name="T21" fmla="*/ 45 h 45"/>
                <a:gd name="T22" fmla="*/ 60 w 66"/>
                <a:gd name="T23" fmla="*/ 32 h 45"/>
                <a:gd name="T24" fmla="*/ 65 w 66"/>
                <a:gd name="T25" fmla="*/ 31 h 45"/>
                <a:gd name="T26" fmla="*/ 66 w 66"/>
                <a:gd name="T27" fmla="*/ 15 h 45"/>
                <a:gd name="T28" fmla="*/ 55 w 66"/>
                <a:gd name="T29" fmla="*/ 10 h 45"/>
                <a:gd name="T30" fmla="*/ 44 w 66"/>
                <a:gd name="T31" fmla="*/ 0 h 45"/>
                <a:gd name="T32" fmla="*/ 44 w 66"/>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45">
                  <a:moveTo>
                    <a:pt x="44" y="0"/>
                  </a:moveTo>
                  <a:lnTo>
                    <a:pt x="27" y="4"/>
                  </a:lnTo>
                  <a:lnTo>
                    <a:pt x="14" y="3"/>
                  </a:lnTo>
                  <a:lnTo>
                    <a:pt x="14" y="3"/>
                  </a:lnTo>
                  <a:lnTo>
                    <a:pt x="0" y="7"/>
                  </a:lnTo>
                  <a:lnTo>
                    <a:pt x="2" y="16"/>
                  </a:lnTo>
                  <a:lnTo>
                    <a:pt x="10" y="16"/>
                  </a:lnTo>
                  <a:lnTo>
                    <a:pt x="20" y="25"/>
                  </a:lnTo>
                  <a:lnTo>
                    <a:pt x="32" y="35"/>
                  </a:lnTo>
                  <a:lnTo>
                    <a:pt x="41" y="34"/>
                  </a:lnTo>
                  <a:lnTo>
                    <a:pt x="58" y="45"/>
                  </a:lnTo>
                  <a:lnTo>
                    <a:pt x="60" y="32"/>
                  </a:lnTo>
                  <a:lnTo>
                    <a:pt x="65" y="31"/>
                  </a:lnTo>
                  <a:lnTo>
                    <a:pt x="66" y="15"/>
                  </a:lnTo>
                  <a:lnTo>
                    <a:pt x="55" y="10"/>
                  </a:lnTo>
                  <a:lnTo>
                    <a:pt x="44" y="0"/>
                  </a:lnTo>
                  <a:lnTo>
                    <a:pt x="44"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Benin"/>
            <p:cNvSpPr>
              <a:spLocks/>
            </p:cNvSpPr>
            <p:nvPr/>
          </p:nvSpPr>
          <p:spPr bwMode="auto">
            <a:xfrm>
              <a:off x="6026150" y="4021138"/>
              <a:ext cx="101600" cy="230188"/>
            </a:xfrm>
            <a:custGeom>
              <a:avLst/>
              <a:gdLst>
                <a:gd name="T0" fmla="*/ 60 w 64"/>
                <a:gd name="T1" fmla="*/ 14 h 145"/>
                <a:gd name="T2" fmla="*/ 43 w 64"/>
                <a:gd name="T3" fmla="*/ 0 h 145"/>
                <a:gd name="T4" fmla="*/ 36 w 64"/>
                <a:gd name="T5" fmla="*/ 0 h 145"/>
                <a:gd name="T6" fmla="*/ 29 w 64"/>
                <a:gd name="T7" fmla="*/ 7 h 145"/>
                <a:gd name="T8" fmla="*/ 25 w 64"/>
                <a:gd name="T9" fmla="*/ 14 h 145"/>
                <a:gd name="T10" fmla="*/ 14 w 64"/>
                <a:gd name="T11" fmla="*/ 17 h 145"/>
                <a:gd name="T12" fmla="*/ 10 w 64"/>
                <a:gd name="T13" fmla="*/ 27 h 145"/>
                <a:gd name="T14" fmla="*/ 3 w 64"/>
                <a:gd name="T15" fmla="*/ 30 h 145"/>
                <a:gd name="T16" fmla="*/ 0 w 64"/>
                <a:gd name="T17" fmla="*/ 42 h 145"/>
                <a:gd name="T18" fmla="*/ 7 w 64"/>
                <a:gd name="T19" fmla="*/ 49 h 145"/>
                <a:gd name="T20" fmla="*/ 14 w 64"/>
                <a:gd name="T21" fmla="*/ 58 h 145"/>
                <a:gd name="T22" fmla="*/ 15 w 64"/>
                <a:gd name="T23" fmla="*/ 69 h 145"/>
                <a:gd name="T24" fmla="*/ 19 w 64"/>
                <a:gd name="T25" fmla="*/ 74 h 145"/>
                <a:gd name="T26" fmla="*/ 18 w 64"/>
                <a:gd name="T27" fmla="*/ 129 h 145"/>
                <a:gd name="T28" fmla="*/ 24 w 64"/>
                <a:gd name="T29" fmla="*/ 145 h 145"/>
                <a:gd name="T30" fmla="*/ 40 w 64"/>
                <a:gd name="T31" fmla="*/ 142 h 145"/>
                <a:gd name="T32" fmla="*/ 41 w 64"/>
                <a:gd name="T33" fmla="*/ 104 h 145"/>
                <a:gd name="T34" fmla="*/ 41 w 64"/>
                <a:gd name="T35" fmla="*/ 89 h 145"/>
                <a:gd name="T36" fmla="*/ 45 w 64"/>
                <a:gd name="T37" fmla="*/ 74 h 145"/>
                <a:gd name="T38" fmla="*/ 52 w 64"/>
                <a:gd name="T39" fmla="*/ 66 h 145"/>
                <a:gd name="T40" fmla="*/ 62 w 64"/>
                <a:gd name="T41" fmla="*/ 51 h 145"/>
                <a:gd name="T42" fmla="*/ 59 w 64"/>
                <a:gd name="T43" fmla="*/ 46 h 145"/>
                <a:gd name="T44" fmla="*/ 64 w 64"/>
                <a:gd name="T45" fmla="*/ 36 h 145"/>
                <a:gd name="T46" fmla="*/ 59 w 64"/>
                <a:gd name="T47" fmla="*/ 21 h 145"/>
                <a:gd name="T48" fmla="*/ 60 w 64"/>
                <a:gd name="T49" fmla="*/ 14 h 145"/>
                <a:gd name="T50" fmla="*/ 60 w 64"/>
                <a:gd name="T51" fmla="*/ 1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145">
                  <a:moveTo>
                    <a:pt x="60" y="14"/>
                  </a:moveTo>
                  <a:lnTo>
                    <a:pt x="43" y="0"/>
                  </a:lnTo>
                  <a:lnTo>
                    <a:pt x="36" y="0"/>
                  </a:lnTo>
                  <a:lnTo>
                    <a:pt x="29" y="7"/>
                  </a:lnTo>
                  <a:lnTo>
                    <a:pt x="25" y="14"/>
                  </a:lnTo>
                  <a:lnTo>
                    <a:pt x="14" y="17"/>
                  </a:lnTo>
                  <a:lnTo>
                    <a:pt x="10" y="27"/>
                  </a:lnTo>
                  <a:lnTo>
                    <a:pt x="3" y="30"/>
                  </a:lnTo>
                  <a:lnTo>
                    <a:pt x="0" y="42"/>
                  </a:lnTo>
                  <a:lnTo>
                    <a:pt x="7" y="49"/>
                  </a:lnTo>
                  <a:lnTo>
                    <a:pt x="14" y="58"/>
                  </a:lnTo>
                  <a:lnTo>
                    <a:pt x="15" y="69"/>
                  </a:lnTo>
                  <a:lnTo>
                    <a:pt x="19" y="74"/>
                  </a:lnTo>
                  <a:lnTo>
                    <a:pt x="18" y="129"/>
                  </a:lnTo>
                  <a:lnTo>
                    <a:pt x="24" y="145"/>
                  </a:lnTo>
                  <a:lnTo>
                    <a:pt x="40" y="142"/>
                  </a:lnTo>
                  <a:lnTo>
                    <a:pt x="41" y="104"/>
                  </a:lnTo>
                  <a:lnTo>
                    <a:pt x="41" y="89"/>
                  </a:lnTo>
                  <a:lnTo>
                    <a:pt x="45" y="74"/>
                  </a:lnTo>
                  <a:lnTo>
                    <a:pt x="52" y="66"/>
                  </a:lnTo>
                  <a:lnTo>
                    <a:pt x="62" y="51"/>
                  </a:lnTo>
                  <a:lnTo>
                    <a:pt x="59" y="46"/>
                  </a:lnTo>
                  <a:lnTo>
                    <a:pt x="64" y="36"/>
                  </a:lnTo>
                  <a:lnTo>
                    <a:pt x="59" y="21"/>
                  </a:lnTo>
                  <a:lnTo>
                    <a:pt x="60" y="14"/>
                  </a:lnTo>
                  <a:lnTo>
                    <a:pt x="60" y="1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Burkina Faso"/>
            <p:cNvSpPr>
              <a:spLocks/>
            </p:cNvSpPr>
            <p:nvPr/>
          </p:nvSpPr>
          <p:spPr bwMode="auto">
            <a:xfrm>
              <a:off x="5819775" y="3913188"/>
              <a:ext cx="252412" cy="207963"/>
            </a:xfrm>
            <a:custGeom>
              <a:avLst/>
              <a:gdLst>
                <a:gd name="T0" fmla="*/ 122 w 159"/>
                <a:gd name="T1" fmla="*/ 5 h 131"/>
                <a:gd name="T2" fmla="*/ 109 w 159"/>
                <a:gd name="T3" fmla="*/ 5 h 131"/>
                <a:gd name="T4" fmla="*/ 103 w 159"/>
                <a:gd name="T5" fmla="*/ 0 h 131"/>
                <a:gd name="T6" fmla="*/ 92 w 159"/>
                <a:gd name="T7" fmla="*/ 4 h 131"/>
                <a:gd name="T8" fmla="*/ 72 w 159"/>
                <a:gd name="T9" fmla="*/ 13 h 131"/>
                <a:gd name="T10" fmla="*/ 69 w 159"/>
                <a:gd name="T11" fmla="*/ 20 h 131"/>
                <a:gd name="T12" fmla="*/ 53 w 159"/>
                <a:gd name="T13" fmla="*/ 32 h 131"/>
                <a:gd name="T14" fmla="*/ 50 w 159"/>
                <a:gd name="T15" fmla="*/ 37 h 131"/>
                <a:gd name="T16" fmla="*/ 41 w 159"/>
                <a:gd name="T17" fmla="*/ 42 h 131"/>
                <a:gd name="T18" fmla="*/ 31 w 159"/>
                <a:gd name="T19" fmla="*/ 39 h 131"/>
                <a:gd name="T20" fmla="*/ 25 w 159"/>
                <a:gd name="T21" fmla="*/ 45 h 131"/>
                <a:gd name="T22" fmla="*/ 22 w 159"/>
                <a:gd name="T23" fmla="*/ 61 h 131"/>
                <a:gd name="T24" fmla="*/ 5 w 159"/>
                <a:gd name="T25" fmla="*/ 80 h 131"/>
                <a:gd name="T26" fmla="*/ 6 w 159"/>
                <a:gd name="T27" fmla="*/ 89 h 131"/>
                <a:gd name="T28" fmla="*/ 0 w 159"/>
                <a:gd name="T29" fmla="*/ 99 h 131"/>
                <a:gd name="T30" fmla="*/ 1 w 159"/>
                <a:gd name="T31" fmla="*/ 113 h 131"/>
                <a:gd name="T32" fmla="*/ 11 w 159"/>
                <a:gd name="T33" fmla="*/ 117 h 131"/>
                <a:gd name="T34" fmla="*/ 15 w 159"/>
                <a:gd name="T35" fmla="*/ 126 h 131"/>
                <a:gd name="T36" fmla="*/ 24 w 159"/>
                <a:gd name="T37" fmla="*/ 131 h 131"/>
                <a:gd name="T38" fmla="*/ 31 w 159"/>
                <a:gd name="T39" fmla="*/ 125 h 131"/>
                <a:gd name="T40" fmla="*/ 41 w 159"/>
                <a:gd name="T41" fmla="*/ 124 h 131"/>
                <a:gd name="T42" fmla="*/ 56 w 159"/>
                <a:gd name="T43" fmla="*/ 130 h 131"/>
                <a:gd name="T44" fmla="*/ 52 w 159"/>
                <a:gd name="T45" fmla="*/ 112 h 131"/>
                <a:gd name="T46" fmla="*/ 53 w 159"/>
                <a:gd name="T47" fmla="*/ 99 h 131"/>
                <a:gd name="T48" fmla="*/ 89 w 159"/>
                <a:gd name="T49" fmla="*/ 97 h 131"/>
                <a:gd name="T50" fmla="*/ 99 w 159"/>
                <a:gd name="T51" fmla="*/ 99 h 131"/>
                <a:gd name="T52" fmla="*/ 105 w 159"/>
                <a:gd name="T53" fmla="*/ 95 h 131"/>
                <a:gd name="T54" fmla="*/ 114 w 159"/>
                <a:gd name="T55" fmla="*/ 97 h 131"/>
                <a:gd name="T56" fmla="*/ 133 w 159"/>
                <a:gd name="T57" fmla="*/ 98 h 131"/>
                <a:gd name="T58" fmla="*/ 140 w 159"/>
                <a:gd name="T59" fmla="*/ 95 h 131"/>
                <a:gd name="T60" fmla="*/ 144 w 159"/>
                <a:gd name="T61" fmla="*/ 85 h 131"/>
                <a:gd name="T62" fmla="*/ 155 w 159"/>
                <a:gd name="T63" fmla="*/ 82 h 131"/>
                <a:gd name="T64" fmla="*/ 159 w 159"/>
                <a:gd name="T65" fmla="*/ 75 h 131"/>
                <a:gd name="T66" fmla="*/ 159 w 159"/>
                <a:gd name="T67" fmla="*/ 59 h 131"/>
                <a:gd name="T68" fmla="*/ 136 w 159"/>
                <a:gd name="T69" fmla="*/ 54 h 131"/>
                <a:gd name="T70" fmla="*/ 135 w 159"/>
                <a:gd name="T71" fmla="*/ 42 h 131"/>
                <a:gd name="T72" fmla="*/ 123 w 159"/>
                <a:gd name="T73" fmla="*/ 27 h 131"/>
                <a:gd name="T74" fmla="*/ 120 w 159"/>
                <a:gd name="T75" fmla="*/ 16 h 131"/>
                <a:gd name="T76" fmla="*/ 122 w 159"/>
                <a:gd name="T77" fmla="*/ 5 h 131"/>
                <a:gd name="T78" fmla="*/ 122 w 159"/>
                <a:gd name="T79"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31">
                  <a:moveTo>
                    <a:pt x="122" y="5"/>
                  </a:moveTo>
                  <a:lnTo>
                    <a:pt x="109" y="5"/>
                  </a:lnTo>
                  <a:lnTo>
                    <a:pt x="103" y="0"/>
                  </a:lnTo>
                  <a:lnTo>
                    <a:pt x="92" y="4"/>
                  </a:lnTo>
                  <a:lnTo>
                    <a:pt x="72" y="13"/>
                  </a:lnTo>
                  <a:lnTo>
                    <a:pt x="69" y="20"/>
                  </a:lnTo>
                  <a:lnTo>
                    <a:pt x="53" y="32"/>
                  </a:lnTo>
                  <a:lnTo>
                    <a:pt x="50" y="37"/>
                  </a:lnTo>
                  <a:lnTo>
                    <a:pt x="41" y="42"/>
                  </a:lnTo>
                  <a:lnTo>
                    <a:pt x="31" y="39"/>
                  </a:lnTo>
                  <a:lnTo>
                    <a:pt x="25" y="45"/>
                  </a:lnTo>
                  <a:lnTo>
                    <a:pt x="22" y="61"/>
                  </a:lnTo>
                  <a:lnTo>
                    <a:pt x="5" y="80"/>
                  </a:lnTo>
                  <a:lnTo>
                    <a:pt x="6" y="89"/>
                  </a:lnTo>
                  <a:lnTo>
                    <a:pt x="0" y="99"/>
                  </a:lnTo>
                  <a:lnTo>
                    <a:pt x="1" y="113"/>
                  </a:lnTo>
                  <a:lnTo>
                    <a:pt x="11" y="117"/>
                  </a:lnTo>
                  <a:lnTo>
                    <a:pt x="15" y="126"/>
                  </a:lnTo>
                  <a:lnTo>
                    <a:pt x="24" y="131"/>
                  </a:lnTo>
                  <a:lnTo>
                    <a:pt x="31" y="125"/>
                  </a:lnTo>
                  <a:lnTo>
                    <a:pt x="41" y="124"/>
                  </a:lnTo>
                  <a:lnTo>
                    <a:pt x="56" y="130"/>
                  </a:lnTo>
                  <a:lnTo>
                    <a:pt x="52" y="112"/>
                  </a:lnTo>
                  <a:lnTo>
                    <a:pt x="53" y="99"/>
                  </a:lnTo>
                  <a:lnTo>
                    <a:pt x="89" y="97"/>
                  </a:lnTo>
                  <a:lnTo>
                    <a:pt x="99" y="99"/>
                  </a:lnTo>
                  <a:lnTo>
                    <a:pt x="105" y="95"/>
                  </a:lnTo>
                  <a:lnTo>
                    <a:pt x="114" y="97"/>
                  </a:lnTo>
                  <a:lnTo>
                    <a:pt x="133" y="98"/>
                  </a:lnTo>
                  <a:lnTo>
                    <a:pt x="140" y="95"/>
                  </a:lnTo>
                  <a:lnTo>
                    <a:pt x="144" y="85"/>
                  </a:lnTo>
                  <a:lnTo>
                    <a:pt x="155" y="82"/>
                  </a:lnTo>
                  <a:lnTo>
                    <a:pt x="159" y="75"/>
                  </a:lnTo>
                  <a:lnTo>
                    <a:pt x="159" y="59"/>
                  </a:lnTo>
                  <a:lnTo>
                    <a:pt x="136" y="54"/>
                  </a:lnTo>
                  <a:lnTo>
                    <a:pt x="135" y="42"/>
                  </a:lnTo>
                  <a:lnTo>
                    <a:pt x="123" y="27"/>
                  </a:lnTo>
                  <a:lnTo>
                    <a:pt x="120" y="16"/>
                  </a:lnTo>
                  <a:lnTo>
                    <a:pt x="122" y="5"/>
                  </a:lnTo>
                  <a:lnTo>
                    <a:pt x="122"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Bulgaria"/>
            <p:cNvSpPr>
              <a:spLocks/>
            </p:cNvSpPr>
            <p:nvPr/>
          </p:nvSpPr>
          <p:spPr bwMode="auto">
            <a:xfrm>
              <a:off x="6673850" y="2816226"/>
              <a:ext cx="185737" cy="109538"/>
            </a:xfrm>
            <a:custGeom>
              <a:avLst/>
              <a:gdLst>
                <a:gd name="T0" fmla="*/ 117 w 117"/>
                <a:gd name="T1" fmla="*/ 12 h 69"/>
                <a:gd name="T2" fmla="*/ 106 w 117"/>
                <a:gd name="T3" fmla="*/ 9 h 69"/>
                <a:gd name="T4" fmla="*/ 91 w 117"/>
                <a:gd name="T5" fmla="*/ 2 h 69"/>
                <a:gd name="T6" fmla="*/ 69 w 117"/>
                <a:gd name="T7" fmla="*/ 6 h 69"/>
                <a:gd name="T8" fmla="*/ 61 w 117"/>
                <a:gd name="T9" fmla="*/ 13 h 69"/>
                <a:gd name="T10" fmla="*/ 33 w 117"/>
                <a:gd name="T11" fmla="*/ 11 h 69"/>
                <a:gd name="T12" fmla="*/ 18 w 117"/>
                <a:gd name="T13" fmla="*/ 7 h 69"/>
                <a:gd name="T14" fmla="*/ 11 w 117"/>
                <a:gd name="T15" fmla="*/ 9 h 69"/>
                <a:gd name="T16" fmla="*/ 4 w 117"/>
                <a:gd name="T17" fmla="*/ 0 h 69"/>
                <a:gd name="T18" fmla="*/ 0 w 117"/>
                <a:gd name="T19" fmla="*/ 6 h 69"/>
                <a:gd name="T20" fmla="*/ 3 w 117"/>
                <a:gd name="T21" fmla="*/ 14 h 69"/>
                <a:gd name="T22" fmla="*/ 13 w 117"/>
                <a:gd name="T23" fmla="*/ 23 h 69"/>
                <a:gd name="T24" fmla="*/ 7 w 117"/>
                <a:gd name="T25" fmla="*/ 31 h 69"/>
                <a:gd name="T26" fmla="*/ 4 w 117"/>
                <a:gd name="T27" fmla="*/ 38 h 69"/>
                <a:gd name="T28" fmla="*/ 7 w 117"/>
                <a:gd name="T29" fmla="*/ 41 h 69"/>
                <a:gd name="T30" fmla="*/ 4 w 117"/>
                <a:gd name="T31" fmla="*/ 44 h 69"/>
                <a:gd name="T32" fmla="*/ 14 w 117"/>
                <a:gd name="T33" fmla="*/ 51 h 69"/>
                <a:gd name="T34" fmla="*/ 17 w 117"/>
                <a:gd name="T35" fmla="*/ 67 h 69"/>
                <a:gd name="T36" fmla="*/ 31 w 117"/>
                <a:gd name="T37" fmla="*/ 67 h 69"/>
                <a:gd name="T38" fmla="*/ 46 w 117"/>
                <a:gd name="T39" fmla="*/ 62 h 69"/>
                <a:gd name="T40" fmla="*/ 61 w 117"/>
                <a:gd name="T41" fmla="*/ 69 h 69"/>
                <a:gd name="T42" fmla="*/ 78 w 117"/>
                <a:gd name="T43" fmla="*/ 67 h 69"/>
                <a:gd name="T44" fmla="*/ 77 w 117"/>
                <a:gd name="T45" fmla="*/ 56 h 69"/>
                <a:gd name="T46" fmla="*/ 96 w 117"/>
                <a:gd name="T47" fmla="*/ 48 h 69"/>
                <a:gd name="T48" fmla="*/ 112 w 117"/>
                <a:gd name="T49" fmla="*/ 51 h 69"/>
                <a:gd name="T50" fmla="*/ 104 w 117"/>
                <a:gd name="T51" fmla="*/ 38 h 69"/>
                <a:gd name="T52" fmla="*/ 110 w 117"/>
                <a:gd name="T53" fmla="*/ 21 h 69"/>
                <a:gd name="T54" fmla="*/ 117 w 117"/>
                <a:gd name="T55" fmla="*/ 12 h 69"/>
                <a:gd name="T56" fmla="*/ 117 w 117"/>
                <a:gd name="T57"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69">
                  <a:moveTo>
                    <a:pt x="117" y="12"/>
                  </a:moveTo>
                  <a:lnTo>
                    <a:pt x="106" y="9"/>
                  </a:lnTo>
                  <a:lnTo>
                    <a:pt x="91" y="2"/>
                  </a:lnTo>
                  <a:lnTo>
                    <a:pt x="69" y="6"/>
                  </a:lnTo>
                  <a:lnTo>
                    <a:pt x="61" y="13"/>
                  </a:lnTo>
                  <a:lnTo>
                    <a:pt x="33" y="11"/>
                  </a:lnTo>
                  <a:lnTo>
                    <a:pt x="18" y="7"/>
                  </a:lnTo>
                  <a:lnTo>
                    <a:pt x="11" y="9"/>
                  </a:lnTo>
                  <a:lnTo>
                    <a:pt x="4" y="0"/>
                  </a:lnTo>
                  <a:lnTo>
                    <a:pt x="0" y="6"/>
                  </a:lnTo>
                  <a:lnTo>
                    <a:pt x="3" y="14"/>
                  </a:lnTo>
                  <a:lnTo>
                    <a:pt x="13" y="23"/>
                  </a:lnTo>
                  <a:lnTo>
                    <a:pt x="7" y="31"/>
                  </a:lnTo>
                  <a:lnTo>
                    <a:pt x="4" y="38"/>
                  </a:lnTo>
                  <a:lnTo>
                    <a:pt x="7" y="41"/>
                  </a:lnTo>
                  <a:lnTo>
                    <a:pt x="4" y="44"/>
                  </a:lnTo>
                  <a:lnTo>
                    <a:pt x="14" y="51"/>
                  </a:lnTo>
                  <a:lnTo>
                    <a:pt x="17" y="67"/>
                  </a:lnTo>
                  <a:lnTo>
                    <a:pt x="31" y="67"/>
                  </a:lnTo>
                  <a:lnTo>
                    <a:pt x="46" y="62"/>
                  </a:lnTo>
                  <a:lnTo>
                    <a:pt x="61" y="69"/>
                  </a:lnTo>
                  <a:lnTo>
                    <a:pt x="78" y="67"/>
                  </a:lnTo>
                  <a:lnTo>
                    <a:pt x="77" y="56"/>
                  </a:lnTo>
                  <a:lnTo>
                    <a:pt x="96" y="48"/>
                  </a:lnTo>
                  <a:lnTo>
                    <a:pt x="112" y="51"/>
                  </a:lnTo>
                  <a:lnTo>
                    <a:pt x="104" y="38"/>
                  </a:lnTo>
                  <a:lnTo>
                    <a:pt x="110" y="21"/>
                  </a:lnTo>
                  <a:lnTo>
                    <a:pt x="117" y="12"/>
                  </a:lnTo>
                  <a:lnTo>
                    <a:pt x="117" y="1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Bosnia and Herzegovina"/>
            <p:cNvSpPr>
              <a:spLocks/>
            </p:cNvSpPr>
            <p:nvPr/>
          </p:nvSpPr>
          <p:spPr bwMode="auto">
            <a:xfrm>
              <a:off x="6470650" y="2781301"/>
              <a:ext cx="119062" cy="92075"/>
            </a:xfrm>
            <a:custGeom>
              <a:avLst/>
              <a:gdLst>
                <a:gd name="T0" fmla="*/ 24 w 75"/>
                <a:gd name="T1" fmla="*/ 0 h 58"/>
                <a:gd name="T2" fmla="*/ 15 w 75"/>
                <a:gd name="T3" fmla="*/ 0 h 58"/>
                <a:gd name="T4" fmla="*/ 12 w 75"/>
                <a:gd name="T5" fmla="*/ 4 h 58"/>
                <a:gd name="T6" fmla="*/ 4 w 75"/>
                <a:gd name="T7" fmla="*/ 0 h 58"/>
                <a:gd name="T8" fmla="*/ 0 w 75"/>
                <a:gd name="T9" fmla="*/ 9 h 58"/>
                <a:gd name="T10" fmla="*/ 11 w 75"/>
                <a:gd name="T11" fmla="*/ 19 h 58"/>
                <a:gd name="T12" fmla="*/ 15 w 75"/>
                <a:gd name="T13" fmla="*/ 27 h 58"/>
                <a:gd name="T14" fmla="*/ 25 w 75"/>
                <a:gd name="T15" fmla="*/ 35 h 58"/>
                <a:gd name="T16" fmla="*/ 32 w 75"/>
                <a:gd name="T17" fmla="*/ 41 h 58"/>
                <a:gd name="T18" fmla="*/ 41 w 75"/>
                <a:gd name="T19" fmla="*/ 50 h 58"/>
                <a:gd name="T20" fmla="*/ 58 w 75"/>
                <a:gd name="T21" fmla="*/ 58 h 58"/>
                <a:gd name="T22" fmla="*/ 60 w 75"/>
                <a:gd name="T23" fmla="*/ 46 h 58"/>
                <a:gd name="T24" fmla="*/ 66 w 75"/>
                <a:gd name="T25" fmla="*/ 41 h 58"/>
                <a:gd name="T26" fmla="*/ 69 w 75"/>
                <a:gd name="T27" fmla="*/ 39 h 58"/>
                <a:gd name="T28" fmla="*/ 73 w 75"/>
                <a:gd name="T29" fmla="*/ 37 h 58"/>
                <a:gd name="T30" fmla="*/ 75 w 75"/>
                <a:gd name="T31" fmla="*/ 27 h 58"/>
                <a:gd name="T32" fmla="*/ 65 w 75"/>
                <a:gd name="T33" fmla="*/ 18 h 58"/>
                <a:gd name="T34" fmla="*/ 69 w 75"/>
                <a:gd name="T35" fmla="*/ 8 h 58"/>
                <a:gd name="T36" fmla="*/ 62 w 75"/>
                <a:gd name="T37" fmla="*/ 8 h 58"/>
                <a:gd name="T38" fmla="*/ 62 w 75"/>
                <a:gd name="T39" fmla="*/ 8 h 58"/>
                <a:gd name="T40" fmla="*/ 53 w 75"/>
                <a:gd name="T41" fmla="*/ 2 h 58"/>
                <a:gd name="T42" fmla="*/ 40 w 75"/>
                <a:gd name="T43" fmla="*/ 3 h 58"/>
                <a:gd name="T44" fmla="*/ 24 w 75"/>
                <a:gd name="T45" fmla="*/ 0 h 58"/>
                <a:gd name="T46" fmla="*/ 24 w 75"/>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58">
                  <a:moveTo>
                    <a:pt x="24" y="0"/>
                  </a:moveTo>
                  <a:lnTo>
                    <a:pt x="15" y="0"/>
                  </a:lnTo>
                  <a:lnTo>
                    <a:pt x="12" y="4"/>
                  </a:lnTo>
                  <a:lnTo>
                    <a:pt x="4" y="0"/>
                  </a:lnTo>
                  <a:lnTo>
                    <a:pt x="0" y="9"/>
                  </a:lnTo>
                  <a:lnTo>
                    <a:pt x="11" y="19"/>
                  </a:lnTo>
                  <a:lnTo>
                    <a:pt x="15" y="27"/>
                  </a:lnTo>
                  <a:lnTo>
                    <a:pt x="25" y="35"/>
                  </a:lnTo>
                  <a:lnTo>
                    <a:pt x="32" y="41"/>
                  </a:lnTo>
                  <a:lnTo>
                    <a:pt x="41" y="50"/>
                  </a:lnTo>
                  <a:lnTo>
                    <a:pt x="58" y="58"/>
                  </a:lnTo>
                  <a:lnTo>
                    <a:pt x="60" y="46"/>
                  </a:lnTo>
                  <a:lnTo>
                    <a:pt x="66" y="41"/>
                  </a:lnTo>
                  <a:lnTo>
                    <a:pt x="69" y="39"/>
                  </a:lnTo>
                  <a:lnTo>
                    <a:pt x="73" y="37"/>
                  </a:lnTo>
                  <a:lnTo>
                    <a:pt x="75" y="27"/>
                  </a:lnTo>
                  <a:lnTo>
                    <a:pt x="65" y="18"/>
                  </a:lnTo>
                  <a:lnTo>
                    <a:pt x="69" y="8"/>
                  </a:lnTo>
                  <a:lnTo>
                    <a:pt x="62" y="8"/>
                  </a:lnTo>
                  <a:lnTo>
                    <a:pt x="62" y="8"/>
                  </a:lnTo>
                  <a:lnTo>
                    <a:pt x="53" y="2"/>
                  </a:lnTo>
                  <a:lnTo>
                    <a:pt x="40" y="3"/>
                  </a:lnTo>
                  <a:lnTo>
                    <a:pt x="24" y="0"/>
                  </a:lnTo>
                  <a:lnTo>
                    <a:pt x="24"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Belarus"/>
            <p:cNvSpPr>
              <a:spLocks/>
            </p:cNvSpPr>
            <p:nvPr/>
          </p:nvSpPr>
          <p:spPr bwMode="auto">
            <a:xfrm>
              <a:off x="6659562" y="2382838"/>
              <a:ext cx="263525" cy="174625"/>
            </a:xfrm>
            <a:custGeom>
              <a:avLst/>
              <a:gdLst>
                <a:gd name="T0" fmla="*/ 93 w 166"/>
                <a:gd name="T1" fmla="*/ 6 h 110"/>
                <a:gd name="T2" fmla="*/ 74 w 166"/>
                <a:gd name="T3" fmla="*/ 0 h 110"/>
                <a:gd name="T4" fmla="*/ 57 w 166"/>
                <a:gd name="T5" fmla="*/ 9 h 110"/>
                <a:gd name="T6" fmla="*/ 48 w 166"/>
                <a:gd name="T7" fmla="*/ 12 h 110"/>
                <a:gd name="T8" fmla="*/ 50 w 166"/>
                <a:gd name="T9" fmla="*/ 22 h 110"/>
                <a:gd name="T10" fmla="*/ 37 w 166"/>
                <a:gd name="T11" fmla="*/ 29 h 110"/>
                <a:gd name="T12" fmla="*/ 35 w 166"/>
                <a:gd name="T13" fmla="*/ 42 h 110"/>
                <a:gd name="T14" fmla="*/ 18 w 166"/>
                <a:gd name="T15" fmla="*/ 51 h 110"/>
                <a:gd name="T16" fmla="*/ 1 w 166"/>
                <a:gd name="T17" fmla="*/ 51 h 110"/>
                <a:gd name="T18" fmla="*/ 3 w 166"/>
                <a:gd name="T19" fmla="*/ 60 h 110"/>
                <a:gd name="T20" fmla="*/ 9 w 166"/>
                <a:gd name="T21" fmla="*/ 69 h 110"/>
                <a:gd name="T22" fmla="*/ 10 w 166"/>
                <a:gd name="T23" fmla="*/ 78 h 110"/>
                <a:gd name="T24" fmla="*/ 0 w 166"/>
                <a:gd name="T25" fmla="*/ 82 h 110"/>
                <a:gd name="T26" fmla="*/ 7 w 166"/>
                <a:gd name="T27" fmla="*/ 94 h 110"/>
                <a:gd name="T28" fmla="*/ 9 w 166"/>
                <a:gd name="T29" fmla="*/ 103 h 110"/>
                <a:gd name="T30" fmla="*/ 18 w 166"/>
                <a:gd name="T31" fmla="*/ 102 h 110"/>
                <a:gd name="T32" fmla="*/ 26 w 166"/>
                <a:gd name="T33" fmla="*/ 96 h 110"/>
                <a:gd name="T34" fmla="*/ 40 w 166"/>
                <a:gd name="T35" fmla="*/ 96 h 110"/>
                <a:gd name="T36" fmla="*/ 59 w 166"/>
                <a:gd name="T37" fmla="*/ 97 h 110"/>
                <a:gd name="T38" fmla="*/ 79 w 166"/>
                <a:gd name="T39" fmla="*/ 103 h 110"/>
                <a:gd name="T40" fmla="*/ 94 w 166"/>
                <a:gd name="T41" fmla="*/ 103 h 110"/>
                <a:gd name="T42" fmla="*/ 102 w 166"/>
                <a:gd name="T43" fmla="*/ 107 h 110"/>
                <a:gd name="T44" fmla="*/ 107 w 166"/>
                <a:gd name="T45" fmla="*/ 103 h 110"/>
                <a:gd name="T46" fmla="*/ 113 w 166"/>
                <a:gd name="T47" fmla="*/ 109 h 110"/>
                <a:gd name="T48" fmla="*/ 129 w 166"/>
                <a:gd name="T49" fmla="*/ 107 h 110"/>
                <a:gd name="T50" fmla="*/ 136 w 166"/>
                <a:gd name="T51" fmla="*/ 110 h 110"/>
                <a:gd name="T52" fmla="*/ 135 w 166"/>
                <a:gd name="T53" fmla="*/ 97 h 110"/>
                <a:gd name="T54" fmla="*/ 140 w 166"/>
                <a:gd name="T55" fmla="*/ 93 h 110"/>
                <a:gd name="T56" fmla="*/ 156 w 166"/>
                <a:gd name="T57" fmla="*/ 92 h 110"/>
                <a:gd name="T58" fmla="*/ 156 w 166"/>
                <a:gd name="T59" fmla="*/ 92 h 110"/>
                <a:gd name="T60" fmla="*/ 148 w 166"/>
                <a:gd name="T61" fmla="*/ 77 h 110"/>
                <a:gd name="T62" fmla="*/ 143 w 166"/>
                <a:gd name="T63" fmla="*/ 69 h 110"/>
                <a:gd name="T64" fmla="*/ 146 w 166"/>
                <a:gd name="T65" fmla="*/ 68 h 110"/>
                <a:gd name="T66" fmla="*/ 160 w 166"/>
                <a:gd name="T67" fmla="*/ 68 h 110"/>
                <a:gd name="T68" fmla="*/ 166 w 166"/>
                <a:gd name="T69" fmla="*/ 63 h 110"/>
                <a:gd name="T70" fmla="*/ 160 w 166"/>
                <a:gd name="T71" fmla="*/ 57 h 110"/>
                <a:gd name="T72" fmla="*/ 147 w 166"/>
                <a:gd name="T73" fmla="*/ 53 h 110"/>
                <a:gd name="T74" fmla="*/ 148 w 166"/>
                <a:gd name="T75" fmla="*/ 49 h 110"/>
                <a:gd name="T76" fmla="*/ 139 w 166"/>
                <a:gd name="T77" fmla="*/ 45 h 110"/>
                <a:gd name="T78" fmla="*/ 125 w 166"/>
                <a:gd name="T79" fmla="*/ 30 h 110"/>
                <a:gd name="T80" fmla="*/ 128 w 166"/>
                <a:gd name="T81" fmla="*/ 25 h 110"/>
                <a:gd name="T82" fmla="*/ 124 w 166"/>
                <a:gd name="T83" fmla="*/ 13 h 110"/>
                <a:gd name="T84" fmla="*/ 105 w 166"/>
                <a:gd name="T85" fmla="*/ 8 h 110"/>
                <a:gd name="T86" fmla="*/ 97 w 166"/>
                <a:gd name="T87" fmla="*/ 11 h 110"/>
                <a:gd name="T88" fmla="*/ 93 w 166"/>
                <a:gd name="T89" fmla="*/ 6 h 110"/>
                <a:gd name="T90" fmla="*/ 93 w 166"/>
                <a:gd name="T91"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10">
                  <a:moveTo>
                    <a:pt x="93" y="6"/>
                  </a:moveTo>
                  <a:lnTo>
                    <a:pt x="74" y="0"/>
                  </a:lnTo>
                  <a:lnTo>
                    <a:pt x="57" y="9"/>
                  </a:lnTo>
                  <a:lnTo>
                    <a:pt x="48" y="12"/>
                  </a:lnTo>
                  <a:lnTo>
                    <a:pt x="50" y="22"/>
                  </a:lnTo>
                  <a:lnTo>
                    <a:pt x="37" y="29"/>
                  </a:lnTo>
                  <a:lnTo>
                    <a:pt x="35" y="42"/>
                  </a:lnTo>
                  <a:lnTo>
                    <a:pt x="18" y="51"/>
                  </a:lnTo>
                  <a:lnTo>
                    <a:pt x="1" y="51"/>
                  </a:lnTo>
                  <a:lnTo>
                    <a:pt x="3" y="60"/>
                  </a:lnTo>
                  <a:lnTo>
                    <a:pt x="9" y="69"/>
                  </a:lnTo>
                  <a:lnTo>
                    <a:pt x="10" y="78"/>
                  </a:lnTo>
                  <a:lnTo>
                    <a:pt x="0" y="82"/>
                  </a:lnTo>
                  <a:lnTo>
                    <a:pt x="7" y="94"/>
                  </a:lnTo>
                  <a:lnTo>
                    <a:pt x="9" y="103"/>
                  </a:lnTo>
                  <a:lnTo>
                    <a:pt x="18" y="102"/>
                  </a:lnTo>
                  <a:lnTo>
                    <a:pt x="26" y="96"/>
                  </a:lnTo>
                  <a:lnTo>
                    <a:pt x="40" y="96"/>
                  </a:lnTo>
                  <a:lnTo>
                    <a:pt x="59" y="97"/>
                  </a:lnTo>
                  <a:lnTo>
                    <a:pt x="79" y="103"/>
                  </a:lnTo>
                  <a:lnTo>
                    <a:pt x="94" y="103"/>
                  </a:lnTo>
                  <a:lnTo>
                    <a:pt x="102" y="107"/>
                  </a:lnTo>
                  <a:lnTo>
                    <a:pt x="107" y="103"/>
                  </a:lnTo>
                  <a:lnTo>
                    <a:pt x="113" y="109"/>
                  </a:lnTo>
                  <a:lnTo>
                    <a:pt x="129" y="107"/>
                  </a:lnTo>
                  <a:lnTo>
                    <a:pt x="136" y="110"/>
                  </a:lnTo>
                  <a:lnTo>
                    <a:pt x="135" y="97"/>
                  </a:lnTo>
                  <a:lnTo>
                    <a:pt x="140" y="93"/>
                  </a:lnTo>
                  <a:lnTo>
                    <a:pt x="156" y="92"/>
                  </a:lnTo>
                  <a:lnTo>
                    <a:pt x="156" y="92"/>
                  </a:lnTo>
                  <a:lnTo>
                    <a:pt x="148" y="77"/>
                  </a:lnTo>
                  <a:lnTo>
                    <a:pt x="143" y="69"/>
                  </a:lnTo>
                  <a:lnTo>
                    <a:pt x="146" y="68"/>
                  </a:lnTo>
                  <a:lnTo>
                    <a:pt x="160" y="68"/>
                  </a:lnTo>
                  <a:lnTo>
                    <a:pt x="166" y="63"/>
                  </a:lnTo>
                  <a:lnTo>
                    <a:pt x="160" y="57"/>
                  </a:lnTo>
                  <a:lnTo>
                    <a:pt x="147" y="53"/>
                  </a:lnTo>
                  <a:lnTo>
                    <a:pt x="148" y="49"/>
                  </a:lnTo>
                  <a:lnTo>
                    <a:pt x="139" y="45"/>
                  </a:lnTo>
                  <a:lnTo>
                    <a:pt x="125" y="30"/>
                  </a:lnTo>
                  <a:lnTo>
                    <a:pt x="128" y="25"/>
                  </a:lnTo>
                  <a:lnTo>
                    <a:pt x="124" y="13"/>
                  </a:lnTo>
                  <a:lnTo>
                    <a:pt x="105" y="8"/>
                  </a:lnTo>
                  <a:lnTo>
                    <a:pt x="97" y="11"/>
                  </a:lnTo>
                  <a:lnTo>
                    <a:pt x="93" y="6"/>
                  </a:lnTo>
                  <a:lnTo>
                    <a:pt x="93" y="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Belize"/>
            <p:cNvSpPr>
              <a:spLocks/>
            </p:cNvSpPr>
            <p:nvPr/>
          </p:nvSpPr>
          <p:spPr bwMode="auto">
            <a:xfrm>
              <a:off x="3062287" y="3786188"/>
              <a:ext cx="47625" cy="96838"/>
            </a:xfrm>
            <a:custGeom>
              <a:avLst/>
              <a:gdLst>
                <a:gd name="T0" fmla="*/ 6 w 30"/>
                <a:gd name="T1" fmla="*/ 61 h 61"/>
                <a:gd name="T2" fmla="*/ 11 w 30"/>
                <a:gd name="T3" fmla="*/ 54 h 61"/>
                <a:gd name="T4" fmla="*/ 15 w 30"/>
                <a:gd name="T5" fmla="*/ 53 h 61"/>
                <a:gd name="T6" fmla="*/ 20 w 30"/>
                <a:gd name="T7" fmla="*/ 46 h 61"/>
                <a:gd name="T8" fmla="*/ 23 w 30"/>
                <a:gd name="T9" fmla="*/ 34 h 61"/>
                <a:gd name="T10" fmla="*/ 22 w 30"/>
                <a:gd name="T11" fmla="*/ 32 h 61"/>
                <a:gd name="T12" fmla="*/ 25 w 30"/>
                <a:gd name="T13" fmla="*/ 24 h 61"/>
                <a:gd name="T14" fmla="*/ 24 w 30"/>
                <a:gd name="T15" fmla="*/ 20 h 61"/>
                <a:gd name="T16" fmla="*/ 29 w 30"/>
                <a:gd name="T17" fmla="*/ 10 h 61"/>
                <a:gd name="T18" fmla="*/ 30 w 30"/>
                <a:gd name="T19" fmla="*/ 3 h 61"/>
                <a:gd name="T20" fmla="*/ 26 w 30"/>
                <a:gd name="T21" fmla="*/ 3 h 61"/>
                <a:gd name="T22" fmla="*/ 26 w 30"/>
                <a:gd name="T23" fmla="*/ 0 h 61"/>
                <a:gd name="T24" fmla="*/ 22 w 30"/>
                <a:gd name="T25" fmla="*/ 0 h 61"/>
                <a:gd name="T26" fmla="*/ 13 w 30"/>
                <a:gd name="T27" fmla="*/ 14 h 61"/>
                <a:gd name="T28" fmla="*/ 9 w 30"/>
                <a:gd name="T29" fmla="*/ 11 h 61"/>
                <a:gd name="T30" fmla="*/ 7 w 30"/>
                <a:gd name="T31" fmla="*/ 13 h 61"/>
                <a:gd name="T32" fmla="*/ 7 w 30"/>
                <a:gd name="T33" fmla="*/ 16 h 61"/>
                <a:gd name="T34" fmla="*/ 4 w 30"/>
                <a:gd name="T35" fmla="*/ 35 h 61"/>
                <a:gd name="T36" fmla="*/ 0 w 30"/>
                <a:gd name="T37" fmla="*/ 61 h 61"/>
                <a:gd name="T38" fmla="*/ 6 w 30"/>
                <a:gd name="T39" fmla="*/ 61 h 61"/>
                <a:gd name="T40" fmla="*/ 6 w 30"/>
                <a:gd name="T4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1">
                  <a:moveTo>
                    <a:pt x="6" y="61"/>
                  </a:moveTo>
                  <a:lnTo>
                    <a:pt x="11" y="54"/>
                  </a:lnTo>
                  <a:lnTo>
                    <a:pt x="15" y="53"/>
                  </a:lnTo>
                  <a:lnTo>
                    <a:pt x="20" y="46"/>
                  </a:lnTo>
                  <a:lnTo>
                    <a:pt x="23" y="34"/>
                  </a:lnTo>
                  <a:lnTo>
                    <a:pt x="22" y="32"/>
                  </a:lnTo>
                  <a:lnTo>
                    <a:pt x="25" y="24"/>
                  </a:lnTo>
                  <a:lnTo>
                    <a:pt x="24" y="20"/>
                  </a:lnTo>
                  <a:lnTo>
                    <a:pt x="29" y="10"/>
                  </a:lnTo>
                  <a:lnTo>
                    <a:pt x="30" y="3"/>
                  </a:lnTo>
                  <a:lnTo>
                    <a:pt x="26" y="3"/>
                  </a:lnTo>
                  <a:lnTo>
                    <a:pt x="26" y="0"/>
                  </a:lnTo>
                  <a:lnTo>
                    <a:pt x="22" y="0"/>
                  </a:lnTo>
                  <a:lnTo>
                    <a:pt x="13" y="14"/>
                  </a:lnTo>
                  <a:lnTo>
                    <a:pt x="9" y="11"/>
                  </a:lnTo>
                  <a:lnTo>
                    <a:pt x="7" y="13"/>
                  </a:lnTo>
                  <a:lnTo>
                    <a:pt x="7" y="16"/>
                  </a:lnTo>
                  <a:lnTo>
                    <a:pt x="4" y="35"/>
                  </a:lnTo>
                  <a:lnTo>
                    <a:pt x="0" y="61"/>
                  </a:lnTo>
                  <a:lnTo>
                    <a:pt x="6" y="61"/>
                  </a:lnTo>
                  <a:lnTo>
                    <a:pt x="6" y="6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Bolivia"/>
            <p:cNvSpPr>
              <a:spLocks/>
            </p:cNvSpPr>
            <p:nvPr/>
          </p:nvSpPr>
          <p:spPr bwMode="auto">
            <a:xfrm>
              <a:off x="3697287" y="4851401"/>
              <a:ext cx="415925" cy="495300"/>
            </a:xfrm>
            <a:custGeom>
              <a:avLst/>
              <a:gdLst>
                <a:gd name="T0" fmla="*/ 253 w 262"/>
                <a:gd name="T1" fmla="*/ 247 h 312"/>
                <a:gd name="T2" fmla="*/ 258 w 262"/>
                <a:gd name="T3" fmla="*/ 243 h 312"/>
                <a:gd name="T4" fmla="*/ 255 w 262"/>
                <a:gd name="T5" fmla="*/ 229 h 312"/>
                <a:gd name="T6" fmla="*/ 260 w 262"/>
                <a:gd name="T7" fmla="*/ 218 h 312"/>
                <a:gd name="T8" fmla="*/ 262 w 262"/>
                <a:gd name="T9" fmla="*/ 200 h 312"/>
                <a:gd name="T10" fmla="*/ 256 w 262"/>
                <a:gd name="T11" fmla="*/ 185 h 312"/>
                <a:gd name="T12" fmla="*/ 244 w 262"/>
                <a:gd name="T13" fmla="*/ 178 h 312"/>
                <a:gd name="T14" fmla="*/ 241 w 262"/>
                <a:gd name="T15" fmla="*/ 169 h 312"/>
                <a:gd name="T16" fmla="*/ 243 w 262"/>
                <a:gd name="T17" fmla="*/ 156 h 312"/>
                <a:gd name="T18" fmla="*/ 203 w 262"/>
                <a:gd name="T19" fmla="*/ 154 h 312"/>
                <a:gd name="T20" fmla="*/ 194 w 262"/>
                <a:gd name="T21" fmla="*/ 127 h 312"/>
                <a:gd name="T22" fmla="*/ 199 w 262"/>
                <a:gd name="T23" fmla="*/ 126 h 312"/>
                <a:gd name="T24" fmla="*/ 198 w 262"/>
                <a:gd name="T25" fmla="*/ 116 h 312"/>
                <a:gd name="T26" fmla="*/ 194 w 262"/>
                <a:gd name="T27" fmla="*/ 109 h 312"/>
                <a:gd name="T28" fmla="*/ 192 w 262"/>
                <a:gd name="T29" fmla="*/ 95 h 312"/>
                <a:gd name="T30" fmla="*/ 180 w 262"/>
                <a:gd name="T31" fmla="*/ 89 h 312"/>
                <a:gd name="T32" fmla="*/ 167 w 262"/>
                <a:gd name="T33" fmla="*/ 89 h 312"/>
                <a:gd name="T34" fmla="*/ 157 w 262"/>
                <a:gd name="T35" fmla="*/ 81 h 312"/>
                <a:gd name="T36" fmla="*/ 143 w 262"/>
                <a:gd name="T37" fmla="*/ 77 h 312"/>
                <a:gd name="T38" fmla="*/ 134 w 262"/>
                <a:gd name="T39" fmla="*/ 68 h 312"/>
                <a:gd name="T40" fmla="*/ 111 w 262"/>
                <a:gd name="T41" fmla="*/ 64 h 312"/>
                <a:gd name="T42" fmla="*/ 86 w 262"/>
                <a:gd name="T43" fmla="*/ 43 h 312"/>
                <a:gd name="T44" fmla="*/ 87 w 262"/>
                <a:gd name="T45" fmla="*/ 27 h 312"/>
                <a:gd name="T46" fmla="*/ 85 w 262"/>
                <a:gd name="T47" fmla="*/ 18 h 312"/>
                <a:gd name="T48" fmla="*/ 85 w 262"/>
                <a:gd name="T49" fmla="*/ 0 h 312"/>
                <a:gd name="T50" fmla="*/ 58 w 262"/>
                <a:gd name="T51" fmla="*/ 5 h 312"/>
                <a:gd name="T52" fmla="*/ 48 w 262"/>
                <a:gd name="T53" fmla="*/ 13 h 312"/>
                <a:gd name="T54" fmla="*/ 30 w 262"/>
                <a:gd name="T55" fmla="*/ 22 h 312"/>
                <a:gd name="T56" fmla="*/ 26 w 262"/>
                <a:gd name="T57" fmla="*/ 30 h 312"/>
                <a:gd name="T58" fmla="*/ 15 w 262"/>
                <a:gd name="T59" fmla="*/ 31 h 312"/>
                <a:gd name="T60" fmla="*/ 0 w 262"/>
                <a:gd name="T61" fmla="*/ 28 h 312"/>
                <a:gd name="T62" fmla="*/ 20 w 262"/>
                <a:gd name="T63" fmla="*/ 66 h 312"/>
                <a:gd name="T64" fmla="*/ 16 w 262"/>
                <a:gd name="T65" fmla="*/ 75 h 312"/>
                <a:gd name="T66" fmla="*/ 16 w 262"/>
                <a:gd name="T67" fmla="*/ 91 h 312"/>
                <a:gd name="T68" fmla="*/ 17 w 262"/>
                <a:gd name="T69" fmla="*/ 111 h 312"/>
                <a:gd name="T70" fmla="*/ 11 w 262"/>
                <a:gd name="T71" fmla="*/ 123 h 312"/>
                <a:gd name="T72" fmla="*/ 15 w 262"/>
                <a:gd name="T73" fmla="*/ 132 h 312"/>
                <a:gd name="T74" fmla="*/ 11 w 262"/>
                <a:gd name="T75" fmla="*/ 140 h 312"/>
                <a:gd name="T76" fmla="*/ 21 w 262"/>
                <a:gd name="T77" fmla="*/ 160 h 312"/>
                <a:gd name="T78" fmla="*/ 11 w 262"/>
                <a:gd name="T79" fmla="*/ 186 h 312"/>
                <a:gd name="T80" fmla="*/ 22 w 262"/>
                <a:gd name="T81" fmla="*/ 202 h 312"/>
                <a:gd name="T82" fmla="*/ 27 w 262"/>
                <a:gd name="T83" fmla="*/ 219 h 312"/>
                <a:gd name="T84" fmla="*/ 39 w 262"/>
                <a:gd name="T85" fmla="*/ 229 h 312"/>
                <a:gd name="T86" fmla="*/ 35 w 262"/>
                <a:gd name="T87" fmla="*/ 252 h 312"/>
                <a:gd name="T88" fmla="*/ 48 w 262"/>
                <a:gd name="T89" fmla="*/ 279 h 312"/>
                <a:gd name="T90" fmla="*/ 60 w 262"/>
                <a:gd name="T91" fmla="*/ 312 h 312"/>
                <a:gd name="T92" fmla="*/ 74 w 262"/>
                <a:gd name="T93" fmla="*/ 308 h 312"/>
                <a:gd name="T94" fmla="*/ 89 w 262"/>
                <a:gd name="T95" fmla="*/ 286 h 312"/>
                <a:gd name="T96" fmla="*/ 117 w 262"/>
                <a:gd name="T97" fmla="*/ 292 h 312"/>
                <a:gd name="T98" fmla="*/ 130 w 262"/>
                <a:gd name="T99" fmla="*/ 310 h 312"/>
                <a:gd name="T100" fmla="*/ 137 w 262"/>
                <a:gd name="T101" fmla="*/ 290 h 312"/>
                <a:gd name="T102" fmla="*/ 160 w 262"/>
                <a:gd name="T103" fmla="*/ 292 h 312"/>
                <a:gd name="T104" fmla="*/ 164 w 262"/>
                <a:gd name="T105" fmla="*/ 297 h 312"/>
                <a:gd name="T106" fmla="*/ 170 w 262"/>
                <a:gd name="T107" fmla="*/ 268 h 312"/>
                <a:gd name="T108" fmla="*/ 169 w 262"/>
                <a:gd name="T109" fmla="*/ 256 h 312"/>
                <a:gd name="T110" fmla="*/ 177 w 262"/>
                <a:gd name="T111" fmla="*/ 234 h 312"/>
                <a:gd name="T112" fmla="*/ 212 w 262"/>
                <a:gd name="T113" fmla="*/ 228 h 312"/>
                <a:gd name="T114" fmla="*/ 231 w 262"/>
                <a:gd name="T115" fmla="*/ 228 h 312"/>
                <a:gd name="T116" fmla="*/ 252 w 262"/>
                <a:gd name="T117" fmla="*/ 240 h 312"/>
                <a:gd name="T118" fmla="*/ 253 w 262"/>
                <a:gd name="T119" fmla="*/ 247 h 312"/>
                <a:gd name="T120" fmla="*/ 253 w 262"/>
                <a:gd name="T121" fmla="*/ 24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312">
                  <a:moveTo>
                    <a:pt x="253" y="247"/>
                  </a:moveTo>
                  <a:lnTo>
                    <a:pt x="258" y="243"/>
                  </a:lnTo>
                  <a:lnTo>
                    <a:pt x="255" y="229"/>
                  </a:lnTo>
                  <a:lnTo>
                    <a:pt x="260" y="218"/>
                  </a:lnTo>
                  <a:lnTo>
                    <a:pt x="262" y="200"/>
                  </a:lnTo>
                  <a:lnTo>
                    <a:pt x="256" y="185"/>
                  </a:lnTo>
                  <a:lnTo>
                    <a:pt x="244" y="178"/>
                  </a:lnTo>
                  <a:lnTo>
                    <a:pt x="241" y="169"/>
                  </a:lnTo>
                  <a:lnTo>
                    <a:pt x="243" y="156"/>
                  </a:lnTo>
                  <a:lnTo>
                    <a:pt x="203" y="154"/>
                  </a:lnTo>
                  <a:lnTo>
                    <a:pt x="194" y="127"/>
                  </a:lnTo>
                  <a:lnTo>
                    <a:pt x="199" y="126"/>
                  </a:lnTo>
                  <a:lnTo>
                    <a:pt x="198" y="116"/>
                  </a:lnTo>
                  <a:lnTo>
                    <a:pt x="194" y="109"/>
                  </a:lnTo>
                  <a:lnTo>
                    <a:pt x="192" y="95"/>
                  </a:lnTo>
                  <a:lnTo>
                    <a:pt x="180" y="89"/>
                  </a:lnTo>
                  <a:lnTo>
                    <a:pt x="167" y="89"/>
                  </a:lnTo>
                  <a:lnTo>
                    <a:pt x="157" y="81"/>
                  </a:lnTo>
                  <a:lnTo>
                    <a:pt x="143" y="77"/>
                  </a:lnTo>
                  <a:lnTo>
                    <a:pt x="134" y="68"/>
                  </a:lnTo>
                  <a:lnTo>
                    <a:pt x="111" y="64"/>
                  </a:lnTo>
                  <a:lnTo>
                    <a:pt x="86" y="43"/>
                  </a:lnTo>
                  <a:lnTo>
                    <a:pt x="87" y="27"/>
                  </a:lnTo>
                  <a:lnTo>
                    <a:pt x="85" y="18"/>
                  </a:lnTo>
                  <a:lnTo>
                    <a:pt x="85" y="0"/>
                  </a:lnTo>
                  <a:lnTo>
                    <a:pt x="58" y="5"/>
                  </a:lnTo>
                  <a:lnTo>
                    <a:pt x="48" y="13"/>
                  </a:lnTo>
                  <a:lnTo>
                    <a:pt x="30" y="22"/>
                  </a:lnTo>
                  <a:lnTo>
                    <a:pt x="26" y="30"/>
                  </a:lnTo>
                  <a:lnTo>
                    <a:pt x="15" y="31"/>
                  </a:lnTo>
                  <a:lnTo>
                    <a:pt x="0" y="28"/>
                  </a:lnTo>
                  <a:lnTo>
                    <a:pt x="20" y="66"/>
                  </a:lnTo>
                  <a:lnTo>
                    <a:pt x="16" y="75"/>
                  </a:lnTo>
                  <a:lnTo>
                    <a:pt x="16" y="91"/>
                  </a:lnTo>
                  <a:lnTo>
                    <a:pt x="17" y="111"/>
                  </a:lnTo>
                  <a:lnTo>
                    <a:pt x="11" y="123"/>
                  </a:lnTo>
                  <a:lnTo>
                    <a:pt x="15" y="132"/>
                  </a:lnTo>
                  <a:lnTo>
                    <a:pt x="11" y="140"/>
                  </a:lnTo>
                  <a:lnTo>
                    <a:pt x="21" y="160"/>
                  </a:lnTo>
                  <a:lnTo>
                    <a:pt x="11" y="186"/>
                  </a:lnTo>
                  <a:lnTo>
                    <a:pt x="22" y="202"/>
                  </a:lnTo>
                  <a:lnTo>
                    <a:pt x="27" y="219"/>
                  </a:lnTo>
                  <a:lnTo>
                    <a:pt x="39" y="229"/>
                  </a:lnTo>
                  <a:lnTo>
                    <a:pt x="35" y="252"/>
                  </a:lnTo>
                  <a:lnTo>
                    <a:pt x="48" y="279"/>
                  </a:lnTo>
                  <a:lnTo>
                    <a:pt x="60" y="312"/>
                  </a:lnTo>
                  <a:lnTo>
                    <a:pt x="74" y="308"/>
                  </a:lnTo>
                  <a:lnTo>
                    <a:pt x="89" y="286"/>
                  </a:lnTo>
                  <a:lnTo>
                    <a:pt x="117" y="292"/>
                  </a:lnTo>
                  <a:lnTo>
                    <a:pt x="130" y="310"/>
                  </a:lnTo>
                  <a:lnTo>
                    <a:pt x="137" y="290"/>
                  </a:lnTo>
                  <a:lnTo>
                    <a:pt x="160" y="292"/>
                  </a:lnTo>
                  <a:lnTo>
                    <a:pt x="164" y="297"/>
                  </a:lnTo>
                  <a:lnTo>
                    <a:pt x="170" y="268"/>
                  </a:lnTo>
                  <a:lnTo>
                    <a:pt x="169" y="256"/>
                  </a:lnTo>
                  <a:lnTo>
                    <a:pt x="177" y="234"/>
                  </a:lnTo>
                  <a:lnTo>
                    <a:pt x="212" y="228"/>
                  </a:lnTo>
                  <a:lnTo>
                    <a:pt x="231" y="228"/>
                  </a:lnTo>
                  <a:lnTo>
                    <a:pt x="252" y="240"/>
                  </a:lnTo>
                  <a:lnTo>
                    <a:pt x="253" y="247"/>
                  </a:lnTo>
                  <a:lnTo>
                    <a:pt x="253" y="24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Brazil"/>
            <p:cNvSpPr>
              <a:spLocks/>
            </p:cNvSpPr>
            <p:nvPr/>
          </p:nvSpPr>
          <p:spPr bwMode="auto">
            <a:xfrm>
              <a:off x="3541712" y="4284663"/>
              <a:ext cx="1304925" cy="1471613"/>
            </a:xfrm>
            <a:custGeom>
              <a:avLst/>
              <a:gdLst>
                <a:gd name="T0" fmla="*/ 339 w 822"/>
                <a:gd name="T1" fmla="*/ 85 h 927"/>
                <a:gd name="T2" fmla="*/ 310 w 822"/>
                <a:gd name="T3" fmla="*/ 94 h 927"/>
                <a:gd name="T4" fmla="*/ 295 w 822"/>
                <a:gd name="T5" fmla="*/ 39 h 927"/>
                <a:gd name="T6" fmla="*/ 292 w 822"/>
                <a:gd name="T7" fmla="*/ 6 h 927"/>
                <a:gd name="T8" fmla="*/ 271 w 822"/>
                <a:gd name="T9" fmla="*/ 17 h 927"/>
                <a:gd name="T10" fmla="*/ 210 w 822"/>
                <a:gd name="T11" fmla="*/ 29 h 927"/>
                <a:gd name="T12" fmla="*/ 198 w 822"/>
                <a:gd name="T13" fmla="*/ 51 h 927"/>
                <a:gd name="T14" fmla="*/ 204 w 822"/>
                <a:gd name="T15" fmla="*/ 80 h 927"/>
                <a:gd name="T16" fmla="*/ 173 w 822"/>
                <a:gd name="T17" fmla="*/ 106 h 927"/>
                <a:gd name="T18" fmla="*/ 138 w 822"/>
                <a:gd name="T19" fmla="*/ 84 h 927"/>
                <a:gd name="T20" fmla="*/ 85 w 822"/>
                <a:gd name="T21" fmla="*/ 99 h 927"/>
                <a:gd name="T22" fmla="*/ 80 w 822"/>
                <a:gd name="T23" fmla="*/ 112 h 927"/>
                <a:gd name="T24" fmla="*/ 92 w 822"/>
                <a:gd name="T25" fmla="*/ 162 h 927"/>
                <a:gd name="T26" fmla="*/ 45 w 822"/>
                <a:gd name="T27" fmla="*/ 235 h 927"/>
                <a:gd name="T28" fmla="*/ 18 w 822"/>
                <a:gd name="T29" fmla="*/ 282 h 927"/>
                <a:gd name="T30" fmla="*/ 10 w 822"/>
                <a:gd name="T31" fmla="*/ 325 h 927"/>
                <a:gd name="T32" fmla="*/ 42 w 822"/>
                <a:gd name="T33" fmla="*/ 363 h 927"/>
                <a:gd name="T34" fmla="*/ 86 w 822"/>
                <a:gd name="T35" fmla="*/ 390 h 927"/>
                <a:gd name="T36" fmla="*/ 128 w 822"/>
                <a:gd name="T37" fmla="*/ 379 h 927"/>
                <a:gd name="T38" fmla="*/ 183 w 822"/>
                <a:gd name="T39" fmla="*/ 375 h 927"/>
                <a:gd name="T40" fmla="*/ 232 w 822"/>
                <a:gd name="T41" fmla="*/ 425 h 927"/>
                <a:gd name="T42" fmla="*/ 278 w 822"/>
                <a:gd name="T43" fmla="*/ 446 h 927"/>
                <a:gd name="T44" fmla="*/ 297 w 822"/>
                <a:gd name="T45" fmla="*/ 483 h 927"/>
                <a:gd name="T46" fmla="*/ 339 w 822"/>
                <a:gd name="T47" fmla="*/ 526 h 927"/>
                <a:gd name="T48" fmla="*/ 358 w 822"/>
                <a:gd name="T49" fmla="*/ 575 h 927"/>
                <a:gd name="T50" fmla="*/ 357 w 822"/>
                <a:gd name="T51" fmla="*/ 617 h 927"/>
                <a:gd name="T52" fmla="*/ 404 w 822"/>
                <a:gd name="T53" fmla="*/ 657 h 927"/>
                <a:gd name="T54" fmla="*/ 423 w 822"/>
                <a:gd name="T55" fmla="*/ 696 h 927"/>
                <a:gd name="T56" fmla="*/ 438 w 822"/>
                <a:gd name="T57" fmla="*/ 723 h 927"/>
                <a:gd name="T58" fmla="*/ 459 w 822"/>
                <a:gd name="T59" fmla="*/ 765 h 927"/>
                <a:gd name="T60" fmla="*/ 389 w 822"/>
                <a:gd name="T61" fmla="*/ 843 h 927"/>
                <a:gd name="T62" fmla="*/ 455 w 822"/>
                <a:gd name="T63" fmla="*/ 873 h 927"/>
                <a:gd name="T64" fmla="*/ 488 w 822"/>
                <a:gd name="T65" fmla="*/ 927 h 927"/>
                <a:gd name="T66" fmla="*/ 531 w 822"/>
                <a:gd name="T67" fmla="*/ 861 h 927"/>
                <a:gd name="T68" fmla="*/ 564 w 822"/>
                <a:gd name="T69" fmla="*/ 770 h 927"/>
                <a:gd name="T70" fmla="*/ 598 w 822"/>
                <a:gd name="T71" fmla="*/ 698 h 927"/>
                <a:gd name="T72" fmla="*/ 688 w 822"/>
                <a:gd name="T73" fmla="*/ 671 h 927"/>
                <a:gd name="T74" fmla="*/ 729 w 822"/>
                <a:gd name="T75" fmla="*/ 591 h 927"/>
                <a:gd name="T76" fmla="*/ 742 w 822"/>
                <a:gd name="T77" fmla="*/ 497 h 927"/>
                <a:gd name="T78" fmla="*/ 763 w 822"/>
                <a:gd name="T79" fmla="*/ 414 h 927"/>
                <a:gd name="T80" fmla="*/ 822 w 822"/>
                <a:gd name="T81" fmla="*/ 300 h 927"/>
                <a:gd name="T82" fmla="*/ 785 w 822"/>
                <a:gd name="T83" fmla="*/ 247 h 927"/>
                <a:gd name="T84" fmla="*/ 679 w 822"/>
                <a:gd name="T85" fmla="*/ 194 h 927"/>
                <a:gd name="T86" fmla="*/ 607 w 822"/>
                <a:gd name="T87" fmla="*/ 162 h 927"/>
                <a:gd name="T88" fmla="*/ 529 w 822"/>
                <a:gd name="T89" fmla="*/ 131 h 927"/>
                <a:gd name="T90" fmla="*/ 501 w 822"/>
                <a:gd name="T91" fmla="*/ 83 h 927"/>
                <a:gd name="T92" fmla="*/ 466 w 822"/>
                <a:gd name="T93" fmla="*/ 26 h 927"/>
                <a:gd name="T94" fmla="*/ 428 w 822"/>
                <a:gd name="T95" fmla="*/ 76 h 927"/>
                <a:gd name="T96" fmla="*/ 406 w 822"/>
                <a:gd name="T97" fmla="*/ 70 h 927"/>
                <a:gd name="T98" fmla="*/ 373 w 822"/>
                <a:gd name="T99" fmla="*/ 72 h 927"/>
                <a:gd name="T100" fmla="*/ 363 w 822"/>
                <a:gd name="T101" fmla="*/ 8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2" h="927">
                  <a:moveTo>
                    <a:pt x="363" y="80"/>
                  </a:moveTo>
                  <a:lnTo>
                    <a:pt x="357" y="80"/>
                  </a:lnTo>
                  <a:lnTo>
                    <a:pt x="346" y="79"/>
                  </a:lnTo>
                  <a:lnTo>
                    <a:pt x="339" y="85"/>
                  </a:lnTo>
                  <a:lnTo>
                    <a:pt x="329" y="89"/>
                  </a:lnTo>
                  <a:lnTo>
                    <a:pt x="324" y="90"/>
                  </a:lnTo>
                  <a:lnTo>
                    <a:pt x="321" y="94"/>
                  </a:lnTo>
                  <a:lnTo>
                    <a:pt x="310" y="94"/>
                  </a:lnTo>
                  <a:lnTo>
                    <a:pt x="297" y="82"/>
                  </a:lnTo>
                  <a:lnTo>
                    <a:pt x="296" y="72"/>
                  </a:lnTo>
                  <a:lnTo>
                    <a:pt x="291" y="59"/>
                  </a:lnTo>
                  <a:lnTo>
                    <a:pt x="295" y="39"/>
                  </a:lnTo>
                  <a:lnTo>
                    <a:pt x="301" y="31"/>
                  </a:lnTo>
                  <a:lnTo>
                    <a:pt x="296" y="20"/>
                  </a:lnTo>
                  <a:lnTo>
                    <a:pt x="289" y="16"/>
                  </a:lnTo>
                  <a:lnTo>
                    <a:pt x="292" y="6"/>
                  </a:lnTo>
                  <a:lnTo>
                    <a:pt x="287" y="0"/>
                  </a:lnTo>
                  <a:lnTo>
                    <a:pt x="277" y="1"/>
                  </a:lnTo>
                  <a:lnTo>
                    <a:pt x="279" y="9"/>
                  </a:lnTo>
                  <a:lnTo>
                    <a:pt x="271" y="17"/>
                  </a:lnTo>
                  <a:lnTo>
                    <a:pt x="247" y="26"/>
                  </a:lnTo>
                  <a:lnTo>
                    <a:pt x="232" y="30"/>
                  </a:lnTo>
                  <a:lnTo>
                    <a:pt x="226" y="36"/>
                  </a:lnTo>
                  <a:lnTo>
                    <a:pt x="210" y="29"/>
                  </a:lnTo>
                  <a:lnTo>
                    <a:pt x="194" y="26"/>
                  </a:lnTo>
                  <a:lnTo>
                    <a:pt x="190" y="29"/>
                  </a:lnTo>
                  <a:lnTo>
                    <a:pt x="199" y="35"/>
                  </a:lnTo>
                  <a:lnTo>
                    <a:pt x="198" y="51"/>
                  </a:lnTo>
                  <a:lnTo>
                    <a:pt x="200" y="66"/>
                  </a:lnTo>
                  <a:lnTo>
                    <a:pt x="219" y="67"/>
                  </a:lnTo>
                  <a:lnTo>
                    <a:pt x="220" y="73"/>
                  </a:lnTo>
                  <a:lnTo>
                    <a:pt x="204" y="80"/>
                  </a:lnTo>
                  <a:lnTo>
                    <a:pt x="202" y="90"/>
                  </a:lnTo>
                  <a:lnTo>
                    <a:pt x="193" y="94"/>
                  </a:lnTo>
                  <a:lnTo>
                    <a:pt x="178" y="99"/>
                  </a:lnTo>
                  <a:lnTo>
                    <a:pt x="173" y="106"/>
                  </a:lnTo>
                  <a:lnTo>
                    <a:pt x="157" y="108"/>
                  </a:lnTo>
                  <a:lnTo>
                    <a:pt x="146" y="95"/>
                  </a:lnTo>
                  <a:lnTo>
                    <a:pt x="141" y="98"/>
                  </a:lnTo>
                  <a:lnTo>
                    <a:pt x="138" y="84"/>
                  </a:lnTo>
                  <a:lnTo>
                    <a:pt x="132" y="77"/>
                  </a:lnTo>
                  <a:lnTo>
                    <a:pt x="125" y="85"/>
                  </a:lnTo>
                  <a:lnTo>
                    <a:pt x="85" y="84"/>
                  </a:lnTo>
                  <a:lnTo>
                    <a:pt x="85" y="99"/>
                  </a:lnTo>
                  <a:lnTo>
                    <a:pt x="97" y="102"/>
                  </a:lnTo>
                  <a:lnTo>
                    <a:pt x="96" y="110"/>
                  </a:lnTo>
                  <a:lnTo>
                    <a:pt x="92" y="108"/>
                  </a:lnTo>
                  <a:lnTo>
                    <a:pt x="80" y="112"/>
                  </a:lnTo>
                  <a:lnTo>
                    <a:pt x="80" y="129"/>
                  </a:lnTo>
                  <a:lnTo>
                    <a:pt x="89" y="138"/>
                  </a:lnTo>
                  <a:lnTo>
                    <a:pt x="92" y="151"/>
                  </a:lnTo>
                  <a:lnTo>
                    <a:pt x="92" y="162"/>
                  </a:lnTo>
                  <a:lnTo>
                    <a:pt x="84" y="227"/>
                  </a:lnTo>
                  <a:lnTo>
                    <a:pt x="65" y="226"/>
                  </a:lnTo>
                  <a:lnTo>
                    <a:pt x="62" y="230"/>
                  </a:lnTo>
                  <a:lnTo>
                    <a:pt x="45" y="235"/>
                  </a:lnTo>
                  <a:lnTo>
                    <a:pt x="22" y="250"/>
                  </a:lnTo>
                  <a:lnTo>
                    <a:pt x="20" y="262"/>
                  </a:lnTo>
                  <a:lnTo>
                    <a:pt x="15" y="270"/>
                  </a:lnTo>
                  <a:lnTo>
                    <a:pt x="18" y="282"/>
                  </a:lnTo>
                  <a:lnTo>
                    <a:pt x="6" y="290"/>
                  </a:lnTo>
                  <a:lnTo>
                    <a:pt x="6" y="300"/>
                  </a:lnTo>
                  <a:lnTo>
                    <a:pt x="0" y="304"/>
                  </a:lnTo>
                  <a:lnTo>
                    <a:pt x="10" y="325"/>
                  </a:lnTo>
                  <a:lnTo>
                    <a:pt x="23" y="339"/>
                  </a:lnTo>
                  <a:lnTo>
                    <a:pt x="19" y="350"/>
                  </a:lnTo>
                  <a:lnTo>
                    <a:pt x="32" y="351"/>
                  </a:lnTo>
                  <a:lnTo>
                    <a:pt x="42" y="363"/>
                  </a:lnTo>
                  <a:lnTo>
                    <a:pt x="59" y="364"/>
                  </a:lnTo>
                  <a:lnTo>
                    <a:pt x="76" y="350"/>
                  </a:lnTo>
                  <a:lnTo>
                    <a:pt x="77" y="387"/>
                  </a:lnTo>
                  <a:lnTo>
                    <a:pt x="86" y="390"/>
                  </a:lnTo>
                  <a:lnTo>
                    <a:pt x="98" y="385"/>
                  </a:lnTo>
                  <a:lnTo>
                    <a:pt x="113" y="388"/>
                  </a:lnTo>
                  <a:lnTo>
                    <a:pt x="124" y="387"/>
                  </a:lnTo>
                  <a:lnTo>
                    <a:pt x="128" y="379"/>
                  </a:lnTo>
                  <a:lnTo>
                    <a:pt x="146" y="370"/>
                  </a:lnTo>
                  <a:lnTo>
                    <a:pt x="156" y="362"/>
                  </a:lnTo>
                  <a:lnTo>
                    <a:pt x="183" y="357"/>
                  </a:lnTo>
                  <a:lnTo>
                    <a:pt x="183" y="375"/>
                  </a:lnTo>
                  <a:lnTo>
                    <a:pt x="185" y="384"/>
                  </a:lnTo>
                  <a:lnTo>
                    <a:pt x="184" y="400"/>
                  </a:lnTo>
                  <a:lnTo>
                    <a:pt x="209" y="421"/>
                  </a:lnTo>
                  <a:lnTo>
                    <a:pt x="232" y="425"/>
                  </a:lnTo>
                  <a:lnTo>
                    <a:pt x="241" y="434"/>
                  </a:lnTo>
                  <a:lnTo>
                    <a:pt x="255" y="438"/>
                  </a:lnTo>
                  <a:lnTo>
                    <a:pt x="265" y="446"/>
                  </a:lnTo>
                  <a:lnTo>
                    <a:pt x="278" y="446"/>
                  </a:lnTo>
                  <a:lnTo>
                    <a:pt x="290" y="452"/>
                  </a:lnTo>
                  <a:lnTo>
                    <a:pt x="292" y="466"/>
                  </a:lnTo>
                  <a:lnTo>
                    <a:pt x="296" y="473"/>
                  </a:lnTo>
                  <a:lnTo>
                    <a:pt x="297" y="483"/>
                  </a:lnTo>
                  <a:lnTo>
                    <a:pt x="292" y="484"/>
                  </a:lnTo>
                  <a:lnTo>
                    <a:pt x="301" y="511"/>
                  </a:lnTo>
                  <a:lnTo>
                    <a:pt x="341" y="513"/>
                  </a:lnTo>
                  <a:lnTo>
                    <a:pt x="339" y="526"/>
                  </a:lnTo>
                  <a:lnTo>
                    <a:pt x="342" y="535"/>
                  </a:lnTo>
                  <a:lnTo>
                    <a:pt x="354" y="542"/>
                  </a:lnTo>
                  <a:lnTo>
                    <a:pt x="360" y="557"/>
                  </a:lnTo>
                  <a:lnTo>
                    <a:pt x="358" y="575"/>
                  </a:lnTo>
                  <a:lnTo>
                    <a:pt x="353" y="586"/>
                  </a:lnTo>
                  <a:lnTo>
                    <a:pt x="356" y="600"/>
                  </a:lnTo>
                  <a:lnTo>
                    <a:pt x="351" y="604"/>
                  </a:lnTo>
                  <a:lnTo>
                    <a:pt x="357" y="617"/>
                  </a:lnTo>
                  <a:lnTo>
                    <a:pt x="359" y="650"/>
                  </a:lnTo>
                  <a:lnTo>
                    <a:pt x="381" y="655"/>
                  </a:lnTo>
                  <a:lnTo>
                    <a:pt x="389" y="650"/>
                  </a:lnTo>
                  <a:lnTo>
                    <a:pt x="404" y="657"/>
                  </a:lnTo>
                  <a:lnTo>
                    <a:pt x="409" y="663"/>
                  </a:lnTo>
                  <a:lnTo>
                    <a:pt x="412" y="685"/>
                  </a:lnTo>
                  <a:lnTo>
                    <a:pt x="415" y="694"/>
                  </a:lnTo>
                  <a:lnTo>
                    <a:pt x="423" y="696"/>
                  </a:lnTo>
                  <a:lnTo>
                    <a:pt x="430" y="691"/>
                  </a:lnTo>
                  <a:lnTo>
                    <a:pt x="438" y="696"/>
                  </a:lnTo>
                  <a:lnTo>
                    <a:pt x="439" y="709"/>
                  </a:lnTo>
                  <a:lnTo>
                    <a:pt x="438" y="723"/>
                  </a:lnTo>
                  <a:lnTo>
                    <a:pt x="436" y="737"/>
                  </a:lnTo>
                  <a:lnTo>
                    <a:pt x="445" y="732"/>
                  </a:lnTo>
                  <a:lnTo>
                    <a:pt x="457" y="746"/>
                  </a:lnTo>
                  <a:lnTo>
                    <a:pt x="459" y="765"/>
                  </a:lnTo>
                  <a:lnTo>
                    <a:pt x="443" y="778"/>
                  </a:lnTo>
                  <a:lnTo>
                    <a:pt x="431" y="787"/>
                  </a:lnTo>
                  <a:lnTo>
                    <a:pt x="411" y="811"/>
                  </a:lnTo>
                  <a:lnTo>
                    <a:pt x="389" y="843"/>
                  </a:lnTo>
                  <a:lnTo>
                    <a:pt x="402" y="840"/>
                  </a:lnTo>
                  <a:lnTo>
                    <a:pt x="424" y="858"/>
                  </a:lnTo>
                  <a:lnTo>
                    <a:pt x="432" y="858"/>
                  </a:lnTo>
                  <a:lnTo>
                    <a:pt x="455" y="873"/>
                  </a:lnTo>
                  <a:lnTo>
                    <a:pt x="473" y="886"/>
                  </a:lnTo>
                  <a:lnTo>
                    <a:pt x="487" y="902"/>
                  </a:lnTo>
                  <a:lnTo>
                    <a:pt x="480" y="913"/>
                  </a:lnTo>
                  <a:lnTo>
                    <a:pt x="488" y="927"/>
                  </a:lnTo>
                  <a:lnTo>
                    <a:pt x="499" y="913"/>
                  </a:lnTo>
                  <a:lnTo>
                    <a:pt x="505" y="891"/>
                  </a:lnTo>
                  <a:lnTo>
                    <a:pt x="516" y="880"/>
                  </a:lnTo>
                  <a:lnTo>
                    <a:pt x="531" y="861"/>
                  </a:lnTo>
                  <a:lnTo>
                    <a:pt x="548" y="819"/>
                  </a:lnTo>
                  <a:lnTo>
                    <a:pt x="561" y="806"/>
                  </a:lnTo>
                  <a:lnTo>
                    <a:pt x="563" y="795"/>
                  </a:lnTo>
                  <a:lnTo>
                    <a:pt x="564" y="770"/>
                  </a:lnTo>
                  <a:lnTo>
                    <a:pt x="560" y="757"/>
                  </a:lnTo>
                  <a:lnTo>
                    <a:pt x="561" y="740"/>
                  </a:lnTo>
                  <a:lnTo>
                    <a:pt x="576" y="716"/>
                  </a:lnTo>
                  <a:lnTo>
                    <a:pt x="598" y="698"/>
                  </a:lnTo>
                  <a:lnTo>
                    <a:pt x="620" y="690"/>
                  </a:lnTo>
                  <a:lnTo>
                    <a:pt x="634" y="680"/>
                  </a:lnTo>
                  <a:lnTo>
                    <a:pt x="666" y="671"/>
                  </a:lnTo>
                  <a:lnTo>
                    <a:pt x="688" y="671"/>
                  </a:lnTo>
                  <a:lnTo>
                    <a:pt x="692" y="657"/>
                  </a:lnTo>
                  <a:lnTo>
                    <a:pt x="708" y="646"/>
                  </a:lnTo>
                  <a:lnTo>
                    <a:pt x="710" y="622"/>
                  </a:lnTo>
                  <a:lnTo>
                    <a:pt x="729" y="591"/>
                  </a:lnTo>
                  <a:lnTo>
                    <a:pt x="731" y="559"/>
                  </a:lnTo>
                  <a:lnTo>
                    <a:pt x="737" y="549"/>
                  </a:lnTo>
                  <a:lnTo>
                    <a:pt x="738" y="534"/>
                  </a:lnTo>
                  <a:lnTo>
                    <a:pt x="742" y="497"/>
                  </a:lnTo>
                  <a:lnTo>
                    <a:pt x="738" y="453"/>
                  </a:lnTo>
                  <a:lnTo>
                    <a:pt x="744" y="435"/>
                  </a:lnTo>
                  <a:lnTo>
                    <a:pt x="749" y="434"/>
                  </a:lnTo>
                  <a:lnTo>
                    <a:pt x="763" y="414"/>
                  </a:lnTo>
                  <a:lnTo>
                    <a:pt x="775" y="388"/>
                  </a:lnTo>
                  <a:lnTo>
                    <a:pt x="804" y="354"/>
                  </a:lnTo>
                  <a:lnTo>
                    <a:pt x="815" y="339"/>
                  </a:lnTo>
                  <a:lnTo>
                    <a:pt x="822" y="300"/>
                  </a:lnTo>
                  <a:lnTo>
                    <a:pt x="818" y="285"/>
                  </a:lnTo>
                  <a:lnTo>
                    <a:pt x="811" y="255"/>
                  </a:lnTo>
                  <a:lnTo>
                    <a:pt x="803" y="248"/>
                  </a:lnTo>
                  <a:lnTo>
                    <a:pt x="785" y="247"/>
                  </a:lnTo>
                  <a:lnTo>
                    <a:pt x="769" y="239"/>
                  </a:lnTo>
                  <a:lnTo>
                    <a:pt x="742" y="213"/>
                  </a:lnTo>
                  <a:lnTo>
                    <a:pt x="710" y="193"/>
                  </a:lnTo>
                  <a:lnTo>
                    <a:pt x="679" y="194"/>
                  </a:lnTo>
                  <a:lnTo>
                    <a:pt x="638" y="181"/>
                  </a:lnTo>
                  <a:lnTo>
                    <a:pt x="614" y="189"/>
                  </a:lnTo>
                  <a:lnTo>
                    <a:pt x="617" y="176"/>
                  </a:lnTo>
                  <a:lnTo>
                    <a:pt x="607" y="162"/>
                  </a:lnTo>
                  <a:lnTo>
                    <a:pt x="572" y="148"/>
                  </a:lnTo>
                  <a:lnTo>
                    <a:pt x="546" y="139"/>
                  </a:lnTo>
                  <a:lnTo>
                    <a:pt x="530" y="154"/>
                  </a:lnTo>
                  <a:lnTo>
                    <a:pt x="529" y="131"/>
                  </a:lnTo>
                  <a:lnTo>
                    <a:pt x="492" y="127"/>
                  </a:lnTo>
                  <a:lnTo>
                    <a:pt x="485" y="120"/>
                  </a:lnTo>
                  <a:lnTo>
                    <a:pt x="501" y="100"/>
                  </a:lnTo>
                  <a:lnTo>
                    <a:pt x="501" y="83"/>
                  </a:lnTo>
                  <a:lnTo>
                    <a:pt x="490" y="80"/>
                  </a:lnTo>
                  <a:lnTo>
                    <a:pt x="479" y="38"/>
                  </a:lnTo>
                  <a:lnTo>
                    <a:pt x="473" y="25"/>
                  </a:lnTo>
                  <a:lnTo>
                    <a:pt x="466" y="26"/>
                  </a:lnTo>
                  <a:lnTo>
                    <a:pt x="453" y="48"/>
                  </a:lnTo>
                  <a:lnTo>
                    <a:pt x="447" y="66"/>
                  </a:lnTo>
                  <a:lnTo>
                    <a:pt x="438" y="74"/>
                  </a:lnTo>
                  <a:lnTo>
                    <a:pt x="428" y="76"/>
                  </a:lnTo>
                  <a:lnTo>
                    <a:pt x="425" y="69"/>
                  </a:lnTo>
                  <a:lnTo>
                    <a:pt x="421" y="68"/>
                  </a:lnTo>
                  <a:lnTo>
                    <a:pt x="414" y="75"/>
                  </a:lnTo>
                  <a:lnTo>
                    <a:pt x="406" y="70"/>
                  </a:lnTo>
                  <a:lnTo>
                    <a:pt x="394" y="65"/>
                  </a:lnTo>
                  <a:lnTo>
                    <a:pt x="383" y="67"/>
                  </a:lnTo>
                  <a:lnTo>
                    <a:pt x="375" y="66"/>
                  </a:lnTo>
                  <a:lnTo>
                    <a:pt x="373" y="72"/>
                  </a:lnTo>
                  <a:lnTo>
                    <a:pt x="376" y="77"/>
                  </a:lnTo>
                  <a:lnTo>
                    <a:pt x="374" y="81"/>
                  </a:lnTo>
                  <a:lnTo>
                    <a:pt x="363" y="80"/>
                  </a:lnTo>
                  <a:lnTo>
                    <a:pt x="363" y="8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Brunei"/>
            <p:cNvSpPr>
              <a:spLocks/>
            </p:cNvSpPr>
            <p:nvPr/>
          </p:nvSpPr>
          <p:spPr bwMode="auto">
            <a:xfrm>
              <a:off x="9801225" y="4278313"/>
              <a:ext cx="41275" cy="53975"/>
            </a:xfrm>
            <a:custGeom>
              <a:avLst/>
              <a:gdLst>
                <a:gd name="T0" fmla="*/ 0 w 26"/>
                <a:gd name="T1" fmla="*/ 22 h 34"/>
                <a:gd name="T2" fmla="*/ 11 w 26"/>
                <a:gd name="T3" fmla="*/ 34 h 34"/>
                <a:gd name="T4" fmla="*/ 14 w 26"/>
                <a:gd name="T5" fmla="*/ 26 h 34"/>
                <a:gd name="T6" fmla="*/ 25 w 26"/>
                <a:gd name="T7" fmla="*/ 27 h 34"/>
                <a:gd name="T8" fmla="*/ 26 w 26"/>
                <a:gd name="T9" fmla="*/ 11 h 34"/>
                <a:gd name="T10" fmla="*/ 26 w 26"/>
                <a:gd name="T11" fmla="*/ 0 h 34"/>
                <a:gd name="T12" fmla="*/ 9 w 26"/>
                <a:gd name="T13" fmla="*/ 13 h 34"/>
                <a:gd name="T14" fmla="*/ 0 w 26"/>
                <a:gd name="T15" fmla="*/ 22 h 34"/>
                <a:gd name="T16" fmla="*/ 0 w 26"/>
                <a:gd name="T1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0" y="22"/>
                  </a:moveTo>
                  <a:lnTo>
                    <a:pt x="11" y="34"/>
                  </a:lnTo>
                  <a:lnTo>
                    <a:pt x="14" y="26"/>
                  </a:lnTo>
                  <a:lnTo>
                    <a:pt x="25" y="27"/>
                  </a:lnTo>
                  <a:lnTo>
                    <a:pt x="26" y="11"/>
                  </a:lnTo>
                  <a:lnTo>
                    <a:pt x="26" y="0"/>
                  </a:lnTo>
                  <a:lnTo>
                    <a:pt x="9" y="13"/>
                  </a:lnTo>
                  <a:lnTo>
                    <a:pt x="0" y="22"/>
                  </a:lnTo>
                  <a:lnTo>
                    <a:pt x="0" y="2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Bhutan"/>
            <p:cNvSpPr>
              <a:spLocks/>
            </p:cNvSpPr>
            <p:nvPr/>
          </p:nvSpPr>
          <p:spPr bwMode="auto">
            <a:xfrm>
              <a:off x="8864600" y="3414713"/>
              <a:ext cx="106362" cy="60325"/>
            </a:xfrm>
            <a:custGeom>
              <a:avLst/>
              <a:gdLst>
                <a:gd name="T0" fmla="*/ 56 w 67"/>
                <a:gd name="T1" fmla="*/ 13 h 38"/>
                <a:gd name="T2" fmla="*/ 46 w 67"/>
                <a:gd name="T3" fmla="*/ 7 h 38"/>
                <a:gd name="T4" fmla="*/ 35 w 67"/>
                <a:gd name="T5" fmla="*/ 6 h 38"/>
                <a:gd name="T6" fmla="*/ 20 w 67"/>
                <a:gd name="T7" fmla="*/ 0 h 38"/>
                <a:gd name="T8" fmla="*/ 10 w 67"/>
                <a:gd name="T9" fmla="*/ 7 h 38"/>
                <a:gd name="T10" fmla="*/ 0 w 67"/>
                <a:gd name="T11" fmla="*/ 24 h 38"/>
                <a:gd name="T12" fmla="*/ 1 w 67"/>
                <a:gd name="T13" fmla="*/ 29 h 38"/>
                <a:gd name="T14" fmla="*/ 22 w 67"/>
                <a:gd name="T15" fmla="*/ 38 h 38"/>
                <a:gd name="T16" fmla="*/ 34 w 67"/>
                <a:gd name="T17" fmla="*/ 35 h 38"/>
                <a:gd name="T18" fmla="*/ 52 w 67"/>
                <a:gd name="T19" fmla="*/ 36 h 38"/>
                <a:gd name="T20" fmla="*/ 67 w 67"/>
                <a:gd name="T21" fmla="*/ 36 h 38"/>
                <a:gd name="T22" fmla="*/ 67 w 67"/>
                <a:gd name="T23" fmla="*/ 21 h 38"/>
                <a:gd name="T24" fmla="*/ 56 w 67"/>
                <a:gd name="T25" fmla="*/ 13 h 38"/>
                <a:gd name="T26" fmla="*/ 56 w 67"/>
                <a:gd name="T27"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38">
                  <a:moveTo>
                    <a:pt x="56" y="13"/>
                  </a:moveTo>
                  <a:lnTo>
                    <a:pt x="46" y="7"/>
                  </a:lnTo>
                  <a:lnTo>
                    <a:pt x="35" y="6"/>
                  </a:lnTo>
                  <a:lnTo>
                    <a:pt x="20" y="0"/>
                  </a:lnTo>
                  <a:lnTo>
                    <a:pt x="10" y="7"/>
                  </a:lnTo>
                  <a:lnTo>
                    <a:pt x="0" y="24"/>
                  </a:lnTo>
                  <a:lnTo>
                    <a:pt x="1" y="29"/>
                  </a:lnTo>
                  <a:lnTo>
                    <a:pt x="22" y="38"/>
                  </a:lnTo>
                  <a:lnTo>
                    <a:pt x="34" y="35"/>
                  </a:lnTo>
                  <a:lnTo>
                    <a:pt x="52" y="36"/>
                  </a:lnTo>
                  <a:lnTo>
                    <a:pt x="67" y="36"/>
                  </a:lnTo>
                  <a:lnTo>
                    <a:pt x="67" y="21"/>
                  </a:lnTo>
                  <a:lnTo>
                    <a:pt x="56" y="13"/>
                  </a:lnTo>
                  <a:lnTo>
                    <a:pt x="56" y="1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Bangladesh"/>
            <p:cNvSpPr>
              <a:spLocks/>
            </p:cNvSpPr>
            <p:nvPr/>
          </p:nvSpPr>
          <p:spPr bwMode="auto">
            <a:xfrm>
              <a:off x="8856662" y="3486151"/>
              <a:ext cx="169862" cy="215900"/>
            </a:xfrm>
            <a:custGeom>
              <a:avLst/>
              <a:gdLst>
                <a:gd name="T0" fmla="*/ 105 w 107"/>
                <a:gd name="T1" fmla="*/ 105 h 136"/>
                <a:gd name="T2" fmla="*/ 88 w 107"/>
                <a:gd name="T3" fmla="*/ 66 h 136"/>
                <a:gd name="T4" fmla="*/ 83 w 107"/>
                <a:gd name="T5" fmla="*/ 67 h 136"/>
                <a:gd name="T6" fmla="*/ 82 w 107"/>
                <a:gd name="T7" fmla="*/ 82 h 136"/>
                <a:gd name="T8" fmla="*/ 69 w 107"/>
                <a:gd name="T9" fmla="*/ 69 h 136"/>
                <a:gd name="T10" fmla="*/ 73 w 107"/>
                <a:gd name="T11" fmla="*/ 56 h 136"/>
                <a:gd name="T12" fmla="*/ 82 w 107"/>
                <a:gd name="T13" fmla="*/ 54 h 136"/>
                <a:gd name="T14" fmla="*/ 88 w 107"/>
                <a:gd name="T15" fmla="*/ 34 h 136"/>
                <a:gd name="T16" fmla="*/ 75 w 107"/>
                <a:gd name="T17" fmla="*/ 31 h 136"/>
                <a:gd name="T18" fmla="*/ 57 w 107"/>
                <a:gd name="T19" fmla="*/ 31 h 136"/>
                <a:gd name="T20" fmla="*/ 36 w 107"/>
                <a:gd name="T21" fmla="*/ 28 h 136"/>
                <a:gd name="T22" fmla="*/ 32 w 107"/>
                <a:gd name="T23" fmla="*/ 11 h 136"/>
                <a:gd name="T24" fmla="*/ 22 w 107"/>
                <a:gd name="T25" fmla="*/ 9 h 136"/>
                <a:gd name="T26" fmla="*/ 4 w 107"/>
                <a:gd name="T27" fmla="*/ 0 h 136"/>
                <a:gd name="T28" fmla="*/ 0 w 107"/>
                <a:gd name="T29" fmla="*/ 16 h 136"/>
                <a:gd name="T30" fmla="*/ 16 w 107"/>
                <a:gd name="T31" fmla="*/ 28 h 136"/>
                <a:gd name="T32" fmla="*/ 5 w 107"/>
                <a:gd name="T33" fmla="*/ 37 h 136"/>
                <a:gd name="T34" fmla="*/ 2 w 107"/>
                <a:gd name="T35" fmla="*/ 46 h 136"/>
                <a:gd name="T36" fmla="*/ 16 w 107"/>
                <a:gd name="T37" fmla="*/ 52 h 136"/>
                <a:gd name="T38" fmla="*/ 15 w 107"/>
                <a:gd name="T39" fmla="*/ 66 h 136"/>
                <a:gd name="T40" fmla="*/ 24 w 107"/>
                <a:gd name="T41" fmla="*/ 84 h 136"/>
                <a:gd name="T42" fmla="*/ 30 w 107"/>
                <a:gd name="T43" fmla="*/ 104 h 136"/>
                <a:gd name="T44" fmla="*/ 38 w 107"/>
                <a:gd name="T45" fmla="*/ 106 h 136"/>
                <a:gd name="T46" fmla="*/ 44 w 107"/>
                <a:gd name="T47" fmla="*/ 108 h 136"/>
                <a:gd name="T48" fmla="*/ 47 w 107"/>
                <a:gd name="T49" fmla="*/ 105 h 136"/>
                <a:gd name="T50" fmla="*/ 57 w 107"/>
                <a:gd name="T51" fmla="*/ 109 h 136"/>
                <a:gd name="T52" fmla="*/ 61 w 107"/>
                <a:gd name="T53" fmla="*/ 96 h 136"/>
                <a:gd name="T54" fmla="*/ 58 w 107"/>
                <a:gd name="T55" fmla="*/ 86 h 136"/>
                <a:gd name="T56" fmla="*/ 77 w 107"/>
                <a:gd name="T57" fmla="*/ 87 h 136"/>
                <a:gd name="T58" fmla="*/ 87 w 107"/>
                <a:gd name="T59" fmla="*/ 101 h 136"/>
                <a:gd name="T60" fmla="*/ 93 w 107"/>
                <a:gd name="T61" fmla="*/ 112 h 136"/>
                <a:gd name="T62" fmla="*/ 96 w 107"/>
                <a:gd name="T63" fmla="*/ 124 h 136"/>
                <a:gd name="T64" fmla="*/ 103 w 107"/>
                <a:gd name="T65" fmla="*/ 136 h 136"/>
                <a:gd name="T66" fmla="*/ 100 w 107"/>
                <a:gd name="T67" fmla="*/ 118 h 136"/>
                <a:gd name="T68" fmla="*/ 107 w 107"/>
                <a:gd name="T69" fmla="*/ 121 h 136"/>
                <a:gd name="T70" fmla="*/ 105 w 107"/>
                <a:gd name="T71" fmla="*/ 105 h 136"/>
                <a:gd name="T72" fmla="*/ 105 w 107"/>
                <a:gd name="T73" fmla="*/ 10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136">
                  <a:moveTo>
                    <a:pt x="105" y="105"/>
                  </a:moveTo>
                  <a:lnTo>
                    <a:pt x="88" y="66"/>
                  </a:lnTo>
                  <a:lnTo>
                    <a:pt x="83" y="67"/>
                  </a:lnTo>
                  <a:lnTo>
                    <a:pt x="82" y="82"/>
                  </a:lnTo>
                  <a:lnTo>
                    <a:pt x="69" y="69"/>
                  </a:lnTo>
                  <a:lnTo>
                    <a:pt x="73" y="56"/>
                  </a:lnTo>
                  <a:lnTo>
                    <a:pt x="82" y="54"/>
                  </a:lnTo>
                  <a:lnTo>
                    <a:pt x="88" y="34"/>
                  </a:lnTo>
                  <a:lnTo>
                    <a:pt x="75" y="31"/>
                  </a:lnTo>
                  <a:lnTo>
                    <a:pt x="57" y="31"/>
                  </a:lnTo>
                  <a:lnTo>
                    <a:pt x="36" y="28"/>
                  </a:lnTo>
                  <a:lnTo>
                    <a:pt x="32" y="11"/>
                  </a:lnTo>
                  <a:lnTo>
                    <a:pt x="22" y="9"/>
                  </a:lnTo>
                  <a:lnTo>
                    <a:pt x="4" y="0"/>
                  </a:lnTo>
                  <a:lnTo>
                    <a:pt x="0" y="16"/>
                  </a:lnTo>
                  <a:lnTo>
                    <a:pt x="16" y="28"/>
                  </a:lnTo>
                  <a:lnTo>
                    <a:pt x="5" y="37"/>
                  </a:lnTo>
                  <a:lnTo>
                    <a:pt x="2" y="46"/>
                  </a:lnTo>
                  <a:lnTo>
                    <a:pt x="16" y="52"/>
                  </a:lnTo>
                  <a:lnTo>
                    <a:pt x="15" y="66"/>
                  </a:lnTo>
                  <a:lnTo>
                    <a:pt x="24" y="84"/>
                  </a:lnTo>
                  <a:lnTo>
                    <a:pt x="30" y="104"/>
                  </a:lnTo>
                  <a:lnTo>
                    <a:pt x="38" y="106"/>
                  </a:lnTo>
                  <a:lnTo>
                    <a:pt x="44" y="108"/>
                  </a:lnTo>
                  <a:lnTo>
                    <a:pt x="47" y="105"/>
                  </a:lnTo>
                  <a:lnTo>
                    <a:pt x="57" y="109"/>
                  </a:lnTo>
                  <a:lnTo>
                    <a:pt x="61" y="96"/>
                  </a:lnTo>
                  <a:lnTo>
                    <a:pt x="58" y="86"/>
                  </a:lnTo>
                  <a:lnTo>
                    <a:pt x="77" y="87"/>
                  </a:lnTo>
                  <a:lnTo>
                    <a:pt x="87" y="101"/>
                  </a:lnTo>
                  <a:lnTo>
                    <a:pt x="93" y="112"/>
                  </a:lnTo>
                  <a:lnTo>
                    <a:pt x="96" y="124"/>
                  </a:lnTo>
                  <a:lnTo>
                    <a:pt x="103" y="136"/>
                  </a:lnTo>
                  <a:lnTo>
                    <a:pt x="100" y="118"/>
                  </a:lnTo>
                  <a:lnTo>
                    <a:pt x="107" y="121"/>
                  </a:lnTo>
                  <a:lnTo>
                    <a:pt x="105" y="105"/>
                  </a:lnTo>
                  <a:lnTo>
                    <a:pt x="105" y="10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Botswana"/>
            <p:cNvSpPr>
              <a:spLocks/>
            </p:cNvSpPr>
            <p:nvPr/>
          </p:nvSpPr>
          <p:spPr bwMode="auto">
            <a:xfrm>
              <a:off x="6646862" y="5149851"/>
              <a:ext cx="314325" cy="346075"/>
            </a:xfrm>
            <a:custGeom>
              <a:avLst/>
              <a:gdLst>
                <a:gd name="T0" fmla="*/ 116 w 198"/>
                <a:gd name="T1" fmla="*/ 1 h 218"/>
                <a:gd name="T2" fmla="*/ 113 w 198"/>
                <a:gd name="T3" fmla="*/ 0 h 218"/>
                <a:gd name="T4" fmla="*/ 100 w 198"/>
                <a:gd name="T5" fmla="*/ 5 h 218"/>
                <a:gd name="T6" fmla="*/ 95 w 198"/>
                <a:gd name="T7" fmla="*/ 5 h 218"/>
                <a:gd name="T8" fmla="*/ 81 w 198"/>
                <a:gd name="T9" fmla="*/ 14 h 218"/>
                <a:gd name="T10" fmla="*/ 73 w 198"/>
                <a:gd name="T11" fmla="*/ 5 h 218"/>
                <a:gd name="T12" fmla="*/ 41 w 198"/>
                <a:gd name="T13" fmla="*/ 13 h 218"/>
                <a:gd name="T14" fmla="*/ 26 w 198"/>
                <a:gd name="T15" fmla="*/ 14 h 218"/>
                <a:gd name="T16" fmla="*/ 22 w 198"/>
                <a:gd name="T17" fmla="*/ 98 h 218"/>
                <a:gd name="T18" fmla="*/ 2 w 198"/>
                <a:gd name="T19" fmla="*/ 99 h 218"/>
                <a:gd name="T20" fmla="*/ 0 w 198"/>
                <a:gd name="T21" fmla="*/ 169 h 218"/>
                <a:gd name="T22" fmla="*/ 5 w 198"/>
                <a:gd name="T23" fmla="*/ 172 h 218"/>
                <a:gd name="T24" fmla="*/ 16 w 198"/>
                <a:gd name="T25" fmla="*/ 195 h 218"/>
                <a:gd name="T26" fmla="*/ 14 w 198"/>
                <a:gd name="T27" fmla="*/ 209 h 218"/>
                <a:gd name="T28" fmla="*/ 18 w 198"/>
                <a:gd name="T29" fmla="*/ 218 h 218"/>
                <a:gd name="T30" fmla="*/ 33 w 198"/>
                <a:gd name="T31" fmla="*/ 215 h 218"/>
                <a:gd name="T32" fmla="*/ 43 w 198"/>
                <a:gd name="T33" fmla="*/ 205 h 218"/>
                <a:gd name="T34" fmla="*/ 54 w 198"/>
                <a:gd name="T35" fmla="*/ 197 h 218"/>
                <a:gd name="T36" fmla="*/ 59 w 198"/>
                <a:gd name="T37" fmla="*/ 186 h 218"/>
                <a:gd name="T38" fmla="*/ 69 w 198"/>
                <a:gd name="T39" fmla="*/ 181 h 218"/>
                <a:gd name="T40" fmla="*/ 78 w 198"/>
                <a:gd name="T41" fmla="*/ 183 h 218"/>
                <a:gd name="T42" fmla="*/ 87 w 198"/>
                <a:gd name="T43" fmla="*/ 190 h 218"/>
                <a:gd name="T44" fmla="*/ 103 w 198"/>
                <a:gd name="T45" fmla="*/ 191 h 218"/>
                <a:gd name="T46" fmla="*/ 117 w 198"/>
                <a:gd name="T47" fmla="*/ 185 h 218"/>
                <a:gd name="T48" fmla="*/ 119 w 198"/>
                <a:gd name="T49" fmla="*/ 178 h 218"/>
                <a:gd name="T50" fmla="*/ 124 w 198"/>
                <a:gd name="T51" fmla="*/ 167 h 218"/>
                <a:gd name="T52" fmla="*/ 135 w 198"/>
                <a:gd name="T53" fmla="*/ 165 h 218"/>
                <a:gd name="T54" fmla="*/ 141 w 198"/>
                <a:gd name="T55" fmla="*/ 156 h 218"/>
                <a:gd name="T56" fmla="*/ 149 w 198"/>
                <a:gd name="T57" fmla="*/ 140 h 218"/>
                <a:gd name="T58" fmla="*/ 168 w 198"/>
                <a:gd name="T59" fmla="*/ 123 h 218"/>
                <a:gd name="T60" fmla="*/ 198 w 198"/>
                <a:gd name="T61" fmla="*/ 105 h 218"/>
                <a:gd name="T62" fmla="*/ 185 w 198"/>
                <a:gd name="T63" fmla="*/ 94 h 218"/>
                <a:gd name="T64" fmla="*/ 170 w 198"/>
                <a:gd name="T65" fmla="*/ 91 h 218"/>
                <a:gd name="T66" fmla="*/ 164 w 198"/>
                <a:gd name="T67" fmla="*/ 75 h 218"/>
                <a:gd name="T68" fmla="*/ 164 w 198"/>
                <a:gd name="T69" fmla="*/ 67 h 218"/>
                <a:gd name="T70" fmla="*/ 156 w 198"/>
                <a:gd name="T71" fmla="*/ 65 h 218"/>
                <a:gd name="T72" fmla="*/ 133 w 198"/>
                <a:gd name="T73" fmla="*/ 39 h 218"/>
                <a:gd name="T74" fmla="*/ 127 w 198"/>
                <a:gd name="T75" fmla="*/ 25 h 218"/>
                <a:gd name="T76" fmla="*/ 123 w 198"/>
                <a:gd name="T77" fmla="*/ 20 h 218"/>
                <a:gd name="T78" fmla="*/ 116 w 198"/>
                <a:gd name="T79" fmla="*/ 1 h 218"/>
                <a:gd name="T80" fmla="*/ 116 w 198"/>
                <a:gd name="T81"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218">
                  <a:moveTo>
                    <a:pt x="116" y="1"/>
                  </a:moveTo>
                  <a:lnTo>
                    <a:pt x="113" y="0"/>
                  </a:lnTo>
                  <a:lnTo>
                    <a:pt x="100" y="5"/>
                  </a:lnTo>
                  <a:lnTo>
                    <a:pt x="95" y="5"/>
                  </a:lnTo>
                  <a:lnTo>
                    <a:pt x="81" y="14"/>
                  </a:lnTo>
                  <a:lnTo>
                    <a:pt x="73" y="5"/>
                  </a:lnTo>
                  <a:lnTo>
                    <a:pt x="41" y="13"/>
                  </a:lnTo>
                  <a:lnTo>
                    <a:pt x="26" y="14"/>
                  </a:lnTo>
                  <a:lnTo>
                    <a:pt x="22" y="98"/>
                  </a:lnTo>
                  <a:lnTo>
                    <a:pt x="2" y="99"/>
                  </a:lnTo>
                  <a:lnTo>
                    <a:pt x="0" y="169"/>
                  </a:lnTo>
                  <a:lnTo>
                    <a:pt x="5" y="172"/>
                  </a:lnTo>
                  <a:lnTo>
                    <a:pt x="16" y="195"/>
                  </a:lnTo>
                  <a:lnTo>
                    <a:pt x="14" y="209"/>
                  </a:lnTo>
                  <a:lnTo>
                    <a:pt x="18" y="218"/>
                  </a:lnTo>
                  <a:lnTo>
                    <a:pt x="33" y="215"/>
                  </a:lnTo>
                  <a:lnTo>
                    <a:pt x="43" y="205"/>
                  </a:lnTo>
                  <a:lnTo>
                    <a:pt x="54" y="197"/>
                  </a:lnTo>
                  <a:lnTo>
                    <a:pt x="59" y="186"/>
                  </a:lnTo>
                  <a:lnTo>
                    <a:pt x="69" y="181"/>
                  </a:lnTo>
                  <a:lnTo>
                    <a:pt x="78" y="183"/>
                  </a:lnTo>
                  <a:lnTo>
                    <a:pt x="87" y="190"/>
                  </a:lnTo>
                  <a:lnTo>
                    <a:pt x="103" y="191"/>
                  </a:lnTo>
                  <a:lnTo>
                    <a:pt x="117" y="185"/>
                  </a:lnTo>
                  <a:lnTo>
                    <a:pt x="119" y="178"/>
                  </a:lnTo>
                  <a:lnTo>
                    <a:pt x="124" y="167"/>
                  </a:lnTo>
                  <a:lnTo>
                    <a:pt x="135" y="165"/>
                  </a:lnTo>
                  <a:lnTo>
                    <a:pt x="141" y="156"/>
                  </a:lnTo>
                  <a:lnTo>
                    <a:pt x="149" y="140"/>
                  </a:lnTo>
                  <a:lnTo>
                    <a:pt x="168" y="123"/>
                  </a:lnTo>
                  <a:lnTo>
                    <a:pt x="198" y="105"/>
                  </a:lnTo>
                  <a:lnTo>
                    <a:pt x="185" y="94"/>
                  </a:lnTo>
                  <a:lnTo>
                    <a:pt x="170" y="91"/>
                  </a:lnTo>
                  <a:lnTo>
                    <a:pt x="164" y="75"/>
                  </a:lnTo>
                  <a:lnTo>
                    <a:pt x="164" y="67"/>
                  </a:lnTo>
                  <a:lnTo>
                    <a:pt x="156" y="65"/>
                  </a:lnTo>
                  <a:lnTo>
                    <a:pt x="133" y="39"/>
                  </a:lnTo>
                  <a:lnTo>
                    <a:pt x="127" y="25"/>
                  </a:lnTo>
                  <a:lnTo>
                    <a:pt x="123" y="20"/>
                  </a:lnTo>
                  <a:lnTo>
                    <a:pt x="116" y="1"/>
                  </a:lnTo>
                  <a:lnTo>
                    <a:pt x="116"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Central African Republic"/>
            <p:cNvSpPr>
              <a:spLocks/>
            </p:cNvSpPr>
            <p:nvPr/>
          </p:nvSpPr>
          <p:spPr bwMode="auto">
            <a:xfrm>
              <a:off x="6481762" y="4062413"/>
              <a:ext cx="430212" cy="334963"/>
            </a:xfrm>
            <a:custGeom>
              <a:avLst/>
              <a:gdLst>
                <a:gd name="T0" fmla="*/ 195 w 271"/>
                <a:gd name="T1" fmla="*/ 59 h 211"/>
                <a:gd name="T2" fmla="*/ 187 w 271"/>
                <a:gd name="T3" fmla="*/ 45 h 211"/>
                <a:gd name="T4" fmla="*/ 189 w 271"/>
                <a:gd name="T5" fmla="*/ 25 h 211"/>
                <a:gd name="T6" fmla="*/ 175 w 271"/>
                <a:gd name="T7" fmla="*/ 0 h 211"/>
                <a:gd name="T8" fmla="*/ 151 w 271"/>
                <a:gd name="T9" fmla="*/ 14 h 211"/>
                <a:gd name="T10" fmla="*/ 117 w 271"/>
                <a:gd name="T11" fmla="*/ 51 h 211"/>
                <a:gd name="T12" fmla="*/ 91 w 271"/>
                <a:gd name="T13" fmla="*/ 51 h 211"/>
                <a:gd name="T14" fmla="*/ 82 w 271"/>
                <a:gd name="T15" fmla="*/ 68 h 211"/>
                <a:gd name="T16" fmla="*/ 47 w 271"/>
                <a:gd name="T17" fmla="*/ 87 h 211"/>
                <a:gd name="T18" fmla="*/ 38 w 271"/>
                <a:gd name="T19" fmla="*/ 80 h 211"/>
                <a:gd name="T20" fmla="*/ 17 w 271"/>
                <a:gd name="T21" fmla="*/ 89 h 211"/>
                <a:gd name="T22" fmla="*/ 2 w 271"/>
                <a:gd name="T23" fmla="*/ 117 h 211"/>
                <a:gd name="T24" fmla="*/ 3 w 271"/>
                <a:gd name="T25" fmla="*/ 146 h 211"/>
                <a:gd name="T26" fmla="*/ 10 w 271"/>
                <a:gd name="T27" fmla="*/ 165 h 211"/>
                <a:gd name="T28" fmla="*/ 20 w 271"/>
                <a:gd name="T29" fmla="*/ 186 h 211"/>
                <a:gd name="T30" fmla="*/ 31 w 271"/>
                <a:gd name="T31" fmla="*/ 205 h 211"/>
                <a:gd name="T32" fmla="*/ 44 w 271"/>
                <a:gd name="T33" fmla="*/ 189 h 211"/>
                <a:gd name="T34" fmla="*/ 71 w 271"/>
                <a:gd name="T35" fmla="*/ 180 h 211"/>
                <a:gd name="T36" fmla="*/ 86 w 271"/>
                <a:gd name="T37" fmla="*/ 165 h 211"/>
                <a:gd name="T38" fmla="*/ 105 w 271"/>
                <a:gd name="T39" fmla="*/ 146 h 211"/>
                <a:gd name="T40" fmla="*/ 136 w 271"/>
                <a:gd name="T41" fmla="*/ 163 h 211"/>
                <a:gd name="T42" fmla="*/ 167 w 271"/>
                <a:gd name="T43" fmla="*/ 169 h 211"/>
                <a:gd name="T44" fmla="*/ 176 w 271"/>
                <a:gd name="T45" fmla="*/ 153 h 211"/>
                <a:gd name="T46" fmla="*/ 209 w 271"/>
                <a:gd name="T47" fmla="*/ 144 h 211"/>
                <a:gd name="T48" fmla="*/ 224 w 271"/>
                <a:gd name="T49" fmla="*/ 148 h 211"/>
                <a:gd name="T50" fmla="*/ 234 w 271"/>
                <a:gd name="T51" fmla="*/ 140 h 211"/>
                <a:gd name="T52" fmla="*/ 264 w 271"/>
                <a:gd name="T53" fmla="*/ 143 h 211"/>
                <a:gd name="T54" fmla="*/ 268 w 271"/>
                <a:gd name="T55" fmla="*/ 133 h 211"/>
                <a:gd name="T56" fmla="*/ 246 w 271"/>
                <a:gd name="T57" fmla="*/ 109 h 211"/>
                <a:gd name="T58" fmla="*/ 223 w 271"/>
                <a:gd name="T59" fmla="*/ 87 h 211"/>
                <a:gd name="T60" fmla="*/ 211 w 271"/>
                <a:gd name="T61" fmla="*/ 69 h 211"/>
                <a:gd name="T62" fmla="*/ 197 w 271"/>
                <a:gd name="T6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11">
                  <a:moveTo>
                    <a:pt x="197" y="60"/>
                  </a:moveTo>
                  <a:lnTo>
                    <a:pt x="195" y="59"/>
                  </a:lnTo>
                  <a:lnTo>
                    <a:pt x="188" y="52"/>
                  </a:lnTo>
                  <a:lnTo>
                    <a:pt x="187" y="45"/>
                  </a:lnTo>
                  <a:lnTo>
                    <a:pt x="189" y="35"/>
                  </a:lnTo>
                  <a:lnTo>
                    <a:pt x="189" y="25"/>
                  </a:lnTo>
                  <a:lnTo>
                    <a:pt x="177" y="10"/>
                  </a:lnTo>
                  <a:lnTo>
                    <a:pt x="175" y="0"/>
                  </a:lnTo>
                  <a:lnTo>
                    <a:pt x="161" y="5"/>
                  </a:lnTo>
                  <a:lnTo>
                    <a:pt x="151" y="14"/>
                  </a:lnTo>
                  <a:lnTo>
                    <a:pt x="136" y="40"/>
                  </a:lnTo>
                  <a:lnTo>
                    <a:pt x="117" y="51"/>
                  </a:lnTo>
                  <a:lnTo>
                    <a:pt x="96" y="50"/>
                  </a:lnTo>
                  <a:lnTo>
                    <a:pt x="91" y="51"/>
                  </a:lnTo>
                  <a:lnTo>
                    <a:pt x="92" y="60"/>
                  </a:lnTo>
                  <a:lnTo>
                    <a:pt x="82" y="68"/>
                  </a:lnTo>
                  <a:lnTo>
                    <a:pt x="74" y="78"/>
                  </a:lnTo>
                  <a:lnTo>
                    <a:pt x="47" y="87"/>
                  </a:lnTo>
                  <a:lnTo>
                    <a:pt x="42" y="81"/>
                  </a:lnTo>
                  <a:lnTo>
                    <a:pt x="38" y="80"/>
                  </a:lnTo>
                  <a:lnTo>
                    <a:pt x="34" y="87"/>
                  </a:lnTo>
                  <a:lnTo>
                    <a:pt x="17" y="89"/>
                  </a:lnTo>
                  <a:lnTo>
                    <a:pt x="6" y="113"/>
                  </a:lnTo>
                  <a:lnTo>
                    <a:pt x="2" y="117"/>
                  </a:lnTo>
                  <a:lnTo>
                    <a:pt x="0" y="136"/>
                  </a:lnTo>
                  <a:lnTo>
                    <a:pt x="3" y="146"/>
                  </a:lnTo>
                  <a:lnTo>
                    <a:pt x="1" y="152"/>
                  </a:lnTo>
                  <a:lnTo>
                    <a:pt x="10" y="165"/>
                  </a:lnTo>
                  <a:lnTo>
                    <a:pt x="12" y="174"/>
                  </a:lnTo>
                  <a:lnTo>
                    <a:pt x="20" y="186"/>
                  </a:lnTo>
                  <a:lnTo>
                    <a:pt x="30" y="193"/>
                  </a:lnTo>
                  <a:lnTo>
                    <a:pt x="31" y="205"/>
                  </a:lnTo>
                  <a:lnTo>
                    <a:pt x="34" y="211"/>
                  </a:lnTo>
                  <a:lnTo>
                    <a:pt x="44" y="189"/>
                  </a:lnTo>
                  <a:lnTo>
                    <a:pt x="57" y="177"/>
                  </a:lnTo>
                  <a:lnTo>
                    <a:pt x="71" y="180"/>
                  </a:lnTo>
                  <a:lnTo>
                    <a:pt x="84" y="182"/>
                  </a:lnTo>
                  <a:lnTo>
                    <a:pt x="86" y="165"/>
                  </a:lnTo>
                  <a:lnTo>
                    <a:pt x="94" y="153"/>
                  </a:lnTo>
                  <a:lnTo>
                    <a:pt x="105" y="146"/>
                  </a:lnTo>
                  <a:lnTo>
                    <a:pt x="122" y="153"/>
                  </a:lnTo>
                  <a:lnTo>
                    <a:pt x="136" y="163"/>
                  </a:lnTo>
                  <a:lnTo>
                    <a:pt x="151" y="164"/>
                  </a:lnTo>
                  <a:lnTo>
                    <a:pt x="167" y="169"/>
                  </a:lnTo>
                  <a:lnTo>
                    <a:pt x="173" y="155"/>
                  </a:lnTo>
                  <a:lnTo>
                    <a:pt x="176" y="153"/>
                  </a:lnTo>
                  <a:lnTo>
                    <a:pt x="186" y="155"/>
                  </a:lnTo>
                  <a:lnTo>
                    <a:pt x="209" y="144"/>
                  </a:lnTo>
                  <a:lnTo>
                    <a:pt x="217" y="149"/>
                  </a:lnTo>
                  <a:lnTo>
                    <a:pt x="224" y="148"/>
                  </a:lnTo>
                  <a:lnTo>
                    <a:pt x="227" y="142"/>
                  </a:lnTo>
                  <a:lnTo>
                    <a:pt x="234" y="140"/>
                  </a:lnTo>
                  <a:lnTo>
                    <a:pt x="251" y="143"/>
                  </a:lnTo>
                  <a:lnTo>
                    <a:pt x="264" y="143"/>
                  </a:lnTo>
                  <a:lnTo>
                    <a:pt x="271" y="141"/>
                  </a:lnTo>
                  <a:lnTo>
                    <a:pt x="268" y="133"/>
                  </a:lnTo>
                  <a:lnTo>
                    <a:pt x="252" y="123"/>
                  </a:lnTo>
                  <a:lnTo>
                    <a:pt x="246" y="109"/>
                  </a:lnTo>
                  <a:lnTo>
                    <a:pt x="237" y="99"/>
                  </a:lnTo>
                  <a:lnTo>
                    <a:pt x="223" y="87"/>
                  </a:lnTo>
                  <a:lnTo>
                    <a:pt x="223" y="79"/>
                  </a:lnTo>
                  <a:lnTo>
                    <a:pt x="211" y="69"/>
                  </a:lnTo>
                  <a:lnTo>
                    <a:pt x="197" y="60"/>
                  </a:lnTo>
                  <a:lnTo>
                    <a:pt x="197" y="6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Canada"/>
            <p:cNvSpPr>
              <a:spLocks noEditPoints="1"/>
            </p:cNvSpPr>
            <p:nvPr/>
          </p:nvSpPr>
          <p:spPr bwMode="auto">
            <a:xfrm>
              <a:off x="2249487" y="1549401"/>
              <a:ext cx="2525712" cy="1347788"/>
            </a:xfrm>
            <a:custGeom>
              <a:avLst/>
              <a:gdLst>
                <a:gd name="T0" fmla="*/ 1194 w 1591"/>
                <a:gd name="T1" fmla="*/ 665 h 849"/>
                <a:gd name="T2" fmla="*/ 32 w 1591"/>
                <a:gd name="T3" fmla="*/ 652 h 849"/>
                <a:gd name="T4" fmla="*/ 1323 w 1591"/>
                <a:gd name="T5" fmla="*/ 649 h 849"/>
                <a:gd name="T6" fmla="*/ 1366 w 1591"/>
                <a:gd name="T7" fmla="*/ 743 h 849"/>
                <a:gd name="T8" fmla="*/ 1346 w 1591"/>
                <a:gd name="T9" fmla="*/ 649 h 849"/>
                <a:gd name="T10" fmla="*/ 1061 w 1591"/>
                <a:gd name="T11" fmla="*/ 389 h 849"/>
                <a:gd name="T12" fmla="*/ 1026 w 1591"/>
                <a:gd name="T13" fmla="*/ 381 h 849"/>
                <a:gd name="T14" fmla="*/ 1062 w 1591"/>
                <a:gd name="T15" fmla="*/ 353 h 849"/>
                <a:gd name="T16" fmla="*/ 1180 w 1591"/>
                <a:gd name="T17" fmla="*/ 269 h 849"/>
                <a:gd name="T18" fmla="*/ 890 w 1591"/>
                <a:gd name="T19" fmla="*/ 256 h 849"/>
                <a:gd name="T20" fmla="*/ 868 w 1591"/>
                <a:gd name="T21" fmla="*/ 286 h 849"/>
                <a:gd name="T22" fmla="*/ 697 w 1591"/>
                <a:gd name="T23" fmla="*/ 274 h 849"/>
                <a:gd name="T24" fmla="*/ 476 w 1591"/>
                <a:gd name="T25" fmla="*/ 243 h 849"/>
                <a:gd name="T26" fmla="*/ 251 w 1591"/>
                <a:gd name="T27" fmla="*/ 242 h 849"/>
                <a:gd name="T28" fmla="*/ 91 w 1591"/>
                <a:gd name="T29" fmla="*/ 491 h 849"/>
                <a:gd name="T30" fmla="*/ 108 w 1591"/>
                <a:gd name="T31" fmla="*/ 688 h 849"/>
                <a:gd name="T32" fmla="*/ 626 w 1591"/>
                <a:gd name="T33" fmla="*/ 691 h 849"/>
                <a:gd name="T34" fmla="*/ 775 w 1591"/>
                <a:gd name="T35" fmla="*/ 697 h 849"/>
                <a:gd name="T36" fmla="*/ 838 w 1591"/>
                <a:gd name="T37" fmla="*/ 755 h 849"/>
                <a:gd name="T38" fmla="*/ 773 w 1591"/>
                <a:gd name="T39" fmla="*/ 847 h 849"/>
                <a:gd name="T40" fmla="*/ 848 w 1591"/>
                <a:gd name="T41" fmla="*/ 819 h 849"/>
                <a:gd name="T42" fmla="*/ 1022 w 1591"/>
                <a:gd name="T43" fmla="*/ 775 h 849"/>
                <a:gd name="T44" fmla="*/ 1110 w 1591"/>
                <a:gd name="T45" fmla="*/ 812 h 849"/>
                <a:gd name="T46" fmla="*/ 1172 w 1591"/>
                <a:gd name="T47" fmla="*/ 682 h 849"/>
                <a:gd name="T48" fmla="*/ 1334 w 1591"/>
                <a:gd name="T49" fmla="*/ 632 h 849"/>
                <a:gd name="T50" fmla="*/ 1284 w 1591"/>
                <a:gd name="T51" fmla="*/ 433 h 849"/>
                <a:gd name="T52" fmla="*/ 1097 w 1591"/>
                <a:gd name="T53" fmla="*/ 385 h 849"/>
                <a:gd name="T54" fmla="*/ 920 w 1591"/>
                <a:gd name="T55" fmla="*/ 636 h 849"/>
                <a:gd name="T56" fmla="*/ 783 w 1591"/>
                <a:gd name="T57" fmla="*/ 467 h 849"/>
                <a:gd name="T58" fmla="*/ 1030 w 1591"/>
                <a:gd name="T59" fmla="*/ 308 h 849"/>
                <a:gd name="T60" fmla="*/ 1014 w 1591"/>
                <a:gd name="T61" fmla="*/ 259 h 849"/>
                <a:gd name="T62" fmla="*/ 617 w 1591"/>
                <a:gd name="T63" fmla="*/ 221 h 849"/>
                <a:gd name="T64" fmla="*/ 749 w 1591"/>
                <a:gd name="T65" fmla="*/ 248 h 849"/>
                <a:gd name="T66" fmla="*/ 780 w 1591"/>
                <a:gd name="T67" fmla="*/ 191 h 849"/>
                <a:gd name="T68" fmla="*/ 854 w 1591"/>
                <a:gd name="T69" fmla="*/ 165 h 849"/>
                <a:gd name="T70" fmla="*/ 1130 w 1591"/>
                <a:gd name="T71" fmla="*/ 158 h 849"/>
                <a:gd name="T72" fmla="*/ 1194 w 1591"/>
                <a:gd name="T73" fmla="*/ 236 h 849"/>
                <a:gd name="T74" fmla="*/ 1163 w 1591"/>
                <a:gd name="T75" fmla="*/ 346 h 849"/>
                <a:gd name="T76" fmla="*/ 1315 w 1591"/>
                <a:gd name="T77" fmla="*/ 346 h 849"/>
                <a:gd name="T78" fmla="*/ 1343 w 1591"/>
                <a:gd name="T79" fmla="*/ 248 h 849"/>
                <a:gd name="T80" fmla="*/ 1110 w 1591"/>
                <a:gd name="T81" fmla="*/ 182 h 849"/>
                <a:gd name="T82" fmla="*/ 961 w 1591"/>
                <a:gd name="T83" fmla="*/ 165 h 849"/>
                <a:gd name="T84" fmla="*/ 976 w 1591"/>
                <a:gd name="T85" fmla="*/ 192 h 849"/>
                <a:gd name="T86" fmla="*/ 523 w 1591"/>
                <a:gd name="T87" fmla="*/ 187 h 849"/>
                <a:gd name="T88" fmla="*/ 1040 w 1591"/>
                <a:gd name="T89" fmla="*/ 136 h 849"/>
                <a:gd name="T90" fmla="*/ 861 w 1591"/>
                <a:gd name="T91" fmla="*/ 114 h 849"/>
                <a:gd name="T92" fmla="*/ 764 w 1591"/>
                <a:gd name="T93" fmla="*/ 146 h 849"/>
                <a:gd name="T94" fmla="*/ 1060 w 1591"/>
                <a:gd name="T95" fmla="*/ 128 h 849"/>
                <a:gd name="T96" fmla="*/ 1132 w 1591"/>
                <a:gd name="T97" fmla="*/ 126 h 849"/>
                <a:gd name="T98" fmla="*/ 656 w 1591"/>
                <a:gd name="T99" fmla="*/ 115 h 849"/>
                <a:gd name="T100" fmla="*/ 1088 w 1591"/>
                <a:gd name="T101" fmla="*/ 90 h 849"/>
                <a:gd name="T102" fmla="*/ 899 w 1591"/>
                <a:gd name="T103" fmla="*/ 72 h 849"/>
                <a:gd name="T104" fmla="*/ 971 w 1591"/>
                <a:gd name="T105" fmla="*/ 59 h 849"/>
                <a:gd name="T106" fmla="*/ 1153 w 1591"/>
                <a:gd name="T107" fmla="*/ 32 h 849"/>
                <a:gd name="T108" fmla="*/ 1222 w 1591"/>
                <a:gd name="T109" fmla="*/ 53 h 849"/>
                <a:gd name="T110" fmla="*/ 1229 w 1591"/>
                <a:gd name="T111" fmla="*/ 15 h 849"/>
                <a:gd name="T112" fmla="*/ 1203 w 1591"/>
                <a:gd name="T113" fmla="*/ 69 h 849"/>
                <a:gd name="T114" fmla="*/ 1296 w 1591"/>
                <a:gd name="T115" fmla="*/ 99 h 849"/>
                <a:gd name="T116" fmla="*/ 1492 w 1591"/>
                <a:gd name="T117" fmla="*/ 34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1" h="849">
                  <a:moveTo>
                    <a:pt x="1177" y="745"/>
                  </a:moveTo>
                  <a:lnTo>
                    <a:pt x="1174" y="733"/>
                  </a:lnTo>
                  <a:lnTo>
                    <a:pt x="1165" y="740"/>
                  </a:lnTo>
                  <a:lnTo>
                    <a:pt x="1166" y="748"/>
                  </a:lnTo>
                  <a:lnTo>
                    <a:pt x="1188" y="758"/>
                  </a:lnTo>
                  <a:lnTo>
                    <a:pt x="1194" y="757"/>
                  </a:lnTo>
                  <a:lnTo>
                    <a:pt x="1207" y="747"/>
                  </a:lnTo>
                  <a:lnTo>
                    <a:pt x="1190" y="747"/>
                  </a:lnTo>
                  <a:lnTo>
                    <a:pt x="1177" y="745"/>
                  </a:lnTo>
                  <a:lnTo>
                    <a:pt x="1177" y="745"/>
                  </a:lnTo>
                  <a:close/>
                  <a:moveTo>
                    <a:pt x="1231" y="685"/>
                  </a:moveTo>
                  <a:lnTo>
                    <a:pt x="1231" y="681"/>
                  </a:lnTo>
                  <a:lnTo>
                    <a:pt x="1216" y="671"/>
                  </a:lnTo>
                  <a:lnTo>
                    <a:pt x="1194" y="665"/>
                  </a:lnTo>
                  <a:lnTo>
                    <a:pt x="1187" y="667"/>
                  </a:lnTo>
                  <a:lnTo>
                    <a:pt x="1200" y="678"/>
                  </a:lnTo>
                  <a:lnTo>
                    <a:pt x="1222" y="686"/>
                  </a:lnTo>
                  <a:lnTo>
                    <a:pt x="1231" y="685"/>
                  </a:lnTo>
                  <a:lnTo>
                    <a:pt x="1231" y="685"/>
                  </a:lnTo>
                  <a:close/>
                  <a:moveTo>
                    <a:pt x="90" y="699"/>
                  </a:moveTo>
                  <a:lnTo>
                    <a:pt x="91" y="686"/>
                  </a:lnTo>
                  <a:lnTo>
                    <a:pt x="79" y="677"/>
                  </a:lnTo>
                  <a:lnTo>
                    <a:pt x="78" y="665"/>
                  </a:lnTo>
                  <a:lnTo>
                    <a:pt x="77" y="658"/>
                  </a:lnTo>
                  <a:lnTo>
                    <a:pt x="62" y="655"/>
                  </a:lnTo>
                  <a:lnTo>
                    <a:pt x="53" y="652"/>
                  </a:lnTo>
                  <a:lnTo>
                    <a:pt x="38" y="647"/>
                  </a:lnTo>
                  <a:lnTo>
                    <a:pt x="32" y="652"/>
                  </a:lnTo>
                  <a:lnTo>
                    <a:pt x="30" y="664"/>
                  </a:lnTo>
                  <a:lnTo>
                    <a:pt x="46" y="669"/>
                  </a:lnTo>
                  <a:lnTo>
                    <a:pt x="45" y="676"/>
                  </a:lnTo>
                  <a:lnTo>
                    <a:pt x="55" y="684"/>
                  </a:lnTo>
                  <a:lnTo>
                    <a:pt x="55" y="691"/>
                  </a:lnTo>
                  <a:lnTo>
                    <a:pt x="79" y="703"/>
                  </a:lnTo>
                  <a:lnTo>
                    <a:pt x="90" y="699"/>
                  </a:lnTo>
                  <a:lnTo>
                    <a:pt x="90" y="699"/>
                  </a:lnTo>
                  <a:close/>
                  <a:moveTo>
                    <a:pt x="1346" y="649"/>
                  </a:moveTo>
                  <a:lnTo>
                    <a:pt x="1360" y="635"/>
                  </a:lnTo>
                  <a:lnTo>
                    <a:pt x="1365" y="628"/>
                  </a:lnTo>
                  <a:lnTo>
                    <a:pt x="1358" y="627"/>
                  </a:lnTo>
                  <a:lnTo>
                    <a:pt x="1339" y="635"/>
                  </a:lnTo>
                  <a:lnTo>
                    <a:pt x="1323" y="649"/>
                  </a:lnTo>
                  <a:lnTo>
                    <a:pt x="1293" y="685"/>
                  </a:lnTo>
                  <a:lnTo>
                    <a:pt x="1274" y="699"/>
                  </a:lnTo>
                  <a:lnTo>
                    <a:pt x="1279" y="705"/>
                  </a:lnTo>
                  <a:lnTo>
                    <a:pt x="1265" y="713"/>
                  </a:lnTo>
                  <a:lnTo>
                    <a:pt x="1266" y="720"/>
                  </a:lnTo>
                  <a:lnTo>
                    <a:pt x="1302" y="720"/>
                  </a:lnTo>
                  <a:lnTo>
                    <a:pt x="1322" y="719"/>
                  </a:lnTo>
                  <a:lnTo>
                    <a:pt x="1338" y="725"/>
                  </a:lnTo>
                  <a:lnTo>
                    <a:pt x="1322" y="736"/>
                  </a:lnTo>
                  <a:lnTo>
                    <a:pt x="1333" y="736"/>
                  </a:lnTo>
                  <a:lnTo>
                    <a:pt x="1360" y="717"/>
                  </a:lnTo>
                  <a:lnTo>
                    <a:pt x="1364" y="719"/>
                  </a:lnTo>
                  <a:lnTo>
                    <a:pt x="1355" y="738"/>
                  </a:lnTo>
                  <a:lnTo>
                    <a:pt x="1366" y="743"/>
                  </a:lnTo>
                  <a:lnTo>
                    <a:pt x="1375" y="742"/>
                  </a:lnTo>
                  <a:lnTo>
                    <a:pt x="1388" y="721"/>
                  </a:lnTo>
                  <a:lnTo>
                    <a:pt x="1386" y="707"/>
                  </a:lnTo>
                  <a:lnTo>
                    <a:pt x="1388" y="695"/>
                  </a:lnTo>
                  <a:lnTo>
                    <a:pt x="1374" y="699"/>
                  </a:lnTo>
                  <a:lnTo>
                    <a:pt x="1384" y="682"/>
                  </a:lnTo>
                  <a:lnTo>
                    <a:pt x="1368" y="675"/>
                  </a:lnTo>
                  <a:lnTo>
                    <a:pt x="1358" y="680"/>
                  </a:lnTo>
                  <a:lnTo>
                    <a:pt x="1343" y="674"/>
                  </a:lnTo>
                  <a:lnTo>
                    <a:pt x="1352" y="666"/>
                  </a:lnTo>
                  <a:lnTo>
                    <a:pt x="1341" y="662"/>
                  </a:lnTo>
                  <a:lnTo>
                    <a:pt x="1327" y="669"/>
                  </a:lnTo>
                  <a:lnTo>
                    <a:pt x="1346" y="649"/>
                  </a:lnTo>
                  <a:lnTo>
                    <a:pt x="1346" y="649"/>
                  </a:lnTo>
                  <a:close/>
                  <a:moveTo>
                    <a:pt x="13" y="569"/>
                  </a:moveTo>
                  <a:lnTo>
                    <a:pt x="6" y="577"/>
                  </a:lnTo>
                  <a:lnTo>
                    <a:pt x="0" y="587"/>
                  </a:lnTo>
                  <a:lnTo>
                    <a:pt x="4" y="593"/>
                  </a:lnTo>
                  <a:lnTo>
                    <a:pt x="2" y="604"/>
                  </a:lnTo>
                  <a:lnTo>
                    <a:pt x="4" y="615"/>
                  </a:lnTo>
                  <a:lnTo>
                    <a:pt x="12" y="615"/>
                  </a:lnTo>
                  <a:lnTo>
                    <a:pt x="11" y="596"/>
                  </a:lnTo>
                  <a:lnTo>
                    <a:pt x="38" y="570"/>
                  </a:lnTo>
                  <a:lnTo>
                    <a:pt x="19" y="572"/>
                  </a:lnTo>
                  <a:lnTo>
                    <a:pt x="13" y="569"/>
                  </a:lnTo>
                  <a:lnTo>
                    <a:pt x="13" y="569"/>
                  </a:lnTo>
                  <a:close/>
                  <a:moveTo>
                    <a:pt x="1062" y="394"/>
                  </a:moveTo>
                  <a:lnTo>
                    <a:pt x="1061" y="389"/>
                  </a:lnTo>
                  <a:lnTo>
                    <a:pt x="1054" y="389"/>
                  </a:lnTo>
                  <a:lnTo>
                    <a:pt x="1044" y="395"/>
                  </a:lnTo>
                  <a:lnTo>
                    <a:pt x="1042" y="396"/>
                  </a:lnTo>
                  <a:lnTo>
                    <a:pt x="1042" y="403"/>
                  </a:lnTo>
                  <a:lnTo>
                    <a:pt x="1049" y="405"/>
                  </a:lnTo>
                  <a:lnTo>
                    <a:pt x="1062" y="394"/>
                  </a:lnTo>
                  <a:lnTo>
                    <a:pt x="1062" y="394"/>
                  </a:lnTo>
                  <a:close/>
                  <a:moveTo>
                    <a:pt x="1026" y="381"/>
                  </a:moveTo>
                  <a:lnTo>
                    <a:pt x="1029" y="378"/>
                  </a:lnTo>
                  <a:lnTo>
                    <a:pt x="1007" y="378"/>
                  </a:lnTo>
                  <a:lnTo>
                    <a:pt x="988" y="387"/>
                  </a:lnTo>
                  <a:lnTo>
                    <a:pt x="988" y="393"/>
                  </a:lnTo>
                  <a:lnTo>
                    <a:pt x="999" y="394"/>
                  </a:lnTo>
                  <a:lnTo>
                    <a:pt x="1026" y="381"/>
                  </a:lnTo>
                  <a:lnTo>
                    <a:pt x="1026" y="381"/>
                  </a:lnTo>
                  <a:close/>
                  <a:moveTo>
                    <a:pt x="1014" y="320"/>
                  </a:moveTo>
                  <a:lnTo>
                    <a:pt x="1005" y="318"/>
                  </a:lnTo>
                  <a:lnTo>
                    <a:pt x="986" y="338"/>
                  </a:lnTo>
                  <a:lnTo>
                    <a:pt x="972" y="353"/>
                  </a:lnTo>
                  <a:lnTo>
                    <a:pt x="951" y="365"/>
                  </a:lnTo>
                  <a:lnTo>
                    <a:pt x="975" y="362"/>
                  </a:lnTo>
                  <a:lnTo>
                    <a:pt x="971" y="375"/>
                  </a:lnTo>
                  <a:lnTo>
                    <a:pt x="1002" y="364"/>
                  </a:lnTo>
                  <a:lnTo>
                    <a:pt x="1026" y="353"/>
                  </a:lnTo>
                  <a:lnTo>
                    <a:pt x="1028" y="362"/>
                  </a:lnTo>
                  <a:lnTo>
                    <a:pt x="1051" y="367"/>
                  </a:lnTo>
                  <a:lnTo>
                    <a:pt x="1068" y="360"/>
                  </a:lnTo>
                  <a:lnTo>
                    <a:pt x="1062" y="353"/>
                  </a:lnTo>
                  <a:lnTo>
                    <a:pt x="1049" y="355"/>
                  </a:lnTo>
                  <a:lnTo>
                    <a:pt x="1054" y="345"/>
                  </a:lnTo>
                  <a:lnTo>
                    <a:pt x="1040" y="339"/>
                  </a:lnTo>
                  <a:lnTo>
                    <a:pt x="1027" y="331"/>
                  </a:lnTo>
                  <a:lnTo>
                    <a:pt x="1022" y="325"/>
                  </a:lnTo>
                  <a:lnTo>
                    <a:pt x="1011" y="329"/>
                  </a:lnTo>
                  <a:lnTo>
                    <a:pt x="1014" y="320"/>
                  </a:lnTo>
                  <a:lnTo>
                    <a:pt x="1014" y="320"/>
                  </a:lnTo>
                  <a:close/>
                  <a:moveTo>
                    <a:pt x="1181" y="289"/>
                  </a:moveTo>
                  <a:lnTo>
                    <a:pt x="1195" y="283"/>
                  </a:lnTo>
                  <a:lnTo>
                    <a:pt x="1199" y="281"/>
                  </a:lnTo>
                  <a:lnTo>
                    <a:pt x="1204" y="271"/>
                  </a:lnTo>
                  <a:lnTo>
                    <a:pt x="1195" y="266"/>
                  </a:lnTo>
                  <a:lnTo>
                    <a:pt x="1180" y="269"/>
                  </a:lnTo>
                  <a:lnTo>
                    <a:pt x="1166" y="281"/>
                  </a:lnTo>
                  <a:lnTo>
                    <a:pt x="1163" y="290"/>
                  </a:lnTo>
                  <a:lnTo>
                    <a:pt x="1181" y="289"/>
                  </a:lnTo>
                  <a:lnTo>
                    <a:pt x="1181" y="289"/>
                  </a:lnTo>
                  <a:close/>
                  <a:moveTo>
                    <a:pt x="906" y="249"/>
                  </a:moveTo>
                  <a:lnTo>
                    <a:pt x="902" y="241"/>
                  </a:lnTo>
                  <a:lnTo>
                    <a:pt x="901" y="238"/>
                  </a:lnTo>
                  <a:lnTo>
                    <a:pt x="896" y="234"/>
                  </a:lnTo>
                  <a:lnTo>
                    <a:pt x="885" y="228"/>
                  </a:lnTo>
                  <a:lnTo>
                    <a:pt x="866" y="238"/>
                  </a:lnTo>
                  <a:lnTo>
                    <a:pt x="847" y="243"/>
                  </a:lnTo>
                  <a:lnTo>
                    <a:pt x="860" y="253"/>
                  </a:lnTo>
                  <a:lnTo>
                    <a:pt x="874" y="251"/>
                  </a:lnTo>
                  <a:lnTo>
                    <a:pt x="890" y="256"/>
                  </a:lnTo>
                  <a:lnTo>
                    <a:pt x="906" y="249"/>
                  </a:lnTo>
                  <a:close/>
                  <a:moveTo>
                    <a:pt x="989" y="241"/>
                  </a:moveTo>
                  <a:lnTo>
                    <a:pt x="965" y="238"/>
                  </a:lnTo>
                  <a:lnTo>
                    <a:pt x="986" y="228"/>
                  </a:lnTo>
                  <a:lnTo>
                    <a:pt x="984" y="206"/>
                  </a:lnTo>
                  <a:lnTo>
                    <a:pt x="977" y="197"/>
                  </a:lnTo>
                  <a:lnTo>
                    <a:pt x="960" y="194"/>
                  </a:lnTo>
                  <a:lnTo>
                    <a:pt x="930" y="208"/>
                  </a:lnTo>
                  <a:lnTo>
                    <a:pt x="910" y="230"/>
                  </a:lnTo>
                  <a:lnTo>
                    <a:pt x="921" y="238"/>
                  </a:lnTo>
                  <a:lnTo>
                    <a:pt x="927" y="250"/>
                  </a:lnTo>
                  <a:lnTo>
                    <a:pt x="903" y="270"/>
                  </a:lnTo>
                  <a:lnTo>
                    <a:pt x="891" y="269"/>
                  </a:lnTo>
                  <a:lnTo>
                    <a:pt x="868" y="286"/>
                  </a:lnTo>
                  <a:lnTo>
                    <a:pt x="884" y="267"/>
                  </a:lnTo>
                  <a:lnTo>
                    <a:pt x="866" y="260"/>
                  </a:lnTo>
                  <a:lnTo>
                    <a:pt x="849" y="264"/>
                  </a:lnTo>
                  <a:lnTo>
                    <a:pt x="840" y="276"/>
                  </a:lnTo>
                  <a:lnTo>
                    <a:pt x="818" y="276"/>
                  </a:lnTo>
                  <a:lnTo>
                    <a:pt x="791" y="279"/>
                  </a:lnTo>
                  <a:lnTo>
                    <a:pt x="772" y="269"/>
                  </a:lnTo>
                  <a:lnTo>
                    <a:pt x="753" y="271"/>
                  </a:lnTo>
                  <a:lnTo>
                    <a:pt x="747" y="260"/>
                  </a:lnTo>
                  <a:lnTo>
                    <a:pt x="740" y="255"/>
                  </a:lnTo>
                  <a:lnTo>
                    <a:pt x="726" y="257"/>
                  </a:lnTo>
                  <a:lnTo>
                    <a:pt x="706" y="258"/>
                  </a:lnTo>
                  <a:lnTo>
                    <a:pt x="689" y="266"/>
                  </a:lnTo>
                  <a:lnTo>
                    <a:pt x="697" y="274"/>
                  </a:lnTo>
                  <a:lnTo>
                    <a:pt x="671" y="284"/>
                  </a:lnTo>
                  <a:lnTo>
                    <a:pt x="666" y="272"/>
                  </a:lnTo>
                  <a:lnTo>
                    <a:pt x="649" y="276"/>
                  </a:lnTo>
                  <a:lnTo>
                    <a:pt x="605" y="278"/>
                  </a:lnTo>
                  <a:lnTo>
                    <a:pt x="581" y="273"/>
                  </a:lnTo>
                  <a:lnTo>
                    <a:pt x="613" y="264"/>
                  </a:lnTo>
                  <a:lnTo>
                    <a:pt x="603" y="254"/>
                  </a:lnTo>
                  <a:lnTo>
                    <a:pt x="587" y="255"/>
                  </a:lnTo>
                  <a:lnTo>
                    <a:pt x="569" y="251"/>
                  </a:lnTo>
                  <a:lnTo>
                    <a:pt x="541" y="244"/>
                  </a:lnTo>
                  <a:lnTo>
                    <a:pt x="527" y="236"/>
                  </a:lnTo>
                  <a:lnTo>
                    <a:pt x="510" y="234"/>
                  </a:lnTo>
                  <a:lnTo>
                    <a:pt x="497" y="241"/>
                  </a:lnTo>
                  <a:lnTo>
                    <a:pt x="476" y="243"/>
                  </a:lnTo>
                  <a:lnTo>
                    <a:pt x="490" y="228"/>
                  </a:lnTo>
                  <a:lnTo>
                    <a:pt x="455" y="241"/>
                  </a:lnTo>
                  <a:lnTo>
                    <a:pt x="449" y="225"/>
                  </a:lnTo>
                  <a:lnTo>
                    <a:pt x="442" y="222"/>
                  </a:lnTo>
                  <a:lnTo>
                    <a:pt x="428" y="231"/>
                  </a:lnTo>
                  <a:lnTo>
                    <a:pt x="411" y="236"/>
                  </a:lnTo>
                  <a:lnTo>
                    <a:pt x="410" y="227"/>
                  </a:lnTo>
                  <a:lnTo>
                    <a:pt x="379" y="233"/>
                  </a:lnTo>
                  <a:lnTo>
                    <a:pt x="347" y="241"/>
                  </a:lnTo>
                  <a:lnTo>
                    <a:pt x="327" y="240"/>
                  </a:lnTo>
                  <a:lnTo>
                    <a:pt x="301" y="245"/>
                  </a:lnTo>
                  <a:lnTo>
                    <a:pt x="278" y="254"/>
                  </a:lnTo>
                  <a:lnTo>
                    <a:pt x="264" y="252"/>
                  </a:lnTo>
                  <a:lnTo>
                    <a:pt x="251" y="242"/>
                  </a:lnTo>
                  <a:lnTo>
                    <a:pt x="230" y="238"/>
                  </a:lnTo>
                  <a:lnTo>
                    <a:pt x="230" y="238"/>
                  </a:lnTo>
                  <a:lnTo>
                    <a:pt x="139" y="312"/>
                  </a:lnTo>
                  <a:lnTo>
                    <a:pt x="7" y="434"/>
                  </a:lnTo>
                  <a:lnTo>
                    <a:pt x="23" y="434"/>
                  </a:lnTo>
                  <a:lnTo>
                    <a:pt x="32" y="440"/>
                  </a:lnTo>
                  <a:lnTo>
                    <a:pt x="35" y="450"/>
                  </a:lnTo>
                  <a:lnTo>
                    <a:pt x="36" y="465"/>
                  </a:lnTo>
                  <a:lnTo>
                    <a:pt x="64" y="452"/>
                  </a:lnTo>
                  <a:lnTo>
                    <a:pt x="88" y="445"/>
                  </a:lnTo>
                  <a:lnTo>
                    <a:pt x="86" y="456"/>
                  </a:lnTo>
                  <a:lnTo>
                    <a:pt x="88" y="466"/>
                  </a:lnTo>
                  <a:lnTo>
                    <a:pt x="95" y="475"/>
                  </a:lnTo>
                  <a:lnTo>
                    <a:pt x="91" y="491"/>
                  </a:lnTo>
                  <a:lnTo>
                    <a:pt x="85" y="516"/>
                  </a:lnTo>
                  <a:lnTo>
                    <a:pt x="102" y="531"/>
                  </a:lnTo>
                  <a:lnTo>
                    <a:pt x="91" y="544"/>
                  </a:lnTo>
                  <a:lnTo>
                    <a:pt x="71" y="555"/>
                  </a:lnTo>
                  <a:lnTo>
                    <a:pt x="71" y="555"/>
                  </a:lnTo>
                  <a:lnTo>
                    <a:pt x="62" y="566"/>
                  </a:lnTo>
                  <a:lnTo>
                    <a:pt x="70" y="583"/>
                  </a:lnTo>
                  <a:lnTo>
                    <a:pt x="58" y="602"/>
                  </a:lnTo>
                  <a:lnTo>
                    <a:pt x="74" y="611"/>
                  </a:lnTo>
                  <a:lnTo>
                    <a:pt x="60" y="625"/>
                  </a:lnTo>
                  <a:lnTo>
                    <a:pt x="55" y="646"/>
                  </a:lnTo>
                  <a:lnTo>
                    <a:pt x="82" y="655"/>
                  </a:lnTo>
                  <a:lnTo>
                    <a:pt x="87" y="665"/>
                  </a:lnTo>
                  <a:lnTo>
                    <a:pt x="108" y="688"/>
                  </a:lnTo>
                  <a:lnTo>
                    <a:pt x="111" y="688"/>
                  </a:lnTo>
                  <a:lnTo>
                    <a:pt x="162" y="688"/>
                  </a:lnTo>
                  <a:lnTo>
                    <a:pt x="217" y="688"/>
                  </a:lnTo>
                  <a:lnTo>
                    <a:pt x="235" y="688"/>
                  </a:lnTo>
                  <a:lnTo>
                    <a:pt x="291" y="688"/>
                  </a:lnTo>
                  <a:lnTo>
                    <a:pt x="345" y="688"/>
                  </a:lnTo>
                  <a:lnTo>
                    <a:pt x="400" y="688"/>
                  </a:lnTo>
                  <a:lnTo>
                    <a:pt x="455" y="688"/>
                  </a:lnTo>
                  <a:lnTo>
                    <a:pt x="518" y="688"/>
                  </a:lnTo>
                  <a:lnTo>
                    <a:pt x="580" y="688"/>
                  </a:lnTo>
                  <a:lnTo>
                    <a:pt x="617" y="688"/>
                  </a:lnTo>
                  <a:lnTo>
                    <a:pt x="622" y="678"/>
                  </a:lnTo>
                  <a:lnTo>
                    <a:pt x="629" y="678"/>
                  </a:lnTo>
                  <a:lnTo>
                    <a:pt x="626" y="691"/>
                  </a:lnTo>
                  <a:lnTo>
                    <a:pt x="630" y="695"/>
                  </a:lnTo>
                  <a:lnTo>
                    <a:pt x="641" y="697"/>
                  </a:lnTo>
                  <a:lnTo>
                    <a:pt x="659" y="701"/>
                  </a:lnTo>
                  <a:lnTo>
                    <a:pt x="673" y="707"/>
                  </a:lnTo>
                  <a:lnTo>
                    <a:pt x="689" y="705"/>
                  </a:lnTo>
                  <a:lnTo>
                    <a:pt x="709" y="710"/>
                  </a:lnTo>
                  <a:lnTo>
                    <a:pt x="709" y="710"/>
                  </a:lnTo>
                  <a:lnTo>
                    <a:pt x="721" y="702"/>
                  </a:lnTo>
                  <a:lnTo>
                    <a:pt x="732" y="698"/>
                  </a:lnTo>
                  <a:lnTo>
                    <a:pt x="740" y="692"/>
                  </a:lnTo>
                  <a:lnTo>
                    <a:pt x="745" y="690"/>
                  </a:lnTo>
                  <a:lnTo>
                    <a:pt x="760" y="693"/>
                  </a:lnTo>
                  <a:lnTo>
                    <a:pt x="772" y="694"/>
                  </a:lnTo>
                  <a:lnTo>
                    <a:pt x="775" y="697"/>
                  </a:lnTo>
                  <a:lnTo>
                    <a:pt x="775" y="710"/>
                  </a:lnTo>
                  <a:lnTo>
                    <a:pt x="795" y="714"/>
                  </a:lnTo>
                  <a:lnTo>
                    <a:pt x="788" y="720"/>
                  </a:lnTo>
                  <a:lnTo>
                    <a:pt x="793" y="728"/>
                  </a:lnTo>
                  <a:lnTo>
                    <a:pt x="786" y="736"/>
                  </a:lnTo>
                  <a:lnTo>
                    <a:pt x="793" y="739"/>
                  </a:lnTo>
                  <a:lnTo>
                    <a:pt x="786" y="747"/>
                  </a:lnTo>
                  <a:lnTo>
                    <a:pt x="786" y="747"/>
                  </a:lnTo>
                  <a:lnTo>
                    <a:pt x="790" y="747"/>
                  </a:lnTo>
                  <a:lnTo>
                    <a:pt x="795" y="745"/>
                  </a:lnTo>
                  <a:lnTo>
                    <a:pt x="797" y="749"/>
                  </a:lnTo>
                  <a:lnTo>
                    <a:pt x="810" y="752"/>
                  </a:lnTo>
                  <a:lnTo>
                    <a:pt x="824" y="753"/>
                  </a:lnTo>
                  <a:lnTo>
                    <a:pt x="838" y="755"/>
                  </a:lnTo>
                  <a:lnTo>
                    <a:pt x="853" y="760"/>
                  </a:lnTo>
                  <a:lnTo>
                    <a:pt x="856" y="767"/>
                  </a:lnTo>
                  <a:lnTo>
                    <a:pt x="861" y="785"/>
                  </a:lnTo>
                  <a:lnTo>
                    <a:pt x="852" y="792"/>
                  </a:lnTo>
                  <a:lnTo>
                    <a:pt x="838" y="789"/>
                  </a:lnTo>
                  <a:lnTo>
                    <a:pt x="834" y="775"/>
                  </a:lnTo>
                  <a:lnTo>
                    <a:pt x="831" y="790"/>
                  </a:lnTo>
                  <a:lnTo>
                    <a:pt x="816" y="802"/>
                  </a:lnTo>
                  <a:lnTo>
                    <a:pt x="814" y="813"/>
                  </a:lnTo>
                  <a:lnTo>
                    <a:pt x="810" y="819"/>
                  </a:lnTo>
                  <a:lnTo>
                    <a:pt x="794" y="827"/>
                  </a:lnTo>
                  <a:lnTo>
                    <a:pt x="794" y="827"/>
                  </a:lnTo>
                  <a:lnTo>
                    <a:pt x="781" y="839"/>
                  </a:lnTo>
                  <a:lnTo>
                    <a:pt x="773" y="847"/>
                  </a:lnTo>
                  <a:lnTo>
                    <a:pt x="783" y="849"/>
                  </a:lnTo>
                  <a:lnTo>
                    <a:pt x="800" y="842"/>
                  </a:lnTo>
                  <a:lnTo>
                    <a:pt x="811" y="835"/>
                  </a:lnTo>
                  <a:lnTo>
                    <a:pt x="816" y="834"/>
                  </a:lnTo>
                  <a:lnTo>
                    <a:pt x="827" y="836"/>
                  </a:lnTo>
                  <a:lnTo>
                    <a:pt x="833" y="833"/>
                  </a:lnTo>
                  <a:lnTo>
                    <a:pt x="843" y="830"/>
                  </a:lnTo>
                  <a:lnTo>
                    <a:pt x="861" y="827"/>
                  </a:lnTo>
                  <a:lnTo>
                    <a:pt x="861" y="827"/>
                  </a:lnTo>
                  <a:lnTo>
                    <a:pt x="861" y="827"/>
                  </a:lnTo>
                  <a:lnTo>
                    <a:pt x="862" y="820"/>
                  </a:lnTo>
                  <a:lnTo>
                    <a:pt x="861" y="820"/>
                  </a:lnTo>
                  <a:lnTo>
                    <a:pt x="855" y="822"/>
                  </a:lnTo>
                  <a:lnTo>
                    <a:pt x="848" y="819"/>
                  </a:lnTo>
                  <a:lnTo>
                    <a:pt x="857" y="812"/>
                  </a:lnTo>
                  <a:lnTo>
                    <a:pt x="863" y="809"/>
                  </a:lnTo>
                  <a:lnTo>
                    <a:pt x="878" y="805"/>
                  </a:lnTo>
                  <a:lnTo>
                    <a:pt x="895" y="803"/>
                  </a:lnTo>
                  <a:lnTo>
                    <a:pt x="902" y="807"/>
                  </a:lnTo>
                  <a:lnTo>
                    <a:pt x="909" y="802"/>
                  </a:lnTo>
                  <a:lnTo>
                    <a:pt x="916" y="799"/>
                  </a:lnTo>
                  <a:lnTo>
                    <a:pt x="919" y="800"/>
                  </a:lnTo>
                  <a:lnTo>
                    <a:pt x="920" y="801"/>
                  </a:lnTo>
                  <a:lnTo>
                    <a:pt x="945" y="785"/>
                  </a:lnTo>
                  <a:lnTo>
                    <a:pt x="955" y="780"/>
                  </a:lnTo>
                  <a:lnTo>
                    <a:pt x="983" y="780"/>
                  </a:lnTo>
                  <a:lnTo>
                    <a:pt x="1018" y="780"/>
                  </a:lnTo>
                  <a:lnTo>
                    <a:pt x="1022" y="775"/>
                  </a:lnTo>
                  <a:lnTo>
                    <a:pt x="1028" y="774"/>
                  </a:lnTo>
                  <a:lnTo>
                    <a:pt x="1038" y="770"/>
                  </a:lnTo>
                  <a:lnTo>
                    <a:pt x="1048" y="760"/>
                  </a:lnTo>
                  <a:lnTo>
                    <a:pt x="1060" y="741"/>
                  </a:lnTo>
                  <a:lnTo>
                    <a:pt x="1081" y="723"/>
                  </a:lnTo>
                  <a:lnTo>
                    <a:pt x="1084" y="730"/>
                  </a:lnTo>
                  <a:lnTo>
                    <a:pt x="1098" y="726"/>
                  </a:lnTo>
                  <a:lnTo>
                    <a:pt x="1104" y="733"/>
                  </a:lnTo>
                  <a:lnTo>
                    <a:pt x="1094" y="764"/>
                  </a:lnTo>
                  <a:lnTo>
                    <a:pt x="1101" y="777"/>
                  </a:lnTo>
                  <a:lnTo>
                    <a:pt x="1124" y="775"/>
                  </a:lnTo>
                  <a:lnTo>
                    <a:pt x="1153" y="774"/>
                  </a:lnTo>
                  <a:lnTo>
                    <a:pt x="1115" y="792"/>
                  </a:lnTo>
                  <a:lnTo>
                    <a:pt x="1110" y="812"/>
                  </a:lnTo>
                  <a:lnTo>
                    <a:pt x="1123" y="814"/>
                  </a:lnTo>
                  <a:lnTo>
                    <a:pt x="1150" y="797"/>
                  </a:lnTo>
                  <a:lnTo>
                    <a:pt x="1171" y="789"/>
                  </a:lnTo>
                  <a:lnTo>
                    <a:pt x="1217" y="775"/>
                  </a:lnTo>
                  <a:lnTo>
                    <a:pt x="1245" y="759"/>
                  </a:lnTo>
                  <a:lnTo>
                    <a:pt x="1235" y="751"/>
                  </a:lnTo>
                  <a:lnTo>
                    <a:pt x="1238" y="734"/>
                  </a:lnTo>
                  <a:lnTo>
                    <a:pt x="1212" y="761"/>
                  </a:lnTo>
                  <a:lnTo>
                    <a:pt x="1180" y="763"/>
                  </a:lnTo>
                  <a:lnTo>
                    <a:pt x="1160" y="751"/>
                  </a:lnTo>
                  <a:lnTo>
                    <a:pt x="1159" y="734"/>
                  </a:lnTo>
                  <a:lnTo>
                    <a:pt x="1162" y="709"/>
                  </a:lnTo>
                  <a:lnTo>
                    <a:pt x="1184" y="693"/>
                  </a:lnTo>
                  <a:lnTo>
                    <a:pt x="1172" y="682"/>
                  </a:lnTo>
                  <a:lnTo>
                    <a:pt x="1143" y="684"/>
                  </a:lnTo>
                  <a:lnTo>
                    <a:pt x="1098" y="704"/>
                  </a:lnTo>
                  <a:lnTo>
                    <a:pt x="1057" y="734"/>
                  </a:lnTo>
                  <a:lnTo>
                    <a:pt x="1040" y="738"/>
                  </a:lnTo>
                  <a:lnTo>
                    <a:pt x="1069" y="717"/>
                  </a:lnTo>
                  <a:lnTo>
                    <a:pt x="1108" y="686"/>
                  </a:lnTo>
                  <a:lnTo>
                    <a:pt x="1134" y="676"/>
                  </a:lnTo>
                  <a:lnTo>
                    <a:pt x="1155" y="660"/>
                  </a:lnTo>
                  <a:lnTo>
                    <a:pt x="1175" y="658"/>
                  </a:lnTo>
                  <a:lnTo>
                    <a:pt x="1202" y="658"/>
                  </a:lnTo>
                  <a:lnTo>
                    <a:pt x="1239" y="663"/>
                  </a:lnTo>
                  <a:lnTo>
                    <a:pt x="1272" y="659"/>
                  </a:lnTo>
                  <a:lnTo>
                    <a:pt x="1301" y="640"/>
                  </a:lnTo>
                  <a:lnTo>
                    <a:pt x="1334" y="632"/>
                  </a:lnTo>
                  <a:lnTo>
                    <a:pt x="1349" y="624"/>
                  </a:lnTo>
                  <a:lnTo>
                    <a:pt x="1364" y="615"/>
                  </a:lnTo>
                  <a:lnTo>
                    <a:pt x="1372" y="590"/>
                  </a:lnTo>
                  <a:lnTo>
                    <a:pt x="1368" y="581"/>
                  </a:lnTo>
                  <a:lnTo>
                    <a:pt x="1355" y="578"/>
                  </a:lnTo>
                  <a:lnTo>
                    <a:pt x="1355" y="559"/>
                  </a:lnTo>
                  <a:lnTo>
                    <a:pt x="1347" y="552"/>
                  </a:lnTo>
                  <a:lnTo>
                    <a:pt x="1321" y="546"/>
                  </a:lnTo>
                  <a:lnTo>
                    <a:pt x="1310" y="534"/>
                  </a:lnTo>
                  <a:lnTo>
                    <a:pt x="1293" y="521"/>
                  </a:lnTo>
                  <a:lnTo>
                    <a:pt x="1306" y="507"/>
                  </a:lnTo>
                  <a:lnTo>
                    <a:pt x="1298" y="480"/>
                  </a:lnTo>
                  <a:lnTo>
                    <a:pt x="1288" y="452"/>
                  </a:lnTo>
                  <a:lnTo>
                    <a:pt x="1284" y="433"/>
                  </a:lnTo>
                  <a:lnTo>
                    <a:pt x="1268" y="443"/>
                  </a:lnTo>
                  <a:lnTo>
                    <a:pt x="1240" y="467"/>
                  </a:lnTo>
                  <a:lnTo>
                    <a:pt x="1210" y="480"/>
                  </a:lnTo>
                  <a:lnTo>
                    <a:pt x="1205" y="466"/>
                  </a:lnTo>
                  <a:lnTo>
                    <a:pt x="1191" y="463"/>
                  </a:lnTo>
                  <a:lnTo>
                    <a:pt x="1199" y="436"/>
                  </a:lnTo>
                  <a:lnTo>
                    <a:pt x="1208" y="417"/>
                  </a:lnTo>
                  <a:lnTo>
                    <a:pt x="1180" y="415"/>
                  </a:lnTo>
                  <a:lnTo>
                    <a:pt x="1180" y="408"/>
                  </a:lnTo>
                  <a:lnTo>
                    <a:pt x="1166" y="395"/>
                  </a:lnTo>
                  <a:lnTo>
                    <a:pt x="1154" y="387"/>
                  </a:lnTo>
                  <a:lnTo>
                    <a:pt x="1138" y="393"/>
                  </a:lnTo>
                  <a:lnTo>
                    <a:pt x="1123" y="391"/>
                  </a:lnTo>
                  <a:lnTo>
                    <a:pt x="1097" y="385"/>
                  </a:lnTo>
                  <a:lnTo>
                    <a:pt x="1083" y="390"/>
                  </a:lnTo>
                  <a:lnTo>
                    <a:pt x="1068" y="424"/>
                  </a:lnTo>
                  <a:lnTo>
                    <a:pt x="1065" y="443"/>
                  </a:lnTo>
                  <a:lnTo>
                    <a:pt x="1032" y="466"/>
                  </a:lnTo>
                  <a:lnTo>
                    <a:pt x="1044" y="483"/>
                  </a:lnTo>
                  <a:lnTo>
                    <a:pt x="1046" y="502"/>
                  </a:lnTo>
                  <a:lnTo>
                    <a:pt x="1040" y="517"/>
                  </a:lnTo>
                  <a:lnTo>
                    <a:pt x="1022" y="532"/>
                  </a:lnTo>
                  <a:lnTo>
                    <a:pt x="994" y="548"/>
                  </a:lnTo>
                  <a:lnTo>
                    <a:pt x="960" y="558"/>
                  </a:lnTo>
                  <a:lnTo>
                    <a:pt x="967" y="570"/>
                  </a:lnTo>
                  <a:lnTo>
                    <a:pt x="958" y="606"/>
                  </a:lnTo>
                  <a:lnTo>
                    <a:pt x="938" y="630"/>
                  </a:lnTo>
                  <a:lnTo>
                    <a:pt x="920" y="636"/>
                  </a:lnTo>
                  <a:lnTo>
                    <a:pt x="904" y="615"/>
                  </a:lnTo>
                  <a:lnTo>
                    <a:pt x="903" y="590"/>
                  </a:lnTo>
                  <a:lnTo>
                    <a:pt x="910" y="567"/>
                  </a:lnTo>
                  <a:lnTo>
                    <a:pt x="923" y="548"/>
                  </a:lnTo>
                  <a:lnTo>
                    <a:pt x="905" y="546"/>
                  </a:lnTo>
                  <a:lnTo>
                    <a:pt x="877" y="544"/>
                  </a:lnTo>
                  <a:lnTo>
                    <a:pt x="864" y="535"/>
                  </a:lnTo>
                  <a:lnTo>
                    <a:pt x="846" y="529"/>
                  </a:lnTo>
                  <a:lnTo>
                    <a:pt x="840" y="518"/>
                  </a:lnTo>
                  <a:lnTo>
                    <a:pt x="828" y="509"/>
                  </a:lnTo>
                  <a:lnTo>
                    <a:pt x="801" y="500"/>
                  </a:lnTo>
                  <a:lnTo>
                    <a:pt x="774" y="505"/>
                  </a:lnTo>
                  <a:lnTo>
                    <a:pt x="777" y="488"/>
                  </a:lnTo>
                  <a:lnTo>
                    <a:pt x="783" y="467"/>
                  </a:lnTo>
                  <a:lnTo>
                    <a:pt x="760" y="464"/>
                  </a:lnTo>
                  <a:lnTo>
                    <a:pt x="779" y="438"/>
                  </a:lnTo>
                  <a:lnTo>
                    <a:pt x="797" y="421"/>
                  </a:lnTo>
                  <a:lnTo>
                    <a:pt x="832" y="396"/>
                  </a:lnTo>
                  <a:lnTo>
                    <a:pt x="864" y="380"/>
                  </a:lnTo>
                  <a:lnTo>
                    <a:pt x="885" y="377"/>
                  </a:lnTo>
                  <a:lnTo>
                    <a:pt x="896" y="363"/>
                  </a:lnTo>
                  <a:lnTo>
                    <a:pt x="915" y="353"/>
                  </a:lnTo>
                  <a:lnTo>
                    <a:pt x="939" y="353"/>
                  </a:lnTo>
                  <a:lnTo>
                    <a:pt x="968" y="339"/>
                  </a:lnTo>
                  <a:lnTo>
                    <a:pt x="979" y="329"/>
                  </a:lnTo>
                  <a:lnTo>
                    <a:pt x="1006" y="311"/>
                  </a:lnTo>
                  <a:lnTo>
                    <a:pt x="1018" y="301"/>
                  </a:lnTo>
                  <a:lnTo>
                    <a:pt x="1030" y="308"/>
                  </a:lnTo>
                  <a:lnTo>
                    <a:pt x="1054" y="304"/>
                  </a:lnTo>
                  <a:lnTo>
                    <a:pt x="1095" y="290"/>
                  </a:lnTo>
                  <a:lnTo>
                    <a:pt x="1103" y="280"/>
                  </a:lnTo>
                  <a:lnTo>
                    <a:pt x="1100" y="269"/>
                  </a:lnTo>
                  <a:lnTo>
                    <a:pt x="1119" y="258"/>
                  </a:lnTo>
                  <a:lnTo>
                    <a:pt x="1125" y="248"/>
                  </a:lnTo>
                  <a:lnTo>
                    <a:pt x="1112" y="239"/>
                  </a:lnTo>
                  <a:lnTo>
                    <a:pt x="1092" y="236"/>
                  </a:lnTo>
                  <a:lnTo>
                    <a:pt x="1071" y="234"/>
                  </a:lnTo>
                  <a:lnTo>
                    <a:pt x="1054" y="256"/>
                  </a:lnTo>
                  <a:lnTo>
                    <a:pt x="1030" y="273"/>
                  </a:lnTo>
                  <a:lnTo>
                    <a:pt x="1003" y="288"/>
                  </a:lnTo>
                  <a:lnTo>
                    <a:pt x="998" y="274"/>
                  </a:lnTo>
                  <a:lnTo>
                    <a:pt x="1014" y="259"/>
                  </a:lnTo>
                  <a:lnTo>
                    <a:pt x="1006" y="246"/>
                  </a:lnTo>
                  <a:lnTo>
                    <a:pt x="973" y="262"/>
                  </a:lnTo>
                  <a:lnTo>
                    <a:pt x="989" y="241"/>
                  </a:lnTo>
                  <a:lnTo>
                    <a:pt x="989" y="241"/>
                  </a:lnTo>
                  <a:close/>
                  <a:moveTo>
                    <a:pt x="707" y="170"/>
                  </a:moveTo>
                  <a:lnTo>
                    <a:pt x="697" y="167"/>
                  </a:lnTo>
                  <a:lnTo>
                    <a:pt x="645" y="179"/>
                  </a:lnTo>
                  <a:lnTo>
                    <a:pt x="625" y="186"/>
                  </a:lnTo>
                  <a:lnTo>
                    <a:pt x="596" y="201"/>
                  </a:lnTo>
                  <a:lnTo>
                    <a:pt x="617" y="206"/>
                  </a:lnTo>
                  <a:lnTo>
                    <a:pt x="639" y="206"/>
                  </a:lnTo>
                  <a:lnTo>
                    <a:pt x="596" y="213"/>
                  </a:lnTo>
                  <a:lnTo>
                    <a:pt x="596" y="221"/>
                  </a:lnTo>
                  <a:lnTo>
                    <a:pt x="617" y="221"/>
                  </a:lnTo>
                  <a:lnTo>
                    <a:pt x="651" y="220"/>
                  </a:lnTo>
                  <a:lnTo>
                    <a:pt x="675" y="225"/>
                  </a:lnTo>
                  <a:lnTo>
                    <a:pt x="652" y="228"/>
                  </a:lnTo>
                  <a:lnTo>
                    <a:pt x="631" y="226"/>
                  </a:lnTo>
                  <a:lnTo>
                    <a:pt x="605" y="230"/>
                  </a:lnTo>
                  <a:lnTo>
                    <a:pt x="592" y="232"/>
                  </a:lnTo>
                  <a:lnTo>
                    <a:pt x="595" y="248"/>
                  </a:lnTo>
                  <a:lnTo>
                    <a:pt x="611" y="246"/>
                  </a:lnTo>
                  <a:lnTo>
                    <a:pt x="626" y="252"/>
                  </a:lnTo>
                  <a:lnTo>
                    <a:pt x="625" y="261"/>
                  </a:lnTo>
                  <a:lnTo>
                    <a:pt x="654" y="259"/>
                  </a:lnTo>
                  <a:lnTo>
                    <a:pt x="696" y="256"/>
                  </a:lnTo>
                  <a:lnTo>
                    <a:pt x="730" y="249"/>
                  </a:lnTo>
                  <a:lnTo>
                    <a:pt x="749" y="248"/>
                  </a:lnTo>
                  <a:lnTo>
                    <a:pt x="771" y="254"/>
                  </a:lnTo>
                  <a:lnTo>
                    <a:pt x="796" y="256"/>
                  </a:lnTo>
                  <a:lnTo>
                    <a:pt x="807" y="249"/>
                  </a:lnTo>
                  <a:lnTo>
                    <a:pt x="805" y="241"/>
                  </a:lnTo>
                  <a:lnTo>
                    <a:pt x="831" y="240"/>
                  </a:lnTo>
                  <a:lnTo>
                    <a:pt x="841" y="231"/>
                  </a:lnTo>
                  <a:lnTo>
                    <a:pt x="822" y="222"/>
                  </a:lnTo>
                  <a:lnTo>
                    <a:pt x="806" y="212"/>
                  </a:lnTo>
                  <a:lnTo>
                    <a:pt x="815" y="198"/>
                  </a:lnTo>
                  <a:lnTo>
                    <a:pt x="826" y="180"/>
                  </a:lnTo>
                  <a:lnTo>
                    <a:pt x="817" y="172"/>
                  </a:lnTo>
                  <a:lnTo>
                    <a:pt x="806" y="169"/>
                  </a:lnTo>
                  <a:lnTo>
                    <a:pt x="790" y="171"/>
                  </a:lnTo>
                  <a:lnTo>
                    <a:pt x="780" y="191"/>
                  </a:lnTo>
                  <a:lnTo>
                    <a:pt x="764" y="199"/>
                  </a:lnTo>
                  <a:lnTo>
                    <a:pt x="772" y="180"/>
                  </a:lnTo>
                  <a:lnTo>
                    <a:pt x="766" y="174"/>
                  </a:lnTo>
                  <a:lnTo>
                    <a:pt x="738" y="184"/>
                  </a:lnTo>
                  <a:lnTo>
                    <a:pt x="729" y="174"/>
                  </a:lnTo>
                  <a:lnTo>
                    <a:pt x="689" y="180"/>
                  </a:lnTo>
                  <a:lnTo>
                    <a:pt x="707" y="170"/>
                  </a:lnTo>
                  <a:lnTo>
                    <a:pt x="707" y="170"/>
                  </a:lnTo>
                  <a:close/>
                  <a:moveTo>
                    <a:pt x="854" y="165"/>
                  </a:moveTo>
                  <a:lnTo>
                    <a:pt x="847" y="161"/>
                  </a:lnTo>
                  <a:lnTo>
                    <a:pt x="827" y="162"/>
                  </a:lnTo>
                  <a:lnTo>
                    <a:pt x="819" y="165"/>
                  </a:lnTo>
                  <a:lnTo>
                    <a:pt x="828" y="178"/>
                  </a:lnTo>
                  <a:lnTo>
                    <a:pt x="854" y="165"/>
                  </a:lnTo>
                  <a:close/>
                  <a:moveTo>
                    <a:pt x="1255" y="171"/>
                  </a:moveTo>
                  <a:lnTo>
                    <a:pt x="1239" y="161"/>
                  </a:lnTo>
                  <a:lnTo>
                    <a:pt x="1208" y="159"/>
                  </a:lnTo>
                  <a:lnTo>
                    <a:pt x="1200" y="160"/>
                  </a:lnTo>
                  <a:lnTo>
                    <a:pt x="1194" y="167"/>
                  </a:lnTo>
                  <a:lnTo>
                    <a:pt x="1201" y="177"/>
                  </a:lnTo>
                  <a:lnTo>
                    <a:pt x="1205" y="178"/>
                  </a:lnTo>
                  <a:lnTo>
                    <a:pt x="1223" y="176"/>
                  </a:lnTo>
                  <a:lnTo>
                    <a:pt x="1237" y="176"/>
                  </a:lnTo>
                  <a:lnTo>
                    <a:pt x="1253" y="176"/>
                  </a:lnTo>
                  <a:lnTo>
                    <a:pt x="1255" y="171"/>
                  </a:lnTo>
                  <a:lnTo>
                    <a:pt x="1255" y="171"/>
                  </a:lnTo>
                  <a:close/>
                  <a:moveTo>
                    <a:pt x="1109" y="170"/>
                  </a:moveTo>
                  <a:lnTo>
                    <a:pt x="1130" y="158"/>
                  </a:lnTo>
                  <a:lnTo>
                    <a:pt x="1088" y="163"/>
                  </a:lnTo>
                  <a:lnTo>
                    <a:pt x="1067" y="170"/>
                  </a:lnTo>
                  <a:lnTo>
                    <a:pt x="1040" y="188"/>
                  </a:lnTo>
                  <a:lnTo>
                    <a:pt x="1027" y="208"/>
                  </a:lnTo>
                  <a:lnTo>
                    <a:pt x="1048" y="208"/>
                  </a:lnTo>
                  <a:lnTo>
                    <a:pt x="1026" y="216"/>
                  </a:lnTo>
                  <a:lnTo>
                    <a:pt x="1032" y="224"/>
                  </a:lnTo>
                  <a:lnTo>
                    <a:pt x="1054" y="226"/>
                  </a:lnTo>
                  <a:lnTo>
                    <a:pt x="1082" y="232"/>
                  </a:lnTo>
                  <a:lnTo>
                    <a:pt x="1133" y="237"/>
                  </a:lnTo>
                  <a:lnTo>
                    <a:pt x="1163" y="234"/>
                  </a:lnTo>
                  <a:lnTo>
                    <a:pt x="1175" y="228"/>
                  </a:lnTo>
                  <a:lnTo>
                    <a:pt x="1182" y="235"/>
                  </a:lnTo>
                  <a:lnTo>
                    <a:pt x="1194" y="236"/>
                  </a:lnTo>
                  <a:lnTo>
                    <a:pt x="1202" y="249"/>
                  </a:lnTo>
                  <a:lnTo>
                    <a:pt x="1189" y="254"/>
                  </a:lnTo>
                  <a:lnTo>
                    <a:pt x="1215" y="260"/>
                  </a:lnTo>
                  <a:lnTo>
                    <a:pt x="1233" y="270"/>
                  </a:lnTo>
                  <a:lnTo>
                    <a:pt x="1235" y="277"/>
                  </a:lnTo>
                  <a:lnTo>
                    <a:pt x="1233" y="286"/>
                  </a:lnTo>
                  <a:lnTo>
                    <a:pt x="1201" y="307"/>
                  </a:lnTo>
                  <a:lnTo>
                    <a:pt x="1189" y="316"/>
                  </a:lnTo>
                  <a:lnTo>
                    <a:pt x="1190" y="324"/>
                  </a:lnTo>
                  <a:lnTo>
                    <a:pt x="1155" y="326"/>
                  </a:lnTo>
                  <a:lnTo>
                    <a:pt x="1125" y="327"/>
                  </a:lnTo>
                  <a:lnTo>
                    <a:pt x="1105" y="342"/>
                  </a:lnTo>
                  <a:lnTo>
                    <a:pt x="1114" y="350"/>
                  </a:lnTo>
                  <a:lnTo>
                    <a:pt x="1163" y="346"/>
                  </a:lnTo>
                  <a:lnTo>
                    <a:pt x="1166" y="340"/>
                  </a:lnTo>
                  <a:lnTo>
                    <a:pt x="1183" y="351"/>
                  </a:lnTo>
                  <a:lnTo>
                    <a:pt x="1201" y="361"/>
                  </a:lnTo>
                  <a:lnTo>
                    <a:pt x="1192" y="367"/>
                  </a:lnTo>
                  <a:lnTo>
                    <a:pt x="1207" y="378"/>
                  </a:lnTo>
                  <a:lnTo>
                    <a:pt x="1235" y="390"/>
                  </a:lnTo>
                  <a:lnTo>
                    <a:pt x="1275" y="398"/>
                  </a:lnTo>
                  <a:lnTo>
                    <a:pt x="1276" y="391"/>
                  </a:lnTo>
                  <a:lnTo>
                    <a:pt x="1265" y="378"/>
                  </a:lnTo>
                  <a:lnTo>
                    <a:pt x="1252" y="360"/>
                  </a:lnTo>
                  <a:lnTo>
                    <a:pt x="1284" y="377"/>
                  </a:lnTo>
                  <a:lnTo>
                    <a:pt x="1302" y="382"/>
                  </a:lnTo>
                  <a:lnTo>
                    <a:pt x="1315" y="367"/>
                  </a:lnTo>
                  <a:lnTo>
                    <a:pt x="1315" y="346"/>
                  </a:lnTo>
                  <a:lnTo>
                    <a:pt x="1311" y="340"/>
                  </a:lnTo>
                  <a:lnTo>
                    <a:pt x="1294" y="331"/>
                  </a:lnTo>
                  <a:lnTo>
                    <a:pt x="1285" y="319"/>
                  </a:lnTo>
                  <a:lnTo>
                    <a:pt x="1293" y="307"/>
                  </a:lnTo>
                  <a:lnTo>
                    <a:pt x="1315" y="305"/>
                  </a:lnTo>
                  <a:lnTo>
                    <a:pt x="1329" y="325"/>
                  </a:lnTo>
                  <a:lnTo>
                    <a:pt x="1344" y="334"/>
                  </a:lnTo>
                  <a:lnTo>
                    <a:pt x="1384" y="310"/>
                  </a:lnTo>
                  <a:lnTo>
                    <a:pt x="1396" y="295"/>
                  </a:lnTo>
                  <a:lnTo>
                    <a:pt x="1373" y="294"/>
                  </a:lnTo>
                  <a:lnTo>
                    <a:pt x="1361" y="275"/>
                  </a:lnTo>
                  <a:lnTo>
                    <a:pt x="1338" y="270"/>
                  </a:lnTo>
                  <a:lnTo>
                    <a:pt x="1309" y="257"/>
                  </a:lnTo>
                  <a:lnTo>
                    <a:pt x="1343" y="248"/>
                  </a:lnTo>
                  <a:lnTo>
                    <a:pt x="1340" y="229"/>
                  </a:lnTo>
                  <a:lnTo>
                    <a:pt x="1332" y="221"/>
                  </a:lnTo>
                  <a:lnTo>
                    <a:pt x="1301" y="213"/>
                  </a:lnTo>
                  <a:lnTo>
                    <a:pt x="1294" y="201"/>
                  </a:lnTo>
                  <a:lnTo>
                    <a:pt x="1264" y="206"/>
                  </a:lnTo>
                  <a:lnTo>
                    <a:pt x="1267" y="197"/>
                  </a:lnTo>
                  <a:lnTo>
                    <a:pt x="1254" y="187"/>
                  </a:lnTo>
                  <a:lnTo>
                    <a:pt x="1229" y="178"/>
                  </a:lnTo>
                  <a:lnTo>
                    <a:pt x="1209" y="185"/>
                  </a:lnTo>
                  <a:lnTo>
                    <a:pt x="1176" y="191"/>
                  </a:lnTo>
                  <a:lnTo>
                    <a:pt x="1188" y="179"/>
                  </a:lnTo>
                  <a:lnTo>
                    <a:pt x="1180" y="159"/>
                  </a:lnTo>
                  <a:lnTo>
                    <a:pt x="1136" y="167"/>
                  </a:lnTo>
                  <a:lnTo>
                    <a:pt x="1110" y="182"/>
                  </a:lnTo>
                  <a:lnTo>
                    <a:pt x="1109" y="170"/>
                  </a:lnTo>
                  <a:lnTo>
                    <a:pt x="1109" y="170"/>
                  </a:lnTo>
                  <a:close/>
                  <a:moveTo>
                    <a:pt x="922" y="157"/>
                  </a:moveTo>
                  <a:lnTo>
                    <a:pt x="895" y="167"/>
                  </a:lnTo>
                  <a:lnTo>
                    <a:pt x="899" y="179"/>
                  </a:lnTo>
                  <a:lnTo>
                    <a:pt x="871" y="176"/>
                  </a:lnTo>
                  <a:lnTo>
                    <a:pt x="865" y="183"/>
                  </a:lnTo>
                  <a:lnTo>
                    <a:pt x="886" y="198"/>
                  </a:lnTo>
                  <a:lnTo>
                    <a:pt x="889" y="205"/>
                  </a:lnTo>
                  <a:lnTo>
                    <a:pt x="902" y="207"/>
                  </a:lnTo>
                  <a:lnTo>
                    <a:pt x="934" y="199"/>
                  </a:lnTo>
                  <a:lnTo>
                    <a:pt x="953" y="182"/>
                  </a:lnTo>
                  <a:lnTo>
                    <a:pt x="939" y="173"/>
                  </a:lnTo>
                  <a:lnTo>
                    <a:pt x="961" y="165"/>
                  </a:lnTo>
                  <a:lnTo>
                    <a:pt x="963" y="159"/>
                  </a:lnTo>
                  <a:lnTo>
                    <a:pt x="935" y="161"/>
                  </a:lnTo>
                  <a:lnTo>
                    <a:pt x="922" y="157"/>
                  </a:lnTo>
                  <a:lnTo>
                    <a:pt x="922" y="157"/>
                  </a:lnTo>
                  <a:close/>
                  <a:moveTo>
                    <a:pt x="1005" y="178"/>
                  </a:moveTo>
                  <a:lnTo>
                    <a:pt x="1026" y="174"/>
                  </a:lnTo>
                  <a:lnTo>
                    <a:pt x="1063" y="157"/>
                  </a:lnTo>
                  <a:lnTo>
                    <a:pt x="1040" y="153"/>
                  </a:lnTo>
                  <a:lnTo>
                    <a:pt x="1011" y="152"/>
                  </a:lnTo>
                  <a:lnTo>
                    <a:pt x="992" y="157"/>
                  </a:lnTo>
                  <a:lnTo>
                    <a:pt x="976" y="165"/>
                  </a:lnTo>
                  <a:lnTo>
                    <a:pt x="967" y="174"/>
                  </a:lnTo>
                  <a:lnTo>
                    <a:pt x="960" y="191"/>
                  </a:lnTo>
                  <a:lnTo>
                    <a:pt x="976" y="192"/>
                  </a:lnTo>
                  <a:lnTo>
                    <a:pt x="1005" y="178"/>
                  </a:lnTo>
                  <a:close/>
                  <a:moveTo>
                    <a:pt x="576" y="204"/>
                  </a:moveTo>
                  <a:lnTo>
                    <a:pt x="587" y="196"/>
                  </a:lnTo>
                  <a:lnTo>
                    <a:pt x="620" y="183"/>
                  </a:lnTo>
                  <a:lnTo>
                    <a:pt x="672" y="169"/>
                  </a:lnTo>
                  <a:lnTo>
                    <a:pt x="696" y="164"/>
                  </a:lnTo>
                  <a:lnTo>
                    <a:pt x="689" y="156"/>
                  </a:lnTo>
                  <a:lnTo>
                    <a:pt x="683" y="151"/>
                  </a:lnTo>
                  <a:lnTo>
                    <a:pt x="647" y="150"/>
                  </a:lnTo>
                  <a:lnTo>
                    <a:pt x="632" y="146"/>
                  </a:lnTo>
                  <a:lnTo>
                    <a:pt x="580" y="149"/>
                  </a:lnTo>
                  <a:lnTo>
                    <a:pt x="579" y="160"/>
                  </a:lnTo>
                  <a:lnTo>
                    <a:pt x="550" y="172"/>
                  </a:lnTo>
                  <a:lnTo>
                    <a:pt x="523" y="187"/>
                  </a:lnTo>
                  <a:lnTo>
                    <a:pt x="506" y="195"/>
                  </a:lnTo>
                  <a:lnTo>
                    <a:pt x="529" y="205"/>
                  </a:lnTo>
                  <a:lnTo>
                    <a:pt x="527" y="213"/>
                  </a:lnTo>
                  <a:lnTo>
                    <a:pt x="576" y="204"/>
                  </a:lnTo>
                  <a:lnTo>
                    <a:pt x="576" y="204"/>
                  </a:lnTo>
                  <a:close/>
                  <a:moveTo>
                    <a:pt x="1040" y="136"/>
                  </a:moveTo>
                  <a:lnTo>
                    <a:pt x="1041" y="130"/>
                  </a:lnTo>
                  <a:lnTo>
                    <a:pt x="1036" y="124"/>
                  </a:lnTo>
                  <a:lnTo>
                    <a:pt x="1011" y="128"/>
                  </a:lnTo>
                  <a:lnTo>
                    <a:pt x="994" y="137"/>
                  </a:lnTo>
                  <a:lnTo>
                    <a:pt x="1006" y="142"/>
                  </a:lnTo>
                  <a:lnTo>
                    <a:pt x="1025" y="143"/>
                  </a:lnTo>
                  <a:lnTo>
                    <a:pt x="1040" y="136"/>
                  </a:lnTo>
                  <a:lnTo>
                    <a:pt x="1040" y="136"/>
                  </a:lnTo>
                  <a:close/>
                  <a:moveTo>
                    <a:pt x="1008" y="104"/>
                  </a:moveTo>
                  <a:lnTo>
                    <a:pt x="1003" y="107"/>
                  </a:lnTo>
                  <a:lnTo>
                    <a:pt x="985" y="105"/>
                  </a:lnTo>
                  <a:lnTo>
                    <a:pt x="957" y="112"/>
                  </a:lnTo>
                  <a:lnTo>
                    <a:pt x="943" y="111"/>
                  </a:lnTo>
                  <a:lnTo>
                    <a:pt x="927" y="126"/>
                  </a:lnTo>
                  <a:lnTo>
                    <a:pt x="952" y="124"/>
                  </a:lnTo>
                  <a:lnTo>
                    <a:pt x="939" y="135"/>
                  </a:lnTo>
                  <a:lnTo>
                    <a:pt x="951" y="138"/>
                  </a:lnTo>
                  <a:lnTo>
                    <a:pt x="976" y="136"/>
                  </a:lnTo>
                  <a:lnTo>
                    <a:pt x="997" y="122"/>
                  </a:lnTo>
                  <a:lnTo>
                    <a:pt x="1009" y="113"/>
                  </a:lnTo>
                  <a:lnTo>
                    <a:pt x="1008" y="104"/>
                  </a:lnTo>
                  <a:close/>
                  <a:moveTo>
                    <a:pt x="861" y="114"/>
                  </a:moveTo>
                  <a:lnTo>
                    <a:pt x="869" y="105"/>
                  </a:lnTo>
                  <a:lnTo>
                    <a:pt x="857" y="103"/>
                  </a:lnTo>
                  <a:lnTo>
                    <a:pt x="835" y="109"/>
                  </a:lnTo>
                  <a:lnTo>
                    <a:pt x="833" y="127"/>
                  </a:lnTo>
                  <a:lnTo>
                    <a:pt x="810" y="126"/>
                  </a:lnTo>
                  <a:lnTo>
                    <a:pt x="800" y="114"/>
                  </a:lnTo>
                  <a:lnTo>
                    <a:pt x="769" y="109"/>
                  </a:lnTo>
                  <a:lnTo>
                    <a:pt x="749" y="114"/>
                  </a:lnTo>
                  <a:lnTo>
                    <a:pt x="705" y="131"/>
                  </a:lnTo>
                  <a:lnTo>
                    <a:pt x="721" y="135"/>
                  </a:lnTo>
                  <a:lnTo>
                    <a:pt x="787" y="133"/>
                  </a:lnTo>
                  <a:lnTo>
                    <a:pt x="747" y="141"/>
                  </a:lnTo>
                  <a:lnTo>
                    <a:pt x="742" y="147"/>
                  </a:lnTo>
                  <a:lnTo>
                    <a:pt x="764" y="146"/>
                  </a:lnTo>
                  <a:lnTo>
                    <a:pt x="810" y="139"/>
                  </a:lnTo>
                  <a:lnTo>
                    <a:pt x="861" y="135"/>
                  </a:lnTo>
                  <a:lnTo>
                    <a:pt x="880" y="127"/>
                  </a:lnTo>
                  <a:lnTo>
                    <a:pt x="889" y="118"/>
                  </a:lnTo>
                  <a:lnTo>
                    <a:pt x="875" y="117"/>
                  </a:lnTo>
                  <a:lnTo>
                    <a:pt x="859" y="120"/>
                  </a:lnTo>
                  <a:lnTo>
                    <a:pt x="861" y="114"/>
                  </a:lnTo>
                  <a:close/>
                  <a:moveTo>
                    <a:pt x="1068" y="98"/>
                  </a:moveTo>
                  <a:lnTo>
                    <a:pt x="1041" y="96"/>
                  </a:lnTo>
                  <a:lnTo>
                    <a:pt x="1027" y="103"/>
                  </a:lnTo>
                  <a:lnTo>
                    <a:pt x="1037" y="109"/>
                  </a:lnTo>
                  <a:lnTo>
                    <a:pt x="1063" y="112"/>
                  </a:lnTo>
                  <a:lnTo>
                    <a:pt x="1068" y="119"/>
                  </a:lnTo>
                  <a:lnTo>
                    <a:pt x="1060" y="128"/>
                  </a:lnTo>
                  <a:lnTo>
                    <a:pt x="1054" y="139"/>
                  </a:lnTo>
                  <a:lnTo>
                    <a:pt x="1086" y="144"/>
                  </a:lnTo>
                  <a:lnTo>
                    <a:pt x="1107" y="147"/>
                  </a:lnTo>
                  <a:lnTo>
                    <a:pt x="1137" y="146"/>
                  </a:lnTo>
                  <a:lnTo>
                    <a:pt x="1180" y="143"/>
                  </a:lnTo>
                  <a:lnTo>
                    <a:pt x="1195" y="146"/>
                  </a:lnTo>
                  <a:lnTo>
                    <a:pt x="1221" y="142"/>
                  </a:lnTo>
                  <a:lnTo>
                    <a:pt x="1234" y="137"/>
                  </a:lnTo>
                  <a:lnTo>
                    <a:pt x="1237" y="129"/>
                  </a:lnTo>
                  <a:lnTo>
                    <a:pt x="1229" y="122"/>
                  </a:lnTo>
                  <a:lnTo>
                    <a:pt x="1208" y="121"/>
                  </a:lnTo>
                  <a:lnTo>
                    <a:pt x="1178" y="123"/>
                  </a:lnTo>
                  <a:lnTo>
                    <a:pt x="1152" y="127"/>
                  </a:lnTo>
                  <a:lnTo>
                    <a:pt x="1132" y="126"/>
                  </a:lnTo>
                  <a:lnTo>
                    <a:pt x="1114" y="124"/>
                  </a:lnTo>
                  <a:lnTo>
                    <a:pt x="1110" y="120"/>
                  </a:lnTo>
                  <a:lnTo>
                    <a:pt x="1098" y="116"/>
                  </a:lnTo>
                  <a:lnTo>
                    <a:pt x="1109" y="109"/>
                  </a:lnTo>
                  <a:lnTo>
                    <a:pt x="1104" y="103"/>
                  </a:lnTo>
                  <a:lnTo>
                    <a:pt x="1076" y="103"/>
                  </a:lnTo>
                  <a:lnTo>
                    <a:pt x="1068" y="98"/>
                  </a:lnTo>
                  <a:lnTo>
                    <a:pt x="1068" y="98"/>
                  </a:lnTo>
                  <a:close/>
                  <a:moveTo>
                    <a:pt x="787" y="87"/>
                  </a:moveTo>
                  <a:lnTo>
                    <a:pt x="765" y="90"/>
                  </a:lnTo>
                  <a:lnTo>
                    <a:pt x="744" y="90"/>
                  </a:lnTo>
                  <a:lnTo>
                    <a:pt x="700" y="101"/>
                  </a:lnTo>
                  <a:lnTo>
                    <a:pt x="656" y="115"/>
                  </a:lnTo>
                  <a:lnTo>
                    <a:pt x="656" y="115"/>
                  </a:lnTo>
                  <a:lnTo>
                    <a:pt x="670" y="119"/>
                  </a:lnTo>
                  <a:lnTo>
                    <a:pt x="696" y="116"/>
                  </a:lnTo>
                  <a:lnTo>
                    <a:pt x="732" y="109"/>
                  </a:lnTo>
                  <a:lnTo>
                    <a:pt x="746" y="107"/>
                  </a:lnTo>
                  <a:lnTo>
                    <a:pt x="766" y="101"/>
                  </a:lnTo>
                  <a:lnTo>
                    <a:pt x="787" y="87"/>
                  </a:lnTo>
                  <a:close/>
                  <a:moveTo>
                    <a:pt x="1088" y="90"/>
                  </a:moveTo>
                  <a:lnTo>
                    <a:pt x="1092" y="88"/>
                  </a:lnTo>
                  <a:lnTo>
                    <a:pt x="1086" y="85"/>
                  </a:lnTo>
                  <a:lnTo>
                    <a:pt x="1059" y="85"/>
                  </a:lnTo>
                  <a:lnTo>
                    <a:pt x="1057" y="89"/>
                  </a:lnTo>
                  <a:lnTo>
                    <a:pt x="1082" y="90"/>
                  </a:lnTo>
                  <a:lnTo>
                    <a:pt x="1088" y="90"/>
                  </a:lnTo>
                  <a:lnTo>
                    <a:pt x="1088" y="90"/>
                  </a:lnTo>
                  <a:close/>
                  <a:moveTo>
                    <a:pt x="871" y="86"/>
                  </a:moveTo>
                  <a:lnTo>
                    <a:pt x="882" y="82"/>
                  </a:lnTo>
                  <a:lnTo>
                    <a:pt x="867" y="79"/>
                  </a:lnTo>
                  <a:lnTo>
                    <a:pt x="844" y="81"/>
                  </a:lnTo>
                  <a:lnTo>
                    <a:pt x="826" y="86"/>
                  </a:lnTo>
                  <a:lnTo>
                    <a:pt x="838" y="92"/>
                  </a:lnTo>
                  <a:lnTo>
                    <a:pt x="871" y="86"/>
                  </a:lnTo>
                  <a:close/>
                  <a:moveTo>
                    <a:pt x="899" y="72"/>
                  </a:moveTo>
                  <a:lnTo>
                    <a:pt x="887" y="68"/>
                  </a:lnTo>
                  <a:lnTo>
                    <a:pt x="881" y="67"/>
                  </a:lnTo>
                  <a:lnTo>
                    <a:pt x="859" y="72"/>
                  </a:lnTo>
                  <a:lnTo>
                    <a:pt x="856" y="74"/>
                  </a:lnTo>
                  <a:lnTo>
                    <a:pt x="878" y="74"/>
                  </a:lnTo>
                  <a:lnTo>
                    <a:pt x="899" y="72"/>
                  </a:lnTo>
                  <a:close/>
                  <a:moveTo>
                    <a:pt x="1072" y="81"/>
                  </a:moveTo>
                  <a:lnTo>
                    <a:pt x="1083" y="74"/>
                  </a:lnTo>
                  <a:lnTo>
                    <a:pt x="1075" y="68"/>
                  </a:lnTo>
                  <a:lnTo>
                    <a:pt x="1068" y="67"/>
                  </a:lnTo>
                  <a:lnTo>
                    <a:pt x="1053" y="67"/>
                  </a:lnTo>
                  <a:lnTo>
                    <a:pt x="1044" y="73"/>
                  </a:lnTo>
                  <a:lnTo>
                    <a:pt x="1042" y="80"/>
                  </a:lnTo>
                  <a:lnTo>
                    <a:pt x="1048" y="85"/>
                  </a:lnTo>
                  <a:lnTo>
                    <a:pt x="1072" y="81"/>
                  </a:lnTo>
                  <a:lnTo>
                    <a:pt x="1072" y="81"/>
                  </a:lnTo>
                  <a:close/>
                  <a:moveTo>
                    <a:pt x="1022" y="76"/>
                  </a:moveTo>
                  <a:lnTo>
                    <a:pt x="1022" y="68"/>
                  </a:lnTo>
                  <a:lnTo>
                    <a:pt x="994" y="61"/>
                  </a:lnTo>
                  <a:lnTo>
                    <a:pt x="971" y="59"/>
                  </a:lnTo>
                  <a:lnTo>
                    <a:pt x="964" y="66"/>
                  </a:lnTo>
                  <a:lnTo>
                    <a:pt x="974" y="70"/>
                  </a:lnTo>
                  <a:lnTo>
                    <a:pt x="955" y="75"/>
                  </a:lnTo>
                  <a:lnTo>
                    <a:pt x="983" y="75"/>
                  </a:lnTo>
                  <a:lnTo>
                    <a:pt x="997" y="81"/>
                  </a:lnTo>
                  <a:lnTo>
                    <a:pt x="1017" y="83"/>
                  </a:lnTo>
                  <a:lnTo>
                    <a:pt x="1022" y="76"/>
                  </a:lnTo>
                  <a:close/>
                  <a:moveTo>
                    <a:pt x="1222" y="53"/>
                  </a:moveTo>
                  <a:lnTo>
                    <a:pt x="1224" y="43"/>
                  </a:lnTo>
                  <a:lnTo>
                    <a:pt x="1207" y="40"/>
                  </a:lnTo>
                  <a:lnTo>
                    <a:pt x="1189" y="36"/>
                  </a:lnTo>
                  <a:lnTo>
                    <a:pt x="1183" y="29"/>
                  </a:lnTo>
                  <a:lnTo>
                    <a:pt x="1152" y="29"/>
                  </a:lnTo>
                  <a:lnTo>
                    <a:pt x="1153" y="32"/>
                  </a:lnTo>
                  <a:lnTo>
                    <a:pt x="1139" y="33"/>
                  </a:lnTo>
                  <a:lnTo>
                    <a:pt x="1124" y="38"/>
                  </a:lnTo>
                  <a:lnTo>
                    <a:pt x="1106" y="45"/>
                  </a:lnTo>
                  <a:lnTo>
                    <a:pt x="1104" y="53"/>
                  </a:lnTo>
                  <a:lnTo>
                    <a:pt x="1111" y="58"/>
                  </a:lnTo>
                  <a:lnTo>
                    <a:pt x="1136" y="58"/>
                  </a:lnTo>
                  <a:lnTo>
                    <a:pt x="1120" y="62"/>
                  </a:lnTo>
                  <a:lnTo>
                    <a:pt x="1112" y="69"/>
                  </a:lnTo>
                  <a:lnTo>
                    <a:pt x="1118" y="75"/>
                  </a:lnTo>
                  <a:lnTo>
                    <a:pt x="1143" y="78"/>
                  </a:lnTo>
                  <a:lnTo>
                    <a:pt x="1168" y="76"/>
                  </a:lnTo>
                  <a:lnTo>
                    <a:pt x="1208" y="64"/>
                  </a:lnTo>
                  <a:lnTo>
                    <a:pt x="1232" y="58"/>
                  </a:lnTo>
                  <a:lnTo>
                    <a:pt x="1222" y="53"/>
                  </a:lnTo>
                  <a:close/>
                  <a:moveTo>
                    <a:pt x="1515" y="1"/>
                  </a:moveTo>
                  <a:lnTo>
                    <a:pt x="1489" y="1"/>
                  </a:lnTo>
                  <a:lnTo>
                    <a:pt x="1463" y="0"/>
                  </a:lnTo>
                  <a:lnTo>
                    <a:pt x="1425" y="2"/>
                  </a:lnTo>
                  <a:lnTo>
                    <a:pt x="1420" y="1"/>
                  </a:lnTo>
                  <a:lnTo>
                    <a:pt x="1381" y="1"/>
                  </a:lnTo>
                  <a:lnTo>
                    <a:pt x="1358" y="2"/>
                  </a:lnTo>
                  <a:lnTo>
                    <a:pt x="1338" y="5"/>
                  </a:lnTo>
                  <a:lnTo>
                    <a:pt x="1320" y="13"/>
                  </a:lnTo>
                  <a:lnTo>
                    <a:pt x="1311" y="9"/>
                  </a:lnTo>
                  <a:lnTo>
                    <a:pt x="1296" y="8"/>
                  </a:lnTo>
                  <a:lnTo>
                    <a:pt x="1272" y="14"/>
                  </a:lnTo>
                  <a:lnTo>
                    <a:pt x="1244" y="15"/>
                  </a:lnTo>
                  <a:lnTo>
                    <a:pt x="1229" y="15"/>
                  </a:lnTo>
                  <a:lnTo>
                    <a:pt x="1207" y="19"/>
                  </a:lnTo>
                  <a:lnTo>
                    <a:pt x="1202" y="24"/>
                  </a:lnTo>
                  <a:lnTo>
                    <a:pt x="1211" y="29"/>
                  </a:lnTo>
                  <a:lnTo>
                    <a:pt x="1214" y="34"/>
                  </a:lnTo>
                  <a:lnTo>
                    <a:pt x="1231" y="40"/>
                  </a:lnTo>
                  <a:lnTo>
                    <a:pt x="1278" y="39"/>
                  </a:lnTo>
                  <a:lnTo>
                    <a:pt x="1304" y="41"/>
                  </a:lnTo>
                  <a:lnTo>
                    <a:pt x="1278" y="46"/>
                  </a:lnTo>
                  <a:lnTo>
                    <a:pt x="1269" y="44"/>
                  </a:lnTo>
                  <a:lnTo>
                    <a:pt x="1235" y="43"/>
                  </a:lnTo>
                  <a:lnTo>
                    <a:pt x="1230" y="52"/>
                  </a:lnTo>
                  <a:lnTo>
                    <a:pt x="1241" y="58"/>
                  </a:lnTo>
                  <a:lnTo>
                    <a:pt x="1231" y="64"/>
                  </a:lnTo>
                  <a:lnTo>
                    <a:pt x="1203" y="69"/>
                  </a:lnTo>
                  <a:lnTo>
                    <a:pt x="1184" y="75"/>
                  </a:lnTo>
                  <a:lnTo>
                    <a:pt x="1203" y="78"/>
                  </a:lnTo>
                  <a:lnTo>
                    <a:pt x="1208" y="89"/>
                  </a:lnTo>
                  <a:lnTo>
                    <a:pt x="1180" y="82"/>
                  </a:lnTo>
                  <a:lnTo>
                    <a:pt x="1171" y="83"/>
                  </a:lnTo>
                  <a:lnTo>
                    <a:pt x="1164" y="96"/>
                  </a:lnTo>
                  <a:lnTo>
                    <a:pt x="1134" y="100"/>
                  </a:lnTo>
                  <a:lnTo>
                    <a:pt x="1126" y="109"/>
                  </a:lnTo>
                  <a:lnTo>
                    <a:pt x="1152" y="110"/>
                  </a:lnTo>
                  <a:lnTo>
                    <a:pt x="1170" y="112"/>
                  </a:lnTo>
                  <a:lnTo>
                    <a:pt x="1214" y="109"/>
                  </a:lnTo>
                  <a:lnTo>
                    <a:pt x="1245" y="114"/>
                  </a:lnTo>
                  <a:lnTo>
                    <a:pt x="1293" y="103"/>
                  </a:lnTo>
                  <a:lnTo>
                    <a:pt x="1296" y="99"/>
                  </a:lnTo>
                  <a:lnTo>
                    <a:pt x="1272" y="100"/>
                  </a:lnTo>
                  <a:lnTo>
                    <a:pt x="1274" y="96"/>
                  </a:lnTo>
                  <a:lnTo>
                    <a:pt x="1298" y="90"/>
                  </a:lnTo>
                  <a:lnTo>
                    <a:pt x="1311" y="83"/>
                  </a:lnTo>
                  <a:lnTo>
                    <a:pt x="1337" y="78"/>
                  </a:lnTo>
                  <a:lnTo>
                    <a:pt x="1356" y="72"/>
                  </a:lnTo>
                  <a:lnTo>
                    <a:pt x="1352" y="64"/>
                  </a:lnTo>
                  <a:lnTo>
                    <a:pt x="1365" y="61"/>
                  </a:lnTo>
                  <a:lnTo>
                    <a:pt x="1349" y="58"/>
                  </a:lnTo>
                  <a:lnTo>
                    <a:pt x="1391" y="58"/>
                  </a:lnTo>
                  <a:lnTo>
                    <a:pt x="1403" y="54"/>
                  </a:lnTo>
                  <a:lnTo>
                    <a:pt x="1432" y="51"/>
                  </a:lnTo>
                  <a:lnTo>
                    <a:pt x="1466" y="38"/>
                  </a:lnTo>
                  <a:lnTo>
                    <a:pt x="1492" y="34"/>
                  </a:lnTo>
                  <a:lnTo>
                    <a:pt x="1531" y="25"/>
                  </a:lnTo>
                  <a:lnTo>
                    <a:pt x="1503" y="25"/>
                  </a:lnTo>
                  <a:lnTo>
                    <a:pt x="1518" y="21"/>
                  </a:lnTo>
                  <a:lnTo>
                    <a:pt x="1551" y="18"/>
                  </a:lnTo>
                  <a:lnTo>
                    <a:pt x="1588" y="12"/>
                  </a:lnTo>
                  <a:lnTo>
                    <a:pt x="1591" y="8"/>
                  </a:lnTo>
                  <a:lnTo>
                    <a:pt x="1572" y="4"/>
                  </a:lnTo>
                  <a:lnTo>
                    <a:pt x="1546" y="2"/>
                  </a:lnTo>
                  <a:lnTo>
                    <a:pt x="1515" y="1"/>
                  </a:lnTo>
                  <a:lnTo>
                    <a:pt x="1515"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Switzerland"/>
            <p:cNvSpPr>
              <a:spLocks/>
            </p:cNvSpPr>
            <p:nvPr/>
          </p:nvSpPr>
          <p:spPr bwMode="auto">
            <a:xfrm>
              <a:off x="6178550" y="2684463"/>
              <a:ext cx="131762" cy="74613"/>
            </a:xfrm>
            <a:custGeom>
              <a:avLst/>
              <a:gdLst>
                <a:gd name="T0" fmla="*/ 66 w 83"/>
                <a:gd name="T1" fmla="*/ 6 h 47"/>
                <a:gd name="T2" fmla="*/ 46 w 83"/>
                <a:gd name="T3" fmla="*/ 0 h 47"/>
                <a:gd name="T4" fmla="*/ 42 w 83"/>
                <a:gd name="T5" fmla="*/ 4 h 47"/>
                <a:gd name="T6" fmla="*/ 27 w 83"/>
                <a:gd name="T7" fmla="*/ 4 h 47"/>
                <a:gd name="T8" fmla="*/ 22 w 83"/>
                <a:gd name="T9" fmla="*/ 8 h 47"/>
                <a:gd name="T10" fmla="*/ 13 w 83"/>
                <a:gd name="T11" fmla="*/ 6 h 47"/>
                <a:gd name="T12" fmla="*/ 14 w 83"/>
                <a:gd name="T13" fmla="*/ 12 h 47"/>
                <a:gd name="T14" fmla="*/ 0 w 83"/>
                <a:gd name="T15" fmla="*/ 25 h 47"/>
                <a:gd name="T16" fmla="*/ 0 w 83"/>
                <a:gd name="T17" fmla="*/ 36 h 47"/>
                <a:gd name="T18" fmla="*/ 10 w 83"/>
                <a:gd name="T19" fmla="*/ 32 h 47"/>
                <a:gd name="T20" fmla="*/ 16 w 83"/>
                <a:gd name="T21" fmla="*/ 43 h 47"/>
                <a:gd name="T22" fmla="*/ 25 w 83"/>
                <a:gd name="T23" fmla="*/ 47 h 47"/>
                <a:gd name="T24" fmla="*/ 33 w 83"/>
                <a:gd name="T25" fmla="*/ 46 h 47"/>
                <a:gd name="T26" fmla="*/ 43 w 83"/>
                <a:gd name="T27" fmla="*/ 38 h 47"/>
                <a:gd name="T28" fmla="*/ 47 w 83"/>
                <a:gd name="T29" fmla="*/ 42 h 47"/>
                <a:gd name="T30" fmla="*/ 56 w 83"/>
                <a:gd name="T31" fmla="*/ 42 h 47"/>
                <a:gd name="T32" fmla="*/ 59 w 83"/>
                <a:gd name="T33" fmla="*/ 32 h 47"/>
                <a:gd name="T34" fmla="*/ 73 w 83"/>
                <a:gd name="T35" fmla="*/ 35 h 47"/>
                <a:gd name="T36" fmla="*/ 82 w 83"/>
                <a:gd name="T37" fmla="*/ 31 h 47"/>
                <a:gd name="T38" fmla="*/ 83 w 83"/>
                <a:gd name="T39" fmla="*/ 21 h 47"/>
                <a:gd name="T40" fmla="*/ 72 w 83"/>
                <a:gd name="T41" fmla="*/ 21 h 47"/>
                <a:gd name="T42" fmla="*/ 64 w 83"/>
                <a:gd name="T43" fmla="*/ 17 h 47"/>
                <a:gd name="T44" fmla="*/ 67 w 83"/>
                <a:gd name="T45" fmla="*/ 11 h 47"/>
                <a:gd name="T46" fmla="*/ 66 w 83"/>
                <a:gd name="T47" fmla="*/ 6 h 47"/>
                <a:gd name="T48" fmla="*/ 66 w 83"/>
                <a:gd name="T4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47">
                  <a:moveTo>
                    <a:pt x="66" y="6"/>
                  </a:moveTo>
                  <a:lnTo>
                    <a:pt x="46" y="0"/>
                  </a:lnTo>
                  <a:lnTo>
                    <a:pt x="42" y="4"/>
                  </a:lnTo>
                  <a:lnTo>
                    <a:pt x="27" y="4"/>
                  </a:lnTo>
                  <a:lnTo>
                    <a:pt x="22" y="8"/>
                  </a:lnTo>
                  <a:lnTo>
                    <a:pt x="13" y="6"/>
                  </a:lnTo>
                  <a:lnTo>
                    <a:pt x="14" y="12"/>
                  </a:lnTo>
                  <a:lnTo>
                    <a:pt x="0" y="25"/>
                  </a:lnTo>
                  <a:lnTo>
                    <a:pt x="0" y="36"/>
                  </a:lnTo>
                  <a:lnTo>
                    <a:pt x="10" y="32"/>
                  </a:lnTo>
                  <a:lnTo>
                    <a:pt x="16" y="43"/>
                  </a:lnTo>
                  <a:lnTo>
                    <a:pt x="25" y="47"/>
                  </a:lnTo>
                  <a:lnTo>
                    <a:pt x="33" y="46"/>
                  </a:lnTo>
                  <a:lnTo>
                    <a:pt x="43" y="38"/>
                  </a:lnTo>
                  <a:lnTo>
                    <a:pt x="47" y="42"/>
                  </a:lnTo>
                  <a:lnTo>
                    <a:pt x="56" y="42"/>
                  </a:lnTo>
                  <a:lnTo>
                    <a:pt x="59" y="32"/>
                  </a:lnTo>
                  <a:lnTo>
                    <a:pt x="73" y="35"/>
                  </a:lnTo>
                  <a:lnTo>
                    <a:pt x="82" y="31"/>
                  </a:lnTo>
                  <a:lnTo>
                    <a:pt x="83" y="21"/>
                  </a:lnTo>
                  <a:lnTo>
                    <a:pt x="72" y="21"/>
                  </a:lnTo>
                  <a:lnTo>
                    <a:pt x="64" y="17"/>
                  </a:lnTo>
                  <a:lnTo>
                    <a:pt x="67" y="11"/>
                  </a:lnTo>
                  <a:lnTo>
                    <a:pt x="66" y="6"/>
                  </a:lnTo>
                  <a:lnTo>
                    <a:pt x="66" y="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Chile"/>
            <p:cNvSpPr>
              <a:spLocks noEditPoints="1"/>
            </p:cNvSpPr>
            <p:nvPr/>
          </p:nvSpPr>
          <p:spPr bwMode="auto">
            <a:xfrm>
              <a:off x="3690937" y="5146676"/>
              <a:ext cx="446087" cy="1416050"/>
            </a:xfrm>
            <a:custGeom>
              <a:avLst/>
              <a:gdLst>
                <a:gd name="T0" fmla="*/ 216 w 281"/>
                <a:gd name="T1" fmla="*/ 823 h 892"/>
                <a:gd name="T2" fmla="*/ 203 w 281"/>
                <a:gd name="T3" fmla="*/ 847 h 892"/>
                <a:gd name="T4" fmla="*/ 173 w 281"/>
                <a:gd name="T5" fmla="*/ 850 h 892"/>
                <a:gd name="T6" fmla="*/ 123 w 281"/>
                <a:gd name="T7" fmla="*/ 831 h 892"/>
                <a:gd name="T8" fmla="*/ 183 w 281"/>
                <a:gd name="T9" fmla="*/ 868 h 892"/>
                <a:gd name="T10" fmla="*/ 231 w 281"/>
                <a:gd name="T11" fmla="*/ 884 h 892"/>
                <a:gd name="T12" fmla="*/ 258 w 281"/>
                <a:gd name="T13" fmla="*/ 892 h 892"/>
                <a:gd name="T14" fmla="*/ 279 w 281"/>
                <a:gd name="T15" fmla="*/ 886 h 892"/>
                <a:gd name="T16" fmla="*/ 270 w 281"/>
                <a:gd name="T17" fmla="*/ 876 h 892"/>
                <a:gd name="T18" fmla="*/ 230 w 281"/>
                <a:gd name="T19" fmla="*/ 826 h 892"/>
                <a:gd name="T20" fmla="*/ 52 w 281"/>
                <a:gd name="T21" fmla="*/ 93 h 892"/>
                <a:gd name="T22" fmla="*/ 43 w 281"/>
                <a:gd name="T23" fmla="*/ 43 h 892"/>
                <a:gd name="T24" fmla="*/ 26 w 281"/>
                <a:gd name="T25" fmla="*/ 16 h 892"/>
                <a:gd name="T26" fmla="*/ 10 w 281"/>
                <a:gd name="T27" fmla="*/ 12 h 892"/>
                <a:gd name="T28" fmla="*/ 8 w 281"/>
                <a:gd name="T29" fmla="*/ 52 h 892"/>
                <a:gd name="T30" fmla="*/ 13 w 281"/>
                <a:gd name="T31" fmla="*/ 143 h 892"/>
                <a:gd name="T32" fmla="*/ 17 w 281"/>
                <a:gd name="T33" fmla="*/ 239 h 892"/>
                <a:gd name="T34" fmla="*/ 18 w 281"/>
                <a:gd name="T35" fmla="*/ 297 h 892"/>
                <a:gd name="T36" fmla="*/ 28 w 281"/>
                <a:gd name="T37" fmla="*/ 353 h 892"/>
                <a:gd name="T38" fmla="*/ 22 w 281"/>
                <a:gd name="T39" fmla="*/ 425 h 892"/>
                <a:gd name="T40" fmla="*/ 13 w 281"/>
                <a:gd name="T41" fmla="*/ 466 h 892"/>
                <a:gd name="T42" fmla="*/ 33 w 281"/>
                <a:gd name="T43" fmla="*/ 517 h 892"/>
                <a:gd name="T44" fmla="*/ 37 w 281"/>
                <a:gd name="T45" fmla="*/ 576 h 892"/>
                <a:gd name="T46" fmla="*/ 56 w 281"/>
                <a:gd name="T47" fmla="*/ 612 h 892"/>
                <a:gd name="T48" fmla="*/ 66 w 281"/>
                <a:gd name="T49" fmla="*/ 590 h 892"/>
                <a:gd name="T50" fmla="*/ 49 w 281"/>
                <a:gd name="T51" fmla="*/ 629 h 892"/>
                <a:gd name="T52" fmla="*/ 47 w 281"/>
                <a:gd name="T53" fmla="*/ 688 h 892"/>
                <a:gd name="T54" fmla="*/ 64 w 281"/>
                <a:gd name="T55" fmla="*/ 712 h 892"/>
                <a:gd name="T56" fmla="*/ 84 w 281"/>
                <a:gd name="T57" fmla="*/ 775 h 892"/>
                <a:gd name="T58" fmla="*/ 101 w 281"/>
                <a:gd name="T59" fmla="*/ 803 h 892"/>
                <a:gd name="T60" fmla="*/ 141 w 281"/>
                <a:gd name="T61" fmla="*/ 831 h 892"/>
                <a:gd name="T62" fmla="*/ 168 w 281"/>
                <a:gd name="T63" fmla="*/ 846 h 892"/>
                <a:gd name="T64" fmla="*/ 199 w 281"/>
                <a:gd name="T65" fmla="*/ 853 h 892"/>
                <a:gd name="T66" fmla="*/ 205 w 281"/>
                <a:gd name="T67" fmla="*/ 823 h 892"/>
                <a:gd name="T68" fmla="*/ 227 w 281"/>
                <a:gd name="T69" fmla="*/ 818 h 892"/>
                <a:gd name="T70" fmla="*/ 164 w 281"/>
                <a:gd name="T71" fmla="*/ 812 h 892"/>
                <a:gd name="T72" fmla="*/ 145 w 281"/>
                <a:gd name="T73" fmla="*/ 781 h 892"/>
                <a:gd name="T74" fmla="*/ 123 w 281"/>
                <a:gd name="T75" fmla="*/ 775 h 892"/>
                <a:gd name="T76" fmla="*/ 121 w 281"/>
                <a:gd name="T77" fmla="*/ 739 h 892"/>
                <a:gd name="T78" fmla="*/ 116 w 281"/>
                <a:gd name="T79" fmla="*/ 713 h 892"/>
                <a:gd name="T80" fmla="*/ 114 w 281"/>
                <a:gd name="T81" fmla="*/ 663 h 892"/>
                <a:gd name="T82" fmla="*/ 114 w 281"/>
                <a:gd name="T83" fmla="*/ 645 h 892"/>
                <a:gd name="T84" fmla="*/ 99 w 281"/>
                <a:gd name="T85" fmla="*/ 631 h 892"/>
                <a:gd name="T86" fmla="*/ 89 w 281"/>
                <a:gd name="T87" fmla="*/ 613 h 892"/>
                <a:gd name="T88" fmla="*/ 82 w 281"/>
                <a:gd name="T89" fmla="*/ 582 h 892"/>
                <a:gd name="T90" fmla="*/ 67 w 281"/>
                <a:gd name="T91" fmla="*/ 530 h 892"/>
                <a:gd name="T92" fmla="*/ 75 w 281"/>
                <a:gd name="T93" fmla="*/ 499 h 892"/>
                <a:gd name="T94" fmla="*/ 58 w 281"/>
                <a:gd name="T95" fmla="*/ 453 h 892"/>
                <a:gd name="T96" fmla="*/ 63 w 281"/>
                <a:gd name="T97" fmla="*/ 418 h 892"/>
                <a:gd name="T98" fmla="*/ 64 w 281"/>
                <a:gd name="T99" fmla="*/ 372 h 892"/>
                <a:gd name="T100" fmla="*/ 40 w 281"/>
                <a:gd name="T101" fmla="*/ 327 h 892"/>
                <a:gd name="T102" fmla="*/ 42 w 281"/>
                <a:gd name="T103" fmla="*/ 280 h 892"/>
                <a:gd name="T104" fmla="*/ 55 w 281"/>
                <a:gd name="T105" fmla="*/ 236 h 892"/>
                <a:gd name="T106" fmla="*/ 60 w 281"/>
                <a:gd name="T107" fmla="*/ 212 h 892"/>
                <a:gd name="T108" fmla="*/ 57 w 281"/>
                <a:gd name="T109" fmla="*/ 165 h 892"/>
                <a:gd name="T110" fmla="*/ 82 w 281"/>
                <a:gd name="T111" fmla="*/ 129 h 892"/>
                <a:gd name="T112" fmla="*/ 64 w 281"/>
                <a:gd name="T113" fmla="*/ 126 h 892"/>
                <a:gd name="T114" fmla="*/ 52 w 281"/>
                <a:gd name="T115" fmla="*/ 9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892">
                  <a:moveTo>
                    <a:pt x="230" y="826"/>
                  </a:moveTo>
                  <a:lnTo>
                    <a:pt x="216" y="823"/>
                  </a:lnTo>
                  <a:lnTo>
                    <a:pt x="203" y="832"/>
                  </a:lnTo>
                  <a:lnTo>
                    <a:pt x="203" y="847"/>
                  </a:lnTo>
                  <a:lnTo>
                    <a:pt x="200" y="859"/>
                  </a:lnTo>
                  <a:lnTo>
                    <a:pt x="173" y="850"/>
                  </a:lnTo>
                  <a:lnTo>
                    <a:pt x="140" y="835"/>
                  </a:lnTo>
                  <a:lnTo>
                    <a:pt x="123" y="831"/>
                  </a:lnTo>
                  <a:lnTo>
                    <a:pt x="160" y="856"/>
                  </a:lnTo>
                  <a:lnTo>
                    <a:pt x="183" y="868"/>
                  </a:lnTo>
                  <a:lnTo>
                    <a:pt x="211" y="880"/>
                  </a:lnTo>
                  <a:lnTo>
                    <a:pt x="231" y="884"/>
                  </a:lnTo>
                  <a:lnTo>
                    <a:pt x="247" y="890"/>
                  </a:lnTo>
                  <a:lnTo>
                    <a:pt x="258" y="892"/>
                  </a:lnTo>
                  <a:lnTo>
                    <a:pt x="267" y="892"/>
                  </a:lnTo>
                  <a:lnTo>
                    <a:pt x="279" y="886"/>
                  </a:lnTo>
                  <a:lnTo>
                    <a:pt x="281" y="877"/>
                  </a:lnTo>
                  <a:lnTo>
                    <a:pt x="270" y="876"/>
                  </a:lnTo>
                  <a:lnTo>
                    <a:pt x="251" y="876"/>
                  </a:lnTo>
                  <a:lnTo>
                    <a:pt x="230" y="826"/>
                  </a:lnTo>
                  <a:lnTo>
                    <a:pt x="230" y="826"/>
                  </a:lnTo>
                  <a:close/>
                  <a:moveTo>
                    <a:pt x="52" y="93"/>
                  </a:moveTo>
                  <a:lnTo>
                    <a:pt x="39" y="66"/>
                  </a:lnTo>
                  <a:lnTo>
                    <a:pt x="43" y="43"/>
                  </a:lnTo>
                  <a:lnTo>
                    <a:pt x="31" y="33"/>
                  </a:lnTo>
                  <a:lnTo>
                    <a:pt x="26" y="16"/>
                  </a:lnTo>
                  <a:lnTo>
                    <a:pt x="15" y="0"/>
                  </a:lnTo>
                  <a:lnTo>
                    <a:pt x="10" y="12"/>
                  </a:lnTo>
                  <a:lnTo>
                    <a:pt x="0" y="18"/>
                  </a:lnTo>
                  <a:lnTo>
                    <a:pt x="8" y="52"/>
                  </a:lnTo>
                  <a:lnTo>
                    <a:pt x="14" y="90"/>
                  </a:lnTo>
                  <a:lnTo>
                    <a:pt x="13" y="143"/>
                  </a:lnTo>
                  <a:lnTo>
                    <a:pt x="13" y="193"/>
                  </a:lnTo>
                  <a:lnTo>
                    <a:pt x="17" y="239"/>
                  </a:lnTo>
                  <a:lnTo>
                    <a:pt x="9" y="268"/>
                  </a:lnTo>
                  <a:lnTo>
                    <a:pt x="18" y="297"/>
                  </a:lnTo>
                  <a:lnTo>
                    <a:pt x="16" y="317"/>
                  </a:lnTo>
                  <a:lnTo>
                    <a:pt x="28" y="353"/>
                  </a:lnTo>
                  <a:lnTo>
                    <a:pt x="27" y="388"/>
                  </a:lnTo>
                  <a:lnTo>
                    <a:pt x="22" y="425"/>
                  </a:lnTo>
                  <a:lnTo>
                    <a:pt x="20" y="465"/>
                  </a:lnTo>
                  <a:lnTo>
                    <a:pt x="13" y="466"/>
                  </a:lnTo>
                  <a:lnTo>
                    <a:pt x="21" y="493"/>
                  </a:lnTo>
                  <a:lnTo>
                    <a:pt x="33" y="517"/>
                  </a:lnTo>
                  <a:lnTo>
                    <a:pt x="30" y="533"/>
                  </a:lnTo>
                  <a:lnTo>
                    <a:pt x="37" y="576"/>
                  </a:lnTo>
                  <a:lnTo>
                    <a:pt x="43" y="608"/>
                  </a:lnTo>
                  <a:lnTo>
                    <a:pt x="56" y="612"/>
                  </a:lnTo>
                  <a:lnTo>
                    <a:pt x="51" y="583"/>
                  </a:lnTo>
                  <a:lnTo>
                    <a:pt x="66" y="590"/>
                  </a:lnTo>
                  <a:lnTo>
                    <a:pt x="73" y="636"/>
                  </a:lnTo>
                  <a:lnTo>
                    <a:pt x="49" y="629"/>
                  </a:lnTo>
                  <a:lnTo>
                    <a:pt x="57" y="667"/>
                  </a:lnTo>
                  <a:lnTo>
                    <a:pt x="47" y="688"/>
                  </a:lnTo>
                  <a:lnTo>
                    <a:pt x="77" y="694"/>
                  </a:lnTo>
                  <a:lnTo>
                    <a:pt x="64" y="712"/>
                  </a:lnTo>
                  <a:lnTo>
                    <a:pt x="65" y="734"/>
                  </a:lnTo>
                  <a:lnTo>
                    <a:pt x="84" y="775"/>
                  </a:lnTo>
                  <a:lnTo>
                    <a:pt x="100" y="790"/>
                  </a:lnTo>
                  <a:lnTo>
                    <a:pt x="101" y="803"/>
                  </a:lnTo>
                  <a:lnTo>
                    <a:pt x="113" y="818"/>
                  </a:lnTo>
                  <a:lnTo>
                    <a:pt x="141" y="831"/>
                  </a:lnTo>
                  <a:lnTo>
                    <a:pt x="141" y="831"/>
                  </a:lnTo>
                  <a:lnTo>
                    <a:pt x="168" y="846"/>
                  </a:lnTo>
                  <a:lnTo>
                    <a:pt x="191" y="853"/>
                  </a:lnTo>
                  <a:lnTo>
                    <a:pt x="199" y="853"/>
                  </a:lnTo>
                  <a:lnTo>
                    <a:pt x="192" y="832"/>
                  </a:lnTo>
                  <a:lnTo>
                    <a:pt x="205" y="823"/>
                  </a:lnTo>
                  <a:lnTo>
                    <a:pt x="211" y="818"/>
                  </a:lnTo>
                  <a:lnTo>
                    <a:pt x="227" y="818"/>
                  </a:lnTo>
                  <a:lnTo>
                    <a:pt x="209" y="815"/>
                  </a:lnTo>
                  <a:lnTo>
                    <a:pt x="164" y="812"/>
                  </a:lnTo>
                  <a:lnTo>
                    <a:pt x="151" y="798"/>
                  </a:lnTo>
                  <a:lnTo>
                    <a:pt x="145" y="781"/>
                  </a:lnTo>
                  <a:lnTo>
                    <a:pt x="132" y="782"/>
                  </a:lnTo>
                  <a:lnTo>
                    <a:pt x="123" y="775"/>
                  </a:lnTo>
                  <a:lnTo>
                    <a:pt x="112" y="749"/>
                  </a:lnTo>
                  <a:lnTo>
                    <a:pt x="121" y="739"/>
                  </a:lnTo>
                  <a:lnTo>
                    <a:pt x="122" y="725"/>
                  </a:lnTo>
                  <a:lnTo>
                    <a:pt x="116" y="713"/>
                  </a:lnTo>
                  <a:lnTo>
                    <a:pt x="118" y="693"/>
                  </a:lnTo>
                  <a:lnTo>
                    <a:pt x="114" y="663"/>
                  </a:lnTo>
                  <a:lnTo>
                    <a:pt x="107" y="649"/>
                  </a:lnTo>
                  <a:lnTo>
                    <a:pt x="114" y="645"/>
                  </a:lnTo>
                  <a:lnTo>
                    <a:pt x="109" y="636"/>
                  </a:lnTo>
                  <a:lnTo>
                    <a:pt x="99" y="631"/>
                  </a:lnTo>
                  <a:lnTo>
                    <a:pt x="102" y="621"/>
                  </a:lnTo>
                  <a:lnTo>
                    <a:pt x="89" y="613"/>
                  </a:lnTo>
                  <a:lnTo>
                    <a:pt x="76" y="586"/>
                  </a:lnTo>
                  <a:lnTo>
                    <a:pt x="82" y="582"/>
                  </a:lnTo>
                  <a:lnTo>
                    <a:pt x="70" y="553"/>
                  </a:lnTo>
                  <a:lnTo>
                    <a:pt x="67" y="530"/>
                  </a:lnTo>
                  <a:lnTo>
                    <a:pt x="66" y="509"/>
                  </a:lnTo>
                  <a:lnTo>
                    <a:pt x="75" y="499"/>
                  </a:lnTo>
                  <a:lnTo>
                    <a:pt x="63" y="476"/>
                  </a:lnTo>
                  <a:lnTo>
                    <a:pt x="58" y="453"/>
                  </a:lnTo>
                  <a:lnTo>
                    <a:pt x="69" y="438"/>
                  </a:lnTo>
                  <a:lnTo>
                    <a:pt x="63" y="418"/>
                  </a:lnTo>
                  <a:lnTo>
                    <a:pt x="69" y="395"/>
                  </a:lnTo>
                  <a:lnTo>
                    <a:pt x="64" y="372"/>
                  </a:lnTo>
                  <a:lnTo>
                    <a:pt x="59" y="368"/>
                  </a:lnTo>
                  <a:lnTo>
                    <a:pt x="40" y="327"/>
                  </a:lnTo>
                  <a:lnTo>
                    <a:pt x="48" y="303"/>
                  </a:lnTo>
                  <a:lnTo>
                    <a:pt x="42" y="280"/>
                  </a:lnTo>
                  <a:lnTo>
                    <a:pt x="45" y="258"/>
                  </a:lnTo>
                  <a:lnTo>
                    <a:pt x="55" y="236"/>
                  </a:lnTo>
                  <a:lnTo>
                    <a:pt x="67" y="221"/>
                  </a:lnTo>
                  <a:lnTo>
                    <a:pt x="60" y="212"/>
                  </a:lnTo>
                  <a:lnTo>
                    <a:pt x="62" y="204"/>
                  </a:lnTo>
                  <a:lnTo>
                    <a:pt x="57" y="165"/>
                  </a:lnTo>
                  <a:lnTo>
                    <a:pt x="77" y="153"/>
                  </a:lnTo>
                  <a:lnTo>
                    <a:pt x="82" y="129"/>
                  </a:lnTo>
                  <a:lnTo>
                    <a:pt x="78" y="122"/>
                  </a:lnTo>
                  <a:lnTo>
                    <a:pt x="64" y="126"/>
                  </a:lnTo>
                  <a:lnTo>
                    <a:pt x="52" y="93"/>
                  </a:lnTo>
                  <a:lnTo>
                    <a:pt x="52" y="9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China"/>
            <p:cNvSpPr>
              <a:spLocks noEditPoints="1"/>
            </p:cNvSpPr>
            <p:nvPr/>
          </p:nvSpPr>
          <p:spPr bwMode="auto">
            <a:xfrm>
              <a:off x="8269287" y="2478088"/>
              <a:ext cx="1703387" cy="1319213"/>
            </a:xfrm>
            <a:custGeom>
              <a:avLst/>
              <a:gdLst>
                <a:gd name="T0" fmla="*/ 855 w 1073"/>
                <a:gd name="T1" fmla="*/ 786 h 831"/>
                <a:gd name="T2" fmla="*/ 817 w 1073"/>
                <a:gd name="T3" fmla="*/ 824 h 831"/>
                <a:gd name="T4" fmla="*/ 901 w 1073"/>
                <a:gd name="T5" fmla="*/ 85 h 831"/>
                <a:gd name="T6" fmla="*/ 819 w 1073"/>
                <a:gd name="T7" fmla="*/ 16 h 831"/>
                <a:gd name="T8" fmla="*/ 723 w 1073"/>
                <a:gd name="T9" fmla="*/ 6 h 831"/>
                <a:gd name="T10" fmla="*/ 735 w 1073"/>
                <a:gd name="T11" fmla="*/ 42 h 831"/>
                <a:gd name="T12" fmla="*/ 698 w 1073"/>
                <a:gd name="T13" fmla="*/ 82 h 831"/>
                <a:gd name="T14" fmla="*/ 721 w 1073"/>
                <a:gd name="T15" fmla="*/ 129 h 831"/>
                <a:gd name="T16" fmla="*/ 796 w 1073"/>
                <a:gd name="T17" fmla="*/ 148 h 831"/>
                <a:gd name="T18" fmla="*/ 749 w 1073"/>
                <a:gd name="T19" fmla="*/ 163 h 831"/>
                <a:gd name="T20" fmla="*/ 686 w 1073"/>
                <a:gd name="T21" fmla="*/ 195 h 831"/>
                <a:gd name="T22" fmla="*/ 691 w 1073"/>
                <a:gd name="T23" fmla="*/ 224 h 831"/>
                <a:gd name="T24" fmla="*/ 628 w 1073"/>
                <a:gd name="T25" fmla="*/ 253 h 831"/>
                <a:gd name="T26" fmla="*/ 550 w 1073"/>
                <a:gd name="T27" fmla="*/ 267 h 831"/>
                <a:gd name="T28" fmla="*/ 428 w 1073"/>
                <a:gd name="T29" fmla="*/ 247 h 831"/>
                <a:gd name="T30" fmla="*/ 359 w 1073"/>
                <a:gd name="T31" fmla="*/ 210 h 831"/>
                <a:gd name="T32" fmla="*/ 268 w 1073"/>
                <a:gd name="T33" fmla="*/ 179 h 831"/>
                <a:gd name="T34" fmla="*/ 189 w 1073"/>
                <a:gd name="T35" fmla="*/ 112 h 831"/>
                <a:gd name="T36" fmla="*/ 150 w 1073"/>
                <a:gd name="T37" fmla="*/ 116 h 831"/>
                <a:gd name="T38" fmla="*/ 118 w 1073"/>
                <a:gd name="T39" fmla="*/ 183 h 831"/>
                <a:gd name="T40" fmla="*/ 98 w 1073"/>
                <a:gd name="T41" fmla="*/ 243 h 831"/>
                <a:gd name="T42" fmla="*/ 75 w 1073"/>
                <a:gd name="T43" fmla="*/ 283 h 831"/>
                <a:gd name="T44" fmla="*/ 15 w 1073"/>
                <a:gd name="T45" fmla="*/ 303 h 831"/>
                <a:gd name="T46" fmla="*/ 12 w 1073"/>
                <a:gd name="T47" fmla="*/ 346 h 831"/>
                <a:gd name="T48" fmla="*/ 40 w 1073"/>
                <a:gd name="T49" fmla="*/ 373 h 831"/>
                <a:gd name="T50" fmla="*/ 108 w 1073"/>
                <a:gd name="T51" fmla="*/ 419 h 831"/>
                <a:gd name="T52" fmla="*/ 153 w 1073"/>
                <a:gd name="T53" fmla="*/ 491 h 831"/>
                <a:gd name="T54" fmla="*/ 204 w 1073"/>
                <a:gd name="T55" fmla="*/ 545 h 831"/>
                <a:gd name="T56" fmla="*/ 265 w 1073"/>
                <a:gd name="T57" fmla="*/ 566 h 831"/>
                <a:gd name="T58" fmla="*/ 334 w 1073"/>
                <a:gd name="T59" fmla="*/ 599 h 831"/>
                <a:gd name="T60" fmla="*/ 385 w 1073"/>
                <a:gd name="T61" fmla="*/ 597 h 831"/>
                <a:gd name="T62" fmla="*/ 431 w 1073"/>
                <a:gd name="T63" fmla="*/ 603 h 831"/>
                <a:gd name="T64" fmla="*/ 499 w 1073"/>
                <a:gd name="T65" fmla="*/ 573 h 831"/>
                <a:gd name="T66" fmla="*/ 542 w 1073"/>
                <a:gd name="T67" fmla="*/ 591 h 831"/>
                <a:gd name="T68" fmla="*/ 579 w 1073"/>
                <a:gd name="T69" fmla="*/ 627 h 831"/>
                <a:gd name="T70" fmla="*/ 590 w 1073"/>
                <a:gd name="T71" fmla="*/ 691 h 831"/>
                <a:gd name="T72" fmla="*/ 626 w 1073"/>
                <a:gd name="T73" fmla="*/ 746 h 831"/>
                <a:gd name="T74" fmla="*/ 654 w 1073"/>
                <a:gd name="T75" fmla="*/ 759 h 831"/>
                <a:gd name="T76" fmla="*/ 679 w 1073"/>
                <a:gd name="T77" fmla="*/ 724 h 831"/>
                <a:gd name="T78" fmla="*/ 741 w 1073"/>
                <a:gd name="T79" fmla="*/ 717 h 831"/>
                <a:gd name="T80" fmla="*/ 793 w 1073"/>
                <a:gd name="T81" fmla="*/ 751 h 831"/>
                <a:gd name="T82" fmla="*/ 836 w 1073"/>
                <a:gd name="T83" fmla="*/ 781 h 831"/>
                <a:gd name="T84" fmla="*/ 897 w 1073"/>
                <a:gd name="T85" fmla="*/ 740 h 831"/>
                <a:gd name="T86" fmla="*/ 949 w 1073"/>
                <a:gd name="T87" fmla="*/ 722 h 831"/>
                <a:gd name="T88" fmla="*/ 1018 w 1073"/>
                <a:gd name="T89" fmla="*/ 620 h 831"/>
                <a:gd name="T90" fmla="*/ 1033 w 1073"/>
                <a:gd name="T91" fmla="*/ 555 h 831"/>
                <a:gd name="T92" fmla="*/ 1014 w 1073"/>
                <a:gd name="T93" fmla="*/ 510 h 831"/>
                <a:gd name="T94" fmla="*/ 930 w 1073"/>
                <a:gd name="T95" fmla="*/ 433 h 831"/>
                <a:gd name="T96" fmla="*/ 976 w 1073"/>
                <a:gd name="T97" fmla="*/ 385 h 831"/>
                <a:gd name="T98" fmla="*/ 918 w 1073"/>
                <a:gd name="T99" fmla="*/ 379 h 831"/>
                <a:gd name="T100" fmla="*/ 859 w 1073"/>
                <a:gd name="T101" fmla="*/ 341 h 831"/>
                <a:gd name="T102" fmla="*/ 900 w 1073"/>
                <a:gd name="T103" fmla="*/ 297 h 831"/>
                <a:gd name="T104" fmla="*/ 931 w 1073"/>
                <a:gd name="T105" fmla="*/ 326 h 831"/>
                <a:gd name="T106" fmla="*/ 976 w 1073"/>
                <a:gd name="T107" fmla="*/ 313 h 831"/>
                <a:gd name="T108" fmla="*/ 1015 w 1073"/>
                <a:gd name="T109" fmla="*/ 276 h 831"/>
                <a:gd name="T110" fmla="*/ 1046 w 1073"/>
                <a:gd name="T111" fmla="*/ 242 h 831"/>
                <a:gd name="T112" fmla="*/ 1068 w 1073"/>
                <a:gd name="T113" fmla="*/ 243 h 831"/>
                <a:gd name="T114" fmla="*/ 1073 w 1073"/>
                <a:gd name="T115" fmla="*/ 192 h 831"/>
                <a:gd name="T116" fmla="*/ 1057 w 1073"/>
                <a:gd name="T117" fmla="*/ 115 h 831"/>
                <a:gd name="T118" fmla="*/ 971 w 1073"/>
                <a:gd name="T119" fmla="*/ 1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3" h="831">
                  <a:moveTo>
                    <a:pt x="851" y="819"/>
                  </a:moveTo>
                  <a:lnTo>
                    <a:pt x="853" y="806"/>
                  </a:lnTo>
                  <a:lnTo>
                    <a:pt x="861" y="796"/>
                  </a:lnTo>
                  <a:lnTo>
                    <a:pt x="855" y="786"/>
                  </a:lnTo>
                  <a:lnTo>
                    <a:pt x="843" y="785"/>
                  </a:lnTo>
                  <a:lnTo>
                    <a:pt x="822" y="792"/>
                  </a:lnTo>
                  <a:lnTo>
                    <a:pt x="813" y="803"/>
                  </a:lnTo>
                  <a:lnTo>
                    <a:pt x="817" y="824"/>
                  </a:lnTo>
                  <a:lnTo>
                    <a:pt x="836" y="831"/>
                  </a:lnTo>
                  <a:lnTo>
                    <a:pt x="851" y="819"/>
                  </a:lnTo>
                  <a:lnTo>
                    <a:pt x="851" y="819"/>
                  </a:lnTo>
                  <a:close/>
                  <a:moveTo>
                    <a:pt x="901" y="85"/>
                  </a:moveTo>
                  <a:lnTo>
                    <a:pt x="878" y="63"/>
                  </a:lnTo>
                  <a:lnTo>
                    <a:pt x="862" y="49"/>
                  </a:lnTo>
                  <a:lnTo>
                    <a:pt x="847" y="38"/>
                  </a:lnTo>
                  <a:lnTo>
                    <a:pt x="819" y="16"/>
                  </a:lnTo>
                  <a:lnTo>
                    <a:pt x="796" y="8"/>
                  </a:lnTo>
                  <a:lnTo>
                    <a:pt x="765" y="0"/>
                  </a:lnTo>
                  <a:lnTo>
                    <a:pt x="741" y="1"/>
                  </a:lnTo>
                  <a:lnTo>
                    <a:pt x="723" y="6"/>
                  </a:lnTo>
                  <a:lnTo>
                    <a:pt x="716" y="17"/>
                  </a:lnTo>
                  <a:lnTo>
                    <a:pt x="730" y="22"/>
                  </a:lnTo>
                  <a:lnTo>
                    <a:pt x="739" y="35"/>
                  </a:lnTo>
                  <a:lnTo>
                    <a:pt x="735" y="42"/>
                  </a:lnTo>
                  <a:lnTo>
                    <a:pt x="735" y="66"/>
                  </a:lnTo>
                  <a:lnTo>
                    <a:pt x="742" y="77"/>
                  </a:lnTo>
                  <a:lnTo>
                    <a:pt x="725" y="91"/>
                  </a:lnTo>
                  <a:lnTo>
                    <a:pt x="698" y="82"/>
                  </a:lnTo>
                  <a:lnTo>
                    <a:pt x="701" y="99"/>
                  </a:lnTo>
                  <a:lnTo>
                    <a:pt x="702" y="122"/>
                  </a:lnTo>
                  <a:lnTo>
                    <a:pt x="712" y="133"/>
                  </a:lnTo>
                  <a:lnTo>
                    <a:pt x="721" y="129"/>
                  </a:lnTo>
                  <a:lnTo>
                    <a:pt x="741" y="133"/>
                  </a:lnTo>
                  <a:lnTo>
                    <a:pt x="751" y="124"/>
                  </a:lnTo>
                  <a:lnTo>
                    <a:pt x="769" y="132"/>
                  </a:lnTo>
                  <a:lnTo>
                    <a:pt x="796" y="148"/>
                  </a:lnTo>
                  <a:lnTo>
                    <a:pt x="799" y="156"/>
                  </a:lnTo>
                  <a:lnTo>
                    <a:pt x="783" y="153"/>
                  </a:lnTo>
                  <a:lnTo>
                    <a:pt x="757" y="157"/>
                  </a:lnTo>
                  <a:lnTo>
                    <a:pt x="749" y="163"/>
                  </a:lnTo>
                  <a:lnTo>
                    <a:pt x="743" y="178"/>
                  </a:lnTo>
                  <a:lnTo>
                    <a:pt x="720" y="188"/>
                  </a:lnTo>
                  <a:lnTo>
                    <a:pt x="709" y="200"/>
                  </a:lnTo>
                  <a:lnTo>
                    <a:pt x="686" y="195"/>
                  </a:lnTo>
                  <a:lnTo>
                    <a:pt x="674" y="193"/>
                  </a:lnTo>
                  <a:lnTo>
                    <a:pt x="673" y="208"/>
                  </a:lnTo>
                  <a:lnTo>
                    <a:pt x="683" y="217"/>
                  </a:lnTo>
                  <a:lnTo>
                    <a:pt x="691" y="224"/>
                  </a:lnTo>
                  <a:lnTo>
                    <a:pt x="682" y="232"/>
                  </a:lnTo>
                  <a:lnTo>
                    <a:pt x="674" y="245"/>
                  </a:lnTo>
                  <a:lnTo>
                    <a:pt x="656" y="252"/>
                  </a:lnTo>
                  <a:lnTo>
                    <a:pt x="628" y="253"/>
                  </a:lnTo>
                  <a:lnTo>
                    <a:pt x="601" y="261"/>
                  </a:lnTo>
                  <a:lnTo>
                    <a:pt x="584" y="274"/>
                  </a:lnTo>
                  <a:lnTo>
                    <a:pt x="572" y="266"/>
                  </a:lnTo>
                  <a:lnTo>
                    <a:pt x="550" y="267"/>
                  </a:lnTo>
                  <a:lnTo>
                    <a:pt x="514" y="252"/>
                  </a:lnTo>
                  <a:lnTo>
                    <a:pt x="494" y="249"/>
                  </a:lnTo>
                  <a:lnTo>
                    <a:pt x="471" y="252"/>
                  </a:lnTo>
                  <a:lnTo>
                    <a:pt x="428" y="247"/>
                  </a:lnTo>
                  <a:lnTo>
                    <a:pt x="408" y="247"/>
                  </a:lnTo>
                  <a:lnTo>
                    <a:pt x="390" y="234"/>
                  </a:lnTo>
                  <a:lnTo>
                    <a:pt x="372" y="213"/>
                  </a:lnTo>
                  <a:lnTo>
                    <a:pt x="359" y="210"/>
                  </a:lnTo>
                  <a:lnTo>
                    <a:pt x="330" y="196"/>
                  </a:lnTo>
                  <a:lnTo>
                    <a:pt x="303" y="192"/>
                  </a:lnTo>
                  <a:lnTo>
                    <a:pt x="279" y="189"/>
                  </a:lnTo>
                  <a:lnTo>
                    <a:pt x="268" y="179"/>
                  </a:lnTo>
                  <a:lnTo>
                    <a:pt x="263" y="151"/>
                  </a:lnTo>
                  <a:lnTo>
                    <a:pt x="242" y="133"/>
                  </a:lnTo>
                  <a:lnTo>
                    <a:pt x="211" y="124"/>
                  </a:lnTo>
                  <a:lnTo>
                    <a:pt x="189" y="112"/>
                  </a:lnTo>
                  <a:lnTo>
                    <a:pt x="177" y="95"/>
                  </a:lnTo>
                  <a:lnTo>
                    <a:pt x="171" y="97"/>
                  </a:lnTo>
                  <a:lnTo>
                    <a:pt x="164" y="113"/>
                  </a:lnTo>
                  <a:lnTo>
                    <a:pt x="150" y="116"/>
                  </a:lnTo>
                  <a:lnTo>
                    <a:pt x="160" y="138"/>
                  </a:lnTo>
                  <a:lnTo>
                    <a:pt x="154" y="149"/>
                  </a:lnTo>
                  <a:lnTo>
                    <a:pt x="114" y="142"/>
                  </a:lnTo>
                  <a:lnTo>
                    <a:pt x="118" y="183"/>
                  </a:lnTo>
                  <a:lnTo>
                    <a:pt x="110" y="189"/>
                  </a:lnTo>
                  <a:lnTo>
                    <a:pt x="76" y="197"/>
                  </a:lnTo>
                  <a:lnTo>
                    <a:pt x="109" y="237"/>
                  </a:lnTo>
                  <a:lnTo>
                    <a:pt x="98" y="243"/>
                  </a:lnTo>
                  <a:lnTo>
                    <a:pt x="105" y="256"/>
                  </a:lnTo>
                  <a:lnTo>
                    <a:pt x="104" y="261"/>
                  </a:lnTo>
                  <a:lnTo>
                    <a:pt x="78" y="275"/>
                  </a:lnTo>
                  <a:lnTo>
                    <a:pt x="75" y="283"/>
                  </a:lnTo>
                  <a:lnTo>
                    <a:pt x="50" y="286"/>
                  </a:lnTo>
                  <a:lnTo>
                    <a:pt x="48" y="301"/>
                  </a:lnTo>
                  <a:lnTo>
                    <a:pt x="27" y="298"/>
                  </a:lnTo>
                  <a:lnTo>
                    <a:pt x="15" y="303"/>
                  </a:lnTo>
                  <a:lnTo>
                    <a:pt x="0" y="314"/>
                  </a:lnTo>
                  <a:lnTo>
                    <a:pt x="5" y="319"/>
                  </a:lnTo>
                  <a:lnTo>
                    <a:pt x="1" y="325"/>
                  </a:lnTo>
                  <a:lnTo>
                    <a:pt x="12" y="346"/>
                  </a:lnTo>
                  <a:lnTo>
                    <a:pt x="18" y="345"/>
                  </a:lnTo>
                  <a:lnTo>
                    <a:pt x="31" y="349"/>
                  </a:lnTo>
                  <a:lnTo>
                    <a:pt x="33" y="359"/>
                  </a:lnTo>
                  <a:lnTo>
                    <a:pt x="40" y="373"/>
                  </a:lnTo>
                  <a:lnTo>
                    <a:pt x="45" y="380"/>
                  </a:lnTo>
                  <a:lnTo>
                    <a:pt x="62" y="391"/>
                  </a:lnTo>
                  <a:lnTo>
                    <a:pt x="74" y="410"/>
                  </a:lnTo>
                  <a:lnTo>
                    <a:pt x="108" y="419"/>
                  </a:lnTo>
                  <a:lnTo>
                    <a:pt x="137" y="447"/>
                  </a:lnTo>
                  <a:lnTo>
                    <a:pt x="140" y="467"/>
                  </a:lnTo>
                  <a:lnTo>
                    <a:pt x="151" y="479"/>
                  </a:lnTo>
                  <a:lnTo>
                    <a:pt x="153" y="491"/>
                  </a:lnTo>
                  <a:lnTo>
                    <a:pt x="138" y="488"/>
                  </a:lnTo>
                  <a:lnTo>
                    <a:pt x="150" y="514"/>
                  </a:lnTo>
                  <a:lnTo>
                    <a:pt x="173" y="529"/>
                  </a:lnTo>
                  <a:lnTo>
                    <a:pt x="204" y="545"/>
                  </a:lnTo>
                  <a:lnTo>
                    <a:pt x="212" y="540"/>
                  </a:lnTo>
                  <a:lnTo>
                    <a:pt x="230" y="547"/>
                  </a:lnTo>
                  <a:lnTo>
                    <a:pt x="253" y="563"/>
                  </a:lnTo>
                  <a:lnTo>
                    <a:pt x="265" y="566"/>
                  </a:lnTo>
                  <a:lnTo>
                    <a:pt x="274" y="578"/>
                  </a:lnTo>
                  <a:lnTo>
                    <a:pt x="291" y="583"/>
                  </a:lnTo>
                  <a:lnTo>
                    <a:pt x="310" y="593"/>
                  </a:lnTo>
                  <a:lnTo>
                    <a:pt x="334" y="599"/>
                  </a:lnTo>
                  <a:lnTo>
                    <a:pt x="358" y="600"/>
                  </a:lnTo>
                  <a:lnTo>
                    <a:pt x="370" y="596"/>
                  </a:lnTo>
                  <a:lnTo>
                    <a:pt x="375" y="614"/>
                  </a:lnTo>
                  <a:lnTo>
                    <a:pt x="385" y="597"/>
                  </a:lnTo>
                  <a:lnTo>
                    <a:pt x="395" y="590"/>
                  </a:lnTo>
                  <a:lnTo>
                    <a:pt x="410" y="596"/>
                  </a:lnTo>
                  <a:lnTo>
                    <a:pt x="421" y="597"/>
                  </a:lnTo>
                  <a:lnTo>
                    <a:pt x="431" y="603"/>
                  </a:lnTo>
                  <a:lnTo>
                    <a:pt x="447" y="600"/>
                  </a:lnTo>
                  <a:lnTo>
                    <a:pt x="461" y="583"/>
                  </a:lnTo>
                  <a:lnTo>
                    <a:pt x="481" y="568"/>
                  </a:lnTo>
                  <a:lnTo>
                    <a:pt x="499" y="573"/>
                  </a:lnTo>
                  <a:lnTo>
                    <a:pt x="512" y="563"/>
                  </a:lnTo>
                  <a:lnTo>
                    <a:pt x="525" y="578"/>
                  </a:lnTo>
                  <a:lnTo>
                    <a:pt x="520" y="588"/>
                  </a:lnTo>
                  <a:lnTo>
                    <a:pt x="542" y="591"/>
                  </a:lnTo>
                  <a:lnTo>
                    <a:pt x="554" y="590"/>
                  </a:lnTo>
                  <a:lnTo>
                    <a:pt x="564" y="603"/>
                  </a:lnTo>
                  <a:lnTo>
                    <a:pt x="574" y="609"/>
                  </a:lnTo>
                  <a:lnTo>
                    <a:pt x="579" y="627"/>
                  </a:lnTo>
                  <a:lnTo>
                    <a:pt x="582" y="647"/>
                  </a:lnTo>
                  <a:lnTo>
                    <a:pt x="567" y="667"/>
                  </a:lnTo>
                  <a:lnTo>
                    <a:pt x="569" y="695"/>
                  </a:lnTo>
                  <a:lnTo>
                    <a:pt x="590" y="691"/>
                  </a:lnTo>
                  <a:lnTo>
                    <a:pt x="598" y="713"/>
                  </a:lnTo>
                  <a:lnTo>
                    <a:pt x="612" y="718"/>
                  </a:lnTo>
                  <a:lnTo>
                    <a:pt x="610" y="738"/>
                  </a:lnTo>
                  <a:lnTo>
                    <a:pt x="626" y="746"/>
                  </a:lnTo>
                  <a:lnTo>
                    <a:pt x="636" y="751"/>
                  </a:lnTo>
                  <a:lnTo>
                    <a:pt x="650" y="744"/>
                  </a:lnTo>
                  <a:lnTo>
                    <a:pt x="653" y="754"/>
                  </a:lnTo>
                  <a:lnTo>
                    <a:pt x="654" y="759"/>
                  </a:lnTo>
                  <a:lnTo>
                    <a:pt x="666" y="760"/>
                  </a:lnTo>
                  <a:lnTo>
                    <a:pt x="658" y="733"/>
                  </a:lnTo>
                  <a:lnTo>
                    <a:pt x="668" y="729"/>
                  </a:lnTo>
                  <a:lnTo>
                    <a:pt x="679" y="724"/>
                  </a:lnTo>
                  <a:lnTo>
                    <a:pt x="695" y="724"/>
                  </a:lnTo>
                  <a:lnTo>
                    <a:pt x="714" y="721"/>
                  </a:lnTo>
                  <a:lnTo>
                    <a:pt x="730" y="708"/>
                  </a:lnTo>
                  <a:lnTo>
                    <a:pt x="741" y="717"/>
                  </a:lnTo>
                  <a:lnTo>
                    <a:pt x="761" y="721"/>
                  </a:lnTo>
                  <a:lnTo>
                    <a:pt x="760" y="735"/>
                  </a:lnTo>
                  <a:lnTo>
                    <a:pt x="771" y="745"/>
                  </a:lnTo>
                  <a:lnTo>
                    <a:pt x="793" y="751"/>
                  </a:lnTo>
                  <a:lnTo>
                    <a:pt x="802" y="747"/>
                  </a:lnTo>
                  <a:lnTo>
                    <a:pt x="831" y="754"/>
                  </a:lnTo>
                  <a:lnTo>
                    <a:pt x="827" y="764"/>
                  </a:lnTo>
                  <a:lnTo>
                    <a:pt x="836" y="781"/>
                  </a:lnTo>
                  <a:lnTo>
                    <a:pt x="847" y="780"/>
                  </a:lnTo>
                  <a:lnTo>
                    <a:pt x="850" y="754"/>
                  </a:lnTo>
                  <a:lnTo>
                    <a:pt x="871" y="751"/>
                  </a:lnTo>
                  <a:lnTo>
                    <a:pt x="897" y="740"/>
                  </a:lnTo>
                  <a:lnTo>
                    <a:pt x="907" y="727"/>
                  </a:lnTo>
                  <a:lnTo>
                    <a:pt x="916" y="735"/>
                  </a:lnTo>
                  <a:lnTo>
                    <a:pt x="926" y="725"/>
                  </a:lnTo>
                  <a:lnTo>
                    <a:pt x="949" y="722"/>
                  </a:lnTo>
                  <a:lnTo>
                    <a:pt x="974" y="702"/>
                  </a:lnTo>
                  <a:lnTo>
                    <a:pt x="997" y="680"/>
                  </a:lnTo>
                  <a:lnTo>
                    <a:pt x="1009" y="652"/>
                  </a:lnTo>
                  <a:lnTo>
                    <a:pt x="1018" y="620"/>
                  </a:lnTo>
                  <a:lnTo>
                    <a:pt x="1026" y="594"/>
                  </a:lnTo>
                  <a:lnTo>
                    <a:pt x="1036" y="592"/>
                  </a:lnTo>
                  <a:lnTo>
                    <a:pt x="1035" y="573"/>
                  </a:lnTo>
                  <a:lnTo>
                    <a:pt x="1033" y="555"/>
                  </a:lnTo>
                  <a:lnTo>
                    <a:pt x="1019" y="547"/>
                  </a:lnTo>
                  <a:lnTo>
                    <a:pt x="1009" y="534"/>
                  </a:lnTo>
                  <a:lnTo>
                    <a:pt x="1019" y="528"/>
                  </a:lnTo>
                  <a:lnTo>
                    <a:pt x="1014" y="510"/>
                  </a:lnTo>
                  <a:lnTo>
                    <a:pt x="993" y="492"/>
                  </a:lnTo>
                  <a:lnTo>
                    <a:pt x="974" y="471"/>
                  </a:lnTo>
                  <a:lnTo>
                    <a:pt x="956" y="446"/>
                  </a:lnTo>
                  <a:lnTo>
                    <a:pt x="930" y="433"/>
                  </a:lnTo>
                  <a:lnTo>
                    <a:pt x="933" y="416"/>
                  </a:lnTo>
                  <a:lnTo>
                    <a:pt x="948" y="404"/>
                  </a:lnTo>
                  <a:lnTo>
                    <a:pt x="951" y="391"/>
                  </a:lnTo>
                  <a:lnTo>
                    <a:pt x="976" y="385"/>
                  </a:lnTo>
                  <a:lnTo>
                    <a:pt x="967" y="372"/>
                  </a:lnTo>
                  <a:lnTo>
                    <a:pt x="954" y="372"/>
                  </a:lnTo>
                  <a:lnTo>
                    <a:pt x="933" y="362"/>
                  </a:lnTo>
                  <a:lnTo>
                    <a:pt x="918" y="379"/>
                  </a:lnTo>
                  <a:lnTo>
                    <a:pt x="900" y="372"/>
                  </a:lnTo>
                  <a:lnTo>
                    <a:pt x="894" y="361"/>
                  </a:lnTo>
                  <a:lnTo>
                    <a:pt x="877" y="358"/>
                  </a:lnTo>
                  <a:lnTo>
                    <a:pt x="859" y="341"/>
                  </a:lnTo>
                  <a:lnTo>
                    <a:pt x="864" y="330"/>
                  </a:lnTo>
                  <a:lnTo>
                    <a:pt x="882" y="329"/>
                  </a:lnTo>
                  <a:lnTo>
                    <a:pt x="887" y="314"/>
                  </a:lnTo>
                  <a:lnTo>
                    <a:pt x="900" y="297"/>
                  </a:lnTo>
                  <a:lnTo>
                    <a:pt x="913" y="289"/>
                  </a:lnTo>
                  <a:lnTo>
                    <a:pt x="929" y="301"/>
                  </a:lnTo>
                  <a:lnTo>
                    <a:pt x="922" y="317"/>
                  </a:lnTo>
                  <a:lnTo>
                    <a:pt x="931" y="326"/>
                  </a:lnTo>
                  <a:lnTo>
                    <a:pt x="925" y="337"/>
                  </a:lnTo>
                  <a:lnTo>
                    <a:pt x="944" y="331"/>
                  </a:lnTo>
                  <a:lnTo>
                    <a:pt x="952" y="319"/>
                  </a:lnTo>
                  <a:lnTo>
                    <a:pt x="976" y="313"/>
                  </a:lnTo>
                  <a:lnTo>
                    <a:pt x="984" y="298"/>
                  </a:lnTo>
                  <a:lnTo>
                    <a:pt x="998" y="285"/>
                  </a:lnTo>
                  <a:lnTo>
                    <a:pt x="1002" y="269"/>
                  </a:lnTo>
                  <a:lnTo>
                    <a:pt x="1015" y="276"/>
                  </a:lnTo>
                  <a:lnTo>
                    <a:pt x="1033" y="276"/>
                  </a:lnTo>
                  <a:lnTo>
                    <a:pt x="1022" y="264"/>
                  </a:lnTo>
                  <a:lnTo>
                    <a:pt x="1046" y="255"/>
                  </a:lnTo>
                  <a:lnTo>
                    <a:pt x="1046" y="242"/>
                  </a:lnTo>
                  <a:lnTo>
                    <a:pt x="1066" y="255"/>
                  </a:lnTo>
                  <a:lnTo>
                    <a:pt x="1066" y="255"/>
                  </a:lnTo>
                  <a:lnTo>
                    <a:pt x="1059" y="244"/>
                  </a:lnTo>
                  <a:lnTo>
                    <a:pt x="1068" y="243"/>
                  </a:lnTo>
                  <a:lnTo>
                    <a:pt x="1054" y="216"/>
                  </a:lnTo>
                  <a:lnTo>
                    <a:pt x="1036" y="196"/>
                  </a:lnTo>
                  <a:lnTo>
                    <a:pt x="1048" y="188"/>
                  </a:lnTo>
                  <a:lnTo>
                    <a:pt x="1073" y="192"/>
                  </a:lnTo>
                  <a:lnTo>
                    <a:pt x="1071" y="170"/>
                  </a:lnTo>
                  <a:lnTo>
                    <a:pt x="1060" y="144"/>
                  </a:lnTo>
                  <a:lnTo>
                    <a:pt x="1062" y="135"/>
                  </a:lnTo>
                  <a:lnTo>
                    <a:pt x="1057" y="115"/>
                  </a:lnTo>
                  <a:lnTo>
                    <a:pt x="1031" y="121"/>
                  </a:lnTo>
                  <a:lnTo>
                    <a:pt x="1021" y="131"/>
                  </a:lnTo>
                  <a:lnTo>
                    <a:pt x="993" y="131"/>
                  </a:lnTo>
                  <a:lnTo>
                    <a:pt x="971" y="109"/>
                  </a:lnTo>
                  <a:lnTo>
                    <a:pt x="937" y="92"/>
                  </a:lnTo>
                  <a:lnTo>
                    <a:pt x="901" y="85"/>
                  </a:lnTo>
                  <a:lnTo>
                    <a:pt x="901" y="85"/>
                  </a:lnTo>
                  <a:close/>
                </a:path>
              </a:pathLst>
            </a:custGeom>
            <a:solidFill>
              <a:srgbClr val="005296"/>
            </a:solid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Côte d'Ivoire"/>
            <p:cNvSpPr>
              <a:spLocks/>
            </p:cNvSpPr>
            <p:nvPr/>
          </p:nvSpPr>
          <p:spPr bwMode="auto">
            <a:xfrm>
              <a:off x="5715000" y="4086226"/>
              <a:ext cx="200025" cy="233363"/>
            </a:xfrm>
            <a:custGeom>
              <a:avLst/>
              <a:gdLst>
                <a:gd name="T0" fmla="*/ 67 w 126"/>
                <a:gd name="T1" fmla="*/ 4 h 147"/>
                <a:gd name="T2" fmla="*/ 59 w 126"/>
                <a:gd name="T3" fmla="*/ 7 h 147"/>
                <a:gd name="T4" fmla="*/ 54 w 126"/>
                <a:gd name="T5" fmla="*/ 10 h 147"/>
                <a:gd name="T6" fmla="*/ 51 w 126"/>
                <a:gd name="T7" fmla="*/ 0 h 147"/>
                <a:gd name="T8" fmla="*/ 45 w 126"/>
                <a:gd name="T9" fmla="*/ 3 h 147"/>
                <a:gd name="T10" fmla="*/ 41 w 126"/>
                <a:gd name="T11" fmla="*/ 2 h 147"/>
                <a:gd name="T12" fmla="*/ 38 w 126"/>
                <a:gd name="T13" fmla="*/ 9 h 147"/>
                <a:gd name="T14" fmla="*/ 21 w 126"/>
                <a:gd name="T15" fmla="*/ 8 h 147"/>
                <a:gd name="T16" fmla="*/ 15 w 126"/>
                <a:gd name="T17" fmla="*/ 5 h 147"/>
                <a:gd name="T18" fmla="*/ 12 w 126"/>
                <a:gd name="T19" fmla="*/ 8 h 147"/>
                <a:gd name="T20" fmla="*/ 9 w 126"/>
                <a:gd name="T21" fmla="*/ 9 h 147"/>
                <a:gd name="T22" fmla="*/ 7 w 126"/>
                <a:gd name="T23" fmla="*/ 18 h 147"/>
                <a:gd name="T24" fmla="*/ 11 w 126"/>
                <a:gd name="T25" fmla="*/ 27 h 147"/>
                <a:gd name="T26" fmla="*/ 16 w 126"/>
                <a:gd name="T27" fmla="*/ 46 h 147"/>
                <a:gd name="T28" fmla="*/ 9 w 126"/>
                <a:gd name="T29" fmla="*/ 50 h 147"/>
                <a:gd name="T30" fmla="*/ 7 w 126"/>
                <a:gd name="T31" fmla="*/ 52 h 147"/>
                <a:gd name="T32" fmla="*/ 8 w 126"/>
                <a:gd name="T33" fmla="*/ 57 h 147"/>
                <a:gd name="T34" fmla="*/ 7 w 126"/>
                <a:gd name="T35" fmla="*/ 67 h 147"/>
                <a:gd name="T36" fmla="*/ 4 w 126"/>
                <a:gd name="T37" fmla="*/ 67 h 147"/>
                <a:gd name="T38" fmla="*/ 2 w 126"/>
                <a:gd name="T39" fmla="*/ 74 h 147"/>
                <a:gd name="T40" fmla="*/ 5 w 126"/>
                <a:gd name="T41" fmla="*/ 86 h 147"/>
                <a:gd name="T42" fmla="*/ 0 w 126"/>
                <a:gd name="T43" fmla="*/ 96 h 147"/>
                <a:gd name="T44" fmla="*/ 6 w 126"/>
                <a:gd name="T45" fmla="*/ 103 h 147"/>
                <a:gd name="T46" fmla="*/ 13 w 126"/>
                <a:gd name="T47" fmla="*/ 105 h 147"/>
                <a:gd name="T48" fmla="*/ 22 w 126"/>
                <a:gd name="T49" fmla="*/ 115 h 147"/>
                <a:gd name="T50" fmla="*/ 23 w 126"/>
                <a:gd name="T51" fmla="*/ 124 h 147"/>
                <a:gd name="T52" fmla="*/ 21 w 126"/>
                <a:gd name="T53" fmla="*/ 127 h 147"/>
                <a:gd name="T54" fmla="*/ 19 w 126"/>
                <a:gd name="T55" fmla="*/ 147 h 147"/>
                <a:gd name="T56" fmla="*/ 23 w 126"/>
                <a:gd name="T57" fmla="*/ 147 h 147"/>
                <a:gd name="T58" fmla="*/ 43 w 126"/>
                <a:gd name="T59" fmla="*/ 138 h 147"/>
                <a:gd name="T60" fmla="*/ 58 w 126"/>
                <a:gd name="T61" fmla="*/ 132 h 147"/>
                <a:gd name="T62" fmla="*/ 82 w 126"/>
                <a:gd name="T63" fmla="*/ 127 h 147"/>
                <a:gd name="T64" fmla="*/ 96 w 126"/>
                <a:gd name="T65" fmla="*/ 127 h 147"/>
                <a:gd name="T66" fmla="*/ 110 w 126"/>
                <a:gd name="T67" fmla="*/ 132 h 147"/>
                <a:gd name="T68" fmla="*/ 121 w 126"/>
                <a:gd name="T69" fmla="*/ 132 h 147"/>
                <a:gd name="T70" fmla="*/ 122 w 126"/>
                <a:gd name="T71" fmla="*/ 122 h 147"/>
                <a:gd name="T72" fmla="*/ 112 w 126"/>
                <a:gd name="T73" fmla="*/ 102 h 147"/>
                <a:gd name="T74" fmla="*/ 118 w 126"/>
                <a:gd name="T75" fmla="*/ 75 h 147"/>
                <a:gd name="T76" fmla="*/ 126 w 126"/>
                <a:gd name="T77" fmla="*/ 55 h 147"/>
                <a:gd name="T78" fmla="*/ 122 w 126"/>
                <a:gd name="T79" fmla="*/ 21 h 147"/>
                <a:gd name="T80" fmla="*/ 107 w 126"/>
                <a:gd name="T81" fmla="*/ 15 h 147"/>
                <a:gd name="T82" fmla="*/ 97 w 126"/>
                <a:gd name="T83" fmla="*/ 16 h 147"/>
                <a:gd name="T84" fmla="*/ 90 w 126"/>
                <a:gd name="T85" fmla="*/ 22 h 147"/>
                <a:gd name="T86" fmla="*/ 81 w 126"/>
                <a:gd name="T87" fmla="*/ 17 h 147"/>
                <a:gd name="T88" fmla="*/ 77 w 126"/>
                <a:gd name="T89" fmla="*/ 8 h 147"/>
                <a:gd name="T90" fmla="*/ 67 w 126"/>
                <a:gd name="T91" fmla="*/ 4 h 147"/>
                <a:gd name="T92" fmla="*/ 67 w 126"/>
                <a:gd name="T93"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47">
                  <a:moveTo>
                    <a:pt x="67" y="4"/>
                  </a:moveTo>
                  <a:lnTo>
                    <a:pt x="59" y="7"/>
                  </a:lnTo>
                  <a:lnTo>
                    <a:pt x="54" y="10"/>
                  </a:lnTo>
                  <a:lnTo>
                    <a:pt x="51" y="0"/>
                  </a:lnTo>
                  <a:lnTo>
                    <a:pt x="45" y="3"/>
                  </a:lnTo>
                  <a:lnTo>
                    <a:pt x="41" y="2"/>
                  </a:lnTo>
                  <a:lnTo>
                    <a:pt x="38" y="9"/>
                  </a:lnTo>
                  <a:lnTo>
                    <a:pt x="21" y="8"/>
                  </a:lnTo>
                  <a:lnTo>
                    <a:pt x="15" y="5"/>
                  </a:lnTo>
                  <a:lnTo>
                    <a:pt x="12" y="8"/>
                  </a:lnTo>
                  <a:lnTo>
                    <a:pt x="9" y="9"/>
                  </a:lnTo>
                  <a:lnTo>
                    <a:pt x="7" y="18"/>
                  </a:lnTo>
                  <a:lnTo>
                    <a:pt x="11" y="27"/>
                  </a:lnTo>
                  <a:lnTo>
                    <a:pt x="16" y="46"/>
                  </a:lnTo>
                  <a:lnTo>
                    <a:pt x="9" y="50"/>
                  </a:lnTo>
                  <a:lnTo>
                    <a:pt x="7" y="52"/>
                  </a:lnTo>
                  <a:lnTo>
                    <a:pt x="8" y="57"/>
                  </a:lnTo>
                  <a:lnTo>
                    <a:pt x="7" y="67"/>
                  </a:lnTo>
                  <a:lnTo>
                    <a:pt x="4" y="67"/>
                  </a:lnTo>
                  <a:lnTo>
                    <a:pt x="2" y="74"/>
                  </a:lnTo>
                  <a:lnTo>
                    <a:pt x="5" y="86"/>
                  </a:lnTo>
                  <a:lnTo>
                    <a:pt x="0" y="96"/>
                  </a:lnTo>
                  <a:lnTo>
                    <a:pt x="6" y="103"/>
                  </a:lnTo>
                  <a:lnTo>
                    <a:pt x="13" y="105"/>
                  </a:lnTo>
                  <a:lnTo>
                    <a:pt x="22" y="115"/>
                  </a:lnTo>
                  <a:lnTo>
                    <a:pt x="23" y="124"/>
                  </a:lnTo>
                  <a:lnTo>
                    <a:pt x="21" y="127"/>
                  </a:lnTo>
                  <a:lnTo>
                    <a:pt x="19" y="147"/>
                  </a:lnTo>
                  <a:lnTo>
                    <a:pt x="23" y="147"/>
                  </a:lnTo>
                  <a:lnTo>
                    <a:pt x="43" y="138"/>
                  </a:lnTo>
                  <a:lnTo>
                    <a:pt x="58" y="132"/>
                  </a:lnTo>
                  <a:lnTo>
                    <a:pt x="82" y="127"/>
                  </a:lnTo>
                  <a:lnTo>
                    <a:pt x="96" y="127"/>
                  </a:lnTo>
                  <a:lnTo>
                    <a:pt x="110" y="132"/>
                  </a:lnTo>
                  <a:lnTo>
                    <a:pt x="121" y="132"/>
                  </a:lnTo>
                  <a:lnTo>
                    <a:pt x="122" y="122"/>
                  </a:lnTo>
                  <a:lnTo>
                    <a:pt x="112" y="102"/>
                  </a:lnTo>
                  <a:lnTo>
                    <a:pt x="118" y="75"/>
                  </a:lnTo>
                  <a:lnTo>
                    <a:pt x="126" y="55"/>
                  </a:lnTo>
                  <a:lnTo>
                    <a:pt x="122" y="21"/>
                  </a:lnTo>
                  <a:lnTo>
                    <a:pt x="107" y="15"/>
                  </a:lnTo>
                  <a:lnTo>
                    <a:pt x="97" y="16"/>
                  </a:lnTo>
                  <a:lnTo>
                    <a:pt x="90" y="22"/>
                  </a:lnTo>
                  <a:lnTo>
                    <a:pt x="81" y="17"/>
                  </a:lnTo>
                  <a:lnTo>
                    <a:pt x="77" y="8"/>
                  </a:lnTo>
                  <a:lnTo>
                    <a:pt x="67" y="4"/>
                  </a:lnTo>
                  <a:lnTo>
                    <a:pt x="67" y="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6" name="Cameroon"/>
            <p:cNvSpPr>
              <a:spLocks/>
            </p:cNvSpPr>
            <p:nvPr/>
          </p:nvSpPr>
          <p:spPr bwMode="auto">
            <a:xfrm>
              <a:off x="6284912" y="3997326"/>
              <a:ext cx="250825" cy="420688"/>
            </a:xfrm>
            <a:custGeom>
              <a:avLst/>
              <a:gdLst>
                <a:gd name="T0" fmla="*/ 132 w 158"/>
                <a:gd name="T1" fmla="*/ 48 h 265"/>
                <a:gd name="T2" fmla="*/ 133 w 158"/>
                <a:gd name="T3" fmla="*/ 31 h 265"/>
                <a:gd name="T4" fmla="*/ 131 w 158"/>
                <a:gd name="T5" fmla="*/ 16 h 265"/>
                <a:gd name="T6" fmla="*/ 123 w 158"/>
                <a:gd name="T7" fmla="*/ 0 h 265"/>
                <a:gd name="T8" fmla="*/ 117 w 158"/>
                <a:gd name="T9" fmla="*/ 2 h 265"/>
                <a:gd name="T10" fmla="*/ 116 w 158"/>
                <a:gd name="T11" fmla="*/ 9 h 265"/>
                <a:gd name="T12" fmla="*/ 125 w 158"/>
                <a:gd name="T13" fmla="*/ 19 h 265"/>
                <a:gd name="T14" fmla="*/ 123 w 158"/>
                <a:gd name="T15" fmla="*/ 23 h 265"/>
                <a:gd name="T16" fmla="*/ 122 w 158"/>
                <a:gd name="T17" fmla="*/ 31 h 265"/>
                <a:gd name="T18" fmla="*/ 104 w 158"/>
                <a:gd name="T19" fmla="*/ 50 h 265"/>
                <a:gd name="T20" fmla="*/ 99 w 158"/>
                <a:gd name="T21" fmla="*/ 64 h 265"/>
                <a:gd name="T22" fmla="*/ 97 w 158"/>
                <a:gd name="T23" fmla="*/ 77 h 265"/>
                <a:gd name="T24" fmla="*/ 92 w 158"/>
                <a:gd name="T25" fmla="*/ 82 h 265"/>
                <a:gd name="T26" fmla="*/ 88 w 158"/>
                <a:gd name="T27" fmla="*/ 99 h 265"/>
                <a:gd name="T28" fmla="*/ 76 w 158"/>
                <a:gd name="T29" fmla="*/ 108 h 265"/>
                <a:gd name="T30" fmla="*/ 74 w 158"/>
                <a:gd name="T31" fmla="*/ 120 h 265"/>
                <a:gd name="T32" fmla="*/ 69 w 158"/>
                <a:gd name="T33" fmla="*/ 130 h 265"/>
                <a:gd name="T34" fmla="*/ 67 w 158"/>
                <a:gd name="T35" fmla="*/ 140 h 265"/>
                <a:gd name="T36" fmla="*/ 53 w 158"/>
                <a:gd name="T37" fmla="*/ 149 h 265"/>
                <a:gd name="T38" fmla="*/ 41 w 158"/>
                <a:gd name="T39" fmla="*/ 138 h 265"/>
                <a:gd name="T40" fmla="*/ 33 w 158"/>
                <a:gd name="T41" fmla="*/ 139 h 265"/>
                <a:gd name="T42" fmla="*/ 20 w 158"/>
                <a:gd name="T43" fmla="*/ 152 h 265"/>
                <a:gd name="T44" fmla="*/ 15 w 158"/>
                <a:gd name="T45" fmla="*/ 153 h 265"/>
                <a:gd name="T46" fmla="*/ 4 w 158"/>
                <a:gd name="T47" fmla="*/ 176 h 265"/>
                <a:gd name="T48" fmla="*/ 0 w 158"/>
                <a:gd name="T49" fmla="*/ 192 h 265"/>
                <a:gd name="T50" fmla="*/ 0 w 158"/>
                <a:gd name="T51" fmla="*/ 199 h 265"/>
                <a:gd name="T52" fmla="*/ 4 w 158"/>
                <a:gd name="T53" fmla="*/ 203 h 265"/>
                <a:gd name="T54" fmla="*/ 9 w 158"/>
                <a:gd name="T55" fmla="*/ 213 h 265"/>
                <a:gd name="T56" fmla="*/ 18 w 158"/>
                <a:gd name="T57" fmla="*/ 218 h 265"/>
                <a:gd name="T58" fmla="*/ 27 w 158"/>
                <a:gd name="T59" fmla="*/ 233 h 265"/>
                <a:gd name="T60" fmla="*/ 24 w 158"/>
                <a:gd name="T61" fmla="*/ 251 h 265"/>
                <a:gd name="T62" fmla="*/ 58 w 158"/>
                <a:gd name="T63" fmla="*/ 252 h 265"/>
                <a:gd name="T64" fmla="*/ 68 w 158"/>
                <a:gd name="T65" fmla="*/ 251 h 265"/>
                <a:gd name="T66" fmla="*/ 80 w 158"/>
                <a:gd name="T67" fmla="*/ 254 h 265"/>
                <a:gd name="T68" fmla="*/ 93 w 158"/>
                <a:gd name="T69" fmla="*/ 251 h 265"/>
                <a:gd name="T70" fmla="*/ 96 w 158"/>
                <a:gd name="T71" fmla="*/ 252 h 265"/>
                <a:gd name="T72" fmla="*/ 122 w 158"/>
                <a:gd name="T73" fmla="*/ 253 h 265"/>
                <a:gd name="T74" fmla="*/ 139 w 158"/>
                <a:gd name="T75" fmla="*/ 260 h 265"/>
                <a:gd name="T76" fmla="*/ 156 w 158"/>
                <a:gd name="T77" fmla="*/ 265 h 265"/>
                <a:gd name="T78" fmla="*/ 158 w 158"/>
                <a:gd name="T79" fmla="*/ 252 h 265"/>
                <a:gd name="T80" fmla="*/ 155 w 158"/>
                <a:gd name="T81" fmla="*/ 246 h 265"/>
                <a:gd name="T82" fmla="*/ 154 w 158"/>
                <a:gd name="T83" fmla="*/ 234 h 265"/>
                <a:gd name="T84" fmla="*/ 144 w 158"/>
                <a:gd name="T85" fmla="*/ 227 h 265"/>
                <a:gd name="T86" fmla="*/ 136 w 158"/>
                <a:gd name="T87" fmla="*/ 215 h 265"/>
                <a:gd name="T88" fmla="*/ 134 w 158"/>
                <a:gd name="T89" fmla="*/ 206 h 265"/>
                <a:gd name="T90" fmla="*/ 125 w 158"/>
                <a:gd name="T91" fmla="*/ 193 h 265"/>
                <a:gd name="T92" fmla="*/ 127 w 158"/>
                <a:gd name="T93" fmla="*/ 187 h 265"/>
                <a:gd name="T94" fmla="*/ 124 w 158"/>
                <a:gd name="T95" fmla="*/ 177 h 265"/>
                <a:gd name="T96" fmla="*/ 126 w 158"/>
                <a:gd name="T97" fmla="*/ 158 h 265"/>
                <a:gd name="T98" fmla="*/ 130 w 158"/>
                <a:gd name="T99" fmla="*/ 154 h 265"/>
                <a:gd name="T100" fmla="*/ 141 w 158"/>
                <a:gd name="T101" fmla="*/ 130 h 265"/>
                <a:gd name="T102" fmla="*/ 144 w 158"/>
                <a:gd name="T103" fmla="*/ 123 h 265"/>
                <a:gd name="T104" fmla="*/ 138 w 158"/>
                <a:gd name="T105" fmla="*/ 106 h 265"/>
                <a:gd name="T106" fmla="*/ 134 w 158"/>
                <a:gd name="T107" fmla="*/ 97 h 265"/>
                <a:gd name="T108" fmla="*/ 125 w 158"/>
                <a:gd name="T109" fmla="*/ 92 h 265"/>
                <a:gd name="T110" fmla="*/ 113 w 158"/>
                <a:gd name="T111" fmla="*/ 79 h 265"/>
                <a:gd name="T112" fmla="*/ 117 w 158"/>
                <a:gd name="T113" fmla="*/ 68 h 265"/>
                <a:gd name="T114" fmla="*/ 127 w 158"/>
                <a:gd name="T115" fmla="*/ 70 h 265"/>
                <a:gd name="T116" fmla="*/ 132 w 158"/>
                <a:gd name="T117" fmla="*/ 68 h 265"/>
                <a:gd name="T118" fmla="*/ 144 w 158"/>
                <a:gd name="T119" fmla="*/ 69 h 265"/>
                <a:gd name="T120" fmla="*/ 132 w 158"/>
                <a:gd name="T121" fmla="*/ 48 h 265"/>
                <a:gd name="T122" fmla="*/ 132 w 158"/>
                <a:gd name="T123" fmla="*/ 4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265">
                  <a:moveTo>
                    <a:pt x="132" y="48"/>
                  </a:moveTo>
                  <a:lnTo>
                    <a:pt x="133" y="31"/>
                  </a:lnTo>
                  <a:lnTo>
                    <a:pt x="131" y="16"/>
                  </a:lnTo>
                  <a:lnTo>
                    <a:pt x="123" y="0"/>
                  </a:lnTo>
                  <a:lnTo>
                    <a:pt x="117" y="2"/>
                  </a:lnTo>
                  <a:lnTo>
                    <a:pt x="116" y="9"/>
                  </a:lnTo>
                  <a:lnTo>
                    <a:pt x="125" y="19"/>
                  </a:lnTo>
                  <a:lnTo>
                    <a:pt x="123" y="23"/>
                  </a:lnTo>
                  <a:lnTo>
                    <a:pt x="122" y="31"/>
                  </a:lnTo>
                  <a:lnTo>
                    <a:pt x="104" y="50"/>
                  </a:lnTo>
                  <a:lnTo>
                    <a:pt x="99" y="64"/>
                  </a:lnTo>
                  <a:lnTo>
                    <a:pt x="97" y="77"/>
                  </a:lnTo>
                  <a:lnTo>
                    <a:pt x="92" y="82"/>
                  </a:lnTo>
                  <a:lnTo>
                    <a:pt x="88" y="99"/>
                  </a:lnTo>
                  <a:lnTo>
                    <a:pt x="76" y="108"/>
                  </a:lnTo>
                  <a:lnTo>
                    <a:pt x="74" y="120"/>
                  </a:lnTo>
                  <a:lnTo>
                    <a:pt x="69" y="130"/>
                  </a:lnTo>
                  <a:lnTo>
                    <a:pt x="67" y="140"/>
                  </a:lnTo>
                  <a:lnTo>
                    <a:pt x="53" y="149"/>
                  </a:lnTo>
                  <a:lnTo>
                    <a:pt x="41" y="138"/>
                  </a:lnTo>
                  <a:lnTo>
                    <a:pt x="33" y="139"/>
                  </a:lnTo>
                  <a:lnTo>
                    <a:pt x="20" y="152"/>
                  </a:lnTo>
                  <a:lnTo>
                    <a:pt x="15" y="153"/>
                  </a:lnTo>
                  <a:lnTo>
                    <a:pt x="4" y="176"/>
                  </a:lnTo>
                  <a:lnTo>
                    <a:pt x="0" y="192"/>
                  </a:lnTo>
                  <a:lnTo>
                    <a:pt x="0" y="199"/>
                  </a:lnTo>
                  <a:lnTo>
                    <a:pt x="4" y="203"/>
                  </a:lnTo>
                  <a:lnTo>
                    <a:pt x="9" y="213"/>
                  </a:lnTo>
                  <a:lnTo>
                    <a:pt x="18" y="218"/>
                  </a:lnTo>
                  <a:lnTo>
                    <a:pt x="27" y="233"/>
                  </a:lnTo>
                  <a:lnTo>
                    <a:pt x="24" y="251"/>
                  </a:lnTo>
                  <a:lnTo>
                    <a:pt x="58" y="252"/>
                  </a:lnTo>
                  <a:lnTo>
                    <a:pt x="68" y="251"/>
                  </a:lnTo>
                  <a:lnTo>
                    <a:pt x="80" y="254"/>
                  </a:lnTo>
                  <a:lnTo>
                    <a:pt x="93" y="251"/>
                  </a:lnTo>
                  <a:lnTo>
                    <a:pt x="96" y="252"/>
                  </a:lnTo>
                  <a:lnTo>
                    <a:pt x="122" y="253"/>
                  </a:lnTo>
                  <a:lnTo>
                    <a:pt x="139" y="260"/>
                  </a:lnTo>
                  <a:lnTo>
                    <a:pt x="156" y="265"/>
                  </a:lnTo>
                  <a:lnTo>
                    <a:pt x="158" y="252"/>
                  </a:lnTo>
                  <a:lnTo>
                    <a:pt x="155" y="246"/>
                  </a:lnTo>
                  <a:lnTo>
                    <a:pt x="154" y="234"/>
                  </a:lnTo>
                  <a:lnTo>
                    <a:pt x="144" y="227"/>
                  </a:lnTo>
                  <a:lnTo>
                    <a:pt x="136" y="215"/>
                  </a:lnTo>
                  <a:lnTo>
                    <a:pt x="134" y="206"/>
                  </a:lnTo>
                  <a:lnTo>
                    <a:pt x="125" y="193"/>
                  </a:lnTo>
                  <a:lnTo>
                    <a:pt x="127" y="187"/>
                  </a:lnTo>
                  <a:lnTo>
                    <a:pt x="124" y="177"/>
                  </a:lnTo>
                  <a:lnTo>
                    <a:pt x="126" y="158"/>
                  </a:lnTo>
                  <a:lnTo>
                    <a:pt x="130" y="154"/>
                  </a:lnTo>
                  <a:lnTo>
                    <a:pt x="141" y="130"/>
                  </a:lnTo>
                  <a:lnTo>
                    <a:pt x="144" y="123"/>
                  </a:lnTo>
                  <a:lnTo>
                    <a:pt x="138" y="106"/>
                  </a:lnTo>
                  <a:lnTo>
                    <a:pt x="134" y="97"/>
                  </a:lnTo>
                  <a:lnTo>
                    <a:pt x="125" y="92"/>
                  </a:lnTo>
                  <a:lnTo>
                    <a:pt x="113" y="79"/>
                  </a:lnTo>
                  <a:lnTo>
                    <a:pt x="117" y="68"/>
                  </a:lnTo>
                  <a:lnTo>
                    <a:pt x="127" y="70"/>
                  </a:lnTo>
                  <a:lnTo>
                    <a:pt x="132" y="68"/>
                  </a:lnTo>
                  <a:lnTo>
                    <a:pt x="144" y="69"/>
                  </a:lnTo>
                  <a:lnTo>
                    <a:pt x="132" y="48"/>
                  </a:lnTo>
                  <a:lnTo>
                    <a:pt x="132" y="4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7" name="Democratic Republic of Congo"/>
            <p:cNvSpPr>
              <a:spLocks/>
            </p:cNvSpPr>
            <p:nvPr/>
          </p:nvSpPr>
          <p:spPr bwMode="auto">
            <a:xfrm>
              <a:off x="6405562" y="4284663"/>
              <a:ext cx="635000" cy="698500"/>
            </a:xfrm>
            <a:custGeom>
              <a:avLst/>
              <a:gdLst>
                <a:gd name="T0" fmla="*/ 275 w 400"/>
                <a:gd name="T1" fmla="*/ 2 h 440"/>
                <a:gd name="T2" fmla="*/ 257 w 400"/>
                <a:gd name="T3" fmla="*/ 4 h 440"/>
                <a:gd name="T4" fmla="*/ 221 w 400"/>
                <a:gd name="T5" fmla="*/ 15 h 440"/>
                <a:gd name="T6" fmla="*/ 184 w 400"/>
                <a:gd name="T7" fmla="*/ 23 h 440"/>
                <a:gd name="T8" fmla="*/ 142 w 400"/>
                <a:gd name="T9" fmla="*/ 13 h 440"/>
                <a:gd name="T10" fmla="*/ 131 w 400"/>
                <a:gd name="T11" fmla="*/ 56 h 440"/>
                <a:gd name="T12" fmla="*/ 118 w 400"/>
                <a:gd name="T13" fmla="*/ 105 h 440"/>
                <a:gd name="T14" fmla="*/ 115 w 400"/>
                <a:gd name="T15" fmla="*/ 136 h 440"/>
                <a:gd name="T16" fmla="*/ 90 w 400"/>
                <a:gd name="T17" fmla="*/ 166 h 440"/>
                <a:gd name="T18" fmla="*/ 76 w 400"/>
                <a:gd name="T19" fmla="*/ 217 h 440"/>
                <a:gd name="T20" fmla="*/ 43 w 400"/>
                <a:gd name="T21" fmla="*/ 239 h 440"/>
                <a:gd name="T22" fmla="*/ 23 w 400"/>
                <a:gd name="T23" fmla="*/ 241 h 440"/>
                <a:gd name="T24" fmla="*/ 7 w 400"/>
                <a:gd name="T25" fmla="*/ 249 h 440"/>
                <a:gd name="T26" fmla="*/ 3 w 400"/>
                <a:gd name="T27" fmla="*/ 270 h 440"/>
                <a:gd name="T28" fmla="*/ 26 w 400"/>
                <a:gd name="T29" fmla="*/ 264 h 440"/>
                <a:gd name="T30" fmla="*/ 98 w 400"/>
                <a:gd name="T31" fmla="*/ 296 h 440"/>
                <a:gd name="T32" fmla="*/ 125 w 400"/>
                <a:gd name="T33" fmla="*/ 315 h 440"/>
                <a:gd name="T34" fmla="*/ 146 w 400"/>
                <a:gd name="T35" fmla="*/ 309 h 440"/>
                <a:gd name="T36" fmla="*/ 166 w 400"/>
                <a:gd name="T37" fmla="*/ 290 h 440"/>
                <a:gd name="T38" fmla="*/ 200 w 400"/>
                <a:gd name="T39" fmla="*/ 298 h 440"/>
                <a:gd name="T40" fmla="*/ 201 w 400"/>
                <a:gd name="T41" fmla="*/ 336 h 440"/>
                <a:gd name="T42" fmla="*/ 208 w 400"/>
                <a:gd name="T43" fmla="*/ 389 h 440"/>
                <a:gd name="T44" fmla="*/ 235 w 400"/>
                <a:gd name="T45" fmla="*/ 383 h 440"/>
                <a:gd name="T46" fmla="*/ 252 w 400"/>
                <a:gd name="T47" fmla="*/ 392 h 440"/>
                <a:gd name="T48" fmla="*/ 282 w 400"/>
                <a:gd name="T49" fmla="*/ 404 h 440"/>
                <a:gd name="T50" fmla="*/ 316 w 400"/>
                <a:gd name="T51" fmla="*/ 414 h 440"/>
                <a:gd name="T52" fmla="*/ 348 w 400"/>
                <a:gd name="T53" fmla="*/ 440 h 440"/>
                <a:gd name="T54" fmla="*/ 357 w 400"/>
                <a:gd name="T55" fmla="*/ 418 h 440"/>
                <a:gd name="T56" fmla="*/ 340 w 400"/>
                <a:gd name="T57" fmla="*/ 381 h 440"/>
                <a:gd name="T58" fmla="*/ 346 w 400"/>
                <a:gd name="T59" fmla="*/ 328 h 440"/>
                <a:gd name="T60" fmla="*/ 384 w 400"/>
                <a:gd name="T61" fmla="*/ 322 h 440"/>
                <a:gd name="T62" fmla="*/ 377 w 400"/>
                <a:gd name="T63" fmla="*/ 298 h 440"/>
                <a:gd name="T64" fmla="*/ 361 w 400"/>
                <a:gd name="T65" fmla="*/ 259 h 440"/>
                <a:gd name="T66" fmla="*/ 360 w 400"/>
                <a:gd name="T67" fmla="*/ 207 h 440"/>
                <a:gd name="T68" fmla="*/ 356 w 400"/>
                <a:gd name="T69" fmla="*/ 179 h 440"/>
                <a:gd name="T70" fmla="*/ 366 w 400"/>
                <a:gd name="T71" fmla="*/ 157 h 440"/>
                <a:gd name="T72" fmla="*/ 372 w 400"/>
                <a:gd name="T73" fmla="*/ 111 h 440"/>
                <a:gd name="T74" fmla="*/ 392 w 400"/>
                <a:gd name="T75" fmla="*/ 81 h 440"/>
                <a:gd name="T76" fmla="*/ 392 w 400"/>
                <a:gd name="T77" fmla="*/ 41 h 440"/>
                <a:gd name="T78" fmla="*/ 368 w 400"/>
                <a:gd name="T79" fmla="*/ 16 h 440"/>
                <a:gd name="T80" fmla="*/ 341 w 400"/>
                <a:gd name="T81" fmla="*/ 24 h 440"/>
                <a:gd name="T82" fmla="*/ 312 w 400"/>
                <a:gd name="T83" fmla="*/ 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440">
                  <a:moveTo>
                    <a:pt x="299" y="3"/>
                  </a:moveTo>
                  <a:lnTo>
                    <a:pt x="282" y="0"/>
                  </a:lnTo>
                  <a:lnTo>
                    <a:pt x="275" y="2"/>
                  </a:lnTo>
                  <a:lnTo>
                    <a:pt x="272" y="8"/>
                  </a:lnTo>
                  <a:lnTo>
                    <a:pt x="265" y="9"/>
                  </a:lnTo>
                  <a:lnTo>
                    <a:pt x="257" y="4"/>
                  </a:lnTo>
                  <a:lnTo>
                    <a:pt x="234" y="15"/>
                  </a:lnTo>
                  <a:lnTo>
                    <a:pt x="224" y="13"/>
                  </a:lnTo>
                  <a:lnTo>
                    <a:pt x="221" y="15"/>
                  </a:lnTo>
                  <a:lnTo>
                    <a:pt x="215" y="29"/>
                  </a:lnTo>
                  <a:lnTo>
                    <a:pt x="199" y="24"/>
                  </a:lnTo>
                  <a:lnTo>
                    <a:pt x="184" y="23"/>
                  </a:lnTo>
                  <a:lnTo>
                    <a:pt x="170" y="13"/>
                  </a:lnTo>
                  <a:lnTo>
                    <a:pt x="153" y="6"/>
                  </a:lnTo>
                  <a:lnTo>
                    <a:pt x="142" y="13"/>
                  </a:lnTo>
                  <a:lnTo>
                    <a:pt x="134" y="25"/>
                  </a:lnTo>
                  <a:lnTo>
                    <a:pt x="132" y="42"/>
                  </a:lnTo>
                  <a:lnTo>
                    <a:pt x="131" y="56"/>
                  </a:lnTo>
                  <a:lnTo>
                    <a:pt x="125" y="68"/>
                  </a:lnTo>
                  <a:lnTo>
                    <a:pt x="121" y="83"/>
                  </a:lnTo>
                  <a:lnTo>
                    <a:pt x="118" y="105"/>
                  </a:lnTo>
                  <a:lnTo>
                    <a:pt x="120" y="118"/>
                  </a:lnTo>
                  <a:lnTo>
                    <a:pt x="116" y="126"/>
                  </a:lnTo>
                  <a:lnTo>
                    <a:pt x="115" y="136"/>
                  </a:lnTo>
                  <a:lnTo>
                    <a:pt x="113" y="143"/>
                  </a:lnTo>
                  <a:lnTo>
                    <a:pt x="99" y="154"/>
                  </a:lnTo>
                  <a:lnTo>
                    <a:pt x="90" y="166"/>
                  </a:lnTo>
                  <a:lnTo>
                    <a:pt x="81" y="190"/>
                  </a:lnTo>
                  <a:lnTo>
                    <a:pt x="81" y="209"/>
                  </a:lnTo>
                  <a:lnTo>
                    <a:pt x="76" y="217"/>
                  </a:lnTo>
                  <a:lnTo>
                    <a:pt x="64" y="228"/>
                  </a:lnTo>
                  <a:lnTo>
                    <a:pt x="51" y="243"/>
                  </a:lnTo>
                  <a:lnTo>
                    <a:pt x="43" y="239"/>
                  </a:lnTo>
                  <a:lnTo>
                    <a:pt x="41" y="233"/>
                  </a:lnTo>
                  <a:lnTo>
                    <a:pt x="30" y="232"/>
                  </a:lnTo>
                  <a:lnTo>
                    <a:pt x="23" y="241"/>
                  </a:lnTo>
                  <a:lnTo>
                    <a:pt x="17" y="238"/>
                  </a:lnTo>
                  <a:lnTo>
                    <a:pt x="10" y="244"/>
                  </a:lnTo>
                  <a:lnTo>
                    <a:pt x="7" y="249"/>
                  </a:lnTo>
                  <a:lnTo>
                    <a:pt x="6" y="260"/>
                  </a:lnTo>
                  <a:lnTo>
                    <a:pt x="0" y="263"/>
                  </a:lnTo>
                  <a:lnTo>
                    <a:pt x="3" y="270"/>
                  </a:lnTo>
                  <a:lnTo>
                    <a:pt x="12" y="266"/>
                  </a:lnTo>
                  <a:lnTo>
                    <a:pt x="18" y="267"/>
                  </a:lnTo>
                  <a:lnTo>
                    <a:pt x="26" y="264"/>
                  </a:lnTo>
                  <a:lnTo>
                    <a:pt x="87" y="264"/>
                  </a:lnTo>
                  <a:lnTo>
                    <a:pt x="92" y="282"/>
                  </a:lnTo>
                  <a:lnTo>
                    <a:pt x="98" y="296"/>
                  </a:lnTo>
                  <a:lnTo>
                    <a:pt x="103" y="305"/>
                  </a:lnTo>
                  <a:lnTo>
                    <a:pt x="110" y="317"/>
                  </a:lnTo>
                  <a:lnTo>
                    <a:pt x="125" y="315"/>
                  </a:lnTo>
                  <a:lnTo>
                    <a:pt x="132" y="311"/>
                  </a:lnTo>
                  <a:lnTo>
                    <a:pt x="143" y="315"/>
                  </a:lnTo>
                  <a:lnTo>
                    <a:pt x="146" y="309"/>
                  </a:lnTo>
                  <a:lnTo>
                    <a:pt x="152" y="295"/>
                  </a:lnTo>
                  <a:lnTo>
                    <a:pt x="165" y="294"/>
                  </a:lnTo>
                  <a:lnTo>
                    <a:pt x="166" y="290"/>
                  </a:lnTo>
                  <a:lnTo>
                    <a:pt x="177" y="290"/>
                  </a:lnTo>
                  <a:lnTo>
                    <a:pt x="175" y="298"/>
                  </a:lnTo>
                  <a:lnTo>
                    <a:pt x="200" y="298"/>
                  </a:lnTo>
                  <a:lnTo>
                    <a:pt x="200" y="313"/>
                  </a:lnTo>
                  <a:lnTo>
                    <a:pt x="205" y="322"/>
                  </a:lnTo>
                  <a:lnTo>
                    <a:pt x="201" y="336"/>
                  </a:lnTo>
                  <a:lnTo>
                    <a:pt x="202" y="351"/>
                  </a:lnTo>
                  <a:lnTo>
                    <a:pt x="209" y="360"/>
                  </a:lnTo>
                  <a:lnTo>
                    <a:pt x="208" y="389"/>
                  </a:lnTo>
                  <a:lnTo>
                    <a:pt x="213" y="386"/>
                  </a:lnTo>
                  <a:lnTo>
                    <a:pt x="222" y="387"/>
                  </a:lnTo>
                  <a:lnTo>
                    <a:pt x="235" y="383"/>
                  </a:lnTo>
                  <a:lnTo>
                    <a:pt x="245" y="385"/>
                  </a:lnTo>
                  <a:lnTo>
                    <a:pt x="251" y="385"/>
                  </a:lnTo>
                  <a:lnTo>
                    <a:pt x="252" y="392"/>
                  </a:lnTo>
                  <a:lnTo>
                    <a:pt x="263" y="392"/>
                  </a:lnTo>
                  <a:lnTo>
                    <a:pt x="276" y="394"/>
                  </a:lnTo>
                  <a:lnTo>
                    <a:pt x="282" y="404"/>
                  </a:lnTo>
                  <a:lnTo>
                    <a:pt x="299" y="408"/>
                  </a:lnTo>
                  <a:lnTo>
                    <a:pt x="312" y="401"/>
                  </a:lnTo>
                  <a:lnTo>
                    <a:pt x="316" y="414"/>
                  </a:lnTo>
                  <a:lnTo>
                    <a:pt x="333" y="417"/>
                  </a:lnTo>
                  <a:lnTo>
                    <a:pt x="340" y="427"/>
                  </a:lnTo>
                  <a:lnTo>
                    <a:pt x="348" y="440"/>
                  </a:lnTo>
                  <a:lnTo>
                    <a:pt x="364" y="440"/>
                  </a:lnTo>
                  <a:lnTo>
                    <a:pt x="363" y="414"/>
                  </a:lnTo>
                  <a:lnTo>
                    <a:pt x="357" y="418"/>
                  </a:lnTo>
                  <a:lnTo>
                    <a:pt x="342" y="409"/>
                  </a:lnTo>
                  <a:lnTo>
                    <a:pt x="337" y="405"/>
                  </a:lnTo>
                  <a:lnTo>
                    <a:pt x="340" y="381"/>
                  </a:lnTo>
                  <a:lnTo>
                    <a:pt x="345" y="353"/>
                  </a:lnTo>
                  <a:lnTo>
                    <a:pt x="340" y="343"/>
                  </a:lnTo>
                  <a:lnTo>
                    <a:pt x="346" y="328"/>
                  </a:lnTo>
                  <a:lnTo>
                    <a:pt x="352" y="325"/>
                  </a:lnTo>
                  <a:lnTo>
                    <a:pt x="380" y="320"/>
                  </a:lnTo>
                  <a:lnTo>
                    <a:pt x="384" y="322"/>
                  </a:lnTo>
                  <a:lnTo>
                    <a:pt x="385" y="318"/>
                  </a:lnTo>
                  <a:lnTo>
                    <a:pt x="379" y="311"/>
                  </a:lnTo>
                  <a:lnTo>
                    <a:pt x="377" y="298"/>
                  </a:lnTo>
                  <a:lnTo>
                    <a:pt x="364" y="285"/>
                  </a:lnTo>
                  <a:lnTo>
                    <a:pt x="357" y="268"/>
                  </a:lnTo>
                  <a:lnTo>
                    <a:pt x="361" y="259"/>
                  </a:lnTo>
                  <a:lnTo>
                    <a:pt x="355" y="245"/>
                  </a:lnTo>
                  <a:lnTo>
                    <a:pt x="359" y="207"/>
                  </a:lnTo>
                  <a:lnTo>
                    <a:pt x="360" y="207"/>
                  </a:lnTo>
                  <a:lnTo>
                    <a:pt x="359" y="203"/>
                  </a:lnTo>
                  <a:lnTo>
                    <a:pt x="354" y="193"/>
                  </a:lnTo>
                  <a:lnTo>
                    <a:pt x="356" y="179"/>
                  </a:lnTo>
                  <a:lnTo>
                    <a:pt x="359" y="178"/>
                  </a:lnTo>
                  <a:lnTo>
                    <a:pt x="360" y="164"/>
                  </a:lnTo>
                  <a:lnTo>
                    <a:pt x="366" y="157"/>
                  </a:lnTo>
                  <a:lnTo>
                    <a:pt x="366" y="139"/>
                  </a:lnTo>
                  <a:lnTo>
                    <a:pt x="371" y="130"/>
                  </a:lnTo>
                  <a:lnTo>
                    <a:pt x="372" y="111"/>
                  </a:lnTo>
                  <a:lnTo>
                    <a:pt x="377" y="100"/>
                  </a:lnTo>
                  <a:lnTo>
                    <a:pt x="385" y="87"/>
                  </a:lnTo>
                  <a:lnTo>
                    <a:pt x="392" y="81"/>
                  </a:lnTo>
                  <a:lnTo>
                    <a:pt x="400" y="72"/>
                  </a:lnTo>
                  <a:lnTo>
                    <a:pt x="391" y="69"/>
                  </a:lnTo>
                  <a:lnTo>
                    <a:pt x="392" y="41"/>
                  </a:lnTo>
                  <a:lnTo>
                    <a:pt x="392" y="41"/>
                  </a:lnTo>
                  <a:lnTo>
                    <a:pt x="374" y="25"/>
                  </a:lnTo>
                  <a:lnTo>
                    <a:pt x="368" y="16"/>
                  </a:lnTo>
                  <a:lnTo>
                    <a:pt x="357" y="21"/>
                  </a:lnTo>
                  <a:lnTo>
                    <a:pt x="347" y="19"/>
                  </a:lnTo>
                  <a:lnTo>
                    <a:pt x="341" y="24"/>
                  </a:lnTo>
                  <a:lnTo>
                    <a:pt x="332" y="20"/>
                  </a:lnTo>
                  <a:lnTo>
                    <a:pt x="319" y="1"/>
                  </a:lnTo>
                  <a:lnTo>
                    <a:pt x="312" y="3"/>
                  </a:lnTo>
                  <a:lnTo>
                    <a:pt x="299" y="3"/>
                  </a:lnTo>
                  <a:lnTo>
                    <a:pt x="299"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Congo"/>
            <p:cNvSpPr>
              <a:spLocks/>
            </p:cNvSpPr>
            <p:nvPr/>
          </p:nvSpPr>
          <p:spPr bwMode="auto">
            <a:xfrm>
              <a:off x="6370637" y="4343401"/>
              <a:ext cx="244475" cy="330200"/>
            </a:xfrm>
            <a:custGeom>
              <a:avLst/>
              <a:gdLst>
                <a:gd name="T0" fmla="*/ 154 w 154"/>
                <a:gd name="T1" fmla="*/ 5 h 208"/>
                <a:gd name="T2" fmla="*/ 141 w 154"/>
                <a:gd name="T3" fmla="*/ 3 h 208"/>
                <a:gd name="T4" fmla="*/ 127 w 154"/>
                <a:gd name="T5" fmla="*/ 0 h 208"/>
                <a:gd name="T6" fmla="*/ 114 w 154"/>
                <a:gd name="T7" fmla="*/ 12 h 208"/>
                <a:gd name="T8" fmla="*/ 104 w 154"/>
                <a:gd name="T9" fmla="*/ 34 h 208"/>
                <a:gd name="T10" fmla="*/ 102 w 154"/>
                <a:gd name="T11" fmla="*/ 47 h 208"/>
                <a:gd name="T12" fmla="*/ 85 w 154"/>
                <a:gd name="T13" fmla="*/ 42 h 208"/>
                <a:gd name="T14" fmla="*/ 68 w 154"/>
                <a:gd name="T15" fmla="*/ 35 h 208"/>
                <a:gd name="T16" fmla="*/ 42 w 154"/>
                <a:gd name="T17" fmla="*/ 34 h 208"/>
                <a:gd name="T18" fmla="*/ 40 w 154"/>
                <a:gd name="T19" fmla="*/ 44 h 208"/>
                <a:gd name="T20" fmla="*/ 46 w 154"/>
                <a:gd name="T21" fmla="*/ 57 h 208"/>
                <a:gd name="T22" fmla="*/ 62 w 154"/>
                <a:gd name="T23" fmla="*/ 55 h 208"/>
                <a:gd name="T24" fmla="*/ 67 w 154"/>
                <a:gd name="T25" fmla="*/ 59 h 208"/>
                <a:gd name="T26" fmla="*/ 58 w 154"/>
                <a:gd name="T27" fmla="*/ 87 h 208"/>
                <a:gd name="T28" fmla="*/ 68 w 154"/>
                <a:gd name="T29" fmla="*/ 101 h 208"/>
                <a:gd name="T30" fmla="*/ 70 w 154"/>
                <a:gd name="T31" fmla="*/ 119 h 208"/>
                <a:gd name="T32" fmla="*/ 67 w 154"/>
                <a:gd name="T33" fmla="*/ 136 h 208"/>
                <a:gd name="T34" fmla="*/ 61 w 154"/>
                <a:gd name="T35" fmla="*/ 147 h 208"/>
                <a:gd name="T36" fmla="*/ 43 w 154"/>
                <a:gd name="T37" fmla="*/ 145 h 208"/>
                <a:gd name="T38" fmla="*/ 32 w 154"/>
                <a:gd name="T39" fmla="*/ 134 h 208"/>
                <a:gd name="T40" fmla="*/ 30 w 154"/>
                <a:gd name="T41" fmla="*/ 145 h 208"/>
                <a:gd name="T42" fmla="*/ 15 w 154"/>
                <a:gd name="T43" fmla="*/ 148 h 208"/>
                <a:gd name="T44" fmla="*/ 8 w 154"/>
                <a:gd name="T45" fmla="*/ 154 h 208"/>
                <a:gd name="T46" fmla="*/ 16 w 154"/>
                <a:gd name="T47" fmla="*/ 170 h 208"/>
                <a:gd name="T48" fmla="*/ 0 w 154"/>
                <a:gd name="T49" fmla="*/ 183 h 208"/>
                <a:gd name="T50" fmla="*/ 17 w 154"/>
                <a:gd name="T51" fmla="*/ 208 h 208"/>
                <a:gd name="T52" fmla="*/ 25 w 154"/>
                <a:gd name="T53" fmla="*/ 198 h 208"/>
                <a:gd name="T54" fmla="*/ 32 w 154"/>
                <a:gd name="T55" fmla="*/ 194 h 208"/>
                <a:gd name="T56" fmla="*/ 39 w 154"/>
                <a:gd name="T57" fmla="*/ 201 h 208"/>
                <a:gd name="T58" fmla="*/ 45 w 154"/>
                <a:gd name="T59" fmla="*/ 204 h 208"/>
                <a:gd name="T60" fmla="*/ 52 w 154"/>
                <a:gd name="T61" fmla="*/ 195 h 208"/>
                <a:gd name="T62" fmla="*/ 63 w 154"/>
                <a:gd name="T63" fmla="*/ 196 h 208"/>
                <a:gd name="T64" fmla="*/ 65 w 154"/>
                <a:gd name="T65" fmla="*/ 202 h 208"/>
                <a:gd name="T66" fmla="*/ 73 w 154"/>
                <a:gd name="T67" fmla="*/ 206 h 208"/>
                <a:gd name="T68" fmla="*/ 86 w 154"/>
                <a:gd name="T69" fmla="*/ 191 h 208"/>
                <a:gd name="T70" fmla="*/ 98 w 154"/>
                <a:gd name="T71" fmla="*/ 180 h 208"/>
                <a:gd name="T72" fmla="*/ 103 w 154"/>
                <a:gd name="T73" fmla="*/ 172 h 208"/>
                <a:gd name="T74" fmla="*/ 103 w 154"/>
                <a:gd name="T75" fmla="*/ 153 h 208"/>
                <a:gd name="T76" fmla="*/ 112 w 154"/>
                <a:gd name="T77" fmla="*/ 129 h 208"/>
                <a:gd name="T78" fmla="*/ 121 w 154"/>
                <a:gd name="T79" fmla="*/ 117 h 208"/>
                <a:gd name="T80" fmla="*/ 135 w 154"/>
                <a:gd name="T81" fmla="*/ 106 h 208"/>
                <a:gd name="T82" fmla="*/ 137 w 154"/>
                <a:gd name="T83" fmla="*/ 99 h 208"/>
                <a:gd name="T84" fmla="*/ 138 w 154"/>
                <a:gd name="T85" fmla="*/ 89 h 208"/>
                <a:gd name="T86" fmla="*/ 142 w 154"/>
                <a:gd name="T87" fmla="*/ 81 h 208"/>
                <a:gd name="T88" fmla="*/ 140 w 154"/>
                <a:gd name="T89" fmla="*/ 68 h 208"/>
                <a:gd name="T90" fmla="*/ 143 w 154"/>
                <a:gd name="T91" fmla="*/ 46 h 208"/>
                <a:gd name="T92" fmla="*/ 147 w 154"/>
                <a:gd name="T93" fmla="*/ 31 h 208"/>
                <a:gd name="T94" fmla="*/ 153 w 154"/>
                <a:gd name="T95" fmla="*/ 19 h 208"/>
                <a:gd name="T96" fmla="*/ 154 w 154"/>
                <a:gd name="T97" fmla="*/ 5 h 208"/>
                <a:gd name="T98" fmla="*/ 154 w 154"/>
                <a:gd name="T99" fmla="*/ 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08">
                  <a:moveTo>
                    <a:pt x="154" y="5"/>
                  </a:moveTo>
                  <a:lnTo>
                    <a:pt x="141" y="3"/>
                  </a:lnTo>
                  <a:lnTo>
                    <a:pt x="127" y="0"/>
                  </a:lnTo>
                  <a:lnTo>
                    <a:pt x="114" y="12"/>
                  </a:lnTo>
                  <a:lnTo>
                    <a:pt x="104" y="34"/>
                  </a:lnTo>
                  <a:lnTo>
                    <a:pt x="102" y="47"/>
                  </a:lnTo>
                  <a:lnTo>
                    <a:pt x="85" y="42"/>
                  </a:lnTo>
                  <a:lnTo>
                    <a:pt x="68" y="35"/>
                  </a:lnTo>
                  <a:lnTo>
                    <a:pt x="42" y="34"/>
                  </a:lnTo>
                  <a:lnTo>
                    <a:pt x="40" y="44"/>
                  </a:lnTo>
                  <a:lnTo>
                    <a:pt x="46" y="57"/>
                  </a:lnTo>
                  <a:lnTo>
                    <a:pt x="62" y="55"/>
                  </a:lnTo>
                  <a:lnTo>
                    <a:pt x="67" y="59"/>
                  </a:lnTo>
                  <a:lnTo>
                    <a:pt x="58" y="87"/>
                  </a:lnTo>
                  <a:lnTo>
                    <a:pt x="68" y="101"/>
                  </a:lnTo>
                  <a:lnTo>
                    <a:pt x="70" y="119"/>
                  </a:lnTo>
                  <a:lnTo>
                    <a:pt x="67" y="136"/>
                  </a:lnTo>
                  <a:lnTo>
                    <a:pt x="61" y="147"/>
                  </a:lnTo>
                  <a:lnTo>
                    <a:pt x="43" y="145"/>
                  </a:lnTo>
                  <a:lnTo>
                    <a:pt x="32" y="134"/>
                  </a:lnTo>
                  <a:lnTo>
                    <a:pt x="30" y="145"/>
                  </a:lnTo>
                  <a:lnTo>
                    <a:pt x="15" y="148"/>
                  </a:lnTo>
                  <a:lnTo>
                    <a:pt x="8" y="154"/>
                  </a:lnTo>
                  <a:lnTo>
                    <a:pt x="16" y="170"/>
                  </a:lnTo>
                  <a:lnTo>
                    <a:pt x="0" y="183"/>
                  </a:lnTo>
                  <a:lnTo>
                    <a:pt x="17" y="208"/>
                  </a:lnTo>
                  <a:lnTo>
                    <a:pt x="25" y="198"/>
                  </a:lnTo>
                  <a:lnTo>
                    <a:pt x="32" y="194"/>
                  </a:lnTo>
                  <a:lnTo>
                    <a:pt x="39" y="201"/>
                  </a:lnTo>
                  <a:lnTo>
                    <a:pt x="45" y="204"/>
                  </a:lnTo>
                  <a:lnTo>
                    <a:pt x="52" y="195"/>
                  </a:lnTo>
                  <a:lnTo>
                    <a:pt x="63" y="196"/>
                  </a:lnTo>
                  <a:lnTo>
                    <a:pt x="65" y="202"/>
                  </a:lnTo>
                  <a:lnTo>
                    <a:pt x="73" y="206"/>
                  </a:lnTo>
                  <a:lnTo>
                    <a:pt x="86" y="191"/>
                  </a:lnTo>
                  <a:lnTo>
                    <a:pt x="98" y="180"/>
                  </a:lnTo>
                  <a:lnTo>
                    <a:pt x="103" y="172"/>
                  </a:lnTo>
                  <a:lnTo>
                    <a:pt x="103" y="153"/>
                  </a:lnTo>
                  <a:lnTo>
                    <a:pt x="112" y="129"/>
                  </a:lnTo>
                  <a:lnTo>
                    <a:pt x="121" y="117"/>
                  </a:lnTo>
                  <a:lnTo>
                    <a:pt x="135" y="106"/>
                  </a:lnTo>
                  <a:lnTo>
                    <a:pt x="137" y="99"/>
                  </a:lnTo>
                  <a:lnTo>
                    <a:pt x="138" y="89"/>
                  </a:lnTo>
                  <a:lnTo>
                    <a:pt x="142" y="81"/>
                  </a:lnTo>
                  <a:lnTo>
                    <a:pt x="140" y="68"/>
                  </a:lnTo>
                  <a:lnTo>
                    <a:pt x="143" y="46"/>
                  </a:lnTo>
                  <a:lnTo>
                    <a:pt x="147" y="31"/>
                  </a:lnTo>
                  <a:lnTo>
                    <a:pt x="153" y="19"/>
                  </a:lnTo>
                  <a:lnTo>
                    <a:pt x="154" y="5"/>
                  </a:lnTo>
                  <a:lnTo>
                    <a:pt x="154"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9" name="Colombia"/>
            <p:cNvSpPr>
              <a:spLocks/>
            </p:cNvSpPr>
            <p:nvPr/>
          </p:nvSpPr>
          <p:spPr bwMode="auto">
            <a:xfrm>
              <a:off x="3368675" y="4013201"/>
              <a:ext cx="404812" cy="631825"/>
            </a:xfrm>
            <a:custGeom>
              <a:avLst/>
              <a:gdLst>
                <a:gd name="T0" fmla="*/ 175 w 255"/>
                <a:gd name="T1" fmla="*/ 8 h 398"/>
                <a:gd name="T2" fmla="*/ 163 w 255"/>
                <a:gd name="T3" fmla="*/ 0 h 398"/>
                <a:gd name="T4" fmla="*/ 143 w 255"/>
                <a:gd name="T5" fmla="*/ 17 h 398"/>
                <a:gd name="T6" fmla="*/ 109 w 255"/>
                <a:gd name="T7" fmla="*/ 27 h 398"/>
                <a:gd name="T8" fmla="*/ 95 w 255"/>
                <a:gd name="T9" fmla="*/ 32 h 398"/>
                <a:gd name="T10" fmla="*/ 77 w 255"/>
                <a:gd name="T11" fmla="*/ 64 h 398"/>
                <a:gd name="T12" fmla="*/ 67 w 255"/>
                <a:gd name="T13" fmla="*/ 74 h 398"/>
                <a:gd name="T14" fmla="*/ 40 w 255"/>
                <a:gd name="T15" fmla="*/ 90 h 398"/>
                <a:gd name="T16" fmla="*/ 42 w 255"/>
                <a:gd name="T17" fmla="*/ 108 h 398"/>
                <a:gd name="T18" fmla="*/ 31 w 255"/>
                <a:gd name="T19" fmla="*/ 112 h 398"/>
                <a:gd name="T20" fmla="*/ 36 w 255"/>
                <a:gd name="T21" fmla="*/ 137 h 398"/>
                <a:gd name="T22" fmla="*/ 34 w 255"/>
                <a:gd name="T23" fmla="*/ 163 h 398"/>
                <a:gd name="T24" fmla="*/ 33 w 255"/>
                <a:gd name="T25" fmla="*/ 199 h 398"/>
                <a:gd name="T26" fmla="*/ 33 w 255"/>
                <a:gd name="T27" fmla="*/ 217 h 398"/>
                <a:gd name="T28" fmla="*/ 12 w 255"/>
                <a:gd name="T29" fmla="*/ 234 h 398"/>
                <a:gd name="T30" fmla="*/ 9 w 255"/>
                <a:gd name="T31" fmla="*/ 254 h 398"/>
                <a:gd name="T32" fmla="*/ 3 w 255"/>
                <a:gd name="T33" fmla="*/ 264 h 398"/>
                <a:gd name="T34" fmla="*/ 28 w 255"/>
                <a:gd name="T35" fmla="*/ 277 h 398"/>
                <a:gd name="T36" fmla="*/ 51 w 255"/>
                <a:gd name="T37" fmla="*/ 290 h 398"/>
                <a:gd name="T38" fmla="*/ 67 w 255"/>
                <a:gd name="T39" fmla="*/ 293 h 398"/>
                <a:gd name="T40" fmla="*/ 81 w 255"/>
                <a:gd name="T41" fmla="*/ 297 h 398"/>
                <a:gd name="T42" fmla="*/ 102 w 255"/>
                <a:gd name="T43" fmla="*/ 320 h 398"/>
                <a:gd name="T44" fmla="*/ 125 w 255"/>
                <a:gd name="T45" fmla="*/ 351 h 398"/>
                <a:gd name="T46" fmla="*/ 152 w 255"/>
                <a:gd name="T47" fmla="*/ 348 h 398"/>
                <a:gd name="T48" fmla="*/ 172 w 255"/>
                <a:gd name="T49" fmla="*/ 350 h 398"/>
                <a:gd name="T50" fmla="*/ 176 w 255"/>
                <a:gd name="T51" fmla="*/ 385 h 398"/>
                <a:gd name="T52" fmla="*/ 193 w 255"/>
                <a:gd name="T53" fmla="*/ 398 h 398"/>
                <a:gd name="T54" fmla="*/ 201 w 255"/>
                <a:gd name="T55" fmla="*/ 322 h 398"/>
                <a:gd name="T56" fmla="*/ 189 w 255"/>
                <a:gd name="T57" fmla="*/ 300 h 398"/>
                <a:gd name="T58" fmla="*/ 201 w 255"/>
                <a:gd name="T59" fmla="*/ 279 h 398"/>
                <a:gd name="T60" fmla="*/ 206 w 255"/>
                <a:gd name="T61" fmla="*/ 273 h 398"/>
                <a:gd name="T62" fmla="*/ 194 w 255"/>
                <a:gd name="T63" fmla="*/ 255 h 398"/>
                <a:gd name="T64" fmla="*/ 241 w 255"/>
                <a:gd name="T65" fmla="*/ 248 h 398"/>
                <a:gd name="T66" fmla="*/ 250 w 255"/>
                <a:gd name="T67" fmla="*/ 269 h 398"/>
                <a:gd name="T68" fmla="*/ 249 w 255"/>
                <a:gd name="T69" fmla="*/ 242 h 398"/>
                <a:gd name="T70" fmla="*/ 236 w 255"/>
                <a:gd name="T71" fmla="*/ 229 h 398"/>
                <a:gd name="T72" fmla="*/ 246 w 255"/>
                <a:gd name="T73" fmla="*/ 211 h 398"/>
                <a:gd name="T74" fmla="*/ 236 w 255"/>
                <a:gd name="T75" fmla="*/ 189 h 398"/>
                <a:gd name="T76" fmla="*/ 243 w 255"/>
                <a:gd name="T77" fmla="*/ 164 h 398"/>
                <a:gd name="T78" fmla="*/ 240 w 255"/>
                <a:gd name="T79" fmla="*/ 147 h 398"/>
                <a:gd name="T80" fmla="*/ 213 w 255"/>
                <a:gd name="T81" fmla="*/ 149 h 398"/>
                <a:gd name="T82" fmla="*/ 191 w 255"/>
                <a:gd name="T83" fmla="*/ 131 h 398"/>
                <a:gd name="T84" fmla="*/ 152 w 255"/>
                <a:gd name="T85" fmla="*/ 130 h 398"/>
                <a:gd name="T86" fmla="*/ 142 w 255"/>
                <a:gd name="T87" fmla="*/ 120 h 398"/>
                <a:gd name="T88" fmla="*/ 144 w 255"/>
                <a:gd name="T89" fmla="*/ 106 h 398"/>
                <a:gd name="T90" fmla="*/ 138 w 255"/>
                <a:gd name="T91" fmla="*/ 91 h 398"/>
                <a:gd name="T92" fmla="*/ 125 w 255"/>
                <a:gd name="T93" fmla="*/ 79 h 398"/>
                <a:gd name="T94" fmla="*/ 136 w 255"/>
                <a:gd name="T95" fmla="*/ 48 h 398"/>
                <a:gd name="T96" fmla="*/ 151 w 255"/>
                <a:gd name="T97" fmla="*/ 32 h 398"/>
                <a:gd name="T98" fmla="*/ 170 w 255"/>
                <a:gd name="T99" fmla="*/ 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98">
                  <a:moveTo>
                    <a:pt x="170" y="16"/>
                  </a:moveTo>
                  <a:lnTo>
                    <a:pt x="175" y="8"/>
                  </a:lnTo>
                  <a:lnTo>
                    <a:pt x="170" y="2"/>
                  </a:lnTo>
                  <a:lnTo>
                    <a:pt x="163" y="0"/>
                  </a:lnTo>
                  <a:lnTo>
                    <a:pt x="152" y="12"/>
                  </a:lnTo>
                  <a:lnTo>
                    <a:pt x="143" y="17"/>
                  </a:lnTo>
                  <a:lnTo>
                    <a:pt x="126" y="29"/>
                  </a:lnTo>
                  <a:lnTo>
                    <a:pt x="109" y="27"/>
                  </a:lnTo>
                  <a:lnTo>
                    <a:pt x="108" y="32"/>
                  </a:lnTo>
                  <a:lnTo>
                    <a:pt x="95" y="32"/>
                  </a:lnTo>
                  <a:lnTo>
                    <a:pt x="82" y="43"/>
                  </a:lnTo>
                  <a:lnTo>
                    <a:pt x="77" y="64"/>
                  </a:lnTo>
                  <a:lnTo>
                    <a:pt x="77" y="71"/>
                  </a:lnTo>
                  <a:lnTo>
                    <a:pt x="67" y="74"/>
                  </a:lnTo>
                  <a:lnTo>
                    <a:pt x="52" y="91"/>
                  </a:lnTo>
                  <a:lnTo>
                    <a:pt x="40" y="90"/>
                  </a:lnTo>
                  <a:lnTo>
                    <a:pt x="38" y="94"/>
                  </a:lnTo>
                  <a:lnTo>
                    <a:pt x="42" y="108"/>
                  </a:lnTo>
                  <a:lnTo>
                    <a:pt x="38" y="114"/>
                  </a:lnTo>
                  <a:lnTo>
                    <a:pt x="31" y="112"/>
                  </a:lnTo>
                  <a:lnTo>
                    <a:pt x="27" y="125"/>
                  </a:lnTo>
                  <a:lnTo>
                    <a:pt x="36" y="137"/>
                  </a:lnTo>
                  <a:lnTo>
                    <a:pt x="39" y="157"/>
                  </a:lnTo>
                  <a:lnTo>
                    <a:pt x="34" y="163"/>
                  </a:lnTo>
                  <a:lnTo>
                    <a:pt x="38" y="185"/>
                  </a:lnTo>
                  <a:lnTo>
                    <a:pt x="33" y="199"/>
                  </a:lnTo>
                  <a:lnTo>
                    <a:pt x="40" y="205"/>
                  </a:lnTo>
                  <a:lnTo>
                    <a:pt x="33" y="217"/>
                  </a:lnTo>
                  <a:lnTo>
                    <a:pt x="24" y="232"/>
                  </a:lnTo>
                  <a:lnTo>
                    <a:pt x="12" y="234"/>
                  </a:lnTo>
                  <a:lnTo>
                    <a:pt x="8" y="242"/>
                  </a:lnTo>
                  <a:lnTo>
                    <a:pt x="9" y="254"/>
                  </a:lnTo>
                  <a:lnTo>
                    <a:pt x="0" y="256"/>
                  </a:lnTo>
                  <a:lnTo>
                    <a:pt x="3" y="264"/>
                  </a:lnTo>
                  <a:lnTo>
                    <a:pt x="25" y="277"/>
                  </a:lnTo>
                  <a:lnTo>
                    <a:pt x="28" y="277"/>
                  </a:lnTo>
                  <a:lnTo>
                    <a:pt x="33" y="286"/>
                  </a:lnTo>
                  <a:lnTo>
                    <a:pt x="51" y="290"/>
                  </a:lnTo>
                  <a:lnTo>
                    <a:pt x="57" y="286"/>
                  </a:lnTo>
                  <a:lnTo>
                    <a:pt x="67" y="293"/>
                  </a:lnTo>
                  <a:lnTo>
                    <a:pt x="76" y="299"/>
                  </a:lnTo>
                  <a:lnTo>
                    <a:pt x="81" y="297"/>
                  </a:lnTo>
                  <a:lnTo>
                    <a:pt x="95" y="308"/>
                  </a:lnTo>
                  <a:lnTo>
                    <a:pt x="102" y="320"/>
                  </a:lnTo>
                  <a:lnTo>
                    <a:pt x="112" y="326"/>
                  </a:lnTo>
                  <a:lnTo>
                    <a:pt x="125" y="351"/>
                  </a:lnTo>
                  <a:lnTo>
                    <a:pt x="141" y="354"/>
                  </a:lnTo>
                  <a:lnTo>
                    <a:pt x="152" y="348"/>
                  </a:lnTo>
                  <a:lnTo>
                    <a:pt x="160" y="351"/>
                  </a:lnTo>
                  <a:lnTo>
                    <a:pt x="172" y="350"/>
                  </a:lnTo>
                  <a:lnTo>
                    <a:pt x="189" y="361"/>
                  </a:lnTo>
                  <a:lnTo>
                    <a:pt x="176" y="385"/>
                  </a:lnTo>
                  <a:lnTo>
                    <a:pt x="182" y="385"/>
                  </a:lnTo>
                  <a:lnTo>
                    <a:pt x="193" y="398"/>
                  </a:lnTo>
                  <a:lnTo>
                    <a:pt x="201" y="333"/>
                  </a:lnTo>
                  <a:lnTo>
                    <a:pt x="201" y="322"/>
                  </a:lnTo>
                  <a:lnTo>
                    <a:pt x="198" y="309"/>
                  </a:lnTo>
                  <a:lnTo>
                    <a:pt x="189" y="300"/>
                  </a:lnTo>
                  <a:lnTo>
                    <a:pt x="189" y="283"/>
                  </a:lnTo>
                  <a:lnTo>
                    <a:pt x="201" y="279"/>
                  </a:lnTo>
                  <a:lnTo>
                    <a:pt x="205" y="281"/>
                  </a:lnTo>
                  <a:lnTo>
                    <a:pt x="206" y="273"/>
                  </a:lnTo>
                  <a:lnTo>
                    <a:pt x="194" y="270"/>
                  </a:lnTo>
                  <a:lnTo>
                    <a:pt x="194" y="255"/>
                  </a:lnTo>
                  <a:lnTo>
                    <a:pt x="234" y="256"/>
                  </a:lnTo>
                  <a:lnTo>
                    <a:pt x="241" y="248"/>
                  </a:lnTo>
                  <a:lnTo>
                    <a:pt x="247" y="255"/>
                  </a:lnTo>
                  <a:lnTo>
                    <a:pt x="250" y="269"/>
                  </a:lnTo>
                  <a:lnTo>
                    <a:pt x="255" y="266"/>
                  </a:lnTo>
                  <a:lnTo>
                    <a:pt x="249" y="242"/>
                  </a:lnTo>
                  <a:lnTo>
                    <a:pt x="243" y="234"/>
                  </a:lnTo>
                  <a:lnTo>
                    <a:pt x="236" y="229"/>
                  </a:lnTo>
                  <a:lnTo>
                    <a:pt x="247" y="217"/>
                  </a:lnTo>
                  <a:lnTo>
                    <a:pt x="246" y="211"/>
                  </a:lnTo>
                  <a:lnTo>
                    <a:pt x="240" y="205"/>
                  </a:lnTo>
                  <a:lnTo>
                    <a:pt x="236" y="189"/>
                  </a:lnTo>
                  <a:lnTo>
                    <a:pt x="238" y="172"/>
                  </a:lnTo>
                  <a:lnTo>
                    <a:pt x="243" y="164"/>
                  </a:lnTo>
                  <a:lnTo>
                    <a:pt x="248" y="152"/>
                  </a:lnTo>
                  <a:lnTo>
                    <a:pt x="240" y="147"/>
                  </a:lnTo>
                  <a:lnTo>
                    <a:pt x="228" y="150"/>
                  </a:lnTo>
                  <a:lnTo>
                    <a:pt x="213" y="149"/>
                  </a:lnTo>
                  <a:lnTo>
                    <a:pt x="205" y="152"/>
                  </a:lnTo>
                  <a:lnTo>
                    <a:pt x="191" y="131"/>
                  </a:lnTo>
                  <a:lnTo>
                    <a:pt x="179" y="127"/>
                  </a:lnTo>
                  <a:lnTo>
                    <a:pt x="152" y="130"/>
                  </a:lnTo>
                  <a:lnTo>
                    <a:pt x="147" y="122"/>
                  </a:lnTo>
                  <a:lnTo>
                    <a:pt x="142" y="120"/>
                  </a:lnTo>
                  <a:lnTo>
                    <a:pt x="141" y="114"/>
                  </a:lnTo>
                  <a:lnTo>
                    <a:pt x="144" y="106"/>
                  </a:lnTo>
                  <a:lnTo>
                    <a:pt x="143" y="96"/>
                  </a:lnTo>
                  <a:lnTo>
                    <a:pt x="138" y="91"/>
                  </a:lnTo>
                  <a:lnTo>
                    <a:pt x="137" y="81"/>
                  </a:lnTo>
                  <a:lnTo>
                    <a:pt x="125" y="79"/>
                  </a:lnTo>
                  <a:lnTo>
                    <a:pt x="132" y="65"/>
                  </a:lnTo>
                  <a:lnTo>
                    <a:pt x="136" y="48"/>
                  </a:lnTo>
                  <a:lnTo>
                    <a:pt x="142" y="39"/>
                  </a:lnTo>
                  <a:lnTo>
                    <a:pt x="151" y="32"/>
                  </a:lnTo>
                  <a:lnTo>
                    <a:pt x="156" y="20"/>
                  </a:lnTo>
                  <a:lnTo>
                    <a:pt x="170" y="16"/>
                  </a:lnTo>
                  <a:lnTo>
                    <a:pt x="170" y="1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Costa Rica"/>
            <p:cNvSpPr>
              <a:spLocks/>
            </p:cNvSpPr>
            <p:nvPr/>
          </p:nvSpPr>
          <p:spPr bwMode="auto">
            <a:xfrm>
              <a:off x="3152775" y="4059238"/>
              <a:ext cx="109537" cy="112713"/>
            </a:xfrm>
            <a:custGeom>
              <a:avLst/>
              <a:gdLst>
                <a:gd name="T0" fmla="*/ 48 w 69"/>
                <a:gd name="T1" fmla="*/ 7 h 71"/>
                <a:gd name="T2" fmla="*/ 43 w 69"/>
                <a:gd name="T3" fmla="*/ 12 h 71"/>
                <a:gd name="T4" fmla="*/ 36 w 69"/>
                <a:gd name="T5" fmla="*/ 11 h 71"/>
                <a:gd name="T6" fmla="*/ 34 w 69"/>
                <a:gd name="T7" fmla="*/ 6 h 71"/>
                <a:gd name="T8" fmla="*/ 27 w 69"/>
                <a:gd name="T9" fmla="*/ 4 h 71"/>
                <a:gd name="T10" fmla="*/ 21 w 69"/>
                <a:gd name="T11" fmla="*/ 7 h 71"/>
                <a:gd name="T12" fmla="*/ 8 w 69"/>
                <a:gd name="T13" fmla="*/ 0 h 71"/>
                <a:gd name="T14" fmla="*/ 6 w 69"/>
                <a:gd name="T15" fmla="*/ 3 h 71"/>
                <a:gd name="T16" fmla="*/ 0 w 69"/>
                <a:gd name="T17" fmla="*/ 8 h 71"/>
                <a:gd name="T18" fmla="*/ 6 w 69"/>
                <a:gd name="T19" fmla="*/ 11 h 71"/>
                <a:gd name="T20" fmla="*/ 3 w 69"/>
                <a:gd name="T21" fmla="*/ 19 h 71"/>
                <a:gd name="T22" fmla="*/ 2 w 69"/>
                <a:gd name="T23" fmla="*/ 26 h 71"/>
                <a:gd name="T24" fmla="*/ 5 w 69"/>
                <a:gd name="T25" fmla="*/ 31 h 71"/>
                <a:gd name="T26" fmla="*/ 11 w 69"/>
                <a:gd name="T27" fmla="*/ 33 h 71"/>
                <a:gd name="T28" fmla="*/ 16 w 69"/>
                <a:gd name="T29" fmla="*/ 40 h 71"/>
                <a:gd name="T30" fmla="*/ 20 w 69"/>
                <a:gd name="T31" fmla="*/ 34 h 71"/>
                <a:gd name="T32" fmla="*/ 19 w 69"/>
                <a:gd name="T33" fmla="*/ 27 h 71"/>
                <a:gd name="T34" fmla="*/ 24 w 69"/>
                <a:gd name="T35" fmla="*/ 31 h 71"/>
                <a:gd name="T36" fmla="*/ 25 w 69"/>
                <a:gd name="T37" fmla="*/ 39 h 71"/>
                <a:gd name="T38" fmla="*/ 33 w 69"/>
                <a:gd name="T39" fmla="*/ 41 h 71"/>
                <a:gd name="T40" fmla="*/ 40 w 69"/>
                <a:gd name="T41" fmla="*/ 46 h 71"/>
                <a:gd name="T42" fmla="*/ 46 w 69"/>
                <a:gd name="T43" fmla="*/ 52 h 71"/>
                <a:gd name="T44" fmla="*/ 46 w 69"/>
                <a:gd name="T45" fmla="*/ 57 h 71"/>
                <a:gd name="T46" fmla="*/ 44 w 69"/>
                <a:gd name="T47" fmla="*/ 61 h 71"/>
                <a:gd name="T48" fmla="*/ 48 w 69"/>
                <a:gd name="T49" fmla="*/ 67 h 71"/>
                <a:gd name="T50" fmla="*/ 59 w 69"/>
                <a:gd name="T51" fmla="*/ 71 h 71"/>
                <a:gd name="T52" fmla="*/ 60 w 69"/>
                <a:gd name="T53" fmla="*/ 67 h 71"/>
                <a:gd name="T54" fmla="*/ 62 w 69"/>
                <a:gd name="T55" fmla="*/ 62 h 71"/>
                <a:gd name="T56" fmla="*/ 62 w 69"/>
                <a:gd name="T57" fmla="*/ 57 h 71"/>
                <a:gd name="T58" fmla="*/ 64 w 69"/>
                <a:gd name="T59" fmla="*/ 55 h 71"/>
                <a:gd name="T60" fmla="*/ 61 w 69"/>
                <a:gd name="T61" fmla="*/ 52 h 71"/>
                <a:gd name="T62" fmla="*/ 61 w 69"/>
                <a:gd name="T63" fmla="*/ 42 h 71"/>
                <a:gd name="T64" fmla="*/ 69 w 69"/>
                <a:gd name="T65" fmla="*/ 39 h 71"/>
                <a:gd name="T66" fmla="*/ 60 w 69"/>
                <a:gd name="T67" fmla="*/ 29 h 71"/>
                <a:gd name="T68" fmla="*/ 52 w 69"/>
                <a:gd name="T69" fmla="*/ 20 h 71"/>
                <a:gd name="T70" fmla="*/ 48 w 69"/>
                <a:gd name="T71" fmla="*/ 7 h 71"/>
                <a:gd name="T72" fmla="*/ 48 w 69"/>
                <a:gd name="T7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71">
                  <a:moveTo>
                    <a:pt x="48" y="7"/>
                  </a:moveTo>
                  <a:lnTo>
                    <a:pt x="43" y="12"/>
                  </a:lnTo>
                  <a:lnTo>
                    <a:pt x="36" y="11"/>
                  </a:lnTo>
                  <a:lnTo>
                    <a:pt x="34" y="6"/>
                  </a:lnTo>
                  <a:lnTo>
                    <a:pt x="27" y="4"/>
                  </a:lnTo>
                  <a:lnTo>
                    <a:pt x="21" y="7"/>
                  </a:lnTo>
                  <a:lnTo>
                    <a:pt x="8" y="0"/>
                  </a:lnTo>
                  <a:lnTo>
                    <a:pt x="6" y="3"/>
                  </a:lnTo>
                  <a:lnTo>
                    <a:pt x="0" y="8"/>
                  </a:lnTo>
                  <a:lnTo>
                    <a:pt x="6" y="11"/>
                  </a:lnTo>
                  <a:lnTo>
                    <a:pt x="3" y="19"/>
                  </a:lnTo>
                  <a:lnTo>
                    <a:pt x="2" y="26"/>
                  </a:lnTo>
                  <a:lnTo>
                    <a:pt x="5" y="31"/>
                  </a:lnTo>
                  <a:lnTo>
                    <a:pt x="11" y="33"/>
                  </a:lnTo>
                  <a:lnTo>
                    <a:pt x="16" y="40"/>
                  </a:lnTo>
                  <a:lnTo>
                    <a:pt x="20" y="34"/>
                  </a:lnTo>
                  <a:lnTo>
                    <a:pt x="19" y="27"/>
                  </a:lnTo>
                  <a:lnTo>
                    <a:pt x="24" y="31"/>
                  </a:lnTo>
                  <a:lnTo>
                    <a:pt x="25" y="39"/>
                  </a:lnTo>
                  <a:lnTo>
                    <a:pt x="33" y="41"/>
                  </a:lnTo>
                  <a:lnTo>
                    <a:pt x="40" y="46"/>
                  </a:lnTo>
                  <a:lnTo>
                    <a:pt x="46" y="52"/>
                  </a:lnTo>
                  <a:lnTo>
                    <a:pt x="46" y="57"/>
                  </a:lnTo>
                  <a:lnTo>
                    <a:pt x="44" y="61"/>
                  </a:lnTo>
                  <a:lnTo>
                    <a:pt x="48" y="67"/>
                  </a:lnTo>
                  <a:lnTo>
                    <a:pt x="59" y="71"/>
                  </a:lnTo>
                  <a:lnTo>
                    <a:pt x="60" y="67"/>
                  </a:lnTo>
                  <a:lnTo>
                    <a:pt x="62" y="62"/>
                  </a:lnTo>
                  <a:lnTo>
                    <a:pt x="62" y="57"/>
                  </a:lnTo>
                  <a:lnTo>
                    <a:pt x="64" y="55"/>
                  </a:lnTo>
                  <a:lnTo>
                    <a:pt x="61" y="52"/>
                  </a:lnTo>
                  <a:lnTo>
                    <a:pt x="61" y="42"/>
                  </a:lnTo>
                  <a:lnTo>
                    <a:pt x="69" y="39"/>
                  </a:lnTo>
                  <a:lnTo>
                    <a:pt x="60" y="29"/>
                  </a:lnTo>
                  <a:lnTo>
                    <a:pt x="52" y="20"/>
                  </a:lnTo>
                  <a:lnTo>
                    <a:pt x="48" y="7"/>
                  </a:lnTo>
                  <a:lnTo>
                    <a:pt x="48" y="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Cuba"/>
            <p:cNvSpPr>
              <a:spLocks/>
            </p:cNvSpPr>
            <p:nvPr/>
          </p:nvSpPr>
          <p:spPr bwMode="auto">
            <a:xfrm>
              <a:off x="3228975" y="3606801"/>
              <a:ext cx="346075" cy="127000"/>
            </a:xfrm>
            <a:custGeom>
              <a:avLst/>
              <a:gdLst>
                <a:gd name="T0" fmla="*/ 112 w 218"/>
                <a:gd name="T1" fmla="*/ 11 h 80"/>
                <a:gd name="T2" fmla="*/ 93 w 218"/>
                <a:gd name="T3" fmla="*/ 3 h 80"/>
                <a:gd name="T4" fmla="*/ 77 w 218"/>
                <a:gd name="T5" fmla="*/ 2 h 80"/>
                <a:gd name="T6" fmla="*/ 59 w 218"/>
                <a:gd name="T7" fmla="*/ 0 h 80"/>
                <a:gd name="T8" fmla="*/ 55 w 218"/>
                <a:gd name="T9" fmla="*/ 3 h 80"/>
                <a:gd name="T10" fmla="*/ 39 w 218"/>
                <a:gd name="T11" fmla="*/ 6 h 80"/>
                <a:gd name="T12" fmla="*/ 28 w 218"/>
                <a:gd name="T13" fmla="*/ 11 h 80"/>
                <a:gd name="T14" fmla="*/ 17 w 218"/>
                <a:gd name="T15" fmla="*/ 15 h 80"/>
                <a:gd name="T16" fmla="*/ 12 w 218"/>
                <a:gd name="T17" fmla="*/ 25 h 80"/>
                <a:gd name="T18" fmla="*/ 0 w 218"/>
                <a:gd name="T19" fmla="*/ 32 h 80"/>
                <a:gd name="T20" fmla="*/ 9 w 218"/>
                <a:gd name="T21" fmla="*/ 34 h 80"/>
                <a:gd name="T22" fmla="*/ 19 w 218"/>
                <a:gd name="T23" fmla="*/ 31 h 80"/>
                <a:gd name="T24" fmla="*/ 23 w 218"/>
                <a:gd name="T25" fmla="*/ 26 h 80"/>
                <a:gd name="T26" fmla="*/ 31 w 218"/>
                <a:gd name="T27" fmla="*/ 25 h 80"/>
                <a:gd name="T28" fmla="*/ 48 w 218"/>
                <a:gd name="T29" fmla="*/ 13 h 80"/>
                <a:gd name="T30" fmla="*/ 68 w 218"/>
                <a:gd name="T31" fmla="*/ 14 h 80"/>
                <a:gd name="T32" fmla="*/ 59 w 218"/>
                <a:gd name="T33" fmla="*/ 20 h 80"/>
                <a:gd name="T34" fmla="*/ 66 w 218"/>
                <a:gd name="T35" fmla="*/ 25 h 80"/>
                <a:gd name="T36" fmla="*/ 92 w 218"/>
                <a:gd name="T37" fmla="*/ 29 h 80"/>
                <a:gd name="T38" fmla="*/ 98 w 218"/>
                <a:gd name="T39" fmla="*/ 33 h 80"/>
                <a:gd name="T40" fmla="*/ 116 w 218"/>
                <a:gd name="T41" fmla="*/ 40 h 80"/>
                <a:gd name="T42" fmla="*/ 128 w 218"/>
                <a:gd name="T43" fmla="*/ 39 h 80"/>
                <a:gd name="T44" fmla="*/ 131 w 218"/>
                <a:gd name="T45" fmla="*/ 53 h 80"/>
                <a:gd name="T46" fmla="*/ 138 w 218"/>
                <a:gd name="T47" fmla="*/ 59 h 80"/>
                <a:gd name="T48" fmla="*/ 151 w 218"/>
                <a:gd name="T49" fmla="*/ 60 h 80"/>
                <a:gd name="T50" fmla="*/ 158 w 218"/>
                <a:gd name="T51" fmla="*/ 67 h 80"/>
                <a:gd name="T52" fmla="*/ 143 w 218"/>
                <a:gd name="T53" fmla="*/ 80 h 80"/>
                <a:gd name="T54" fmla="*/ 172 w 218"/>
                <a:gd name="T55" fmla="*/ 78 h 80"/>
                <a:gd name="T56" fmla="*/ 186 w 218"/>
                <a:gd name="T57" fmla="*/ 80 h 80"/>
                <a:gd name="T58" fmla="*/ 200 w 218"/>
                <a:gd name="T59" fmla="*/ 79 h 80"/>
                <a:gd name="T60" fmla="*/ 214 w 218"/>
                <a:gd name="T61" fmla="*/ 75 h 80"/>
                <a:gd name="T62" fmla="*/ 218 w 218"/>
                <a:gd name="T63" fmla="*/ 70 h 80"/>
                <a:gd name="T64" fmla="*/ 203 w 218"/>
                <a:gd name="T65" fmla="*/ 60 h 80"/>
                <a:gd name="T66" fmla="*/ 188 w 218"/>
                <a:gd name="T67" fmla="*/ 59 h 80"/>
                <a:gd name="T68" fmla="*/ 190 w 218"/>
                <a:gd name="T69" fmla="*/ 53 h 80"/>
                <a:gd name="T70" fmla="*/ 179 w 218"/>
                <a:gd name="T71" fmla="*/ 48 h 80"/>
                <a:gd name="T72" fmla="*/ 171 w 218"/>
                <a:gd name="T73" fmla="*/ 48 h 80"/>
                <a:gd name="T74" fmla="*/ 160 w 218"/>
                <a:gd name="T75" fmla="*/ 38 h 80"/>
                <a:gd name="T76" fmla="*/ 145 w 218"/>
                <a:gd name="T77" fmla="*/ 23 h 80"/>
                <a:gd name="T78" fmla="*/ 138 w 218"/>
                <a:gd name="T79" fmla="*/ 17 h 80"/>
                <a:gd name="T80" fmla="*/ 119 w 218"/>
                <a:gd name="T81" fmla="*/ 20 h 80"/>
                <a:gd name="T82" fmla="*/ 112 w 218"/>
                <a:gd name="T83" fmla="*/ 11 h 80"/>
                <a:gd name="T84" fmla="*/ 112 w 218"/>
                <a:gd name="T8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80">
                  <a:moveTo>
                    <a:pt x="112" y="11"/>
                  </a:moveTo>
                  <a:lnTo>
                    <a:pt x="93" y="3"/>
                  </a:lnTo>
                  <a:lnTo>
                    <a:pt x="77" y="2"/>
                  </a:lnTo>
                  <a:lnTo>
                    <a:pt x="59" y="0"/>
                  </a:lnTo>
                  <a:lnTo>
                    <a:pt x="55" y="3"/>
                  </a:lnTo>
                  <a:lnTo>
                    <a:pt x="39" y="6"/>
                  </a:lnTo>
                  <a:lnTo>
                    <a:pt x="28" y="11"/>
                  </a:lnTo>
                  <a:lnTo>
                    <a:pt x="17" y="15"/>
                  </a:lnTo>
                  <a:lnTo>
                    <a:pt x="12" y="25"/>
                  </a:lnTo>
                  <a:lnTo>
                    <a:pt x="0" y="32"/>
                  </a:lnTo>
                  <a:lnTo>
                    <a:pt x="9" y="34"/>
                  </a:lnTo>
                  <a:lnTo>
                    <a:pt x="19" y="31"/>
                  </a:lnTo>
                  <a:lnTo>
                    <a:pt x="23" y="26"/>
                  </a:lnTo>
                  <a:lnTo>
                    <a:pt x="31" y="25"/>
                  </a:lnTo>
                  <a:lnTo>
                    <a:pt x="48" y="13"/>
                  </a:lnTo>
                  <a:lnTo>
                    <a:pt x="68" y="14"/>
                  </a:lnTo>
                  <a:lnTo>
                    <a:pt x="59" y="20"/>
                  </a:lnTo>
                  <a:lnTo>
                    <a:pt x="66" y="25"/>
                  </a:lnTo>
                  <a:lnTo>
                    <a:pt x="92" y="29"/>
                  </a:lnTo>
                  <a:lnTo>
                    <a:pt x="98" y="33"/>
                  </a:lnTo>
                  <a:lnTo>
                    <a:pt x="116" y="40"/>
                  </a:lnTo>
                  <a:lnTo>
                    <a:pt x="128" y="39"/>
                  </a:lnTo>
                  <a:lnTo>
                    <a:pt x="131" y="53"/>
                  </a:lnTo>
                  <a:lnTo>
                    <a:pt x="138" y="59"/>
                  </a:lnTo>
                  <a:lnTo>
                    <a:pt x="151" y="60"/>
                  </a:lnTo>
                  <a:lnTo>
                    <a:pt x="158" y="67"/>
                  </a:lnTo>
                  <a:lnTo>
                    <a:pt x="143" y="80"/>
                  </a:lnTo>
                  <a:lnTo>
                    <a:pt x="172" y="78"/>
                  </a:lnTo>
                  <a:lnTo>
                    <a:pt x="186" y="80"/>
                  </a:lnTo>
                  <a:lnTo>
                    <a:pt x="200" y="79"/>
                  </a:lnTo>
                  <a:lnTo>
                    <a:pt x="214" y="75"/>
                  </a:lnTo>
                  <a:lnTo>
                    <a:pt x="218" y="70"/>
                  </a:lnTo>
                  <a:lnTo>
                    <a:pt x="203" y="60"/>
                  </a:lnTo>
                  <a:lnTo>
                    <a:pt x="188" y="59"/>
                  </a:lnTo>
                  <a:lnTo>
                    <a:pt x="190" y="53"/>
                  </a:lnTo>
                  <a:lnTo>
                    <a:pt x="179" y="48"/>
                  </a:lnTo>
                  <a:lnTo>
                    <a:pt x="171" y="48"/>
                  </a:lnTo>
                  <a:lnTo>
                    <a:pt x="160" y="38"/>
                  </a:lnTo>
                  <a:lnTo>
                    <a:pt x="145" y="23"/>
                  </a:lnTo>
                  <a:lnTo>
                    <a:pt x="138" y="17"/>
                  </a:lnTo>
                  <a:lnTo>
                    <a:pt x="119" y="20"/>
                  </a:lnTo>
                  <a:lnTo>
                    <a:pt x="112" y="11"/>
                  </a:lnTo>
                  <a:lnTo>
                    <a:pt x="112" y="1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Czech Republic"/>
            <p:cNvSpPr>
              <a:spLocks/>
            </p:cNvSpPr>
            <p:nvPr/>
          </p:nvSpPr>
          <p:spPr bwMode="auto">
            <a:xfrm>
              <a:off x="6354762" y="2563813"/>
              <a:ext cx="193675" cy="93663"/>
            </a:xfrm>
            <a:custGeom>
              <a:avLst/>
              <a:gdLst>
                <a:gd name="T0" fmla="*/ 49 w 122"/>
                <a:gd name="T1" fmla="*/ 0 h 59"/>
                <a:gd name="T2" fmla="*/ 41 w 122"/>
                <a:gd name="T3" fmla="*/ 2 h 59"/>
                <a:gd name="T4" fmla="*/ 36 w 122"/>
                <a:gd name="T5" fmla="*/ 0 h 59"/>
                <a:gd name="T6" fmla="*/ 31 w 122"/>
                <a:gd name="T7" fmla="*/ 4 h 59"/>
                <a:gd name="T8" fmla="*/ 19 w 122"/>
                <a:gd name="T9" fmla="*/ 9 h 59"/>
                <a:gd name="T10" fmla="*/ 13 w 122"/>
                <a:gd name="T11" fmla="*/ 14 h 59"/>
                <a:gd name="T12" fmla="*/ 0 w 122"/>
                <a:gd name="T13" fmla="*/ 19 h 59"/>
                <a:gd name="T14" fmla="*/ 3 w 122"/>
                <a:gd name="T15" fmla="*/ 26 h 59"/>
                <a:gd name="T16" fmla="*/ 6 w 122"/>
                <a:gd name="T17" fmla="*/ 36 h 59"/>
                <a:gd name="T18" fmla="*/ 16 w 122"/>
                <a:gd name="T19" fmla="*/ 41 h 59"/>
                <a:gd name="T20" fmla="*/ 27 w 122"/>
                <a:gd name="T21" fmla="*/ 52 h 59"/>
                <a:gd name="T22" fmla="*/ 41 w 122"/>
                <a:gd name="T23" fmla="*/ 59 h 59"/>
                <a:gd name="T24" fmla="*/ 51 w 122"/>
                <a:gd name="T25" fmla="*/ 50 h 59"/>
                <a:gd name="T26" fmla="*/ 57 w 122"/>
                <a:gd name="T27" fmla="*/ 48 h 59"/>
                <a:gd name="T28" fmla="*/ 72 w 122"/>
                <a:gd name="T29" fmla="*/ 54 h 59"/>
                <a:gd name="T30" fmla="*/ 81 w 122"/>
                <a:gd name="T31" fmla="*/ 53 h 59"/>
                <a:gd name="T32" fmla="*/ 89 w 122"/>
                <a:gd name="T33" fmla="*/ 58 h 59"/>
                <a:gd name="T34" fmla="*/ 91 w 122"/>
                <a:gd name="T35" fmla="*/ 52 h 59"/>
                <a:gd name="T36" fmla="*/ 100 w 122"/>
                <a:gd name="T37" fmla="*/ 53 h 59"/>
                <a:gd name="T38" fmla="*/ 105 w 122"/>
                <a:gd name="T39" fmla="*/ 51 h 59"/>
                <a:gd name="T40" fmla="*/ 106 w 122"/>
                <a:gd name="T41" fmla="*/ 49 h 59"/>
                <a:gd name="T42" fmla="*/ 109 w 122"/>
                <a:gd name="T43" fmla="*/ 48 h 59"/>
                <a:gd name="T44" fmla="*/ 110 w 122"/>
                <a:gd name="T45" fmla="*/ 42 h 59"/>
                <a:gd name="T46" fmla="*/ 114 w 122"/>
                <a:gd name="T47" fmla="*/ 41 h 59"/>
                <a:gd name="T48" fmla="*/ 116 w 122"/>
                <a:gd name="T49" fmla="*/ 38 h 59"/>
                <a:gd name="T50" fmla="*/ 122 w 122"/>
                <a:gd name="T51" fmla="*/ 38 h 59"/>
                <a:gd name="T52" fmla="*/ 113 w 122"/>
                <a:gd name="T53" fmla="*/ 25 h 59"/>
                <a:gd name="T54" fmla="*/ 99 w 122"/>
                <a:gd name="T55" fmla="*/ 24 h 59"/>
                <a:gd name="T56" fmla="*/ 96 w 122"/>
                <a:gd name="T57" fmla="*/ 17 h 59"/>
                <a:gd name="T58" fmla="*/ 84 w 122"/>
                <a:gd name="T59" fmla="*/ 15 h 59"/>
                <a:gd name="T60" fmla="*/ 81 w 122"/>
                <a:gd name="T61" fmla="*/ 21 h 59"/>
                <a:gd name="T62" fmla="*/ 72 w 122"/>
                <a:gd name="T63" fmla="*/ 16 h 59"/>
                <a:gd name="T64" fmla="*/ 72 w 122"/>
                <a:gd name="T65" fmla="*/ 10 h 59"/>
                <a:gd name="T66" fmla="*/ 58 w 122"/>
                <a:gd name="T67" fmla="*/ 8 h 59"/>
                <a:gd name="T68" fmla="*/ 49 w 122"/>
                <a:gd name="T69" fmla="*/ 0 h 59"/>
                <a:gd name="T70" fmla="*/ 49 w 122"/>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59">
                  <a:moveTo>
                    <a:pt x="49" y="0"/>
                  </a:moveTo>
                  <a:lnTo>
                    <a:pt x="41" y="2"/>
                  </a:lnTo>
                  <a:lnTo>
                    <a:pt x="36" y="0"/>
                  </a:lnTo>
                  <a:lnTo>
                    <a:pt x="31" y="4"/>
                  </a:lnTo>
                  <a:lnTo>
                    <a:pt x="19" y="9"/>
                  </a:lnTo>
                  <a:lnTo>
                    <a:pt x="13" y="14"/>
                  </a:lnTo>
                  <a:lnTo>
                    <a:pt x="0" y="19"/>
                  </a:lnTo>
                  <a:lnTo>
                    <a:pt x="3" y="26"/>
                  </a:lnTo>
                  <a:lnTo>
                    <a:pt x="6" y="36"/>
                  </a:lnTo>
                  <a:lnTo>
                    <a:pt x="16" y="41"/>
                  </a:lnTo>
                  <a:lnTo>
                    <a:pt x="27" y="52"/>
                  </a:lnTo>
                  <a:lnTo>
                    <a:pt x="41" y="59"/>
                  </a:lnTo>
                  <a:lnTo>
                    <a:pt x="51" y="50"/>
                  </a:lnTo>
                  <a:lnTo>
                    <a:pt x="57" y="48"/>
                  </a:lnTo>
                  <a:lnTo>
                    <a:pt x="72" y="54"/>
                  </a:lnTo>
                  <a:lnTo>
                    <a:pt x="81" y="53"/>
                  </a:lnTo>
                  <a:lnTo>
                    <a:pt x="89" y="58"/>
                  </a:lnTo>
                  <a:lnTo>
                    <a:pt x="91" y="52"/>
                  </a:lnTo>
                  <a:lnTo>
                    <a:pt x="100" y="53"/>
                  </a:lnTo>
                  <a:lnTo>
                    <a:pt x="105" y="51"/>
                  </a:lnTo>
                  <a:lnTo>
                    <a:pt x="106" y="49"/>
                  </a:lnTo>
                  <a:lnTo>
                    <a:pt x="109" y="48"/>
                  </a:lnTo>
                  <a:lnTo>
                    <a:pt x="110" y="42"/>
                  </a:lnTo>
                  <a:lnTo>
                    <a:pt x="114" y="41"/>
                  </a:lnTo>
                  <a:lnTo>
                    <a:pt x="116" y="38"/>
                  </a:lnTo>
                  <a:lnTo>
                    <a:pt x="122" y="38"/>
                  </a:lnTo>
                  <a:lnTo>
                    <a:pt x="113" y="25"/>
                  </a:lnTo>
                  <a:lnTo>
                    <a:pt x="99" y="24"/>
                  </a:lnTo>
                  <a:lnTo>
                    <a:pt x="96" y="17"/>
                  </a:lnTo>
                  <a:lnTo>
                    <a:pt x="84" y="15"/>
                  </a:lnTo>
                  <a:lnTo>
                    <a:pt x="81" y="21"/>
                  </a:lnTo>
                  <a:lnTo>
                    <a:pt x="72" y="16"/>
                  </a:lnTo>
                  <a:lnTo>
                    <a:pt x="72" y="10"/>
                  </a:lnTo>
                  <a:lnTo>
                    <a:pt x="58" y="8"/>
                  </a:lnTo>
                  <a:lnTo>
                    <a:pt x="49" y="0"/>
                  </a:lnTo>
                  <a:lnTo>
                    <a:pt x="49"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Germany"/>
            <p:cNvSpPr>
              <a:spLocks/>
            </p:cNvSpPr>
            <p:nvPr/>
          </p:nvSpPr>
          <p:spPr bwMode="auto">
            <a:xfrm>
              <a:off x="6172200" y="2424113"/>
              <a:ext cx="260350" cy="279400"/>
            </a:xfrm>
            <a:custGeom>
              <a:avLst/>
              <a:gdLst>
                <a:gd name="T0" fmla="*/ 142 w 164"/>
                <a:gd name="T1" fmla="*/ 27 h 176"/>
                <a:gd name="T2" fmla="*/ 133 w 164"/>
                <a:gd name="T3" fmla="*/ 21 h 176"/>
                <a:gd name="T4" fmla="*/ 113 w 164"/>
                <a:gd name="T5" fmla="*/ 12 h 176"/>
                <a:gd name="T6" fmla="*/ 103 w 164"/>
                <a:gd name="T7" fmla="*/ 18 h 176"/>
                <a:gd name="T8" fmla="*/ 86 w 164"/>
                <a:gd name="T9" fmla="*/ 22 h 176"/>
                <a:gd name="T10" fmla="*/ 86 w 164"/>
                <a:gd name="T11" fmla="*/ 14 h 176"/>
                <a:gd name="T12" fmla="*/ 67 w 164"/>
                <a:gd name="T13" fmla="*/ 9 h 176"/>
                <a:gd name="T14" fmla="*/ 66 w 164"/>
                <a:gd name="T15" fmla="*/ 0 h 176"/>
                <a:gd name="T16" fmla="*/ 55 w 164"/>
                <a:gd name="T17" fmla="*/ 4 h 176"/>
                <a:gd name="T18" fmla="*/ 42 w 164"/>
                <a:gd name="T19" fmla="*/ 0 h 176"/>
                <a:gd name="T20" fmla="*/ 43 w 164"/>
                <a:gd name="T21" fmla="*/ 13 h 176"/>
                <a:gd name="T22" fmla="*/ 47 w 164"/>
                <a:gd name="T23" fmla="*/ 22 h 176"/>
                <a:gd name="T24" fmla="*/ 36 w 164"/>
                <a:gd name="T25" fmla="*/ 33 h 176"/>
                <a:gd name="T26" fmla="*/ 32 w 164"/>
                <a:gd name="T27" fmla="*/ 28 h 176"/>
                <a:gd name="T28" fmla="*/ 18 w 164"/>
                <a:gd name="T29" fmla="*/ 29 h 176"/>
                <a:gd name="T30" fmla="*/ 15 w 164"/>
                <a:gd name="T31" fmla="*/ 34 h 176"/>
                <a:gd name="T32" fmla="*/ 18 w 164"/>
                <a:gd name="T33" fmla="*/ 42 h 176"/>
                <a:gd name="T34" fmla="*/ 15 w 164"/>
                <a:gd name="T35" fmla="*/ 62 h 176"/>
                <a:gd name="T36" fmla="*/ 11 w 164"/>
                <a:gd name="T37" fmla="*/ 71 h 176"/>
                <a:gd name="T38" fmla="*/ 0 w 164"/>
                <a:gd name="T39" fmla="*/ 71 h 176"/>
                <a:gd name="T40" fmla="*/ 4 w 164"/>
                <a:gd name="T41" fmla="*/ 95 h 176"/>
                <a:gd name="T42" fmla="*/ 3 w 164"/>
                <a:gd name="T43" fmla="*/ 111 h 176"/>
                <a:gd name="T44" fmla="*/ 6 w 164"/>
                <a:gd name="T45" fmla="*/ 116 h 176"/>
                <a:gd name="T46" fmla="*/ 5 w 164"/>
                <a:gd name="T47" fmla="*/ 126 h 176"/>
                <a:gd name="T48" fmla="*/ 15 w 164"/>
                <a:gd name="T49" fmla="*/ 132 h 176"/>
                <a:gd name="T50" fmla="*/ 41 w 164"/>
                <a:gd name="T51" fmla="*/ 137 h 176"/>
                <a:gd name="T52" fmla="*/ 32 w 164"/>
                <a:gd name="T53" fmla="*/ 152 h 176"/>
                <a:gd name="T54" fmla="*/ 31 w 164"/>
                <a:gd name="T55" fmla="*/ 168 h 176"/>
                <a:gd name="T56" fmla="*/ 46 w 164"/>
                <a:gd name="T57" fmla="*/ 168 h 176"/>
                <a:gd name="T58" fmla="*/ 50 w 164"/>
                <a:gd name="T59" fmla="*/ 164 h 176"/>
                <a:gd name="T60" fmla="*/ 70 w 164"/>
                <a:gd name="T61" fmla="*/ 170 h 176"/>
                <a:gd name="T62" fmla="*/ 75 w 164"/>
                <a:gd name="T63" fmla="*/ 169 h 176"/>
                <a:gd name="T64" fmla="*/ 86 w 164"/>
                <a:gd name="T65" fmla="*/ 176 h 176"/>
                <a:gd name="T66" fmla="*/ 88 w 164"/>
                <a:gd name="T67" fmla="*/ 170 h 176"/>
                <a:gd name="T68" fmla="*/ 104 w 164"/>
                <a:gd name="T69" fmla="*/ 171 h 176"/>
                <a:gd name="T70" fmla="*/ 117 w 164"/>
                <a:gd name="T71" fmla="*/ 167 h 176"/>
                <a:gd name="T72" fmla="*/ 126 w 164"/>
                <a:gd name="T73" fmla="*/ 168 h 176"/>
                <a:gd name="T74" fmla="*/ 132 w 164"/>
                <a:gd name="T75" fmla="*/ 172 h 176"/>
                <a:gd name="T76" fmla="*/ 133 w 164"/>
                <a:gd name="T77" fmla="*/ 168 h 176"/>
                <a:gd name="T78" fmla="*/ 130 w 164"/>
                <a:gd name="T79" fmla="*/ 154 h 176"/>
                <a:gd name="T80" fmla="*/ 136 w 164"/>
                <a:gd name="T81" fmla="*/ 150 h 176"/>
                <a:gd name="T82" fmla="*/ 142 w 164"/>
                <a:gd name="T83" fmla="*/ 140 h 176"/>
                <a:gd name="T84" fmla="*/ 131 w 164"/>
                <a:gd name="T85" fmla="*/ 129 h 176"/>
                <a:gd name="T86" fmla="*/ 121 w 164"/>
                <a:gd name="T87" fmla="*/ 124 h 176"/>
                <a:gd name="T88" fmla="*/ 118 w 164"/>
                <a:gd name="T89" fmla="*/ 114 h 176"/>
                <a:gd name="T90" fmla="*/ 115 w 164"/>
                <a:gd name="T91" fmla="*/ 107 h 176"/>
                <a:gd name="T92" fmla="*/ 128 w 164"/>
                <a:gd name="T93" fmla="*/ 102 h 176"/>
                <a:gd name="T94" fmla="*/ 134 w 164"/>
                <a:gd name="T95" fmla="*/ 97 h 176"/>
                <a:gd name="T96" fmla="*/ 146 w 164"/>
                <a:gd name="T97" fmla="*/ 92 h 176"/>
                <a:gd name="T98" fmla="*/ 151 w 164"/>
                <a:gd name="T99" fmla="*/ 88 h 176"/>
                <a:gd name="T100" fmla="*/ 156 w 164"/>
                <a:gd name="T101" fmla="*/ 90 h 176"/>
                <a:gd name="T102" fmla="*/ 164 w 164"/>
                <a:gd name="T103" fmla="*/ 88 h 176"/>
                <a:gd name="T104" fmla="*/ 155 w 164"/>
                <a:gd name="T105" fmla="*/ 73 h 176"/>
                <a:gd name="T106" fmla="*/ 156 w 164"/>
                <a:gd name="T107" fmla="*/ 66 h 176"/>
                <a:gd name="T108" fmla="*/ 150 w 164"/>
                <a:gd name="T109" fmla="*/ 54 h 176"/>
                <a:gd name="T110" fmla="*/ 143 w 164"/>
                <a:gd name="T111" fmla="*/ 45 h 176"/>
                <a:gd name="T112" fmla="*/ 147 w 164"/>
                <a:gd name="T113" fmla="*/ 40 h 176"/>
                <a:gd name="T114" fmla="*/ 142 w 164"/>
                <a:gd name="T115" fmla="*/ 27 h 176"/>
                <a:gd name="T116" fmla="*/ 142 w 164"/>
                <a:gd name="T117" fmla="*/ 2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76">
                  <a:moveTo>
                    <a:pt x="142" y="27"/>
                  </a:moveTo>
                  <a:lnTo>
                    <a:pt x="133" y="21"/>
                  </a:lnTo>
                  <a:lnTo>
                    <a:pt x="113" y="12"/>
                  </a:lnTo>
                  <a:lnTo>
                    <a:pt x="103" y="18"/>
                  </a:lnTo>
                  <a:lnTo>
                    <a:pt x="86" y="22"/>
                  </a:lnTo>
                  <a:lnTo>
                    <a:pt x="86" y="14"/>
                  </a:lnTo>
                  <a:lnTo>
                    <a:pt x="67" y="9"/>
                  </a:lnTo>
                  <a:lnTo>
                    <a:pt x="66" y="0"/>
                  </a:lnTo>
                  <a:lnTo>
                    <a:pt x="55" y="4"/>
                  </a:lnTo>
                  <a:lnTo>
                    <a:pt x="42" y="0"/>
                  </a:lnTo>
                  <a:lnTo>
                    <a:pt x="43" y="13"/>
                  </a:lnTo>
                  <a:lnTo>
                    <a:pt x="47" y="22"/>
                  </a:lnTo>
                  <a:lnTo>
                    <a:pt x="36" y="33"/>
                  </a:lnTo>
                  <a:lnTo>
                    <a:pt x="32" y="28"/>
                  </a:lnTo>
                  <a:lnTo>
                    <a:pt x="18" y="29"/>
                  </a:lnTo>
                  <a:lnTo>
                    <a:pt x="15" y="34"/>
                  </a:lnTo>
                  <a:lnTo>
                    <a:pt x="18" y="42"/>
                  </a:lnTo>
                  <a:lnTo>
                    <a:pt x="15" y="62"/>
                  </a:lnTo>
                  <a:lnTo>
                    <a:pt x="11" y="71"/>
                  </a:lnTo>
                  <a:lnTo>
                    <a:pt x="0" y="71"/>
                  </a:lnTo>
                  <a:lnTo>
                    <a:pt x="4" y="95"/>
                  </a:lnTo>
                  <a:lnTo>
                    <a:pt x="3" y="111"/>
                  </a:lnTo>
                  <a:lnTo>
                    <a:pt x="6" y="116"/>
                  </a:lnTo>
                  <a:lnTo>
                    <a:pt x="5" y="126"/>
                  </a:lnTo>
                  <a:lnTo>
                    <a:pt x="15" y="132"/>
                  </a:lnTo>
                  <a:lnTo>
                    <a:pt x="41" y="137"/>
                  </a:lnTo>
                  <a:lnTo>
                    <a:pt x="32" y="152"/>
                  </a:lnTo>
                  <a:lnTo>
                    <a:pt x="31" y="168"/>
                  </a:lnTo>
                  <a:lnTo>
                    <a:pt x="46" y="168"/>
                  </a:lnTo>
                  <a:lnTo>
                    <a:pt x="50" y="164"/>
                  </a:lnTo>
                  <a:lnTo>
                    <a:pt x="70" y="170"/>
                  </a:lnTo>
                  <a:lnTo>
                    <a:pt x="75" y="169"/>
                  </a:lnTo>
                  <a:lnTo>
                    <a:pt x="86" y="176"/>
                  </a:lnTo>
                  <a:lnTo>
                    <a:pt x="88" y="170"/>
                  </a:lnTo>
                  <a:lnTo>
                    <a:pt x="104" y="171"/>
                  </a:lnTo>
                  <a:lnTo>
                    <a:pt x="117" y="167"/>
                  </a:lnTo>
                  <a:lnTo>
                    <a:pt x="126" y="168"/>
                  </a:lnTo>
                  <a:lnTo>
                    <a:pt x="132" y="172"/>
                  </a:lnTo>
                  <a:lnTo>
                    <a:pt x="133" y="168"/>
                  </a:lnTo>
                  <a:lnTo>
                    <a:pt x="130" y="154"/>
                  </a:lnTo>
                  <a:lnTo>
                    <a:pt x="136" y="150"/>
                  </a:lnTo>
                  <a:lnTo>
                    <a:pt x="142" y="140"/>
                  </a:lnTo>
                  <a:lnTo>
                    <a:pt x="131" y="129"/>
                  </a:lnTo>
                  <a:lnTo>
                    <a:pt x="121" y="124"/>
                  </a:lnTo>
                  <a:lnTo>
                    <a:pt x="118" y="114"/>
                  </a:lnTo>
                  <a:lnTo>
                    <a:pt x="115" y="107"/>
                  </a:lnTo>
                  <a:lnTo>
                    <a:pt x="128" y="102"/>
                  </a:lnTo>
                  <a:lnTo>
                    <a:pt x="134" y="97"/>
                  </a:lnTo>
                  <a:lnTo>
                    <a:pt x="146" y="92"/>
                  </a:lnTo>
                  <a:lnTo>
                    <a:pt x="151" y="88"/>
                  </a:lnTo>
                  <a:lnTo>
                    <a:pt x="156" y="90"/>
                  </a:lnTo>
                  <a:lnTo>
                    <a:pt x="164" y="88"/>
                  </a:lnTo>
                  <a:lnTo>
                    <a:pt x="155" y="73"/>
                  </a:lnTo>
                  <a:lnTo>
                    <a:pt x="156" y="66"/>
                  </a:lnTo>
                  <a:lnTo>
                    <a:pt x="150" y="54"/>
                  </a:lnTo>
                  <a:lnTo>
                    <a:pt x="143" y="45"/>
                  </a:lnTo>
                  <a:lnTo>
                    <a:pt x="147" y="40"/>
                  </a:lnTo>
                  <a:lnTo>
                    <a:pt x="142" y="27"/>
                  </a:lnTo>
                  <a:lnTo>
                    <a:pt x="142" y="2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Djibouti"/>
            <p:cNvSpPr>
              <a:spLocks/>
            </p:cNvSpPr>
            <p:nvPr/>
          </p:nvSpPr>
          <p:spPr bwMode="auto">
            <a:xfrm>
              <a:off x="7381875" y="4005263"/>
              <a:ext cx="52387" cy="65088"/>
            </a:xfrm>
            <a:custGeom>
              <a:avLst/>
              <a:gdLst>
                <a:gd name="T0" fmla="*/ 30 w 33"/>
                <a:gd name="T1" fmla="*/ 29 h 41"/>
                <a:gd name="T2" fmla="*/ 21 w 33"/>
                <a:gd name="T3" fmla="*/ 22 h 41"/>
                <a:gd name="T4" fmla="*/ 33 w 33"/>
                <a:gd name="T5" fmla="*/ 17 h 41"/>
                <a:gd name="T6" fmla="*/ 33 w 33"/>
                <a:gd name="T7" fmla="*/ 6 h 41"/>
                <a:gd name="T8" fmla="*/ 28 w 33"/>
                <a:gd name="T9" fmla="*/ 0 h 41"/>
                <a:gd name="T10" fmla="*/ 22 w 33"/>
                <a:gd name="T11" fmla="*/ 5 h 41"/>
                <a:gd name="T12" fmla="*/ 13 w 33"/>
                <a:gd name="T13" fmla="*/ 3 h 41"/>
                <a:gd name="T14" fmla="*/ 6 w 33"/>
                <a:gd name="T15" fmla="*/ 14 h 41"/>
                <a:gd name="T16" fmla="*/ 0 w 33"/>
                <a:gd name="T17" fmla="*/ 25 h 41"/>
                <a:gd name="T18" fmla="*/ 2 w 33"/>
                <a:gd name="T19" fmla="*/ 31 h 41"/>
                <a:gd name="T20" fmla="*/ 2 w 33"/>
                <a:gd name="T21" fmla="*/ 39 h 41"/>
                <a:gd name="T22" fmla="*/ 14 w 33"/>
                <a:gd name="T23" fmla="*/ 39 h 41"/>
                <a:gd name="T24" fmla="*/ 18 w 33"/>
                <a:gd name="T25" fmla="*/ 37 h 41"/>
                <a:gd name="T26" fmla="*/ 23 w 33"/>
                <a:gd name="T27" fmla="*/ 41 h 41"/>
                <a:gd name="T28" fmla="*/ 30 w 33"/>
                <a:gd name="T29" fmla="*/ 29 h 41"/>
                <a:gd name="T30" fmla="*/ 30 w 33"/>
                <a:gd name="T3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1">
                  <a:moveTo>
                    <a:pt x="30" y="29"/>
                  </a:moveTo>
                  <a:lnTo>
                    <a:pt x="21" y="22"/>
                  </a:lnTo>
                  <a:lnTo>
                    <a:pt x="33" y="17"/>
                  </a:lnTo>
                  <a:lnTo>
                    <a:pt x="33" y="6"/>
                  </a:lnTo>
                  <a:lnTo>
                    <a:pt x="28" y="0"/>
                  </a:lnTo>
                  <a:lnTo>
                    <a:pt x="22" y="5"/>
                  </a:lnTo>
                  <a:lnTo>
                    <a:pt x="13" y="3"/>
                  </a:lnTo>
                  <a:lnTo>
                    <a:pt x="6" y="14"/>
                  </a:lnTo>
                  <a:lnTo>
                    <a:pt x="0" y="25"/>
                  </a:lnTo>
                  <a:lnTo>
                    <a:pt x="2" y="31"/>
                  </a:lnTo>
                  <a:lnTo>
                    <a:pt x="2" y="39"/>
                  </a:lnTo>
                  <a:lnTo>
                    <a:pt x="14" y="39"/>
                  </a:lnTo>
                  <a:lnTo>
                    <a:pt x="18" y="37"/>
                  </a:lnTo>
                  <a:lnTo>
                    <a:pt x="23" y="41"/>
                  </a:lnTo>
                  <a:lnTo>
                    <a:pt x="30" y="29"/>
                  </a:lnTo>
                  <a:lnTo>
                    <a:pt x="30" y="2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5" name="Denmark"/>
            <p:cNvSpPr>
              <a:spLocks noEditPoints="1"/>
            </p:cNvSpPr>
            <p:nvPr/>
          </p:nvSpPr>
          <p:spPr bwMode="auto">
            <a:xfrm>
              <a:off x="6223000" y="2327276"/>
              <a:ext cx="130175" cy="103188"/>
            </a:xfrm>
            <a:custGeom>
              <a:avLst/>
              <a:gdLst>
                <a:gd name="T0" fmla="*/ 82 w 82"/>
                <a:gd name="T1" fmla="*/ 47 h 65"/>
                <a:gd name="T2" fmla="*/ 75 w 82"/>
                <a:gd name="T3" fmla="*/ 36 h 65"/>
                <a:gd name="T4" fmla="*/ 50 w 82"/>
                <a:gd name="T5" fmla="*/ 44 h 65"/>
                <a:gd name="T6" fmla="*/ 54 w 82"/>
                <a:gd name="T7" fmla="*/ 53 h 65"/>
                <a:gd name="T8" fmla="*/ 72 w 82"/>
                <a:gd name="T9" fmla="*/ 65 h 65"/>
                <a:gd name="T10" fmla="*/ 82 w 82"/>
                <a:gd name="T11" fmla="*/ 47 h 65"/>
                <a:gd name="T12" fmla="*/ 82 w 82"/>
                <a:gd name="T13" fmla="*/ 47 h 65"/>
                <a:gd name="T14" fmla="*/ 49 w 82"/>
                <a:gd name="T15" fmla="*/ 28 h 65"/>
                <a:gd name="T16" fmla="*/ 40 w 82"/>
                <a:gd name="T17" fmla="*/ 25 h 65"/>
                <a:gd name="T18" fmla="*/ 37 w 82"/>
                <a:gd name="T19" fmla="*/ 18 h 65"/>
                <a:gd name="T20" fmla="*/ 42 w 82"/>
                <a:gd name="T21" fmla="*/ 11 h 65"/>
                <a:gd name="T22" fmla="*/ 42 w 82"/>
                <a:gd name="T23" fmla="*/ 0 h 65"/>
                <a:gd name="T24" fmla="*/ 28 w 82"/>
                <a:gd name="T25" fmla="*/ 6 h 65"/>
                <a:gd name="T26" fmla="*/ 22 w 82"/>
                <a:gd name="T27" fmla="*/ 13 h 65"/>
                <a:gd name="T28" fmla="*/ 7 w 82"/>
                <a:gd name="T29" fmla="*/ 14 h 65"/>
                <a:gd name="T30" fmla="*/ 3 w 82"/>
                <a:gd name="T31" fmla="*/ 20 h 65"/>
                <a:gd name="T32" fmla="*/ 0 w 82"/>
                <a:gd name="T33" fmla="*/ 26 h 65"/>
                <a:gd name="T34" fmla="*/ 1 w 82"/>
                <a:gd name="T35" fmla="*/ 49 h 65"/>
                <a:gd name="T36" fmla="*/ 10 w 82"/>
                <a:gd name="T37" fmla="*/ 61 h 65"/>
                <a:gd name="T38" fmla="*/ 23 w 82"/>
                <a:gd name="T39" fmla="*/ 65 h 65"/>
                <a:gd name="T40" fmla="*/ 34 w 82"/>
                <a:gd name="T41" fmla="*/ 61 h 65"/>
                <a:gd name="T42" fmla="*/ 28 w 82"/>
                <a:gd name="T43" fmla="*/ 50 h 65"/>
                <a:gd name="T44" fmla="*/ 41 w 82"/>
                <a:gd name="T45" fmla="*/ 34 h 65"/>
                <a:gd name="T46" fmla="*/ 45 w 82"/>
                <a:gd name="T47" fmla="*/ 37 h 65"/>
                <a:gd name="T48" fmla="*/ 49 w 82"/>
                <a:gd name="T49" fmla="*/ 28 h 65"/>
                <a:gd name="T50" fmla="*/ 49 w 82"/>
                <a:gd name="T51" fmla="*/ 2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65">
                  <a:moveTo>
                    <a:pt x="82" y="47"/>
                  </a:moveTo>
                  <a:lnTo>
                    <a:pt x="75" y="36"/>
                  </a:lnTo>
                  <a:lnTo>
                    <a:pt x="50" y="44"/>
                  </a:lnTo>
                  <a:lnTo>
                    <a:pt x="54" y="53"/>
                  </a:lnTo>
                  <a:lnTo>
                    <a:pt x="72" y="65"/>
                  </a:lnTo>
                  <a:lnTo>
                    <a:pt x="82" y="47"/>
                  </a:lnTo>
                  <a:lnTo>
                    <a:pt x="82" y="47"/>
                  </a:lnTo>
                  <a:close/>
                  <a:moveTo>
                    <a:pt x="49" y="28"/>
                  </a:moveTo>
                  <a:lnTo>
                    <a:pt x="40" y="25"/>
                  </a:lnTo>
                  <a:lnTo>
                    <a:pt x="37" y="18"/>
                  </a:lnTo>
                  <a:lnTo>
                    <a:pt x="42" y="11"/>
                  </a:lnTo>
                  <a:lnTo>
                    <a:pt x="42" y="0"/>
                  </a:lnTo>
                  <a:lnTo>
                    <a:pt x="28" y="6"/>
                  </a:lnTo>
                  <a:lnTo>
                    <a:pt x="22" y="13"/>
                  </a:lnTo>
                  <a:lnTo>
                    <a:pt x="7" y="14"/>
                  </a:lnTo>
                  <a:lnTo>
                    <a:pt x="3" y="20"/>
                  </a:lnTo>
                  <a:lnTo>
                    <a:pt x="0" y="26"/>
                  </a:lnTo>
                  <a:lnTo>
                    <a:pt x="1" y="49"/>
                  </a:lnTo>
                  <a:lnTo>
                    <a:pt x="10" y="61"/>
                  </a:lnTo>
                  <a:lnTo>
                    <a:pt x="23" y="65"/>
                  </a:lnTo>
                  <a:lnTo>
                    <a:pt x="34" y="61"/>
                  </a:lnTo>
                  <a:lnTo>
                    <a:pt x="28" y="50"/>
                  </a:lnTo>
                  <a:lnTo>
                    <a:pt x="41" y="34"/>
                  </a:lnTo>
                  <a:lnTo>
                    <a:pt x="45" y="37"/>
                  </a:lnTo>
                  <a:lnTo>
                    <a:pt x="49" y="28"/>
                  </a:lnTo>
                  <a:lnTo>
                    <a:pt x="49" y="2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6" name="Dominican Republic"/>
            <p:cNvSpPr>
              <a:spLocks/>
            </p:cNvSpPr>
            <p:nvPr/>
          </p:nvSpPr>
          <p:spPr bwMode="auto">
            <a:xfrm>
              <a:off x="3640137" y="3732213"/>
              <a:ext cx="120650" cy="87313"/>
            </a:xfrm>
            <a:custGeom>
              <a:avLst/>
              <a:gdLst>
                <a:gd name="T0" fmla="*/ 4 w 76"/>
                <a:gd name="T1" fmla="*/ 45 h 55"/>
                <a:gd name="T2" fmla="*/ 4 w 76"/>
                <a:gd name="T3" fmla="*/ 51 h 55"/>
                <a:gd name="T4" fmla="*/ 9 w 76"/>
                <a:gd name="T5" fmla="*/ 55 h 55"/>
                <a:gd name="T6" fmla="*/ 19 w 76"/>
                <a:gd name="T7" fmla="*/ 38 h 55"/>
                <a:gd name="T8" fmla="*/ 26 w 76"/>
                <a:gd name="T9" fmla="*/ 35 h 55"/>
                <a:gd name="T10" fmla="*/ 29 w 76"/>
                <a:gd name="T11" fmla="*/ 41 h 55"/>
                <a:gd name="T12" fmla="*/ 37 w 76"/>
                <a:gd name="T13" fmla="*/ 39 h 55"/>
                <a:gd name="T14" fmla="*/ 41 w 76"/>
                <a:gd name="T15" fmla="*/ 35 h 55"/>
                <a:gd name="T16" fmla="*/ 48 w 76"/>
                <a:gd name="T17" fmla="*/ 36 h 55"/>
                <a:gd name="T18" fmla="*/ 58 w 76"/>
                <a:gd name="T19" fmla="*/ 35 h 55"/>
                <a:gd name="T20" fmla="*/ 67 w 76"/>
                <a:gd name="T21" fmla="*/ 40 h 55"/>
                <a:gd name="T22" fmla="*/ 76 w 76"/>
                <a:gd name="T23" fmla="*/ 31 h 55"/>
                <a:gd name="T24" fmla="*/ 66 w 76"/>
                <a:gd name="T25" fmla="*/ 22 h 55"/>
                <a:gd name="T26" fmla="*/ 57 w 76"/>
                <a:gd name="T27" fmla="*/ 21 h 55"/>
                <a:gd name="T28" fmla="*/ 58 w 76"/>
                <a:gd name="T29" fmla="*/ 14 h 55"/>
                <a:gd name="T30" fmla="*/ 47 w 76"/>
                <a:gd name="T31" fmla="*/ 15 h 55"/>
                <a:gd name="T32" fmla="*/ 44 w 76"/>
                <a:gd name="T33" fmla="*/ 6 h 55"/>
                <a:gd name="T34" fmla="*/ 39 w 76"/>
                <a:gd name="T35" fmla="*/ 6 h 55"/>
                <a:gd name="T36" fmla="*/ 27 w 76"/>
                <a:gd name="T37" fmla="*/ 1 h 55"/>
                <a:gd name="T38" fmla="*/ 11 w 76"/>
                <a:gd name="T39" fmla="*/ 0 h 55"/>
                <a:gd name="T40" fmla="*/ 8 w 76"/>
                <a:gd name="T41" fmla="*/ 5 h 55"/>
                <a:gd name="T42" fmla="*/ 9 w 76"/>
                <a:gd name="T43" fmla="*/ 18 h 55"/>
                <a:gd name="T44" fmla="*/ 6 w 76"/>
                <a:gd name="T45" fmla="*/ 26 h 55"/>
                <a:gd name="T46" fmla="*/ 0 w 76"/>
                <a:gd name="T47" fmla="*/ 31 h 55"/>
                <a:gd name="T48" fmla="*/ 5 w 76"/>
                <a:gd name="T49" fmla="*/ 37 h 55"/>
                <a:gd name="T50" fmla="*/ 4 w 76"/>
                <a:gd name="T51" fmla="*/ 45 h 55"/>
                <a:gd name="T52" fmla="*/ 4 w 76"/>
                <a:gd name="T5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55">
                  <a:moveTo>
                    <a:pt x="4" y="45"/>
                  </a:moveTo>
                  <a:lnTo>
                    <a:pt x="4" y="51"/>
                  </a:lnTo>
                  <a:lnTo>
                    <a:pt x="9" y="55"/>
                  </a:lnTo>
                  <a:lnTo>
                    <a:pt x="19" y="38"/>
                  </a:lnTo>
                  <a:lnTo>
                    <a:pt x="26" y="35"/>
                  </a:lnTo>
                  <a:lnTo>
                    <a:pt x="29" y="41"/>
                  </a:lnTo>
                  <a:lnTo>
                    <a:pt x="37" y="39"/>
                  </a:lnTo>
                  <a:lnTo>
                    <a:pt x="41" y="35"/>
                  </a:lnTo>
                  <a:lnTo>
                    <a:pt x="48" y="36"/>
                  </a:lnTo>
                  <a:lnTo>
                    <a:pt x="58" y="35"/>
                  </a:lnTo>
                  <a:lnTo>
                    <a:pt x="67" y="40"/>
                  </a:lnTo>
                  <a:lnTo>
                    <a:pt x="76" y="31"/>
                  </a:lnTo>
                  <a:lnTo>
                    <a:pt x="66" y="22"/>
                  </a:lnTo>
                  <a:lnTo>
                    <a:pt x="57" y="21"/>
                  </a:lnTo>
                  <a:lnTo>
                    <a:pt x="58" y="14"/>
                  </a:lnTo>
                  <a:lnTo>
                    <a:pt x="47" y="15"/>
                  </a:lnTo>
                  <a:lnTo>
                    <a:pt x="44" y="6"/>
                  </a:lnTo>
                  <a:lnTo>
                    <a:pt x="39" y="6"/>
                  </a:lnTo>
                  <a:lnTo>
                    <a:pt x="27" y="1"/>
                  </a:lnTo>
                  <a:lnTo>
                    <a:pt x="11" y="0"/>
                  </a:lnTo>
                  <a:lnTo>
                    <a:pt x="8" y="5"/>
                  </a:lnTo>
                  <a:lnTo>
                    <a:pt x="9" y="18"/>
                  </a:lnTo>
                  <a:lnTo>
                    <a:pt x="6" y="26"/>
                  </a:lnTo>
                  <a:lnTo>
                    <a:pt x="0" y="31"/>
                  </a:lnTo>
                  <a:lnTo>
                    <a:pt x="5" y="37"/>
                  </a:lnTo>
                  <a:lnTo>
                    <a:pt x="4" y="45"/>
                  </a:lnTo>
                  <a:lnTo>
                    <a:pt x="4" y="4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7" name="Algeria"/>
            <p:cNvSpPr>
              <a:spLocks/>
            </p:cNvSpPr>
            <p:nvPr/>
          </p:nvSpPr>
          <p:spPr bwMode="auto">
            <a:xfrm>
              <a:off x="5721350" y="3081338"/>
              <a:ext cx="669925" cy="682625"/>
            </a:xfrm>
            <a:custGeom>
              <a:avLst/>
              <a:gdLst>
                <a:gd name="T0" fmla="*/ 342 w 422"/>
                <a:gd name="T1" fmla="*/ 5 h 430"/>
                <a:gd name="T2" fmla="*/ 329 w 422"/>
                <a:gd name="T3" fmla="*/ 6 h 430"/>
                <a:gd name="T4" fmla="*/ 320 w 422"/>
                <a:gd name="T5" fmla="*/ 0 h 430"/>
                <a:gd name="T6" fmla="*/ 299 w 422"/>
                <a:gd name="T7" fmla="*/ 0 h 430"/>
                <a:gd name="T8" fmla="*/ 281 w 422"/>
                <a:gd name="T9" fmla="*/ 10 h 430"/>
                <a:gd name="T10" fmla="*/ 271 w 422"/>
                <a:gd name="T11" fmla="*/ 7 h 430"/>
                <a:gd name="T12" fmla="*/ 238 w 422"/>
                <a:gd name="T13" fmla="*/ 8 h 430"/>
                <a:gd name="T14" fmla="*/ 205 w 422"/>
                <a:gd name="T15" fmla="*/ 12 h 430"/>
                <a:gd name="T16" fmla="*/ 187 w 422"/>
                <a:gd name="T17" fmla="*/ 20 h 430"/>
                <a:gd name="T18" fmla="*/ 174 w 422"/>
                <a:gd name="T19" fmla="*/ 30 h 430"/>
                <a:gd name="T20" fmla="*/ 152 w 422"/>
                <a:gd name="T21" fmla="*/ 35 h 430"/>
                <a:gd name="T22" fmla="*/ 133 w 422"/>
                <a:gd name="T23" fmla="*/ 48 h 430"/>
                <a:gd name="T24" fmla="*/ 141 w 422"/>
                <a:gd name="T25" fmla="*/ 63 h 430"/>
                <a:gd name="T26" fmla="*/ 142 w 422"/>
                <a:gd name="T27" fmla="*/ 78 h 430"/>
                <a:gd name="T28" fmla="*/ 148 w 422"/>
                <a:gd name="T29" fmla="*/ 102 h 430"/>
                <a:gd name="T30" fmla="*/ 154 w 422"/>
                <a:gd name="T31" fmla="*/ 107 h 430"/>
                <a:gd name="T32" fmla="*/ 150 w 422"/>
                <a:gd name="T33" fmla="*/ 117 h 430"/>
                <a:gd name="T34" fmla="*/ 124 w 422"/>
                <a:gd name="T35" fmla="*/ 120 h 430"/>
                <a:gd name="T36" fmla="*/ 115 w 422"/>
                <a:gd name="T37" fmla="*/ 130 h 430"/>
                <a:gd name="T38" fmla="*/ 103 w 422"/>
                <a:gd name="T39" fmla="*/ 132 h 430"/>
                <a:gd name="T40" fmla="*/ 102 w 422"/>
                <a:gd name="T41" fmla="*/ 148 h 430"/>
                <a:gd name="T42" fmla="*/ 78 w 422"/>
                <a:gd name="T43" fmla="*/ 158 h 430"/>
                <a:gd name="T44" fmla="*/ 71 w 422"/>
                <a:gd name="T45" fmla="*/ 170 h 430"/>
                <a:gd name="T46" fmla="*/ 54 w 422"/>
                <a:gd name="T47" fmla="*/ 177 h 430"/>
                <a:gd name="T48" fmla="*/ 34 w 422"/>
                <a:gd name="T49" fmla="*/ 180 h 430"/>
                <a:gd name="T50" fmla="*/ 1 w 422"/>
                <a:gd name="T51" fmla="*/ 198 h 430"/>
                <a:gd name="T52" fmla="*/ 0 w 422"/>
                <a:gd name="T53" fmla="*/ 226 h 430"/>
                <a:gd name="T54" fmla="*/ 0 w 422"/>
                <a:gd name="T55" fmla="*/ 227 h 430"/>
                <a:gd name="T56" fmla="*/ 0 w 422"/>
                <a:gd name="T57" fmla="*/ 232 h 430"/>
                <a:gd name="T58" fmla="*/ 76 w 422"/>
                <a:gd name="T59" fmla="*/ 289 h 430"/>
                <a:gd name="T60" fmla="*/ 145 w 422"/>
                <a:gd name="T61" fmla="*/ 342 h 430"/>
                <a:gd name="T62" fmla="*/ 214 w 422"/>
                <a:gd name="T63" fmla="*/ 393 h 430"/>
                <a:gd name="T64" fmla="*/ 218 w 422"/>
                <a:gd name="T65" fmla="*/ 404 h 430"/>
                <a:gd name="T66" fmla="*/ 232 w 422"/>
                <a:gd name="T67" fmla="*/ 411 h 430"/>
                <a:gd name="T68" fmla="*/ 241 w 422"/>
                <a:gd name="T69" fmla="*/ 416 h 430"/>
                <a:gd name="T70" fmla="*/ 242 w 422"/>
                <a:gd name="T71" fmla="*/ 430 h 430"/>
                <a:gd name="T72" fmla="*/ 264 w 422"/>
                <a:gd name="T73" fmla="*/ 428 h 430"/>
                <a:gd name="T74" fmla="*/ 293 w 422"/>
                <a:gd name="T75" fmla="*/ 417 h 430"/>
                <a:gd name="T76" fmla="*/ 353 w 422"/>
                <a:gd name="T77" fmla="*/ 371 h 430"/>
                <a:gd name="T78" fmla="*/ 422 w 422"/>
                <a:gd name="T79" fmla="*/ 325 h 430"/>
                <a:gd name="T80" fmla="*/ 413 w 422"/>
                <a:gd name="T81" fmla="*/ 310 h 430"/>
                <a:gd name="T82" fmla="*/ 397 w 422"/>
                <a:gd name="T83" fmla="*/ 300 h 430"/>
                <a:gd name="T84" fmla="*/ 387 w 422"/>
                <a:gd name="T85" fmla="*/ 303 h 430"/>
                <a:gd name="T86" fmla="*/ 379 w 422"/>
                <a:gd name="T87" fmla="*/ 290 h 430"/>
                <a:gd name="T88" fmla="*/ 379 w 422"/>
                <a:gd name="T89" fmla="*/ 280 h 430"/>
                <a:gd name="T90" fmla="*/ 366 w 422"/>
                <a:gd name="T91" fmla="*/ 262 h 430"/>
                <a:gd name="T92" fmla="*/ 373 w 422"/>
                <a:gd name="T93" fmla="*/ 253 h 430"/>
                <a:gd name="T94" fmla="*/ 372 w 422"/>
                <a:gd name="T95" fmla="*/ 238 h 430"/>
                <a:gd name="T96" fmla="*/ 374 w 422"/>
                <a:gd name="T97" fmla="*/ 225 h 430"/>
                <a:gd name="T98" fmla="*/ 373 w 422"/>
                <a:gd name="T99" fmla="*/ 214 h 430"/>
                <a:gd name="T100" fmla="*/ 375 w 422"/>
                <a:gd name="T101" fmla="*/ 195 h 430"/>
                <a:gd name="T102" fmla="*/ 374 w 422"/>
                <a:gd name="T103" fmla="*/ 184 h 430"/>
                <a:gd name="T104" fmla="*/ 367 w 422"/>
                <a:gd name="T105" fmla="*/ 162 h 430"/>
                <a:gd name="T106" fmla="*/ 358 w 422"/>
                <a:gd name="T107" fmla="*/ 120 h 430"/>
                <a:gd name="T108" fmla="*/ 344 w 422"/>
                <a:gd name="T109" fmla="*/ 111 h 430"/>
                <a:gd name="T110" fmla="*/ 344 w 422"/>
                <a:gd name="T111" fmla="*/ 106 h 430"/>
                <a:gd name="T112" fmla="*/ 328 w 422"/>
                <a:gd name="T113" fmla="*/ 91 h 430"/>
                <a:gd name="T114" fmla="*/ 326 w 422"/>
                <a:gd name="T115" fmla="*/ 73 h 430"/>
                <a:gd name="T116" fmla="*/ 338 w 422"/>
                <a:gd name="T117" fmla="*/ 60 h 430"/>
                <a:gd name="T118" fmla="*/ 342 w 422"/>
                <a:gd name="T119" fmla="*/ 40 h 430"/>
                <a:gd name="T120" fmla="*/ 338 w 422"/>
                <a:gd name="T121" fmla="*/ 17 h 430"/>
                <a:gd name="T122" fmla="*/ 342 w 422"/>
                <a:gd name="T123" fmla="*/ 5 h 430"/>
                <a:gd name="T124" fmla="*/ 342 w 422"/>
                <a:gd name="T125" fmla="*/ 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430">
                  <a:moveTo>
                    <a:pt x="342" y="5"/>
                  </a:moveTo>
                  <a:lnTo>
                    <a:pt x="329" y="6"/>
                  </a:lnTo>
                  <a:lnTo>
                    <a:pt x="320" y="0"/>
                  </a:lnTo>
                  <a:lnTo>
                    <a:pt x="299" y="0"/>
                  </a:lnTo>
                  <a:lnTo>
                    <a:pt x="281" y="10"/>
                  </a:lnTo>
                  <a:lnTo>
                    <a:pt x="271" y="7"/>
                  </a:lnTo>
                  <a:lnTo>
                    <a:pt x="238" y="8"/>
                  </a:lnTo>
                  <a:lnTo>
                    <a:pt x="205" y="12"/>
                  </a:lnTo>
                  <a:lnTo>
                    <a:pt x="187" y="20"/>
                  </a:lnTo>
                  <a:lnTo>
                    <a:pt x="174" y="30"/>
                  </a:lnTo>
                  <a:lnTo>
                    <a:pt x="152" y="35"/>
                  </a:lnTo>
                  <a:lnTo>
                    <a:pt x="133" y="48"/>
                  </a:lnTo>
                  <a:lnTo>
                    <a:pt x="141" y="63"/>
                  </a:lnTo>
                  <a:lnTo>
                    <a:pt x="142" y="78"/>
                  </a:lnTo>
                  <a:lnTo>
                    <a:pt x="148" y="102"/>
                  </a:lnTo>
                  <a:lnTo>
                    <a:pt x="154" y="107"/>
                  </a:lnTo>
                  <a:lnTo>
                    <a:pt x="150" y="117"/>
                  </a:lnTo>
                  <a:lnTo>
                    <a:pt x="124" y="120"/>
                  </a:lnTo>
                  <a:lnTo>
                    <a:pt x="115" y="130"/>
                  </a:lnTo>
                  <a:lnTo>
                    <a:pt x="103" y="132"/>
                  </a:lnTo>
                  <a:lnTo>
                    <a:pt x="102" y="148"/>
                  </a:lnTo>
                  <a:lnTo>
                    <a:pt x="78" y="158"/>
                  </a:lnTo>
                  <a:lnTo>
                    <a:pt x="71" y="170"/>
                  </a:lnTo>
                  <a:lnTo>
                    <a:pt x="54" y="177"/>
                  </a:lnTo>
                  <a:lnTo>
                    <a:pt x="34" y="180"/>
                  </a:lnTo>
                  <a:lnTo>
                    <a:pt x="1" y="198"/>
                  </a:lnTo>
                  <a:lnTo>
                    <a:pt x="0" y="226"/>
                  </a:lnTo>
                  <a:lnTo>
                    <a:pt x="0" y="227"/>
                  </a:lnTo>
                  <a:lnTo>
                    <a:pt x="0" y="232"/>
                  </a:lnTo>
                  <a:lnTo>
                    <a:pt x="76" y="289"/>
                  </a:lnTo>
                  <a:lnTo>
                    <a:pt x="145" y="342"/>
                  </a:lnTo>
                  <a:lnTo>
                    <a:pt x="214" y="393"/>
                  </a:lnTo>
                  <a:lnTo>
                    <a:pt x="218" y="404"/>
                  </a:lnTo>
                  <a:lnTo>
                    <a:pt x="232" y="411"/>
                  </a:lnTo>
                  <a:lnTo>
                    <a:pt x="241" y="416"/>
                  </a:lnTo>
                  <a:lnTo>
                    <a:pt x="242" y="430"/>
                  </a:lnTo>
                  <a:lnTo>
                    <a:pt x="264" y="428"/>
                  </a:lnTo>
                  <a:lnTo>
                    <a:pt x="293" y="417"/>
                  </a:lnTo>
                  <a:lnTo>
                    <a:pt x="353" y="371"/>
                  </a:lnTo>
                  <a:lnTo>
                    <a:pt x="422" y="325"/>
                  </a:lnTo>
                  <a:lnTo>
                    <a:pt x="413" y="310"/>
                  </a:lnTo>
                  <a:lnTo>
                    <a:pt x="397" y="300"/>
                  </a:lnTo>
                  <a:lnTo>
                    <a:pt x="387" y="303"/>
                  </a:lnTo>
                  <a:lnTo>
                    <a:pt x="379" y="290"/>
                  </a:lnTo>
                  <a:lnTo>
                    <a:pt x="379" y="280"/>
                  </a:lnTo>
                  <a:lnTo>
                    <a:pt x="366" y="262"/>
                  </a:lnTo>
                  <a:lnTo>
                    <a:pt x="373" y="253"/>
                  </a:lnTo>
                  <a:lnTo>
                    <a:pt x="372" y="238"/>
                  </a:lnTo>
                  <a:lnTo>
                    <a:pt x="374" y="225"/>
                  </a:lnTo>
                  <a:lnTo>
                    <a:pt x="373" y="214"/>
                  </a:lnTo>
                  <a:lnTo>
                    <a:pt x="375" y="195"/>
                  </a:lnTo>
                  <a:lnTo>
                    <a:pt x="374" y="184"/>
                  </a:lnTo>
                  <a:lnTo>
                    <a:pt x="367" y="162"/>
                  </a:lnTo>
                  <a:lnTo>
                    <a:pt x="358" y="120"/>
                  </a:lnTo>
                  <a:lnTo>
                    <a:pt x="344" y="111"/>
                  </a:lnTo>
                  <a:lnTo>
                    <a:pt x="344" y="106"/>
                  </a:lnTo>
                  <a:lnTo>
                    <a:pt x="328" y="91"/>
                  </a:lnTo>
                  <a:lnTo>
                    <a:pt x="326" y="73"/>
                  </a:lnTo>
                  <a:lnTo>
                    <a:pt x="338" y="60"/>
                  </a:lnTo>
                  <a:lnTo>
                    <a:pt x="342" y="40"/>
                  </a:lnTo>
                  <a:lnTo>
                    <a:pt x="338" y="17"/>
                  </a:lnTo>
                  <a:lnTo>
                    <a:pt x="342" y="5"/>
                  </a:lnTo>
                  <a:lnTo>
                    <a:pt x="342"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8" name="Ecuador"/>
            <p:cNvSpPr>
              <a:spLocks/>
            </p:cNvSpPr>
            <p:nvPr/>
          </p:nvSpPr>
          <p:spPr bwMode="auto">
            <a:xfrm>
              <a:off x="3303587" y="4432301"/>
              <a:ext cx="192087" cy="238125"/>
            </a:xfrm>
            <a:custGeom>
              <a:avLst/>
              <a:gdLst>
                <a:gd name="T0" fmla="*/ 117 w 121"/>
                <a:gd name="T1" fmla="*/ 35 h 150"/>
                <a:gd name="T2" fmla="*/ 108 w 121"/>
                <a:gd name="T3" fmla="*/ 29 h 150"/>
                <a:gd name="T4" fmla="*/ 98 w 121"/>
                <a:gd name="T5" fmla="*/ 22 h 150"/>
                <a:gd name="T6" fmla="*/ 92 w 121"/>
                <a:gd name="T7" fmla="*/ 26 h 150"/>
                <a:gd name="T8" fmla="*/ 74 w 121"/>
                <a:gd name="T9" fmla="*/ 22 h 150"/>
                <a:gd name="T10" fmla="*/ 69 w 121"/>
                <a:gd name="T11" fmla="*/ 13 h 150"/>
                <a:gd name="T12" fmla="*/ 66 w 121"/>
                <a:gd name="T13" fmla="*/ 13 h 150"/>
                <a:gd name="T14" fmla="*/ 44 w 121"/>
                <a:gd name="T15" fmla="*/ 0 h 150"/>
                <a:gd name="T16" fmla="*/ 30 w 121"/>
                <a:gd name="T17" fmla="*/ 9 h 150"/>
                <a:gd name="T18" fmla="*/ 18 w 121"/>
                <a:gd name="T19" fmla="*/ 14 h 150"/>
                <a:gd name="T20" fmla="*/ 20 w 121"/>
                <a:gd name="T21" fmla="*/ 24 h 150"/>
                <a:gd name="T22" fmla="*/ 11 w 121"/>
                <a:gd name="T23" fmla="*/ 39 h 150"/>
                <a:gd name="T24" fmla="*/ 8 w 121"/>
                <a:gd name="T25" fmla="*/ 54 h 150"/>
                <a:gd name="T26" fmla="*/ 1 w 121"/>
                <a:gd name="T27" fmla="*/ 58 h 150"/>
                <a:gd name="T28" fmla="*/ 5 w 121"/>
                <a:gd name="T29" fmla="*/ 79 h 150"/>
                <a:gd name="T30" fmla="*/ 0 w 121"/>
                <a:gd name="T31" fmla="*/ 86 h 150"/>
                <a:gd name="T32" fmla="*/ 13 w 121"/>
                <a:gd name="T33" fmla="*/ 96 h 150"/>
                <a:gd name="T34" fmla="*/ 21 w 121"/>
                <a:gd name="T35" fmla="*/ 85 h 150"/>
                <a:gd name="T36" fmla="*/ 25 w 121"/>
                <a:gd name="T37" fmla="*/ 95 h 150"/>
                <a:gd name="T38" fmla="*/ 15 w 121"/>
                <a:gd name="T39" fmla="*/ 113 h 150"/>
                <a:gd name="T40" fmla="*/ 18 w 121"/>
                <a:gd name="T41" fmla="*/ 123 h 150"/>
                <a:gd name="T42" fmla="*/ 12 w 121"/>
                <a:gd name="T43" fmla="*/ 128 h 150"/>
                <a:gd name="T44" fmla="*/ 12 w 121"/>
                <a:gd name="T45" fmla="*/ 137 h 150"/>
                <a:gd name="T46" fmla="*/ 22 w 121"/>
                <a:gd name="T47" fmla="*/ 135 h 150"/>
                <a:gd name="T48" fmla="*/ 30 w 121"/>
                <a:gd name="T49" fmla="*/ 138 h 150"/>
                <a:gd name="T50" fmla="*/ 39 w 121"/>
                <a:gd name="T51" fmla="*/ 150 h 150"/>
                <a:gd name="T52" fmla="*/ 51 w 121"/>
                <a:gd name="T53" fmla="*/ 140 h 150"/>
                <a:gd name="T54" fmla="*/ 54 w 121"/>
                <a:gd name="T55" fmla="*/ 124 h 150"/>
                <a:gd name="T56" fmla="*/ 66 w 121"/>
                <a:gd name="T57" fmla="*/ 103 h 150"/>
                <a:gd name="T58" fmla="*/ 92 w 121"/>
                <a:gd name="T59" fmla="*/ 94 h 150"/>
                <a:gd name="T60" fmla="*/ 114 w 121"/>
                <a:gd name="T61" fmla="*/ 69 h 150"/>
                <a:gd name="T62" fmla="*/ 121 w 121"/>
                <a:gd name="T63" fmla="*/ 54 h 150"/>
                <a:gd name="T64" fmla="*/ 117 w 121"/>
                <a:gd name="T65" fmla="*/ 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50">
                  <a:moveTo>
                    <a:pt x="117" y="35"/>
                  </a:moveTo>
                  <a:lnTo>
                    <a:pt x="108" y="29"/>
                  </a:lnTo>
                  <a:lnTo>
                    <a:pt x="98" y="22"/>
                  </a:lnTo>
                  <a:lnTo>
                    <a:pt x="92" y="26"/>
                  </a:lnTo>
                  <a:lnTo>
                    <a:pt x="74" y="22"/>
                  </a:lnTo>
                  <a:lnTo>
                    <a:pt x="69" y="13"/>
                  </a:lnTo>
                  <a:lnTo>
                    <a:pt x="66" y="13"/>
                  </a:lnTo>
                  <a:lnTo>
                    <a:pt x="44" y="0"/>
                  </a:lnTo>
                  <a:lnTo>
                    <a:pt x="30" y="9"/>
                  </a:lnTo>
                  <a:lnTo>
                    <a:pt x="18" y="14"/>
                  </a:lnTo>
                  <a:lnTo>
                    <a:pt x="20" y="24"/>
                  </a:lnTo>
                  <a:lnTo>
                    <a:pt x="11" y="39"/>
                  </a:lnTo>
                  <a:lnTo>
                    <a:pt x="8" y="54"/>
                  </a:lnTo>
                  <a:lnTo>
                    <a:pt x="1" y="58"/>
                  </a:lnTo>
                  <a:lnTo>
                    <a:pt x="5" y="79"/>
                  </a:lnTo>
                  <a:lnTo>
                    <a:pt x="0" y="86"/>
                  </a:lnTo>
                  <a:lnTo>
                    <a:pt x="13" y="96"/>
                  </a:lnTo>
                  <a:lnTo>
                    <a:pt x="21" y="85"/>
                  </a:lnTo>
                  <a:lnTo>
                    <a:pt x="25" y="95"/>
                  </a:lnTo>
                  <a:lnTo>
                    <a:pt x="15" y="113"/>
                  </a:lnTo>
                  <a:lnTo>
                    <a:pt x="18" y="123"/>
                  </a:lnTo>
                  <a:lnTo>
                    <a:pt x="12" y="128"/>
                  </a:lnTo>
                  <a:lnTo>
                    <a:pt x="12" y="137"/>
                  </a:lnTo>
                  <a:lnTo>
                    <a:pt x="22" y="135"/>
                  </a:lnTo>
                  <a:lnTo>
                    <a:pt x="30" y="138"/>
                  </a:lnTo>
                  <a:lnTo>
                    <a:pt x="39" y="150"/>
                  </a:lnTo>
                  <a:lnTo>
                    <a:pt x="51" y="140"/>
                  </a:lnTo>
                  <a:lnTo>
                    <a:pt x="54" y="124"/>
                  </a:lnTo>
                  <a:lnTo>
                    <a:pt x="66" y="103"/>
                  </a:lnTo>
                  <a:lnTo>
                    <a:pt x="92" y="94"/>
                  </a:lnTo>
                  <a:lnTo>
                    <a:pt x="114" y="69"/>
                  </a:lnTo>
                  <a:lnTo>
                    <a:pt x="121" y="54"/>
                  </a:lnTo>
                  <a:lnTo>
                    <a:pt x="117" y="3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9" name="Egypt"/>
            <p:cNvSpPr>
              <a:spLocks/>
            </p:cNvSpPr>
            <p:nvPr/>
          </p:nvSpPr>
          <p:spPr bwMode="auto">
            <a:xfrm>
              <a:off x="6791325" y="3292476"/>
              <a:ext cx="412750" cy="360363"/>
            </a:xfrm>
            <a:custGeom>
              <a:avLst/>
              <a:gdLst>
                <a:gd name="T0" fmla="*/ 74 w 260"/>
                <a:gd name="T1" fmla="*/ 13 h 227"/>
                <a:gd name="T2" fmla="*/ 53 w 260"/>
                <a:gd name="T3" fmla="*/ 6 h 227"/>
                <a:gd name="T4" fmla="*/ 34 w 260"/>
                <a:gd name="T5" fmla="*/ 0 h 227"/>
                <a:gd name="T6" fmla="*/ 7 w 260"/>
                <a:gd name="T7" fmla="*/ 1 h 227"/>
                <a:gd name="T8" fmla="*/ 0 w 260"/>
                <a:gd name="T9" fmla="*/ 12 h 227"/>
                <a:gd name="T10" fmla="*/ 4 w 260"/>
                <a:gd name="T11" fmla="*/ 21 h 227"/>
                <a:gd name="T12" fmla="*/ 0 w 260"/>
                <a:gd name="T13" fmla="*/ 36 h 227"/>
                <a:gd name="T14" fmla="*/ 8 w 260"/>
                <a:gd name="T15" fmla="*/ 55 h 227"/>
                <a:gd name="T16" fmla="*/ 12 w 260"/>
                <a:gd name="T17" fmla="*/ 140 h 227"/>
                <a:gd name="T18" fmla="*/ 16 w 260"/>
                <a:gd name="T19" fmla="*/ 227 h 227"/>
                <a:gd name="T20" fmla="*/ 98 w 260"/>
                <a:gd name="T21" fmla="*/ 227 h 227"/>
                <a:gd name="T22" fmla="*/ 178 w 260"/>
                <a:gd name="T23" fmla="*/ 227 h 227"/>
                <a:gd name="T24" fmla="*/ 260 w 260"/>
                <a:gd name="T25" fmla="*/ 227 h 227"/>
                <a:gd name="T26" fmla="*/ 256 w 260"/>
                <a:gd name="T27" fmla="*/ 223 h 227"/>
                <a:gd name="T28" fmla="*/ 231 w 260"/>
                <a:gd name="T29" fmla="*/ 201 h 227"/>
                <a:gd name="T30" fmla="*/ 229 w 260"/>
                <a:gd name="T31" fmla="*/ 185 h 227"/>
                <a:gd name="T32" fmla="*/ 233 w 260"/>
                <a:gd name="T33" fmla="*/ 182 h 227"/>
                <a:gd name="T34" fmla="*/ 213 w 260"/>
                <a:gd name="T35" fmla="*/ 156 h 227"/>
                <a:gd name="T36" fmla="*/ 205 w 260"/>
                <a:gd name="T37" fmla="*/ 142 h 227"/>
                <a:gd name="T38" fmla="*/ 197 w 260"/>
                <a:gd name="T39" fmla="*/ 128 h 227"/>
                <a:gd name="T40" fmla="*/ 179 w 260"/>
                <a:gd name="T41" fmla="*/ 92 h 227"/>
                <a:gd name="T42" fmla="*/ 164 w 260"/>
                <a:gd name="T43" fmla="*/ 68 h 227"/>
                <a:gd name="T44" fmla="*/ 154 w 260"/>
                <a:gd name="T45" fmla="*/ 43 h 227"/>
                <a:gd name="T46" fmla="*/ 156 w 260"/>
                <a:gd name="T47" fmla="*/ 41 h 227"/>
                <a:gd name="T48" fmla="*/ 173 w 260"/>
                <a:gd name="T49" fmla="*/ 74 h 227"/>
                <a:gd name="T50" fmla="*/ 183 w 260"/>
                <a:gd name="T51" fmla="*/ 86 h 227"/>
                <a:gd name="T52" fmla="*/ 191 w 260"/>
                <a:gd name="T53" fmla="*/ 93 h 227"/>
                <a:gd name="T54" fmla="*/ 195 w 260"/>
                <a:gd name="T55" fmla="*/ 88 h 227"/>
                <a:gd name="T56" fmla="*/ 200 w 260"/>
                <a:gd name="T57" fmla="*/ 76 h 227"/>
                <a:gd name="T58" fmla="*/ 202 w 260"/>
                <a:gd name="T59" fmla="*/ 58 h 227"/>
                <a:gd name="T60" fmla="*/ 207 w 260"/>
                <a:gd name="T61" fmla="*/ 49 h 227"/>
                <a:gd name="T62" fmla="*/ 205 w 260"/>
                <a:gd name="T63" fmla="*/ 43 h 227"/>
                <a:gd name="T64" fmla="*/ 190 w 260"/>
                <a:gd name="T65" fmla="*/ 8 h 227"/>
                <a:gd name="T66" fmla="*/ 190 w 260"/>
                <a:gd name="T67" fmla="*/ 8 h 227"/>
                <a:gd name="T68" fmla="*/ 180 w 260"/>
                <a:gd name="T69" fmla="*/ 15 h 227"/>
                <a:gd name="T70" fmla="*/ 164 w 260"/>
                <a:gd name="T71" fmla="*/ 13 h 227"/>
                <a:gd name="T72" fmla="*/ 149 w 260"/>
                <a:gd name="T73" fmla="*/ 7 h 227"/>
                <a:gd name="T74" fmla="*/ 144 w 260"/>
                <a:gd name="T75" fmla="*/ 15 h 227"/>
                <a:gd name="T76" fmla="*/ 138 w 260"/>
                <a:gd name="T77" fmla="*/ 3 h 227"/>
                <a:gd name="T78" fmla="*/ 123 w 260"/>
                <a:gd name="T79" fmla="*/ 1 h 227"/>
                <a:gd name="T80" fmla="*/ 106 w 260"/>
                <a:gd name="T81" fmla="*/ 2 h 227"/>
                <a:gd name="T82" fmla="*/ 98 w 260"/>
                <a:gd name="T83" fmla="*/ 9 h 227"/>
                <a:gd name="T84" fmla="*/ 83 w 260"/>
                <a:gd name="T85" fmla="*/ 16 h 227"/>
                <a:gd name="T86" fmla="*/ 74 w 260"/>
                <a:gd name="T87" fmla="*/ 13 h 227"/>
                <a:gd name="T88" fmla="*/ 74 w 260"/>
                <a:gd name="T89" fmla="*/ 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227">
                  <a:moveTo>
                    <a:pt x="74" y="13"/>
                  </a:moveTo>
                  <a:lnTo>
                    <a:pt x="53" y="6"/>
                  </a:lnTo>
                  <a:lnTo>
                    <a:pt x="34" y="0"/>
                  </a:lnTo>
                  <a:lnTo>
                    <a:pt x="7" y="1"/>
                  </a:lnTo>
                  <a:lnTo>
                    <a:pt x="0" y="12"/>
                  </a:lnTo>
                  <a:lnTo>
                    <a:pt x="4" y="21"/>
                  </a:lnTo>
                  <a:lnTo>
                    <a:pt x="0" y="36"/>
                  </a:lnTo>
                  <a:lnTo>
                    <a:pt x="8" y="55"/>
                  </a:lnTo>
                  <a:lnTo>
                    <a:pt x="12" y="140"/>
                  </a:lnTo>
                  <a:lnTo>
                    <a:pt x="16" y="227"/>
                  </a:lnTo>
                  <a:lnTo>
                    <a:pt x="98" y="227"/>
                  </a:lnTo>
                  <a:lnTo>
                    <a:pt x="178" y="227"/>
                  </a:lnTo>
                  <a:lnTo>
                    <a:pt x="260" y="227"/>
                  </a:lnTo>
                  <a:lnTo>
                    <a:pt x="256" y="223"/>
                  </a:lnTo>
                  <a:lnTo>
                    <a:pt x="231" y="201"/>
                  </a:lnTo>
                  <a:lnTo>
                    <a:pt x="229" y="185"/>
                  </a:lnTo>
                  <a:lnTo>
                    <a:pt x="233" y="182"/>
                  </a:lnTo>
                  <a:lnTo>
                    <a:pt x="213" y="156"/>
                  </a:lnTo>
                  <a:lnTo>
                    <a:pt x="205" y="142"/>
                  </a:lnTo>
                  <a:lnTo>
                    <a:pt x="197" y="128"/>
                  </a:lnTo>
                  <a:lnTo>
                    <a:pt x="179" y="92"/>
                  </a:lnTo>
                  <a:lnTo>
                    <a:pt x="164" y="68"/>
                  </a:lnTo>
                  <a:lnTo>
                    <a:pt x="154" y="43"/>
                  </a:lnTo>
                  <a:lnTo>
                    <a:pt x="156" y="41"/>
                  </a:lnTo>
                  <a:lnTo>
                    <a:pt x="173" y="74"/>
                  </a:lnTo>
                  <a:lnTo>
                    <a:pt x="183" y="86"/>
                  </a:lnTo>
                  <a:lnTo>
                    <a:pt x="191" y="93"/>
                  </a:lnTo>
                  <a:lnTo>
                    <a:pt x="195" y="88"/>
                  </a:lnTo>
                  <a:lnTo>
                    <a:pt x="200" y="76"/>
                  </a:lnTo>
                  <a:lnTo>
                    <a:pt x="202" y="58"/>
                  </a:lnTo>
                  <a:lnTo>
                    <a:pt x="207" y="49"/>
                  </a:lnTo>
                  <a:lnTo>
                    <a:pt x="205" y="43"/>
                  </a:lnTo>
                  <a:lnTo>
                    <a:pt x="190" y="8"/>
                  </a:lnTo>
                  <a:lnTo>
                    <a:pt x="190" y="8"/>
                  </a:lnTo>
                  <a:lnTo>
                    <a:pt x="180" y="15"/>
                  </a:lnTo>
                  <a:lnTo>
                    <a:pt x="164" y="13"/>
                  </a:lnTo>
                  <a:lnTo>
                    <a:pt x="149" y="7"/>
                  </a:lnTo>
                  <a:lnTo>
                    <a:pt x="144" y="15"/>
                  </a:lnTo>
                  <a:lnTo>
                    <a:pt x="138" y="3"/>
                  </a:lnTo>
                  <a:lnTo>
                    <a:pt x="123" y="1"/>
                  </a:lnTo>
                  <a:lnTo>
                    <a:pt x="106" y="2"/>
                  </a:lnTo>
                  <a:lnTo>
                    <a:pt x="98" y="9"/>
                  </a:lnTo>
                  <a:lnTo>
                    <a:pt x="83" y="16"/>
                  </a:lnTo>
                  <a:lnTo>
                    <a:pt x="74" y="13"/>
                  </a:lnTo>
                  <a:lnTo>
                    <a:pt x="74" y="1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0" name="Eritrea"/>
            <p:cNvSpPr>
              <a:spLocks/>
            </p:cNvSpPr>
            <p:nvPr/>
          </p:nvSpPr>
          <p:spPr bwMode="auto">
            <a:xfrm>
              <a:off x="7200900" y="3805238"/>
              <a:ext cx="225425" cy="207963"/>
            </a:xfrm>
            <a:custGeom>
              <a:avLst/>
              <a:gdLst>
                <a:gd name="T0" fmla="*/ 71 w 142"/>
                <a:gd name="T1" fmla="*/ 60 h 131"/>
                <a:gd name="T2" fmla="*/ 60 w 142"/>
                <a:gd name="T3" fmla="*/ 49 h 131"/>
                <a:gd name="T4" fmla="*/ 52 w 142"/>
                <a:gd name="T5" fmla="*/ 27 h 131"/>
                <a:gd name="T6" fmla="*/ 39 w 142"/>
                <a:gd name="T7" fmla="*/ 0 h 131"/>
                <a:gd name="T8" fmla="*/ 29 w 142"/>
                <a:gd name="T9" fmla="*/ 13 h 131"/>
                <a:gd name="T10" fmla="*/ 14 w 142"/>
                <a:gd name="T11" fmla="*/ 16 h 131"/>
                <a:gd name="T12" fmla="*/ 8 w 142"/>
                <a:gd name="T13" fmla="*/ 24 h 131"/>
                <a:gd name="T14" fmla="*/ 6 w 142"/>
                <a:gd name="T15" fmla="*/ 40 h 131"/>
                <a:gd name="T16" fmla="*/ 0 w 142"/>
                <a:gd name="T17" fmla="*/ 75 h 131"/>
                <a:gd name="T18" fmla="*/ 2 w 142"/>
                <a:gd name="T19" fmla="*/ 85 h 131"/>
                <a:gd name="T20" fmla="*/ 26 w 142"/>
                <a:gd name="T21" fmla="*/ 89 h 131"/>
                <a:gd name="T22" fmla="*/ 32 w 142"/>
                <a:gd name="T23" fmla="*/ 72 h 131"/>
                <a:gd name="T24" fmla="*/ 45 w 142"/>
                <a:gd name="T25" fmla="*/ 83 h 131"/>
                <a:gd name="T26" fmla="*/ 57 w 142"/>
                <a:gd name="T27" fmla="*/ 77 h 131"/>
                <a:gd name="T28" fmla="*/ 62 w 142"/>
                <a:gd name="T29" fmla="*/ 82 h 131"/>
                <a:gd name="T30" fmla="*/ 76 w 142"/>
                <a:gd name="T31" fmla="*/ 82 h 131"/>
                <a:gd name="T32" fmla="*/ 95 w 142"/>
                <a:gd name="T33" fmla="*/ 91 h 131"/>
                <a:gd name="T34" fmla="*/ 101 w 142"/>
                <a:gd name="T35" fmla="*/ 100 h 131"/>
                <a:gd name="T36" fmla="*/ 110 w 142"/>
                <a:gd name="T37" fmla="*/ 107 h 131"/>
                <a:gd name="T38" fmla="*/ 119 w 142"/>
                <a:gd name="T39" fmla="*/ 121 h 131"/>
                <a:gd name="T40" fmla="*/ 127 w 142"/>
                <a:gd name="T41" fmla="*/ 129 h 131"/>
                <a:gd name="T42" fmla="*/ 136 w 142"/>
                <a:gd name="T43" fmla="*/ 131 h 131"/>
                <a:gd name="T44" fmla="*/ 142 w 142"/>
                <a:gd name="T45" fmla="*/ 126 h 131"/>
                <a:gd name="T46" fmla="*/ 131 w 142"/>
                <a:gd name="T47" fmla="*/ 118 h 131"/>
                <a:gd name="T48" fmla="*/ 125 w 142"/>
                <a:gd name="T49" fmla="*/ 110 h 131"/>
                <a:gd name="T50" fmla="*/ 113 w 142"/>
                <a:gd name="T51" fmla="*/ 96 h 131"/>
                <a:gd name="T52" fmla="*/ 101 w 142"/>
                <a:gd name="T53" fmla="*/ 83 h 131"/>
                <a:gd name="T54" fmla="*/ 71 w 142"/>
                <a:gd name="T55" fmla="*/ 6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 h="131">
                  <a:moveTo>
                    <a:pt x="71" y="60"/>
                  </a:moveTo>
                  <a:lnTo>
                    <a:pt x="60" y="49"/>
                  </a:lnTo>
                  <a:lnTo>
                    <a:pt x="52" y="27"/>
                  </a:lnTo>
                  <a:lnTo>
                    <a:pt x="39" y="0"/>
                  </a:lnTo>
                  <a:lnTo>
                    <a:pt x="29" y="13"/>
                  </a:lnTo>
                  <a:lnTo>
                    <a:pt x="14" y="16"/>
                  </a:lnTo>
                  <a:lnTo>
                    <a:pt x="8" y="24"/>
                  </a:lnTo>
                  <a:lnTo>
                    <a:pt x="6" y="40"/>
                  </a:lnTo>
                  <a:lnTo>
                    <a:pt x="0" y="75"/>
                  </a:lnTo>
                  <a:lnTo>
                    <a:pt x="2" y="85"/>
                  </a:lnTo>
                  <a:lnTo>
                    <a:pt x="26" y="89"/>
                  </a:lnTo>
                  <a:lnTo>
                    <a:pt x="32" y="72"/>
                  </a:lnTo>
                  <a:lnTo>
                    <a:pt x="45" y="83"/>
                  </a:lnTo>
                  <a:lnTo>
                    <a:pt x="57" y="77"/>
                  </a:lnTo>
                  <a:lnTo>
                    <a:pt x="62" y="82"/>
                  </a:lnTo>
                  <a:lnTo>
                    <a:pt x="76" y="82"/>
                  </a:lnTo>
                  <a:lnTo>
                    <a:pt x="95" y="91"/>
                  </a:lnTo>
                  <a:lnTo>
                    <a:pt x="101" y="100"/>
                  </a:lnTo>
                  <a:lnTo>
                    <a:pt x="110" y="107"/>
                  </a:lnTo>
                  <a:lnTo>
                    <a:pt x="119" y="121"/>
                  </a:lnTo>
                  <a:lnTo>
                    <a:pt x="127" y="129"/>
                  </a:lnTo>
                  <a:lnTo>
                    <a:pt x="136" y="131"/>
                  </a:lnTo>
                  <a:lnTo>
                    <a:pt x="142" y="126"/>
                  </a:lnTo>
                  <a:lnTo>
                    <a:pt x="131" y="118"/>
                  </a:lnTo>
                  <a:lnTo>
                    <a:pt x="125" y="110"/>
                  </a:lnTo>
                  <a:lnTo>
                    <a:pt x="113" y="96"/>
                  </a:lnTo>
                  <a:lnTo>
                    <a:pt x="101" y="83"/>
                  </a:lnTo>
                  <a:lnTo>
                    <a:pt x="71" y="6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1" name="Estonia"/>
            <p:cNvSpPr>
              <a:spLocks/>
            </p:cNvSpPr>
            <p:nvPr/>
          </p:nvSpPr>
          <p:spPr bwMode="auto">
            <a:xfrm>
              <a:off x="6626225" y="2262188"/>
              <a:ext cx="128587" cy="73025"/>
            </a:xfrm>
            <a:custGeom>
              <a:avLst/>
              <a:gdLst>
                <a:gd name="T0" fmla="*/ 42 w 81"/>
                <a:gd name="T1" fmla="*/ 0 h 46"/>
                <a:gd name="T2" fmla="*/ 21 w 81"/>
                <a:gd name="T3" fmla="*/ 3 h 46"/>
                <a:gd name="T4" fmla="*/ 0 w 81"/>
                <a:gd name="T5" fmla="*/ 9 h 46"/>
                <a:gd name="T6" fmla="*/ 4 w 81"/>
                <a:gd name="T7" fmla="*/ 22 h 46"/>
                <a:gd name="T8" fmla="*/ 16 w 81"/>
                <a:gd name="T9" fmla="*/ 30 h 46"/>
                <a:gd name="T10" fmla="*/ 22 w 81"/>
                <a:gd name="T11" fmla="*/ 27 h 46"/>
                <a:gd name="T12" fmla="*/ 22 w 81"/>
                <a:gd name="T13" fmla="*/ 40 h 46"/>
                <a:gd name="T14" fmla="*/ 36 w 81"/>
                <a:gd name="T15" fmla="*/ 36 h 46"/>
                <a:gd name="T16" fmla="*/ 44 w 81"/>
                <a:gd name="T17" fmla="*/ 39 h 46"/>
                <a:gd name="T18" fmla="*/ 60 w 81"/>
                <a:gd name="T19" fmla="*/ 46 h 46"/>
                <a:gd name="T20" fmla="*/ 74 w 81"/>
                <a:gd name="T21" fmla="*/ 46 h 46"/>
                <a:gd name="T22" fmla="*/ 81 w 81"/>
                <a:gd name="T23" fmla="*/ 40 h 46"/>
                <a:gd name="T24" fmla="*/ 71 w 81"/>
                <a:gd name="T25" fmla="*/ 19 h 46"/>
                <a:gd name="T26" fmla="*/ 81 w 81"/>
                <a:gd name="T27" fmla="*/ 6 h 46"/>
                <a:gd name="T28" fmla="*/ 78 w 81"/>
                <a:gd name="T29" fmla="*/ 3 h 46"/>
                <a:gd name="T30" fmla="*/ 78 w 81"/>
                <a:gd name="T31" fmla="*/ 3 h 46"/>
                <a:gd name="T32" fmla="*/ 60 w 81"/>
                <a:gd name="T33" fmla="*/ 3 h 46"/>
                <a:gd name="T34" fmla="*/ 42 w 81"/>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46">
                  <a:moveTo>
                    <a:pt x="42" y="0"/>
                  </a:moveTo>
                  <a:lnTo>
                    <a:pt x="21" y="3"/>
                  </a:lnTo>
                  <a:lnTo>
                    <a:pt x="0" y="9"/>
                  </a:lnTo>
                  <a:lnTo>
                    <a:pt x="4" y="22"/>
                  </a:lnTo>
                  <a:lnTo>
                    <a:pt x="16" y="30"/>
                  </a:lnTo>
                  <a:lnTo>
                    <a:pt x="22" y="27"/>
                  </a:lnTo>
                  <a:lnTo>
                    <a:pt x="22" y="40"/>
                  </a:lnTo>
                  <a:lnTo>
                    <a:pt x="36" y="36"/>
                  </a:lnTo>
                  <a:lnTo>
                    <a:pt x="44" y="39"/>
                  </a:lnTo>
                  <a:lnTo>
                    <a:pt x="60" y="46"/>
                  </a:lnTo>
                  <a:lnTo>
                    <a:pt x="74" y="46"/>
                  </a:lnTo>
                  <a:lnTo>
                    <a:pt x="81" y="40"/>
                  </a:lnTo>
                  <a:lnTo>
                    <a:pt x="71" y="19"/>
                  </a:lnTo>
                  <a:lnTo>
                    <a:pt x="81" y="6"/>
                  </a:lnTo>
                  <a:lnTo>
                    <a:pt x="78" y="3"/>
                  </a:lnTo>
                  <a:lnTo>
                    <a:pt x="78" y="3"/>
                  </a:lnTo>
                  <a:lnTo>
                    <a:pt x="60" y="3"/>
                  </a:lnTo>
                  <a:lnTo>
                    <a:pt x="42"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2" name="Ethipia"/>
            <p:cNvSpPr>
              <a:spLocks/>
            </p:cNvSpPr>
            <p:nvPr/>
          </p:nvSpPr>
          <p:spPr bwMode="auto">
            <a:xfrm>
              <a:off x="7096125" y="3919538"/>
              <a:ext cx="492125" cy="434975"/>
            </a:xfrm>
            <a:custGeom>
              <a:avLst/>
              <a:gdLst>
                <a:gd name="T0" fmla="*/ 98 w 310"/>
                <a:gd name="T1" fmla="*/ 0 h 274"/>
                <a:gd name="T2" fmla="*/ 92 w 310"/>
                <a:gd name="T3" fmla="*/ 17 h 274"/>
                <a:gd name="T4" fmla="*/ 68 w 310"/>
                <a:gd name="T5" fmla="*/ 13 h 274"/>
                <a:gd name="T6" fmla="*/ 66 w 310"/>
                <a:gd name="T7" fmla="*/ 33 h 274"/>
                <a:gd name="T8" fmla="*/ 57 w 310"/>
                <a:gd name="T9" fmla="*/ 56 h 274"/>
                <a:gd name="T10" fmla="*/ 45 w 310"/>
                <a:gd name="T11" fmla="*/ 68 h 274"/>
                <a:gd name="T12" fmla="*/ 37 w 310"/>
                <a:gd name="T13" fmla="*/ 85 h 274"/>
                <a:gd name="T14" fmla="*/ 35 w 310"/>
                <a:gd name="T15" fmla="*/ 96 h 274"/>
                <a:gd name="T16" fmla="*/ 26 w 310"/>
                <a:gd name="T17" fmla="*/ 102 h 274"/>
                <a:gd name="T18" fmla="*/ 20 w 310"/>
                <a:gd name="T19" fmla="*/ 127 h 274"/>
                <a:gd name="T20" fmla="*/ 20 w 310"/>
                <a:gd name="T21" fmla="*/ 130 h 274"/>
                <a:gd name="T22" fmla="*/ 21 w 310"/>
                <a:gd name="T23" fmla="*/ 149 h 274"/>
                <a:gd name="T24" fmla="*/ 18 w 310"/>
                <a:gd name="T25" fmla="*/ 156 h 274"/>
                <a:gd name="T26" fmla="*/ 7 w 310"/>
                <a:gd name="T27" fmla="*/ 156 h 274"/>
                <a:gd name="T28" fmla="*/ 0 w 310"/>
                <a:gd name="T29" fmla="*/ 169 h 274"/>
                <a:gd name="T30" fmla="*/ 13 w 310"/>
                <a:gd name="T31" fmla="*/ 171 h 274"/>
                <a:gd name="T32" fmla="*/ 24 w 310"/>
                <a:gd name="T33" fmla="*/ 184 h 274"/>
                <a:gd name="T34" fmla="*/ 27 w 310"/>
                <a:gd name="T35" fmla="*/ 193 h 274"/>
                <a:gd name="T36" fmla="*/ 37 w 310"/>
                <a:gd name="T37" fmla="*/ 198 h 274"/>
                <a:gd name="T38" fmla="*/ 50 w 310"/>
                <a:gd name="T39" fmla="*/ 224 h 274"/>
                <a:gd name="T40" fmla="*/ 61 w 310"/>
                <a:gd name="T41" fmla="*/ 228 h 274"/>
                <a:gd name="T42" fmla="*/ 61 w 310"/>
                <a:gd name="T43" fmla="*/ 241 h 274"/>
                <a:gd name="T44" fmla="*/ 69 w 310"/>
                <a:gd name="T45" fmla="*/ 250 h 274"/>
                <a:gd name="T46" fmla="*/ 83 w 310"/>
                <a:gd name="T47" fmla="*/ 250 h 274"/>
                <a:gd name="T48" fmla="*/ 110 w 310"/>
                <a:gd name="T49" fmla="*/ 269 h 274"/>
                <a:gd name="T50" fmla="*/ 116 w 310"/>
                <a:gd name="T51" fmla="*/ 269 h 274"/>
                <a:gd name="T52" fmla="*/ 122 w 310"/>
                <a:gd name="T53" fmla="*/ 269 h 274"/>
                <a:gd name="T54" fmla="*/ 126 w 310"/>
                <a:gd name="T55" fmla="*/ 272 h 274"/>
                <a:gd name="T56" fmla="*/ 140 w 310"/>
                <a:gd name="T57" fmla="*/ 274 h 274"/>
                <a:gd name="T58" fmla="*/ 146 w 310"/>
                <a:gd name="T59" fmla="*/ 264 h 274"/>
                <a:gd name="T60" fmla="*/ 165 w 310"/>
                <a:gd name="T61" fmla="*/ 254 h 274"/>
                <a:gd name="T62" fmla="*/ 174 w 310"/>
                <a:gd name="T63" fmla="*/ 262 h 274"/>
                <a:gd name="T64" fmla="*/ 188 w 310"/>
                <a:gd name="T65" fmla="*/ 262 h 274"/>
                <a:gd name="T66" fmla="*/ 194 w 310"/>
                <a:gd name="T67" fmla="*/ 254 h 274"/>
                <a:gd name="T68" fmla="*/ 207 w 310"/>
                <a:gd name="T69" fmla="*/ 254 h 274"/>
                <a:gd name="T70" fmla="*/ 225 w 310"/>
                <a:gd name="T71" fmla="*/ 237 h 274"/>
                <a:gd name="T72" fmla="*/ 253 w 310"/>
                <a:gd name="T73" fmla="*/ 236 h 274"/>
                <a:gd name="T74" fmla="*/ 310 w 310"/>
                <a:gd name="T75" fmla="*/ 165 h 274"/>
                <a:gd name="T76" fmla="*/ 293 w 310"/>
                <a:gd name="T77" fmla="*/ 165 h 274"/>
                <a:gd name="T78" fmla="*/ 224 w 310"/>
                <a:gd name="T79" fmla="*/ 137 h 274"/>
                <a:gd name="T80" fmla="*/ 215 w 310"/>
                <a:gd name="T81" fmla="*/ 128 h 274"/>
                <a:gd name="T82" fmla="*/ 208 w 310"/>
                <a:gd name="T83" fmla="*/ 117 h 274"/>
                <a:gd name="T84" fmla="*/ 199 w 310"/>
                <a:gd name="T85" fmla="*/ 104 h 274"/>
                <a:gd name="T86" fmla="*/ 203 w 310"/>
                <a:gd name="T87" fmla="*/ 95 h 274"/>
                <a:gd name="T88" fmla="*/ 198 w 310"/>
                <a:gd name="T89" fmla="*/ 91 h 274"/>
                <a:gd name="T90" fmla="*/ 194 w 310"/>
                <a:gd name="T91" fmla="*/ 93 h 274"/>
                <a:gd name="T92" fmla="*/ 182 w 310"/>
                <a:gd name="T93" fmla="*/ 93 h 274"/>
                <a:gd name="T94" fmla="*/ 182 w 310"/>
                <a:gd name="T95" fmla="*/ 85 h 274"/>
                <a:gd name="T96" fmla="*/ 180 w 310"/>
                <a:gd name="T97" fmla="*/ 79 h 274"/>
                <a:gd name="T98" fmla="*/ 186 w 310"/>
                <a:gd name="T99" fmla="*/ 68 h 274"/>
                <a:gd name="T100" fmla="*/ 193 w 310"/>
                <a:gd name="T101" fmla="*/ 57 h 274"/>
                <a:gd name="T102" fmla="*/ 185 w 310"/>
                <a:gd name="T103" fmla="*/ 49 h 274"/>
                <a:gd name="T104" fmla="*/ 176 w 310"/>
                <a:gd name="T105" fmla="*/ 35 h 274"/>
                <a:gd name="T106" fmla="*/ 167 w 310"/>
                <a:gd name="T107" fmla="*/ 28 h 274"/>
                <a:gd name="T108" fmla="*/ 161 w 310"/>
                <a:gd name="T109" fmla="*/ 19 h 274"/>
                <a:gd name="T110" fmla="*/ 142 w 310"/>
                <a:gd name="T111" fmla="*/ 10 h 274"/>
                <a:gd name="T112" fmla="*/ 128 w 310"/>
                <a:gd name="T113" fmla="*/ 10 h 274"/>
                <a:gd name="T114" fmla="*/ 123 w 310"/>
                <a:gd name="T115" fmla="*/ 5 h 274"/>
                <a:gd name="T116" fmla="*/ 111 w 310"/>
                <a:gd name="T117" fmla="*/ 11 h 274"/>
                <a:gd name="T118" fmla="*/ 98 w 310"/>
                <a:gd name="T119" fmla="*/ 0 h 274"/>
                <a:gd name="T120" fmla="*/ 98 w 310"/>
                <a:gd name="T1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274">
                  <a:moveTo>
                    <a:pt x="98" y="0"/>
                  </a:moveTo>
                  <a:lnTo>
                    <a:pt x="92" y="17"/>
                  </a:lnTo>
                  <a:lnTo>
                    <a:pt x="68" y="13"/>
                  </a:lnTo>
                  <a:lnTo>
                    <a:pt x="66" y="33"/>
                  </a:lnTo>
                  <a:lnTo>
                    <a:pt x="57" y="56"/>
                  </a:lnTo>
                  <a:lnTo>
                    <a:pt x="45" y="68"/>
                  </a:lnTo>
                  <a:lnTo>
                    <a:pt x="37" y="85"/>
                  </a:lnTo>
                  <a:lnTo>
                    <a:pt x="35" y="96"/>
                  </a:lnTo>
                  <a:lnTo>
                    <a:pt x="26" y="102"/>
                  </a:lnTo>
                  <a:lnTo>
                    <a:pt x="20" y="127"/>
                  </a:lnTo>
                  <a:lnTo>
                    <a:pt x="20" y="130"/>
                  </a:lnTo>
                  <a:lnTo>
                    <a:pt x="21" y="149"/>
                  </a:lnTo>
                  <a:lnTo>
                    <a:pt x="18" y="156"/>
                  </a:lnTo>
                  <a:lnTo>
                    <a:pt x="7" y="156"/>
                  </a:lnTo>
                  <a:lnTo>
                    <a:pt x="0" y="169"/>
                  </a:lnTo>
                  <a:lnTo>
                    <a:pt x="13" y="171"/>
                  </a:lnTo>
                  <a:lnTo>
                    <a:pt x="24" y="184"/>
                  </a:lnTo>
                  <a:lnTo>
                    <a:pt x="27" y="193"/>
                  </a:lnTo>
                  <a:lnTo>
                    <a:pt x="37" y="198"/>
                  </a:lnTo>
                  <a:lnTo>
                    <a:pt x="50" y="224"/>
                  </a:lnTo>
                  <a:lnTo>
                    <a:pt x="61" y="228"/>
                  </a:lnTo>
                  <a:lnTo>
                    <a:pt x="61" y="241"/>
                  </a:lnTo>
                  <a:lnTo>
                    <a:pt x="69" y="250"/>
                  </a:lnTo>
                  <a:lnTo>
                    <a:pt x="83" y="250"/>
                  </a:lnTo>
                  <a:lnTo>
                    <a:pt x="110" y="269"/>
                  </a:lnTo>
                  <a:lnTo>
                    <a:pt x="116" y="269"/>
                  </a:lnTo>
                  <a:lnTo>
                    <a:pt x="122" y="269"/>
                  </a:lnTo>
                  <a:lnTo>
                    <a:pt x="126" y="272"/>
                  </a:lnTo>
                  <a:lnTo>
                    <a:pt x="140" y="274"/>
                  </a:lnTo>
                  <a:lnTo>
                    <a:pt x="146" y="264"/>
                  </a:lnTo>
                  <a:lnTo>
                    <a:pt x="165" y="254"/>
                  </a:lnTo>
                  <a:lnTo>
                    <a:pt x="174" y="262"/>
                  </a:lnTo>
                  <a:lnTo>
                    <a:pt x="188" y="262"/>
                  </a:lnTo>
                  <a:lnTo>
                    <a:pt x="194" y="254"/>
                  </a:lnTo>
                  <a:lnTo>
                    <a:pt x="207" y="254"/>
                  </a:lnTo>
                  <a:lnTo>
                    <a:pt x="225" y="237"/>
                  </a:lnTo>
                  <a:lnTo>
                    <a:pt x="253" y="236"/>
                  </a:lnTo>
                  <a:lnTo>
                    <a:pt x="310" y="165"/>
                  </a:lnTo>
                  <a:lnTo>
                    <a:pt x="293" y="165"/>
                  </a:lnTo>
                  <a:lnTo>
                    <a:pt x="224" y="137"/>
                  </a:lnTo>
                  <a:lnTo>
                    <a:pt x="215" y="128"/>
                  </a:lnTo>
                  <a:lnTo>
                    <a:pt x="208" y="117"/>
                  </a:lnTo>
                  <a:lnTo>
                    <a:pt x="199" y="104"/>
                  </a:lnTo>
                  <a:lnTo>
                    <a:pt x="203" y="95"/>
                  </a:lnTo>
                  <a:lnTo>
                    <a:pt x="198" y="91"/>
                  </a:lnTo>
                  <a:lnTo>
                    <a:pt x="194" y="93"/>
                  </a:lnTo>
                  <a:lnTo>
                    <a:pt x="182" y="93"/>
                  </a:lnTo>
                  <a:lnTo>
                    <a:pt x="182" y="85"/>
                  </a:lnTo>
                  <a:lnTo>
                    <a:pt x="180" y="79"/>
                  </a:lnTo>
                  <a:lnTo>
                    <a:pt x="186" y="68"/>
                  </a:lnTo>
                  <a:lnTo>
                    <a:pt x="193" y="57"/>
                  </a:lnTo>
                  <a:lnTo>
                    <a:pt x="185" y="49"/>
                  </a:lnTo>
                  <a:lnTo>
                    <a:pt x="176" y="35"/>
                  </a:lnTo>
                  <a:lnTo>
                    <a:pt x="167" y="28"/>
                  </a:lnTo>
                  <a:lnTo>
                    <a:pt x="161" y="19"/>
                  </a:lnTo>
                  <a:lnTo>
                    <a:pt x="142" y="10"/>
                  </a:lnTo>
                  <a:lnTo>
                    <a:pt x="128" y="10"/>
                  </a:lnTo>
                  <a:lnTo>
                    <a:pt x="123" y="5"/>
                  </a:lnTo>
                  <a:lnTo>
                    <a:pt x="111" y="11"/>
                  </a:lnTo>
                  <a:lnTo>
                    <a:pt x="98" y="0"/>
                  </a:lnTo>
                  <a:lnTo>
                    <a:pt x="98"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3" name="Finland"/>
            <p:cNvSpPr>
              <a:spLocks/>
            </p:cNvSpPr>
            <p:nvPr/>
          </p:nvSpPr>
          <p:spPr bwMode="auto">
            <a:xfrm>
              <a:off x="6500812" y="1911351"/>
              <a:ext cx="315912" cy="341313"/>
            </a:xfrm>
            <a:custGeom>
              <a:avLst/>
              <a:gdLst>
                <a:gd name="T0" fmla="*/ 121 w 199"/>
                <a:gd name="T1" fmla="*/ 23 h 215"/>
                <a:gd name="T2" fmla="*/ 124 w 199"/>
                <a:gd name="T3" fmla="*/ 8 h 215"/>
                <a:gd name="T4" fmla="*/ 103 w 199"/>
                <a:gd name="T5" fmla="*/ 0 h 215"/>
                <a:gd name="T6" fmla="*/ 81 w 199"/>
                <a:gd name="T7" fmla="*/ 7 h 215"/>
                <a:gd name="T8" fmla="*/ 77 w 199"/>
                <a:gd name="T9" fmla="*/ 22 h 215"/>
                <a:gd name="T10" fmla="*/ 65 w 199"/>
                <a:gd name="T11" fmla="*/ 30 h 215"/>
                <a:gd name="T12" fmla="*/ 47 w 199"/>
                <a:gd name="T13" fmla="*/ 26 h 215"/>
                <a:gd name="T14" fmla="*/ 27 w 199"/>
                <a:gd name="T15" fmla="*/ 27 h 215"/>
                <a:gd name="T16" fmla="*/ 8 w 199"/>
                <a:gd name="T17" fmla="*/ 16 h 215"/>
                <a:gd name="T18" fmla="*/ 0 w 199"/>
                <a:gd name="T19" fmla="*/ 21 h 215"/>
                <a:gd name="T20" fmla="*/ 22 w 199"/>
                <a:gd name="T21" fmla="*/ 31 h 215"/>
                <a:gd name="T22" fmla="*/ 49 w 199"/>
                <a:gd name="T23" fmla="*/ 45 h 215"/>
                <a:gd name="T24" fmla="*/ 55 w 199"/>
                <a:gd name="T25" fmla="*/ 77 h 215"/>
                <a:gd name="T26" fmla="*/ 63 w 199"/>
                <a:gd name="T27" fmla="*/ 84 h 215"/>
                <a:gd name="T28" fmla="*/ 86 w 199"/>
                <a:gd name="T29" fmla="*/ 95 h 215"/>
                <a:gd name="T30" fmla="*/ 90 w 199"/>
                <a:gd name="T31" fmla="*/ 103 h 215"/>
                <a:gd name="T32" fmla="*/ 80 w 199"/>
                <a:gd name="T33" fmla="*/ 108 h 215"/>
                <a:gd name="T34" fmla="*/ 48 w 199"/>
                <a:gd name="T35" fmla="*/ 130 h 215"/>
                <a:gd name="T36" fmla="*/ 36 w 199"/>
                <a:gd name="T37" fmla="*/ 144 h 215"/>
                <a:gd name="T38" fmla="*/ 30 w 199"/>
                <a:gd name="T39" fmla="*/ 156 h 215"/>
                <a:gd name="T40" fmla="*/ 40 w 199"/>
                <a:gd name="T41" fmla="*/ 176 h 215"/>
                <a:gd name="T42" fmla="*/ 40 w 199"/>
                <a:gd name="T43" fmla="*/ 196 h 215"/>
                <a:gd name="T44" fmla="*/ 58 w 199"/>
                <a:gd name="T45" fmla="*/ 204 h 215"/>
                <a:gd name="T46" fmla="*/ 69 w 199"/>
                <a:gd name="T47" fmla="*/ 215 h 215"/>
                <a:gd name="T48" fmla="*/ 95 w 199"/>
                <a:gd name="T49" fmla="*/ 211 h 215"/>
                <a:gd name="T50" fmla="*/ 123 w 199"/>
                <a:gd name="T51" fmla="*/ 203 h 215"/>
                <a:gd name="T52" fmla="*/ 153 w 199"/>
                <a:gd name="T53" fmla="*/ 201 h 215"/>
                <a:gd name="T54" fmla="*/ 153 w 199"/>
                <a:gd name="T55" fmla="*/ 201 h 215"/>
                <a:gd name="T56" fmla="*/ 183 w 199"/>
                <a:gd name="T57" fmla="*/ 174 h 215"/>
                <a:gd name="T58" fmla="*/ 195 w 199"/>
                <a:gd name="T59" fmla="*/ 161 h 215"/>
                <a:gd name="T60" fmla="*/ 199 w 199"/>
                <a:gd name="T61" fmla="*/ 151 h 215"/>
                <a:gd name="T62" fmla="*/ 172 w 199"/>
                <a:gd name="T63" fmla="*/ 136 h 215"/>
                <a:gd name="T64" fmla="*/ 175 w 199"/>
                <a:gd name="T65" fmla="*/ 122 h 215"/>
                <a:gd name="T66" fmla="*/ 157 w 199"/>
                <a:gd name="T67" fmla="*/ 107 h 215"/>
                <a:gd name="T68" fmla="*/ 163 w 199"/>
                <a:gd name="T69" fmla="*/ 89 h 215"/>
                <a:gd name="T70" fmla="*/ 139 w 199"/>
                <a:gd name="T71" fmla="*/ 66 h 215"/>
                <a:gd name="T72" fmla="*/ 149 w 199"/>
                <a:gd name="T73" fmla="*/ 50 h 215"/>
                <a:gd name="T74" fmla="*/ 122 w 199"/>
                <a:gd name="T75" fmla="*/ 36 h 215"/>
                <a:gd name="T76" fmla="*/ 121 w 199"/>
                <a:gd name="T77" fmla="*/ 23 h 215"/>
                <a:gd name="T78" fmla="*/ 121 w 199"/>
                <a:gd name="T79" fmla="*/ 2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15">
                  <a:moveTo>
                    <a:pt x="121" y="23"/>
                  </a:moveTo>
                  <a:lnTo>
                    <a:pt x="124" y="8"/>
                  </a:lnTo>
                  <a:lnTo>
                    <a:pt x="103" y="0"/>
                  </a:lnTo>
                  <a:lnTo>
                    <a:pt x="81" y="7"/>
                  </a:lnTo>
                  <a:lnTo>
                    <a:pt x="77" y="22"/>
                  </a:lnTo>
                  <a:lnTo>
                    <a:pt x="65" y="30"/>
                  </a:lnTo>
                  <a:lnTo>
                    <a:pt x="47" y="26"/>
                  </a:lnTo>
                  <a:lnTo>
                    <a:pt x="27" y="27"/>
                  </a:lnTo>
                  <a:lnTo>
                    <a:pt x="8" y="16"/>
                  </a:lnTo>
                  <a:lnTo>
                    <a:pt x="0" y="21"/>
                  </a:lnTo>
                  <a:lnTo>
                    <a:pt x="22" y="31"/>
                  </a:lnTo>
                  <a:lnTo>
                    <a:pt x="49" y="45"/>
                  </a:lnTo>
                  <a:lnTo>
                    <a:pt x="55" y="77"/>
                  </a:lnTo>
                  <a:lnTo>
                    <a:pt x="63" y="84"/>
                  </a:lnTo>
                  <a:lnTo>
                    <a:pt x="86" y="95"/>
                  </a:lnTo>
                  <a:lnTo>
                    <a:pt x="90" y="103"/>
                  </a:lnTo>
                  <a:lnTo>
                    <a:pt x="80" y="108"/>
                  </a:lnTo>
                  <a:lnTo>
                    <a:pt x="48" y="130"/>
                  </a:lnTo>
                  <a:lnTo>
                    <a:pt x="36" y="144"/>
                  </a:lnTo>
                  <a:lnTo>
                    <a:pt x="30" y="156"/>
                  </a:lnTo>
                  <a:lnTo>
                    <a:pt x="40" y="176"/>
                  </a:lnTo>
                  <a:lnTo>
                    <a:pt x="40" y="196"/>
                  </a:lnTo>
                  <a:lnTo>
                    <a:pt x="58" y="204"/>
                  </a:lnTo>
                  <a:lnTo>
                    <a:pt x="69" y="215"/>
                  </a:lnTo>
                  <a:lnTo>
                    <a:pt x="95" y="211"/>
                  </a:lnTo>
                  <a:lnTo>
                    <a:pt x="123" y="203"/>
                  </a:lnTo>
                  <a:lnTo>
                    <a:pt x="153" y="201"/>
                  </a:lnTo>
                  <a:lnTo>
                    <a:pt x="153" y="201"/>
                  </a:lnTo>
                  <a:lnTo>
                    <a:pt x="183" y="174"/>
                  </a:lnTo>
                  <a:lnTo>
                    <a:pt x="195" y="161"/>
                  </a:lnTo>
                  <a:lnTo>
                    <a:pt x="199" y="151"/>
                  </a:lnTo>
                  <a:lnTo>
                    <a:pt x="172" y="136"/>
                  </a:lnTo>
                  <a:lnTo>
                    <a:pt x="175" y="122"/>
                  </a:lnTo>
                  <a:lnTo>
                    <a:pt x="157" y="107"/>
                  </a:lnTo>
                  <a:lnTo>
                    <a:pt x="163" y="89"/>
                  </a:lnTo>
                  <a:lnTo>
                    <a:pt x="139" y="66"/>
                  </a:lnTo>
                  <a:lnTo>
                    <a:pt x="149" y="50"/>
                  </a:lnTo>
                  <a:lnTo>
                    <a:pt x="122" y="36"/>
                  </a:lnTo>
                  <a:lnTo>
                    <a:pt x="121" y="23"/>
                  </a:lnTo>
                  <a:lnTo>
                    <a:pt x="121" y="2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4" name="Fiji"/>
            <p:cNvSpPr>
              <a:spLocks noEditPoints="1"/>
            </p:cNvSpPr>
            <p:nvPr/>
          </p:nvSpPr>
          <p:spPr bwMode="auto">
            <a:xfrm>
              <a:off x="11825287" y="5089526"/>
              <a:ext cx="104775" cy="82550"/>
            </a:xfrm>
            <a:custGeom>
              <a:avLst/>
              <a:gdLst>
                <a:gd name="T0" fmla="*/ 66 w 66"/>
                <a:gd name="T1" fmla="*/ 0 h 52"/>
                <a:gd name="T2" fmla="*/ 52 w 66"/>
                <a:gd name="T3" fmla="*/ 8 h 52"/>
                <a:gd name="T4" fmla="*/ 45 w 66"/>
                <a:gd name="T5" fmla="*/ 9 h 52"/>
                <a:gd name="T6" fmla="*/ 33 w 66"/>
                <a:gd name="T7" fmla="*/ 13 h 52"/>
                <a:gd name="T8" fmla="*/ 34 w 66"/>
                <a:gd name="T9" fmla="*/ 23 h 52"/>
                <a:gd name="T10" fmla="*/ 48 w 66"/>
                <a:gd name="T11" fmla="*/ 17 h 52"/>
                <a:gd name="T12" fmla="*/ 63 w 66"/>
                <a:gd name="T13" fmla="*/ 11 h 52"/>
                <a:gd name="T14" fmla="*/ 66 w 66"/>
                <a:gd name="T15" fmla="*/ 0 h 52"/>
                <a:gd name="T16" fmla="*/ 66 w 66"/>
                <a:gd name="T17" fmla="*/ 0 h 52"/>
                <a:gd name="T18" fmla="*/ 25 w 66"/>
                <a:gd name="T19" fmla="*/ 30 h 52"/>
                <a:gd name="T20" fmla="*/ 18 w 66"/>
                <a:gd name="T21" fmla="*/ 34 h 52"/>
                <a:gd name="T22" fmla="*/ 10 w 66"/>
                <a:gd name="T23" fmla="*/ 31 h 52"/>
                <a:gd name="T24" fmla="*/ 0 w 66"/>
                <a:gd name="T25" fmla="*/ 39 h 52"/>
                <a:gd name="T26" fmla="*/ 0 w 66"/>
                <a:gd name="T27" fmla="*/ 50 h 52"/>
                <a:gd name="T28" fmla="*/ 10 w 66"/>
                <a:gd name="T29" fmla="*/ 52 h 52"/>
                <a:gd name="T30" fmla="*/ 24 w 66"/>
                <a:gd name="T31" fmla="*/ 49 h 52"/>
                <a:gd name="T32" fmla="*/ 31 w 66"/>
                <a:gd name="T33" fmla="*/ 37 h 52"/>
                <a:gd name="T34" fmla="*/ 25 w 66"/>
                <a:gd name="T35" fmla="*/ 30 h 52"/>
                <a:gd name="T36" fmla="*/ 25 w 66"/>
                <a:gd name="T37"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52">
                  <a:moveTo>
                    <a:pt x="66" y="0"/>
                  </a:moveTo>
                  <a:lnTo>
                    <a:pt x="52" y="8"/>
                  </a:lnTo>
                  <a:lnTo>
                    <a:pt x="45" y="9"/>
                  </a:lnTo>
                  <a:lnTo>
                    <a:pt x="33" y="13"/>
                  </a:lnTo>
                  <a:lnTo>
                    <a:pt x="34" y="23"/>
                  </a:lnTo>
                  <a:lnTo>
                    <a:pt x="48" y="17"/>
                  </a:lnTo>
                  <a:lnTo>
                    <a:pt x="63" y="11"/>
                  </a:lnTo>
                  <a:lnTo>
                    <a:pt x="66" y="0"/>
                  </a:lnTo>
                  <a:lnTo>
                    <a:pt x="66" y="0"/>
                  </a:lnTo>
                  <a:close/>
                  <a:moveTo>
                    <a:pt x="25" y="30"/>
                  </a:moveTo>
                  <a:lnTo>
                    <a:pt x="18" y="34"/>
                  </a:lnTo>
                  <a:lnTo>
                    <a:pt x="10" y="31"/>
                  </a:lnTo>
                  <a:lnTo>
                    <a:pt x="0" y="39"/>
                  </a:lnTo>
                  <a:lnTo>
                    <a:pt x="0" y="50"/>
                  </a:lnTo>
                  <a:lnTo>
                    <a:pt x="10" y="52"/>
                  </a:lnTo>
                  <a:lnTo>
                    <a:pt x="24" y="49"/>
                  </a:lnTo>
                  <a:lnTo>
                    <a:pt x="31" y="37"/>
                  </a:lnTo>
                  <a:lnTo>
                    <a:pt x="25" y="30"/>
                  </a:lnTo>
                  <a:lnTo>
                    <a:pt x="25" y="3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5" name="Gabon"/>
            <p:cNvSpPr>
              <a:spLocks/>
            </p:cNvSpPr>
            <p:nvPr/>
          </p:nvSpPr>
          <p:spPr bwMode="auto">
            <a:xfrm>
              <a:off x="6292850" y="4395788"/>
              <a:ext cx="188912" cy="238125"/>
            </a:xfrm>
            <a:custGeom>
              <a:avLst/>
              <a:gdLst>
                <a:gd name="T0" fmla="*/ 91 w 119"/>
                <a:gd name="T1" fmla="*/ 1 h 150"/>
                <a:gd name="T2" fmla="*/ 88 w 119"/>
                <a:gd name="T3" fmla="*/ 0 h 150"/>
                <a:gd name="T4" fmla="*/ 75 w 119"/>
                <a:gd name="T5" fmla="*/ 3 h 150"/>
                <a:gd name="T6" fmla="*/ 63 w 119"/>
                <a:gd name="T7" fmla="*/ 0 h 150"/>
                <a:gd name="T8" fmla="*/ 53 w 119"/>
                <a:gd name="T9" fmla="*/ 1 h 150"/>
                <a:gd name="T10" fmla="*/ 53 w 119"/>
                <a:gd name="T11" fmla="*/ 30 h 150"/>
                <a:gd name="T12" fmla="*/ 23 w 119"/>
                <a:gd name="T13" fmla="*/ 30 h 150"/>
                <a:gd name="T14" fmla="*/ 15 w 119"/>
                <a:gd name="T15" fmla="*/ 31 h 150"/>
                <a:gd name="T16" fmla="*/ 12 w 119"/>
                <a:gd name="T17" fmla="*/ 49 h 150"/>
                <a:gd name="T18" fmla="*/ 6 w 119"/>
                <a:gd name="T19" fmla="*/ 66 h 150"/>
                <a:gd name="T20" fmla="*/ 1 w 119"/>
                <a:gd name="T21" fmla="*/ 73 h 150"/>
                <a:gd name="T22" fmla="*/ 0 w 119"/>
                <a:gd name="T23" fmla="*/ 81 h 150"/>
                <a:gd name="T24" fmla="*/ 13 w 119"/>
                <a:gd name="T25" fmla="*/ 106 h 150"/>
                <a:gd name="T26" fmla="*/ 27 w 119"/>
                <a:gd name="T27" fmla="*/ 125 h 150"/>
                <a:gd name="T28" fmla="*/ 49 w 119"/>
                <a:gd name="T29" fmla="*/ 150 h 150"/>
                <a:gd name="T30" fmla="*/ 65 w 119"/>
                <a:gd name="T31" fmla="*/ 137 h 150"/>
                <a:gd name="T32" fmla="*/ 57 w 119"/>
                <a:gd name="T33" fmla="*/ 121 h 150"/>
                <a:gd name="T34" fmla="*/ 64 w 119"/>
                <a:gd name="T35" fmla="*/ 115 h 150"/>
                <a:gd name="T36" fmla="*/ 79 w 119"/>
                <a:gd name="T37" fmla="*/ 112 h 150"/>
                <a:gd name="T38" fmla="*/ 81 w 119"/>
                <a:gd name="T39" fmla="*/ 101 h 150"/>
                <a:gd name="T40" fmla="*/ 92 w 119"/>
                <a:gd name="T41" fmla="*/ 112 h 150"/>
                <a:gd name="T42" fmla="*/ 110 w 119"/>
                <a:gd name="T43" fmla="*/ 114 h 150"/>
                <a:gd name="T44" fmla="*/ 116 w 119"/>
                <a:gd name="T45" fmla="*/ 103 h 150"/>
                <a:gd name="T46" fmla="*/ 119 w 119"/>
                <a:gd name="T47" fmla="*/ 86 h 150"/>
                <a:gd name="T48" fmla="*/ 117 w 119"/>
                <a:gd name="T49" fmla="*/ 68 h 150"/>
                <a:gd name="T50" fmla="*/ 107 w 119"/>
                <a:gd name="T51" fmla="*/ 54 h 150"/>
                <a:gd name="T52" fmla="*/ 116 w 119"/>
                <a:gd name="T53" fmla="*/ 26 h 150"/>
                <a:gd name="T54" fmla="*/ 111 w 119"/>
                <a:gd name="T55" fmla="*/ 22 h 150"/>
                <a:gd name="T56" fmla="*/ 95 w 119"/>
                <a:gd name="T57" fmla="*/ 24 h 150"/>
                <a:gd name="T58" fmla="*/ 89 w 119"/>
                <a:gd name="T59" fmla="*/ 11 h 150"/>
                <a:gd name="T60" fmla="*/ 91 w 119"/>
                <a:gd name="T61" fmla="*/ 1 h 150"/>
                <a:gd name="T62" fmla="*/ 91 w 119"/>
                <a:gd name="T63"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50">
                  <a:moveTo>
                    <a:pt x="91" y="1"/>
                  </a:moveTo>
                  <a:lnTo>
                    <a:pt x="88" y="0"/>
                  </a:lnTo>
                  <a:lnTo>
                    <a:pt x="75" y="3"/>
                  </a:lnTo>
                  <a:lnTo>
                    <a:pt x="63" y="0"/>
                  </a:lnTo>
                  <a:lnTo>
                    <a:pt x="53" y="1"/>
                  </a:lnTo>
                  <a:lnTo>
                    <a:pt x="53" y="30"/>
                  </a:lnTo>
                  <a:lnTo>
                    <a:pt x="23" y="30"/>
                  </a:lnTo>
                  <a:lnTo>
                    <a:pt x="15" y="31"/>
                  </a:lnTo>
                  <a:lnTo>
                    <a:pt x="12" y="49"/>
                  </a:lnTo>
                  <a:lnTo>
                    <a:pt x="6" y="66"/>
                  </a:lnTo>
                  <a:lnTo>
                    <a:pt x="1" y="73"/>
                  </a:lnTo>
                  <a:lnTo>
                    <a:pt x="0" y="81"/>
                  </a:lnTo>
                  <a:lnTo>
                    <a:pt x="13" y="106"/>
                  </a:lnTo>
                  <a:lnTo>
                    <a:pt x="27" y="125"/>
                  </a:lnTo>
                  <a:lnTo>
                    <a:pt x="49" y="150"/>
                  </a:lnTo>
                  <a:lnTo>
                    <a:pt x="65" y="137"/>
                  </a:lnTo>
                  <a:lnTo>
                    <a:pt x="57" y="121"/>
                  </a:lnTo>
                  <a:lnTo>
                    <a:pt x="64" y="115"/>
                  </a:lnTo>
                  <a:lnTo>
                    <a:pt x="79" y="112"/>
                  </a:lnTo>
                  <a:lnTo>
                    <a:pt x="81" y="101"/>
                  </a:lnTo>
                  <a:lnTo>
                    <a:pt x="92" y="112"/>
                  </a:lnTo>
                  <a:lnTo>
                    <a:pt x="110" y="114"/>
                  </a:lnTo>
                  <a:lnTo>
                    <a:pt x="116" y="103"/>
                  </a:lnTo>
                  <a:lnTo>
                    <a:pt x="119" y="86"/>
                  </a:lnTo>
                  <a:lnTo>
                    <a:pt x="117" y="68"/>
                  </a:lnTo>
                  <a:lnTo>
                    <a:pt x="107" y="54"/>
                  </a:lnTo>
                  <a:lnTo>
                    <a:pt x="116" y="26"/>
                  </a:lnTo>
                  <a:lnTo>
                    <a:pt x="111" y="22"/>
                  </a:lnTo>
                  <a:lnTo>
                    <a:pt x="95" y="24"/>
                  </a:lnTo>
                  <a:lnTo>
                    <a:pt x="89" y="11"/>
                  </a:lnTo>
                  <a:lnTo>
                    <a:pt x="91" y="1"/>
                  </a:lnTo>
                  <a:lnTo>
                    <a:pt x="91"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United Kingdom"/>
            <p:cNvSpPr>
              <a:spLocks noEditPoints="1"/>
            </p:cNvSpPr>
            <p:nvPr/>
          </p:nvSpPr>
          <p:spPr bwMode="auto">
            <a:xfrm>
              <a:off x="5789612" y="2295526"/>
              <a:ext cx="258762" cy="309563"/>
            </a:xfrm>
            <a:custGeom>
              <a:avLst/>
              <a:gdLst>
                <a:gd name="T0" fmla="*/ 34 w 163"/>
                <a:gd name="T1" fmla="*/ 91 h 195"/>
                <a:gd name="T2" fmla="*/ 15 w 163"/>
                <a:gd name="T3" fmla="*/ 77 h 195"/>
                <a:gd name="T4" fmla="*/ 1 w 163"/>
                <a:gd name="T5" fmla="*/ 78 h 195"/>
                <a:gd name="T6" fmla="*/ 4 w 163"/>
                <a:gd name="T7" fmla="*/ 90 h 195"/>
                <a:gd name="T8" fmla="*/ 0 w 163"/>
                <a:gd name="T9" fmla="*/ 102 h 195"/>
                <a:gd name="T10" fmla="*/ 10 w 163"/>
                <a:gd name="T11" fmla="*/ 102 h 195"/>
                <a:gd name="T12" fmla="*/ 23 w 163"/>
                <a:gd name="T13" fmla="*/ 107 h 195"/>
                <a:gd name="T14" fmla="*/ 34 w 163"/>
                <a:gd name="T15" fmla="*/ 91 h 195"/>
                <a:gd name="T16" fmla="*/ 82 w 163"/>
                <a:gd name="T17" fmla="*/ 0 h 195"/>
                <a:gd name="T18" fmla="*/ 62 w 163"/>
                <a:gd name="T19" fmla="*/ 2 h 195"/>
                <a:gd name="T20" fmla="*/ 48 w 163"/>
                <a:gd name="T21" fmla="*/ 0 h 195"/>
                <a:gd name="T22" fmla="*/ 34 w 163"/>
                <a:gd name="T23" fmla="*/ 18 h 195"/>
                <a:gd name="T24" fmla="*/ 27 w 163"/>
                <a:gd name="T25" fmla="*/ 41 h 195"/>
                <a:gd name="T26" fmla="*/ 35 w 163"/>
                <a:gd name="T27" fmla="*/ 52 h 195"/>
                <a:gd name="T28" fmla="*/ 35 w 163"/>
                <a:gd name="T29" fmla="*/ 74 h 195"/>
                <a:gd name="T30" fmla="*/ 46 w 163"/>
                <a:gd name="T31" fmla="*/ 64 h 195"/>
                <a:gd name="T32" fmla="*/ 50 w 163"/>
                <a:gd name="T33" fmla="*/ 69 h 195"/>
                <a:gd name="T34" fmla="*/ 45 w 163"/>
                <a:gd name="T35" fmla="*/ 80 h 195"/>
                <a:gd name="T36" fmla="*/ 48 w 163"/>
                <a:gd name="T37" fmla="*/ 85 h 195"/>
                <a:gd name="T38" fmla="*/ 69 w 163"/>
                <a:gd name="T39" fmla="*/ 90 h 195"/>
                <a:gd name="T40" fmla="*/ 70 w 163"/>
                <a:gd name="T41" fmla="*/ 90 h 195"/>
                <a:gd name="T42" fmla="*/ 81 w 163"/>
                <a:gd name="T43" fmla="*/ 104 h 195"/>
                <a:gd name="T44" fmla="*/ 78 w 163"/>
                <a:gd name="T45" fmla="*/ 117 h 195"/>
                <a:gd name="T46" fmla="*/ 78 w 163"/>
                <a:gd name="T47" fmla="*/ 117 h 195"/>
                <a:gd name="T48" fmla="*/ 52 w 163"/>
                <a:gd name="T49" fmla="*/ 115 h 195"/>
                <a:gd name="T50" fmla="*/ 48 w 163"/>
                <a:gd name="T51" fmla="*/ 130 h 195"/>
                <a:gd name="T52" fmla="*/ 58 w 163"/>
                <a:gd name="T53" fmla="*/ 142 h 195"/>
                <a:gd name="T54" fmla="*/ 39 w 163"/>
                <a:gd name="T55" fmla="*/ 149 h 195"/>
                <a:gd name="T56" fmla="*/ 44 w 163"/>
                <a:gd name="T57" fmla="*/ 158 h 195"/>
                <a:gd name="T58" fmla="*/ 72 w 163"/>
                <a:gd name="T59" fmla="*/ 162 h 195"/>
                <a:gd name="T60" fmla="*/ 72 w 163"/>
                <a:gd name="T61" fmla="*/ 162 h 195"/>
                <a:gd name="T62" fmla="*/ 56 w 163"/>
                <a:gd name="T63" fmla="*/ 166 h 195"/>
                <a:gd name="T64" fmla="*/ 28 w 163"/>
                <a:gd name="T65" fmla="*/ 191 h 195"/>
                <a:gd name="T66" fmla="*/ 37 w 163"/>
                <a:gd name="T67" fmla="*/ 195 h 195"/>
                <a:gd name="T68" fmla="*/ 50 w 163"/>
                <a:gd name="T69" fmla="*/ 187 h 195"/>
                <a:gd name="T70" fmla="*/ 67 w 163"/>
                <a:gd name="T71" fmla="*/ 190 h 195"/>
                <a:gd name="T72" fmla="*/ 80 w 163"/>
                <a:gd name="T73" fmla="*/ 179 h 195"/>
                <a:gd name="T74" fmla="*/ 88 w 163"/>
                <a:gd name="T75" fmla="*/ 183 h 195"/>
                <a:gd name="T76" fmla="*/ 119 w 163"/>
                <a:gd name="T77" fmla="*/ 177 h 195"/>
                <a:gd name="T78" fmla="*/ 144 w 163"/>
                <a:gd name="T79" fmla="*/ 177 h 195"/>
                <a:gd name="T80" fmla="*/ 160 w 163"/>
                <a:gd name="T81" fmla="*/ 165 h 195"/>
                <a:gd name="T82" fmla="*/ 152 w 163"/>
                <a:gd name="T83" fmla="*/ 153 h 195"/>
                <a:gd name="T84" fmla="*/ 161 w 163"/>
                <a:gd name="T85" fmla="*/ 147 h 195"/>
                <a:gd name="T86" fmla="*/ 163 w 163"/>
                <a:gd name="T87" fmla="*/ 132 h 195"/>
                <a:gd name="T88" fmla="*/ 142 w 163"/>
                <a:gd name="T89" fmla="*/ 127 h 195"/>
                <a:gd name="T90" fmla="*/ 136 w 163"/>
                <a:gd name="T91" fmla="*/ 119 h 195"/>
                <a:gd name="T92" fmla="*/ 126 w 163"/>
                <a:gd name="T93" fmla="*/ 93 h 195"/>
                <a:gd name="T94" fmla="*/ 114 w 163"/>
                <a:gd name="T95" fmla="*/ 89 h 195"/>
                <a:gd name="T96" fmla="*/ 99 w 163"/>
                <a:gd name="T97" fmla="*/ 63 h 195"/>
                <a:gd name="T98" fmla="*/ 97 w 163"/>
                <a:gd name="T99" fmla="*/ 61 h 195"/>
                <a:gd name="T100" fmla="*/ 79 w 163"/>
                <a:gd name="T101" fmla="*/ 59 h 195"/>
                <a:gd name="T102" fmla="*/ 95 w 163"/>
                <a:gd name="T103" fmla="*/ 39 h 195"/>
                <a:gd name="T104" fmla="*/ 100 w 163"/>
                <a:gd name="T105" fmla="*/ 21 h 195"/>
                <a:gd name="T106" fmla="*/ 81 w 163"/>
                <a:gd name="T107" fmla="*/ 21 h 195"/>
                <a:gd name="T108" fmla="*/ 63 w 163"/>
                <a:gd name="T109" fmla="*/ 24 h 195"/>
                <a:gd name="T110" fmla="*/ 82 w 163"/>
                <a:gd name="T111" fmla="*/ 0 h 195"/>
                <a:gd name="T112" fmla="*/ 82 w 163"/>
                <a:gd name="T11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95">
                  <a:moveTo>
                    <a:pt x="34" y="91"/>
                  </a:moveTo>
                  <a:lnTo>
                    <a:pt x="15" y="77"/>
                  </a:lnTo>
                  <a:lnTo>
                    <a:pt x="1" y="78"/>
                  </a:lnTo>
                  <a:lnTo>
                    <a:pt x="4" y="90"/>
                  </a:lnTo>
                  <a:lnTo>
                    <a:pt x="0" y="102"/>
                  </a:lnTo>
                  <a:lnTo>
                    <a:pt x="10" y="102"/>
                  </a:lnTo>
                  <a:lnTo>
                    <a:pt x="23" y="107"/>
                  </a:lnTo>
                  <a:lnTo>
                    <a:pt x="34" y="91"/>
                  </a:lnTo>
                  <a:close/>
                  <a:moveTo>
                    <a:pt x="82" y="0"/>
                  </a:moveTo>
                  <a:lnTo>
                    <a:pt x="62" y="2"/>
                  </a:lnTo>
                  <a:lnTo>
                    <a:pt x="48" y="0"/>
                  </a:lnTo>
                  <a:lnTo>
                    <a:pt x="34" y="18"/>
                  </a:lnTo>
                  <a:lnTo>
                    <a:pt x="27" y="41"/>
                  </a:lnTo>
                  <a:lnTo>
                    <a:pt x="35" y="52"/>
                  </a:lnTo>
                  <a:lnTo>
                    <a:pt x="35" y="74"/>
                  </a:lnTo>
                  <a:lnTo>
                    <a:pt x="46" y="64"/>
                  </a:lnTo>
                  <a:lnTo>
                    <a:pt x="50" y="69"/>
                  </a:lnTo>
                  <a:lnTo>
                    <a:pt x="45" y="80"/>
                  </a:lnTo>
                  <a:lnTo>
                    <a:pt x="48" y="85"/>
                  </a:lnTo>
                  <a:lnTo>
                    <a:pt x="69" y="90"/>
                  </a:lnTo>
                  <a:lnTo>
                    <a:pt x="70" y="90"/>
                  </a:lnTo>
                  <a:lnTo>
                    <a:pt x="81" y="104"/>
                  </a:lnTo>
                  <a:lnTo>
                    <a:pt x="78" y="117"/>
                  </a:lnTo>
                  <a:lnTo>
                    <a:pt x="78" y="117"/>
                  </a:lnTo>
                  <a:lnTo>
                    <a:pt x="52" y="115"/>
                  </a:lnTo>
                  <a:lnTo>
                    <a:pt x="48" y="130"/>
                  </a:lnTo>
                  <a:lnTo>
                    <a:pt x="58" y="142"/>
                  </a:lnTo>
                  <a:lnTo>
                    <a:pt x="39" y="149"/>
                  </a:lnTo>
                  <a:lnTo>
                    <a:pt x="44" y="158"/>
                  </a:lnTo>
                  <a:lnTo>
                    <a:pt x="72" y="162"/>
                  </a:lnTo>
                  <a:lnTo>
                    <a:pt x="72" y="162"/>
                  </a:lnTo>
                  <a:lnTo>
                    <a:pt x="56" y="166"/>
                  </a:lnTo>
                  <a:lnTo>
                    <a:pt x="28" y="191"/>
                  </a:lnTo>
                  <a:lnTo>
                    <a:pt x="37" y="195"/>
                  </a:lnTo>
                  <a:lnTo>
                    <a:pt x="50" y="187"/>
                  </a:lnTo>
                  <a:lnTo>
                    <a:pt x="67" y="190"/>
                  </a:lnTo>
                  <a:lnTo>
                    <a:pt x="80" y="179"/>
                  </a:lnTo>
                  <a:lnTo>
                    <a:pt x="88" y="183"/>
                  </a:lnTo>
                  <a:lnTo>
                    <a:pt x="119" y="177"/>
                  </a:lnTo>
                  <a:lnTo>
                    <a:pt x="144" y="177"/>
                  </a:lnTo>
                  <a:lnTo>
                    <a:pt x="160" y="165"/>
                  </a:lnTo>
                  <a:lnTo>
                    <a:pt x="152" y="153"/>
                  </a:lnTo>
                  <a:lnTo>
                    <a:pt x="161" y="147"/>
                  </a:lnTo>
                  <a:lnTo>
                    <a:pt x="163" y="132"/>
                  </a:lnTo>
                  <a:lnTo>
                    <a:pt x="142" y="127"/>
                  </a:lnTo>
                  <a:lnTo>
                    <a:pt x="136" y="119"/>
                  </a:lnTo>
                  <a:lnTo>
                    <a:pt x="126" y="93"/>
                  </a:lnTo>
                  <a:lnTo>
                    <a:pt x="114" y="89"/>
                  </a:lnTo>
                  <a:lnTo>
                    <a:pt x="99" y="63"/>
                  </a:lnTo>
                  <a:lnTo>
                    <a:pt x="97" y="61"/>
                  </a:lnTo>
                  <a:lnTo>
                    <a:pt x="79" y="59"/>
                  </a:lnTo>
                  <a:lnTo>
                    <a:pt x="95" y="39"/>
                  </a:lnTo>
                  <a:lnTo>
                    <a:pt x="100" y="21"/>
                  </a:lnTo>
                  <a:lnTo>
                    <a:pt x="81" y="21"/>
                  </a:lnTo>
                  <a:lnTo>
                    <a:pt x="63" y="24"/>
                  </a:lnTo>
                  <a:lnTo>
                    <a:pt x="82" y="0"/>
                  </a:lnTo>
                  <a:lnTo>
                    <a:pt x="82"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7" name="Georgia"/>
            <p:cNvSpPr>
              <a:spLocks/>
            </p:cNvSpPr>
            <p:nvPr/>
          </p:nvSpPr>
          <p:spPr bwMode="auto">
            <a:xfrm>
              <a:off x="7205662" y="2841626"/>
              <a:ext cx="219075" cy="90488"/>
            </a:xfrm>
            <a:custGeom>
              <a:avLst/>
              <a:gdLst>
                <a:gd name="T0" fmla="*/ 75 w 138"/>
                <a:gd name="T1" fmla="*/ 18 h 57"/>
                <a:gd name="T2" fmla="*/ 47 w 138"/>
                <a:gd name="T3" fmla="*/ 7 h 57"/>
                <a:gd name="T4" fmla="*/ 18 w 138"/>
                <a:gd name="T5" fmla="*/ 4 h 57"/>
                <a:gd name="T6" fmla="*/ 1 w 138"/>
                <a:gd name="T7" fmla="*/ 0 h 57"/>
                <a:gd name="T8" fmla="*/ 0 w 138"/>
                <a:gd name="T9" fmla="*/ 3 h 57"/>
                <a:gd name="T10" fmla="*/ 8 w 138"/>
                <a:gd name="T11" fmla="*/ 9 h 57"/>
                <a:gd name="T12" fmla="*/ 19 w 138"/>
                <a:gd name="T13" fmla="*/ 12 h 57"/>
                <a:gd name="T14" fmla="*/ 32 w 138"/>
                <a:gd name="T15" fmla="*/ 20 h 57"/>
                <a:gd name="T16" fmla="*/ 40 w 138"/>
                <a:gd name="T17" fmla="*/ 36 h 57"/>
                <a:gd name="T18" fmla="*/ 39 w 138"/>
                <a:gd name="T19" fmla="*/ 46 h 57"/>
                <a:gd name="T20" fmla="*/ 58 w 138"/>
                <a:gd name="T21" fmla="*/ 46 h 57"/>
                <a:gd name="T22" fmla="*/ 80 w 138"/>
                <a:gd name="T23" fmla="*/ 57 h 57"/>
                <a:gd name="T24" fmla="*/ 105 w 138"/>
                <a:gd name="T25" fmla="*/ 53 h 57"/>
                <a:gd name="T26" fmla="*/ 110 w 138"/>
                <a:gd name="T27" fmla="*/ 49 h 57"/>
                <a:gd name="T28" fmla="*/ 126 w 138"/>
                <a:gd name="T29" fmla="*/ 56 h 57"/>
                <a:gd name="T30" fmla="*/ 136 w 138"/>
                <a:gd name="T31" fmla="*/ 57 h 57"/>
                <a:gd name="T32" fmla="*/ 138 w 138"/>
                <a:gd name="T33" fmla="*/ 55 h 57"/>
                <a:gd name="T34" fmla="*/ 126 w 138"/>
                <a:gd name="T35" fmla="*/ 42 h 57"/>
                <a:gd name="T36" fmla="*/ 130 w 138"/>
                <a:gd name="T37" fmla="*/ 38 h 57"/>
                <a:gd name="T38" fmla="*/ 117 w 138"/>
                <a:gd name="T39" fmla="*/ 33 h 57"/>
                <a:gd name="T40" fmla="*/ 109 w 138"/>
                <a:gd name="T41" fmla="*/ 24 h 57"/>
                <a:gd name="T42" fmla="*/ 90 w 138"/>
                <a:gd name="T43" fmla="*/ 19 h 57"/>
                <a:gd name="T44" fmla="*/ 79 w 138"/>
                <a:gd name="T45" fmla="*/ 23 h 57"/>
                <a:gd name="T46" fmla="*/ 75 w 138"/>
                <a:gd name="T47" fmla="*/ 18 h 57"/>
                <a:gd name="T48" fmla="*/ 75 w 138"/>
                <a:gd name="T4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57">
                  <a:moveTo>
                    <a:pt x="75" y="18"/>
                  </a:moveTo>
                  <a:lnTo>
                    <a:pt x="47" y="7"/>
                  </a:lnTo>
                  <a:lnTo>
                    <a:pt x="18" y="4"/>
                  </a:lnTo>
                  <a:lnTo>
                    <a:pt x="1" y="0"/>
                  </a:lnTo>
                  <a:lnTo>
                    <a:pt x="0" y="3"/>
                  </a:lnTo>
                  <a:lnTo>
                    <a:pt x="8" y="9"/>
                  </a:lnTo>
                  <a:lnTo>
                    <a:pt x="19" y="12"/>
                  </a:lnTo>
                  <a:lnTo>
                    <a:pt x="32" y="20"/>
                  </a:lnTo>
                  <a:lnTo>
                    <a:pt x="40" y="36"/>
                  </a:lnTo>
                  <a:lnTo>
                    <a:pt x="39" y="46"/>
                  </a:lnTo>
                  <a:lnTo>
                    <a:pt x="58" y="46"/>
                  </a:lnTo>
                  <a:lnTo>
                    <a:pt x="80" y="57"/>
                  </a:lnTo>
                  <a:lnTo>
                    <a:pt x="105" y="53"/>
                  </a:lnTo>
                  <a:lnTo>
                    <a:pt x="110" y="49"/>
                  </a:lnTo>
                  <a:lnTo>
                    <a:pt x="126" y="56"/>
                  </a:lnTo>
                  <a:lnTo>
                    <a:pt x="136" y="57"/>
                  </a:lnTo>
                  <a:lnTo>
                    <a:pt x="138" y="55"/>
                  </a:lnTo>
                  <a:lnTo>
                    <a:pt x="126" y="42"/>
                  </a:lnTo>
                  <a:lnTo>
                    <a:pt x="130" y="38"/>
                  </a:lnTo>
                  <a:lnTo>
                    <a:pt x="117" y="33"/>
                  </a:lnTo>
                  <a:lnTo>
                    <a:pt x="109" y="24"/>
                  </a:lnTo>
                  <a:lnTo>
                    <a:pt x="90" y="19"/>
                  </a:lnTo>
                  <a:lnTo>
                    <a:pt x="79" y="23"/>
                  </a:lnTo>
                  <a:lnTo>
                    <a:pt x="75" y="18"/>
                  </a:lnTo>
                  <a:lnTo>
                    <a:pt x="75" y="1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8" name="Ghana"/>
            <p:cNvSpPr>
              <a:spLocks/>
            </p:cNvSpPr>
            <p:nvPr/>
          </p:nvSpPr>
          <p:spPr bwMode="auto">
            <a:xfrm>
              <a:off x="5892800" y="4064001"/>
              <a:ext cx="142875" cy="241300"/>
            </a:xfrm>
            <a:custGeom>
              <a:avLst/>
              <a:gdLst>
                <a:gd name="T0" fmla="*/ 68 w 90"/>
                <a:gd name="T1" fmla="*/ 2 h 152"/>
                <a:gd name="T2" fmla="*/ 59 w 90"/>
                <a:gd name="T3" fmla="*/ 0 h 152"/>
                <a:gd name="T4" fmla="*/ 53 w 90"/>
                <a:gd name="T5" fmla="*/ 4 h 152"/>
                <a:gd name="T6" fmla="*/ 43 w 90"/>
                <a:gd name="T7" fmla="*/ 2 h 152"/>
                <a:gd name="T8" fmla="*/ 7 w 90"/>
                <a:gd name="T9" fmla="*/ 4 h 152"/>
                <a:gd name="T10" fmla="*/ 6 w 90"/>
                <a:gd name="T11" fmla="*/ 17 h 152"/>
                <a:gd name="T12" fmla="*/ 10 w 90"/>
                <a:gd name="T13" fmla="*/ 35 h 152"/>
                <a:gd name="T14" fmla="*/ 14 w 90"/>
                <a:gd name="T15" fmla="*/ 69 h 152"/>
                <a:gd name="T16" fmla="*/ 6 w 90"/>
                <a:gd name="T17" fmla="*/ 89 h 152"/>
                <a:gd name="T18" fmla="*/ 0 w 90"/>
                <a:gd name="T19" fmla="*/ 116 h 152"/>
                <a:gd name="T20" fmla="*/ 10 w 90"/>
                <a:gd name="T21" fmla="*/ 136 h 152"/>
                <a:gd name="T22" fmla="*/ 9 w 90"/>
                <a:gd name="T23" fmla="*/ 146 h 152"/>
                <a:gd name="T24" fmla="*/ 27 w 90"/>
                <a:gd name="T25" fmla="*/ 152 h 152"/>
                <a:gd name="T26" fmla="*/ 46 w 90"/>
                <a:gd name="T27" fmla="*/ 145 h 152"/>
                <a:gd name="T28" fmla="*/ 58 w 90"/>
                <a:gd name="T29" fmla="*/ 137 h 152"/>
                <a:gd name="T30" fmla="*/ 90 w 90"/>
                <a:gd name="T31" fmla="*/ 123 h 152"/>
                <a:gd name="T32" fmla="*/ 86 w 90"/>
                <a:gd name="T33" fmla="*/ 115 h 152"/>
                <a:gd name="T34" fmla="*/ 81 w 90"/>
                <a:gd name="T35" fmla="*/ 100 h 152"/>
                <a:gd name="T36" fmla="*/ 79 w 90"/>
                <a:gd name="T37" fmla="*/ 88 h 152"/>
                <a:gd name="T38" fmla="*/ 83 w 90"/>
                <a:gd name="T39" fmla="*/ 66 h 152"/>
                <a:gd name="T40" fmla="*/ 78 w 90"/>
                <a:gd name="T41" fmla="*/ 58 h 152"/>
                <a:gd name="T42" fmla="*/ 76 w 90"/>
                <a:gd name="T43" fmla="*/ 39 h 152"/>
                <a:gd name="T44" fmla="*/ 76 w 90"/>
                <a:gd name="T45" fmla="*/ 22 h 152"/>
                <a:gd name="T46" fmla="*/ 68 w 90"/>
                <a:gd name="T47" fmla="*/ 9 h 152"/>
                <a:gd name="T48" fmla="*/ 68 w 90"/>
                <a:gd name="T49" fmla="*/ 2 h 152"/>
                <a:gd name="T50" fmla="*/ 68 w 90"/>
                <a:gd name="T51"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 h="152">
                  <a:moveTo>
                    <a:pt x="68" y="2"/>
                  </a:moveTo>
                  <a:lnTo>
                    <a:pt x="59" y="0"/>
                  </a:lnTo>
                  <a:lnTo>
                    <a:pt x="53" y="4"/>
                  </a:lnTo>
                  <a:lnTo>
                    <a:pt x="43" y="2"/>
                  </a:lnTo>
                  <a:lnTo>
                    <a:pt x="7" y="4"/>
                  </a:lnTo>
                  <a:lnTo>
                    <a:pt x="6" y="17"/>
                  </a:lnTo>
                  <a:lnTo>
                    <a:pt x="10" y="35"/>
                  </a:lnTo>
                  <a:lnTo>
                    <a:pt x="14" y="69"/>
                  </a:lnTo>
                  <a:lnTo>
                    <a:pt x="6" y="89"/>
                  </a:lnTo>
                  <a:lnTo>
                    <a:pt x="0" y="116"/>
                  </a:lnTo>
                  <a:lnTo>
                    <a:pt x="10" y="136"/>
                  </a:lnTo>
                  <a:lnTo>
                    <a:pt x="9" y="146"/>
                  </a:lnTo>
                  <a:lnTo>
                    <a:pt x="27" y="152"/>
                  </a:lnTo>
                  <a:lnTo>
                    <a:pt x="46" y="145"/>
                  </a:lnTo>
                  <a:lnTo>
                    <a:pt x="58" y="137"/>
                  </a:lnTo>
                  <a:lnTo>
                    <a:pt x="90" y="123"/>
                  </a:lnTo>
                  <a:lnTo>
                    <a:pt x="86" y="115"/>
                  </a:lnTo>
                  <a:lnTo>
                    <a:pt x="81" y="100"/>
                  </a:lnTo>
                  <a:lnTo>
                    <a:pt x="79" y="88"/>
                  </a:lnTo>
                  <a:lnTo>
                    <a:pt x="83" y="66"/>
                  </a:lnTo>
                  <a:lnTo>
                    <a:pt x="78" y="58"/>
                  </a:lnTo>
                  <a:lnTo>
                    <a:pt x="76" y="39"/>
                  </a:lnTo>
                  <a:lnTo>
                    <a:pt x="76" y="22"/>
                  </a:lnTo>
                  <a:lnTo>
                    <a:pt x="68" y="9"/>
                  </a:lnTo>
                  <a:lnTo>
                    <a:pt x="68" y="2"/>
                  </a:lnTo>
                  <a:lnTo>
                    <a:pt x="68"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Guinea"/>
            <p:cNvSpPr>
              <a:spLocks/>
            </p:cNvSpPr>
            <p:nvPr/>
          </p:nvSpPr>
          <p:spPr bwMode="auto">
            <a:xfrm>
              <a:off x="5499100" y="4008438"/>
              <a:ext cx="241300" cy="200025"/>
            </a:xfrm>
            <a:custGeom>
              <a:avLst/>
              <a:gdLst>
                <a:gd name="T0" fmla="*/ 73 w 152"/>
                <a:gd name="T1" fmla="*/ 5 h 126"/>
                <a:gd name="T2" fmla="*/ 61 w 152"/>
                <a:gd name="T3" fmla="*/ 5 h 126"/>
                <a:gd name="T4" fmla="*/ 41 w 152"/>
                <a:gd name="T5" fmla="*/ 1 h 126"/>
                <a:gd name="T6" fmla="*/ 30 w 152"/>
                <a:gd name="T7" fmla="*/ 8 h 126"/>
                <a:gd name="T8" fmla="*/ 30 w 152"/>
                <a:gd name="T9" fmla="*/ 18 h 126"/>
                <a:gd name="T10" fmla="*/ 21 w 152"/>
                <a:gd name="T11" fmla="*/ 22 h 126"/>
                <a:gd name="T12" fmla="*/ 10 w 152"/>
                <a:gd name="T13" fmla="*/ 25 h 126"/>
                <a:gd name="T14" fmla="*/ 6 w 152"/>
                <a:gd name="T15" fmla="*/ 41 h 126"/>
                <a:gd name="T16" fmla="*/ 12 w 152"/>
                <a:gd name="T17" fmla="*/ 57 h 126"/>
                <a:gd name="T18" fmla="*/ 22 w 152"/>
                <a:gd name="T19" fmla="*/ 64 h 126"/>
                <a:gd name="T20" fmla="*/ 39 w 152"/>
                <a:gd name="T21" fmla="*/ 87 h 126"/>
                <a:gd name="T22" fmla="*/ 53 w 152"/>
                <a:gd name="T23" fmla="*/ 71 h 126"/>
                <a:gd name="T24" fmla="*/ 62 w 152"/>
                <a:gd name="T25" fmla="*/ 65 h 126"/>
                <a:gd name="T26" fmla="*/ 84 w 152"/>
                <a:gd name="T27" fmla="*/ 60 h 126"/>
                <a:gd name="T28" fmla="*/ 94 w 152"/>
                <a:gd name="T29" fmla="*/ 79 h 126"/>
                <a:gd name="T30" fmla="*/ 97 w 152"/>
                <a:gd name="T31" fmla="*/ 92 h 126"/>
                <a:gd name="T32" fmla="*/ 103 w 152"/>
                <a:gd name="T33" fmla="*/ 99 h 126"/>
                <a:gd name="T34" fmla="*/ 112 w 152"/>
                <a:gd name="T35" fmla="*/ 96 h 126"/>
                <a:gd name="T36" fmla="*/ 119 w 152"/>
                <a:gd name="T37" fmla="*/ 120 h 126"/>
                <a:gd name="T38" fmla="*/ 130 w 152"/>
                <a:gd name="T39" fmla="*/ 126 h 126"/>
                <a:gd name="T40" fmla="*/ 140 w 152"/>
                <a:gd name="T41" fmla="*/ 116 h 126"/>
                <a:gd name="T42" fmla="*/ 144 w 152"/>
                <a:gd name="T43" fmla="*/ 106 h 126"/>
                <a:gd name="T44" fmla="*/ 145 w 152"/>
                <a:gd name="T45" fmla="*/ 99 h 126"/>
                <a:gd name="T46" fmla="*/ 147 w 152"/>
                <a:gd name="T47" fmla="*/ 76 h 126"/>
                <a:gd name="T48" fmla="*/ 145 w 152"/>
                <a:gd name="T49" fmla="*/ 58 h 126"/>
                <a:gd name="T50" fmla="*/ 142 w 152"/>
                <a:gd name="T51" fmla="*/ 50 h 126"/>
                <a:gd name="T52" fmla="*/ 141 w 152"/>
                <a:gd name="T53" fmla="*/ 40 h 126"/>
                <a:gd name="T54" fmla="*/ 137 w 152"/>
                <a:gd name="T55" fmla="*/ 34 h 126"/>
                <a:gd name="T56" fmla="*/ 133 w 152"/>
                <a:gd name="T57" fmla="*/ 18 h 126"/>
                <a:gd name="T58" fmla="*/ 126 w 152"/>
                <a:gd name="T59" fmla="*/ 7 h 126"/>
                <a:gd name="T60" fmla="*/ 117 w 152"/>
                <a:gd name="T61" fmla="*/ 9 h 126"/>
                <a:gd name="T62" fmla="*/ 104 w 152"/>
                <a:gd name="T63" fmla="*/ 17 h 126"/>
                <a:gd name="T64" fmla="*/ 90 w 152"/>
                <a:gd name="T65" fmla="*/ 10 h 126"/>
                <a:gd name="T66" fmla="*/ 80 w 152"/>
                <a:gd name="T67" fmla="*/ 12 h 126"/>
                <a:gd name="T68" fmla="*/ 76 w 152"/>
                <a:gd name="T69" fmla="*/ 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126">
                  <a:moveTo>
                    <a:pt x="76" y="3"/>
                  </a:moveTo>
                  <a:lnTo>
                    <a:pt x="73" y="5"/>
                  </a:lnTo>
                  <a:lnTo>
                    <a:pt x="62" y="3"/>
                  </a:lnTo>
                  <a:lnTo>
                    <a:pt x="61" y="5"/>
                  </a:lnTo>
                  <a:lnTo>
                    <a:pt x="56" y="6"/>
                  </a:lnTo>
                  <a:lnTo>
                    <a:pt x="41" y="1"/>
                  </a:lnTo>
                  <a:lnTo>
                    <a:pt x="31" y="0"/>
                  </a:lnTo>
                  <a:lnTo>
                    <a:pt x="30" y="8"/>
                  </a:lnTo>
                  <a:lnTo>
                    <a:pt x="28" y="11"/>
                  </a:lnTo>
                  <a:lnTo>
                    <a:pt x="30" y="18"/>
                  </a:lnTo>
                  <a:lnTo>
                    <a:pt x="26" y="22"/>
                  </a:lnTo>
                  <a:lnTo>
                    <a:pt x="21" y="22"/>
                  </a:lnTo>
                  <a:lnTo>
                    <a:pt x="17" y="26"/>
                  </a:lnTo>
                  <a:lnTo>
                    <a:pt x="10" y="25"/>
                  </a:lnTo>
                  <a:lnTo>
                    <a:pt x="0" y="37"/>
                  </a:lnTo>
                  <a:lnTo>
                    <a:pt x="6" y="41"/>
                  </a:lnTo>
                  <a:lnTo>
                    <a:pt x="9" y="46"/>
                  </a:lnTo>
                  <a:lnTo>
                    <a:pt x="12" y="57"/>
                  </a:lnTo>
                  <a:lnTo>
                    <a:pt x="17" y="61"/>
                  </a:lnTo>
                  <a:lnTo>
                    <a:pt x="22" y="64"/>
                  </a:lnTo>
                  <a:lnTo>
                    <a:pt x="30" y="73"/>
                  </a:lnTo>
                  <a:lnTo>
                    <a:pt x="39" y="87"/>
                  </a:lnTo>
                  <a:lnTo>
                    <a:pt x="50" y="77"/>
                  </a:lnTo>
                  <a:lnTo>
                    <a:pt x="53" y="71"/>
                  </a:lnTo>
                  <a:lnTo>
                    <a:pt x="57" y="65"/>
                  </a:lnTo>
                  <a:lnTo>
                    <a:pt x="62" y="65"/>
                  </a:lnTo>
                  <a:lnTo>
                    <a:pt x="67" y="60"/>
                  </a:lnTo>
                  <a:lnTo>
                    <a:pt x="84" y="60"/>
                  </a:lnTo>
                  <a:lnTo>
                    <a:pt x="90" y="69"/>
                  </a:lnTo>
                  <a:lnTo>
                    <a:pt x="94" y="79"/>
                  </a:lnTo>
                  <a:lnTo>
                    <a:pt x="93" y="85"/>
                  </a:lnTo>
                  <a:lnTo>
                    <a:pt x="97" y="92"/>
                  </a:lnTo>
                  <a:lnTo>
                    <a:pt x="97" y="100"/>
                  </a:lnTo>
                  <a:lnTo>
                    <a:pt x="103" y="99"/>
                  </a:lnTo>
                  <a:lnTo>
                    <a:pt x="106" y="99"/>
                  </a:lnTo>
                  <a:lnTo>
                    <a:pt x="112" y="96"/>
                  </a:lnTo>
                  <a:lnTo>
                    <a:pt x="121" y="111"/>
                  </a:lnTo>
                  <a:lnTo>
                    <a:pt x="119" y="120"/>
                  </a:lnTo>
                  <a:lnTo>
                    <a:pt x="123" y="125"/>
                  </a:lnTo>
                  <a:lnTo>
                    <a:pt x="130" y="126"/>
                  </a:lnTo>
                  <a:lnTo>
                    <a:pt x="133" y="115"/>
                  </a:lnTo>
                  <a:lnTo>
                    <a:pt x="140" y="116"/>
                  </a:lnTo>
                  <a:lnTo>
                    <a:pt x="143" y="116"/>
                  </a:lnTo>
                  <a:lnTo>
                    <a:pt x="144" y="106"/>
                  </a:lnTo>
                  <a:lnTo>
                    <a:pt x="143" y="101"/>
                  </a:lnTo>
                  <a:lnTo>
                    <a:pt x="145" y="99"/>
                  </a:lnTo>
                  <a:lnTo>
                    <a:pt x="152" y="95"/>
                  </a:lnTo>
                  <a:lnTo>
                    <a:pt x="147" y="76"/>
                  </a:lnTo>
                  <a:lnTo>
                    <a:pt x="143" y="67"/>
                  </a:lnTo>
                  <a:lnTo>
                    <a:pt x="145" y="58"/>
                  </a:lnTo>
                  <a:lnTo>
                    <a:pt x="148" y="57"/>
                  </a:lnTo>
                  <a:lnTo>
                    <a:pt x="142" y="50"/>
                  </a:lnTo>
                  <a:lnTo>
                    <a:pt x="144" y="43"/>
                  </a:lnTo>
                  <a:lnTo>
                    <a:pt x="141" y="40"/>
                  </a:lnTo>
                  <a:lnTo>
                    <a:pt x="136" y="43"/>
                  </a:lnTo>
                  <a:lnTo>
                    <a:pt x="137" y="34"/>
                  </a:lnTo>
                  <a:lnTo>
                    <a:pt x="142" y="29"/>
                  </a:lnTo>
                  <a:lnTo>
                    <a:pt x="133" y="18"/>
                  </a:lnTo>
                  <a:lnTo>
                    <a:pt x="131" y="12"/>
                  </a:lnTo>
                  <a:lnTo>
                    <a:pt x="126" y="7"/>
                  </a:lnTo>
                  <a:lnTo>
                    <a:pt x="121" y="6"/>
                  </a:lnTo>
                  <a:lnTo>
                    <a:pt x="117" y="9"/>
                  </a:lnTo>
                  <a:lnTo>
                    <a:pt x="110" y="13"/>
                  </a:lnTo>
                  <a:lnTo>
                    <a:pt x="104" y="17"/>
                  </a:lnTo>
                  <a:lnTo>
                    <a:pt x="95" y="15"/>
                  </a:lnTo>
                  <a:lnTo>
                    <a:pt x="90" y="10"/>
                  </a:lnTo>
                  <a:lnTo>
                    <a:pt x="86" y="9"/>
                  </a:lnTo>
                  <a:lnTo>
                    <a:pt x="80" y="12"/>
                  </a:lnTo>
                  <a:lnTo>
                    <a:pt x="77" y="12"/>
                  </a:lnTo>
                  <a:lnTo>
                    <a:pt x="76" y="3"/>
                  </a:lnTo>
                  <a:lnTo>
                    <a:pt x="76"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Gambia"/>
            <p:cNvSpPr>
              <a:spLocks/>
            </p:cNvSpPr>
            <p:nvPr/>
          </p:nvSpPr>
          <p:spPr bwMode="auto">
            <a:xfrm>
              <a:off x="5443537" y="3960813"/>
              <a:ext cx="100012" cy="26988"/>
            </a:xfrm>
            <a:custGeom>
              <a:avLst/>
              <a:gdLst>
                <a:gd name="T0" fmla="*/ 0 w 63"/>
                <a:gd name="T1" fmla="*/ 17 h 17"/>
                <a:gd name="T2" fmla="*/ 19 w 63"/>
                <a:gd name="T3" fmla="*/ 17 h 17"/>
                <a:gd name="T4" fmla="*/ 25 w 63"/>
                <a:gd name="T5" fmla="*/ 14 h 17"/>
                <a:gd name="T6" fmla="*/ 28 w 63"/>
                <a:gd name="T7" fmla="*/ 14 h 17"/>
                <a:gd name="T8" fmla="*/ 36 w 63"/>
                <a:gd name="T9" fmla="*/ 8 h 17"/>
                <a:gd name="T10" fmla="*/ 45 w 63"/>
                <a:gd name="T11" fmla="*/ 13 h 17"/>
                <a:gd name="T12" fmla="*/ 54 w 63"/>
                <a:gd name="T13" fmla="*/ 14 h 17"/>
                <a:gd name="T14" fmla="*/ 63 w 63"/>
                <a:gd name="T15" fmla="*/ 8 h 17"/>
                <a:gd name="T16" fmla="*/ 59 w 63"/>
                <a:gd name="T17" fmla="*/ 2 h 17"/>
                <a:gd name="T18" fmla="*/ 52 w 63"/>
                <a:gd name="T19" fmla="*/ 5 h 17"/>
                <a:gd name="T20" fmla="*/ 45 w 63"/>
                <a:gd name="T21" fmla="*/ 5 h 17"/>
                <a:gd name="T22" fmla="*/ 38 w 63"/>
                <a:gd name="T23" fmla="*/ 0 h 17"/>
                <a:gd name="T24" fmla="*/ 31 w 63"/>
                <a:gd name="T25" fmla="*/ 0 h 17"/>
                <a:gd name="T26" fmla="*/ 26 w 63"/>
                <a:gd name="T27" fmla="*/ 5 h 17"/>
                <a:gd name="T28" fmla="*/ 3 w 63"/>
                <a:gd name="T29" fmla="*/ 6 h 17"/>
                <a:gd name="T30" fmla="*/ 0 w 63"/>
                <a:gd name="T31" fmla="*/ 17 h 17"/>
                <a:gd name="T32" fmla="*/ 0 w 63"/>
                <a:gd name="T3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7">
                  <a:moveTo>
                    <a:pt x="0" y="17"/>
                  </a:moveTo>
                  <a:lnTo>
                    <a:pt x="19" y="17"/>
                  </a:lnTo>
                  <a:lnTo>
                    <a:pt x="25" y="14"/>
                  </a:lnTo>
                  <a:lnTo>
                    <a:pt x="28" y="14"/>
                  </a:lnTo>
                  <a:lnTo>
                    <a:pt x="36" y="8"/>
                  </a:lnTo>
                  <a:lnTo>
                    <a:pt x="45" y="13"/>
                  </a:lnTo>
                  <a:lnTo>
                    <a:pt x="54" y="14"/>
                  </a:lnTo>
                  <a:lnTo>
                    <a:pt x="63" y="8"/>
                  </a:lnTo>
                  <a:lnTo>
                    <a:pt x="59" y="2"/>
                  </a:lnTo>
                  <a:lnTo>
                    <a:pt x="52" y="5"/>
                  </a:lnTo>
                  <a:lnTo>
                    <a:pt x="45" y="5"/>
                  </a:lnTo>
                  <a:lnTo>
                    <a:pt x="38" y="0"/>
                  </a:lnTo>
                  <a:lnTo>
                    <a:pt x="31" y="0"/>
                  </a:lnTo>
                  <a:lnTo>
                    <a:pt x="26" y="5"/>
                  </a:lnTo>
                  <a:lnTo>
                    <a:pt x="3" y="6"/>
                  </a:lnTo>
                  <a:lnTo>
                    <a:pt x="0" y="17"/>
                  </a:lnTo>
                  <a:lnTo>
                    <a:pt x="0" y="1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Guinea-Bissau"/>
            <p:cNvSpPr>
              <a:spLocks/>
            </p:cNvSpPr>
            <p:nvPr/>
          </p:nvSpPr>
          <p:spPr bwMode="auto">
            <a:xfrm>
              <a:off x="5448300" y="4006851"/>
              <a:ext cx="100012" cy="60325"/>
            </a:xfrm>
            <a:custGeom>
              <a:avLst/>
              <a:gdLst>
                <a:gd name="T0" fmla="*/ 63 w 63"/>
                <a:gd name="T1" fmla="*/ 1 h 38"/>
                <a:gd name="T2" fmla="*/ 24 w 63"/>
                <a:gd name="T3" fmla="*/ 0 h 38"/>
                <a:gd name="T4" fmla="*/ 19 w 63"/>
                <a:gd name="T5" fmla="*/ 2 h 38"/>
                <a:gd name="T6" fmla="*/ 11 w 63"/>
                <a:gd name="T7" fmla="*/ 2 h 38"/>
                <a:gd name="T8" fmla="*/ 0 w 63"/>
                <a:gd name="T9" fmla="*/ 6 h 38"/>
                <a:gd name="T10" fmla="*/ 2 w 63"/>
                <a:gd name="T11" fmla="*/ 11 h 38"/>
                <a:gd name="T12" fmla="*/ 8 w 63"/>
                <a:gd name="T13" fmla="*/ 16 h 38"/>
                <a:gd name="T14" fmla="*/ 8 w 63"/>
                <a:gd name="T15" fmla="*/ 19 h 38"/>
                <a:gd name="T16" fmla="*/ 12 w 63"/>
                <a:gd name="T17" fmla="*/ 26 h 38"/>
                <a:gd name="T18" fmla="*/ 22 w 63"/>
                <a:gd name="T19" fmla="*/ 28 h 38"/>
                <a:gd name="T20" fmla="*/ 32 w 63"/>
                <a:gd name="T21" fmla="*/ 38 h 38"/>
                <a:gd name="T22" fmla="*/ 42 w 63"/>
                <a:gd name="T23" fmla="*/ 26 h 38"/>
                <a:gd name="T24" fmla="*/ 49 w 63"/>
                <a:gd name="T25" fmla="*/ 27 h 38"/>
                <a:gd name="T26" fmla="*/ 53 w 63"/>
                <a:gd name="T27" fmla="*/ 23 h 38"/>
                <a:gd name="T28" fmla="*/ 58 w 63"/>
                <a:gd name="T29" fmla="*/ 23 h 38"/>
                <a:gd name="T30" fmla="*/ 62 w 63"/>
                <a:gd name="T31" fmla="*/ 19 h 38"/>
                <a:gd name="T32" fmla="*/ 60 w 63"/>
                <a:gd name="T33" fmla="*/ 12 h 38"/>
                <a:gd name="T34" fmla="*/ 62 w 63"/>
                <a:gd name="T35" fmla="*/ 9 h 38"/>
                <a:gd name="T36" fmla="*/ 63 w 63"/>
                <a:gd name="T37" fmla="*/ 1 h 38"/>
                <a:gd name="T38" fmla="*/ 63 w 63"/>
                <a:gd name="T3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38">
                  <a:moveTo>
                    <a:pt x="63" y="1"/>
                  </a:moveTo>
                  <a:lnTo>
                    <a:pt x="24" y="0"/>
                  </a:lnTo>
                  <a:lnTo>
                    <a:pt x="19" y="2"/>
                  </a:lnTo>
                  <a:lnTo>
                    <a:pt x="11" y="2"/>
                  </a:lnTo>
                  <a:lnTo>
                    <a:pt x="0" y="6"/>
                  </a:lnTo>
                  <a:lnTo>
                    <a:pt x="2" y="11"/>
                  </a:lnTo>
                  <a:lnTo>
                    <a:pt x="8" y="16"/>
                  </a:lnTo>
                  <a:lnTo>
                    <a:pt x="8" y="19"/>
                  </a:lnTo>
                  <a:lnTo>
                    <a:pt x="12" y="26"/>
                  </a:lnTo>
                  <a:lnTo>
                    <a:pt x="22" y="28"/>
                  </a:lnTo>
                  <a:lnTo>
                    <a:pt x="32" y="38"/>
                  </a:lnTo>
                  <a:lnTo>
                    <a:pt x="42" y="26"/>
                  </a:lnTo>
                  <a:lnTo>
                    <a:pt x="49" y="27"/>
                  </a:lnTo>
                  <a:lnTo>
                    <a:pt x="53" y="23"/>
                  </a:lnTo>
                  <a:lnTo>
                    <a:pt x="58" y="23"/>
                  </a:lnTo>
                  <a:lnTo>
                    <a:pt x="62" y="19"/>
                  </a:lnTo>
                  <a:lnTo>
                    <a:pt x="60" y="12"/>
                  </a:lnTo>
                  <a:lnTo>
                    <a:pt x="62" y="9"/>
                  </a:lnTo>
                  <a:lnTo>
                    <a:pt x="63" y="1"/>
                  </a:lnTo>
                  <a:lnTo>
                    <a:pt x="63"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2" name="Equatorial Guinea"/>
            <p:cNvSpPr>
              <a:spLocks/>
            </p:cNvSpPr>
            <p:nvPr/>
          </p:nvSpPr>
          <p:spPr bwMode="auto">
            <a:xfrm>
              <a:off x="6311900" y="4395788"/>
              <a:ext cx="65087" cy="49213"/>
            </a:xfrm>
            <a:custGeom>
              <a:avLst/>
              <a:gdLst>
                <a:gd name="T0" fmla="*/ 41 w 41"/>
                <a:gd name="T1" fmla="*/ 1 h 31"/>
                <a:gd name="T2" fmla="*/ 7 w 41"/>
                <a:gd name="T3" fmla="*/ 0 h 31"/>
                <a:gd name="T4" fmla="*/ 0 w 41"/>
                <a:gd name="T5" fmla="*/ 27 h 31"/>
                <a:gd name="T6" fmla="*/ 3 w 41"/>
                <a:gd name="T7" fmla="*/ 31 h 31"/>
                <a:gd name="T8" fmla="*/ 11 w 41"/>
                <a:gd name="T9" fmla="*/ 30 h 31"/>
                <a:gd name="T10" fmla="*/ 41 w 41"/>
                <a:gd name="T11" fmla="*/ 30 h 31"/>
                <a:gd name="T12" fmla="*/ 41 w 41"/>
                <a:gd name="T13" fmla="*/ 1 h 31"/>
                <a:gd name="T14" fmla="*/ 41 w 41"/>
                <a:gd name="T15" fmla="*/ 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41" y="1"/>
                  </a:moveTo>
                  <a:lnTo>
                    <a:pt x="7" y="0"/>
                  </a:lnTo>
                  <a:lnTo>
                    <a:pt x="0" y="27"/>
                  </a:lnTo>
                  <a:lnTo>
                    <a:pt x="3" y="31"/>
                  </a:lnTo>
                  <a:lnTo>
                    <a:pt x="11" y="30"/>
                  </a:lnTo>
                  <a:lnTo>
                    <a:pt x="41" y="30"/>
                  </a:lnTo>
                  <a:lnTo>
                    <a:pt x="41" y="1"/>
                  </a:lnTo>
                  <a:lnTo>
                    <a:pt x="41"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Greece"/>
            <p:cNvSpPr>
              <a:spLocks noEditPoints="1"/>
            </p:cNvSpPr>
            <p:nvPr/>
          </p:nvSpPr>
          <p:spPr bwMode="auto">
            <a:xfrm>
              <a:off x="6621462" y="2905126"/>
              <a:ext cx="204787" cy="260350"/>
            </a:xfrm>
            <a:custGeom>
              <a:avLst/>
              <a:gdLst>
                <a:gd name="T0" fmla="*/ 77 w 129"/>
                <a:gd name="T1" fmla="*/ 146 h 164"/>
                <a:gd name="T2" fmla="*/ 73 w 129"/>
                <a:gd name="T3" fmla="*/ 156 h 164"/>
                <a:gd name="T4" fmla="*/ 99 w 129"/>
                <a:gd name="T5" fmla="*/ 161 h 164"/>
                <a:gd name="T6" fmla="*/ 99 w 129"/>
                <a:gd name="T7" fmla="*/ 164 h 164"/>
                <a:gd name="T8" fmla="*/ 127 w 129"/>
                <a:gd name="T9" fmla="*/ 162 h 164"/>
                <a:gd name="T10" fmla="*/ 129 w 129"/>
                <a:gd name="T11" fmla="*/ 155 h 164"/>
                <a:gd name="T12" fmla="*/ 118 w 129"/>
                <a:gd name="T13" fmla="*/ 158 h 164"/>
                <a:gd name="T14" fmla="*/ 118 w 129"/>
                <a:gd name="T15" fmla="*/ 154 h 164"/>
                <a:gd name="T16" fmla="*/ 103 w 129"/>
                <a:gd name="T17" fmla="*/ 152 h 164"/>
                <a:gd name="T18" fmla="*/ 88 w 129"/>
                <a:gd name="T19" fmla="*/ 153 h 164"/>
                <a:gd name="T20" fmla="*/ 77 w 129"/>
                <a:gd name="T21" fmla="*/ 146 h 164"/>
                <a:gd name="T22" fmla="*/ 77 w 129"/>
                <a:gd name="T23" fmla="*/ 146 h 164"/>
                <a:gd name="T24" fmla="*/ 120 w 129"/>
                <a:gd name="T25" fmla="*/ 6 h 164"/>
                <a:gd name="T26" fmla="*/ 110 w 129"/>
                <a:gd name="T27" fmla="*/ 0 h 164"/>
                <a:gd name="T28" fmla="*/ 111 w 129"/>
                <a:gd name="T29" fmla="*/ 11 h 164"/>
                <a:gd name="T30" fmla="*/ 94 w 129"/>
                <a:gd name="T31" fmla="*/ 13 h 164"/>
                <a:gd name="T32" fmla="*/ 79 w 129"/>
                <a:gd name="T33" fmla="*/ 6 h 164"/>
                <a:gd name="T34" fmla="*/ 64 w 129"/>
                <a:gd name="T35" fmla="*/ 11 h 164"/>
                <a:gd name="T36" fmla="*/ 50 w 129"/>
                <a:gd name="T37" fmla="*/ 11 h 164"/>
                <a:gd name="T38" fmla="*/ 46 w 129"/>
                <a:gd name="T39" fmla="*/ 11 h 164"/>
                <a:gd name="T40" fmla="*/ 44 w 129"/>
                <a:gd name="T41" fmla="*/ 16 h 164"/>
                <a:gd name="T42" fmla="*/ 33 w 129"/>
                <a:gd name="T43" fmla="*/ 15 h 164"/>
                <a:gd name="T44" fmla="*/ 27 w 129"/>
                <a:gd name="T45" fmla="*/ 20 h 164"/>
                <a:gd name="T46" fmla="*/ 14 w 129"/>
                <a:gd name="T47" fmla="*/ 22 h 164"/>
                <a:gd name="T48" fmla="*/ 14 w 129"/>
                <a:gd name="T49" fmla="*/ 28 h 164"/>
                <a:gd name="T50" fmla="*/ 8 w 129"/>
                <a:gd name="T51" fmla="*/ 32 h 164"/>
                <a:gd name="T52" fmla="*/ 8 w 129"/>
                <a:gd name="T53" fmla="*/ 39 h 164"/>
                <a:gd name="T54" fmla="*/ 0 w 129"/>
                <a:gd name="T55" fmla="*/ 50 h 164"/>
                <a:gd name="T56" fmla="*/ 2 w 129"/>
                <a:gd name="T57" fmla="*/ 58 h 164"/>
                <a:gd name="T58" fmla="*/ 13 w 129"/>
                <a:gd name="T59" fmla="*/ 71 h 164"/>
                <a:gd name="T60" fmla="*/ 21 w 129"/>
                <a:gd name="T61" fmla="*/ 82 h 164"/>
                <a:gd name="T62" fmla="*/ 26 w 129"/>
                <a:gd name="T63" fmla="*/ 99 h 164"/>
                <a:gd name="T64" fmla="*/ 34 w 129"/>
                <a:gd name="T65" fmla="*/ 118 h 164"/>
                <a:gd name="T66" fmla="*/ 52 w 129"/>
                <a:gd name="T67" fmla="*/ 129 h 164"/>
                <a:gd name="T68" fmla="*/ 64 w 129"/>
                <a:gd name="T69" fmla="*/ 128 h 164"/>
                <a:gd name="T70" fmla="*/ 56 w 129"/>
                <a:gd name="T71" fmla="*/ 106 h 164"/>
                <a:gd name="T72" fmla="*/ 68 w 129"/>
                <a:gd name="T73" fmla="*/ 105 h 164"/>
                <a:gd name="T74" fmla="*/ 60 w 129"/>
                <a:gd name="T75" fmla="*/ 91 h 164"/>
                <a:gd name="T76" fmla="*/ 79 w 129"/>
                <a:gd name="T77" fmla="*/ 98 h 164"/>
                <a:gd name="T78" fmla="*/ 78 w 129"/>
                <a:gd name="T79" fmla="*/ 84 h 164"/>
                <a:gd name="T80" fmla="*/ 68 w 129"/>
                <a:gd name="T81" fmla="*/ 77 h 164"/>
                <a:gd name="T82" fmla="*/ 56 w 129"/>
                <a:gd name="T83" fmla="*/ 66 h 164"/>
                <a:gd name="T84" fmla="*/ 62 w 129"/>
                <a:gd name="T85" fmla="*/ 62 h 164"/>
                <a:gd name="T86" fmla="*/ 52 w 129"/>
                <a:gd name="T87" fmla="*/ 50 h 164"/>
                <a:gd name="T88" fmla="*/ 46 w 129"/>
                <a:gd name="T89" fmla="*/ 35 h 164"/>
                <a:gd name="T90" fmla="*/ 49 w 129"/>
                <a:gd name="T91" fmla="*/ 31 h 164"/>
                <a:gd name="T92" fmla="*/ 60 w 129"/>
                <a:gd name="T93" fmla="*/ 43 h 164"/>
                <a:gd name="T94" fmla="*/ 72 w 129"/>
                <a:gd name="T95" fmla="*/ 43 h 164"/>
                <a:gd name="T96" fmla="*/ 81 w 129"/>
                <a:gd name="T97" fmla="*/ 39 h 164"/>
                <a:gd name="T98" fmla="*/ 66 w 129"/>
                <a:gd name="T99" fmla="*/ 26 h 164"/>
                <a:gd name="T100" fmla="*/ 89 w 129"/>
                <a:gd name="T101" fmla="*/ 20 h 164"/>
                <a:gd name="T102" fmla="*/ 100 w 129"/>
                <a:gd name="T103" fmla="*/ 22 h 164"/>
                <a:gd name="T104" fmla="*/ 111 w 129"/>
                <a:gd name="T105" fmla="*/ 22 h 164"/>
                <a:gd name="T106" fmla="*/ 115 w 129"/>
                <a:gd name="T107" fmla="*/ 20 h 164"/>
                <a:gd name="T108" fmla="*/ 120 w 129"/>
                <a:gd name="T109" fmla="*/ 6 h 164"/>
                <a:gd name="T110" fmla="*/ 120 w 129"/>
                <a:gd name="T111" fmla="*/ 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64">
                  <a:moveTo>
                    <a:pt x="77" y="146"/>
                  </a:moveTo>
                  <a:lnTo>
                    <a:pt x="73" y="156"/>
                  </a:lnTo>
                  <a:lnTo>
                    <a:pt x="99" y="161"/>
                  </a:lnTo>
                  <a:lnTo>
                    <a:pt x="99" y="164"/>
                  </a:lnTo>
                  <a:lnTo>
                    <a:pt x="127" y="162"/>
                  </a:lnTo>
                  <a:lnTo>
                    <a:pt x="129" y="155"/>
                  </a:lnTo>
                  <a:lnTo>
                    <a:pt x="118" y="158"/>
                  </a:lnTo>
                  <a:lnTo>
                    <a:pt x="118" y="154"/>
                  </a:lnTo>
                  <a:lnTo>
                    <a:pt x="103" y="152"/>
                  </a:lnTo>
                  <a:lnTo>
                    <a:pt x="88" y="153"/>
                  </a:lnTo>
                  <a:lnTo>
                    <a:pt x="77" y="146"/>
                  </a:lnTo>
                  <a:lnTo>
                    <a:pt x="77" y="146"/>
                  </a:lnTo>
                  <a:close/>
                  <a:moveTo>
                    <a:pt x="120" y="6"/>
                  </a:moveTo>
                  <a:lnTo>
                    <a:pt x="110" y="0"/>
                  </a:lnTo>
                  <a:lnTo>
                    <a:pt x="111" y="11"/>
                  </a:lnTo>
                  <a:lnTo>
                    <a:pt x="94" y="13"/>
                  </a:lnTo>
                  <a:lnTo>
                    <a:pt x="79" y="6"/>
                  </a:lnTo>
                  <a:lnTo>
                    <a:pt x="64" y="11"/>
                  </a:lnTo>
                  <a:lnTo>
                    <a:pt x="50" y="11"/>
                  </a:lnTo>
                  <a:lnTo>
                    <a:pt x="46" y="11"/>
                  </a:lnTo>
                  <a:lnTo>
                    <a:pt x="44" y="16"/>
                  </a:lnTo>
                  <a:lnTo>
                    <a:pt x="33" y="15"/>
                  </a:lnTo>
                  <a:lnTo>
                    <a:pt x="27" y="20"/>
                  </a:lnTo>
                  <a:lnTo>
                    <a:pt x="14" y="22"/>
                  </a:lnTo>
                  <a:lnTo>
                    <a:pt x="14" y="28"/>
                  </a:lnTo>
                  <a:lnTo>
                    <a:pt x="8" y="32"/>
                  </a:lnTo>
                  <a:lnTo>
                    <a:pt x="8" y="39"/>
                  </a:lnTo>
                  <a:lnTo>
                    <a:pt x="0" y="50"/>
                  </a:lnTo>
                  <a:lnTo>
                    <a:pt x="2" y="58"/>
                  </a:lnTo>
                  <a:lnTo>
                    <a:pt x="13" y="71"/>
                  </a:lnTo>
                  <a:lnTo>
                    <a:pt x="21" y="82"/>
                  </a:lnTo>
                  <a:lnTo>
                    <a:pt x="26" y="99"/>
                  </a:lnTo>
                  <a:lnTo>
                    <a:pt x="34" y="118"/>
                  </a:lnTo>
                  <a:lnTo>
                    <a:pt x="52" y="129"/>
                  </a:lnTo>
                  <a:lnTo>
                    <a:pt x="64" y="128"/>
                  </a:lnTo>
                  <a:lnTo>
                    <a:pt x="56" y="106"/>
                  </a:lnTo>
                  <a:lnTo>
                    <a:pt x="68" y="105"/>
                  </a:lnTo>
                  <a:lnTo>
                    <a:pt x="60" y="91"/>
                  </a:lnTo>
                  <a:lnTo>
                    <a:pt x="79" y="98"/>
                  </a:lnTo>
                  <a:lnTo>
                    <a:pt x="78" y="84"/>
                  </a:lnTo>
                  <a:lnTo>
                    <a:pt x="68" y="77"/>
                  </a:lnTo>
                  <a:lnTo>
                    <a:pt x="56" y="66"/>
                  </a:lnTo>
                  <a:lnTo>
                    <a:pt x="62" y="62"/>
                  </a:lnTo>
                  <a:lnTo>
                    <a:pt x="52" y="50"/>
                  </a:lnTo>
                  <a:lnTo>
                    <a:pt x="46" y="35"/>
                  </a:lnTo>
                  <a:lnTo>
                    <a:pt x="49" y="31"/>
                  </a:lnTo>
                  <a:lnTo>
                    <a:pt x="60" y="43"/>
                  </a:lnTo>
                  <a:lnTo>
                    <a:pt x="72" y="43"/>
                  </a:lnTo>
                  <a:lnTo>
                    <a:pt x="81" y="39"/>
                  </a:lnTo>
                  <a:lnTo>
                    <a:pt x="66" y="26"/>
                  </a:lnTo>
                  <a:lnTo>
                    <a:pt x="89" y="20"/>
                  </a:lnTo>
                  <a:lnTo>
                    <a:pt x="100" y="22"/>
                  </a:lnTo>
                  <a:lnTo>
                    <a:pt x="111" y="22"/>
                  </a:lnTo>
                  <a:lnTo>
                    <a:pt x="115" y="20"/>
                  </a:lnTo>
                  <a:lnTo>
                    <a:pt x="120" y="6"/>
                  </a:lnTo>
                  <a:lnTo>
                    <a:pt x="120" y="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4" name="Greenland"/>
            <p:cNvSpPr>
              <a:spLocks/>
            </p:cNvSpPr>
            <p:nvPr/>
          </p:nvSpPr>
          <p:spPr bwMode="auto">
            <a:xfrm>
              <a:off x="4433887" y="1541463"/>
              <a:ext cx="1320800" cy="704850"/>
            </a:xfrm>
            <a:custGeom>
              <a:avLst/>
              <a:gdLst>
                <a:gd name="T0" fmla="*/ 512 w 832"/>
                <a:gd name="T1" fmla="*/ 1 h 444"/>
                <a:gd name="T2" fmla="*/ 404 w 832"/>
                <a:gd name="T3" fmla="*/ 13 h 444"/>
                <a:gd name="T4" fmla="*/ 399 w 832"/>
                <a:gd name="T5" fmla="*/ 22 h 444"/>
                <a:gd name="T6" fmla="*/ 317 w 832"/>
                <a:gd name="T7" fmla="*/ 24 h 444"/>
                <a:gd name="T8" fmla="*/ 227 w 832"/>
                <a:gd name="T9" fmla="*/ 21 h 444"/>
                <a:gd name="T10" fmla="*/ 173 w 832"/>
                <a:gd name="T11" fmla="*/ 34 h 444"/>
                <a:gd name="T12" fmla="*/ 132 w 832"/>
                <a:gd name="T13" fmla="*/ 57 h 444"/>
                <a:gd name="T14" fmla="*/ 8 w 832"/>
                <a:gd name="T15" fmla="*/ 79 h 444"/>
                <a:gd name="T16" fmla="*/ 78 w 832"/>
                <a:gd name="T17" fmla="*/ 97 h 444"/>
                <a:gd name="T18" fmla="*/ 23 w 832"/>
                <a:gd name="T19" fmla="*/ 116 h 444"/>
                <a:gd name="T20" fmla="*/ 107 w 832"/>
                <a:gd name="T21" fmla="*/ 119 h 444"/>
                <a:gd name="T22" fmla="*/ 160 w 832"/>
                <a:gd name="T23" fmla="*/ 139 h 444"/>
                <a:gd name="T24" fmla="*/ 183 w 832"/>
                <a:gd name="T25" fmla="*/ 179 h 444"/>
                <a:gd name="T26" fmla="*/ 171 w 832"/>
                <a:gd name="T27" fmla="*/ 209 h 444"/>
                <a:gd name="T28" fmla="*/ 217 w 832"/>
                <a:gd name="T29" fmla="*/ 226 h 444"/>
                <a:gd name="T30" fmla="*/ 164 w 832"/>
                <a:gd name="T31" fmla="*/ 231 h 444"/>
                <a:gd name="T32" fmla="*/ 189 w 832"/>
                <a:gd name="T33" fmla="*/ 248 h 444"/>
                <a:gd name="T34" fmla="*/ 209 w 832"/>
                <a:gd name="T35" fmla="*/ 254 h 444"/>
                <a:gd name="T36" fmla="*/ 146 w 832"/>
                <a:gd name="T37" fmla="*/ 293 h 444"/>
                <a:gd name="T38" fmla="*/ 156 w 832"/>
                <a:gd name="T39" fmla="*/ 335 h 444"/>
                <a:gd name="T40" fmla="*/ 170 w 832"/>
                <a:gd name="T41" fmla="*/ 394 h 444"/>
                <a:gd name="T42" fmla="*/ 218 w 832"/>
                <a:gd name="T43" fmla="*/ 427 h 444"/>
                <a:gd name="T44" fmla="*/ 276 w 832"/>
                <a:gd name="T45" fmla="*/ 422 h 444"/>
                <a:gd name="T46" fmla="*/ 320 w 832"/>
                <a:gd name="T47" fmla="*/ 371 h 444"/>
                <a:gd name="T48" fmla="*/ 355 w 832"/>
                <a:gd name="T49" fmla="*/ 329 h 444"/>
                <a:gd name="T50" fmla="*/ 413 w 832"/>
                <a:gd name="T51" fmla="*/ 318 h 444"/>
                <a:gd name="T52" fmla="*/ 497 w 832"/>
                <a:gd name="T53" fmla="*/ 274 h 444"/>
                <a:gd name="T54" fmla="*/ 607 w 832"/>
                <a:gd name="T55" fmla="*/ 251 h 444"/>
                <a:gd name="T56" fmla="*/ 591 w 832"/>
                <a:gd name="T57" fmla="*/ 232 h 444"/>
                <a:gd name="T58" fmla="*/ 624 w 832"/>
                <a:gd name="T59" fmla="*/ 219 h 444"/>
                <a:gd name="T60" fmla="*/ 660 w 832"/>
                <a:gd name="T61" fmla="*/ 207 h 444"/>
                <a:gd name="T62" fmla="*/ 633 w 832"/>
                <a:gd name="T63" fmla="*/ 186 h 444"/>
                <a:gd name="T64" fmla="*/ 647 w 832"/>
                <a:gd name="T65" fmla="*/ 173 h 444"/>
                <a:gd name="T66" fmla="*/ 693 w 832"/>
                <a:gd name="T67" fmla="*/ 162 h 444"/>
                <a:gd name="T68" fmla="*/ 696 w 832"/>
                <a:gd name="T69" fmla="*/ 138 h 444"/>
                <a:gd name="T70" fmla="*/ 689 w 832"/>
                <a:gd name="T71" fmla="*/ 111 h 444"/>
                <a:gd name="T72" fmla="*/ 720 w 832"/>
                <a:gd name="T73" fmla="*/ 92 h 444"/>
                <a:gd name="T74" fmla="*/ 757 w 832"/>
                <a:gd name="T75" fmla="*/ 50 h 444"/>
                <a:gd name="T76" fmla="*/ 777 w 832"/>
                <a:gd name="T77" fmla="*/ 44 h 444"/>
                <a:gd name="T78" fmla="*/ 789 w 832"/>
                <a:gd name="T79" fmla="*/ 23 h 444"/>
                <a:gd name="T80" fmla="*/ 707 w 832"/>
                <a:gd name="T81" fmla="*/ 26 h 444"/>
                <a:gd name="T82" fmla="*/ 636 w 832"/>
                <a:gd name="T83" fmla="*/ 20 h 444"/>
                <a:gd name="T84" fmla="*/ 654 w 832"/>
                <a:gd name="T85" fmla="*/ 18 h 444"/>
                <a:gd name="T86" fmla="*/ 654 w 832"/>
                <a:gd name="T87" fmla="*/ 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2" h="444">
                  <a:moveTo>
                    <a:pt x="654" y="1"/>
                  </a:moveTo>
                  <a:lnTo>
                    <a:pt x="557" y="0"/>
                  </a:lnTo>
                  <a:lnTo>
                    <a:pt x="512" y="1"/>
                  </a:lnTo>
                  <a:lnTo>
                    <a:pt x="494" y="6"/>
                  </a:lnTo>
                  <a:lnTo>
                    <a:pt x="451" y="6"/>
                  </a:lnTo>
                  <a:lnTo>
                    <a:pt x="404" y="13"/>
                  </a:lnTo>
                  <a:lnTo>
                    <a:pt x="397" y="20"/>
                  </a:lnTo>
                  <a:lnTo>
                    <a:pt x="423" y="27"/>
                  </a:lnTo>
                  <a:lnTo>
                    <a:pt x="399" y="22"/>
                  </a:lnTo>
                  <a:lnTo>
                    <a:pt x="382" y="21"/>
                  </a:lnTo>
                  <a:lnTo>
                    <a:pt x="356" y="16"/>
                  </a:lnTo>
                  <a:lnTo>
                    <a:pt x="317" y="24"/>
                  </a:lnTo>
                  <a:lnTo>
                    <a:pt x="307" y="20"/>
                  </a:lnTo>
                  <a:lnTo>
                    <a:pt x="268" y="20"/>
                  </a:lnTo>
                  <a:lnTo>
                    <a:pt x="227" y="21"/>
                  </a:lnTo>
                  <a:lnTo>
                    <a:pt x="194" y="25"/>
                  </a:lnTo>
                  <a:lnTo>
                    <a:pt x="193" y="32"/>
                  </a:lnTo>
                  <a:lnTo>
                    <a:pt x="173" y="34"/>
                  </a:lnTo>
                  <a:lnTo>
                    <a:pt x="119" y="45"/>
                  </a:lnTo>
                  <a:lnTo>
                    <a:pt x="101" y="51"/>
                  </a:lnTo>
                  <a:lnTo>
                    <a:pt x="132" y="57"/>
                  </a:lnTo>
                  <a:lnTo>
                    <a:pt x="122" y="63"/>
                  </a:lnTo>
                  <a:lnTo>
                    <a:pt x="66" y="71"/>
                  </a:lnTo>
                  <a:lnTo>
                    <a:pt x="8" y="79"/>
                  </a:lnTo>
                  <a:lnTo>
                    <a:pt x="0" y="86"/>
                  </a:lnTo>
                  <a:lnTo>
                    <a:pt x="24" y="93"/>
                  </a:lnTo>
                  <a:lnTo>
                    <a:pt x="78" y="97"/>
                  </a:lnTo>
                  <a:lnTo>
                    <a:pt x="50" y="98"/>
                  </a:lnTo>
                  <a:lnTo>
                    <a:pt x="9" y="104"/>
                  </a:lnTo>
                  <a:lnTo>
                    <a:pt x="23" y="116"/>
                  </a:lnTo>
                  <a:lnTo>
                    <a:pt x="34" y="121"/>
                  </a:lnTo>
                  <a:lnTo>
                    <a:pt x="70" y="119"/>
                  </a:lnTo>
                  <a:lnTo>
                    <a:pt x="107" y="119"/>
                  </a:lnTo>
                  <a:lnTo>
                    <a:pt x="136" y="120"/>
                  </a:lnTo>
                  <a:lnTo>
                    <a:pt x="166" y="131"/>
                  </a:lnTo>
                  <a:lnTo>
                    <a:pt x="160" y="139"/>
                  </a:lnTo>
                  <a:lnTo>
                    <a:pt x="174" y="146"/>
                  </a:lnTo>
                  <a:lnTo>
                    <a:pt x="179" y="166"/>
                  </a:lnTo>
                  <a:lnTo>
                    <a:pt x="183" y="179"/>
                  </a:lnTo>
                  <a:lnTo>
                    <a:pt x="188" y="187"/>
                  </a:lnTo>
                  <a:lnTo>
                    <a:pt x="162" y="204"/>
                  </a:lnTo>
                  <a:lnTo>
                    <a:pt x="171" y="209"/>
                  </a:lnTo>
                  <a:lnTo>
                    <a:pt x="188" y="206"/>
                  </a:lnTo>
                  <a:lnTo>
                    <a:pt x="198" y="213"/>
                  </a:lnTo>
                  <a:lnTo>
                    <a:pt x="217" y="226"/>
                  </a:lnTo>
                  <a:lnTo>
                    <a:pt x="189" y="220"/>
                  </a:lnTo>
                  <a:lnTo>
                    <a:pt x="175" y="220"/>
                  </a:lnTo>
                  <a:lnTo>
                    <a:pt x="164" y="231"/>
                  </a:lnTo>
                  <a:lnTo>
                    <a:pt x="158" y="245"/>
                  </a:lnTo>
                  <a:lnTo>
                    <a:pt x="174" y="251"/>
                  </a:lnTo>
                  <a:lnTo>
                    <a:pt x="189" y="248"/>
                  </a:lnTo>
                  <a:lnTo>
                    <a:pt x="198" y="245"/>
                  </a:lnTo>
                  <a:lnTo>
                    <a:pt x="219" y="238"/>
                  </a:lnTo>
                  <a:lnTo>
                    <a:pt x="209" y="254"/>
                  </a:lnTo>
                  <a:lnTo>
                    <a:pt x="199" y="262"/>
                  </a:lnTo>
                  <a:lnTo>
                    <a:pt x="172" y="270"/>
                  </a:lnTo>
                  <a:lnTo>
                    <a:pt x="146" y="293"/>
                  </a:lnTo>
                  <a:lnTo>
                    <a:pt x="154" y="301"/>
                  </a:lnTo>
                  <a:lnTo>
                    <a:pt x="142" y="316"/>
                  </a:lnTo>
                  <a:lnTo>
                    <a:pt x="156" y="335"/>
                  </a:lnTo>
                  <a:lnTo>
                    <a:pt x="150" y="354"/>
                  </a:lnTo>
                  <a:lnTo>
                    <a:pt x="152" y="368"/>
                  </a:lnTo>
                  <a:lnTo>
                    <a:pt x="170" y="394"/>
                  </a:lnTo>
                  <a:lnTo>
                    <a:pt x="173" y="414"/>
                  </a:lnTo>
                  <a:lnTo>
                    <a:pt x="184" y="427"/>
                  </a:lnTo>
                  <a:lnTo>
                    <a:pt x="218" y="427"/>
                  </a:lnTo>
                  <a:lnTo>
                    <a:pt x="237" y="444"/>
                  </a:lnTo>
                  <a:lnTo>
                    <a:pt x="261" y="443"/>
                  </a:lnTo>
                  <a:lnTo>
                    <a:pt x="276" y="422"/>
                  </a:lnTo>
                  <a:lnTo>
                    <a:pt x="289" y="404"/>
                  </a:lnTo>
                  <a:lnTo>
                    <a:pt x="288" y="387"/>
                  </a:lnTo>
                  <a:lnTo>
                    <a:pt x="320" y="371"/>
                  </a:lnTo>
                  <a:lnTo>
                    <a:pt x="333" y="357"/>
                  </a:lnTo>
                  <a:lnTo>
                    <a:pt x="338" y="342"/>
                  </a:lnTo>
                  <a:lnTo>
                    <a:pt x="355" y="329"/>
                  </a:lnTo>
                  <a:lnTo>
                    <a:pt x="380" y="324"/>
                  </a:lnTo>
                  <a:lnTo>
                    <a:pt x="402" y="319"/>
                  </a:lnTo>
                  <a:lnTo>
                    <a:pt x="413" y="318"/>
                  </a:lnTo>
                  <a:lnTo>
                    <a:pt x="452" y="303"/>
                  </a:lnTo>
                  <a:lnTo>
                    <a:pt x="480" y="282"/>
                  </a:lnTo>
                  <a:lnTo>
                    <a:pt x="497" y="274"/>
                  </a:lnTo>
                  <a:lnTo>
                    <a:pt x="514" y="274"/>
                  </a:lnTo>
                  <a:lnTo>
                    <a:pt x="561" y="267"/>
                  </a:lnTo>
                  <a:lnTo>
                    <a:pt x="607" y="251"/>
                  </a:lnTo>
                  <a:lnTo>
                    <a:pt x="650" y="234"/>
                  </a:lnTo>
                  <a:lnTo>
                    <a:pt x="630" y="233"/>
                  </a:lnTo>
                  <a:lnTo>
                    <a:pt x="591" y="232"/>
                  </a:lnTo>
                  <a:lnTo>
                    <a:pt x="610" y="222"/>
                  </a:lnTo>
                  <a:lnTo>
                    <a:pt x="608" y="208"/>
                  </a:lnTo>
                  <a:lnTo>
                    <a:pt x="624" y="219"/>
                  </a:lnTo>
                  <a:lnTo>
                    <a:pt x="635" y="228"/>
                  </a:lnTo>
                  <a:lnTo>
                    <a:pt x="662" y="224"/>
                  </a:lnTo>
                  <a:lnTo>
                    <a:pt x="660" y="207"/>
                  </a:lnTo>
                  <a:lnTo>
                    <a:pt x="643" y="196"/>
                  </a:lnTo>
                  <a:lnTo>
                    <a:pt x="624" y="191"/>
                  </a:lnTo>
                  <a:lnTo>
                    <a:pt x="633" y="186"/>
                  </a:lnTo>
                  <a:lnTo>
                    <a:pt x="660" y="194"/>
                  </a:lnTo>
                  <a:lnTo>
                    <a:pt x="662" y="185"/>
                  </a:lnTo>
                  <a:lnTo>
                    <a:pt x="647" y="173"/>
                  </a:lnTo>
                  <a:lnTo>
                    <a:pt x="666" y="173"/>
                  </a:lnTo>
                  <a:lnTo>
                    <a:pt x="688" y="170"/>
                  </a:lnTo>
                  <a:lnTo>
                    <a:pt x="693" y="162"/>
                  </a:lnTo>
                  <a:lnTo>
                    <a:pt x="678" y="155"/>
                  </a:lnTo>
                  <a:lnTo>
                    <a:pt x="711" y="154"/>
                  </a:lnTo>
                  <a:lnTo>
                    <a:pt x="696" y="138"/>
                  </a:lnTo>
                  <a:lnTo>
                    <a:pt x="711" y="136"/>
                  </a:lnTo>
                  <a:lnTo>
                    <a:pt x="712" y="120"/>
                  </a:lnTo>
                  <a:lnTo>
                    <a:pt x="689" y="111"/>
                  </a:lnTo>
                  <a:lnTo>
                    <a:pt x="712" y="105"/>
                  </a:lnTo>
                  <a:lnTo>
                    <a:pt x="734" y="105"/>
                  </a:lnTo>
                  <a:lnTo>
                    <a:pt x="720" y="92"/>
                  </a:lnTo>
                  <a:lnTo>
                    <a:pt x="725" y="74"/>
                  </a:lnTo>
                  <a:lnTo>
                    <a:pt x="738" y="63"/>
                  </a:lnTo>
                  <a:lnTo>
                    <a:pt x="757" y="50"/>
                  </a:lnTo>
                  <a:lnTo>
                    <a:pt x="727" y="50"/>
                  </a:lnTo>
                  <a:lnTo>
                    <a:pt x="769" y="48"/>
                  </a:lnTo>
                  <a:lnTo>
                    <a:pt x="777" y="44"/>
                  </a:lnTo>
                  <a:lnTo>
                    <a:pt x="832" y="33"/>
                  </a:lnTo>
                  <a:lnTo>
                    <a:pt x="826" y="26"/>
                  </a:lnTo>
                  <a:lnTo>
                    <a:pt x="789" y="23"/>
                  </a:lnTo>
                  <a:lnTo>
                    <a:pt x="725" y="29"/>
                  </a:lnTo>
                  <a:lnTo>
                    <a:pt x="691" y="34"/>
                  </a:lnTo>
                  <a:lnTo>
                    <a:pt x="707" y="26"/>
                  </a:lnTo>
                  <a:lnTo>
                    <a:pt x="699" y="20"/>
                  </a:lnTo>
                  <a:lnTo>
                    <a:pt x="673" y="25"/>
                  </a:lnTo>
                  <a:lnTo>
                    <a:pt x="636" y="20"/>
                  </a:lnTo>
                  <a:lnTo>
                    <a:pt x="592" y="22"/>
                  </a:lnTo>
                  <a:lnTo>
                    <a:pt x="586" y="20"/>
                  </a:lnTo>
                  <a:lnTo>
                    <a:pt x="654" y="18"/>
                  </a:lnTo>
                  <a:lnTo>
                    <a:pt x="703" y="17"/>
                  </a:lnTo>
                  <a:lnTo>
                    <a:pt x="727" y="12"/>
                  </a:lnTo>
                  <a:lnTo>
                    <a:pt x="654" y="1"/>
                  </a:lnTo>
                  <a:lnTo>
                    <a:pt x="654"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5" name="Guatemala"/>
            <p:cNvSpPr>
              <a:spLocks/>
            </p:cNvSpPr>
            <p:nvPr/>
          </p:nvSpPr>
          <p:spPr bwMode="auto">
            <a:xfrm>
              <a:off x="2957512" y="3810001"/>
              <a:ext cx="136525" cy="155575"/>
            </a:xfrm>
            <a:custGeom>
              <a:avLst/>
              <a:gdLst>
                <a:gd name="T0" fmla="*/ 73 w 86"/>
                <a:gd name="T1" fmla="*/ 1 h 98"/>
                <a:gd name="T2" fmla="*/ 54 w 86"/>
                <a:gd name="T3" fmla="*/ 0 h 98"/>
                <a:gd name="T4" fmla="*/ 34 w 86"/>
                <a:gd name="T5" fmla="*/ 0 h 98"/>
                <a:gd name="T6" fmla="*/ 32 w 86"/>
                <a:gd name="T7" fmla="*/ 14 h 98"/>
                <a:gd name="T8" fmla="*/ 23 w 86"/>
                <a:gd name="T9" fmla="*/ 14 h 98"/>
                <a:gd name="T10" fmla="*/ 30 w 86"/>
                <a:gd name="T11" fmla="*/ 22 h 98"/>
                <a:gd name="T12" fmla="*/ 37 w 86"/>
                <a:gd name="T13" fmla="*/ 27 h 98"/>
                <a:gd name="T14" fmla="*/ 39 w 86"/>
                <a:gd name="T15" fmla="*/ 33 h 98"/>
                <a:gd name="T16" fmla="*/ 42 w 86"/>
                <a:gd name="T17" fmla="*/ 34 h 98"/>
                <a:gd name="T18" fmla="*/ 40 w 86"/>
                <a:gd name="T19" fmla="*/ 42 h 98"/>
                <a:gd name="T20" fmla="*/ 14 w 86"/>
                <a:gd name="T21" fmla="*/ 42 h 98"/>
                <a:gd name="T22" fmla="*/ 2 w 86"/>
                <a:gd name="T23" fmla="*/ 61 h 98"/>
                <a:gd name="T24" fmla="*/ 4 w 86"/>
                <a:gd name="T25" fmla="*/ 66 h 98"/>
                <a:gd name="T26" fmla="*/ 1 w 86"/>
                <a:gd name="T27" fmla="*/ 71 h 98"/>
                <a:gd name="T28" fmla="*/ 0 w 86"/>
                <a:gd name="T29" fmla="*/ 79 h 98"/>
                <a:gd name="T30" fmla="*/ 10 w 86"/>
                <a:gd name="T31" fmla="*/ 88 h 98"/>
                <a:gd name="T32" fmla="*/ 19 w 86"/>
                <a:gd name="T33" fmla="*/ 93 h 98"/>
                <a:gd name="T34" fmla="*/ 31 w 86"/>
                <a:gd name="T35" fmla="*/ 94 h 98"/>
                <a:gd name="T36" fmla="*/ 42 w 86"/>
                <a:gd name="T37" fmla="*/ 98 h 98"/>
                <a:gd name="T38" fmla="*/ 43 w 86"/>
                <a:gd name="T39" fmla="*/ 94 h 98"/>
                <a:gd name="T40" fmla="*/ 51 w 86"/>
                <a:gd name="T41" fmla="*/ 88 h 98"/>
                <a:gd name="T42" fmla="*/ 55 w 86"/>
                <a:gd name="T43" fmla="*/ 85 h 98"/>
                <a:gd name="T44" fmla="*/ 54 w 86"/>
                <a:gd name="T45" fmla="*/ 83 h 98"/>
                <a:gd name="T46" fmla="*/ 59 w 86"/>
                <a:gd name="T47" fmla="*/ 82 h 98"/>
                <a:gd name="T48" fmla="*/ 64 w 86"/>
                <a:gd name="T49" fmla="*/ 75 h 98"/>
                <a:gd name="T50" fmla="*/ 63 w 86"/>
                <a:gd name="T51" fmla="*/ 70 h 98"/>
                <a:gd name="T52" fmla="*/ 65 w 86"/>
                <a:gd name="T53" fmla="*/ 66 h 98"/>
                <a:gd name="T54" fmla="*/ 75 w 86"/>
                <a:gd name="T55" fmla="*/ 59 h 98"/>
                <a:gd name="T56" fmla="*/ 86 w 86"/>
                <a:gd name="T57" fmla="*/ 50 h 98"/>
                <a:gd name="T58" fmla="*/ 80 w 86"/>
                <a:gd name="T59" fmla="*/ 47 h 98"/>
                <a:gd name="T60" fmla="*/ 78 w 86"/>
                <a:gd name="T61" fmla="*/ 51 h 98"/>
                <a:gd name="T62" fmla="*/ 72 w 86"/>
                <a:gd name="T63" fmla="*/ 46 h 98"/>
                <a:gd name="T64" fmla="*/ 66 w 86"/>
                <a:gd name="T65" fmla="*/ 46 h 98"/>
                <a:gd name="T66" fmla="*/ 70 w 86"/>
                <a:gd name="T67" fmla="*/ 20 h 98"/>
                <a:gd name="T68" fmla="*/ 73 w 86"/>
                <a:gd name="T69" fmla="*/ 1 h 98"/>
                <a:gd name="T70" fmla="*/ 73 w 86"/>
                <a:gd name="T71"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98">
                  <a:moveTo>
                    <a:pt x="73" y="1"/>
                  </a:moveTo>
                  <a:lnTo>
                    <a:pt x="54" y="0"/>
                  </a:lnTo>
                  <a:lnTo>
                    <a:pt x="34" y="0"/>
                  </a:lnTo>
                  <a:lnTo>
                    <a:pt x="32" y="14"/>
                  </a:lnTo>
                  <a:lnTo>
                    <a:pt x="23" y="14"/>
                  </a:lnTo>
                  <a:lnTo>
                    <a:pt x="30" y="22"/>
                  </a:lnTo>
                  <a:lnTo>
                    <a:pt x="37" y="27"/>
                  </a:lnTo>
                  <a:lnTo>
                    <a:pt x="39" y="33"/>
                  </a:lnTo>
                  <a:lnTo>
                    <a:pt x="42" y="34"/>
                  </a:lnTo>
                  <a:lnTo>
                    <a:pt x="40" y="42"/>
                  </a:lnTo>
                  <a:lnTo>
                    <a:pt x="14" y="42"/>
                  </a:lnTo>
                  <a:lnTo>
                    <a:pt x="2" y="61"/>
                  </a:lnTo>
                  <a:lnTo>
                    <a:pt x="4" y="66"/>
                  </a:lnTo>
                  <a:lnTo>
                    <a:pt x="1" y="71"/>
                  </a:lnTo>
                  <a:lnTo>
                    <a:pt x="0" y="79"/>
                  </a:lnTo>
                  <a:lnTo>
                    <a:pt x="10" y="88"/>
                  </a:lnTo>
                  <a:lnTo>
                    <a:pt x="19" y="93"/>
                  </a:lnTo>
                  <a:lnTo>
                    <a:pt x="31" y="94"/>
                  </a:lnTo>
                  <a:lnTo>
                    <a:pt x="42" y="98"/>
                  </a:lnTo>
                  <a:lnTo>
                    <a:pt x="43" y="94"/>
                  </a:lnTo>
                  <a:lnTo>
                    <a:pt x="51" y="88"/>
                  </a:lnTo>
                  <a:lnTo>
                    <a:pt x="55" y="85"/>
                  </a:lnTo>
                  <a:lnTo>
                    <a:pt x="54" y="83"/>
                  </a:lnTo>
                  <a:lnTo>
                    <a:pt x="59" y="82"/>
                  </a:lnTo>
                  <a:lnTo>
                    <a:pt x="64" y="75"/>
                  </a:lnTo>
                  <a:lnTo>
                    <a:pt x="63" y="70"/>
                  </a:lnTo>
                  <a:lnTo>
                    <a:pt x="65" y="66"/>
                  </a:lnTo>
                  <a:lnTo>
                    <a:pt x="75" y="59"/>
                  </a:lnTo>
                  <a:lnTo>
                    <a:pt x="86" y="50"/>
                  </a:lnTo>
                  <a:lnTo>
                    <a:pt x="80" y="47"/>
                  </a:lnTo>
                  <a:lnTo>
                    <a:pt x="78" y="51"/>
                  </a:lnTo>
                  <a:lnTo>
                    <a:pt x="72" y="46"/>
                  </a:lnTo>
                  <a:lnTo>
                    <a:pt x="66" y="46"/>
                  </a:lnTo>
                  <a:lnTo>
                    <a:pt x="70" y="20"/>
                  </a:lnTo>
                  <a:lnTo>
                    <a:pt x="73" y="1"/>
                  </a:lnTo>
                  <a:lnTo>
                    <a:pt x="73"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Guyana"/>
            <p:cNvSpPr>
              <a:spLocks/>
            </p:cNvSpPr>
            <p:nvPr/>
          </p:nvSpPr>
          <p:spPr bwMode="auto">
            <a:xfrm>
              <a:off x="3959225" y="4167188"/>
              <a:ext cx="158750" cy="266700"/>
            </a:xfrm>
            <a:custGeom>
              <a:avLst/>
              <a:gdLst>
                <a:gd name="T0" fmla="*/ 89 w 100"/>
                <a:gd name="T1" fmla="*/ 57 h 168"/>
                <a:gd name="T2" fmla="*/ 81 w 100"/>
                <a:gd name="T3" fmla="*/ 49 h 168"/>
                <a:gd name="T4" fmla="*/ 70 w 100"/>
                <a:gd name="T5" fmla="*/ 37 h 168"/>
                <a:gd name="T6" fmla="*/ 62 w 100"/>
                <a:gd name="T7" fmla="*/ 37 h 168"/>
                <a:gd name="T8" fmla="*/ 62 w 100"/>
                <a:gd name="T9" fmla="*/ 25 h 168"/>
                <a:gd name="T10" fmla="*/ 49 w 100"/>
                <a:gd name="T11" fmla="*/ 9 h 168"/>
                <a:gd name="T12" fmla="*/ 36 w 100"/>
                <a:gd name="T13" fmla="*/ 0 h 168"/>
                <a:gd name="T14" fmla="*/ 19 w 100"/>
                <a:gd name="T15" fmla="*/ 14 h 168"/>
                <a:gd name="T16" fmla="*/ 17 w 100"/>
                <a:gd name="T17" fmla="*/ 23 h 168"/>
                <a:gd name="T18" fmla="*/ 24 w 100"/>
                <a:gd name="T19" fmla="*/ 31 h 168"/>
                <a:gd name="T20" fmla="*/ 19 w 100"/>
                <a:gd name="T21" fmla="*/ 36 h 168"/>
                <a:gd name="T22" fmla="*/ 5 w 100"/>
                <a:gd name="T23" fmla="*/ 40 h 168"/>
                <a:gd name="T24" fmla="*/ 5 w 100"/>
                <a:gd name="T25" fmla="*/ 51 h 168"/>
                <a:gd name="T26" fmla="*/ 0 w 100"/>
                <a:gd name="T27" fmla="*/ 57 h 168"/>
                <a:gd name="T28" fmla="*/ 14 w 100"/>
                <a:gd name="T29" fmla="*/ 75 h 168"/>
                <a:gd name="T30" fmla="*/ 24 w 100"/>
                <a:gd name="T31" fmla="*/ 74 h 168"/>
                <a:gd name="T32" fmla="*/ 29 w 100"/>
                <a:gd name="T33" fmla="*/ 80 h 168"/>
                <a:gd name="T34" fmla="*/ 26 w 100"/>
                <a:gd name="T35" fmla="*/ 90 h 168"/>
                <a:gd name="T36" fmla="*/ 33 w 100"/>
                <a:gd name="T37" fmla="*/ 94 h 168"/>
                <a:gd name="T38" fmla="*/ 38 w 100"/>
                <a:gd name="T39" fmla="*/ 105 h 168"/>
                <a:gd name="T40" fmla="*/ 32 w 100"/>
                <a:gd name="T41" fmla="*/ 113 h 168"/>
                <a:gd name="T42" fmla="*/ 28 w 100"/>
                <a:gd name="T43" fmla="*/ 133 h 168"/>
                <a:gd name="T44" fmla="*/ 33 w 100"/>
                <a:gd name="T45" fmla="*/ 146 h 168"/>
                <a:gd name="T46" fmla="*/ 34 w 100"/>
                <a:gd name="T47" fmla="*/ 156 h 168"/>
                <a:gd name="T48" fmla="*/ 47 w 100"/>
                <a:gd name="T49" fmla="*/ 168 h 168"/>
                <a:gd name="T50" fmla="*/ 58 w 100"/>
                <a:gd name="T51" fmla="*/ 168 h 168"/>
                <a:gd name="T52" fmla="*/ 61 w 100"/>
                <a:gd name="T53" fmla="*/ 164 h 168"/>
                <a:gd name="T54" fmla="*/ 66 w 100"/>
                <a:gd name="T55" fmla="*/ 163 h 168"/>
                <a:gd name="T56" fmla="*/ 76 w 100"/>
                <a:gd name="T57" fmla="*/ 159 h 168"/>
                <a:gd name="T58" fmla="*/ 83 w 100"/>
                <a:gd name="T59" fmla="*/ 153 h 168"/>
                <a:gd name="T60" fmla="*/ 94 w 100"/>
                <a:gd name="T61" fmla="*/ 154 h 168"/>
                <a:gd name="T62" fmla="*/ 100 w 100"/>
                <a:gd name="T63" fmla="*/ 154 h 168"/>
                <a:gd name="T64" fmla="*/ 88 w 100"/>
                <a:gd name="T65" fmla="*/ 133 h 168"/>
                <a:gd name="T66" fmla="*/ 85 w 100"/>
                <a:gd name="T67" fmla="*/ 120 h 168"/>
                <a:gd name="T68" fmla="*/ 78 w 100"/>
                <a:gd name="T69" fmla="*/ 120 h 168"/>
                <a:gd name="T70" fmla="*/ 69 w 100"/>
                <a:gd name="T71" fmla="*/ 102 h 168"/>
                <a:gd name="T72" fmla="*/ 74 w 100"/>
                <a:gd name="T73" fmla="*/ 90 h 168"/>
                <a:gd name="T74" fmla="*/ 72 w 100"/>
                <a:gd name="T75" fmla="*/ 84 h 168"/>
                <a:gd name="T76" fmla="*/ 85 w 100"/>
                <a:gd name="T77" fmla="*/ 79 h 168"/>
                <a:gd name="T78" fmla="*/ 89 w 100"/>
                <a:gd name="T79" fmla="*/ 57 h 168"/>
                <a:gd name="T80" fmla="*/ 89 w 100"/>
                <a:gd name="T81" fmla="*/ 5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68">
                  <a:moveTo>
                    <a:pt x="89" y="57"/>
                  </a:moveTo>
                  <a:lnTo>
                    <a:pt x="81" y="49"/>
                  </a:lnTo>
                  <a:lnTo>
                    <a:pt x="70" y="37"/>
                  </a:lnTo>
                  <a:lnTo>
                    <a:pt x="62" y="37"/>
                  </a:lnTo>
                  <a:lnTo>
                    <a:pt x="62" y="25"/>
                  </a:lnTo>
                  <a:lnTo>
                    <a:pt x="49" y="9"/>
                  </a:lnTo>
                  <a:lnTo>
                    <a:pt x="36" y="0"/>
                  </a:lnTo>
                  <a:lnTo>
                    <a:pt x="19" y="14"/>
                  </a:lnTo>
                  <a:lnTo>
                    <a:pt x="17" y="23"/>
                  </a:lnTo>
                  <a:lnTo>
                    <a:pt x="24" y="31"/>
                  </a:lnTo>
                  <a:lnTo>
                    <a:pt x="19" y="36"/>
                  </a:lnTo>
                  <a:lnTo>
                    <a:pt x="5" y="40"/>
                  </a:lnTo>
                  <a:lnTo>
                    <a:pt x="5" y="51"/>
                  </a:lnTo>
                  <a:lnTo>
                    <a:pt x="0" y="57"/>
                  </a:lnTo>
                  <a:lnTo>
                    <a:pt x="14" y="75"/>
                  </a:lnTo>
                  <a:lnTo>
                    <a:pt x="24" y="74"/>
                  </a:lnTo>
                  <a:lnTo>
                    <a:pt x="29" y="80"/>
                  </a:lnTo>
                  <a:lnTo>
                    <a:pt x="26" y="90"/>
                  </a:lnTo>
                  <a:lnTo>
                    <a:pt x="33" y="94"/>
                  </a:lnTo>
                  <a:lnTo>
                    <a:pt x="38" y="105"/>
                  </a:lnTo>
                  <a:lnTo>
                    <a:pt x="32" y="113"/>
                  </a:lnTo>
                  <a:lnTo>
                    <a:pt x="28" y="133"/>
                  </a:lnTo>
                  <a:lnTo>
                    <a:pt x="33" y="146"/>
                  </a:lnTo>
                  <a:lnTo>
                    <a:pt x="34" y="156"/>
                  </a:lnTo>
                  <a:lnTo>
                    <a:pt x="47" y="168"/>
                  </a:lnTo>
                  <a:lnTo>
                    <a:pt x="58" y="168"/>
                  </a:lnTo>
                  <a:lnTo>
                    <a:pt x="61" y="164"/>
                  </a:lnTo>
                  <a:lnTo>
                    <a:pt x="66" y="163"/>
                  </a:lnTo>
                  <a:lnTo>
                    <a:pt x="76" y="159"/>
                  </a:lnTo>
                  <a:lnTo>
                    <a:pt x="83" y="153"/>
                  </a:lnTo>
                  <a:lnTo>
                    <a:pt x="94" y="154"/>
                  </a:lnTo>
                  <a:lnTo>
                    <a:pt x="100" y="154"/>
                  </a:lnTo>
                  <a:lnTo>
                    <a:pt x="88" y="133"/>
                  </a:lnTo>
                  <a:lnTo>
                    <a:pt x="85" y="120"/>
                  </a:lnTo>
                  <a:lnTo>
                    <a:pt x="78" y="120"/>
                  </a:lnTo>
                  <a:lnTo>
                    <a:pt x="69" y="102"/>
                  </a:lnTo>
                  <a:lnTo>
                    <a:pt x="74" y="90"/>
                  </a:lnTo>
                  <a:lnTo>
                    <a:pt x="72" y="84"/>
                  </a:lnTo>
                  <a:lnTo>
                    <a:pt x="85" y="79"/>
                  </a:lnTo>
                  <a:lnTo>
                    <a:pt x="89" y="57"/>
                  </a:lnTo>
                  <a:lnTo>
                    <a:pt x="89" y="5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7" name="Honduras"/>
            <p:cNvSpPr>
              <a:spLocks/>
            </p:cNvSpPr>
            <p:nvPr/>
          </p:nvSpPr>
          <p:spPr bwMode="auto">
            <a:xfrm>
              <a:off x="3051175" y="3878263"/>
              <a:ext cx="206375" cy="114300"/>
            </a:xfrm>
            <a:custGeom>
              <a:avLst/>
              <a:gdLst>
                <a:gd name="T0" fmla="*/ 130 w 130"/>
                <a:gd name="T1" fmla="*/ 25 h 72"/>
                <a:gd name="T2" fmla="*/ 126 w 130"/>
                <a:gd name="T3" fmla="*/ 18 h 72"/>
                <a:gd name="T4" fmla="*/ 119 w 130"/>
                <a:gd name="T5" fmla="*/ 14 h 72"/>
                <a:gd name="T6" fmla="*/ 113 w 130"/>
                <a:gd name="T7" fmla="*/ 9 h 72"/>
                <a:gd name="T8" fmla="*/ 107 w 130"/>
                <a:gd name="T9" fmla="*/ 5 h 72"/>
                <a:gd name="T10" fmla="*/ 104 w 130"/>
                <a:gd name="T11" fmla="*/ 4 h 72"/>
                <a:gd name="T12" fmla="*/ 95 w 130"/>
                <a:gd name="T13" fmla="*/ 1 h 72"/>
                <a:gd name="T14" fmla="*/ 91 w 130"/>
                <a:gd name="T15" fmla="*/ 3 h 72"/>
                <a:gd name="T16" fmla="*/ 85 w 130"/>
                <a:gd name="T17" fmla="*/ 3 h 72"/>
                <a:gd name="T18" fmla="*/ 80 w 130"/>
                <a:gd name="T19" fmla="*/ 2 h 72"/>
                <a:gd name="T20" fmla="*/ 74 w 130"/>
                <a:gd name="T21" fmla="*/ 0 h 72"/>
                <a:gd name="T22" fmla="*/ 70 w 130"/>
                <a:gd name="T23" fmla="*/ 3 h 72"/>
                <a:gd name="T24" fmla="*/ 64 w 130"/>
                <a:gd name="T25" fmla="*/ 6 h 72"/>
                <a:gd name="T26" fmla="*/ 55 w 130"/>
                <a:gd name="T27" fmla="*/ 7 h 72"/>
                <a:gd name="T28" fmla="*/ 45 w 130"/>
                <a:gd name="T29" fmla="*/ 4 h 72"/>
                <a:gd name="T30" fmla="*/ 42 w 130"/>
                <a:gd name="T31" fmla="*/ 6 h 72"/>
                <a:gd name="T32" fmla="*/ 40 w 130"/>
                <a:gd name="T33" fmla="*/ 3 h 72"/>
                <a:gd name="T34" fmla="*/ 34 w 130"/>
                <a:gd name="T35" fmla="*/ 4 h 72"/>
                <a:gd name="T36" fmla="*/ 29 w 130"/>
                <a:gd name="T37" fmla="*/ 8 h 72"/>
                <a:gd name="T38" fmla="*/ 27 w 130"/>
                <a:gd name="T39" fmla="*/ 7 h 72"/>
                <a:gd name="T40" fmla="*/ 16 w 130"/>
                <a:gd name="T41" fmla="*/ 16 h 72"/>
                <a:gd name="T42" fmla="*/ 6 w 130"/>
                <a:gd name="T43" fmla="*/ 23 h 72"/>
                <a:gd name="T44" fmla="*/ 4 w 130"/>
                <a:gd name="T45" fmla="*/ 27 h 72"/>
                <a:gd name="T46" fmla="*/ 5 w 130"/>
                <a:gd name="T47" fmla="*/ 32 h 72"/>
                <a:gd name="T48" fmla="*/ 0 w 130"/>
                <a:gd name="T49" fmla="*/ 39 h 72"/>
                <a:gd name="T50" fmla="*/ 6 w 130"/>
                <a:gd name="T51" fmla="*/ 41 h 72"/>
                <a:gd name="T52" fmla="*/ 10 w 130"/>
                <a:gd name="T53" fmla="*/ 45 h 72"/>
                <a:gd name="T54" fmla="*/ 16 w 130"/>
                <a:gd name="T55" fmla="*/ 49 h 72"/>
                <a:gd name="T56" fmla="*/ 16 w 130"/>
                <a:gd name="T57" fmla="*/ 52 h 72"/>
                <a:gd name="T58" fmla="*/ 26 w 130"/>
                <a:gd name="T59" fmla="*/ 49 h 72"/>
                <a:gd name="T60" fmla="*/ 29 w 130"/>
                <a:gd name="T61" fmla="*/ 51 h 72"/>
                <a:gd name="T62" fmla="*/ 32 w 130"/>
                <a:gd name="T63" fmla="*/ 54 h 72"/>
                <a:gd name="T64" fmla="*/ 30 w 130"/>
                <a:gd name="T65" fmla="*/ 63 h 72"/>
                <a:gd name="T66" fmla="*/ 37 w 130"/>
                <a:gd name="T67" fmla="*/ 65 h 72"/>
                <a:gd name="T68" fmla="*/ 39 w 130"/>
                <a:gd name="T69" fmla="*/ 72 h 72"/>
                <a:gd name="T70" fmla="*/ 46 w 130"/>
                <a:gd name="T71" fmla="*/ 71 h 72"/>
                <a:gd name="T72" fmla="*/ 49 w 130"/>
                <a:gd name="T73" fmla="*/ 66 h 72"/>
                <a:gd name="T74" fmla="*/ 52 w 130"/>
                <a:gd name="T75" fmla="*/ 66 h 72"/>
                <a:gd name="T76" fmla="*/ 53 w 130"/>
                <a:gd name="T77" fmla="*/ 55 h 72"/>
                <a:gd name="T78" fmla="*/ 57 w 130"/>
                <a:gd name="T79" fmla="*/ 54 h 72"/>
                <a:gd name="T80" fmla="*/ 62 w 130"/>
                <a:gd name="T81" fmla="*/ 54 h 72"/>
                <a:gd name="T82" fmla="*/ 67 w 130"/>
                <a:gd name="T83" fmla="*/ 47 h 72"/>
                <a:gd name="T84" fmla="*/ 72 w 130"/>
                <a:gd name="T85" fmla="*/ 52 h 72"/>
                <a:gd name="T86" fmla="*/ 75 w 130"/>
                <a:gd name="T87" fmla="*/ 49 h 72"/>
                <a:gd name="T88" fmla="*/ 79 w 130"/>
                <a:gd name="T89" fmla="*/ 46 h 72"/>
                <a:gd name="T90" fmla="*/ 87 w 130"/>
                <a:gd name="T91" fmla="*/ 40 h 72"/>
                <a:gd name="T92" fmla="*/ 88 w 130"/>
                <a:gd name="T93" fmla="*/ 35 h 72"/>
                <a:gd name="T94" fmla="*/ 90 w 130"/>
                <a:gd name="T95" fmla="*/ 35 h 72"/>
                <a:gd name="T96" fmla="*/ 93 w 130"/>
                <a:gd name="T97" fmla="*/ 29 h 72"/>
                <a:gd name="T98" fmla="*/ 95 w 130"/>
                <a:gd name="T99" fmla="*/ 29 h 72"/>
                <a:gd name="T100" fmla="*/ 98 w 130"/>
                <a:gd name="T101" fmla="*/ 32 h 72"/>
                <a:gd name="T102" fmla="*/ 102 w 130"/>
                <a:gd name="T103" fmla="*/ 33 h 72"/>
                <a:gd name="T104" fmla="*/ 108 w 130"/>
                <a:gd name="T105" fmla="*/ 30 h 72"/>
                <a:gd name="T106" fmla="*/ 112 w 130"/>
                <a:gd name="T107" fmla="*/ 30 h 72"/>
                <a:gd name="T108" fmla="*/ 120 w 130"/>
                <a:gd name="T109" fmla="*/ 27 h 72"/>
                <a:gd name="T110" fmla="*/ 124 w 130"/>
                <a:gd name="T111" fmla="*/ 24 h 72"/>
                <a:gd name="T112" fmla="*/ 130 w 130"/>
                <a:gd name="T113" fmla="*/ 25 h 72"/>
                <a:gd name="T114" fmla="*/ 130 w 130"/>
                <a:gd name="T11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72">
                  <a:moveTo>
                    <a:pt x="130" y="25"/>
                  </a:moveTo>
                  <a:lnTo>
                    <a:pt x="126" y="18"/>
                  </a:lnTo>
                  <a:lnTo>
                    <a:pt x="119" y="14"/>
                  </a:lnTo>
                  <a:lnTo>
                    <a:pt x="113" y="9"/>
                  </a:lnTo>
                  <a:lnTo>
                    <a:pt x="107" y="5"/>
                  </a:lnTo>
                  <a:lnTo>
                    <a:pt x="104" y="4"/>
                  </a:lnTo>
                  <a:lnTo>
                    <a:pt x="95" y="1"/>
                  </a:lnTo>
                  <a:lnTo>
                    <a:pt x="91" y="3"/>
                  </a:lnTo>
                  <a:lnTo>
                    <a:pt x="85" y="3"/>
                  </a:lnTo>
                  <a:lnTo>
                    <a:pt x="80" y="2"/>
                  </a:lnTo>
                  <a:lnTo>
                    <a:pt x="74" y="0"/>
                  </a:lnTo>
                  <a:lnTo>
                    <a:pt x="70" y="3"/>
                  </a:lnTo>
                  <a:lnTo>
                    <a:pt x="64" y="6"/>
                  </a:lnTo>
                  <a:lnTo>
                    <a:pt x="55" y="7"/>
                  </a:lnTo>
                  <a:lnTo>
                    <a:pt x="45" y="4"/>
                  </a:lnTo>
                  <a:lnTo>
                    <a:pt x="42" y="6"/>
                  </a:lnTo>
                  <a:lnTo>
                    <a:pt x="40" y="3"/>
                  </a:lnTo>
                  <a:lnTo>
                    <a:pt x="34" y="4"/>
                  </a:lnTo>
                  <a:lnTo>
                    <a:pt x="29" y="8"/>
                  </a:lnTo>
                  <a:lnTo>
                    <a:pt x="27" y="7"/>
                  </a:lnTo>
                  <a:lnTo>
                    <a:pt x="16" y="16"/>
                  </a:lnTo>
                  <a:lnTo>
                    <a:pt x="6" y="23"/>
                  </a:lnTo>
                  <a:lnTo>
                    <a:pt x="4" y="27"/>
                  </a:lnTo>
                  <a:lnTo>
                    <a:pt x="5" y="32"/>
                  </a:lnTo>
                  <a:lnTo>
                    <a:pt x="0" y="39"/>
                  </a:lnTo>
                  <a:lnTo>
                    <a:pt x="6" y="41"/>
                  </a:lnTo>
                  <a:lnTo>
                    <a:pt x="10" y="45"/>
                  </a:lnTo>
                  <a:lnTo>
                    <a:pt x="16" y="49"/>
                  </a:lnTo>
                  <a:lnTo>
                    <a:pt x="16" y="52"/>
                  </a:lnTo>
                  <a:lnTo>
                    <a:pt x="26" y="49"/>
                  </a:lnTo>
                  <a:lnTo>
                    <a:pt x="29" y="51"/>
                  </a:lnTo>
                  <a:lnTo>
                    <a:pt x="32" y="54"/>
                  </a:lnTo>
                  <a:lnTo>
                    <a:pt x="30" y="63"/>
                  </a:lnTo>
                  <a:lnTo>
                    <a:pt x="37" y="65"/>
                  </a:lnTo>
                  <a:lnTo>
                    <a:pt x="39" y="72"/>
                  </a:lnTo>
                  <a:lnTo>
                    <a:pt x="46" y="71"/>
                  </a:lnTo>
                  <a:lnTo>
                    <a:pt x="49" y="66"/>
                  </a:lnTo>
                  <a:lnTo>
                    <a:pt x="52" y="66"/>
                  </a:lnTo>
                  <a:lnTo>
                    <a:pt x="53" y="55"/>
                  </a:lnTo>
                  <a:lnTo>
                    <a:pt x="57" y="54"/>
                  </a:lnTo>
                  <a:lnTo>
                    <a:pt x="62" y="54"/>
                  </a:lnTo>
                  <a:lnTo>
                    <a:pt x="67" y="47"/>
                  </a:lnTo>
                  <a:lnTo>
                    <a:pt x="72" y="52"/>
                  </a:lnTo>
                  <a:lnTo>
                    <a:pt x="75" y="49"/>
                  </a:lnTo>
                  <a:lnTo>
                    <a:pt x="79" y="46"/>
                  </a:lnTo>
                  <a:lnTo>
                    <a:pt x="87" y="40"/>
                  </a:lnTo>
                  <a:lnTo>
                    <a:pt x="88" y="35"/>
                  </a:lnTo>
                  <a:lnTo>
                    <a:pt x="90" y="35"/>
                  </a:lnTo>
                  <a:lnTo>
                    <a:pt x="93" y="29"/>
                  </a:lnTo>
                  <a:lnTo>
                    <a:pt x="95" y="29"/>
                  </a:lnTo>
                  <a:lnTo>
                    <a:pt x="98" y="32"/>
                  </a:lnTo>
                  <a:lnTo>
                    <a:pt x="102" y="33"/>
                  </a:lnTo>
                  <a:lnTo>
                    <a:pt x="108" y="30"/>
                  </a:lnTo>
                  <a:lnTo>
                    <a:pt x="112" y="30"/>
                  </a:lnTo>
                  <a:lnTo>
                    <a:pt x="120" y="27"/>
                  </a:lnTo>
                  <a:lnTo>
                    <a:pt x="124" y="24"/>
                  </a:lnTo>
                  <a:lnTo>
                    <a:pt x="130" y="25"/>
                  </a:lnTo>
                  <a:lnTo>
                    <a:pt x="130" y="2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8" name="Croatia"/>
            <p:cNvSpPr>
              <a:spLocks/>
            </p:cNvSpPr>
            <p:nvPr/>
          </p:nvSpPr>
          <p:spPr bwMode="auto">
            <a:xfrm>
              <a:off x="6408737" y="2733676"/>
              <a:ext cx="171450" cy="146050"/>
            </a:xfrm>
            <a:custGeom>
              <a:avLst/>
              <a:gdLst>
                <a:gd name="T0" fmla="*/ 73 w 108"/>
                <a:gd name="T1" fmla="*/ 13 h 92"/>
                <a:gd name="T2" fmla="*/ 58 w 108"/>
                <a:gd name="T3" fmla="*/ 2 h 92"/>
                <a:gd name="T4" fmla="*/ 52 w 108"/>
                <a:gd name="T5" fmla="*/ 0 h 92"/>
                <a:gd name="T6" fmla="*/ 38 w 108"/>
                <a:gd name="T7" fmla="*/ 6 h 92"/>
                <a:gd name="T8" fmla="*/ 37 w 108"/>
                <a:gd name="T9" fmla="*/ 15 h 92"/>
                <a:gd name="T10" fmla="*/ 30 w 108"/>
                <a:gd name="T11" fmla="*/ 17 h 92"/>
                <a:gd name="T12" fmla="*/ 31 w 108"/>
                <a:gd name="T13" fmla="*/ 24 h 92"/>
                <a:gd name="T14" fmla="*/ 24 w 108"/>
                <a:gd name="T15" fmla="*/ 24 h 92"/>
                <a:gd name="T16" fmla="*/ 17 w 108"/>
                <a:gd name="T17" fmla="*/ 20 h 92"/>
                <a:gd name="T18" fmla="*/ 13 w 108"/>
                <a:gd name="T19" fmla="*/ 24 h 92"/>
                <a:gd name="T20" fmla="*/ 0 w 108"/>
                <a:gd name="T21" fmla="*/ 23 h 92"/>
                <a:gd name="T22" fmla="*/ 0 w 108"/>
                <a:gd name="T23" fmla="*/ 23 h 92"/>
                <a:gd name="T24" fmla="*/ 0 w 108"/>
                <a:gd name="T25" fmla="*/ 31 h 92"/>
                <a:gd name="T26" fmla="*/ 6 w 108"/>
                <a:gd name="T27" fmla="*/ 39 h 92"/>
                <a:gd name="T28" fmla="*/ 11 w 108"/>
                <a:gd name="T29" fmla="*/ 30 h 92"/>
                <a:gd name="T30" fmla="*/ 24 w 108"/>
                <a:gd name="T31" fmla="*/ 33 h 92"/>
                <a:gd name="T32" fmla="*/ 24 w 108"/>
                <a:gd name="T33" fmla="*/ 41 h 92"/>
                <a:gd name="T34" fmla="*/ 34 w 108"/>
                <a:gd name="T35" fmla="*/ 50 h 92"/>
                <a:gd name="T36" fmla="*/ 30 w 108"/>
                <a:gd name="T37" fmla="*/ 52 h 92"/>
                <a:gd name="T38" fmla="*/ 47 w 108"/>
                <a:gd name="T39" fmla="*/ 69 h 92"/>
                <a:gd name="T40" fmla="*/ 66 w 108"/>
                <a:gd name="T41" fmla="*/ 75 h 92"/>
                <a:gd name="T42" fmla="*/ 77 w 108"/>
                <a:gd name="T43" fmla="*/ 84 h 92"/>
                <a:gd name="T44" fmla="*/ 95 w 108"/>
                <a:gd name="T45" fmla="*/ 92 h 92"/>
                <a:gd name="T46" fmla="*/ 95 w 108"/>
                <a:gd name="T47" fmla="*/ 92 h 92"/>
                <a:gd name="T48" fmla="*/ 97 w 108"/>
                <a:gd name="T49" fmla="*/ 88 h 92"/>
                <a:gd name="T50" fmla="*/ 80 w 108"/>
                <a:gd name="T51" fmla="*/ 80 h 92"/>
                <a:gd name="T52" fmla="*/ 71 w 108"/>
                <a:gd name="T53" fmla="*/ 71 h 92"/>
                <a:gd name="T54" fmla="*/ 64 w 108"/>
                <a:gd name="T55" fmla="*/ 65 h 92"/>
                <a:gd name="T56" fmla="*/ 54 w 108"/>
                <a:gd name="T57" fmla="*/ 57 h 92"/>
                <a:gd name="T58" fmla="*/ 50 w 108"/>
                <a:gd name="T59" fmla="*/ 49 h 92"/>
                <a:gd name="T60" fmla="*/ 39 w 108"/>
                <a:gd name="T61" fmla="*/ 39 h 92"/>
                <a:gd name="T62" fmla="*/ 43 w 108"/>
                <a:gd name="T63" fmla="*/ 30 h 92"/>
                <a:gd name="T64" fmla="*/ 51 w 108"/>
                <a:gd name="T65" fmla="*/ 34 h 92"/>
                <a:gd name="T66" fmla="*/ 54 w 108"/>
                <a:gd name="T67" fmla="*/ 30 h 92"/>
                <a:gd name="T68" fmla="*/ 63 w 108"/>
                <a:gd name="T69" fmla="*/ 30 h 92"/>
                <a:gd name="T70" fmla="*/ 79 w 108"/>
                <a:gd name="T71" fmla="*/ 33 h 92"/>
                <a:gd name="T72" fmla="*/ 92 w 108"/>
                <a:gd name="T73" fmla="*/ 32 h 92"/>
                <a:gd name="T74" fmla="*/ 101 w 108"/>
                <a:gd name="T75" fmla="*/ 38 h 92"/>
                <a:gd name="T76" fmla="*/ 101 w 108"/>
                <a:gd name="T77" fmla="*/ 38 h 92"/>
                <a:gd name="T78" fmla="*/ 108 w 108"/>
                <a:gd name="T79" fmla="*/ 30 h 92"/>
                <a:gd name="T80" fmla="*/ 101 w 108"/>
                <a:gd name="T81" fmla="*/ 22 h 92"/>
                <a:gd name="T82" fmla="*/ 95 w 108"/>
                <a:gd name="T83" fmla="*/ 14 h 92"/>
                <a:gd name="T84" fmla="*/ 95 w 108"/>
                <a:gd name="T85" fmla="*/ 14 h 92"/>
                <a:gd name="T86" fmla="*/ 89 w 108"/>
                <a:gd name="T87" fmla="*/ 16 h 92"/>
                <a:gd name="T88" fmla="*/ 73 w 108"/>
                <a:gd name="T89" fmla="*/ 13 h 92"/>
                <a:gd name="T90" fmla="*/ 73 w 108"/>
                <a:gd name="T91" fmla="*/ 1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92">
                  <a:moveTo>
                    <a:pt x="73" y="13"/>
                  </a:moveTo>
                  <a:lnTo>
                    <a:pt x="58" y="2"/>
                  </a:lnTo>
                  <a:lnTo>
                    <a:pt x="52" y="0"/>
                  </a:lnTo>
                  <a:lnTo>
                    <a:pt x="38" y="6"/>
                  </a:lnTo>
                  <a:lnTo>
                    <a:pt x="37" y="15"/>
                  </a:lnTo>
                  <a:lnTo>
                    <a:pt x="30" y="17"/>
                  </a:lnTo>
                  <a:lnTo>
                    <a:pt x="31" y="24"/>
                  </a:lnTo>
                  <a:lnTo>
                    <a:pt x="24" y="24"/>
                  </a:lnTo>
                  <a:lnTo>
                    <a:pt x="17" y="20"/>
                  </a:lnTo>
                  <a:lnTo>
                    <a:pt x="13" y="24"/>
                  </a:lnTo>
                  <a:lnTo>
                    <a:pt x="0" y="23"/>
                  </a:lnTo>
                  <a:lnTo>
                    <a:pt x="0" y="23"/>
                  </a:lnTo>
                  <a:lnTo>
                    <a:pt x="0" y="31"/>
                  </a:lnTo>
                  <a:lnTo>
                    <a:pt x="6" y="39"/>
                  </a:lnTo>
                  <a:lnTo>
                    <a:pt x="11" y="30"/>
                  </a:lnTo>
                  <a:lnTo>
                    <a:pt x="24" y="33"/>
                  </a:lnTo>
                  <a:lnTo>
                    <a:pt x="24" y="41"/>
                  </a:lnTo>
                  <a:lnTo>
                    <a:pt x="34" y="50"/>
                  </a:lnTo>
                  <a:lnTo>
                    <a:pt x="30" y="52"/>
                  </a:lnTo>
                  <a:lnTo>
                    <a:pt x="47" y="69"/>
                  </a:lnTo>
                  <a:lnTo>
                    <a:pt x="66" y="75"/>
                  </a:lnTo>
                  <a:lnTo>
                    <a:pt x="77" y="84"/>
                  </a:lnTo>
                  <a:lnTo>
                    <a:pt x="95" y="92"/>
                  </a:lnTo>
                  <a:lnTo>
                    <a:pt x="95" y="92"/>
                  </a:lnTo>
                  <a:lnTo>
                    <a:pt x="97" y="88"/>
                  </a:lnTo>
                  <a:lnTo>
                    <a:pt x="80" y="80"/>
                  </a:lnTo>
                  <a:lnTo>
                    <a:pt x="71" y="71"/>
                  </a:lnTo>
                  <a:lnTo>
                    <a:pt x="64" y="65"/>
                  </a:lnTo>
                  <a:lnTo>
                    <a:pt x="54" y="57"/>
                  </a:lnTo>
                  <a:lnTo>
                    <a:pt x="50" y="49"/>
                  </a:lnTo>
                  <a:lnTo>
                    <a:pt x="39" y="39"/>
                  </a:lnTo>
                  <a:lnTo>
                    <a:pt x="43" y="30"/>
                  </a:lnTo>
                  <a:lnTo>
                    <a:pt x="51" y="34"/>
                  </a:lnTo>
                  <a:lnTo>
                    <a:pt x="54" y="30"/>
                  </a:lnTo>
                  <a:lnTo>
                    <a:pt x="63" y="30"/>
                  </a:lnTo>
                  <a:lnTo>
                    <a:pt x="79" y="33"/>
                  </a:lnTo>
                  <a:lnTo>
                    <a:pt x="92" y="32"/>
                  </a:lnTo>
                  <a:lnTo>
                    <a:pt x="101" y="38"/>
                  </a:lnTo>
                  <a:lnTo>
                    <a:pt x="101" y="38"/>
                  </a:lnTo>
                  <a:lnTo>
                    <a:pt x="108" y="30"/>
                  </a:lnTo>
                  <a:lnTo>
                    <a:pt x="101" y="22"/>
                  </a:lnTo>
                  <a:lnTo>
                    <a:pt x="95" y="14"/>
                  </a:lnTo>
                  <a:lnTo>
                    <a:pt x="95" y="14"/>
                  </a:lnTo>
                  <a:lnTo>
                    <a:pt x="89" y="16"/>
                  </a:lnTo>
                  <a:lnTo>
                    <a:pt x="73" y="13"/>
                  </a:lnTo>
                  <a:lnTo>
                    <a:pt x="73" y="1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9" name="Haiti"/>
            <p:cNvSpPr>
              <a:spLocks/>
            </p:cNvSpPr>
            <p:nvPr/>
          </p:nvSpPr>
          <p:spPr bwMode="auto">
            <a:xfrm>
              <a:off x="3557587" y="3732213"/>
              <a:ext cx="96837" cy="71438"/>
            </a:xfrm>
            <a:custGeom>
              <a:avLst/>
              <a:gdLst>
                <a:gd name="T0" fmla="*/ 60 w 61"/>
                <a:gd name="T1" fmla="*/ 5 h 45"/>
                <a:gd name="T2" fmla="*/ 43 w 61"/>
                <a:gd name="T3" fmla="*/ 1 h 45"/>
                <a:gd name="T4" fmla="*/ 30 w 61"/>
                <a:gd name="T5" fmla="*/ 0 h 45"/>
                <a:gd name="T6" fmla="*/ 25 w 61"/>
                <a:gd name="T7" fmla="*/ 6 h 45"/>
                <a:gd name="T8" fmla="*/ 37 w 61"/>
                <a:gd name="T9" fmla="*/ 10 h 45"/>
                <a:gd name="T10" fmla="*/ 36 w 61"/>
                <a:gd name="T11" fmla="*/ 19 h 45"/>
                <a:gd name="T12" fmla="*/ 45 w 61"/>
                <a:gd name="T13" fmla="*/ 30 h 45"/>
                <a:gd name="T14" fmla="*/ 37 w 61"/>
                <a:gd name="T15" fmla="*/ 34 h 45"/>
                <a:gd name="T16" fmla="*/ 21 w 61"/>
                <a:gd name="T17" fmla="*/ 33 h 45"/>
                <a:gd name="T18" fmla="*/ 3 w 61"/>
                <a:gd name="T19" fmla="*/ 30 h 45"/>
                <a:gd name="T20" fmla="*/ 0 w 61"/>
                <a:gd name="T21" fmla="*/ 37 h 45"/>
                <a:gd name="T22" fmla="*/ 10 w 61"/>
                <a:gd name="T23" fmla="*/ 45 h 45"/>
                <a:gd name="T24" fmla="*/ 20 w 61"/>
                <a:gd name="T25" fmla="*/ 40 h 45"/>
                <a:gd name="T26" fmla="*/ 33 w 61"/>
                <a:gd name="T27" fmla="*/ 42 h 45"/>
                <a:gd name="T28" fmla="*/ 43 w 61"/>
                <a:gd name="T29" fmla="*/ 40 h 45"/>
                <a:gd name="T30" fmla="*/ 56 w 61"/>
                <a:gd name="T31" fmla="*/ 45 h 45"/>
                <a:gd name="T32" fmla="*/ 57 w 61"/>
                <a:gd name="T33" fmla="*/ 37 h 45"/>
                <a:gd name="T34" fmla="*/ 52 w 61"/>
                <a:gd name="T35" fmla="*/ 31 h 45"/>
                <a:gd name="T36" fmla="*/ 58 w 61"/>
                <a:gd name="T37" fmla="*/ 26 h 45"/>
                <a:gd name="T38" fmla="*/ 61 w 61"/>
                <a:gd name="T39" fmla="*/ 18 h 45"/>
                <a:gd name="T40" fmla="*/ 60 w 61"/>
                <a:gd name="T4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45">
                  <a:moveTo>
                    <a:pt x="60" y="5"/>
                  </a:moveTo>
                  <a:lnTo>
                    <a:pt x="43" y="1"/>
                  </a:lnTo>
                  <a:lnTo>
                    <a:pt x="30" y="0"/>
                  </a:lnTo>
                  <a:lnTo>
                    <a:pt x="25" y="6"/>
                  </a:lnTo>
                  <a:lnTo>
                    <a:pt x="37" y="10"/>
                  </a:lnTo>
                  <a:lnTo>
                    <a:pt x="36" y="19"/>
                  </a:lnTo>
                  <a:lnTo>
                    <a:pt x="45" y="30"/>
                  </a:lnTo>
                  <a:lnTo>
                    <a:pt x="37" y="34"/>
                  </a:lnTo>
                  <a:lnTo>
                    <a:pt x="21" y="33"/>
                  </a:lnTo>
                  <a:lnTo>
                    <a:pt x="3" y="30"/>
                  </a:lnTo>
                  <a:lnTo>
                    <a:pt x="0" y="37"/>
                  </a:lnTo>
                  <a:lnTo>
                    <a:pt x="10" y="45"/>
                  </a:lnTo>
                  <a:lnTo>
                    <a:pt x="20" y="40"/>
                  </a:lnTo>
                  <a:lnTo>
                    <a:pt x="33" y="42"/>
                  </a:lnTo>
                  <a:lnTo>
                    <a:pt x="43" y="40"/>
                  </a:lnTo>
                  <a:lnTo>
                    <a:pt x="56" y="45"/>
                  </a:lnTo>
                  <a:lnTo>
                    <a:pt x="57" y="37"/>
                  </a:lnTo>
                  <a:lnTo>
                    <a:pt x="52" y="31"/>
                  </a:lnTo>
                  <a:lnTo>
                    <a:pt x="58" y="26"/>
                  </a:lnTo>
                  <a:lnTo>
                    <a:pt x="61" y="18"/>
                  </a:lnTo>
                  <a:lnTo>
                    <a:pt x="60"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Hungary"/>
            <p:cNvSpPr>
              <a:spLocks/>
            </p:cNvSpPr>
            <p:nvPr/>
          </p:nvSpPr>
          <p:spPr bwMode="auto">
            <a:xfrm>
              <a:off x="6480175" y="2654301"/>
              <a:ext cx="187325" cy="104775"/>
            </a:xfrm>
            <a:custGeom>
              <a:avLst/>
              <a:gdLst>
                <a:gd name="T0" fmla="*/ 80 w 118"/>
                <a:gd name="T1" fmla="*/ 0 h 66"/>
                <a:gd name="T2" fmla="*/ 75 w 118"/>
                <a:gd name="T3" fmla="*/ 2 h 66"/>
                <a:gd name="T4" fmla="*/ 71 w 118"/>
                <a:gd name="T5" fmla="*/ 8 h 66"/>
                <a:gd name="T6" fmla="*/ 63 w 118"/>
                <a:gd name="T7" fmla="*/ 10 h 66"/>
                <a:gd name="T8" fmla="*/ 61 w 118"/>
                <a:gd name="T9" fmla="*/ 9 h 66"/>
                <a:gd name="T10" fmla="*/ 52 w 118"/>
                <a:gd name="T11" fmla="*/ 12 h 66"/>
                <a:gd name="T12" fmla="*/ 45 w 118"/>
                <a:gd name="T13" fmla="*/ 13 h 66"/>
                <a:gd name="T14" fmla="*/ 44 w 118"/>
                <a:gd name="T15" fmla="*/ 18 h 66"/>
                <a:gd name="T16" fmla="*/ 28 w 118"/>
                <a:gd name="T17" fmla="*/ 21 h 66"/>
                <a:gd name="T18" fmla="*/ 21 w 118"/>
                <a:gd name="T19" fmla="*/ 18 h 66"/>
                <a:gd name="T20" fmla="*/ 11 w 118"/>
                <a:gd name="T21" fmla="*/ 12 h 66"/>
                <a:gd name="T22" fmla="*/ 11 w 118"/>
                <a:gd name="T23" fmla="*/ 22 h 66"/>
                <a:gd name="T24" fmla="*/ 0 w 118"/>
                <a:gd name="T25" fmla="*/ 22 h 66"/>
                <a:gd name="T26" fmla="*/ 5 w 118"/>
                <a:gd name="T27" fmla="*/ 26 h 66"/>
                <a:gd name="T28" fmla="*/ 0 w 118"/>
                <a:gd name="T29" fmla="*/ 41 h 66"/>
                <a:gd name="T30" fmla="*/ 3 w 118"/>
                <a:gd name="T31" fmla="*/ 42 h 66"/>
                <a:gd name="T32" fmla="*/ 7 w 118"/>
                <a:gd name="T33" fmla="*/ 50 h 66"/>
                <a:gd name="T34" fmla="*/ 13 w 118"/>
                <a:gd name="T35" fmla="*/ 52 h 66"/>
                <a:gd name="T36" fmla="*/ 28 w 118"/>
                <a:gd name="T37" fmla="*/ 63 h 66"/>
                <a:gd name="T38" fmla="*/ 44 w 118"/>
                <a:gd name="T39" fmla="*/ 66 h 66"/>
                <a:gd name="T40" fmla="*/ 50 w 118"/>
                <a:gd name="T41" fmla="*/ 64 h 66"/>
                <a:gd name="T42" fmla="*/ 50 w 118"/>
                <a:gd name="T43" fmla="*/ 64 h 66"/>
                <a:gd name="T44" fmla="*/ 64 w 118"/>
                <a:gd name="T45" fmla="*/ 57 h 66"/>
                <a:gd name="T46" fmla="*/ 77 w 118"/>
                <a:gd name="T47" fmla="*/ 58 h 66"/>
                <a:gd name="T48" fmla="*/ 91 w 118"/>
                <a:gd name="T49" fmla="*/ 54 h 66"/>
                <a:gd name="T50" fmla="*/ 100 w 118"/>
                <a:gd name="T51" fmla="*/ 38 h 66"/>
                <a:gd name="T52" fmla="*/ 107 w 118"/>
                <a:gd name="T53" fmla="*/ 23 h 66"/>
                <a:gd name="T54" fmla="*/ 118 w 118"/>
                <a:gd name="T55" fmla="*/ 18 h 66"/>
                <a:gd name="T56" fmla="*/ 116 w 118"/>
                <a:gd name="T57" fmla="*/ 11 h 66"/>
                <a:gd name="T58" fmla="*/ 105 w 118"/>
                <a:gd name="T59" fmla="*/ 5 h 66"/>
                <a:gd name="T60" fmla="*/ 101 w 118"/>
                <a:gd name="T61" fmla="*/ 8 h 66"/>
                <a:gd name="T62" fmla="*/ 80 w 118"/>
                <a:gd name="T63" fmla="*/ 0 h 66"/>
                <a:gd name="T64" fmla="*/ 80 w 118"/>
                <a:gd name="T6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66">
                  <a:moveTo>
                    <a:pt x="80" y="0"/>
                  </a:moveTo>
                  <a:lnTo>
                    <a:pt x="75" y="2"/>
                  </a:lnTo>
                  <a:lnTo>
                    <a:pt x="71" y="8"/>
                  </a:lnTo>
                  <a:lnTo>
                    <a:pt x="63" y="10"/>
                  </a:lnTo>
                  <a:lnTo>
                    <a:pt x="61" y="9"/>
                  </a:lnTo>
                  <a:lnTo>
                    <a:pt x="52" y="12"/>
                  </a:lnTo>
                  <a:lnTo>
                    <a:pt x="45" y="13"/>
                  </a:lnTo>
                  <a:lnTo>
                    <a:pt x="44" y="18"/>
                  </a:lnTo>
                  <a:lnTo>
                    <a:pt x="28" y="21"/>
                  </a:lnTo>
                  <a:lnTo>
                    <a:pt x="21" y="18"/>
                  </a:lnTo>
                  <a:lnTo>
                    <a:pt x="11" y="12"/>
                  </a:lnTo>
                  <a:lnTo>
                    <a:pt x="11" y="22"/>
                  </a:lnTo>
                  <a:lnTo>
                    <a:pt x="0" y="22"/>
                  </a:lnTo>
                  <a:lnTo>
                    <a:pt x="5" y="26"/>
                  </a:lnTo>
                  <a:lnTo>
                    <a:pt x="0" y="41"/>
                  </a:lnTo>
                  <a:lnTo>
                    <a:pt x="3" y="42"/>
                  </a:lnTo>
                  <a:lnTo>
                    <a:pt x="7" y="50"/>
                  </a:lnTo>
                  <a:lnTo>
                    <a:pt x="13" y="52"/>
                  </a:lnTo>
                  <a:lnTo>
                    <a:pt x="28" y="63"/>
                  </a:lnTo>
                  <a:lnTo>
                    <a:pt x="44" y="66"/>
                  </a:lnTo>
                  <a:lnTo>
                    <a:pt x="50" y="64"/>
                  </a:lnTo>
                  <a:lnTo>
                    <a:pt x="50" y="64"/>
                  </a:lnTo>
                  <a:lnTo>
                    <a:pt x="64" y="57"/>
                  </a:lnTo>
                  <a:lnTo>
                    <a:pt x="77" y="58"/>
                  </a:lnTo>
                  <a:lnTo>
                    <a:pt x="91" y="54"/>
                  </a:lnTo>
                  <a:lnTo>
                    <a:pt x="100" y="38"/>
                  </a:lnTo>
                  <a:lnTo>
                    <a:pt x="107" y="23"/>
                  </a:lnTo>
                  <a:lnTo>
                    <a:pt x="118" y="18"/>
                  </a:lnTo>
                  <a:lnTo>
                    <a:pt x="116" y="11"/>
                  </a:lnTo>
                  <a:lnTo>
                    <a:pt x="105" y="5"/>
                  </a:lnTo>
                  <a:lnTo>
                    <a:pt x="101" y="8"/>
                  </a:lnTo>
                  <a:lnTo>
                    <a:pt x="80" y="0"/>
                  </a:lnTo>
                  <a:lnTo>
                    <a:pt x="80"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1" name="Indonesia"/>
            <p:cNvSpPr>
              <a:spLocks noEditPoints="1"/>
            </p:cNvSpPr>
            <p:nvPr/>
          </p:nvSpPr>
          <p:spPr bwMode="auto">
            <a:xfrm>
              <a:off x="9172575" y="4276726"/>
              <a:ext cx="1524000" cy="596900"/>
            </a:xfrm>
            <a:custGeom>
              <a:avLst/>
              <a:gdLst>
                <a:gd name="T0" fmla="*/ 489 w 960"/>
                <a:gd name="T1" fmla="*/ 357 h 376"/>
                <a:gd name="T2" fmla="*/ 617 w 960"/>
                <a:gd name="T3" fmla="*/ 353 h 376"/>
                <a:gd name="T4" fmla="*/ 581 w 960"/>
                <a:gd name="T5" fmla="*/ 373 h 376"/>
                <a:gd name="T6" fmla="*/ 463 w 960"/>
                <a:gd name="T7" fmla="*/ 331 h 376"/>
                <a:gd name="T8" fmla="*/ 493 w 960"/>
                <a:gd name="T9" fmla="*/ 337 h 376"/>
                <a:gd name="T10" fmla="*/ 574 w 960"/>
                <a:gd name="T11" fmla="*/ 323 h 376"/>
                <a:gd name="T12" fmla="*/ 510 w 960"/>
                <a:gd name="T13" fmla="*/ 339 h 376"/>
                <a:gd name="T14" fmla="*/ 277 w 960"/>
                <a:gd name="T15" fmla="*/ 291 h 376"/>
                <a:gd name="T16" fmla="*/ 209 w 960"/>
                <a:gd name="T17" fmla="*/ 293 h 376"/>
                <a:gd name="T18" fmla="*/ 293 w 960"/>
                <a:gd name="T19" fmla="*/ 314 h 376"/>
                <a:gd name="T20" fmla="*/ 398 w 960"/>
                <a:gd name="T21" fmla="*/ 338 h 376"/>
                <a:gd name="T22" fmla="*/ 322 w 960"/>
                <a:gd name="T23" fmla="*/ 283 h 376"/>
                <a:gd name="T24" fmla="*/ 825 w 960"/>
                <a:gd name="T25" fmla="*/ 267 h 376"/>
                <a:gd name="T26" fmla="*/ 825 w 960"/>
                <a:gd name="T27" fmla="*/ 278 h 376"/>
                <a:gd name="T28" fmla="*/ 663 w 960"/>
                <a:gd name="T29" fmla="*/ 220 h 376"/>
                <a:gd name="T30" fmla="*/ 690 w 960"/>
                <a:gd name="T31" fmla="*/ 198 h 376"/>
                <a:gd name="T32" fmla="*/ 746 w 960"/>
                <a:gd name="T33" fmla="*/ 222 h 376"/>
                <a:gd name="T34" fmla="*/ 781 w 960"/>
                <a:gd name="T35" fmla="*/ 139 h 376"/>
                <a:gd name="T36" fmla="*/ 776 w 960"/>
                <a:gd name="T37" fmla="*/ 183 h 376"/>
                <a:gd name="T38" fmla="*/ 787 w 960"/>
                <a:gd name="T39" fmla="*/ 209 h 376"/>
                <a:gd name="T40" fmla="*/ 836 w 960"/>
                <a:gd name="T41" fmla="*/ 236 h 376"/>
                <a:gd name="T42" fmla="*/ 891 w 960"/>
                <a:gd name="T43" fmla="*/ 311 h 376"/>
                <a:gd name="T44" fmla="*/ 951 w 960"/>
                <a:gd name="T45" fmla="*/ 347 h 376"/>
                <a:gd name="T46" fmla="*/ 905 w 960"/>
                <a:gd name="T47" fmla="*/ 170 h 376"/>
                <a:gd name="T48" fmla="*/ 817 w 960"/>
                <a:gd name="T49" fmla="*/ 157 h 376"/>
                <a:gd name="T50" fmla="*/ 556 w 960"/>
                <a:gd name="T51" fmla="*/ 106 h 376"/>
                <a:gd name="T52" fmla="*/ 503 w 960"/>
                <a:gd name="T53" fmla="*/ 181 h 376"/>
                <a:gd name="T54" fmla="*/ 504 w 960"/>
                <a:gd name="T55" fmla="*/ 258 h 376"/>
                <a:gd name="T56" fmla="*/ 540 w 960"/>
                <a:gd name="T57" fmla="*/ 193 h 376"/>
                <a:gd name="T58" fmla="*/ 575 w 960"/>
                <a:gd name="T59" fmla="*/ 236 h 376"/>
                <a:gd name="T60" fmla="*/ 567 w 960"/>
                <a:gd name="T61" fmla="*/ 213 h 376"/>
                <a:gd name="T62" fmla="*/ 590 w 960"/>
                <a:gd name="T63" fmla="*/ 156 h 376"/>
                <a:gd name="T64" fmla="*/ 525 w 960"/>
                <a:gd name="T65" fmla="*/ 125 h 376"/>
                <a:gd name="T66" fmla="*/ 631 w 960"/>
                <a:gd name="T67" fmla="*/ 96 h 376"/>
                <a:gd name="T68" fmla="*/ 687 w 960"/>
                <a:gd name="T69" fmla="*/ 78 h 376"/>
                <a:gd name="T70" fmla="*/ 697 w 960"/>
                <a:gd name="T71" fmla="*/ 148 h 376"/>
                <a:gd name="T72" fmla="*/ 704 w 960"/>
                <a:gd name="T73" fmla="*/ 103 h 376"/>
                <a:gd name="T74" fmla="*/ 455 w 960"/>
                <a:gd name="T75" fmla="*/ 28 h 376"/>
                <a:gd name="T76" fmla="*/ 391 w 960"/>
                <a:gd name="T77" fmla="*/ 101 h 376"/>
                <a:gd name="T78" fmla="*/ 322 w 960"/>
                <a:gd name="T79" fmla="*/ 112 h 376"/>
                <a:gd name="T80" fmla="*/ 292 w 960"/>
                <a:gd name="T81" fmla="*/ 141 h 376"/>
                <a:gd name="T82" fmla="*/ 345 w 960"/>
                <a:gd name="T83" fmla="*/ 201 h 376"/>
                <a:gd name="T84" fmla="*/ 410 w 960"/>
                <a:gd name="T85" fmla="*/ 227 h 376"/>
                <a:gd name="T86" fmla="*/ 469 w 960"/>
                <a:gd name="T87" fmla="*/ 149 h 376"/>
                <a:gd name="T88" fmla="*/ 476 w 960"/>
                <a:gd name="T89" fmla="*/ 86 h 376"/>
                <a:gd name="T90" fmla="*/ 203 w 960"/>
                <a:gd name="T91" fmla="*/ 185 h 376"/>
                <a:gd name="T92" fmla="*/ 182 w 960"/>
                <a:gd name="T93" fmla="*/ 127 h 376"/>
                <a:gd name="T94" fmla="*/ 94 w 960"/>
                <a:gd name="T95" fmla="*/ 55 h 376"/>
                <a:gd name="T96" fmla="*/ 0 w 960"/>
                <a:gd name="T97" fmla="*/ 0 h 376"/>
                <a:gd name="T98" fmla="*/ 71 w 960"/>
                <a:gd name="T99" fmla="*/ 86 h 376"/>
                <a:gd name="T100" fmla="*/ 129 w 960"/>
                <a:gd name="T101" fmla="*/ 197 h 376"/>
                <a:gd name="T102" fmla="*/ 219 w 960"/>
                <a:gd name="T103" fmla="*/ 26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0" h="376">
                  <a:moveTo>
                    <a:pt x="524" y="373"/>
                  </a:moveTo>
                  <a:lnTo>
                    <a:pt x="526" y="367"/>
                  </a:lnTo>
                  <a:lnTo>
                    <a:pt x="519" y="360"/>
                  </a:lnTo>
                  <a:lnTo>
                    <a:pt x="508" y="353"/>
                  </a:lnTo>
                  <a:lnTo>
                    <a:pt x="489" y="357"/>
                  </a:lnTo>
                  <a:lnTo>
                    <a:pt x="515" y="374"/>
                  </a:lnTo>
                  <a:lnTo>
                    <a:pt x="524" y="373"/>
                  </a:lnTo>
                  <a:lnTo>
                    <a:pt x="524" y="373"/>
                  </a:lnTo>
                  <a:close/>
                  <a:moveTo>
                    <a:pt x="602" y="371"/>
                  </a:moveTo>
                  <a:lnTo>
                    <a:pt x="617" y="353"/>
                  </a:lnTo>
                  <a:lnTo>
                    <a:pt x="618" y="346"/>
                  </a:lnTo>
                  <a:lnTo>
                    <a:pt x="616" y="341"/>
                  </a:lnTo>
                  <a:lnTo>
                    <a:pt x="594" y="351"/>
                  </a:lnTo>
                  <a:lnTo>
                    <a:pt x="584" y="366"/>
                  </a:lnTo>
                  <a:lnTo>
                    <a:pt x="581" y="373"/>
                  </a:lnTo>
                  <a:lnTo>
                    <a:pt x="583" y="376"/>
                  </a:lnTo>
                  <a:lnTo>
                    <a:pt x="602" y="371"/>
                  </a:lnTo>
                  <a:lnTo>
                    <a:pt x="602" y="371"/>
                  </a:lnTo>
                  <a:close/>
                  <a:moveTo>
                    <a:pt x="469" y="323"/>
                  </a:moveTo>
                  <a:lnTo>
                    <a:pt x="463" y="331"/>
                  </a:lnTo>
                  <a:lnTo>
                    <a:pt x="451" y="331"/>
                  </a:lnTo>
                  <a:lnTo>
                    <a:pt x="443" y="344"/>
                  </a:lnTo>
                  <a:lnTo>
                    <a:pt x="454" y="345"/>
                  </a:lnTo>
                  <a:lnTo>
                    <a:pt x="469" y="341"/>
                  </a:lnTo>
                  <a:lnTo>
                    <a:pt x="493" y="337"/>
                  </a:lnTo>
                  <a:lnTo>
                    <a:pt x="489" y="326"/>
                  </a:lnTo>
                  <a:lnTo>
                    <a:pt x="476" y="329"/>
                  </a:lnTo>
                  <a:lnTo>
                    <a:pt x="469" y="323"/>
                  </a:lnTo>
                  <a:lnTo>
                    <a:pt x="469" y="323"/>
                  </a:lnTo>
                  <a:close/>
                  <a:moveTo>
                    <a:pt x="574" y="323"/>
                  </a:moveTo>
                  <a:lnTo>
                    <a:pt x="554" y="331"/>
                  </a:lnTo>
                  <a:lnTo>
                    <a:pt x="540" y="333"/>
                  </a:lnTo>
                  <a:lnTo>
                    <a:pt x="528" y="325"/>
                  </a:lnTo>
                  <a:lnTo>
                    <a:pt x="511" y="331"/>
                  </a:lnTo>
                  <a:lnTo>
                    <a:pt x="510" y="339"/>
                  </a:lnTo>
                  <a:lnTo>
                    <a:pt x="537" y="342"/>
                  </a:lnTo>
                  <a:lnTo>
                    <a:pt x="570" y="336"/>
                  </a:lnTo>
                  <a:lnTo>
                    <a:pt x="574" y="323"/>
                  </a:lnTo>
                  <a:lnTo>
                    <a:pt x="574" y="323"/>
                  </a:lnTo>
                  <a:close/>
                  <a:moveTo>
                    <a:pt x="277" y="291"/>
                  </a:moveTo>
                  <a:lnTo>
                    <a:pt x="274" y="282"/>
                  </a:lnTo>
                  <a:lnTo>
                    <a:pt x="266" y="281"/>
                  </a:lnTo>
                  <a:lnTo>
                    <a:pt x="250" y="271"/>
                  </a:lnTo>
                  <a:lnTo>
                    <a:pt x="224" y="270"/>
                  </a:lnTo>
                  <a:lnTo>
                    <a:pt x="209" y="293"/>
                  </a:lnTo>
                  <a:lnTo>
                    <a:pt x="227" y="295"/>
                  </a:lnTo>
                  <a:lnTo>
                    <a:pt x="231" y="305"/>
                  </a:lnTo>
                  <a:lnTo>
                    <a:pt x="268" y="314"/>
                  </a:lnTo>
                  <a:lnTo>
                    <a:pt x="277" y="311"/>
                  </a:lnTo>
                  <a:lnTo>
                    <a:pt x="293" y="314"/>
                  </a:lnTo>
                  <a:lnTo>
                    <a:pt x="316" y="323"/>
                  </a:lnTo>
                  <a:lnTo>
                    <a:pt x="336" y="327"/>
                  </a:lnTo>
                  <a:lnTo>
                    <a:pt x="357" y="329"/>
                  </a:lnTo>
                  <a:lnTo>
                    <a:pt x="376" y="328"/>
                  </a:lnTo>
                  <a:lnTo>
                    <a:pt x="398" y="338"/>
                  </a:lnTo>
                  <a:lnTo>
                    <a:pt x="422" y="329"/>
                  </a:lnTo>
                  <a:lnTo>
                    <a:pt x="398" y="314"/>
                  </a:lnTo>
                  <a:lnTo>
                    <a:pt x="367" y="311"/>
                  </a:lnTo>
                  <a:lnTo>
                    <a:pt x="360" y="296"/>
                  </a:lnTo>
                  <a:lnTo>
                    <a:pt x="322" y="283"/>
                  </a:lnTo>
                  <a:lnTo>
                    <a:pt x="317" y="294"/>
                  </a:lnTo>
                  <a:lnTo>
                    <a:pt x="277" y="291"/>
                  </a:lnTo>
                  <a:lnTo>
                    <a:pt x="277" y="291"/>
                  </a:lnTo>
                  <a:close/>
                  <a:moveTo>
                    <a:pt x="825" y="278"/>
                  </a:moveTo>
                  <a:lnTo>
                    <a:pt x="825" y="267"/>
                  </a:lnTo>
                  <a:lnTo>
                    <a:pt x="821" y="259"/>
                  </a:lnTo>
                  <a:lnTo>
                    <a:pt x="816" y="268"/>
                  </a:lnTo>
                  <a:lnTo>
                    <a:pt x="812" y="276"/>
                  </a:lnTo>
                  <a:lnTo>
                    <a:pt x="813" y="294"/>
                  </a:lnTo>
                  <a:lnTo>
                    <a:pt x="825" y="278"/>
                  </a:lnTo>
                  <a:close/>
                  <a:moveTo>
                    <a:pt x="672" y="212"/>
                  </a:moveTo>
                  <a:lnTo>
                    <a:pt x="666" y="204"/>
                  </a:lnTo>
                  <a:lnTo>
                    <a:pt x="645" y="206"/>
                  </a:lnTo>
                  <a:lnTo>
                    <a:pt x="648" y="215"/>
                  </a:lnTo>
                  <a:lnTo>
                    <a:pt x="663" y="220"/>
                  </a:lnTo>
                  <a:lnTo>
                    <a:pt x="672" y="212"/>
                  </a:lnTo>
                  <a:lnTo>
                    <a:pt x="672" y="212"/>
                  </a:lnTo>
                  <a:close/>
                  <a:moveTo>
                    <a:pt x="739" y="203"/>
                  </a:moveTo>
                  <a:lnTo>
                    <a:pt x="717" y="197"/>
                  </a:lnTo>
                  <a:lnTo>
                    <a:pt x="690" y="198"/>
                  </a:lnTo>
                  <a:lnTo>
                    <a:pt x="685" y="211"/>
                  </a:lnTo>
                  <a:lnTo>
                    <a:pt x="700" y="212"/>
                  </a:lnTo>
                  <a:lnTo>
                    <a:pt x="711" y="210"/>
                  </a:lnTo>
                  <a:lnTo>
                    <a:pt x="729" y="212"/>
                  </a:lnTo>
                  <a:lnTo>
                    <a:pt x="746" y="222"/>
                  </a:lnTo>
                  <a:lnTo>
                    <a:pt x="739" y="203"/>
                  </a:lnTo>
                  <a:lnTo>
                    <a:pt x="739" y="203"/>
                  </a:lnTo>
                  <a:close/>
                  <a:moveTo>
                    <a:pt x="817" y="157"/>
                  </a:moveTo>
                  <a:lnTo>
                    <a:pt x="815" y="148"/>
                  </a:lnTo>
                  <a:lnTo>
                    <a:pt x="781" y="139"/>
                  </a:lnTo>
                  <a:lnTo>
                    <a:pt x="770" y="146"/>
                  </a:lnTo>
                  <a:lnTo>
                    <a:pt x="742" y="152"/>
                  </a:lnTo>
                  <a:lnTo>
                    <a:pt x="750" y="164"/>
                  </a:lnTo>
                  <a:lnTo>
                    <a:pt x="769" y="169"/>
                  </a:lnTo>
                  <a:lnTo>
                    <a:pt x="776" y="183"/>
                  </a:lnTo>
                  <a:lnTo>
                    <a:pt x="808" y="183"/>
                  </a:lnTo>
                  <a:lnTo>
                    <a:pt x="809" y="189"/>
                  </a:lnTo>
                  <a:lnTo>
                    <a:pt x="794" y="188"/>
                  </a:lnTo>
                  <a:lnTo>
                    <a:pt x="771" y="197"/>
                  </a:lnTo>
                  <a:lnTo>
                    <a:pt x="787" y="209"/>
                  </a:lnTo>
                  <a:lnTo>
                    <a:pt x="787" y="219"/>
                  </a:lnTo>
                  <a:lnTo>
                    <a:pt x="791" y="227"/>
                  </a:lnTo>
                  <a:lnTo>
                    <a:pt x="799" y="226"/>
                  </a:lnTo>
                  <a:lnTo>
                    <a:pt x="805" y="214"/>
                  </a:lnTo>
                  <a:lnTo>
                    <a:pt x="836" y="236"/>
                  </a:lnTo>
                  <a:lnTo>
                    <a:pt x="853" y="238"/>
                  </a:lnTo>
                  <a:lnTo>
                    <a:pt x="893" y="258"/>
                  </a:lnTo>
                  <a:lnTo>
                    <a:pt x="901" y="278"/>
                  </a:lnTo>
                  <a:lnTo>
                    <a:pt x="905" y="304"/>
                  </a:lnTo>
                  <a:lnTo>
                    <a:pt x="891" y="311"/>
                  </a:lnTo>
                  <a:lnTo>
                    <a:pt x="881" y="330"/>
                  </a:lnTo>
                  <a:lnTo>
                    <a:pt x="907" y="329"/>
                  </a:lnTo>
                  <a:lnTo>
                    <a:pt x="914" y="323"/>
                  </a:lnTo>
                  <a:lnTo>
                    <a:pt x="934" y="327"/>
                  </a:lnTo>
                  <a:lnTo>
                    <a:pt x="951" y="347"/>
                  </a:lnTo>
                  <a:lnTo>
                    <a:pt x="957" y="269"/>
                  </a:lnTo>
                  <a:lnTo>
                    <a:pt x="960" y="192"/>
                  </a:lnTo>
                  <a:lnTo>
                    <a:pt x="938" y="187"/>
                  </a:lnTo>
                  <a:lnTo>
                    <a:pt x="923" y="179"/>
                  </a:lnTo>
                  <a:lnTo>
                    <a:pt x="905" y="170"/>
                  </a:lnTo>
                  <a:lnTo>
                    <a:pt x="887" y="170"/>
                  </a:lnTo>
                  <a:lnTo>
                    <a:pt x="862" y="184"/>
                  </a:lnTo>
                  <a:lnTo>
                    <a:pt x="844" y="210"/>
                  </a:lnTo>
                  <a:lnTo>
                    <a:pt x="822" y="196"/>
                  </a:lnTo>
                  <a:lnTo>
                    <a:pt x="817" y="157"/>
                  </a:lnTo>
                  <a:close/>
                  <a:moveTo>
                    <a:pt x="631" y="96"/>
                  </a:moveTo>
                  <a:lnTo>
                    <a:pt x="627" y="91"/>
                  </a:lnTo>
                  <a:lnTo>
                    <a:pt x="606" y="108"/>
                  </a:lnTo>
                  <a:lnTo>
                    <a:pt x="582" y="109"/>
                  </a:lnTo>
                  <a:lnTo>
                    <a:pt x="556" y="106"/>
                  </a:lnTo>
                  <a:lnTo>
                    <a:pt x="539" y="99"/>
                  </a:lnTo>
                  <a:lnTo>
                    <a:pt x="521" y="116"/>
                  </a:lnTo>
                  <a:lnTo>
                    <a:pt x="517" y="127"/>
                  </a:lnTo>
                  <a:lnTo>
                    <a:pt x="507" y="162"/>
                  </a:lnTo>
                  <a:lnTo>
                    <a:pt x="503" y="181"/>
                  </a:lnTo>
                  <a:lnTo>
                    <a:pt x="494" y="197"/>
                  </a:lnTo>
                  <a:lnTo>
                    <a:pt x="500" y="212"/>
                  </a:lnTo>
                  <a:lnTo>
                    <a:pt x="508" y="213"/>
                  </a:lnTo>
                  <a:lnTo>
                    <a:pt x="511" y="236"/>
                  </a:lnTo>
                  <a:lnTo>
                    <a:pt x="504" y="258"/>
                  </a:lnTo>
                  <a:lnTo>
                    <a:pt x="512" y="265"/>
                  </a:lnTo>
                  <a:lnTo>
                    <a:pt x="526" y="261"/>
                  </a:lnTo>
                  <a:lnTo>
                    <a:pt x="527" y="227"/>
                  </a:lnTo>
                  <a:lnTo>
                    <a:pt x="526" y="199"/>
                  </a:lnTo>
                  <a:lnTo>
                    <a:pt x="540" y="193"/>
                  </a:lnTo>
                  <a:lnTo>
                    <a:pt x="537" y="215"/>
                  </a:lnTo>
                  <a:lnTo>
                    <a:pt x="552" y="229"/>
                  </a:lnTo>
                  <a:lnTo>
                    <a:pt x="549" y="239"/>
                  </a:lnTo>
                  <a:lnTo>
                    <a:pt x="554" y="245"/>
                  </a:lnTo>
                  <a:lnTo>
                    <a:pt x="575" y="236"/>
                  </a:lnTo>
                  <a:lnTo>
                    <a:pt x="563" y="255"/>
                  </a:lnTo>
                  <a:lnTo>
                    <a:pt x="572" y="264"/>
                  </a:lnTo>
                  <a:lnTo>
                    <a:pt x="583" y="256"/>
                  </a:lnTo>
                  <a:lnTo>
                    <a:pt x="584" y="241"/>
                  </a:lnTo>
                  <a:lnTo>
                    <a:pt x="567" y="213"/>
                  </a:lnTo>
                  <a:lnTo>
                    <a:pt x="571" y="206"/>
                  </a:lnTo>
                  <a:lnTo>
                    <a:pt x="552" y="175"/>
                  </a:lnTo>
                  <a:lnTo>
                    <a:pt x="571" y="166"/>
                  </a:lnTo>
                  <a:lnTo>
                    <a:pt x="580" y="152"/>
                  </a:lnTo>
                  <a:lnTo>
                    <a:pt x="590" y="156"/>
                  </a:lnTo>
                  <a:lnTo>
                    <a:pt x="591" y="144"/>
                  </a:lnTo>
                  <a:lnTo>
                    <a:pt x="552" y="153"/>
                  </a:lnTo>
                  <a:lnTo>
                    <a:pt x="540" y="163"/>
                  </a:lnTo>
                  <a:lnTo>
                    <a:pt x="521" y="142"/>
                  </a:lnTo>
                  <a:lnTo>
                    <a:pt x="525" y="125"/>
                  </a:lnTo>
                  <a:lnTo>
                    <a:pt x="543" y="121"/>
                  </a:lnTo>
                  <a:lnTo>
                    <a:pt x="578" y="120"/>
                  </a:lnTo>
                  <a:lnTo>
                    <a:pt x="598" y="125"/>
                  </a:lnTo>
                  <a:lnTo>
                    <a:pt x="614" y="120"/>
                  </a:lnTo>
                  <a:lnTo>
                    <a:pt x="631" y="96"/>
                  </a:lnTo>
                  <a:lnTo>
                    <a:pt x="631" y="96"/>
                  </a:lnTo>
                  <a:close/>
                  <a:moveTo>
                    <a:pt x="704" y="103"/>
                  </a:moveTo>
                  <a:lnTo>
                    <a:pt x="701" y="94"/>
                  </a:lnTo>
                  <a:lnTo>
                    <a:pt x="689" y="91"/>
                  </a:lnTo>
                  <a:lnTo>
                    <a:pt x="687" y="78"/>
                  </a:lnTo>
                  <a:lnTo>
                    <a:pt x="680" y="86"/>
                  </a:lnTo>
                  <a:lnTo>
                    <a:pt x="676" y="106"/>
                  </a:lnTo>
                  <a:lnTo>
                    <a:pt x="683" y="137"/>
                  </a:lnTo>
                  <a:lnTo>
                    <a:pt x="690" y="152"/>
                  </a:lnTo>
                  <a:lnTo>
                    <a:pt x="697" y="148"/>
                  </a:lnTo>
                  <a:lnTo>
                    <a:pt x="689" y="136"/>
                  </a:lnTo>
                  <a:lnTo>
                    <a:pt x="691" y="122"/>
                  </a:lnTo>
                  <a:lnTo>
                    <a:pt x="703" y="124"/>
                  </a:lnTo>
                  <a:lnTo>
                    <a:pt x="704" y="103"/>
                  </a:lnTo>
                  <a:lnTo>
                    <a:pt x="704" y="103"/>
                  </a:lnTo>
                  <a:close/>
                  <a:moveTo>
                    <a:pt x="476" y="86"/>
                  </a:moveTo>
                  <a:lnTo>
                    <a:pt x="479" y="75"/>
                  </a:lnTo>
                  <a:lnTo>
                    <a:pt x="463" y="53"/>
                  </a:lnTo>
                  <a:lnTo>
                    <a:pt x="474" y="31"/>
                  </a:lnTo>
                  <a:lnTo>
                    <a:pt x="455" y="28"/>
                  </a:lnTo>
                  <a:lnTo>
                    <a:pt x="432" y="28"/>
                  </a:lnTo>
                  <a:lnTo>
                    <a:pt x="425" y="55"/>
                  </a:lnTo>
                  <a:lnTo>
                    <a:pt x="418" y="63"/>
                  </a:lnTo>
                  <a:lnTo>
                    <a:pt x="408" y="96"/>
                  </a:lnTo>
                  <a:lnTo>
                    <a:pt x="391" y="101"/>
                  </a:lnTo>
                  <a:lnTo>
                    <a:pt x="371" y="94"/>
                  </a:lnTo>
                  <a:lnTo>
                    <a:pt x="361" y="97"/>
                  </a:lnTo>
                  <a:lnTo>
                    <a:pt x="349" y="109"/>
                  </a:lnTo>
                  <a:lnTo>
                    <a:pt x="336" y="107"/>
                  </a:lnTo>
                  <a:lnTo>
                    <a:pt x="322" y="112"/>
                  </a:lnTo>
                  <a:lnTo>
                    <a:pt x="308" y="99"/>
                  </a:lnTo>
                  <a:lnTo>
                    <a:pt x="304" y="83"/>
                  </a:lnTo>
                  <a:lnTo>
                    <a:pt x="291" y="98"/>
                  </a:lnTo>
                  <a:lnTo>
                    <a:pt x="289" y="120"/>
                  </a:lnTo>
                  <a:lnTo>
                    <a:pt x="292" y="141"/>
                  </a:lnTo>
                  <a:lnTo>
                    <a:pt x="302" y="161"/>
                  </a:lnTo>
                  <a:lnTo>
                    <a:pt x="312" y="168"/>
                  </a:lnTo>
                  <a:lnTo>
                    <a:pt x="315" y="199"/>
                  </a:lnTo>
                  <a:lnTo>
                    <a:pt x="332" y="202"/>
                  </a:lnTo>
                  <a:lnTo>
                    <a:pt x="345" y="201"/>
                  </a:lnTo>
                  <a:lnTo>
                    <a:pt x="352" y="212"/>
                  </a:lnTo>
                  <a:lnTo>
                    <a:pt x="378" y="204"/>
                  </a:lnTo>
                  <a:lnTo>
                    <a:pt x="388" y="212"/>
                  </a:lnTo>
                  <a:lnTo>
                    <a:pt x="403" y="213"/>
                  </a:lnTo>
                  <a:lnTo>
                    <a:pt x="410" y="227"/>
                  </a:lnTo>
                  <a:lnTo>
                    <a:pt x="435" y="217"/>
                  </a:lnTo>
                  <a:lnTo>
                    <a:pt x="438" y="226"/>
                  </a:lnTo>
                  <a:lnTo>
                    <a:pt x="448" y="189"/>
                  </a:lnTo>
                  <a:lnTo>
                    <a:pt x="449" y="165"/>
                  </a:lnTo>
                  <a:lnTo>
                    <a:pt x="469" y="149"/>
                  </a:lnTo>
                  <a:lnTo>
                    <a:pt x="468" y="127"/>
                  </a:lnTo>
                  <a:lnTo>
                    <a:pt x="475" y="112"/>
                  </a:lnTo>
                  <a:lnTo>
                    <a:pt x="500" y="109"/>
                  </a:lnTo>
                  <a:lnTo>
                    <a:pt x="476" y="86"/>
                  </a:lnTo>
                  <a:lnTo>
                    <a:pt x="476" y="86"/>
                  </a:lnTo>
                  <a:close/>
                  <a:moveTo>
                    <a:pt x="219" y="269"/>
                  </a:moveTo>
                  <a:lnTo>
                    <a:pt x="222" y="232"/>
                  </a:lnTo>
                  <a:lnTo>
                    <a:pt x="228" y="202"/>
                  </a:lnTo>
                  <a:lnTo>
                    <a:pt x="218" y="187"/>
                  </a:lnTo>
                  <a:lnTo>
                    <a:pt x="203" y="185"/>
                  </a:lnTo>
                  <a:lnTo>
                    <a:pt x="196" y="172"/>
                  </a:lnTo>
                  <a:lnTo>
                    <a:pt x="193" y="156"/>
                  </a:lnTo>
                  <a:lnTo>
                    <a:pt x="185" y="156"/>
                  </a:lnTo>
                  <a:lnTo>
                    <a:pt x="173" y="147"/>
                  </a:lnTo>
                  <a:lnTo>
                    <a:pt x="182" y="127"/>
                  </a:lnTo>
                  <a:lnTo>
                    <a:pt x="166" y="116"/>
                  </a:lnTo>
                  <a:lnTo>
                    <a:pt x="154" y="97"/>
                  </a:lnTo>
                  <a:lnTo>
                    <a:pt x="136" y="81"/>
                  </a:lnTo>
                  <a:lnTo>
                    <a:pt x="114" y="80"/>
                  </a:lnTo>
                  <a:lnTo>
                    <a:pt x="94" y="55"/>
                  </a:lnTo>
                  <a:lnTo>
                    <a:pt x="82" y="44"/>
                  </a:lnTo>
                  <a:lnTo>
                    <a:pt x="65" y="29"/>
                  </a:lnTo>
                  <a:lnTo>
                    <a:pt x="45" y="5"/>
                  </a:lnTo>
                  <a:lnTo>
                    <a:pt x="13" y="1"/>
                  </a:lnTo>
                  <a:lnTo>
                    <a:pt x="0" y="0"/>
                  </a:lnTo>
                  <a:lnTo>
                    <a:pt x="1" y="12"/>
                  </a:lnTo>
                  <a:lnTo>
                    <a:pt x="24" y="38"/>
                  </a:lnTo>
                  <a:lnTo>
                    <a:pt x="41" y="51"/>
                  </a:lnTo>
                  <a:lnTo>
                    <a:pt x="52" y="71"/>
                  </a:lnTo>
                  <a:lnTo>
                    <a:pt x="71" y="86"/>
                  </a:lnTo>
                  <a:lnTo>
                    <a:pt x="80" y="105"/>
                  </a:lnTo>
                  <a:lnTo>
                    <a:pt x="85" y="126"/>
                  </a:lnTo>
                  <a:lnTo>
                    <a:pt x="104" y="145"/>
                  </a:lnTo>
                  <a:lnTo>
                    <a:pt x="119" y="179"/>
                  </a:lnTo>
                  <a:lnTo>
                    <a:pt x="129" y="197"/>
                  </a:lnTo>
                  <a:lnTo>
                    <a:pt x="145" y="216"/>
                  </a:lnTo>
                  <a:lnTo>
                    <a:pt x="153" y="230"/>
                  </a:lnTo>
                  <a:lnTo>
                    <a:pt x="179" y="250"/>
                  </a:lnTo>
                  <a:lnTo>
                    <a:pt x="196" y="269"/>
                  </a:lnTo>
                  <a:lnTo>
                    <a:pt x="219" y="269"/>
                  </a:lnTo>
                  <a:lnTo>
                    <a:pt x="219" y="26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2" name="India"/>
            <p:cNvSpPr>
              <a:spLocks/>
            </p:cNvSpPr>
            <p:nvPr/>
          </p:nvSpPr>
          <p:spPr bwMode="auto">
            <a:xfrm>
              <a:off x="8216900" y="3143251"/>
              <a:ext cx="919162" cy="1039813"/>
            </a:xfrm>
            <a:custGeom>
              <a:avLst/>
              <a:gdLst>
                <a:gd name="T0" fmla="*/ 183 w 579"/>
                <a:gd name="T1" fmla="*/ 95 h 655"/>
                <a:gd name="T2" fmla="*/ 184 w 579"/>
                <a:gd name="T3" fmla="*/ 60 h 655"/>
                <a:gd name="T4" fmla="*/ 141 w 579"/>
                <a:gd name="T5" fmla="*/ 0 h 655"/>
                <a:gd name="T6" fmla="*/ 75 w 579"/>
                <a:gd name="T7" fmla="*/ 18 h 655"/>
                <a:gd name="T8" fmla="*/ 90 w 579"/>
                <a:gd name="T9" fmla="*/ 66 h 655"/>
                <a:gd name="T10" fmla="*/ 99 w 579"/>
                <a:gd name="T11" fmla="*/ 108 h 655"/>
                <a:gd name="T12" fmla="*/ 60 w 579"/>
                <a:gd name="T13" fmla="*/ 180 h 655"/>
                <a:gd name="T14" fmla="*/ 32 w 579"/>
                <a:gd name="T15" fmla="*/ 214 h 655"/>
                <a:gd name="T16" fmla="*/ 57 w 579"/>
                <a:gd name="T17" fmla="*/ 265 h 655"/>
                <a:gd name="T18" fmla="*/ 26 w 579"/>
                <a:gd name="T19" fmla="*/ 301 h 655"/>
                <a:gd name="T20" fmla="*/ 54 w 579"/>
                <a:gd name="T21" fmla="*/ 348 h 655"/>
                <a:gd name="T22" fmla="*/ 105 w 579"/>
                <a:gd name="T23" fmla="*/ 359 h 655"/>
                <a:gd name="T24" fmla="*/ 130 w 579"/>
                <a:gd name="T25" fmla="*/ 464 h 655"/>
                <a:gd name="T26" fmla="*/ 165 w 579"/>
                <a:gd name="T27" fmla="*/ 541 h 655"/>
                <a:gd name="T28" fmla="*/ 194 w 579"/>
                <a:gd name="T29" fmla="*/ 599 h 655"/>
                <a:gd name="T30" fmla="*/ 235 w 579"/>
                <a:gd name="T31" fmla="*/ 648 h 655"/>
                <a:gd name="T32" fmla="*/ 253 w 579"/>
                <a:gd name="T33" fmla="*/ 617 h 655"/>
                <a:gd name="T34" fmla="*/ 269 w 579"/>
                <a:gd name="T35" fmla="*/ 558 h 655"/>
                <a:gd name="T36" fmla="*/ 267 w 579"/>
                <a:gd name="T37" fmla="*/ 485 h 655"/>
                <a:gd name="T38" fmla="*/ 299 w 579"/>
                <a:gd name="T39" fmla="*/ 457 h 655"/>
                <a:gd name="T40" fmla="*/ 326 w 579"/>
                <a:gd name="T41" fmla="*/ 424 h 655"/>
                <a:gd name="T42" fmla="*/ 387 w 579"/>
                <a:gd name="T43" fmla="*/ 365 h 655"/>
                <a:gd name="T44" fmla="*/ 418 w 579"/>
                <a:gd name="T45" fmla="*/ 328 h 655"/>
                <a:gd name="T46" fmla="*/ 427 w 579"/>
                <a:gd name="T47" fmla="*/ 300 h 655"/>
                <a:gd name="T48" fmla="*/ 405 w 579"/>
                <a:gd name="T49" fmla="*/ 262 h 655"/>
                <a:gd name="T50" fmla="*/ 403 w 579"/>
                <a:gd name="T51" fmla="*/ 232 h 655"/>
                <a:gd name="T52" fmla="*/ 435 w 579"/>
                <a:gd name="T53" fmla="*/ 227 h 655"/>
                <a:gd name="T54" fmla="*/ 478 w 579"/>
                <a:gd name="T55" fmla="*/ 247 h 655"/>
                <a:gd name="T56" fmla="*/ 476 w 579"/>
                <a:gd name="T57" fmla="*/ 272 h 655"/>
                <a:gd name="T58" fmla="*/ 486 w 579"/>
                <a:gd name="T59" fmla="*/ 283 h 655"/>
                <a:gd name="T60" fmla="*/ 518 w 579"/>
                <a:gd name="T61" fmla="*/ 315 h 655"/>
                <a:gd name="T62" fmla="*/ 514 w 579"/>
                <a:gd name="T63" fmla="*/ 272 h 655"/>
                <a:gd name="T64" fmla="*/ 535 w 579"/>
                <a:gd name="T65" fmla="*/ 246 h 655"/>
                <a:gd name="T66" fmla="*/ 562 w 579"/>
                <a:gd name="T67" fmla="*/ 196 h 655"/>
                <a:gd name="T68" fmla="*/ 579 w 579"/>
                <a:gd name="T69" fmla="*/ 181 h 655"/>
                <a:gd name="T70" fmla="*/ 558 w 579"/>
                <a:gd name="T71" fmla="*/ 159 h 655"/>
                <a:gd name="T72" fmla="*/ 514 w 579"/>
                <a:gd name="T73" fmla="*/ 149 h 655"/>
                <a:gd name="T74" fmla="*/ 464 w 579"/>
                <a:gd name="T75" fmla="*/ 184 h 655"/>
                <a:gd name="T76" fmla="*/ 460 w 579"/>
                <a:gd name="T77" fmla="*/ 207 h 655"/>
                <a:gd name="T78" fmla="*/ 409 w 579"/>
                <a:gd name="T79" fmla="*/ 200 h 655"/>
                <a:gd name="T80" fmla="*/ 391 w 579"/>
                <a:gd name="T81" fmla="*/ 181 h 655"/>
                <a:gd name="T82" fmla="*/ 397 w 579"/>
                <a:gd name="T83" fmla="*/ 216 h 655"/>
                <a:gd name="T84" fmla="*/ 338 w 579"/>
                <a:gd name="T85" fmla="*/ 208 h 655"/>
                <a:gd name="T86" fmla="*/ 267 w 579"/>
                <a:gd name="T87" fmla="*/ 180 h 655"/>
                <a:gd name="T88" fmla="*/ 227 w 579"/>
                <a:gd name="T89" fmla="*/ 138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9" h="655">
                  <a:moveTo>
                    <a:pt x="237" y="126"/>
                  </a:moveTo>
                  <a:lnTo>
                    <a:pt x="206" y="110"/>
                  </a:lnTo>
                  <a:lnTo>
                    <a:pt x="183" y="95"/>
                  </a:lnTo>
                  <a:lnTo>
                    <a:pt x="171" y="69"/>
                  </a:lnTo>
                  <a:lnTo>
                    <a:pt x="186" y="72"/>
                  </a:lnTo>
                  <a:lnTo>
                    <a:pt x="184" y="60"/>
                  </a:lnTo>
                  <a:lnTo>
                    <a:pt x="173" y="48"/>
                  </a:lnTo>
                  <a:lnTo>
                    <a:pt x="170" y="28"/>
                  </a:lnTo>
                  <a:lnTo>
                    <a:pt x="141" y="0"/>
                  </a:lnTo>
                  <a:lnTo>
                    <a:pt x="127" y="21"/>
                  </a:lnTo>
                  <a:lnTo>
                    <a:pt x="107" y="25"/>
                  </a:lnTo>
                  <a:lnTo>
                    <a:pt x="75" y="18"/>
                  </a:lnTo>
                  <a:lnTo>
                    <a:pt x="67" y="29"/>
                  </a:lnTo>
                  <a:lnTo>
                    <a:pt x="80" y="50"/>
                  </a:lnTo>
                  <a:lnTo>
                    <a:pt x="90" y="66"/>
                  </a:lnTo>
                  <a:lnTo>
                    <a:pt x="109" y="78"/>
                  </a:lnTo>
                  <a:lnTo>
                    <a:pt x="95" y="91"/>
                  </a:lnTo>
                  <a:lnTo>
                    <a:pt x="99" y="108"/>
                  </a:lnTo>
                  <a:lnTo>
                    <a:pt x="84" y="132"/>
                  </a:lnTo>
                  <a:lnTo>
                    <a:pt x="77" y="156"/>
                  </a:lnTo>
                  <a:lnTo>
                    <a:pt x="60" y="180"/>
                  </a:lnTo>
                  <a:lnTo>
                    <a:pt x="36" y="179"/>
                  </a:lnTo>
                  <a:lnTo>
                    <a:pt x="17" y="204"/>
                  </a:lnTo>
                  <a:lnTo>
                    <a:pt x="32" y="214"/>
                  </a:lnTo>
                  <a:lnTo>
                    <a:pt x="38" y="233"/>
                  </a:lnTo>
                  <a:lnTo>
                    <a:pt x="51" y="245"/>
                  </a:lnTo>
                  <a:lnTo>
                    <a:pt x="57" y="265"/>
                  </a:lnTo>
                  <a:lnTo>
                    <a:pt x="12" y="265"/>
                  </a:lnTo>
                  <a:lnTo>
                    <a:pt x="0" y="281"/>
                  </a:lnTo>
                  <a:lnTo>
                    <a:pt x="26" y="301"/>
                  </a:lnTo>
                  <a:lnTo>
                    <a:pt x="34" y="310"/>
                  </a:lnTo>
                  <a:lnTo>
                    <a:pt x="25" y="319"/>
                  </a:lnTo>
                  <a:lnTo>
                    <a:pt x="54" y="348"/>
                  </a:lnTo>
                  <a:lnTo>
                    <a:pt x="69" y="350"/>
                  </a:lnTo>
                  <a:lnTo>
                    <a:pt x="98" y="336"/>
                  </a:lnTo>
                  <a:lnTo>
                    <a:pt x="105" y="359"/>
                  </a:lnTo>
                  <a:lnTo>
                    <a:pt x="108" y="388"/>
                  </a:lnTo>
                  <a:lnTo>
                    <a:pt x="117" y="418"/>
                  </a:lnTo>
                  <a:lnTo>
                    <a:pt x="130" y="464"/>
                  </a:lnTo>
                  <a:lnTo>
                    <a:pt x="152" y="497"/>
                  </a:lnTo>
                  <a:lnTo>
                    <a:pt x="157" y="511"/>
                  </a:lnTo>
                  <a:lnTo>
                    <a:pt x="165" y="541"/>
                  </a:lnTo>
                  <a:lnTo>
                    <a:pt x="177" y="564"/>
                  </a:lnTo>
                  <a:lnTo>
                    <a:pt x="185" y="575"/>
                  </a:lnTo>
                  <a:lnTo>
                    <a:pt x="194" y="599"/>
                  </a:lnTo>
                  <a:lnTo>
                    <a:pt x="206" y="632"/>
                  </a:lnTo>
                  <a:lnTo>
                    <a:pt x="226" y="655"/>
                  </a:lnTo>
                  <a:lnTo>
                    <a:pt x="235" y="648"/>
                  </a:lnTo>
                  <a:lnTo>
                    <a:pt x="241" y="631"/>
                  </a:lnTo>
                  <a:lnTo>
                    <a:pt x="260" y="625"/>
                  </a:lnTo>
                  <a:lnTo>
                    <a:pt x="253" y="617"/>
                  </a:lnTo>
                  <a:lnTo>
                    <a:pt x="262" y="599"/>
                  </a:lnTo>
                  <a:lnTo>
                    <a:pt x="272" y="598"/>
                  </a:lnTo>
                  <a:lnTo>
                    <a:pt x="269" y="558"/>
                  </a:lnTo>
                  <a:lnTo>
                    <a:pt x="277" y="535"/>
                  </a:lnTo>
                  <a:lnTo>
                    <a:pt x="274" y="515"/>
                  </a:lnTo>
                  <a:lnTo>
                    <a:pt x="267" y="485"/>
                  </a:lnTo>
                  <a:lnTo>
                    <a:pt x="271" y="466"/>
                  </a:lnTo>
                  <a:lnTo>
                    <a:pt x="280" y="465"/>
                  </a:lnTo>
                  <a:lnTo>
                    <a:pt x="299" y="457"/>
                  </a:lnTo>
                  <a:lnTo>
                    <a:pt x="308" y="450"/>
                  </a:lnTo>
                  <a:lnTo>
                    <a:pt x="307" y="440"/>
                  </a:lnTo>
                  <a:lnTo>
                    <a:pt x="326" y="424"/>
                  </a:lnTo>
                  <a:lnTo>
                    <a:pt x="340" y="409"/>
                  </a:lnTo>
                  <a:lnTo>
                    <a:pt x="360" y="381"/>
                  </a:lnTo>
                  <a:lnTo>
                    <a:pt x="387" y="365"/>
                  </a:lnTo>
                  <a:lnTo>
                    <a:pt x="396" y="351"/>
                  </a:lnTo>
                  <a:lnTo>
                    <a:pt x="392" y="334"/>
                  </a:lnTo>
                  <a:lnTo>
                    <a:pt x="418" y="328"/>
                  </a:lnTo>
                  <a:lnTo>
                    <a:pt x="432" y="329"/>
                  </a:lnTo>
                  <a:lnTo>
                    <a:pt x="433" y="320"/>
                  </a:lnTo>
                  <a:lnTo>
                    <a:pt x="427" y="300"/>
                  </a:lnTo>
                  <a:lnTo>
                    <a:pt x="418" y="282"/>
                  </a:lnTo>
                  <a:lnTo>
                    <a:pt x="419" y="268"/>
                  </a:lnTo>
                  <a:lnTo>
                    <a:pt x="405" y="262"/>
                  </a:lnTo>
                  <a:lnTo>
                    <a:pt x="408" y="253"/>
                  </a:lnTo>
                  <a:lnTo>
                    <a:pt x="419" y="244"/>
                  </a:lnTo>
                  <a:lnTo>
                    <a:pt x="403" y="232"/>
                  </a:lnTo>
                  <a:lnTo>
                    <a:pt x="407" y="216"/>
                  </a:lnTo>
                  <a:lnTo>
                    <a:pt x="425" y="225"/>
                  </a:lnTo>
                  <a:lnTo>
                    <a:pt x="435" y="227"/>
                  </a:lnTo>
                  <a:lnTo>
                    <a:pt x="439" y="244"/>
                  </a:lnTo>
                  <a:lnTo>
                    <a:pt x="460" y="247"/>
                  </a:lnTo>
                  <a:lnTo>
                    <a:pt x="478" y="247"/>
                  </a:lnTo>
                  <a:lnTo>
                    <a:pt x="491" y="250"/>
                  </a:lnTo>
                  <a:lnTo>
                    <a:pt x="485" y="270"/>
                  </a:lnTo>
                  <a:lnTo>
                    <a:pt x="476" y="272"/>
                  </a:lnTo>
                  <a:lnTo>
                    <a:pt x="472" y="285"/>
                  </a:lnTo>
                  <a:lnTo>
                    <a:pt x="485" y="298"/>
                  </a:lnTo>
                  <a:lnTo>
                    <a:pt x="486" y="283"/>
                  </a:lnTo>
                  <a:lnTo>
                    <a:pt x="491" y="282"/>
                  </a:lnTo>
                  <a:lnTo>
                    <a:pt x="508" y="321"/>
                  </a:lnTo>
                  <a:lnTo>
                    <a:pt x="518" y="315"/>
                  </a:lnTo>
                  <a:lnTo>
                    <a:pt x="514" y="305"/>
                  </a:lnTo>
                  <a:lnTo>
                    <a:pt x="518" y="296"/>
                  </a:lnTo>
                  <a:lnTo>
                    <a:pt x="514" y="272"/>
                  </a:lnTo>
                  <a:lnTo>
                    <a:pt x="531" y="278"/>
                  </a:lnTo>
                  <a:lnTo>
                    <a:pt x="536" y="258"/>
                  </a:lnTo>
                  <a:lnTo>
                    <a:pt x="535" y="246"/>
                  </a:lnTo>
                  <a:lnTo>
                    <a:pt x="544" y="226"/>
                  </a:lnTo>
                  <a:lnTo>
                    <a:pt x="540" y="212"/>
                  </a:lnTo>
                  <a:lnTo>
                    <a:pt x="562" y="196"/>
                  </a:lnTo>
                  <a:lnTo>
                    <a:pt x="578" y="200"/>
                  </a:lnTo>
                  <a:lnTo>
                    <a:pt x="574" y="186"/>
                  </a:lnTo>
                  <a:lnTo>
                    <a:pt x="579" y="181"/>
                  </a:lnTo>
                  <a:lnTo>
                    <a:pt x="575" y="172"/>
                  </a:lnTo>
                  <a:lnTo>
                    <a:pt x="553" y="169"/>
                  </a:lnTo>
                  <a:lnTo>
                    <a:pt x="558" y="159"/>
                  </a:lnTo>
                  <a:lnTo>
                    <a:pt x="545" y="144"/>
                  </a:lnTo>
                  <a:lnTo>
                    <a:pt x="532" y="154"/>
                  </a:lnTo>
                  <a:lnTo>
                    <a:pt x="514" y="149"/>
                  </a:lnTo>
                  <a:lnTo>
                    <a:pt x="494" y="164"/>
                  </a:lnTo>
                  <a:lnTo>
                    <a:pt x="480" y="181"/>
                  </a:lnTo>
                  <a:lnTo>
                    <a:pt x="464" y="184"/>
                  </a:lnTo>
                  <a:lnTo>
                    <a:pt x="475" y="192"/>
                  </a:lnTo>
                  <a:lnTo>
                    <a:pt x="475" y="207"/>
                  </a:lnTo>
                  <a:lnTo>
                    <a:pt x="460" y="207"/>
                  </a:lnTo>
                  <a:lnTo>
                    <a:pt x="442" y="206"/>
                  </a:lnTo>
                  <a:lnTo>
                    <a:pt x="430" y="209"/>
                  </a:lnTo>
                  <a:lnTo>
                    <a:pt x="409" y="200"/>
                  </a:lnTo>
                  <a:lnTo>
                    <a:pt x="408" y="195"/>
                  </a:lnTo>
                  <a:lnTo>
                    <a:pt x="403" y="177"/>
                  </a:lnTo>
                  <a:lnTo>
                    <a:pt x="391" y="181"/>
                  </a:lnTo>
                  <a:lnTo>
                    <a:pt x="391" y="192"/>
                  </a:lnTo>
                  <a:lnTo>
                    <a:pt x="397" y="207"/>
                  </a:lnTo>
                  <a:lnTo>
                    <a:pt x="397" y="216"/>
                  </a:lnTo>
                  <a:lnTo>
                    <a:pt x="379" y="217"/>
                  </a:lnTo>
                  <a:lnTo>
                    <a:pt x="354" y="211"/>
                  </a:lnTo>
                  <a:lnTo>
                    <a:pt x="338" y="208"/>
                  </a:lnTo>
                  <a:lnTo>
                    <a:pt x="324" y="197"/>
                  </a:lnTo>
                  <a:lnTo>
                    <a:pt x="295" y="194"/>
                  </a:lnTo>
                  <a:lnTo>
                    <a:pt x="267" y="180"/>
                  </a:lnTo>
                  <a:lnTo>
                    <a:pt x="245" y="169"/>
                  </a:lnTo>
                  <a:lnTo>
                    <a:pt x="224" y="160"/>
                  </a:lnTo>
                  <a:lnTo>
                    <a:pt x="227" y="138"/>
                  </a:lnTo>
                  <a:lnTo>
                    <a:pt x="237" y="126"/>
                  </a:lnTo>
                  <a:lnTo>
                    <a:pt x="237" y="12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3" name="Ireland"/>
            <p:cNvSpPr>
              <a:spLocks/>
            </p:cNvSpPr>
            <p:nvPr/>
          </p:nvSpPr>
          <p:spPr bwMode="auto">
            <a:xfrm>
              <a:off x="5716587" y="2419351"/>
              <a:ext cx="114300" cy="123825"/>
            </a:xfrm>
            <a:custGeom>
              <a:avLst/>
              <a:gdLst>
                <a:gd name="T0" fmla="*/ 69 w 72"/>
                <a:gd name="T1" fmla="*/ 29 h 78"/>
                <a:gd name="T2" fmla="*/ 56 w 72"/>
                <a:gd name="T3" fmla="*/ 24 h 78"/>
                <a:gd name="T4" fmla="*/ 46 w 72"/>
                <a:gd name="T5" fmla="*/ 24 h 78"/>
                <a:gd name="T6" fmla="*/ 50 w 72"/>
                <a:gd name="T7" fmla="*/ 12 h 78"/>
                <a:gd name="T8" fmla="*/ 47 w 72"/>
                <a:gd name="T9" fmla="*/ 0 h 78"/>
                <a:gd name="T10" fmla="*/ 33 w 72"/>
                <a:gd name="T11" fmla="*/ 11 h 78"/>
                <a:gd name="T12" fmla="*/ 8 w 72"/>
                <a:gd name="T13" fmla="*/ 28 h 78"/>
                <a:gd name="T14" fmla="*/ 16 w 72"/>
                <a:gd name="T15" fmla="*/ 51 h 78"/>
                <a:gd name="T16" fmla="*/ 0 w 72"/>
                <a:gd name="T17" fmla="*/ 74 h 78"/>
                <a:gd name="T18" fmla="*/ 25 w 72"/>
                <a:gd name="T19" fmla="*/ 78 h 78"/>
                <a:gd name="T20" fmla="*/ 57 w 72"/>
                <a:gd name="T21" fmla="*/ 65 h 78"/>
                <a:gd name="T22" fmla="*/ 72 w 72"/>
                <a:gd name="T23" fmla="*/ 45 h 78"/>
                <a:gd name="T24" fmla="*/ 69 w 72"/>
                <a:gd name="T25" fmla="*/ 29 h 78"/>
                <a:gd name="T26" fmla="*/ 69 w 72"/>
                <a:gd name="T27"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8">
                  <a:moveTo>
                    <a:pt x="69" y="29"/>
                  </a:moveTo>
                  <a:lnTo>
                    <a:pt x="56" y="24"/>
                  </a:lnTo>
                  <a:lnTo>
                    <a:pt x="46" y="24"/>
                  </a:lnTo>
                  <a:lnTo>
                    <a:pt x="50" y="12"/>
                  </a:lnTo>
                  <a:lnTo>
                    <a:pt x="47" y="0"/>
                  </a:lnTo>
                  <a:lnTo>
                    <a:pt x="33" y="11"/>
                  </a:lnTo>
                  <a:lnTo>
                    <a:pt x="8" y="28"/>
                  </a:lnTo>
                  <a:lnTo>
                    <a:pt x="16" y="51"/>
                  </a:lnTo>
                  <a:lnTo>
                    <a:pt x="0" y="74"/>
                  </a:lnTo>
                  <a:lnTo>
                    <a:pt x="25" y="78"/>
                  </a:lnTo>
                  <a:lnTo>
                    <a:pt x="57" y="65"/>
                  </a:lnTo>
                  <a:lnTo>
                    <a:pt x="72" y="45"/>
                  </a:lnTo>
                  <a:lnTo>
                    <a:pt x="69" y="29"/>
                  </a:lnTo>
                  <a:lnTo>
                    <a:pt x="69" y="2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Iran"/>
            <p:cNvSpPr>
              <a:spLocks/>
            </p:cNvSpPr>
            <p:nvPr/>
          </p:nvSpPr>
          <p:spPr bwMode="auto">
            <a:xfrm>
              <a:off x="7359650" y="2981326"/>
              <a:ext cx="685800" cy="555625"/>
            </a:xfrm>
            <a:custGeom>
              <a:avLst/>
              <a:gdLst>
                <a:gd name="T0" fmla="*/ 16 w 432"/>
                <a:gd name="T1" fmla="*/ 10 h 350"/>
                <a:gd name="T2" fmla="*/ 0 w 432"/>
                <a:gd name="T3" fmla="*/ 8 h 350"/>
                <a:gd name="T4" fmla="*/ 8 w 432"/>
                <a:gd name="T5" fmla="*/ 42 h 350"/>
                <a:gd name="T6" fmla="*/ 22 w 432"/>
                <a:gd name="T7" fmla="*/ 62 h 350"/>
                <a:gd name="T8" fmla="*/ 53 w 432"/>
                <a:gd name="T9" fmla="*/ 98 h 350"/>
                <a:gd name="T10" fmla="*/ 48 w 432"/>
                <a:gd name="T11" fmla="*/ 120 h 350"/>
                <a:gd name="T12" fmla="*/ 64 w 432"/>
                <a:gd name="T13" fmla="*/ 162 h 350"/>
                <a:gd name="T14" fmla="*/ 103 w 432"/>
                <a:gd name="T15" fmla="*/ 193 h 350"/>
                <a:gd name="T16" fmla="*/ 109 w 432"/>
                <a:gd name="T17" fmla="*/ 210 h 350"/>
                <a:gd name="T18" fmla="*/ 123 w 432"/>
                <a:gd name="T19" fmla="*/ 235 h 350"/>
                <a:gd name="T20" fmla="*/ 143 w 432"/>
                <a:gd name="T21" fmla="*/ 234 h 350"/>
                <a:gd name="T22" fmla="*/ 172 w 432"/>
                <a:gd name="T23" fmla="*/ 261 h 350"/>
                <a:gd name="T24" fmla="*/ 210 w 432"/>
                <a:gd name="T25" fmla="*/ 291 h 350"/>
                <a:gd name="T26" fmla="*/ 258 w 432"/>
                <a:gd name="T27" fmla="*/ 317 h 350"/>
                <a:gd name="T28" fmla="*/ 292 w 432"/>
                <a:gd name="T29" fmla="*/ 301 h 350"/>
                <a:gd name="T30" fmla="*/ 314 w 432"/>
                <a:gd name="T31" fmla="*/ 335 h 350"/>
                <a:gd name="T32" fmla="*/ 361 w 432"/>
                <a:gd name="T33" fmla="*/ 343 h 350"/>
                <a:gd name="T34" fmla="*/ 404 w 432"/>
                <a:gd name="T35" fmla="*/ 323 h 350"/>
                <a:gd name="T36" fmla="*/ 428 w 432"/>
                <a:gd name="T37" fmla="*/ 299 h 350"/>
                <a:gd name="T38" fmla="*/ 415 w 432"/>
                <a:gd name="T39" fmla="*/ 274 h 350"/>
                <a:gd name="T40" fmla="*/ 383 w 432"/>
                <a:gd name="T41" fmla="*/ 250 h 350"/>
                <a:gd name="T42" fmla="*/ 386 w 432"/>
                <a:gd name="T43" fmla="*/ 215 h 350"/>
                <a:gd name="T44" fmla="*/ 366 w 432"/>
                <a:gd name="T45" fmla="*/ 197 h 350"/>
                <a:gd name="T46" fmla="*/ 352 w 432"/>
                <a:gd name="T47" fmla="*/ 163 h 350"/>
                <a:gd name="T48" fmla="*/ 348 w 432"/>
                <a:gd name="T49" fmla="*/ 146 h 350"/>
                <a:gd name="T50" fmla="*/ 352 w 432"/>
                <a:gd name="T51" fmla="*/ 99 h 350"/>
                <a:gd name="T52" fmla="*/ 331 w 432"/>
                <a:gd name="T53" fmla="*/ 77 h 350"/>
                <a:gd name="T54" fmla="*/ 288 w 432"/>
                <a:gd name="T55" fmla="*/ 54 h 350"/>
                <a:gd name="T56" fmla="*/ 250 w 432"/>
                <a:gd name="T57" fmla="*/ 39 h 350"/>
                <a:gd name="T58" fmla="*/ 228 w 432"/>
                <a:gd name="T59" fmla="*/ 42 h 350"/>
                <a:gd name="T60" fmla="*/ 201 w 432"/>
                <a:gd name="T61" fmla="*/ 61 h 350"/>
                <a:gd name="T62" fmla="*/ 171 w 432"/>
                <a:gd name="T63" fmla="*/ 73 h 350"/>
                <a:gd name="T64" fmla="*/ 127 w 432"/>
                <a:gd name="T65" fmla="*/ 57 h 350"/>
                <a:gd name="T66" fmla="*/ 98 w 432"/>
                <a:gd name="T67" fmla="*/ 34 h 350"/>
                <a:gd name="T68" fmla="*/ 79 w 432"/>
                <a:gd name="T69" fmla="*/ 23 h 350"/>
                <a:gd name="T70" fmla="*/ 76 w 432"/>
                <a:gd name="T71" fmla="*/ 4 h 350"/>
                <a:gd name="T72" fmla="*/ 49 w 432"/>
                <a:gd name="T73" fmla="*/ 23 h 350"/>
                <a:gd name="T74" fmla="*/ 29 w 432"/>
                <a:gd name="T75" fmla="*/ 2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50">
                  <a:moveTo>
                    <a:pt x="29" y="21"/>
                  </a:moveTo>
                  <a:lnTo>
                    <a:pt x="16" y="10"/>
                  </a:lnTo>
                  <a:lnTo>
                    <a:pt x="12" y="0"/>
                  </a:lnTo>
                  <a:lnTo>
                    <a:pt x="0" y="8"/>
                  </a:lnTo>
                  <a:lnTo>
                    <a:pt x="11" y="35"/>
                  </a:lnTo>
                  <a:lnTo>
                    <a:pt x="8" y="42"/>
                  </a:lnTo>
                  <a:lnTo>
                    <a:pt x="22" y="62"/>
                  </a:lnTo>
                  <a:lnTo>
                    <a:pt x="22" y="62"/>
                  </a:lnTo>
                  <a:lnTo>
                    <a:pt x="40" y="91"/>
                  </a:lnTo>
                  <a:lnTo>
                    <a:pt x="53" y="98"/>
                  </a:lnTo>
                  <a:lnTo>
                    <a:pt x="57" y="113"/>
                  </a:lnTo>
                  <a:lnTo>
                    <a:pt x="48" y="120"/>
                  </a:lnTo>
                  <a:lnTo>
                    <a:pt x="46" y="139"/>
                  </a:lnTo>
                  <a:lnTo>
                    <a:pt x="64" y="162"/>
                  </a:lnTo>
                  <a:lnTo>
                    <a:pt x="90" y="174"/>
                  </a:lnTo>
                  <a:lnTo>
                    <a:pt x="103" y="193"/>
                  </a:lnTo>
                  <a:lnTo>
                    <a:pt x="102" y="210"/>
                  </a:lnTo>
                  <a:lnTo>
                    <a:pt x="109" y="210"/>
                  </a:lnTo>
                  <a:lnTo>
                    <a:pt x="111" y="223"/>
                  </a:lnTo>
                  <a:lnTo>
                    <a:pt x="123" y="235"/>
                  </a:lnTo>
                  <a:lnTo>
                    <a:pt x="129" y="225"/>
                  </a:lnTo>
                  <a:lnTo>
                    <a:pt x="143" y="234"/>
                  </a:lnTo>
                  <a:lnTo>
                    <a:pt x="154" y="230"/>
                  </a:lnTo>
                  <a:lnTo>
                    <a:pt x="172" y="261"/>
                  </a:lnTo>
                  <a:lnTo>
                    <a:pt x="189" y="284"/>
                  </a:lnTo>
                  <a:lnTo>
                    <a:pt x="210" y="291"/>
                  </a:lnTo>
                  <a:lnTo>
                    <a:pt x="232" y="309"/>
                  </a:lnTo>
                  <a:lnTo>
                    <a:pt x="258" y="317"/>
                  </a:lnTo>
                  <a:lnTo>
                    <a:pt x="277" y="305"/>
                  </a:lnTo>
                  <a:lnTo>
                    <a:pt x="292" y="301"/>
                  </a:lnTo>
                  <a:lnTo>
                    <a:pt x="302" y="305"/>
                  </a:lnTo>
                  <a:lnTo>
                    <a:pt x="314" y="335"/>
                  </a:lnTo>
                  <a:lnTo>
                    <a:pt x="338" y="338"/>
                  </a:lnTo>
                  <a:lnTo>
                    <a:pt x="361" y="343"/>
                  </a:lnTo>
                  <a:lnTo>
                    <a:pt x="400" y="350"/>
                  </a:lnTo>
                  <a:lnTo>
                    <a:pt x="404" y="323"/>
                  </a:lnTo>
                  <a:lnTo>
                    <a:pt x="432" y="310"/>
                  </a:lnTo>
                  <a:lnTo>
                    <a:pt x="428" y="299"/>
                  </a:lnTo>
                  <a:lnTo>
                    <a:pt x="419" y="296"/>
                  </a:lnTo>
                  <a:lnTo>
                    <a:pt x="415" y="274"/>
                  </a:lnTo>
                  <a:lnTo>
                    <a:pt x="394" y="264"/>
                  </a:lnTo>
                  <a:lnTo>
                    <a:pt x="383" y="250"/>
                  </a:lnTo>
                  <a:lnTo>
                    <a:pt x="371" y="238"/>
                  </a:lnTo>
                  <a:lnTo>
                    <a:pt x="386" y="215"/>
                  </a:lnTo>
                  <a:lnTo>
                    <a:pt x="382" y="200"/>
                  </a:lnTo>
                  <a:lnTo>
                    <a:pt x="366" y="197"/>
                  </a:lnTo>
                  <a:lnTo>
                    <a:pt x="362" y="182"/>
                  </a:lnTo>
                  <a:lnTo>
                    <a:pt x="352" y="163"/>
                  </a:lnTo>
                  <a:lnTo>
                    <a:pt x="357" y="150"/>
                  </a:lnTo>
                  <a:lnTo>
                    <a:pt x="348" y="146"/>
                  </a:lnTo>
                  <a:lnTo>
                    <a:pt x="350" y="128"/>
                  </a:lnTo>
                  <a:lnTo>
                    <a:pt x="352" y="99"/>
                  </a:lnTo>
                  <a:lnTo>
                    <a:pt x="346" y="78"/>
                  </a:lnTo>
                  <a:lnTo>
                    <a:pt x="331" y="77"/>
                  </a:lnTo>
                  <a:lnTo>
                    <a:pt x="304" y="57"/>
                  </a:lnTo>
                  <a:lnTo>
                    <a:pt x="288" y="54"/>
                  </a:lnTo>
                  <a:lnTo>
                    <a:pt x="264" y="42"/>
                  </a:lnTo>
                  <a:lnTo>
                    <a:pt x="250" y="39"/>
                  </a:lnTo>
                  <a:lnTo>
                    <a:pt x="241" y="43"/>
                  </a:lnTo>
                  <a:lnTo>
                    <a:pt x="228" y="42"/>
                  </a:lnTo>
                  <a:lnTo>
                    <a:pt x="217" y="57"/>
                  </a:lnTo>
                  <a:lnTo>
                    <a:pt x="201" y="61"/>
                  </a:lnTo>
                  <a:lnTo>
                    <a:pt x="200" y="67"/>
                  </a:lnTo>
                  <a:lnTo>
                    <a:pt x="171" y="73"/>
                  </a:lnTo>
                  <a:lnTo>
                    <a:pt x="143" y="70"/>
                  </a:lnTo>
                  <a:lnTo>
                    <a:pt x="127" y="57"/>
                  </a:lnTo>
                  <a:lnTo>
                    <a:pt x="107" y="52"/>
                  </a:lnTo>
                  <a:lnTo>
                    <a:pt x="98" y="34"/>
                  </a:lnTo>
                  <a:lnTo>
                    <a:pt x="93" y="35"/>
                  </a:lnTo>
                  <a:lnTo>
                    <a:pt x="79" y="23"/>
                  </a:lnTo>
                  <a:lnTo>
                    <a:pt x="83" y="11"/>
                  </a:lnTo>
                  <a:lnTo>
                    <a:pt x="76" y="4"/>
                  </a:lnTo>
                  <a:lnTo>
                    <a:pt x="69" y="6"/>
                  </a:lnTo>
                  <a:lnTo>
                    <a:pt x="49" y="23"/>
                  </a:lnTo>
                  <a:lnTo>
                    <a:pt x="43" y="24"/>
                  </a:lnTo>
                  <a:lnTo>
                    <a:pt x="29" y="21"/>
                  </a:lnTo>
                  <a:lnTo>
                    <a:pt x="29" y="2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5" name="Irak"/>
            <p:cNvSpPr>
              <a:spLocks/>
            </p:cNvSpPr>
            <p:nvPr/>
          </p:nvSpPr>
          <p:spPr bwMode="auto">
            <a:xfrm>
              <a:off x="7227887" y="3071813"/>
              <a:ext cx="327025" cy="312738"/>
            </a:xfrm>
            <a:custGeom>
              <a:avLst/>
              <a:gdLst>
                <a:gd name="T0" fmla="*/ 88 w 206"/>
                <a:gd name="T1" fmla="*/ 3 h 197"/>
                <a:gd name="T2" fmla="*/ 65 w 206"/>
                <a:gd name="T3" fmla="*/ 0 h 197"/>
                <a:gd name="T4" fmla="*/ 57 w 206"/>
                <a:gd name="T5" fmla="*/ 3 h 197"/>
                <a:gd name="T6" fmla="*/ 50 w 206"/>
                <a:gd name="T7" fmla="*/ 18 h 197"/>
                <a:gd name="T8" fmla="*/ 40 w 206"/>
                <a:gd name="T9" fmla="*/ 25 h 197"/>
                <a:gd name="T10" fmla="*/ 44 w 206"/>
                <a:gd name="T11" fmla="*/ 42 h 197"/>
                <a:gd name="T12" fmla="*/ 41 w 206"/>
                <a:gd name="T13" fmla="*/ 71 h 197"/>
                <a:gd name="T14" fmla="*/ 0 w 206"/>
                <a:gd name="T15" fmla="*/ 97 h 197"/>
                <a:gd name="T16" fmla="*/ 11 w 206"/>
                <a:gd name="T17" fmla="*/ 125 h 197"/>
                <a:gd name="T18" fmla="*/ 36 w 206"/>
                <a:gd name="T19" fmla="*/ 131 h 197"/>
                <a:gd name="T20" fmla="*/ 68 w 206"/>
                <a:gd name="T21" fmla="*/ 148 h 197"/>
                <a:gd name="T22" fmla="*/ 130 w 206"/>
                <a:gd name="T23" fmla="*/ 196 h 197"/>
                <a:gd name="T24" fmla="*/ 169 w 206"/>
                <a:gd name="T25" fmla="*/ 197 h 197"/>
                <a:gd name="T26" fmla="*/ 181 w 206"/>
                <a:gd name="T27" fmla="*/ 175 h 197"/>
                <a:gd name="T28" fmla="*/ 194 w 206"/>
                <a:gd name="T29" fmla="*/ 177 h 197"/>
                <a:gd name="T30" fmla="*/ 206 w 206"/>
                <a:gd name="T31" fmla="*/ 178 h 197"/>
                <a:gd name="T32" fmla="*/ 194 w 206"/>
                <a:gd name="T33" fmla="*/ 166 h 197"/>
                <a:gd name="T34" fmla="*/ 192 w 206"/>
                <a:gd name="T35" fmla="*/ 153 h 197"/>
                <a:gd name="T36" fmla="*/ 185 w 206"/>
                <a:gd name="T37" fmla="*/ 153 h 197"/>
                <a:gd name="T38" fmla="*/ 186 w 206"/>
                <a:gd name="T39" fmla="*/ 136 h 197"/>
                <a:gd name="T40" fmla="*/ 173 w 206"/>
                <a:gd name="T41" fmla="*/ 117 h 197"/>
                <a:gd name="T42" fmla="*/ 147 w 206"/>
                <a:gd name="T43" fmla="*/ 105 h 197"/>
                <a:gd name="T44" fmla="*/ 129 w 206"/>
                <a:gd name="T45" fmla="*/ 82 h 197"/>
                <a:gd name="T46" fmla="*/ 131 w 206"/>
                <a:gd name="T47" fmla="*/ 63 h 197"/>
                <a:gd name="T48" fmla="*/ 140 w 206"/>
                <a:gd name="T49" fmla="*/ 56 h 197"/>
                <a:gd name="T50" fmla="*/ 136 w 206"/>
                <a:gd name="T51" fmla="*/ 41 h 197"/>
                <a:gd name="T52" fmla="*/ 123 w 206"/>
                <a:gd name="T53" fmla="*/ 34 h 197"/>
                <a:gd name="T54" fmla="*/ 105 w 206"/>
                <a:gd name="T55" fmla="*/ 5 h 197"/>
                <a:gd name="T56" fmla="*/ 105 w 206"/>
                <a:gd name="T57" fmla="*/ 5 h 197"/>
                <a:gd name="T58" fmla="*/ 97 w 206"/>
                <a:gd name="T59" fmla="*/ 9 h 197"/>
                <a:gd name="T60" fmla="*/ 88 w 206"/>
                <a:gd name="T61" fmla="*/ 3 h 197"/>
                <a:gd name="T62" fmla="*/ 88 w 206"/>
                <a:gd name="T63"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 h="197">
                  <a:moveTo>
                    <a:pt x="88" y="3"/>
                  </a:moveTo>
                  <a:lnTo>
                    <a:pt x="65" y="0"/>
                  </a:lnTo>
                  <a:lnTo>
                    <a:pt x="57" y="3"/>
                  </a:lnTo>
                  <a:lnTo>
                    <a:pt x="50" y="18"/>
                  </a:lnTo>
                  <a:lnTo>
                    <a:pt x="40" y="25"/>
                  </a:lnTo>
                  <a:lnTo>
                    <a:pt x="44" y="42"/>
                  </a:lnTo>
                  <a:lnTo>
                    <a:pt x="41" y="71"/>
                  </a:lnTo>
                  <a:lnTo>
                    <a:pt x="0" y="97"/>
                  </a:lnTo>
                  <a:lnTo>
                    <a:pt x="11" y="125"/>
                  </a:lnTo>
                  <a:lnTo>
                    <a:pt x="36" y="131"/>
                  </a:lnTo>
                  <a:lnTo>
                    <a:pt x="68" y="148"/>
                  </a:lnTo>
                  <a:lnTo>
                    <a:pt x="130" y="196"/>
                  </a:lnTo>
                  <a:lnTo>
                    <a:pt x="169" y="197"/>
                  </a:lnTo>
                  <a:lnTo>
                    <a:pt x="181" y="175"/>
                  </a:lnTo>
                  <a:lnTo>
                    <a:pt x="194" y="177"/>
                  </a:lnTo>
                  <a:lnTo>
                    <a:pt x="206" y="178"/>
                  </a:lnTo>
                  <a:lnTo>
                    <a:pt x="194" y="166"/>
                  </a:lnTo>
                  <a:lnTo>
                    <a:pt x="192" y="153"/>
                  </a:lnTo>
                  <a:lnTo>
                    <a:pt x="185" y="153"/>
                  </a:lnTo>
                  <a:lnTo>
                    <a:pt x="186" y="136"/>
                  </a:lnTo>
                  <a:lnTo>
                    <a:pt x="173" y="117"/>
                  </a:lnTo>
                  <a:lnTo>
                    <a:pt x="147" y="105"/>
                  </a:lnTo>
                  <a:lnTo>
                    <a:pt x="129" y="82"/>
                  </a:lnTo>
                  <a:lnTo>
                    <a:pt x="131" y="63"/>
                  </a:lnTo>
                  <a:lnTo>
                    <a:pt x="140" y="56"/>
                  </a:lnTo>
                  <a:lnTo>
                    <a:pt x="136" y="41"/>
                  </a:lnTo>
                  <a:lnTo>
                    <a:pt x="123" y="34"/>
                  </a:lnTo>
                  <a:lnTo>
                    <a:pt x="105" y="5"/>
                  </a:lnTo>
                  <a:lnTo>
                    <a:pt x="105" y="5"/>
                  </a:lnTo>
                  <a:lnTo>
                    <a:pt x="97" y="9"/>
                  </a:lnTo>
                  <a:lnTo>
                    <a:pt x="88" y="3"/>
                  </a:lnTo>
                  <a:lnTo>
                    <a:pt x="88"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6" name="Iceland"/>
            <p:cNvSpPr>
              <a:spLocks/>
            </p:cNvSpPr>
            <p:nvPr/>
          </p:nvSpPr>
          <p:spPr bwMode="auto">
            <a:xfrm>
              <a:off x="5389562" y="2028826"/>
              <a:ext cx="268287" cy="100013"/>
            </a:xfrm>
            <a:custGeom>
              <a:avLst/>
              <a:gdLst>
                <a:gd name="T0" fmla="*/ 158 w 169"/>
                <a:gd name="T1" fmla="*/ 1 h 63"/>
                <a:gd name="T2" fmla="*/ 131 w 169"/>
                <a:gd name="T3" fmla="*/ 0 h 63"/>
                <a:gd name="T4" fmla="*/ 104 w 169"/>
                <a:gd name="T5" fmla="*/ 10 h 63"/>
                <a:gd name="T6" fmla="*/ 86 w 169"/>
                <a:gd name="T7" fmla="*/ 5 h 63"/>
                <a:gd name="T8" fmla="*/ 60 w 169"/>
                <a:gd name="T9" fmla="*/ 16 h 63"/>
                <a:gd name="T10" fmla="*/ 37 w 169"/>
                <a:gd name="T11" fmla="*/ 2 h 63"/>
                <a:gd name="T12" fmla="*/ 13 w 169"/>
                <a:gd name="T13" fmla="*/ 5 h 63"/>
                <a:gd name="T14" fmla="*/ 0 w 169"/>
                <a:gd name="T15" fmla="*/ 19 h 63"/>
                <a:gd name="T16" fmla="*/ 33 w 169"/>
                <a:gd name="T17" fmla="*/ 23 h 63"/>
                <a:gd name="T18" fmla="*/ 32 w 169"/>
                <a:gd name="T19" fmla="*/ 30 h 63"/>
                <a:gd name="T20" fmla="*/ 3 w 169"/>
                <a:gd name="T21" fmla="*/ 34 h 63"/>
                <a:gd name="T22" fmla="*/ 35 w 169"/>
                <a:gd name="T23" fmla="*/ 44 h 63"/>
                <a:gd name="T24" fmla="*/ 19 w 169"/>
                <a:gd name="T25" fmla="*/ 53 h 63"/>
                <a:gd name="T26" fmla="*/ 62 w 169"/>
                <a:gd name="T27" fmla="*/ 60 h 63"/>
                <a:gd name="T28" fmla="*/ 83 w 169"/>
                <a:gd name="T29" fmla="*/ 63 h 63"/>
                <a:gd name="T30" fmla="*/ 98 w 169"/>
                <a:gd name="T31" fmla="*/ 59 h 63"/>
                <a:gd name="T32" fmla="*/ 145 w 169"/>
                <a:gd name="T33" fmla="*/ 45 h 63"/>
                <a:gd name="T34" fmla="*/ 169 w 169"/>
                <a:gd name="T35" fmla="*/ 29 h 63"/>
                <a:gd name="T36" fmla="*/ 152 w 169"/>
                <a:gd name="T37" fmla="*/ 15 h 63"/>
                <a:gd name="T38" fmla="*/ 158 w 169"/>
                <a:gd name="T39" fmla="*/ 1 h 63"/>
                <a:gd name="T40" fmla="*/ 158 w 169"/>
                <a:gd name="T41"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63">
                  <a:moveTo>
                    <a:pt x="158" y="1"/>
                  </a:moveTo>
                  <a:lnTo>
                    <a:pt x="131" y="0"/>
                  </a:lnTo>
                  <a:lnTo>
                    <a:pt x="104" y="10"/>
                  </a:lnTo>
                  <a:lnTo>
                    <a:pt x="86" y="5"/>
                  </a:lnTo>
                  <a:lnTo>
                    <a:pt x="60" y="16"/>
                  </a:lnTo>
                  <a:lnTo>
                    <a:pt x="37" y="2"/>
                  </a:lnTo>
                  <a:lnTo>
                    <a:pt x="13" y="5"/>
                  </a:lnTo>
                  <a:lnTo>
                    <a:pt x="0" y="19"/>
                  </a:lnTo>
                  <a:lnTo>
                    <a:pt x="33" y="23"/>
                  </a:lnTo>
                  <a:lnTo>
                    <a:pt x="32" y="30"/>
                  </a:lnTo>
                  <a:lnTo>
                    <a:pt x="3" y="34"/>
                  </a:lnTo>
                  <a:lnTo>
                    <a:pt x="35" y="44"/>
                  </a:lnTo>
                  <a:lnTo>
                    <a:pt x="19" y="53"/>
                  </a:lnTo>
                  <a:lnTo>
                    <a:pt x="62" y="60"/>
                  </a:lnTo>
                  <a:lnTo>
                    <a:pt x="83" y="63"/>
                  </a:lnTo>
                  <a:lnTo>
                    <a:pt x="98" y="59"/>
                  </a:lnTo>
                  <a:lnTo>
                    <a:pt x="145" y="45"/>
                  </a:lnTo>
                  <a:lnTo>
                    <a:pt x="169" y="29"/>
                  </a:lnTo>
                  <a:lnTo>
                    <a:pt x="152" y="15"/>
                  </a:lnTo>
                  <a:lnTo>
                    <a:pt x="158" y="1"/>
                  </a:lnTo>
                  <a:lnTo>
                    <a:pt x="158"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7" name="Israel"/>
            <p:cNvSpPr>
              <a:spLocks/>
            </p:cNvSpPr>
            <p:nvPr/>
          </p:nvSpPr>
          <p:spPr bwMode="auto">
            <a:xfrm>
              <a:off x="7092950" y="3227388"/>
              <a:ext cx="42862" cy="142875"/>
            </a:xfrm>
            <a:custGeom>
              <a:avLst/>
              <a:gdLst>
                <a:gd name="T0" fmla="*/ 26 w 27"/>
                <a:gd name="T1" fmla="*/ 0 h 90"/>
                <a:gd name="T2" fmla="*/ 21 w 27"/>
                <a:gd name="T3" fmla="*/ 0 h 90"/>
                <a:gd name="T4" fmla="*/ 19 w 27"/>
                <a:gd name="T5" fmla="*/ 5 h 90"/>
                <a:gd name="T6" fmla="*/ 13 w 27"/>
                <a:gd name="T7" fmla="*/ 5 h 90"/>
                <a:gd name="T8" fmla="*/ 12 w 27"/>
                <a:gd name="T9" fmla="*/ 5 h 90"/>
                <a:gd name="T10" fmla="*/ 10 w 27"/>
                <a:gd name="T11" fmla="*/ 12 h 90"/>
                <a:gd name="T12" fmla="*/ 8 w 27"/>
                <a:gd name="T13" fmla="*/ 29 h 90"/>
                <a:gd name="T14" fmla="*/ 3 w 27"/>
                <a:gd name="T15" fmla="*/ 40 h 90"/>
                <a:gd name="T16" fmla="*/ 5 w 27"/>
                <a:gd name="T17" fmla="*/ 42 h 90"/>
                <a:gd name="T18" fmla="*/ 0 w 27"/>
                <a:gd name="T19" fmla="*/ 49 h 90"/>
                <a:gd name="T20" fmla="*/ 0 w 27"/>
                <a:gd name="T21" fmla="*/ 49 h 90"/>
                <a:gd name="T22" fmla="*/ 15 w 27"/>
                <a:gd name="T23" fmla="*/ 84 h 90"/>
                <a:gd name="T24" fmla="*/ 17 w 27"/>
                <a:gd name="T25" fmla="*/ 90 h 90"/>
                <a:gd name="T26" fmla="*/ 23 w 27"/>
                <a:gd name="T27" fmla="*/ 52 h 90"/>
                <a:gd name="T28" fmla="*/ 22 w 27"/>
                <a:gd name="T29" fmla="*/ 43 h 90"/>
                <a:gd name="T30" fmla="*/ 13 w 27"/>
                <a:gd name="T31" fmla="*/ 46 h 90"/>
                <a:gd name="T32" fmla="*/ 14 w 27"/>
                <a:gd name="T33" fmla="*/ 40 h 90"/>
                <a:gd name="T34" fmla="*/ 17 w 27"/>
                <a:gd name="T35" fmla="*/ 37 h 90"/>
                <a:gd name="T36" fmla="*/ 13 w 27"/>
                <a:gd name="T37" fmla="*/ 34 h 90"/>
                <a:gd name="T38" fmla="*/ 15 w 27"/>
                <a:gd name="T39" fmla="*/ 18 h 90"/>
                <a:gd name="T40" fmla="*/ 23 w 27"/>
                <a:gd name="T41" fmla="*/ 21 h 90"/>
                <a:gd name="T42" fmla="*/ 25 w 27"/>
                <a:gd name="T43" fmla="*/ 14 h 90"/>
                <a:gd name="T44" fmla="*/ 25 w 27"/>
                <a:gd name="T45" fmla="*/ 14 h 90"/>
                <a:gd name="T46" fmla="*/ 27 w 27"/>
                <a:gd name="T47" fmla="*/ 10 h 90"/>
                <a:gd name="T48" fmla="*/ 26 w 27"/>
                <a:gd name="T49" fmla="*/ 0 h 90"/>
                <a:gd name="T50" fmla="*/ 26 w 27"/>
                <a:gd name="T5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90">
                  <a:moveTo>
                    <a:pt x="26" y="0"/>
                  </a:moveTo>
                  <a:lnTo>
                    <a:pt x="21" y="0"/>
                  </a:lnTo>
                  <a:lnTo>
                    <a:pt x="19" y="5"/>
                  </a:lnTo>
                  <a:lnTo>
                    <a:pt x="13" y="5"/>
                  </a:lnTo>
                  <a:lnTo>
                    <a:pt x="12" y="5"/>
                  </a:lnTo>
                  <a:lnTo>
                    <a:pt x="10" y="12"/>
                  </a:lnTo>
                  <a:lnTo>
                    <a:pt x="8" y="29"/>
                  </a:lnTo>
                  <a:lnTo>
                    <a:pt x="3" y="40"/>
                  </a:lnTo>
                  <a:lnTo>
                    <a:pt x="5" y="42"/>
                  </a:lnTo>
                  <a:lnTo>
                    <a:pt x="0" y="49"/>
                  </a:lnTo>
                  <a:lnTo>
                    <a:pt x="0" y="49"/>
                  </a:lnTo>
                  <a:lnTo>
                    <a:pt x="15" y="84"/>
                  </a:lnTo>
                  <a:lnTo>
                    <a:pt x="17" y="90"/>
                  </a:lnTo>
                  <a:lnTo>
                    <a:pt x="23" y="52"/>
                  </a:lnTo>
                  <a:lnTo>
                    <a:pt x="22" y="43"/>
                  </a:lnTo>
                  <a:lnTo>
                    <a:pt x="13" y="46"/>
                  </a:lnTo>
                  <a:lnTo>
                    <a:pt x="14" y="40"/>
                  </a:lnTo>
                  <a:lnTo>
                    <a:pt x="17" y="37"/>
                  </a:lnTo>
                  <a:lnTo>
                    <a:pt x="13" y="34"/>
                  </a:lnTo>
                  <a:lnTo>
                    <a:pt x="15" y="18"/>
                  </a:lnTo>
                  <a:lnTo>
                    <a:pt x="23" y="21"/>
                  </a:lnTo>
                  <a:lnTo>
                    <a:pt x="25" y="14"/>
                  </a:lnTo>
                  <a:lnTo>
                    <a:pt x="25" y="14"/>
                  </a:lnTo>
                  <a:lnTo>
                    <a:pt x="27" y="10"/>
                  </a:lnTo>
                  <a:lnTo>
                    <a:pt x="26" y="0"/>
                  </a:lnTo>
                  <a:lnTo>
                    <a:pt x="26"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8" name="Italy"/>
            <p:cNvSpPr>
              <a:spLocks noEditPoints="1"/>
            </p:cNvSpPr>
            <p:nvPr/>
          </p:nvSpPr>
          <p:spPr bwMode="auto">
            <a:xfrm>
              <a:off x="6202362" y="2711451"/>
              <a:ext cx="365125" cy="388938"/>
            </a:xfrm>
            <a:custGeom>
              <a:avLst/>
              <a:gdLst>
                <a:gd name="T0" fmla="*/ 161 w 230"/>
                <a:gd name="T1" fmla="*/ 208 h 245"/>
                <a:gd name="T2" fmla="*/ 119 w 230"/>
                <a:gd name="T3" fmla="*/ 209 h 245"/>
                <a:gd name="T4" fmla="*/ 144 w 230"/>
                <a:gd name="T5" fmla="*/ 234 h 245"/>
                <a:gd name="T6" fmla="*/ 170 w 230"/>
                <a:gd name="T7" fmla="*/ 245 h 245"/>
                <a:gd name="T8" fmla="*/ 170 w 230"/>
                <a:gd name="T9" fmla="*/ 226 h 245"/>
                <a:gd name="T10" fmla="*/ 50 w 230"/>
                <a:gd name="T11" fmla="*/ 136 h 245"/>
                <a:gd name="T12" fmla="*/ 30 w 230"/>
                <a:gd name="T13" fmla="*/ 142 h 245"/>
                <a:gd name="T14" fmla="*/ 37 w 230"/>
                <a:gd name="T15" fmla="*/ 184 h 245"/>
                <a:gd name="T16" fmla="*/ 52 w 230"/>
                <a:gd name="T17" fmla="*/ 182 h 245"/>
                <a:gd name="T18" fmla="*/ 63 w 230"/>
                <a:gd name="T19" fmla="*/ 152 h 245"/>
                <a:gd name="T20" fmla="*/ 50 w 230"/>
                <a:gd name="T21" fmla="*/ 136 h 245"/>
                <a:gd name="T22" fmla="*/ 98 w 230"/>
                <a:gd name="T23" fmla="*/ 0 h 245"/>
                <a:gd name="T24" fmla="*/ 79 w 230"/>
                <a:gd name="T25" fmla="*/ 8 h 245"/>
                <a:gd name="T26" fmla="*/ 67 w 230"/>
                <a:gd name="T27" fmla="*/ 14 h 245"/>
                <a:gd name="T28" fmla="*/ 44 w 230"/>
                <a:gd name="T29" fmla="*/ 15 h 245"/>
                <a:gd name="T30" fmla="*/ 32 w 230"/>
                <a:gd name="T31" fmla="*/ 25 h 245"/>
                <a:gd name="T32" fmla="*/ 18 w 230"/>
                <a:gd name="T33" fmla="*/ 29 h 245"/>
                <a:gd name="T34" fmla="*/ 1 w 230"/>
                <a:gd name="T35" fmla="*/ 26 h 245"/>
                <a:gd name="T36" fmla="*/ 7 w 230"/>
                <a:gd name="T37" fmla="*/ 41 h 245"/>
                <a:gd name="T38" fmla="*/ 6 w 230"/>
                <a:gd name="T39" fmla="*/ 66 h 245"/>
                <a:gd name="T40" fmla="*/ 14 w 230"/>
                <a:gd name="T41" fmla="*/ 79 h 245"/>
                <a:gd name="T42" fmla="*/ 32 w 230"/>
                <a:gd name="T43" fmla="*/ 66 h 245"/>
                <a:gd name="T44" fmla="*/ 56 w 230"/>
                <a:gd name="T45" fmla="*/ 71 h 245"/>
                <a:gd name="T46" fmla="*/ 73 w 230"/>
                <a:gd name="T47" fmla="*/ 96 h 245"/>
                <a:gd name="T48" fmla="*/ 105 w 230"/>
                <a:gd name="T49" fmla="*/ 124 h 245"/>
                <a:gd name="T50" fmla="*/ 136 w 230"/>
                <a:gd name="T51" fmla="*/ 136 h 245"/>
                <a:gd name="T52" fmla="*/ 156 w 230"/>
                <a:gd name="T53" fmla="*/ 150 h 245"/>
                <a:gd name="T54" fmla="*/ 171 w 230"/>
                <a:gd name="T55" fmla="*/ 163 h 245"/>
                <a:gd name="T56" fmla="*/ 186 w 230"/>
                <a:gd name="T57" fmla="*/ 189 h 245"/>
                <a:gd name="T58" fmla="*/ 180 w 230"/>
                <a:gd name="T59" fmla="*/ 207 h 245"/>
                <a:gd name="T60" fmla="*/ 188 w 230"/>
                <a:gd name="T61" fmla="*/ 212 h 245"/>
                <a:gd name="T62" fmla="*/ 205 w 230"/>
                <a:gd name="T63" fmla="*/ 190 h 245"/>
                <a:gd name="T64" fmla="*/ 192 w 230"/>
                <a:gd name="T65" fmla="*/ 169 h 245"/>
                <a:gd name="T66" fmla="*/ 216 w 230"/>
                <a:gd name="T67" fmla="*/ 157 h 245"/>
                <a:gd name="T68" fmla="*/ 230 w 230"/>
                <a:gd name="T69" fmla="*/ 160 h 245"/>
                <a:gd name="T70" fmla="*/ 210 w 230"/>
                <a:gd name="T71" fmla="*/ 143 h 245"/>
                <a:gd name="T72" fmla="*/ 178 w 230"/>
                <a:gd name="T73" fmla="*/ 128 h 245"/>
                <a:gd name="T74" fmla="*/ 178 w 230"/>
                <a:gd name="T75" fmla="*/ 118 h 245"/>
                <a:gd name="T76" fmla="*/ 140 w 230"/>
                <a:gd name="T77" fmla="*/ 100 h 245"/>
                <a:gd name="T78" fmla="*/ 112 w 230"/>
                <a:gd name="T79" fmla="*/ 70 h 245"/>
                <a:gd name="T80" fmla="*/ 106 w 230"/>
                <a:gd name="T81" fmla="*/ 51 h 245"/>
                <a:gd name="T82" fmla="*/ 119 w 230"/>
                <a:gd name="T83" fmla="*/ 31 h 245"/>
                <a:gd name="T84" fmla="*/ 129 w 230"/>
                <a:gd name="T85" fmla="*/ 25 h 245"/>
                <a:gd name="T86" fmla="*/ 104 w 230"/>
                <a:gd name="T87"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45">
                  <a:moveTo>
                    <a:pt x="176" y="206"/>
                  </a:moveTo>
                  <a:lnTo>
                    <a:pt x="161" y="208"/>
                  </a:lnTo>
                  <a:lnTo>
                    <a:pt x="141" y="211"/>
                  </a:lnTo>
                  <a:lnTo>
                    <a:pt x="119" y="209"/>
                  </a:lnTo>
                  <a:lnTo>
                    <a:pt x="116" y="221"/>
                  </a:lnTo>
                  <a:lnTo>
                    <a:pt x="144" y="234"/>
                  </a:lnTo>
                  <a:lnTo>
                    <a:pt x="154" y="236"/>
                  </a:lnTo>
                  <a:lnTo>
                    <a:pt x="170" y="245"/>
                  </a:lnTo>
                  <a:lnTo>
                    <a:pt x="173" y="233"/>
                  </a:lnTo>
                  <a:lnTo>
                    <a:pt x="170" y="226"/>
                  </a:lnTo>
                  <a:lnTo>
                    <a:pt x="176" y="206"/>
                  </a:lnTo>
                  <a:close/>
                  <a:moveTo>
                    <a:pt x="50" y="136"/>
                  </a:moveTo>
                  <a:lnTo>
                    <a:pt x="41" y="142"/>
                  </a:lnTo>
                  <a:lnTo>
                    <a:pt x="30" y="142"/>
                  </a:lnTo>
                  <a:lnTo>
                    <a:pt x="35" y="156"/>
                  </a:lnTo>
                  <a:lnTo>
                    <a:pt x="37" y="184"/>
                  </a:lnTo>
                  <a:lnTo>
                    <a:pt x="44" y="190"/>
                  </a:lnTo>
                  <a:lnTo>
                    <a:pt x="52" y="182"/>
                  </a:lnTo>
                  <a:lnTo>
                    <a:pt x="61" y="184"/>
                  </a:lnTo>
                  <a:lnTo>
                    <a:pt x="63" y="152"/>
                  </a:lnTo>
                  <a:lnTo>
                    <a:pt x="50" y="136"/>
                  </a:lnTo>
                  <a:lnTo>
                    <a:pt x="50" y="136"/>
                  </a:lnTo>
                  <a:close/>
                  <a:moveTo>
                    <a:pt x="104" y="8"/>
                  </a:moveTo>
                  <a:lnTo>
                    <a:pt x="98" y="0"/>
                  </a:lnTo>
                  <a:lnTo>
                    <a:pt x="81" y="3"/>
                  </a:lnTo>
                  <a:lnTo>
                    <a:pt x="79" y="8"/>
                  </a:lnTo>
                  <a:lnTo>
                    <a:pt x="68" y="4"/>
                  </a:lnTo>
                  <a:lnTo>
                    <a:pt x="67" y="14"/>
                  </a:lnTo>
                  <a:lnTo>
                    <a:pt x="58" y="18"/>
                  </a:lnTo>
                  <a:lnTo>
                    <a:pt x="44" y="15"/>
                  </a:lnTo>
                  <a:lnTo>
                    <a:pt x="41" y="25"/>
                  </a:lnTo>
                  <a:lnTo>
                    <a:pt x="32" y="25"/>
                  </a:lnTo>
                  <a:lnTo>
                    <a:pt x="28" y="21"/>
                  </a:lnTo>
                  <a:lnTo>
                    <a:pt x="18" y="29"/>
                  </a:lnTo>
                  <a:lnTo>
                    <a:pt x="10" y="30"/>
                  </a:lnTo>
                  <a:lnTo>
                    <a:pt x="1" y="26"/>
                  </a:lnTo>
                  <a:lnTo>
                    <a:pt x="0" y="32"/>
                  </a:lnTo>
                  <a:lnTo>
                    <a:pt x="7" y="41"/>
                  </a:lnTo>
                  <a:lnTo>
                    <a:pt x="0" y="47"/>
                  </a:lnTo>
                  <a:lnTo>
                    <a:pt x="6" y="66"/>
                  </a:lnTo>
                  <a:lnTo>
                    <a:pt x="16" y="69"/>
                  </a:lnTo>
                  <a:lnTo>
                    <a:pt x="14" y="79"/>
                  </a:lnTo>
                  <a:lnTo>
                    <a:pt x="22" y="77"/>
                  </a:lnTo>
                  <a:lnTo>
                    <a:pt x="32" y="66"/>
                  </a:lnTo>
                  <a:lnTo>
                    <a:pt x="41" y="63"/>
                  </a:lnTo>
                  <a:lnTo>
                    <a:pt x="56" y="71"/>
                  </a:lnTo>
                  <a:lnTo>
                    <a:pt x="67" y="73"/>
                  </a:lnTo>
                  <a:lnTo>
                    <a:pt x="73" y="96"/>
                  </a:lnTo>
                  <a:lnTo>
                    <a:pt x="87" y="109"/>
                  </a:lnTo>
                  <a:lnTo>
                    <a:pt x="105" y="124"/>
                  </a:lnTo>
                  <a:lnTo>
                    <a:pt x="121" y="135"/>
                  </a:lnTo>
                  <a:lnTo>
                    <a:pt x="136" y="136"/>
                  </a:lnTo>
                  <a:lnTo>
                    <a:pt x="144" y="145"/>
                  </a:lnTo>
                  <a:lnTo>
                    <a:pt x="156" y="150"/>
                  </a:lnTo>
                  <a:lnTo>
                    <a:pt x="163" y="160"/>
                  </a:lnTo>
                  <a:lnTo>
                    <a:pt x="171" y="163"/>
                  </a:lnTo>
                  <a:lnTo>
                    <a:pt x="178" y="175"/>
                  </a:lnTo>
                  <a:lnTo>
                    <a:pt x="186" y="189"/>
                  </a:lnTo>
                  <a:lnTo>
                    <a:pt x="182" y="194"/>
                  </a:lnTo>
                  <a:lnTo>
                    <a:pt x="180" y="207"/>
                  </a:lnTo>
                  <a:lnTo>
                    <a:pt x="180" y="214"/>
                  </a:lnTo>
                  <a:lnTo>
                    <a:pt x="188" y="212"/>
                  </a:lnTo>
                  <a:lnTo>
                    <a:pt x="197" y="191"/>
                  </a:lnTo>
                  <a:lnTo>
                    <a:pt x="205" y="190"/>
                  </a:lnTo>
                  <a:lnTo>
                    <a:pt x="207" y="178"/>
                  </a:lnTo>
                  <a:lnTo>
                    <a:pt x="192" y="169"/>
                  </a:lnTo>
                  <a:lnTo>
                    <a:pt x="199" y="154"/>
                  </a:lnTo>
                  <a:lnTo>
                    <a:pt x="216" y="157"/>
                  </a:lnTo>
                  <a:lnTo>
                    <a:pt x="227" y="169"/>
                  </a:lnTo>
                  <a:lnTo>
                    <a:pt x="230" y="160"/>
                  </a:lnTo>
                  <a:lnTo>
                    <a:pt x="228" y="156"/>
                  </a:lnTo>
                  <a:lnTo>
                    <a:pt x="210" y="143"/>
                  </a:lnTo>
                  <a:lnTo>
                    <a:pt x="196" y="137"/>
                  </a:lnTo>
                  <a:lnTo>
                    <a:pt x="178" y="128"/>
                  </a:lnTo>
                  <a:lnTo>
                    <a:pt x="183" y="124"/>
                  </a:lnTo>
                  <a:lnTo>
                    <a:pt x="178" y="118"/>
                  </a:lnTo>
                  <a:lnTo>
                    <a:pt x="163" y="118"/>
                  </a:lnTo>
                  <a:lnTo>
                    <a:pt x="140" y="100"/>
                  </a:lnTo>
                  <a:lnTo>
                    <a:pt x="130" y="81"/>
                  </a:lnTo>
                  <a:lnTo>
                    <a:pt x="112" y="70"/>
                  </a:lnTo>
                  <a:lnTo>
                    <a:pt x="104" y="58"/>
                  </a:lnTo>
                  <a:lnTo>
                    <a:pt x="106" y="51"/>
                  </a:lnTo>
                  <a:lnTo>
                    <a:pt x="105" y="40"/>
                  </a:lnTo>
                  <a:lnTo>
                    <a:pt x="119" y="31"/>
                  </a:lnTo>
                  <a:lnTo>
                    <a:pt x="135" y="35"/>
                  </a:lnTo>
                  <a:lnTo>
                    <a:pt x="129" y="25"/>
                  </a:lnTo>
                  <a:lnTo>
                    <a:pt x="130" y="14"/>
                  </a:lnTo>
                  <a:lnTo>
                    <a:pt x="104" y="8"/>
                  </a:lnTo>
                  <a:lnTo>
                    <a:pt x="104" y="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9" name="Jamaica"/>
            <p:cNvSpPr>
              <a:spLocks/>
            </p:cNvSpPr>
            <p:nvPr/>
          </p:nvSpPr>
          <p:spPr bwMode="auto">
            <a:xfrm>
              <a:off x="3430587" y="3784601"/>
              <a:ext cx="66675" cy="30163"/>
            </a:xfrm>
            <a:custGeom>
              <a:avLst/>
              <a:gdLst>
                <a:gd name="T0" fmla="*/ 28 w 42"/>
                <a:gd name="T1" fmla="*/ 15 h 19"/>
                <a:gd name="T2" fmla="*/ 42 w 42"/>
                <a:gd name="T3" fmla="*/ 15 h 19"/>
                <a:gd name="T4" fmla="*/ 40 w 42"/>
                <a:gd name="T5" fmla="*/ 8 h 19"/>
                <a:gd name="T6" fmla="*/ 29 w 42"/>
                <a:gd name="T7" fmla="*/ 2 h 19"/>
                <a:gd name="T8" fmla="*/ 16 w 42"/>
                <a:gd name="T9" fmla="*/ 1 h 19"/>
                <a:gd name="T10" fmla="*/ 12 w 42"/>
                <a:gd name="T11" fmla="*/ 0 h 19"/>
                <a:gd name="T12" fmla="*/ 2 w 42"/>
                <a:gd name="T13" fmla="*/ 1 h 19"/>
                <a:gd name="T14" fmla="*/ 0 w 42"/>
                <a:gd name="T15" fmla="*/ 7 h 19"/>
                <a:gd name="T16" fmla="*/ 11 w 42"/>
                <a:gd name="T17" fmla="*/ 15 h 19"/>
                <a:gd name="T18" fmla="*/ 22 w 42"/>
                <a:gd name="T19" fmla="*/ 19 h 19"/>
                <a:gd name="T20" fmla="*/ 28 w 42"/>
                <a:gd name="T21" fmla="*/ 15 h 19"/>
                <a:gd name="T22" fmla="*/ 28 w 42"/>
                <a:gd name="T2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9">
                  <a:moveTo>
                    <a:pt x="28" y="15"/>
                  </a:moveTo>
                  <a:lnTo>
                    <a:pt x="42" y="15"/>
                  </a:lnTo>
                  <a:lnTo>
                    <a:pt x="40" y="8"/>
                  </a:lnTo>
                  <a:lnTo>
                    <a:pt x="29" y="2"/>
                  </a:lnTo>
                  <a:lnTo>
                    <a:pt x="16" y="1"/>
                  </a:lnTo>
                  <a:lnTo>
                    <a:pt x="12" y="0"/>
                  </a:lnTo>
                  <a:lnTo>
                    <a:pt x="2" y="1"/>
                  </a:lnTo>
                  <a:lnTo>
                    <a:pt x="0" y="7"/>
                  </a:lnTo>
                  <a:lnTo>
                    <a:pt x="11" y="15"/>
                  </a:lnTo>
                  <a:lnTo>
                    <a:pt x="22" y="19"/>
                  </a:lnTo>
                  <a:lnTo>
                    <a:pt x="28" y="15"/>
                  </a:lnTo>
                  <a:lnTo>
                    <a:pt x="28" y="1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0" name="Jordan"/>
            <p:cNvSpPr>
              <a:spLocks/>
            </p:cNvSpPr>
            <p:nvPr/>
          </p:nvSpPr>
          <p:spPr bwMode="auto">
            <a:xfrm>
              <a:off x="7119937" y="3225801"/>
              <a:ext cx="125412" cy="157163"/>
            </a:xfrm>
            <a:custGeom>
              <a:avLst/>
              <a:gdLst>
                <a:gd name="T0" fmla="*/ 79 w 79"/>
                <a:gd name="T1" fmla="*/ 28 h 99"/>
                <a:gd name="T2" fmla="*/ 68 w 79"/>
                <a:gd name="T3" fmla="*/ 0 h 99"/>
                <a:gd name="T4" fmla="*/ 32 w 79"/>
                <a:gd name="T5" fmla="*/ 24 h 99"/>
                <a:gd name="T6" fmla="*/ 8 w 79"/>
                <a:gd name="T7" fmla="*/ 15 h 99"/>
                <a:gd name="T8" fmla="*/ 6 w 79"/>
                <a:gd name="T9" fmla="*/ 22 h 99"/>
                <a:gd name="T10" fmla="*/ 7 w 79"/>
                <a:gd name="T11" fmla="*/ 37 h 99"/>
                <a:gd name="T12" fmla="*/ 5 w 79"/>
                <a:gd name="T13" fmla="*/ 44 h 99"/>
                <a:gd name="T14" fmla="*/ 6 w 79"/>
                <a:gd name="T15" fmla="*/ 53 h 99"/>
                <a:gd name="T16" fmla="*/ 0 w 79"/>
                <a:gd name="T17" fmla="*/ 91 h 99"/>
                <a:gd name="T18" fmla="*/ 1 w 79"/>
                <a:gd name="T19" fmla="*/ 95 h 99"/>
                <a:gd name="T20" fmla="*/ 24 w 79"/>
                <a:gd name="T21" fmla="*/ 99 h 99"/>
                <a:gd name="T22" fmla="*/ 32 w 79"/>
                <a:gd name="T23" fmla="*/ 91 h 99"/>
                <a:gd name="T24" fmla="*/ 36 w 79"/>
                <a:gd name="T25" fmla="*/ 82 h 99"/>
                <a:gd name="T26" fmla="*/ 51 w 79"/>
                <a:gd name="T27" fmla="*/ 79 h 99"/>
                <a:gd name="T28" fmla="*/ 54 w 79"/>
                <a:gd name="T29" fmla="*/ 71 h 99"/>
                <a:gd name="T30" fmla="*/ 60 w 79"/>
                <a:gd name="T31" fmla="*/ 67 h 99"/>
                <a:gd name="T32" fmla="*/ 37 w 79"/>
                <a:gd name="T33" fmla="*/ 43 h 99"/>
                <a:gd name="T34" fmla="*/ 76 w 79"/>
                <a:gd name="T35" fmla="*/ 31 h 99"/>
                <a:gd name="T36" fmla="*/ 79 w 79"/>
                <a:gd name="T37" fmla="*/ 28 h 99"/>
                <a:gd name="T38" fmla="*/ 79 w 79"/>
                <a:gd name="T3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99">
                  <a:moveTo>
                    <a:pt x="79" y="28"/>
                  </a:moveTo>
                  <a:lnTo>
                    <a:pt x="68" y="0"/>
                  </a:lnTo>
                  <a:lnTo>
                    <a:pt x="32" y="24"/>
                  </a:lnTo>
                  <a:lnTo>
                    <a:pt x="8" y="15"/>
                  </a:lnTo>
                  <a:lnTo>
                    <a:pt x="6" y="22"/>
                  </a:lnTo>
                  <a:lnTo>
                    <a:pt x="7" y="37"/>
                  </a:lnTo>
                  <a:lnTo>
                    <a:pt x="5" y="44"/>
                  </a:lnTo>
                  <a:lnTo>
                    <a:pt x="6" y="53"/>
                  </a:lnTo>
                  <a:lnTo>
                    <a:pt x="0" y="91"/>
                  </a:lnTo>
                  <a:lnTo>
                    <a:pt x="1" y="95"/>
                  </a:lnTo>
                  <a:lnTo>
                    <a:pt x="24" y="99"/>
                  </a:lnTo>
                  <a:lnTo>
                    <a:pt x="32" y="91"/>
                  </a:lnTo>
                  <a:lnTo>
                    <a:pt x="36" y="82"/>
                  </a:lnTo>
                  <a:lnTo>
                    <a:pt x="51" y="79"/>
                  </a:lnTo>
                  <a:lnTo>
                    <a:pt x="54" y="71"/>
                  </a:lnTo>
                  <a:lnTo>
                    <a:pt x="60" y="67"/>
                  </a:lnTo>
                  <a:lnTo>
                    <a:pt x="37" y="43"/>
                  </a:lnTo>
                  <a:lnTo>
                    <a:pt x="76" y="31"/>
                  </a:lnTo>
                  <a:lnTo>
                    <a:pt x="79" y="28"/>
                  </a:lnTo>
                  <a:lnTo>
                    <a:pt x="79" y="2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1" name="Japan"/>
            <p:cNvSpPr>
              <a:spLocks noEditPoints="1"/>
            </p:cNvSpPr>
            <p:nvPr/>
          </p:nvSpPr>
          <p:spPr bwMode="auto">
            <a:xfrm>
              <a:off x="10093325" y="2768601"/>
              <a:ext cx="314325" cy="544513"/>
            </a:xfrm>
            <a:custGeom>
              <a:avLst/>
              <a:gdLst>
                <a:gd name="T0" fmla="*/ 79 w 198"/>
                <a:gd name="T1" fmla="*/ 263 h 343"/>
                <a:gd name="T2" fmla="*/ 62 w 198"/>
                <a:gd name="T3" fmla="*/ 271 h 343"/>
                <a:gd name="T4" fmla="*/ 62 w 198"/>
                <a:gd name="T5" fmla="*/ 296 h 343"/>
                <a:gd name="T6" fmla="*/ 77 w 198"/>
                <a:gd name="T7" fmla="*/ 289 h 343"/>
                <a:gd name="T8" fmla="*/ 96 w 198"/>
                <a:gd name="T9" fmla="*/ 291 h 343"/>
                <a:gd name="T10" fmla="*/ 96 w 198"/>
                <a:gd name="T11" fmla="*/ 269 h 343"/>
                <a:gd name="T12" fmla="*/ 187 w 198"/>
                <a:gd name="T13" fmla="*/ 196 h 343"/>
                <a:gd name="T14" fmla="*/ 178 w 198"/>
                <a:gd name="T15" fmla="*/ 148 h 343"/>
                <a:gd name="T16" fmla="*/ 138 w 198"/>
                <a:gd name="T17" fmla="*/ 95 h 343"/>
                <a:gd name="T18" fmla="*/ 120 w 198"/>
                <a:gd name="T19" fmla="*/ 115 h 343"/>
                <a:gd name="T20" fmla="*/ 143 w 198"/>
                <a:gd name="T21" fmla="*/ 171 h 343"/>
                <a:gd name="T22" fmla="*/ 120 w 198"/>
                <a:gd name="T23" fmla="*/ 205 h 343"/>
                <a:gd name="T24" fmla="*/ 101 w 198"/>
                <a:gd name="T25" fmla="*/ 235 h 343"/>
                <a:gd name="T26" fmla="*/ 41 w 198"/>
                <a:gd name="T27" fmla="*/ 238 h 343"/>
                <a:gd name="T28" fmla="*/ 20 w 198"/>
                <a:gd name="T29" fmla="*/ 267 h 343"/>
                <a:gd name="T30" fmla="*/ 0 w 198"/>
                <a:gd name="T31" fmla="*/ 289 h 343"/>
                <a:gd name="T32" fmla="*/ 30 w 198"/>
                <a:gd name="T33" fmla="*/ 312 h 343"/>
                <a:gd name="T34" fmla="*/ 47 w 198"/>
                <a:gd name="T35" fmla="*/ 343 h 343"/>
                <a:gd name="T36" fmla="*/ 53 w 198"/>
                <a:gd name="T37" fmla="*/ 292 h 343"/>
                <a:gd name="T38" fmla="*/ 49 w 198"/>
                <a:gd name="T39" fmla="*/ 275 h 343"/>
                <a:gd name="T40" fmla="*/ 99 w 198"/>
                <a:gd name="T41" fmla="*/ 258 h 343"/>
                <a:gd name="T42" fmla="*/ 125 w 198"/>
                <a:gd name="T43" fmla="*/ 285 h 343"/>
                <a:gd name="T44" fmla="*/ 176 w 198"/>
                <a:gd name="T45" fmla="*/ 256 h 343"/>
                <a:gd name="T46" fmla="*/ 198 w 198"/>
                <a:gd name="T47" fmla="*/ 228 h 343"/>
                <a:gd name="T48" fmla="*/ 187 w 198"/>
                <a:gd name="T49" fmla="*/ 196 h 343"/>
                <a:gd name="T50" fmla="*/ 142 w 198"/>
                <a:gd name="T51" fmla="*/ 32 h 343"/>
                <a:gd name="T52" fmla="*/ 84 w 198"/>
                <a:gd name="T53" fmla="*/ 0 h 343"/>
                <a:gd name="T54" fmla="*/ 107 w 198"/>
                <a:gd name="T55" fmla="*/ 50 h 343"/>
                <a:gd name="T56" fmla="*/ 90 w 198"/>
                <a:gd name="T57" fmla="*/ 68 h 343"/>
                <a:gd name="T58" fmla="*/ 128 w 198"/>
                <a:gd name="T59" fmla="*/ 92 h 343"/>
                <a:gd name="T60" fmla="*/ 163 w 198"/>
                <a:gd name="T61" fmla="*/ 81 h 343"/>
                <a:gd name="T62" fmla="*/ 188 w 198"/>
                <a:gd name="T63" fmla="*/ 52 h 343"/>
                <a:gd name="T64" fmla="*/ 159 w 198"/>
                <a:gd name="T65" fmla="*/ 36 h 343"/>
                <a:gd name="T66" fmla="*/ 142 w 198"/>
                <a:gd name="T67" fmla="*/ 3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343">
                  <a:moveTo>
                    <a:pt x="96" y="269"/>
                  </a:moveTo>
                  <a:lnTo>
                    <a:pt x="79" y="263"/>
                  </a:lnTo>
                  <a:lnTo>
                    <a:pt x="75" y="274"/>
                  </a:lnTo>
                  <a:lnTo>
                    <a:pt x="62" y="271"/>
                  </a:lnTo>
                  <a:lnTo>
                    <a:pt x="57" y="285"/>
                  </a:lnTo>
                  <a:lnTo>
                    <a:pt x="62" y="296"/>
                  </a:lnTo>
                  <a:lnTo>
                    <a:pt x="78" y="303"/>
                  </a:lnTo>
                  <a:lnTo>
                    <a:pt x="77" y="289"/>
                  </a:lnTo>
                  <a:lnTo>
                    <a:pt x="85" y="284"/>
                  </a:lnTo>
                  <a:lnTo>
                    <a:pt x="96" y="291"/>
                  </a:lnTo>
                  <a:lnTo>
                    <a:pt x="101" y="276"/>
                  </a:lnTo>
                  <a:lnTo>
                    <a:pt x="96" y="269"/>
                  </a:lnTo>
                  <a:lnTo>
                    <a:pt x="96" y="269"/>
                  </a:lnTo>
                  <a:close/>
                  <a:moveTo>
                    <a:pt x="187" y="196"/>
                  </a:moveTo>
                  <a:lnTo>
                    <a:pt x="173" y="172"/>
                  </a:lnTo>
                  <a:lnTo>
                    <a:pt x="178" y="148"/>
                  </a:lnTo>
                  <a:lnTo>
                    <a:pt x="167" y="128"/>
                  </a:lnTo>
                  <a:lnTo>
                    <a:pt x="138" y="95"/>
                  </a:lnTo>
                  <a:lnTo>
                    <a:pt x="120" y="100"/>
                  </a:lnTo>
                  <a:lnTo>
                    <a:pt x="120" y="115"/>
                  </a:lnTo>
                  <a:lnTo>
                    <a:pt x="139" y="141"/>
                  </a:lnTo>
                  <a:lnTo>
                    <a:pt x="143" y="171"/>
                  </a:lnTo>
                  <a:lnTo>
                    <a:pt x="137" y="180"/>
                  </a:lnTo>
                  <a:lnTo>
                    <a:pt x="120" y="205"/>
                  </a:lnTo>
                  <a:lnTo>
                    <a:pt x="101" y="192"/>
                  </a:lnTo>
                  <a:lnTo>
                    <a:pt x="101" y="235"/>
                  </a:lnTo>
                  <a:lnTo>
                    <a:pt x="78" y="231"/>
                  </a:lnTo>
                  <a:lnTo>
                    <a:pt x="41" y="238"/>
                  </a:lnTo>
                  <a:lnTo>
                    <a:pt x="35" y="254"/>
                  </a:lnTo>
                  <a:lnTo>
                    <a:pt x="20" y="267"/>
                  </a:lnTo>
                  <a:lnTo>
                    <a:pt x="16" y="282"/>
                  </a:lnTo>
                  <a:lnTo>
                    <a:pt x="0" y="289"/>
                  </a:lnTo>
                  <a:lnTo>
                    <a:pt x="15" y="305"/>
                  </a:lnTo>
                  <a:lnTo>
                    <a:pt x="30" y="312"/>
                  </a:lnTo>
                  <a:lnTo>
                    <a:pt x="34" y="333"/>
                  </a:lnTo>
                  <a:lnTo>
                    <a:pt x="47" y="343"/>
                  </a:lnTo>
                  <a:lnTo>
                    <a:pt x="56" y="332"/>
                  </a:lnTo>
                  <a:lnTo>
                    <a:pt x="53" y="292"/>
                  </a:lnTo>
                  <a:lnTo>
                    <a:pt x="25" y="275"/>
                  </a:lnTo>
                  <a:lnTo>
                    <a:pt x="49" y="275"/>
                  </a:lnTo>
                  <a:lnTo>
                    <a:pt x="67" y="263"/>
                  </a:lnTo>
                  <a:lnTo>
                    <a:pt x="99" y="258"/>
                  </a:lnTo>
                  <a:lnTo>
                    <a:pt x="109" y="276"/>
                  </a:lnTo>
                  <a:lnTo>
                    <a:pt x="125" y="285"/>
                  </a:lnTo>
                  <a:lnTo>
                    <a:pt x="142" y="258"/>
                  </a:lnTo>
                  <a:lnTo>
                    <a:pt x="176" y="256"/>
                  </a:lnTo>
                  <a:lnTo>
                    <a:pt x="196" y="245"/>
                  </a:lnTo>
                  <a:lnTo>
                    <a:pt x="198" y="228"/>
                  </a:lnTo>
                  <a:lnTo>
                    <a:pt x="189" y="216"/>
                  </a:lnTo>
                  <a:lnTo>
                    <a:pt x="187" y="196"/>
                  </a:lnTo>
                  <a:lnTo>
                    <a:pt x="187" y="196"/>
                  </a:lnTo>
                  <a:close/>
                  <a:moveTo>
                    <a:pt x="142" y="32"/>
                  </a:moveTo>
                  <a:lnTo>
                    <a:pt x="123" y="23"/>
                  </a:lnTo>
                  <a:lnTo>
                    <a:pt x="84" y="0"/>
                  </a:lnTo>
                  <a:lnTo>
                    <a:pt x="91" y="18"/>
                  </a:lnTo>
                  <a:lnTo>
                    <a:pt x="107" y="50"/>
                  </a:lnTo>
                  <a:lnTo>
                    <a:pt x="88" y="50"/>
                  </a:lnTo>
                  <a:lnTo>
                    <a:pt x="90" y="68"/>
                  </a:lnTo>
                  <a:lnTo>
                    <a:pt x="107" y="92"/>
                  </a:lnTo>
                  <a:lnTo>
                    <a:pt x="128" y="92"/>
                  </a:lnTo>
                  <a:lnTo>
                    <a:pt x="123" y="65"/>
                  </a:lnTo>
                  <a:lnTo>
                    <a:pt x="163" y="81"/>
                  </a:lnTo>
                  <a:lnTo>
                    <a:pt x="165" y="59"/>
                  </a:lnTo>
                  <a:lnTo>
                    <a:pt x="188" y="52"/>
                  </a:lnTo>
                  <a:lnTo>
                    <a:pt x="166" y="26"/>
                  </a:lnTo>
                  <a:lnTo>
                    <a:pt x="159" y="36"/>
                  </a:lnTo>
                  <a:lnTo>
                    <a:pt x="142" y="32"/>
                  </a:lnTo>
                  <a:lnTo>
                    <a:pt x="142" y="3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2" name="Kazakhstan"/>
            <p:cNvSpPr>
              <a:spLocks/>
            </p:cNvSpPr>
            <p:nvPr/>
          </p:nvSpPr>
          <p:spPr bwMode="auto">
            <a:xfrm>
              <a:off x="7359650" y="2409826"/>
              <a:ext cx="1181100" cy="536575"/>
            </a:xfrm>
            <a:custGeom>
              <a:avLst/>
              <a:gdLst>
                <a:gd name="T0" fmla="*/ 351 w 744"/>
                <a:gd name="T1" fmla="*/ 0 h 338"/>
                <a:gd name="T2" fmla="*/ 299 w 744"/>
                <a:gd name="T3" fmla="*/ 18 h 338"/>
                <a:gd name="T4" fmla="*/ 230 w 744"/>
                <a:gd name="T5" fmla="*/ 31 h 338"/>
                <a:gd name="T6" fmla="*/ 243 w 744"/>
                <a:gd name="T7" fmla="*/ 54 h 338"/>
                <a:gd name="T8" fmla="*/ 234 w 744"/>
                <a:gd name="T9" fmla="*/ 66 h 338"/>
                <a:gd name="T10" fmla="*/ 256 w 744"/>
                <a:gd name="T11" fmla="*/ 93 h 338"/>
                <a:gd name="T12" fmla="*/ 229 w 744"/>
                <a:gd name="T13" fmla="*/ 103 h 338"/>
                <a:gd name="T14" fmla="*/ 199 w 744"/>
                <a:gd name="T15" fmla="*/ 98 h 338"/>
                <a:gd name="T16" fmla="*/ 155 w 744"/>
                <a:gd name="T17" fmla="*/ 108 h 338"/>
                <a:gd name="T18" fmla="*/ 86 w 744"/>
                <a:gd name="T19" fmla="*/ 83 h 338"/>
                <a:gd name="T20" fmla="*/ 28 w 744"/>
                <a:gd name="T21" fmla="*/ 108 h 338"/>
                <a:gd name="T22" fmla="*/ 8 w 744"/>
                <a:gd name="T23" fmla="*/ 112 h 338"/>
                <a:gd name="T24" fmla="*/ 6 w 744"/>
                <a:gd name="T25" fmla="*/ 142 h 338"/>
                <a:gd name="T26" fmla="*/ 19 w 744"/>
                <a:gd name="T27" fmla="*/ 176 h 338"/>
                <a:gd name="T28" fmla="*/ 49 w 744"/>
                <a:gd name="T29" fmla="*/ 191 h 338"/>
                <a:gd name="T30" fmla="*/ 60 w 744"/>
                <a:gd name="T31" fmla="*/ 205 h 338"/>
                <a:gd name="T32" fmla="*/ 95 w 744"/>
                <a:gd name="T33" fmla="*/ 191 h 338"/>
                <a:gd name="T34" fmla="*/ 131 w 744"/>
                <a:gd name="T35" fmla="*/ 195 h 338"/>
                <a:gd name="T36" fmla="*/ 141 w 744"/>
                <a:gd name="T37" fmla="*/ 233 h 338"/>
                <a:gd name="T38" fmla="*/ 108 w 744"/>
                <a:gd name="T39" fmla="*/ 233 h 338"/>
                <a:gd name="T40" fmla="*/ 93 w 744"/>
                <a:gd name="T41" fmla="*/ 248 h 338"/>
                <a:gd name="T42" fmla="*/ 107 w 744"/>
                <a:gd name="T43" fmla="*/ 261 h 338"/>
                <a:gd name="T44" fmla="*/ 144 w 744"/>
                <a:gd name="T45" fmla="*/ 290 h 338"/>
                <a:gd name="T46" fmla="*/ 148 w 744"/>
                <a:gd name="T47" fmla="*/ 306 h 338"/>
                <a:gd name="T48" fmla="*/ 157 w 744"/>
                <a:gd name="T49" fmla="*/ 304 h 338"/>
                <a:gd name="T50" fmla="*/ 192 w 744"/>
                <a:gd name="T51" fmla="*/ 306 h 338"/>
                <a:gd name="T52" fmla="*/ 219 w 744"/>
                <a:gd name="T53" fmla="*/ 323 h 338"/>
                <a:gd name="T54" fmla="*/ 241 w 744"/>
                <a:gd name="T55" fmla="*/ 225 h 338"/>
                <a:gd name="T56" fmla="*/ 279 w 744"/>
                <a:gd name="T57" fmla="*/ 244 h 338"/>
                <a:gd name="T58" fmla="*/ 321 w 744"/>
                <a:gd name="T59" fmla="*/ 273 h 338"/>
                <a:gd name="T60" fmla="*/ 374 w 744"/>
                <a:gd name="T61" fmla="*/ 267 h 338"/>
                <a:gd name="T62" fmla="*/ 408 w 744"/>
                <a:gd name="T63" fmla="*/ 307 h 338"/>
                <a:gd name="T64" fmla="*/ 427 w 744"/>
                <a:gd name="T65" fmla="*/ 327 h 338"/>
                <a:gd name="T66" fmla="*/ 460 w 744"/>
                <a:gd name="T67" fmla="*/ 338 h 338"/>
                <a:gd name="T68" fmla="*/ 471 w 744"/>
                <a:gd name="T69" fmla="*/ 321 h 338"/>
                <a:gd name="T70" fmla="*/ 500 w 744"/>
                <a:gd name="T71" fmla="*/ 301 h 338"/>
                <a:gd name="T72" fmla="*/ 513 w 744"/>
                <a:gd name="T73" fmla="*/ 288 h 338"/>
                <a:gd name="T74" fmla="*/ 545 w 744"/>
                <a:gd name="T75" fmla="*/ 282 h 338"/>
                <a:gd name="T76" fmla="*/ 585 w 744"/>
                <a:gd name="T77" fmla="*/ 288 h 338"/>
                <a:gd name="T78" fmla="*/ 622 w 744"/>
                <a:gd name="T79" fmla="*/ 286 h 338"/>
                <a:gd name="T80" fmla="*/ 664 w 744"/>
                <a:gd name="T81" fmla="*/ 296 h 338"/>
                <a:gd name="T82" fmla="*/ 671 w 744"/>
                <a:gd name="T83" fmla="*/ 286 h 338"/>
                <a:gd name="T84" fmla="*/ 649 w 744"/>
                <a:gd name="T85" fmla="*/ 240 h 338"/>
                <a:gd name="T86" fmla="*/ 691 w 744"/>
                <a:gd name="T87" fmla="*/ 226 h 338"/>
                <a:gd name="T88" fmla="*/ 727 w 744"/>
                <a:gd name="T89" fmla="*/ 192 h 338"/>
                <a:gd name="T90" fmla="*/ 723 w 744"/>
                <a:gd name="T91" fmla="*/ 159 h 338"/>
                <a:gd name="T92" fmla="*/ 744 w 744"/>
                <a:gd name="T93" fmla="*/ 140 h 338"/>
                <a:gd name="T94" fmla="*/ 706 w 744"/>
                <a:gd name="T95" fmla="*/ 130 h 338"/>
                <a:gd name="T96" fmla="*/ 678 w 744"/>
                <a:gd name="T97" fmla="*/ 116 h 338"/>
                <a:gd name="T98" fmla="*/ 651 w 744"/>
                <a:gd name="T99" fmla="*/ 98 h 338"/>
                <a:gd name="T100" fmla="*/ 597 w 744"/>
                <a:gd name="T101" fmla="*/ 91 h 338"/>
                <a:gd name="T102" fmla="*/ 525 w 744"/>
                <a:gd name="T103" fmla="*/ 45 h 338"/>
                <a:gd name="T104" fmla="*/ 497 w 744"/>
                <a:gd name="T105" fmla="*/ 21 h 338"/>
                <a:gd name="T106" fmla="*/ 447 w 744"/>
                <a:gd name="T107" fmla="*/ 43 h 338"/>
                <a:gd name="T108" fmla="*/ 417 w 744"/>
                <a:gd name="T109" fmla="*/ 22 h 338"/>
                <a:gd name="T110" fmla="*/ 384 w 744"/>
                <a:gd name="T111" fmla="*/ 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338">
                  <a:moveTo>
                    <a:pt x="384" y="5"/>
                  </a:moveTo>
                  <a:lnTo>
                    <a:pt x="351" y="0"/>
                  </a:lnTo>
                  <a:lnTo>
                    <a:pt x="340" y="9"/>
                  </a:lnTo>
                  <a:lnTo>
                    <a:pt x="299" y="18"/>
                  </a:lnTo>
                  <a:lnTo>
                    <a:pt x="293" y="23"/>
                  </a:lnTo>
                  <a:lnTo>
                    <a:pt x="230" y="31"/>
                  </a:lnTo>
                  <a:lnTo>
                    <a:pt x="225" y="39"/>
                  </a:lnTo>
                  <a:lnTo>
                    <a:pt x="243" y="54"/>
                  </a:lnTo>
                  <a:lnTo>
                    <a:pt x="228" y="60"/>
                  </a:lnTo>
                  <a:lnTo>
                    <a:pt x="234" y="66"/>
                  </a:lnTo>
                  <a:lnTo>
                    <a:pt x="221" y="78"/>
                  </a:lnTo>
                  <a:lnTo>
                    <a:pt x="256" y="93"/>
                  </a:lnTo>
                  <a:lnTo>
                    <a:pt x="255" y="105"/>
                  </a:lnTo>
                  <a:lnTo>
                    <a:pt x="229" y="103"/>
                  </a:lnTo>
                  <a:lnTo>
                    <a:pt x="227" y="110"/>
                  </a:lnTo>
                  <a:lnTo>
                    <a:pt x="199" y="98"/>
                  </a:lnTo>
                  <a:lnTo>
                    <a:pt x="171" y="99"/>
                  </a:lnTo>
                  <a:lnTo>
                    <a:pt x="155" y="108"/>
                  </a:lnTo>
                  <a:lnTo>
                    <a:pt x="130" y="99"/>
                  </a:lnTo>
                  <a:lnTo>
                    <a:pt x="86" y="83"/>
                  </a:lnTo>
                  <a:lnTo>
                    <a:pt x="58" y="84"/>
                  </a:lnTo>
                  <a:lnTo>
                    <a:pt x="28" y="108"/>
                  </a:lnTo>
                  <a:lnTo>
                    <a:pt x="30" y="125"/>
                  </a:lnTo>
                  <a:lnTo>
                    <a:pt x="8" y="112"/>
                  </a:lnTo>
                  <a:lnTo>
                    <a:pt x="0" y="137"/>
                  </a:lnTo>
                  <a:lnTo>
                    <a:pt x="6" y="142"/>
                  </a:lnTo>
                  <a:lnTo>
                    <a:pt x="0" y="160"/>
                  </a:lnTo>
                  <a:lnTo>
                    <a:pt x="19" y="176"/>
                  </a:lnTo>
                  <a:lnTo>
                    <a:pt x="33" y="175"/>
                  </a:lnTo>
                  <a:lnTo>
                    <a:pt x="49" y="191"/>
                  </a:lnTo>
                  <a:lnTo>
                    <a:pt x="49" y="202"/>
                  </a:lnTo>
                  <a:lnTo>
                    <a:pt x="60" y="205"/>
                  </a:lnTo>
                  <a:lnTo>
                    <a:pt x="76" y="201"/>
                  </a:lnTo>
                  <a:lnTo>
                    <a:pt x="95" y="191"/>
                  </a:lnTo>
                  <a:lnTo>
                    <a:pt x="113" y="196"/>
                  </a:lnTo>
                  <a:lnTo>
                    <a:pt x="131" y="195"/>
                  </a:lnTo>
                  <a:lnTo>
                    <a:pt x="138" y="210"/>
                  </a:lnTo>
                  <a:lnTo>
                    <a:pt x="141" y="233"/>
                  </a:lnTo>
                  <a:lnTo>
                    <a:pt x="123" y="229"/>
                  </a:lnTo>
                  <a:lnTo>
                    <a:pt x="108" y="233"/>
                  </a:lnTo>
                  <a:lnTo>
                    <a:pt x="112" y="249"/>
                  </a:lnTo>
                  <a:lnTo>
                    <a:pt x="93" y="248"/>
                  </a:lnTo>
                  <a:lnTo>
                    <a:pt x="95" y="255"/>
                  </a:lnTo>
                  <a:lnTo>
                    <a:pt x="107" y="261"/>
                  </a:lnTo>
                  <a:lnTo>
                    <a:pt x="121" y="281"/>
                  </a:lnTo>
                  <a:lnTo>
                    <a:pt x="144" y="290"/>
                  </a:lnTo>
                  <a:lnTo>
                    <a:pt x="150" y="297"/>
                  </a:lnTo>
                  <a:lnTo>
                    <a:pt x="148" y="306"/>
                  </a:lnTo>
                  <a:lnTo>
                    <a:pt x="150" y="312"/>
                  </a:lnTo>
                  <a:lnTo>
                    <a:pt x="157" y="304"/>
                  </a:lnTo>
                  <a:lnTo>
                    <a:pt x="178" y="300"/>
                  </a:lnTo>
                  <a:lnTo>
                    <a:pt x="192" y="306"/>
                  </a:lnTo>
                  <a:lnTo>
                    <a:pt x="210" y="325"/>
                  </a:lnTo>
                  <a:lnTo>
                    <a:pt x="219" y="323"/>
                  </a:lnTo>
                  <a:lnTo>
                    <a:pt x="197" y="238"/>
                  </a:lnTo>
                  <a:lnTo>
                    <a:pt x="241" y="225"/>
                  </a:lnTo>
                  <a:lnTo>
                    <a:pt x="245" y="227"/>
                  </a:lnTo>
                  <a:lnTo>
                    <a:pt x="279" y="244"/>
                  </a:lnTo>
                  <a:lnTo>
                    <a:pt x="297" y="252"/>
                  </a:lnTo>
                  <a:lnTo>
                    <a:pt x="321" y="273"/>
                  </a:lnTo>
                  <a:lnTo>
                    <a:pt x="342" y="269"/>
                  </a:lnTo>
                  <a:lnTo>
                    <a:pt x="374" y="267"/>
                  </a:lnTo>
                  <a:lnTo>
                    <a:pt x="402" y="284"/>
                  </a:lnTo>
                  <a:lnTo>
                    <a:pt x="408" y="307"/>
                  </a:lnTo>
                  <a:lnTo>
                    <a:pt x="417" y="308"/>
                  </a:lnTo>
                  <a:lnTo>
                    <a:pt x="427" y="327"/>
                  </a:lnTo>
                  <a:lnTo>
                    <a:pt x="452" y="327"/>
                  </a:lnTo>
                  <a:lnTo>
                    <a:pt x="460" y="338"/>
                  </a:lnTo>
                  <a:lnTo>
                    <a:pt x="467" y="338"/>
                  </a:lnTo>
                  <a:lnTo>
                    <a:pt x="471" y="321"/>
                  </a:lnTo>
                  <a:lnTo>
                    <a:pt x="491" y="305"/>
                  </a:lnTo>
                  <a:lnTo>
                    <a:pt x="500" y="301"/>
                  </a:lnTo>
                  <a:lnTo>
                    <a:pt x="501" y="291"/>
                  </a:lnTo>
                  <a:lnTo>
                    <a:pt x="513" y="288"/>
                  </a:lnTo>
                  <a:lnTo>
                    <a:pt x="547" y="296"/>
                  </a:lnTo>
                  <a:lnTo>
                    <a:pt x="545" y="282"/>
                  </a:lnTo>
                  <a:lnTo>
                    <a:pt x="554" y="277"/>
                  </a:lnTo>
                  <a:lnTo>
                    <a:pt x="585" y="288"/>
                  </a:lnTo>
                  <a:lnTo>
                    <a:pt x="591" y="285"/>
                  </a:lnTo>
                  <a:lnTo>
                    <a:pt x="622" y="286"/>
                  </a:lnTo>
                  <a:lnTo>
                    <a:pt x="652" y="288"/>
                  </a:lnTo>
                  <a:lnTo>
                    <a:pt x="664" y="296"/>
                  </a:lnTo>
                  <a:lnTo>
                    <a:pt x="678" y="299"/>
                  </a:lnTo>
                  <a:lnTo>
                    <a:pt x="671" y="286"/>
                  </a:lnTo>
                  <a:lnTo>
                    <a:pt x="682" y="280"/>
                  </a:lnTo>
                  <a:lnTo>
                    <a:pt x="649" y="240"/>
                  </a:lnTo>
                  <a:lnTo>
                    <a:pt x="683" y="232"/>
                  </a:lnTo>
                  <a:lnTo>
                    <a:pt x="691" y="226"/>
                  </a:lnTo>
                  <a:lnTo>
                    <a:pt x="687" y="185"/>
                  </a:lnTo>
                  <a:lnTo>
                    <a:pt x="727" y="192"/>
                  </a:lnTo>
                  <a:lnTo>
                    <a:pt x="733" y="181"/>
                  </a:lnTo>
                  <a:lnTo>
                    <a:pt x="723" y="159"/>
                  </a:lnTo>
                  <a:lnTo>
                    <a:pt x="737" y="156"/>
                  </a:lnTo>
                  <a:lnTo>
                    <a:pt x="744" y="140"/>
                  </a:lnTo>
                  <a:lnTo>
                    <a:pt x="728" y="126"/>
                  </a:lnTo>
                  <a:lnTo>
                    <a:pt x="706" y="130"/>
                  </a:lnTo>
                  <a:lnTo>
                    <a:pt x="693" y="120"/>
                  </a:lnTo>
                  <a:lnTo>
                    <a:pt x="678" y="116"/>
                  </a:lnTo>
                  <a:lnTo>
                    <a:pt x="664" y="102"/>
                  </a:lnTo>
                  <a:lnTo>
                    <a:pt x="651" y="98"/>
                  </a:lnTo>
                  <a:lnTo>
                    <a:pt x="628" y="104"/>
                  </a:lnTo>
                  <a:lnTo>
                    <a:pt x="597" y="91"/>
                  </a:lnTo>
                  <a:lnTo>
                    <a:pt x="593" y="103"/>
                  </a:lnTo>
                  <a:lnTo>
                    <a:pt x="525" y="45"/>
                  </a:lnTo>
                  <a:lnTo>
                    <a:pt x="495" y="27"/>
                  </a:lnTo>
                  <a:lnTo>
                    <a:pt x="497" y="21"/>
                  </a:lnTo>
                  <a:lnTo>
                    <a:pt x="464" y="41"/>
                  </a:lnTo>
                  <a:lnTo>
                    <a:pt x="447" y="43"/>
                  </a:lnTo>
                  <a:lnTo>
                    <a:pt x="443" y="31"/>
                  </a:lnTo>
                  <a:lnTo>
                    <a:pt x="417" y="22"/>
                  </a:lnTo>
                  <a:lnTo>
                    <a:pt x="400" y="28"/>
                  </a:lnTo>
                  <a:lnTo>
                    <a:pt x="384" y="5"/>
                  </a:lnTo>
                  <a:lnTo>
                    <a:pt x="384"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3" name="Kenya"/>
            <p:cNvSpPr>
              <a:spLocks/>
            </p:cNvSpPr>
            <p:nvPr/>
          </p:nvSpPr>
          <p:spPr bwMode="auto">
            <a:xfrm>
              <a:off x="7131050" y="4275138"/>
              <a:ext cx="263525" cy="384175"/>
            </a:xfrm>
            <a:custGeom>
              <a:avLst/>
              <a:gdLst>
                <a:gd name="T0" fmla="*/ 166 w 166"/>
                <a:gd name="T1" fmla="*/ 38 h 242"/>
                <a:gd name="T2" fmla="*/ 152 w 166"/>
                <a:gd name="T3" fmla="*/ 38 h 242"/>
                <a:gd name="T4" fmla="*/ 143 w 166"/>
                <a:gd name="T5" fmla="*/ 30 h 242"/>
                <a:gd name="T6" fmla="*/ 124 w 166"/>
                <a:gd name="T7" fmla="*/ 40 h 242"/>
                <a:gd name="T8" fmla="*/ 118 w 166"/>
                <a:gd name="T9" fmla="*/ 50 h 242"/>
                <a:gd name="T10" fmla="*/ 104 w 166"/>
                <a:gd name="T11" fmla="*/ 48 h 242"/>
                <a:gd name="T12" fmla="*/ 100 w 166"/>
                <a:gd name="T13" fmla="*/ 45 h 242"/>
                <a:gd name="T14" fmla="*/ 94 w 166"/>
                <a:gd name="T15" fmla="*/ 45 h 242"/>
                <a:gd name="T16" fmla="*/ 88 w 166"/>
                <a:gd name="T17" fmla="*/ 45 h 242"/>
                <a:gd name="T18" fmla="*/ 61 w 166"/>
                <a:gd name="T19" fmla="*/ 26 h 242"/>
                <a:gd name="T20" fmla="*/ 47 w 166"/>
                <a:gd name="T21" fmla="*/ 26 h 242"/>
                <a:gd name="T22" fmla="*/ 39 w 166"/>
                <a:gd name="T23" fmla="*/ 17 h 242"/>
                <a:gd name="T24" fmla="*/ 39 w 166"/>
                <a:gd name="T25" fmla="*/ 4 h 242"/>
                <a:gd name="T26" fmla="*/ 28 w 166"/>
                <a:gd name="T27" fmla="*/ 0 h 242"/>
                <a:gd name="T28" fmla="*/ 14 w 166"/>
                <a:gd name="T29" fmla="*/ 16 h 242"/>
                <a:gd name="T30" fmla="*/ 1 w 166"/>
                <a:gd name="T31" fmla="*/ 30 h 242"/>
                <a:gd name="T32" fmla="*/ 11 w 166"/>
                <a:gd name="T33" fmla="*/ 46 h 242"/>
                <a:gd name="T34" fmla="*/ 14 w 166"/>
                <a:gd name="T35" fmla="*/ 58 h 242"/>
                <a:gd name="T36" fmla="*/ 23 w 166"/>
                <a:gd name="T37" fmla="*/ 86 h 242"/>
                <a:gd name="T38" fmla="*/ 16 w 166"/>
                <a:gd name="T39" fmla="*/ 103 h 242"/>
                <a:gd name="T40" fmla="*/ 5 w 166"/>
                <a:gd name="T41" fmla="*/ 119 h 242"/>
                <a:gd name="T42" fmla="*/ 0 w 166"/>
                <a:gd name="T43" fmla="*/ 128 h 242"/>
                <a:gd name="T44" fmla="*/ 0 w 166"/>
                <a:gd name="T45" fmla="*/ 129 h 242"/>
                <a:gd name="T46" fmla="*/ 5 w 166"/>
                <a:gd name="T47" fmla="*/ 139 h 242"/>
                <a:gd name="T48" fmla="*/ 4 w 166"/>
                <a:gd name="T49" fmla="*/ 157 h 242"/>
                <a:gd name="T50" fmla="*/ 79 w 166"/>
                <a:gd name="T51" fmla="*/ 205 h 242"/>
                <a:gd name="T52" fmla="*/ 80 w 166"/>
                <a:gd name="T53" fmla="*/ 218 h 242"/>
                <a:gd name="T54" fmla="*/ 110 w 166"/>
                <a:gd name="T55" fmla="*/ 242 h 242"/>
                <a:gd name="T56" fmla="*/ 118 w 166"/>
                <a:gd name="T57" fmla="*/ 234 h 242"/>
                <a:gd name="T58" fmla="*/ 123 w 166"/>
                <a:gd name="T59" fmla="*/ 218 h 242"/>
                <a:gd name="T60" fmla="*/ 130 w 166"/>
                <a:gd name="T61" fmla="*/ 209 h 242"/>
                <a:gd name="T62" fmla="*/ 133 w 166"/>
                <a:gd name="T63" fmla="*/ 192 h 242"/>
                <a:gd name="T64" fmla="*/ 141 w 166"/>
                <a:gd name="T65" fmla="*/ 190 h 242"/>
                <a:gd name="T66" fmla="*/ 146 w 166"/>
                <a:gd name="T67" fmla="*/ 181 h 242"/>
                <a:gd name="T68" fmla="*/ 161 w 166"/>
                <a:gd name="T69" fmla="*/ 171 h 242"/>
                <a:gd name="T70" fmla="*/ 148 w 166"/>
                <a:gd name="T71" fmla="*/ 151 h 242"/>
                <a:gd name="T72" fmla="*/ 148 w 166"/>
                <a:gd name="T73" fmla="*/ 65 h 242"/>
                <a:gd name="T74" fmla="*/ 166 w 166"/>
                <a:gd name="T75" fmla="*/ 38 h 242"/>
                <a:gd name="T76" fmla="*/ 166 w 166"/>
                <a:gd name="T77"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242">
                  <a:moveTo>
                    <a:pt x="166" y="38"/>
                  </a:moveTo>
                  <a:lnTo>
                    <a:pt x="152" y="38"/>
                  </a:lnTo>
                  <a:lnTo>
                    <a:pt x="143" y="30"/>
                  </a:lnTo>
                  <a:lnTo>
                    <a:pt x="124" y="40"/>
                  </a:lnTo>
                  <a:lnTo>
                    <a:pt x="118" y="50"/>
                  </a:lnTo>
                  <a:lnTo>
                    <a:pt x="104" y="48"/>
                  </a:lnTo>
                  <a:lnTo>
                    <a:pt x="100" y="45"/>
                  </a:lnTo>
                  <a:lnTo>
                    <a:pt x="94" y="45"/>
                  </a:lnTo>
                  <a:lnTo>
                    <a:pt x="88" y="45"/>
                  </a:lnTo>
                  <a:lnTo>
                    <a:pt x="61" y="26"/>
                  </a:lnTo>
                  <a:lnTo>
                    <a:pt x="47" y="26"/>
                  </a:lnTo>
                  <a:lnTo>
                    <a:pt x="39" y="17"/>
                  </a:lnTo>
                  <a:lnTo>
                    <a:pt x="39" y="4"/>
                  </a:lnTo>
                  <a:lnTo>
                    <a:pt x="28" y="0"/>
                  </a:lnTo>
                  <a:lnTo>
                    <a:pt x="14" y="16"/>
                  </a:lnTo>
                  <a:lnTo>
                    <a:pt x="1" y="30"/>
                  </a:lnTo>
                  <a:lnTo>
                    <a:pt x="11" y="46"/>
                  </a:lnTo>
                  <a:lnTo>
                    <a:pt x="14" y="58"/>
                  </a:lnTo>
                  <a:lnTo>
                    <a:pt x="23" y="86"/>
                  </a:lnTo>
                  <a:lnTo>
                    <a:pt x="16" y="103"/>
                  </a:lnTo>
                  <a:lnTo>
                    <a:pt x="5" y="119"/>
                  </a:lnTo>
                  <a:lnTo>
                    <a:pt x="0" y="128"/>
                  </a:lnTo>
                  <a:lnTo>
                    <a:pt x="0" y="129"/>
                  </a:lnTo>
                  <a:lnTo>
                    <a:pt x="5" y="139"/>
                  </a:lnTo>
                  <a:lnTo>
                    <a:pt x="4" y="157"/>
                  </a:lnTo>
                  <a:lnTo>
                    <a:pt x="79" y="205"/>
                  </a:lnTo>
                  <a:lnTo>
                    <a:pt x="80" y="218"/>
                  </a:lnTo>
                  <a:lnTo>
                    <a:pt x="110" y="242"/>
                  </a:lnTo>
                  <a:lnTo>
                    <a:pt x="118" y="234"/>
                  </a:lnTo>
                  <a:lnTo>
                    <a:pt x="123" y="218"/>
                  </a:lnTo>
                  <a:lnTo>
                    <a:pt x="130" y="209"/>
                  </a:lnTo>
                  <a:lnTo>
                    <a:pt x="133" y="192"/>
                  </a:lnTo>
                  <a:lnTo>
                    <a:pt x="141" y="190"/>
                  </a:lnTo>
                  <a:lnTo>
                    <a:pt x="146" y="181"/>
                  </a:lnTo>
                  <a:lnTo>
                    <a:pt x="161" y="171"/>
                  </a:lnTo>
                  <a:lnTo>
                    <a:pt x="148" y="151"/>
                  </a:lnTo>
                  <a:lnTo>
                    <a:pt x="148" y="65"/>
                  </a:lnTo>
                  <a:lnTo>
                    <a:pt x="166" y="38"/>
                  </a:lnTo>
                  <a:lnTo>
                    <a:pt x="166" y="3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4" name="Kyrgyzstan"/>
            <p:cNvSpPr>
              <a:spLocks/>
            </p:cNvSpPr>
            <p:nvPr/>
          </p:nvSpPr>
          <p:spPr bwMode="auto">
            <a:xfrm>
              <a:off x="8135937" y="2849563"/>
              <a:ext cx="300037" cy="149225"/>
            </a:xfrm>
            <a:custGeom>
              <a:avLst/>
              <a:gdLst>
                <a:gd name="T0" fmla="*/ 189 w 189"/>
                <a:gd name="T1" fmla="*/ 22 h 94"/>
                <a:gd name="T2" fmla="*/ 175 w 189"/>
                <a:gd name="T3" fmla="*/ 19 h 94"/>
                <a:gd name="T4" fmla="*/ 163 w 189"/>
                <a:gd name="T5" fmla="*/ 11 h 94"/>
                <a:gd name="T6" fmla="*/ 133 w 189"/>
                <a:gd name="T7" fmla="*/ 9 h 94"/>
                <a:gd name="T8" fmla="*/ 102 w 189"/>
                <a:gd name="T9" fmla="*/ 8 h 94"/>
                <a:gd name="T10" fmla="*/ 96 w 189"/>
                <a:gd name="T11" fmla="*/ 11 h 94"/>
                <a:gd name="T12" fmla="*/ 65 w 189"/>
                <a:gd name="T13" fmla="*/ 0 h 94"/>
                <a:gd name="T14" fmla="*/ 56 w 189"/>
                <a:gd name="T15" fmla="*/ 5 h 94"/>
                <a:gd name="T16" fmla="*/ 58 w 189"/>
                <a:gd name="T17" fmla="*/ 19 h 94"/>
                <a:gd name="T18" fmla="*/ 24 w 189"/>
                <a:gd name="T19" fmla="*/ 11 h 94"/>
                <a:gd name="T20" fmla="*/ 12 w 189"/>
                <a:gd name="T21" fmla="*/ 14 h 94"/>
                <a:gd name="T22" fmla="*/ 11 w 189"/>
                <a:gd name="T23" fmla="*/ 24 h 94"/>
                <a:gd name="T24" fmla="*/ 18 w 189"/>
                <a:gd name="T25" fmla="*/ 27 h 94"/>
                <a:gd name="T26" fmla="*/ 6 w 189"/>
                <a:gd name="T27" fmla="*/ 41 h 94"/>
                <a:gd name="T28" fmla="*/ 23 w 189"/>
                <a:gd name="T29" fmla="*/ 50 h 94"/>
                <a:gd name="T30" fmla="*/ 35 w 189"/>
                <a:gd name="T31" fmla="*/ 44 h 94"/>
                <a:gd name="T32" fmla="*/ 62 w 189"/>
                <a:gd name="T33" fmla="*/ 56 h 94"/>
                <a:gd name="T34" fmla="*/ 43 w 189"/>
                <a:gd name="T35" fmla="*/ 73 h 94"/>
                <a:gd name="T36" fmla="*/ 27 w 189"/>
                <a:gd name="T37" fmla="*/ 71 h 94"/>
                <a:gd name="T38" fmla="*/ 22 w 189"/>
                <a:gd name="T39" fmla="*/ 79 h 94"/>
                <a:gd name="T40" fmla="*/ 0 w 189"/>
                <a:gd name="T41" fmla="*/ 74 h 94"/>
                <a:gd name="T42" fmla="*/ 3 w 189"/>
                <a:gd name="T43" fmla="*/ 88 h 94"/>
                <a:gd name="T44" fmla="*/ 22 w 189"/>
                <a:gd name="T45" fmla="*/ 86 h 94"/>
                <a:gd name="T46" fmla="*/ 49 w 189"/>
                <a:gd name="T47" fmla="*/ 94 h 94"/>
                <a:gd name="T48" fmla="*/ 85 w 189"/>
                <a:gd name="T49" fmla="*/ 91 h 94"/>
                <a:gd name="T50" fmla="*/ 89 w 189"/>
                <a:gd name="T51" fmla="*/ 85 h 94"/>
                <a:gd name="T52" fmla="*/ 84 w 189"/>
                <a:gd name="T53" fmla="*/ 80 h 94"/>
                <a:gd name="T54" fmla="*/ 99 w 189"/>
                <a:gd name="T55" fmla="*/ 69 h 94"/>
                <a:gd name="T56" fmla="*/ 111 w 189"/>
                <a:gd name="T57" fmla="*/ 64 h 94"/>
                <a:gd name="T58" fmla="*/ 132 w 189"/>
                <a:gd name="T59" fmla="*/ 67 h 94"/>
                <a:gd name="T60" fmla="*/ 134 w 189"/>
                <a:gd name="T61" fmla="*/ 52 h 94"/>
                <a:gd name="T62" fmla="*/ 159 w 189"/>
                <a:gd name="T63" fmla="*/ 49 h 94"/>
                <a:gd name="T64" fmla="*/ 162 w 189"/>
                <a:gd name="T65" fmla="*/ 41 h 94"/>
                <a:gd name="T66" fmla="*/ 188 w 189"/>
                <a:gd name="T67" fmla="*/ 27 h 94"/>
                <a:gd name="T68" fmla="*/ 189 w 189"/>
                <a:gd name="T69" fmla="*/ 22 h 94"/>
                <a:gd name="T70" fmla="*/ 189 w 189"/>
                <a:gd name="T71"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9" h="94">
                  <a:moveTo>
                    <a:pt x="189" y="22"/>
                  </a:moveTo>
                  <a:lnTo>
                    <a:pt x="175" y="19"/>
                  </a:lnTo>
                  <a:lnTo>
                    <a:pt x="163" y="11"/>
                  </a:lnTo>
                  <a:lnTo>
                    <a:pt x="133" y="9"/>
                  </a:lnTo>
                  <a:lnTo>
                    <a:pt x="102" y="8"/>
                  </a:lnTo>
                  <a:lnTo>
                    <a:pt x="96" y="11"/>
                  </a:lnTo>
                  <a:lnTo>
                    <a:pt x="65" y="0"/>
                  </a:lnTo>
                  <a:lnTo>
                    <a:pt x="56" y="5"/>
                  </a:lnTo>
                  <a:lnTo>
                    <a:pt x="58" y="19"/>
                  </a:lnTo>
                  <a:lnTo>
                    <a:pt x="24" y="11"/>
                  </a:lnTo>
                  <a:lnTo>
                    <a:pt x="12" y="14"/>
                  </a:lnTo>
                  <a:lnTo>
                    <a:pt x="11" y="24"/>
                  </a:lnTo>
                  <a:lnTo>
                    <a:pt x="18" y="27"/>
                  </a:lnTo>
                  <a:lnTo>
                    <a:pt x="6" y="41"/>
                  </a:lnTo>
                  <a:lnTo>
                    <a:pt x="23" y="50"/>
                  </a:lnTo>
                  <a:lnTo>
                    <a:pt x="35" y="44"/>
                  </a:lnTo>
                  <a:lnTo>
                    <a:pt x="62" y="56"/>
                  </a:lnTo>
                  <a:lnTo>
                    <a:pt x="43" y="73"/>
                  </a:lnTo>
                  <a:lnTo>
                    <a:pt x="27" y="71"/>
                  </a:lnTo>
                  <a:lnTo>
                    <a:pt x="22" y="79"/>
                  </a:lnTo>
                  <a:lnTo>
                    <a:pt x="0" y="74"/>
                  </a:lnTo>
                  <a:lnTo>
                    <a:pt x="3" y="88"/>
                  </a:lnTo>
                  <a:lnTo>
                    <a:pt x="22" y="86"/>
                  </a:lnTo>
                  <a:lnTo>
                    <a:pt x="49" y="94"/>
                  </a:lnTo>
                  <a:lnTo>
                    <a:pt x="85" y="91"/>
                  </a:lnTo>
                  <a:lnTo>
                    <a:pt x="89" y="85"/>
                  </a:lnTo>
                  <a:lnTo>
                    <a:pt x="84" y="80"/>
                  </a:lnTo>
                  <a:lnTo>
                    <a:pt x="99" y="69"/>
                  </a:lnTo>
                  <a:lnTo>
                    <a:pt x="111" y="64"/>
                  </a:lnTo>
                  <a:lnTo>
                    <a:pt x="132" y="67"/>
                  </a:lnTo>
                  <a:lnTo>
                    <a:pt x="134" y="52"/>
                  </a:lnTo>
                  <a:lnTo>
                    <a:pt x="159" y="49"/>
                  </a:lnTo>
                  <a:lnTo>
                    <a:pt x="162" y="41"/>
                  </a:lnTo>
                  <a:lnTo>
                    <a:pt x="188" y="27"/>
                  </a:lnTo>
                  <a:lnTo>
                    <a:pt x="189" y="22"/>
                  </a:lnTo>
                  <a:lnTo>
                    <a:pt x="189" y="2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5" name="Cambodia"/>
            <p:cNvSpPr>
              <a:spLocks/>
            </p:cNvSpPr>
            <p:nvPr/>
          </p:nvSpPr>
          <p:spPr bwMode="auto">
            <a:xfrm>
              <a:off x="9383712" y="3933826"/>
              <a:ext cx="174625" cy="153988"/>
            </a:xfrm>
            <a:custGeom>
              <a:avLst/>
              <a:gdLst>
                <a:gd name="T0" fmla="*/ 103 w 110"/>
                <a:gd name="T1" fmla="*/ 8 h 97"/>
                <a:gd name="T2" fmla="*/ 83 w 110"/>
                <a:gd name="T3" fmla="*/ 0 h 97"/>
                <a:gd name="T4" fmla="*/ 76 w 110"/>
                <a:gd name="T5" fmla="*/ 16 h 97"/>
                <a:gd name="T6" fmla="*/ 58 w 110"/>
                <a:gd name="T7" fmla="*/ 7 h 97"/>
                <a:gd name="T8" fmla="*/ 38 w 110"/>
                <a:gd name="T9" fmla="*/ 4 h 97"/>
                <a:gd name="T10" fmla="*/ 11 w 110"/>
                <a:gd name="T11" fmla="*/ 8 h 97"/>
                <a:gd name="T12" fmla="*/ 0 w 110"/>
                <a:gd name="T13" fmla="*/ 28 h 97"/>
                <a:gd name="T14" fmla="*/ 8 w 110"/>
                <a:gd name="T15" fmla="*/ 56 h 97"/>
                <a:gd name="T16" fmla="*/ 21 w 110"/>
                <a:gd name="T17" fmla="*/ 81 h 97"/>
                <a:gd name="T18" fmla="*/ 31 w 110"/>
                <a:gd name="T19" fmla="*/ 93 h 97"/>
                <a:gd name="T20" fmla="*/ 48 w 110"/>
                <a:gd name="T21" fmla="*/ 97 h 97"/>
                <a:gd name="T22" fmla="*/ 65 w 110"/>
                <a:gd name="T23" fmla="*/ 88 h 97"/>
                <a:gd name="T24" fmla="*/ 87 w 110"/>
                <a:gd name="T25" fmla="*/ 86 h 97"/>
                <a:gd name="T26" fmla="*/ 77 w 110"/>
                <a:gd name="T27" fmla="*/ 71 h 97"/>
                <a:gd name="T28" fmla="*/ 110 w 110"/>
                <a:gd name="T29" fmla="*/ 53 h 97"/>
                <a:gd name="T30" fmla="*/ 109 w 110"/>
                <a:gd name="T31" fmla="*/ 24 h 97"/>
                <a:gd name="T32" fmla="*/ 103 w 110"/>
                <a:gd name="T33" fmla="*/ 8 h 97"/>
                <a:gd name="T34" fmla="*/ 103 w 110"/>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7">
                  <a:moveTo>
                    <a:pt x="103" y="8"/>
                  </a:moveTo>
                  <a:lnTo>
                    <a:pt x="83" y="0"/>
                  </a:lnTo>
                  <a:lnTo>
                    <a:pt x="76" y="16"/>
                  </a:lnTo>
                  <a:lnTo>
                    <a:pt x="58" y="7"/>
                  </a:lnTo>
                  <a:lnTo>
                    <a:pt x="38" y="4"/>
                  </a:lnTo>
                  <a:lnTo>
                    <a:pt x="11" y="8"/>
                  </a:lnTo>
                  <a:lnTo>
                    <a:pt x="0" y="28"/>
                  </a:lnTo>
                  <a:lnTo>
                    <a:pt x="8" y="56"/>
                  </a:lnTo>
                  <a:lnTo>
                    <a:pt x="21" y="81"/>
                  </a:lnTo>
                  <a:lnTo>
                    <a:pt x="31" y="93"/>
                  </a:lnTo>
                  <a:lnTo>
                    <a:pt x="48" y="97"/>
                  </a:lnTo>
                  <a:lnTo>
                    <a:pt x="65" y="88"/>
                  </a:lnTo>
                  <a:lnTo>
                    <a:pt x="87" y="86"/>
                  </a:lnTo>
                  <a:lnTo>
                    <a:pt x="77" y="71"/>
                  </a:lnTo>
                  <a:lnTo>
                    <a:pt x="110" y="53"/>
                  </a:lnTo>
                  <a:lnTo>
                    <a:pt x="109" y="24"/>
                  </a:lnTo>
                  <a:lnTo>
                    <a:pt x="103" y="8"/>
                  </a:lnTo>
                  <a:lnTo>
                    <a:pt x="103" y="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6" name="South Korea"/>
            <p:cNvSpPr>
              <a:spLocks/>
            </p:cNvSpPr>
            <p:nvPr/>
          </p:nvSpPr>
          <p:spPr bwMode="auto">
            <a:xfrm>
              <a:off x="9917112" y="3024188"/>
              <a:ext cx="141287" cy="161925"/>
            </a:xfrm>
            <a:custGeom>
              <a:avLst/>
              <a:gdLst>
                <a:gd name="T0" fmla="*/ 0 w 89"/>
                <a:gd name="T1" fmla="*/ 21 h 102"/>
                <a:gd name="T2" fmla="*/ 24 w 89"/>
                <a:gd name="T3" fmla="*/ 42 h 102"/>
                <a:gd name="T4" fmla="*/ 10 w 89"/>
                <a:gd name="T5" fmla="*/ 45 h 102"/>
                <a:gd name="T6" fmla="*/ 30 w 89"/>
                <a:gd name="T7" fmla="*/ 71 h 102"/>
                <a:gd name="T8" fmla="*/ 35 w 89"/>
                <a:gd name="T9" fmla="*/ 89 h 102"/>
                <a:gd name="T10" fmla="*/ 42 w 89"/>
                <a:gd name="T11" fmla="*/ 102 h 102"/>
                <a:gd name="T12" fmla="*/ 59 w 89"/>
                <a:gd name="T13" fmla="*/ 100 h 102"/>
                <a:gd name="T14" fmla="*/ 71 w 89"/>
                <a:gd name="T15" fmla="*/ 90 h 102"/>
                <a:gd name="T16" fmla="*/ 87 w 89"/>
                <a:gd name="T17" fmla="*/ 86 h 102"/>
                <a:gd name="T18" fmla="*/ 89 w 89"/>
                <a:gd name="T19" fmla="*/ 72 h 102"/>
                <a:gd name="T20" fmla="*/ 76 w 89"/>
                <a:gd name="T21" fmla="*/ 44 h 102"/>
                <a:gd name="T22" fmla="*/ 64 w 89"/>
                <a:gd name="T23" fmla="*/ 29 h 102"/>
                <a:gd name="T24" fmla="*/ 33 w 89"/>
                <a:gd name="T25" fmla="*/ 0 h 102"/>
                <a:gd name="T26" fmla="*/ 33 w 89"/>
                <a:gd name="T27" fmla="*/ 6 h 102"/>
                <a:gd name="T28" fmla="*/ 25 w 89"/>
                <a:gd name="T29" fmla="*/ 7 h 102"/>
                <a:gd name="T30" fmla="*/ 12 w 89"/>
                <a:gd name="T31" fmla="*/ 9 h 102"/>
                <a:gd name="T32" fmla="*/ 10 w 89"/>
                <a:gd name="T33" fmla="*/ 19 h 102"/>
                <a:gd name="T34" fmla="*/ 1 w 89"/>
                <a:gd name="T35" fmla="*/ 18 h 102"/>
                <a:gd name="T36" fmla="*/ 0 w 89"/>
                <a:gd name="T37" fmla="*/ 21 h 102"/>
                <a:gd name="T38" fmla="*/ 0 w 89"/>
                <a:gd name="T39" fmla="*/ 2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02">
                  <a:moveTo>
                    <a:pt x="0" y="21"/>
                  </a:moveTo>
                  <a:lnTo>
                    <a:pt x="24" y="42"/>
                  </a:lnTo>
                  <a:lnTo>
                    <a:pt x="10" y="45"/>
                  </a:lnTo>
                  <a:lnTo>
                    <a:pt x="30" y="71"/>
                  </a:lnTo>
                  <a:lnTo>
                    <a:pt x="35" y="89"/>
                  </a:lnTo>
                  <a:lnTo>
                    <a:pt x="42" y="102"/>
                  </a:lnTo>
                  <a:lnTo>
                    <a:pt x="59" y="100"/>
                  </a:lnTo>
                  <a:lnTo>
                    <a:pt x="71" y="90"/>
                  </a:lnTo>
                  <a:lnTo>
                    <a:pt x="87" y="86"/>
                  </a:lnTo>
                  <a:lnTo>
                    <a:pt x="89" y="72"/>
                  </a:lnTo>
                  <a:lnTo>
                    <a:pt x="76" y="44"/>
                  </a:lnTo>
                  <a:lnTo>
                    <a:pt x="64" y="29"/>
                  </a:lnTo>
                  <a:lnTo>
                    <a:pt x="33" y="0"/>
                  </a:lnTo>
                  <a:lnTo>
                    <a:pt x="33" y="6"/>
                  </a:lnTo>
                  <a:lnTo>
                    <a:pt x="25" y="7"/>
                  </a:lnTo>
                  <a:lnTo>
                    <a:pt x="12" y="9"/>
                  </a:lnTo>
                  <a:lnTo>
                    <a:pt x="10" y="19"/>
                  </a:lnTo>
                  <a:lnTo>
                    <a:pt x="1" y="18"/>
                  </a:lnTo>
                  <a:lnTo>
                    <a:pt x="0" y="21"/>
                  </a:lnTo>
                  <a:lnTo>
                    <a:pt x="0" y="2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7" name="Kuwait"/>
            <p:cNvSpPr>
              <a:spLocks/>
            </p:cNvSpPr>
            <p:nvPr/>
          </p:nvSpPr>
          <p:spPr bwMode="auto">
            <a:xfrm>
              <a:off x="7496175" y="3349626"/>
              <a:ext cx="60325" cy="57150"/>
            </a:xfrm>
            <a:custGeom>
              <a:avLst/>
              <a:gdLst>
                <a:gd name="T0" fmla="*/ 25 w 38"/>
                <a:gd name="T1" fmla="*/ 2 h 36"/>
                <a:gd name="T2" fmla="*/ 12 w 38"/>
                <a:gd name="T3" fmla="*/ 0 h 36"/>
                <a:gd name="T4" fmla="*/ 0 w 38"/>
                <a:gd name="T5" fmla="*/ 22 h 36"/>
                <a:gd name="T6" fmla="*/ 17 w 38"/>
                <a:gd name="T7" fmla="*/ 24 h 36"/>
                <a:gd name="T8" fmla="*/ 24 w 38"/>
                <a:gd name="T9" fmla="*/ 36 h 36"/>
                <a:gd name="T10" fmla="*/ 38 w 38"/>
                <a:gd name="T11" fmla="*/ 36 h 36"/>
                <a:gd name="T12" fmla="*/ 29 w 38"/>
                <a:gd name="T13" fmla="*/ 18 h 36"/>
                <a:gd name="T14" fmla="*/ 30 w 38"/>
                <a:gd name="T15" fmla="*/ 12 h 36"/>
                <a:gd name="T16" fmla="*/ 25 w 38"/>
                <a:gd name="T17" fmla="*/ 2 h 36"/>
                <a:gd name="T18" fmla="*/ 25 w 38"/>
                <a:gd name="T1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6">
                  <a:moveTo>
                    <a:pt x="25" y="2"/>
                  </a:moveTo>
                  <a:lnTo>
                    <a:pt x="12" y="0"/>
                  </a:lnTo>
                  <a:lnTo>
                    <a:pt x="0" y="22"/>
                  </a:lnTo>
                  <a:lnTo>
                    <a:pt x="17" y="24"/>
                  </a:lnTo>
                  <a:lnTo>
                    <a:pt x="24" y="36"/>
                  </a:lnTo>
                  <a:lnTo>
                    <a:pt x="38" y="36"/>
                  </a:lnTo>
                  <a:lnTo>
                    <a:pt x="29" y="18"/>
                  </a:lnTo>
                  <a:lnTo>
                    <a:pt x="30" y="12"/>
                  </a:lnTo>
                  <a:lnTo>
                    <a:pt x="25" y="2"/>
                  </a:lnTo>
                  <a:lnTo>
                    <a:pt x="25"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8" name="Laos"/>
            <p:cNvSpPr>
              <a:spLocks/>
            </p:cNvSpPr>
            <p:nvPr/>
          </p:nvSpPr>
          <p:spPr bwMode="auto">
            <a:xfrm>
              <a:off x="9275762" y="3635376"/>
              <a:ext cx="273050" cy="323850"/>
            </a:xfrm>
            <a:custGeom>
              <a:avLst/>
              <a:gdLst>
                <a:gd name="T0" fmla="*/ 171 w 172"/>
                <a:gd name="T1" fmla="*/ 196 h 204"/>
                <a:gd name="T2" fmla="*/ 172 w 172"/>
                <a:gd name="T3" fmla="*/ 173 h 204"/>
                <a:gd name="T4" fmla="*/ 164 w 172"/>
                <a:gd name="T5" fmla="*/ 156 h 204"/>
                <a:gd name="T6" fmla="*/ 146 w 172"/>
                <a:gd name="T7" fmla="*/ 139 h 204"/>
                <a:gd name="T8" fmla="*/ 131 w 172"/>
                <a:gd name="T9" fmla="*/ 119 h 204"/>
                <a:gd name="T10" fmla="*/ 109 w 172"/>
                <a:gd name="T11" fmla="*/ 91 h 204"/>
                <a:gd name="T12" fmla="*/ 82 w 172"/>
                <a:gd name="T13" fmla="*/ 76 h 204"/>
                <a:gd name="T14" fmla="*/ 87 w 172"/>
                <a:gd name="T15" fmla="*/ 67 h 204"/>
                <a:gd name="T16" fmla="*/ 99 w 172"/>
                <a:gd name="T17" fmla="*/ 61 h 204"/>
                <a:gd name="T18" fmla="*/ 88 w 172"/>
                <a:gd name="T19" fmla="*/ 40 h 204"/>
                <a:gd name="T20" fmla="*/ 62 w 172"/>
                <a:gd name="T21" fmla="*/ 40 h 204"/>
                <a:gd name="T22" fmla="*/ 49 w 172"/>
                <a:gd name="T23" fmla="*/ 19 h 204"/>
                <a:gd name="T24" fmla="*/ 34 w 172"/>
                <a:gd name="T25" fmla="*/ 0 h 204"/>
                <a:gd name="T26" fmla="*/ 24 w 172"/>
                <a:gd name="T27" fmla="*/ 4 h 204"/>
                <a:gd name="T28" fmla="*/ 32 w 172"/>
                <a:gd name="T29" fmla="*/ 31 h 204"/>
                <a:gd name="T30" fmla="*/ 20 w 172"/>
                <a:gd name="T31" fmla="*/ 30 h 204"/>
                <a:gd name="T32" fmla="*/ 19 w 172"/>
                <a:gd name="T33" fmla="*/ 25 h 204"/>
                <a:gd name="T34" fmla="*/ 3 w 172"/>
                <a:gd name="T35" fmla="*/ 40 h 204"/>
                <a:gd name="T36" fmla="*/ 0 w 172"/>
                <a:gd name="T37" fmla="*/ 49 h 204"/>
                <a:gd name="T38" fmla="*/ 9 w 172"/>
                <a:gd name="T39" fmla="*/ 56 h 204"/>
                <a:gd name="T40" fmla="*/ 13 w 172"/>
                <a:gd name="T41" fmla="*/ 70 h 204"/>
                <a:gd name="T42" fmla="*/ 27 w 172"/>
                <a:gd name="T43" fmla="*/ 71 h 204"/>
                <a:gd name="T44" fmla="*/ 26 w 172"/>
                <a:gd name="T45" fmla="*/ 96 h 204"/>
                <a:gd name="T46" fmla="*/ 30 w 172"/>
                <a:gd name="T47" fmla="*/ 118 h 204"/>
                <a:gd name="T48" fmla="*/ 49 w 172"/>
                <a:gd name="T49" fmla="*/ 104 h 204"/>
                <a:gd name="T50" fmla="*/ 56 w 172"/>
                <a:gd name="T51" fmla="*/ 108 h 204"/>
                <a:gd name="T52" fmla="*/ 68 w 172"/>
                <a:gd name="T53" fmla="*/ 108 h 204"/>
                <a:gd name="T54" fmla="*/ 71 w 172"/>
                <a:gd name="T55" fmla="*/ 99 h 204"/>
                <a:gd name="T56" fmla="*/ 87 w 172"/>
                <a:gd name="T57" fmla="*/ 100 h 204"/>
                <a:gd name="T58" fmla="*/ 105 w 172"/>
                <a:gd name="T59" fmla="*/ 120 h 204"/>
                <a:gd name="T60" fmla="*/ 110 w 172"/>
                <a:gd name="T61" fmla="*/ 143 h 204"/>
                <a:gd name="T62" fmla="*/ 130 w 172"/>
                <a:gd name="T63" fmla="*/ 164 h 204"/>
                <a:gd name="T64" fmla="*/ 132 w 172"/>
                <a:gd name="T65" fmla="*/ 184 h 204"/>
                <a:gd name="T66" fmla="*/ 126 w 172"/>
                <a:gd name="T67" fmla="*/ 195 h 204"/>
                <a:gd name="T68" fmla="*/ 144 w 172"/>
                <a:gd name="T69" fmla="*/ 204 h 204"/>
                <a:gd name="T70" fmla="*/ 151 w 172"/>
                <a:gd name="T71" fmla="*/ 188 h 204"/>
                <a:gd name="T72" fmla="*/ 171 w 172"/>
                <a:gd name="T73" fmla="*/ 196 h 204"/>
                <a:gd name="T74" fmla="*/ 171 w 172"/>
                <a:gd name="T75" fmla="*/ 1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04">
                  <a:moveTo>
                    <a:pt x="171" y="196"/>
                  </a:moveTo>
                  <a:lnTo>
                    <a:pt x="172" y="173"/>
                  </a:lnTo>
                  <a:lnTo>
                    <a:pt x="164" y="156"/>
                  </a:lnTo>
                  <a:lnTo>
                    <a:pt x="146" y="139"/>
                  </a:lnTo>
                  <a:lnTo>
                    <a:pt x="131" y="119"/>
                  </a:lnTo>
                  <a:lnTo>
                    <a:pt x="109" y="91"/>
                  </a:lnTo>
                  <a:lnTo>
                    <a:pt x="82" y="76"/>
                  </a:lnTo>
                  <a:lnTo>
                    <a:pt x="87" y="67"/>
                  </a:lnTo>
                  <a:lnTo>
                    <a:pt x="99" y="61"/>
                  </a:lnTo>
                  <a:lnTo>
                    <a:pt x="88" y="40"/>
                  </a:lnTo>
                  <a:lnTo>
                    <a:pt x="62" y="40"/>
                  </a:lnTo>
                  <a:lnTo>
                    <a:pt x="49" y="19"/>
                  </a:lnTo>
                  <a:lnTo>
                    <a:pt x="34" y="0"/>
                  </a:lnTo>
                  <a:lnTo>
                    <a:pt x="24" y="4"/>
                  </a:lnTo>
                  <a:lnTo>
                    <a:pt x="32" y="31"/>
                  </a:lnTo>
                  <a:lnTo>
                    <a:pt x="20" y="30"/>
                  </a:lnTo>
                  <a:lnTo>
                    <a:pt x="19" y="25"/>
                  </a:lnTo>
                  <a:lnTo>
                    <a:pt x="3" y="40"/>
                  </a:lnTo>
                  <a:lnTo>
                    <a:pt x="0" y="49"/>
                  </a:lnTo>
                  <a:lnTo>
                    <a:pt x="9" y="56"/>
                  </a:lnTo>
                  <a:lnTo>
                    <a:pt x="13" y="70"/>
                  </a:lnTo>
                  <a:lnTo>
                    <a:pt x="27" y="71"/>
                  </a:lnTo>
                  <a:lnTo>
                    <a:pt x="26" y="96"/>
                  </a:lnTo>
                  <a:lnTo>
                    <a:pt x="30" y="118"/>
                  </a:lnTo>
                  <a:lnTo>
                    <a:pt x="49" y="104"/>
                  </a:lnTo>
                  <a:lnTo>
                    <a:pt x="56" y="108"/>
                  </a:lnTo>
                  <a:lnTo>
                    <a:pt x="68" y="108"/>
                  </a:lnTo>
                  <a:lnTo>
                    <a:pt x="71" y="99"/>
                  </a:lnTo>
                  <a:lnTo>
                    <a:pt x="87" y="100"/>
                  </a:lnTo>
                  <a:lnTo>
                    <a:pt x="105" y="120"/>
                  </a:lnTo>
                  <a:lnTo>
                    <a:pt x="110" y="143"/>
                  </a:lnTo>
                  <a:lnTo>
                    <a:pt x="130" y="164"/>
                  </a:lnTo>
                  <a:lnTo>
                    <a:pt x="132" y="184"/>
                  </a:lnTo>
                  <a:lnTo>
                    <a:pt x="126" y="195"/>
                  </a:lnTo>
                  <a:lnTo>
                    <a:pt x="144" y="204"/>
                  </a:lnTo>
                  <a:lnTo>
                    <a:pt x="151" y="188"/>
                  </a:lnTo>
                  <a:lnTo>
                    <a:pt x="171" y="196"/>
                  </a:lnTo>
                  <a:lnTo>
                    <a:pt x="171" y="19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9" name="Lebanon"/>
            <p:cNvSpPr>
              <a:spLocks/>
            </p:cNvSpPr>
            <p:nvPr/>
          </p:nvSpPr>
          <p:spPr bwMode="auto">
            <a:xfrm>
              <a:off x="7113587" y="3176588"/>
              <a:ext cx="41275" cy="58738"/>
            </a:xfrm>
            <a:custGeom>
              <a:avLst/>
              <a:gdLst>
                <a:gd name="T0" fmla="*/ 13 w 26"/>
                <a:gd name="T1" fmla="*/ 32 h 37"/>
                <a:gd name="T2" fmla="*/ 16 w 26"/>
                <a:gd name="T3" fmla="*/ 19 h 37"/>
                <a:gd name="T4" fmla="*/ 26 w 26"/>
                <a:gd name="T5" fmla="*/ 10 h 37"/>
                <a:gd name="T6" fmla="*/ 21 w 26"/>
                <a:gd name="T7" fmla="*/ 1 h 37"/>
                <a:gd name="T8" fmla="*/ 13 w 26"/>
                <a:gd name="T9" fmla="*/ 0 h 37"/>
                <a:gd name="T10" fmla="*/ 12 w 26"/>
                <a:gd name="T11" fmla="*/ 1 h 37"/>
                <a:gd name="T12" fmla="*/ 4 w 26"/>
                <a:gd name="T13" fmla="*/ 18 h 37"/>
                <a:gd name="T14" fmla="*/ 0 w 26"/>
                <a:gd name="T15" fmla="*/ 37 h 37"/>
                <a:gd name="T16" fmla="*/ 6 w 26"/>
                <a:gd name="T17" fmla="*/ 37 h 37"/>
                <a:gd name="T18" fmla="*/ 8 w 26"/>
                <a:gd name="T19" fmla="*/ 32 h 37"/>
                <a:gd name="T20" fmla="*/ 13 w 26"/>
                <a:gd name="T21" fmla="*/ 32 h 37"/>
                <a:gd name="T22" fmla="*/ 13 w 26"/>
                <a:gd name="T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2"/>
                  </a:moveTo>
                  <a:lnTo>
                    <a:pt x="16" y="19"/>
                  </a:lnTo>
                  <a:lnTo>
                    <a:pt x="26" y="10"/>
                  </a:lnTo>
                  <a:lnTo>
                    <a:pt x="21" y="1"/>
                  </a:lnTo>
                  <a:lnTo>
                    <a:pt x="13" y="0"/>
                  </a:lnTo>
                  <a:lnTo>
                    <a:pt x="12" y="1"/>
                  </a:lnTo>
                  <a:lnTo>
                    <a:pt x="4" y="18"/>
                  </a:lnTo>
                  <a:lnTo>
                    <a:pt x="0" y="37"/>
                  </a:lnTo>
                  <a:lnTo>
                    <a:pt x="6" y="37"/>
                  </a:lnTo>
                  <a:lnTo>
                    <a:pt x="8" y="32"/>
                  </a:lnTo>
                  <a:lnTo>
                    <a:pt x="13" y="32"/>
                  </a:lnTo>
                  <a:lnTo>
                    <a:pt x="13" y="3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0" name="Liberia"/>
            <p:cNvSpPr>
              <a:spLocks/>
            </p:cNvSpPr>
            <p:nvPr/>
          </p:nvSpPr>
          <p:spPr bwMode="auto">
            <a:xfrm>
              <a:off x="5619750" y="4160838"/>
              <a:ext cx="131762" cy="158750"/>
            </a:xfrm>
            <a:custGeom>
              <a:avLst/>
              <a:gdLst>
                <a:gd name="T0" fmla="*/ 64 w 83"/>
                <a:gd name="T1" fmla="*/ 20 h 100"/>
                <a:gd name="T2" fmla="*/ 57 w 83"/>
                <a:gd name="T3" fmla="*/ 19 h 100"/>
                <a:gd name="T4" fmla="*/ 54 w 83"/>
                <a:gd name="T5" fmla="*/ 30 h 100"/>
                <a:gd name="T6" fmla="*/ 47 w 83"/>
                <a:gd name="T7" fmla="*/ 29 h 100"/>
                <a:gd name="T8" fmla="*/ 43 w 83"/>
                <a:gd name="T9" fmla="*/ 24 h 100"/>
                <a:gd name="T10" fmla="*/ 45 w 83"/>
                <a:gd name="T11" fmla="*/ 15 h 100"/>
                <a:gd name="T12" fmla="*/ 36 w 83"/>
                <a:gd name="T13" fmla="*/ 0 h 100"/>
                <a:gd name="T14" fmla="*/ 30 w 83"/>
                <a:gd name="T15" fmla="*/ 3 h 100"/>
                <a:gd name="T16" fmla="*/ 27 w 83"/>
                <a:gd name="T17" fmla="*/ 3 h 100"/>
                <a:gd name="T18" fmla="*/ 16 w 83"/>
                <a:gd name="T19" fmla="*/ 15 h 100"/>
                <a:gd name="T20" fmla="*/ 7 w 83"/>
                <a:gd name="T21" fmla="*/ 27 h 100"/>
                <a:gd name="T22" fmla="*/ 6 w 83"/>
                <a:gd name="T23" fmla="*/ 34 h 100"/>
                <a:gd name="T24" fmla="*/ 0 w 83"/>
                <a:gd name="T25" fmla="*/ 42 h 100"/>
                <a:gd name="T26" fmla="*/ 14 w 83"/>
                <a:gd name="T27" fmla="*/ 57 h 100"/>
                <a:gd name="T28" fmla="*/ 32 w 83"/>
                <a:gd name="T29" fmla="*/ 70 h 100"/>
                <a:gd name="T30" fmla="*/ 52 w 83"/>
                <a:gd name="T31" fmla="*/ 88 h 100"/>
                <a:gd name="T32" fmla="*/ 73 w 83"/>
                <a:gd name="T33" fmla="*/ 100 h 100"/>
                <a:gd name="T34" fmla="*/ 79 w 83"/>
                <a:gd name="T35" fmla="*/ 100 h 100"/>
                <a:gd name="T36" fmla="*/ 81 w 83"/>
                <a:gd name="T37" fmla="*/ 80 h 100"/>
                <a:gd name="T38" fmla="*/ 83 w 83"/>
                <a:gd name="T39" fmla="*/ 77 h 100"/>
                <a:gd name="T40" fmla="*/ 82 w 83"/>
                <a:gd name="T41" fmla="*/ 68 h 100"/>
                <a:gd name="T42" fmla="*/ 73 w 83"/>
                <a:gd name="T43" fmla="*/ 58 h 100"/>
                <a:gd name="T44" fmla="*/ 66 w 83"/>
                <a:gd name="T45" fmla="*/ 56 h 100"/>
                <a:gd name="T46" fmla="*/ 60 w 83"/>
                <a:gd name="T47" fmla="*/ 49 h 100"/>
                <a:gd name="T48" fmla="*/ 65 w 83"/>
                <a:gd name="T49" fmla="*/ 39 h 100"/>
                <a:gd name="T50" fmla="*/ 62 w 83"/>
                <a:gd name="T51" fmla="*/ 27 h 100"/>
                <a:gd name="T52" fmla="*/ 64 w 83"/>
                <a:gd name="T53" fmla="*/ 20 h 100"/>
                <a:gd name="T54" fmla="*/ 64 w 83"/>
                <a:gd name="T55"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00">
                  <a:moveTo>
                    <a:pt x="64" y="20"/>
                  </a:moveTo>
                  <a:lnTo>
                    <a:pt x="57" y="19"/>
                  </a:lnTo>
                  <a:lnTo>
                    <a:pt x="54" y="30"/>
                  </a:lnTo>
                  <a:lnTo>
                    <a:pt x="47" y="29"/>
                  </a:lnTo>
                  <a:lnTo>
                    <a:pt x="43" y="24"/>
                  </a:lnTo>
                  <a:lnTo>
                    <a:pt x="45" y="15"/>
                  </a:lnTo>
                  <a:lnTo>
                    <a:pt x="36" y="0"/>
                  </a:lnTo>
                  <a:lnTo>
                    <a:pt x="30" y="3"/>
                  </a:lnTo>
                  <a:lnTo>
                    <a:pt x="27" y="3"/>
                  </a:lnTo>
                  <a:lnTo>
                    <a:pt x="16" y="15"/>
                  </a:lnTo>
                  <a:lnTo>
                    <a:pt x="7" y="27"/>
                  </a:lnTo>
                  <a:lnTo>
                    <a:pt x="6" y="34"/>
                  </a:lnTo>
                  <a:lnTo>
                    <a:pt x="0" y="42"/>
                  </a:lnTo>
                  <a:lnTo>
                    <a:pt x="14" y="57"/>
                  </a:lnTo>
                  <a:lnTo>
                    <a:pt x="32" y="70"/>
                  </a:lnTo>
                  <a:lnTo>
                    <a:pt x="52" y="88"/>
                  </a:lnTo>
                  <a:lnTo>
                    <a:pt x="73" y="100"/>
                  </a:lnTo>
                  <a:lnTo>
                    <a:pt x="79" y="100"/>
                  </a:lnTo>
                  <a:lnTo>
                    <a:pt x="81" y="80"/>
                  </a:lnTo>
                  <a:lnTo>
                    <a:pt x="83" y="77"/>
                  </a:lnTo>
                  <a:lnTo>
                    <a:pt x="82" y="68"/>
                  </a:lnTo>
                  <a:lnTo>
                    <a:pt x="73" y="58"/>
                  </a:lnTo>
                  <a:lnTo>
                    <a:pt x="66" y="56"/>
                  </a:lnTo>
                  <a:lnTo>
                    <a:pt x="60" y="49"/>
                  </a:lnTo>
                  <a:lnTo>
                    <a:pt x="65" y="39"/>
                  </a:lnTo>
                  <a:lnTo>
                    <a:pt x="62" y="27"/>
                  </a:lnTo>
                  <a:lnTo>
                    <a:pt x="64" y="20"/>
                  </a:lnTo>
                  <a:lnTo>
                    <a:pt x="64" y="2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1" name="Libya"/>
            <p:cNvSpPr>
              <a:spLocks/>
            </p:cNvSpPr>
            <p:nvPr/>
          </p:nvSpPr>
          <p:spPr bwMode="auto">
            <a:xfrm>
              <a:off x="6302375" y="3233738"/>
              <a:ext cx="517525" cy="509588"/>
            </a:xfrm>
            <a:custGeom>
              <a:avLst/>
              <a:gdLst>
                <a:gd name="T0" fmla="*/ 315 w 326"/>
                <a:gd name="T1" fmla="*/ 38 h 321"/>
                <a:gd name="T2" fmla="*/ 309 w 326"/>
                <a:gd name="T3" fmla="*/ 29 h 321"/>
                <a:gd name="T4" fmla="*/ 289 w 326"/>
                <a:gd name="T5" fmla="*/ 26 h 321"/>
                <a:gd name="T6" fmla="*/ 282 w 326"/>
                <a:gd name="T7" fmla="*/ 23 h 321"/>
                <a:gd name="T8" fmla="*/ 274 w 326"/>
                <a:gd name="T9" fmla="*/ 23 h 321"/>
                <a:gd name="T10" fmla="*/ 267 w 326"/>
                <a:gd name="T11" fmla="*/ 11 h 321"/>
                <a:gd name="T12" fmla="*/ 240 w 326"/>
                <a:gd name="T13" fmla="*/ 7 h 321"/>
                <a:gd name="T14" fmla="*/ 227 w 326"/>
                <a:gd name="T15" fmla="*/ 10 h 321"/>
                <a:gd name="T16" fmla="*/ 213 w 326"/>
                <a:gd name="T17" fmla="*/ 21 h 321"/>
                <a:gd name="T18" fmla="*/ 207 w 326"/>
                <a:gd name="T19" fmla="*/ 33 h 321"/>
                <a:gd name="T20" fmla="*/ 213 w 326"/>
                <a:gd name="T21" fmla="*/ 51 h 321"/>
                <a:gd name="T22" fmla="*/ 204 w 326"/>
                <a:gd name="T23" fmla="*/ 62 h 321"/>
                <a:gd name="T24" fmla="*/ 194 w 326"/>
                <a:gd name="T25" fmla="*/ 67 h 321"/>
                <a:gd name="T26" fmla="*/ 173 w 326"/>
                <a:gd name="T27" fmla="*/ 56 h 321"/>
                <a:gd name="T28" fmla="*/ 144 w 326"/>
                <a:gd name="T29" fmla="*/ 46 h 321"/>
                <a:gd name="T30" fmla="*/ 125 w 326"/>
                <a:gd name="T31" fmla="*/ 41 h 321"/>
                <a:gd name="T32" fmla="*/ 115 w 326"/>
                <a:gd name="T33" fmla="*/ 21 h 321"/>
                <a:gd name="T34" fmla="*/ 88 w 326"/>
                <a:gd name="T35" fmla="*/ 10 h 321"/>
                <a:gd name="T36" fmla="*/ 71 w 326"/>
                <a:gd name="T37" fmla="*/ 6 h 321"/>
                <a:gd name="T38" fmla="*/ 63 w 326"/>
                <a:gd name="T39" fmla="*/ 8 h 321"/>
                <a:gd name="T40" fmla="*/ 39 w 326"/>
                <a:gd name="T41" fmla="*/ 0 h 321"/>
                <a:gd name="T42" fmla="*/ 39 w 326"/>
                <a:gd name="T43" fmla="*/ 18 h 321"/>
                <a:gd name="T44" fmla="*/ 29 w 326"/>
                <a:gd name="T45" fmla="*/ 24 h 321"/>
                <a:gd name="T46" fmla="*/ 23 w 326"/>
                <a:gd name="T47" fmla="*/ 32 h 321"/>
                <a:gd name="T48" fmla="*/ 9 w 326"/>
                <a:gd name="T49" fmla="*/ 41 h 321"/>
                <a:gd name="T50" fmla="*/ 12 w 326"/>
                <a:gd name="T51" fmla="*/ 52 h 321"/>
                <a:gd name="T52" fmla="*/ 11 w 326"/>
                <a:gd name="T53" fmla="*/ 62 h 321"/>
                <a:gd name="T54" fmla="*/ 1 w 326"/>
                <a:gd name="T55" fmla="*/ 66 h 321"/>
                <a:gd name="T56" fmla="*/ 8 w 326"/>
                <a:gd name="T57" fmla="*/ 88 h 321"/>
                <a:gd name="T58" fmla="*/ 9 w 326"/>
                <a:gd name="T59" fmla="*/ 99 h 321"/>
                <a:gd name="T60" fmla="*/ 7 w 326"/>
                <a:gd name="T61" fmla="*/ 118 h 321"/>
                <a:gd name="T62" fmla="*/ 8 w 326"/>
                <a:gd name="T63" fmla="*/ 129 h 321"/>
                <a:gd name="T64" fmla="*/ 6 w 326"/>
                <a:gd name="T65" fmla="*/ 142 h 321"/>
                <a:gd name="T66" fmla="*/ 7 w 326"/>
                <a:gd name="T67" fmla="*/ 157 h 321"/>
                <a:gd name="T68" fmla="*/ 0 w 326"/>
                <a:gd name="T69" fmla="*/ 166 h 321"/>
                <a:gd name="T70" fmla="*/ 13 w 326"/>
                <a:gd name="T71" fmla="*/ 184 h 321"/>
                <a:gd name="T72" fmla="*/ 13 w 326"/>
                <a:gd name="T73" fmla="*/ 194 h 321"/>
                <a:gd name="T74" fmla="*/ 21 w 326"/>
                <a:gd name="T75" fmla="*/ 207 h 321"/>
                <a:gd name="T76" fmla="*/ 31 w 326"/>
                <a:gd name="T77" fmla="*/ 204 h 321"/>
                <a:gd name="T78" fmla="*/ 47 w 326"/>
                <a:gd name="T79" fmla="*/ 214 h 321"/>
                <a:gd name="T80" fmla="*/ 56 w 326"/>
                <a:gd name="T81" fmla="*/ 229 h 321"/>
                <a:gd name="T82" fmla="*/ 89 w 326"/>
                <a:gd name="T83" fmla="*/ 239 h 321"/>
                <a:gd name="T84" fmla="*/ 101 w 326"/>
                <a:gd name="T85" fmla="*/ 252 h 321"/>
                <a:gd name="T86" fmla="*/ 115 w 326"/>
                <a:gd name="T87" fmla="*/ 244 h 321"/>
                <a:gd name="T88" fmla="*/ 135 w 326"/>
                <a:gd name="T89" fmla="*/ 231 h 321"/>
                <a:gd name="T90" fmla="*/ 218 w 326"/>
                <a:gd name="T91" fmla="*/ 277 h 321"/>
                <a:gd name="T92" fmla="*/ 302 w 326"/>
                <a:gd name="T93" fmla="*/ 321 h 321"/>
                <a:gd name="T94" fmla="*/ 302 w 326"/>
                <a:gd name="T95" fmla="*/ 312 h 321"/>
                <a:gd name="T96" fmla="*/ 326 w 326"/>
                <a:gd name="T97" fmla="*/ 312 h 321"/>
                <a:gd name="T98" fmla="*/ 324 w 326"/>
                <a:gd name="T99" fmla="*/ 264 h 321"/>
                <a:gd name="T100" fmla="*/ 320 w 326"/>
                <a:gd name="T101" fmla="*/ 177 h 321"/>
                <a:gd name="T102" fmla="*/ 316 w 326"/>
                <a:gd name="T103" fmla="*/ 92 h 321"/>
                <a:gd name="T104" fmla="*/ 308 w 326"/>
                <a:gd name="T105" fmla="*/ 73 h 321"/>
                <a:gd name="T106" fmla="*/ 312 w 326"/>
                <a:gd name="T107" fmla="*/ 58 h 321"/>
                <a:gd name="T108" fmla="*/ 308 w 326"/>
                <a:gd name="T109" fmla="*/ 49 h 321"/>
                <a:gd name="T110" fmla="*/ 315 w 326"/>
                <a:gd name="T111" fmla="*/ 38 h 321"/>
                <a:gd name="T112" fmla="*/ 315 w 326"/>
                <a:gd name="T113" fmla="*/ 3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1">
                  <a:moveTo>
                    <a:pt x="315" y="38"/>
                  </a:moveTo>
                  <a:lnTo>
                    <a:pt x="309" y="29"/>
                  </a:lnTo>
                  <a:lnTo>
                    <a:pt x="289" y="26"/>
                  </a:lnTo>
                  <a:lnTo>
                    <a:pt x="282" y="23"/>
                  </a:lnTo>
                  <a:lnTo>
                    <a:pt x="274" y="23"/>
                  </a:lnTo>
                  <a:lnTo>
                    <a:pt x="267" y="11"/>
                  </a:lnTo>
                  <a:lnTo>
                    <a:pt x="240" y="7"/>
                  </a:lnTo>
                  <a:lnTo>
                    <a:pt x="227" y="10"/>
                  </a:lnTo>
                  <a:lnTo>
                    <a:pt x="213" y="21"/>
                  </a:lnTo>
                  <a:lnTo>
                    <a:pt x="207" y="33"/>
                  </a:lnTo>
                  <a:lnTo>
                    <a:pt x="213" y="51"/>
                  </a:lnTo>
                  <a:lnTo>
                    <a:pt x="204" y="62"/>
                  </a:lnTo>
                  <a:lnTo>
                    <a:pt x="194" y="67"/>
                  </a:lnTo>
                  <a:lnTo>
                    <a:pt x="173" y="56"/>
                  </a:lnTo>
                  <a:lnTo>
                    <a:pt x="144" y="46"/>
                  </a:lnTo>
                  <a:lnTo>
                    <a:pt x="125" y="41"/>
                  </a:lnTo>
                  <a:lnTo>
                    <a:pt x="115" y="21"/>
                  </a:lnTo>
                  <a:lnTo>
                    <a:pt x="88" y="10"/>
                  </a:lnTo>
                  <a:lnTo>
                    <a:pt x="71" y="6"/>
                  </a:lnTo>
                  <a:lnTo>
                    <a:pt x="63" y="8"/>
                  </a:lnTo>
                  <a:lnTo>
                    <a:pt x="39" y="0"/>
                  </a:lnTo>
                  <a:lnTo>
                    <a:pt x="39" y="18"/>
                  </a:lnTo>
                  <a:lnTo>
                    <a:pt x="29" y="24"/>
                  </a:lnTo>
                  <a:lnTo>
                    <a:pt x="23" y="32"/>
                  </a:lnTo>
                  <a:lnTo>
                    <a:pt x="9" y="41"/>
                  </a:lnTo>
                  <a:lnTo>
                    <a:pt x="12" y="52"/>
                  </a:lnTo>
                  <a:lnTo>
                    <a:pt x="11" y="62"/>
                  </a:lnTo>
                  <a:lnTo>
                    <a:pt x="1" y="66"/>
                  </a:lnTo>
                  <a:lnTo>
                    <a:pt x="8" y="88"/>
                  </a:lnTo>
                  <a:lnTo>
                    <a:pt x="9" y="99"/>
                  </a:lnTo>
                  <a:lnTo>
                    <a:pt x="7" y="118"/>
                  </a:lnTo>
                  <a:lnTo>
                    <a:pt x="8" y="129"/>
                  </a:lnTo>
                  <a:lnTo>
                    <a:pt x="6" y="142"/>
                  </a:lnTo>
                  <a:lnTo>
                    <a:pt x="7" y="157"/>
                  </a:lnTo>
                  <a:lnTo>
                    <a:pt x="0" y="166"/>
                  </a:lnTo>
                  <a:lnTo>
                    <a:pt x="13" y="184"/>
                  </a:lnTo>
                  <a:lnTo>
                    <a:pt x="13" y="194"/>
                  </a:lnTo>
                  <a:lnTo>
                    <a:pt x="21" y="207"/>
                  </a:lnTo>
                  <a:lnTo>
                    <a:pt x="31" y="204"/>
                  </a:lnTo>
                  <a:lnTo>
                    <a:pt x="47" y="214"/>
                  </a:lnTo>
                  <a:lnTo>
                    <a:pt x="56" y="229"/>
                  </a:lnTo>
                  <a:lnTo>
                    <a:pt x="89" y="239"/>
                  </a:lnTo>
                  <a:lnTo>
                    <a:pt x="101" y="252"/>
                  </a:lnTo>
                  <a:lnTo>
                    <a:pt x="115" y="244"/>
                  </a:lnTo>
                  <a:lnTo>
                    <a:pt x="135" y="231"/>
                  </a:lnTo>
                  <a:lnTo>
                    <a:pt x="218" y="277"/>
                  </a:lnTo>
                  <a:lnTo>
                    <a:pt x="302" y="321"/>
                  </a:lnTo>
                  <a:lnTo>
                    <a:pt x="302" y="312"/>
                  </a:lnTo>
                  <a:lnTo>
                    <a:pt x="326" y="312"/>
                  </a:lnTo>
                  <a:lnTo>
                    <a:pt x="324" y="264"/>
                  </a:lnTo>
                  <a:lnTo>
                    <a:pt x="320" y="177"/>
                  </a:lnTo>
                  <a:lnTo>
                    <a:pt x="316" y="92"/>
                  </a:lnTo>
                  <a:lnTo>
                    <a:pt x="308" y="73"/>
                  </a:lnTo>
                  <a:lnTo>
                    <a:pt x="312" y="58"/>
                  </a:lnTo>
                  <a:lnTo>
                    <a:pt x="308" y="49"/>
                  </a:lnTo>
                  <a:lnTo>
                    <a:pt x="315" y="38"/>
                  </a:lnTo>
                  <a:lnTo>
                    <a:pt x="315" y="3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2" name="Sri Lanka"/>
            <p:cNvSpPr>
              <a:spLocks/>
            </p:cNvSpPr>
            <p:nvPr/>
          </p:nvSpPr>
          <p:spPr bwMode="auto">
            <a:xfrm>
              <a:off x="8648700" y="4113213"/>
              <a:ext cx="69850" cy="144463"/>
            </a:xfrm>
            <a:custGeom>
              <a:avLst/>
              <a:gdLst>
                <a:gd name="T0" fmla="*/ 34 w 44"/>
                <a:gd name="T1" fmla="*/ 86 h 91"/>
                <a:gd name="T2" fmla="*/ 42 w 44"/>
                <a:gd name="T3" fmla="*/ 79 h 91"/>
                <a:gd name="T4" fmla="*/ 44 w 44"/>
                <a:gd name="T5" fmla="*/ 54 h 91"/>
                <a:gd name="T6" fmla="*/ 33 w 44"/>
                <a:gd name="T7" fmla="*/ 30 h 91"/>
                <a:gd name="T8" fmla="*/ 22 w 44"/>
                <a:gd name="T9" fmla="*/ 13 h 91"/>
                <a:gd name="T10" fmla="*/ 6 w 44"/>
                <a:gd name="T11" fmla="*/ 0 h 91"/>
                <a:gd name="T12" fmla="*/ 0 w 44"/>
                <a:gd name="T13" fmla="*/ 38 h 91"/>
                <a:gd name="T14" fmla="*/ 5 w 44"/>
                <a:gd name="T15" fmla="*/ 72 h 91"/>
                <a:gd name="T16" fmla="*/ 16 w 44"/>
                <a:gd name="T17" fmla="*/ 91 h 91"/>
                <a:gd name="T18" fmla="*/ 34 w 44"/>
                <a:gd name="T19" fmla="*/ 86 h 91"/>
                <a:gd name="T20" fmla="*/ 34 w 44"/>
                <a:gd name="T21"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91">
                  <a:moveTo>
                    <a:pt x="34" y="86"/>
                  </a:moveTo>
                  <a:lnTo>
                    <a:pt x="42" y="79"/>
                  </a:lnTo>
                  <a:lnTo>
                    <a:pt x="44" y="54"/>
                  </a:lnTo>
                  <a:lnTo>
                    <a:pt x="33" y="30"/>
                  </a:lnTo>
                  <a:lnTo>
                    <a:pt x="22" y="13"/>
                  </a:lnTo>
                  <a:lnTo>
                    <a:pt x="6" y="0"/>
                  </a:lnTo>
                  <a:lnTo>
                    <a:pt x="0" y="38"/>
                  </a:lnTo>
                  <a:lnTo>
                    <a:pt x="5" y="72"/>
                  </a:lnTo>
                  <a:lnTo>
                    <a:pt x="16" y="91"/>
                  </a:lnTo>
                  <a:lnTo>
                    <a:pt x="34" y="86"/>
                  </a:lnTo>
                  <a:lnTo>
                    <a:pt x="34" y="8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3" name="Lesotho"/>
            <p:cNvSpPr>
              <a:spLocks/>
            </p:cNvSpPr>
            <p:nvPr/>
          </p:nvSpPr>
          <p:spPr bwMode="auto">
            <a:xfrm>
              <a:off x="6865937" y="5564188"/>
              <a:ext cx="74612" cy="74613"/>
            </a:xfrm>
            <a:custGeom>
              <a:avLst/>
              <a:gdLst>
                <a:gd name="T0" fmla="*/ 20 w 47"/>
                <a:gd name="T1" fmla="*/ 45 h 47"/>
                <a:gd name="T2" fmla="*/ 25 w 47"/>
                <a:gd name="T3" fmla="*/ 37 h 47"/>
                <a:gd name="T4" fmla="*/ 36 w 47"/>
                <a:gd name="T5" fmla="*/ 34 h 47"/>
                <a:gd name="T6" fmla="*/ 41 w 47"/>
                <a:gd name="T7" fmla="*/ 26 h 47"/>
                <a:gd name="T8" fmla="*/ 47 w 47"/>
                <a:gd name="T9" fmla="*/ 14 h 47"/>
                <a:gd name="T10" fmla="*/ 41 w 47"/>
                <a:gd name="T11" fmla="*/ 7 h 47"/>
                <a:gd name="T12" fmla="*/ 32 w 47"/>
                <a:gd name="T13" fmla="*/ 0 h 47"/>
                <a:gd name="T14" fmla="*/ 23 w 47"/>
                <a:gd name="T15" fmla="*/ 5 h 47"/>
                <a:gd name="T16" fmla="*/ 11 w 47"/>
                <a:gd name="T17" fmla="*/ 14 h 47"/>
                <a:gd name="T18" fmla="*/ 0 w 47"/>
                <a:gd name="T19" fmla="*/ 29 h 47"/>
                <a:gd name="T20" fmla="*/ 13 w 47"/>
                <a:gd name="T21" fmla="*/ 47 h 47"/>
                <a:gd name="T22" fmla="*/ 20 w 47"/>
                <a:gd name="T23" fmla="*/ 45 h 47"/>
                <a:gd name="T24" fmla="*/ 20 w 47"/>
                <a:gd name="T25"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0" y="45"/>
                  </a:moveTo>
                  <a:lnTo>
                    <a:pt x="25" y="37"/>
                  </a:lnTo>
                  <a:lnTo>
                    <a:pt x="36" y="34"/>
                  </a:lnTo>
                  <a:lnTo>
                    <a:pt x="41" y="26"/>
                  </a:lnTo>
                  <a:lnTo>
                    <a:pt x="47" y="14"/>
                  </a:lnTo>
                  <a:lnTo>
                    <a:pt x="41" y="7"/>
                  </a:lnTo>
                  <a:lnTo>
                    <a:pt x="32" y="0"/>
                  </a:lnTo>
                  <a:lnTo>
                    <a:pt x="23" y="5"/>
                  </a:lnTo>
                  <a:lnTo>
                    <a:pt x="11" y="14"/>
                  </a:lnTo>
                  <a:lnTo>
                    <a:pt x="0" y="29"/>
                  </a:lnTo>
                  <a:lnTo>
                    <a:pt x="13" y="47"/>
                  </a:lnTo>
                  <a:lnTo>
                    <a:pt x="20" y="45"/>
                  </a:lnTo>
                  <a:lnTo>
                    <a:pt x="20" y="4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4" name="Lithuania"/>
            <p:cNvSpPr>
              <a:spLocks/>
            </p:cNvSpPr>
            <p:nvPr/>
          </p:nvSpPr>
          <p:spPr bwMode="auto">
            <a:xfrm>
              <a:off x="6581775" y="2374901"/>
              <a:ext cx="157162" cy="88900"/>
            </a:xfrm>
            <a:custGeom>
              <a:avLst/>
              <a:gdLst>
                <a:gd name="T0" fmla="*/ 97 w 99"/>
                <a:gd name="T1" fmla="*/ 17 h 56"/>
                <a:gd name="T2" fmla="*/ 78 w 99"/>
                <a:gd name="T3" fmla="*/ 6 h 56"/>
                <a:gd name="T4" fmla="*/ 69 w 99"/>
                <a:gd name="T5" fmla="*/ 5 h 56"/>
                <a:gd name="T6" fmla="*/ 65 w 99"/>
                <a:gd name="T7" fmla="*/ 0 h 56"/>
                <a:gd name="T8" fmla="*/ 48 w 99"/>
                <a:gd name="T9" fmla="*/ 2 h 56"/>
                <a:gd name="T10" fmla="*/ 19 w 99"/>
                <a:gd name="T11" fmla="*/ 1 h 56"/>
                <a:gd name="T12" fmla="*/ 0 w 99"/>
                <a:gd name="T13" fmla="*/ 8 h 56"/>
                <a:gd name="T14" fmla="*/ 7 w 99"/>
                <a:gd name="T15" fmla="*/ 27 h 56"/>
                <a:gd name="T16" fmla="*/ 26 w 99"/>
                <a:gd name="T17" fmla="*/ 30 h 56"/>
                <a:gd name="T18" fmla="*/ 33 w 99"/>
                <a:gd name="T19" fmla="*/ 34 h 56"/>
                <a:gd name="T20" fmla="*/ 33 w 99"/>
                <a:gd name="T21" fmla="*/ 41 h 56"/>
                <a:gd name="T22" fmla="*/ 35 w 99"/>
                <a:gd name="T23" fmla="*/ 46 h 56"/>
                <a:gd name="T24" fmla="*/ 44 w 99"/>
                <a:gd name="T25" fmla="*/ 48 h 56"/>
                <a:gd name="T26" fmla="*/ 50 w 99"/>
                <a:gd name="T27" fmla="*/ 56 h 56"/>
                <a:gd name="T28" fmla="*/ 67 w 99"/>
                <a:gd name="T29" fmla="*/ 56 h 56"/>
                <a:gd name="T30" fmla="*/ 84 w 99"/>
                <a:gd name="T31" fmla="*/ 47 h 56"/>
                <a:gd name="T32" fmla="*/ 86 w 99"/>
                <a:gd name="T33" fmla="*/ 34 h 56"/>
                <a:gd name="T34" fmla="*/ 99 w 99"/>
                <a:gd name="T35" fmla="*/ 27 h 56"/>
                <a:gd name="T36" fmla="*/ 97 w 99"/>
                <a:gd name="T37" fmla="*/ 17 h 56"/>
                <a:gd name="T38" fmla="*/ 97 w 99"/>
                <a:gd name="T39"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56">
                  <a:moveTo>
                    <a:pt x="97" y="17"/>
                  </a:moveTo>
                  <a:lnTo>
                    <a:pt x="78" y="6"/>
                  </a:lnTo>
                  <a:lnTo>
                    <a:pt x="69" y="5"/>
                  </a:lnTo>
                  <a:lnTo>
                    <a:pt x="65" y="0"/>
                  </a:lnTo>
                  <a:lnTo>
                    <a:pt x="48" y="2"/>
                  </a:lnTo>
                  <a:lnTo>
                    <a:pt x="19" y="1"/>
                  </a:lnTo>
                  <a:lnTo>
                    <a:pt x="0" y="8"/>
                  </a:lnTo>
                  <a:lnTo>
                    <a:pt x="7" y="27"/>
                  </a:lnTo>
                  <a:lnTo>
                    <a:pt x="26" y="30"/>
                  </a:lnTo>
                  <a:lnTo>
                    <a:pt x="33" y="34"/>
                  </a:lnTo>
                  <a:lnTo>
                    <a:pt x="33" y="41"/>
                  </a:lnTo>
                  <a:lnTo>
                    <a:pt x="35" y="46"/>
                  </a:lnTo>
                  <a:lnTo>
                    <a:pt x="44" y="48"/>
                  </a:lnTo>
                  <a:lnTo>
                    <a:pt x="50" y="56"/>
                  </a:lnTo>
                  <a:lnTo>
                    <a:pt x="67" y="56"/>
                  </a:lnTo>
                  <a:lnTo>
                    <a:pt x="84" y="47"/>
                  </a:lnTo>
                  <a:lnTo>
                    <a:pt x="86" y="34"/>
                  </a:lnTo>
                  <a:lnTo>
                    <a:pt x="99" y="27"/>
                  </a:lnTo>
                  <a:lnTo>
                    <a:pt x="97" y="17"/>
                  </a:lnTo>
                  <a:lnTo>
                    <a:pt x="97" y="1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Luxembourg"/>
            <p:cNvSpPr>
              <a:spLocks/>
            </p:cNvSpPr>
            <p:nvPr/>
          </p:nvSpPr>
          <p:spPr bwMode="auto">
            <a:xfrm>
              <a:off x="6165850" y="2600326"/>
              <a:ext cx="15875" cy="23813"/>
            </a:xfrm>
            <a:custGeom>
              <a:avLst/>
              <a:gdLst>
                <a:gd name="T0" fmla="*/ 9 w 10"/>
                <a:gd name="T1" fmla="*/ 15 h 15"/>
                <a:gd name="T2" fmla="*/ 10 w 10"/>
                <a:gd name="T3" fmla="*/ 5 h 15"/>
                <a:gd name="T4" fmla="*/ 7 w 10"/>
                <a:gd name="T5" fmla="*/ 0 h 15"/>
                <a:gd name="T6" fmla="*/ 2 w 10"/>
                <a:gd name="T7" fmla="*/ 1 h 15"/>
                <a:gd name="T8" fmla="*/ 0 w 10"/>
                <a:gd name="T9" fmla="*/ 14 h 15"/>
                <a:gd name="T10" fmla="*/ 4 w 10"/>
                <a:gd name="T11" fmla="*/ 15 h 15"/>
                <a:gd name="T12" fmla="*/ 9 w 1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0" h="15">
                  <a:moveTo>
                    <a:pt x="9" y="15"/>
                  </a:moveTo>
                  <a:lnTo>
                    <a:pt x="10" y="5"/>
                  </a:lnTo>
                  <a:lnTo>
                    <a:pt x="7" y="0"/>
                  </a:lnTo>
                  <a:lnTo>
                    <a:pt x="2" y="1"/>
                  </a:lnTo>
                  <a:lnTo>
                    <a:pt x="0" y="14"/>
                  </a:lnTo>
                  <a:lnTo>
                    <a:pt x="4" y="15"/>
                  </a:lnTo>
                  <a:lnTo>
                    <a:pt x="9" y="1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Latvia"/>
            <p:cNvSpPr>
              <a:spLocks/>
            </p:cNvSpPr>
            <p:nvPr/>
          </p:nvSpPr>
          <p:spPr bwMode="auto">
            <a:xfrm>
              <a:off x="6580187" y="2319338"/>
              <a:ext cx="196850" cy="82550"/>
            </a:xfrm>
            <a:custGeom>
              <a:avLst/>
              <a:gdLst>
                <a:gd name="T0" fmla="*/ 103 w 124"/>
                <a:gd name="T1" fmla="*/ 10 h 52"/>
                <a:gd name="T2" fmla="*/ 89 w 124"/>
                <a:gd name="T3" fmla="*/ 10 h 52"/>
                <a:gd name="T4" fmla="*/ 73 w 124"/>
                <a:gd name="T5" fmla="*/ 3 h 52"/>
                <a:gd name="T6" fmla="*/ 65 w 124"/>
                <a:gd name="T7" fmla="*/ 0 h 52"/>
                <a:gd name="T8" fmla="*/ 51 w 124"/>
                <a:gd name="T9" fmla="*/ 4 h 52"/>
                <a:gd name="T10" fmla="*/ 51 w 124"/>
                <a:gd name="T11" fmla="*/ 21 h 52"/>
                <a:gd name="T12" fmla="*/ 37 w 124"/>
                <a:gd name="T13" fmla="*/ 22 h 52"/>
                <a:gd name="T14" fmla="*/ 21 w 124"/>
                <a:gd name="T15" fmla="*/ 5 h 52"/>
                <a:gd name="T16" fmla="*/ 6 w 124"/>
                <a:gd name="T17" fmla="*/ 12 h 52"/>
                <a:gd name="T18" fmla="*/ 0 w 124"/>
                <a:gd name="T19" fmla="*/ 26 h 52"/>
                <a:gd name="T20" fmla="*/ 1 w 124"/>
                <a:gd name="T21" fmla="*/ 43 h 52"/>
                <a:gd name="T22" fmla="*/ 20 w 124"/>
                <a:gd name="T23" fmla="*/ 36 h 52"/>
                <a:gd name="T24" fmla="*/ 49 w 124"/>
                <a:gd name="T25" fmla="*/ 37 h 52"/>
                <a:gd name="T26" fmla="*/ 66 w 124"/>
                <a:gd name="T27" fmla="*/ 35 h 52"/>
                <a:gd name="T28" fmla="*/ 70 w 124"/>
                <a:gd name="T29" fmla="*/ 40 h 52"/>
                <a:gd name="T30" fmla="*/ 79 w 124"/>
                <a:gd name="T31" fmla="*/ 41 h 52"/>
                <a:gd name="T32" fmla="*/ 98 w 124"/>
                <a:gd name="T33" fmla="*/ 52 h 52"/>
                <a:gd name="T34" fmla="*/ 107 w 124"/>
                <a:gd name="T35" fmla="*/ 49 h 52"/>
                <a:gd name="T36" fmla="*/ 124 w 124"/>
                <a:gd name="T37" fmla="*/ 40 h 52"/>
                <a:gd name="T38" fmla="*/ 116 w 124"/>
                <a:gd name="T39" fmla="*/ 26 h 52"/>
                <a:gd name="T40" fmla="*/ 113 w 124"/>
                <a:gd name="T41" fmla="*/ 16 h 52"/>
                <a:gd name="T42" fmla="*/ 103 w 124"/>
                <a:gd name="T43" fmla="*/ 10 h 52"/>
                <a:gd name="T44" fmla="*/ 103 w 124"/>
                <a:gd name="T45"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52">
                  <a:moveTo>
                    <a:pt x="103" y="10"/>
                  </a:moveTo>
                  <a:lnTo>
                    <a:pt x="89" y="10"/>
                  </a:lnTo>
                  <a:lnTo>
                    <a:pt x="73" y="3"/>
                  </a:lnTo>
                  <a:lnTo>
                    <a:pt x="65" y="0"/>
                  </a:lnTo>
                  <a:lnTo>
                    <a:pt x="51" y="4"/>
                  </a:lnTo>
                  <a:lnTo>
                    <a:pt x="51" y="21"/>
                  </a:lnTo>
                  <a:lnTo>
                    <a:pt x="37" y="22"/>
                  </a:lnTo>
                  <a:lnTo>
                    <a:pt x="21" y="5"/>
                  </a:lnTo>
                  <a:lnTo>
                    <a:pt x="6" y="12"/>
                  </a:lnTo>
                  <a:lnTo>
                    <a:pt x="0" y="26"/>
                  </a:lnTo>
                  <a:lnTo>
                    <a:pt x="1" y="43"/>
                  </a:lnTo>
                  <a:lnTo>
                    <a:pt x="20" y="36"/>
                  </a:lnTo>
                  <a:lnTo>
                    <a:pt x="49" y="37"/>
                  </a:lnTo>
                  <a:lnTo>
                    <a:pt x="66" y="35"/>
                  </a:lnTo>
                  <a:lnTo>
                    <a:pt x="70" y="40"/>
                  </a:lnTo>
                  <a:lnTo>
                    <a:pt x="79" y="41"/>
                  </a:lnTo>
                  <a:lnTo>
                    <a:pt x="98" y="52"/>
                  </a:lnTo>
                  <a:lnTo>
                    <a:pt x="107" y="49"/>
                  </a:lnTo>
                  <a:lnTo>
                    <a:pt x="124" y="40"/>
                  </a:lnTo>
                  <a:lnTo>
                    <a:pt x="116" y="26"/>
                  </a:lnTo>
                  <a:lnTo>
                    <a:pt x="113" y="16"/>
                  </a:lnTo>
                  <a:lnTo>
                    <a:pt x="103" y="10"/>
                  </a:lnTo>
                  <a:lnTo>
                    <a:pt x="103" y="1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Marocco"/>
            <p:cNvSpPr>
              <a:spLocks/>
            </p:cNvSpPr>
            <p:nvPr/>
          </p:nvSpPr>
          <p:spPr bwMode="auto">
            <a:xfrm>
              <a:off x="5445125" y="3133726"/>
              <a:ext cx="520700" cy="541338"/>
            </a:xfrm>
            <a:custGeom>
              <a:avLst/>
              <a:gdLst>
                <a:gd name="T0" fmla="*/ 299 w 328"/>
                <a:gd name="T1" fmla="*/ 14 h 341"/>
                <a:gd name="T2" fmla="*/ 260 w 328"/>
                <a:gd name="T3" fmla="*/ 10 h 341"/>
                <a:gd name="T4" fmla="*/ 234 w 328"/>
                <a:gd name="T5" fmla="*/ 0 h 341"/>
                <a:gd name="T6" fmla="*/ 213 w 328"/>
                <a:gd name="T7" fmla="*/ 40 h 341"/>
                <a:gd name="T8" fmla="*/ 178 w 328"/>
                <a:gd name="T9" fmla="*/ 60 h 341"/>
                <a:gd name="T10" fmla="*/ 161 w 328"/>
                <a:gd name="T11" fmla="*/ 89 h 341"/>
                <a:gd name="T12" fmla="*/ 157 w 328"/>
                <a:gd name="T13" fmla="*/ 139 h 341"/>
                <a:gd name="T14" fmla="*/ 130 w 328"/>
                <a:gd name="T15" fmla="*/ 165 h 341"/>
                <a:gd name="T16" fmla="*/ 95 w 328"/>
                <a:gd name="T17" fmla="*/ 184 h 341"/>
                <a:gd name="T18" fmla="*/ 83 w 328"/>
                <a:gd name="T19" fmla="*/ 193 h 341"/>
                <a:gd name="T20" fmla="*/ 56 w 328"/>
                <a:gd name="T21" fmla="*/ 226 h 341"/>
                <a:gd name="T22" fmla="*/ 48 w 328"/>
                <a:gd name="T23" fmla="*/ 254 h 341"/>
                <a:gd name="T24" fmla="*/ 35 w 328"/>
                <a:gd name="T25" fmla="*/ 271 h 341"/>
                <a:gd name="T26" fmla="*/ 15 w 328"/>
                <a:gd name="T27" fmla="*/ 303 h 341"/>
                <a:gd name="T28" fmla="*/ 10 w 328"/>
                <a:gd name="T29" fmla="*/ 324 h 341"/>
                <a:gd name="T30" fmla="*/ 0 w 328"/>
                <a:gd name="T31" fmla="*/ 341 h 341"/>
                <a:gd name="T32" fmla="*/ 47 w 328"/>
                <a:gd name="T33" fmla="*/ 340 h 341"/>
                <a:gd name="T34" fmla="*/ 58 w 328"/>
                <a:gd name="T35" fmla="*/ 320 h 341"/>
                <a:gd name="T36" fmla="*/ 95 w 328"/>
                <a:gd name="T37" fmla="*/ 261 h 341"/>
                <a:gd name="T38" fmla="*/ 111 w 328"/>
                <a:gd name="T39" fmla="*/ 229 h 341"/>
                <a:gd name="T40" fmla="*/ 136 w 328"/>
                <a:gd name="T41" fmla="*/ 209 h 341"/>
                <a:gd name="T42" fmla="*/ 153 w 328"/>
                <a:gd name="T43" fmla="*/ 212 h 341"/>
                <a:gd name="T44" fmla="*/ 172 w 328"/>
                <a:gd name="T45" fmla="*/ 205 h 341"/>
                <a:gd name="T46" fmla="*/ 171 w 328"/>
                <a:gd name="T47" fmla="*/ 193 h 341"/>
                <a:gd name="T48" fmla="*/ 175 w 328"/>
                <a:gd name="T49" fmla="*/ 165 h 341"/>
                <a:gd name="T50" fmla="*/ 228 w 328"/>
                <a:gd name="T51" fmla="*/ 144 h 341"/>
                <a:gd name="T52" fmla="*/ 252 w 328"/>
                <a:gd name="T53" fmla="*/ 125 h 341"/>
                <a:gd name="T54" fmla="*/ 277 w 328"/>
                <a:gd name="T55" fmla="*/ 99 h 341"/>
                <a:gd name="T56" fmla="*/ 298 w 328"/>
                <a:gd name="T57" fmla="*/ 87 h 341"/>
                <a:gd name="T58" fmla="*/ 328 w 328"/>
                <a:gd name="T59" fmla="*/ 74 h 341"/>
                <a:gd name="T60" fmla="*/ 316 w 328"/>
                <a:gd name="T61" fmla="*/ 45 h 341"/>
                <a:gd name="T62" fmla="*/ 307 w 328"/>
                <a:gd name="T63" fmla="*/ 1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41">
                  <a:moveTo>
                    <a:pt x="307" y="15"/>
                  </a:moveTo>
                  <a:lnTo>
                    <a:pt x="299" y="14"/>
                  </a:lnTo>
                  <a:lnTo>
                    <a:pt x="279" y="9"/>
                  </a:lnTo>
                  <a:lnTo>
                    <a:pt x="260" y="10"/>
                  </a:lnTo>
                  <a:lnTo>
                    <a:pt x="248" y="0"/>
                  </a:lnTo>
                  <a:lnTo>
                    <a:pt x="234" y="0"/>
                  </a:lnTo>
                  <a:lnTo>
                    <a:pt x="226" y="15"/>
                  </a:lnTo>
                  <a:lnTo>
                    <a:pt x="213" y="40"/>
                  </a:lnTo>
                  <a:lnTo>
                    <a:pt x="198" y="49"/>
                  </a:lnTo>
                  <a:lnTo>
                    <a:pt x="178" y="60"/>
                  </a:lnTo>
                  <a:lnTo>
                    <a:pt x="165" y="76"/>
                  </a:lnTo>
                  <a:lnTo>
                    <a:pt x="161" y="89"/>
                  </a:lnTo>
                  <a:lnTo>
                    <a:pt x="153" y="109"/>
                  </a:lnTo>
                  <a:lnTo>
                    <a:pt x="157" y="139"/>
                  </a:lnTo>
                  <a:lnTo>
                    <a:pt x="140" y="158"/>
                  </a:lnTo>
                  <a:lnTo>
                    <a:pt x="130" y="165"/>
                  </a:lnTo>
                  <a:lnTo>
                    <a:pt x="113" y="181"/>
                  </a:lnTo>
                  <a:lnTo>
                    <a:pt x="95" y="184"/>
                  </a:lnTo>
                  <a:lnTo>
                    <a:pt x="84" y="193"/>
                  </a:lnTo>
                  <a:lnTo>
                    <a:pt x="83" y="193"/>
                  </a:lnTo>
                  <a:lnTo>
                    <a:pt x="70" y="217"/>
                  </a:lnTo>
                  <a:lnTo>
                    <a:pt x="56" y="226"/>
                  </a:lnTo>
                  <a:lnTo>
                    <a:pt x="49" y="241"/>
                  </a:lnTo>
                  <a:lnTo>
                    <a:pt x="48" y="254"/>
                  </a:lnTo>
                  <a:lnTo>
                    <a:pt x="41" y="268"/>
                  </a:lnTo>
                  <a:lnTo>
                    <a:pt x="35" y="271"/>
                  </a:lnTo>
                  <a:lnTo>
                    <a:pt x="23" y="286"/>
                  </a:lnTo>
                  <a:lnTo>
                    <a:pt x="15" y="303"/>
                  </a:lnTo>
                  <a:lnTo>
                    <a:pt x="17" y="312"/>
                  </a:lnTo>
                  <a:lnTo>
                    <a:pt x="10" y="324"/>
                  </a:lnTo>
                  <a:lnTo>
                    <a:pt x="1" y="330"/>
                  </a:lnTo>
                  <a:lnTo>
                    <a:pt x="0" y="341"/>
                  </a:lnTo>
                  <a:lnTo>
                    <a:pt x="0" y="341"/>
                  </a:lnTo>
                  <a:lnTo>
                    <a:pt x="47" y="340"/>
                  </a:lnTo>
                  <a:lnTo>
                    <a:pt x="50" y="330"/>
                  </a:lnTo>
                  <a:lnTo>
                    <a:pt x="58" y="320"/>
                  </a:lnTo>
                  <a:lnTo>
                    <a:pt x="66" y="287"/>
                  </a:lnTo>
                  <a:lnTo>
                    <a:pt x="95" y="261"/>
                  </a:lnTo>
                  <a:lnTo>
                    <a:pt x="105" y="231"/>
                  </a:lnTo>
                  <a:lnTo>
                    <a:pt x="111" y="229"/>
                  </a:lnTo>
                  <a:lnTo>
                    <a:pt x="119" y="211"/>
                  </a:lnTo>
                  <a:lnTo>
                    <a:pt x="136" y="209"/>
                  </a:lnTo>
                  <a:lnTo>
                    <a:pt x="143" y="212"/>
                  </a:lnTo>
                  <a:lnTo>
                    <a:pt x="153" y="212"/>
                  </a:lnTo>
                  <a:lnTo>
                    <a:pt x="159" y="206"/>
                  </a:lnTo>
                  <a:lnTo>
                    <a:pt x="172" y="205"/>
                  </a:lnTo>
                  <a:lnTo>
                    <a:pt x="171" y="193"/>
                  </a:lnTo>
                  <a:lnTo>
                    <a:pt x="171" y="193"/>
                  </a:lnTo>
                  <a:lnTo>
                    <a:pt x="174" y="193"/>
                  </a:lnTo>
                  <a:lnTo>
                    <a:pt x="175" y="165"/>
                  </a:lnTo>
                  <a:lnTo>
                    <a:pt x="208" y="147"/>
                  </a:lnTo>
                  <a:lnTo>
                    <a:pt x="228" y="144"/>
                  </a:lnTo>
                  <a:lnTo>
                    <a:pt x="245" y="137"/>
                  </a:lnTo>
                  <a:lnTo>
                    <a:pt x="252" y="125"/>
                  </a:lnTo>
                  <a:lnTo>
                    <a:pt x="276" y="115"/>
                  </a:lnTo>
                  <a:lnTo>
                    <a:pt x="277" y="99"/>
                  </a:lnTo>
                  <a:lnTo>
                    <a:pt x="289" y="97"/>
                  </a:lnTo>
                  <a:lnTo>
                    <a:pt x="298" y="87"/>
                  </a:lnTo>
                  <a:lnTo>
                    <a:pt x="324" y="84"/>
                  </a:lnTo>
                  <a:lnTo>
                    <a:pt x="328" y="74"/>
                  </a:lnTo>
                  <a:lnTo>
                    <a:pt x="322" y="69"/>
                  </a:lnTo>
                  <a:lnTo>
                    <a:pt x="316" y="45"/>
                  </a:lnTo>
                  <a:lnTo>
                    <a:pt x="315" y="30"/>
                  </a:lnTo>
                  <a:lnTo>
                    <a:pt x="307" y="15"/>
                  </a:lnTo>
                  <a:lnTo>
                    <a:pt x="307" y="1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8" name="Moldova"/>
            <p:cNvSpPr>
              <a:spLocks/>
            </p:cNvSpPr>
            <p:nvPr/>
          </p:nvSpPr>
          <p:spPr bwMode="auto">
            <a:xfrm>
              <a:off x="6780212" y="2660651"/>
              <a:ext cx="109537" cy="109538"/>
            </a:xfrm>
            <a:custGeom>
              <a:avLst/>
              <a:gdLst>
                <a:gd name="T0" fmla="*/ 39 w 69"/>
                <a:gd name="T1" fmla="*/ 69 h 69"/>
                <a:gd name="T2" fmla="*/ 43 w 69"/>
                <a:gd name="T3" fmla="*/ 66 h 69"/>
                <a:gd name="T4" fmla="*/ 45 w 69"/>
                <a:gd name="T5" fmla="*/ 59 h 69"/>
                <a:gd name="T6" fmla="*/ 49 w 69"/>
                <a:gd name="T7" fmla="*/ 51 h 69"/>
                <a:gd name="T8" fmla="*/ 47 w 69"/>
                <a:gd name="T9" fmla="*/ 47 h 69"/>
                <a:gd name="T10" fmla="*/ 51 w 69"/>
                <a:gd name="T11" fmla="*/ 46 h 69"/>
                <a:gd name="T12" fmla="*/ 54 w 69"/>
                <a:gd name="T13" fmla="*/ 48 h 69"/>
                <a:gd name="T14" fmla="*/ 65 w 69"/>
                <a:gd name="T15" fmla="*/ 49 h 69"/>
                <a:gd name="T16" fmla="*/ 69 w 69"/>
                <a:gd name="T17" fmla="*/ 47 h 69"/>
                <a:gd name="T18" fmla="*/ 65 w 69"/>
                <a:gd name="T19" fmla="*/ 46 h 69"/>
                <a:gd name="T20" fmla="*/ 66 w 69"/>
                <a:gd name="T21" fmla="*/ 42 h 69"/>
                <a:gd name="T22" fmla="*/ 58 w 69"/>
                <a:gd name="T23" fmla="*/ 36 h 69"/>
                <a:gd name="T24" fmla="*/ 55 w 69"/>
                <a:gd name="T25" fmla="*/ 26 h 69"/>
                <a:gd name="T26" fmla="*/ 47 w 69"/>
                <a:gd name="T27" fmla="*/ 22 h 69"/>
                <a:gd name="T28" fmla="*/ 47 w 69"/>
                <a:gd name="T29" fmla="*/ 14 h 69"/>
                <a:gd name="T30" fmla="*/ 38 w 69"/>
                <a:gd name="T31" fmla="*/ 8 h 69"/>
                <a:gd name="T32" fmla="*/ 30 w 69"/>
                <a:gd name="T33" fmla="*/ 7 h 69"/>
                <a:gd name="T34" fmla="*/ 16 w 69"/>
                <a:gd name="T35" fmla="*/ 0 h 69"/>
                <a:gd name="T36" fmla="*/ 4 w 69"/>
                <a:gd name="T37" fmla="*/ 3 h 69"/>
                <a:gd name="T38" fmla="*/ 0 w 69"/>
                <a:gd name="T39" fmla="*/ 5 h 69"/>
                <a:gd name="T40" fmla="*/ 6 w 69"/>
                <a:gd name="T41" fmla="*/ 8 h 69"/>
                <a:gd name="T42" fmla="*/ 13 w 69"/>
                <a:gd name="T43" fmla="*/ 15 h 69"/>
                <a:gd name="T44" fmla="*/ 20 w 69"/>
                <a:gd name="T45" fmla="*/ 25 h 69"/>
                <a:gd name="T46" fmla="*/ 32 w 69"/>
                <a:gd name="T47" fmla="*/ 38 h 69"/>
                <a:gd name="T48" fmla="*/ 35 w 69"/>
                <a:gd name="T49" fmla="*/ 48 h 69"/>
                <a:gd name="T50" fmla="*/ 34 w 69"/>
                <a:gd name="T51" fmla="*/ 59 h 69"/>
                <a:gd name="T52" fmla="*/ 39 w 69"/>
                <a:gd name="T5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69">
                  <a:moveTo>
                    <a:pt x="39" y="69"/>
                  </a:moveTo>
                  <a:lnTo>
                    <a:pt x="43" y="66"/>
                  </a:lnTo>
                  <a:lnTo>
                    <a:pt x="45" y="59"/>
                  </a:lnTo>
                  <a:lnTo>
                    <a:pt x="49" y="51"/>
                  </a:lnTo>
                  <a:lnTo>
                    <a:pt x="47" y="47"/>
                  </a:lnTo>
                  <a:lnTo>
                    <a:pt x="51" y="46"/>
                  </a:lnTo>
                  <a:lnTo>
                    <a:pt x="54" y="48"/>
                  </a:lnTo>
                  <a:lnTo>
                    <a:pt x="65" y="49"/>
                  </a:lnTo>
                  <a:lnTo>
                    <a:pt x="69" y="47"/>
                  </a:lnTo>
                  <a:lnTo>
                    <a:pt x="65" y="46"/>
                  </a:lnTo>
                  <a:lnTo>
                    <a:pt x="66" y="42"/>
                  </a:lnTo>
                  <a:lnTo>
                    <a:pt x="58" y="36"/>
                  </a:lnTo>
                  <a:lnTo>
                    <a:pt x="55" y="26"/>
                  </a:lnTo>
                  <a:lnTo>
                    <a:pt x="47" y="22"/>
                  </a:lnTo>
                  <a:lnTo>
                    <a:pt x="47" y="14"/>
                  </a:lnTo>
                  <a:lnTo>
                    <a:pt x="38" y="8"/>
                  </a:lnTo>
                  <a:lnTo>
                    <a:pt x="30" y="7"/>
                  </a:lnTo>
                  <a:lnTo>
                    <a:pt x="16" y="0"/>
                  </a:lnTo>
                  <a:lnTo>
                    <a:pt x="4" y="3"/>
                  </a:lnTo>
                  <a:lnTo>
                    <a:pt x="0" y="5"/>
                  </a:lnTo>
                  <a:lnTo>
                    <a:pt x="6" y="8"/>
                  </a:lnTo>
                  <a:lnTo>
                    <a:pt x="13" y="15"/>
                  </a:lnTo>
                  <a:lnTo>
                    <a:pt x="20" y="25"/>
                  </a:lnTo>
                  <a:lnTo>
                    <a:pt x="32" y="38"/>
                  </a:lnTo>
                  <a:lnTo>
                    <a:pt x="35" y="48"/>
                  </a:lnTo>
                  <a:lnTo>
                    <a:pt x="34" y="59"/>
                  </a:lnTo>
                  <a:lnTo>
                    <a:pt x="39" y="6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9" name="Madagascar"/>
            <p:cNvSpPr>
              <a:spLocks/>
            </p:cNvSpPr>
            <p:nvPr/>
          </p:nvSpPr>
          <p:spPr bwMode="auto">
            <a:xfrm>
              <a:off x="7410450" y="4937126"/>
              <a:ext cx="255587" cy="511175"/>
            </a:xfrm>
            <a:custGeom>
              <a:avLst/>
              <a:gdLst>
                <a:gd name="T0" fmla="*/ 154 w 161"/>
                <a:gd name="T1" fmla="*/ 36 h 322"/>
                <a:gd name="T2" fmla="*/ 150 w 161"/>
                <a:gd name="T3" fmla="*/ 21 h 322"/>
                <a:gd name="T4" fmla="*/ 145 w 161"/>
                <a:gd name="T5" fmla="*/ 10 h 322"/>
                <a:gd name="T6" fmla="*/ 139 w 161"/>
                <a:gd name="T7" fmla="*/ 0 h 322"/>
                <a:gd name="T8" fmla="*/ 131 w 161"/>
                <a:gd name="T9" fmla="*/ 10 h 322"/>
                <a:gd name="T10" fmla="*/ 129 w 161"/>
                <a:gd name="T11" fmla="*/ 25 h 322"/>
                <a:gd name="T12" fmla="*/ 117 w 161"/>
                <a:gd name="T13" fmla="*/ 42 h 322"/>
                <a:gd name="T14" fmla="*/ 109 w 161"/>
                <a:gd name="T15" fmla="*/ 38 h 322"/>
                <a:gd name="T16" fmla="*/ 111 w 161"/>
                <a:gd name="T17" fmla="*/ 49 h 322"/>
                <a:gd name="T18" fmla="*/ 104 w 161"/>
                <a:gd name="T19" fmla="*/ 61 h 322"/>
                <a:gd name="T20" fmla="*/ 86 w 161"/>
                <a:gd name="T21" fmla="*/ 76 h 322"/>
                <a:gd name="T22" fmla="*/ 73 w 161"/>
                <a:gd name="T23" fmla="*/ 89 h 322"/>
                <a:gd name="T24" fmla="*/ 65 w 161"/>
                <a:gd name="T25" fmla="*/ 89 h 322"/>
                <a:gd name="T26" fmla="*/ 56 w 161"/>
                <a:gd name="T27" fmla="*/ 93 h 322"/>
                <a:gd name="T28" fmla="*/ 45 w 161"/>
                <a:gd name="T29" fmla="*/ 98 h 322"/>
                <a:gd name="T30" fmla="*/ 34 w 161"/>
                <a:gd name="T31" fmla="*/ 99 h 322"/>
                <a:gd name="T32" fmla="*/ 30 w 161"/>
                <a:gd name="T33" fmla="*/ 115 h 322"/>
                <a:gd name="T34" fmla="*/ 23 w 161"/>
                <a:gd name="T35" fmla="*/ 128 h 322"/>
                <a:gd name="T36" fmla="*/ 23 w 161"/>
                <a:gd name="T37" fmla="*/ 149 h 322"/>
                <a:gd name="T38" fmla="*/ 26 w 161"/>
                <a:gd name="T39" fmla="*/ 164 h 322"/>
                <a:gd name="T40" fmla="*/ 30 w 161"/>
                <a:gd name="T41" fmla="*/ 176 h 322"/>
                <a:gd name="T42" fmla="*/ 26 w 161"/>
                <a:gd name="T43" fmla="*/ 191 h 322"/>
                <a:gd name="T44" fmla="*/ 16 w 161"/>
                <a:gd name="T45" fmla="*/ 209 h 322"/>
                <a:gd name="T46" fmla="*/ 15 w 161"/>
                <a:gd name="T47" fmla="*/ 217 h 322"/>
                <a:gd name="T48" fmla="*/ 6 w 161"/>
                <a:gd name="T49" fmla="*/ 221 h 322"/>
                <a:gd name="T50" fmla="*/ 0 w 161"/>
                <a:gd name="T51" fmla="*/ 238 h 322"/>
                <a:gd name="T52" fmla="*/ 1 w 161"/>
                <a:gd name="T53" fmla="*/ 255 h 322"/>
                <a:gd name="T54" fmla="*/ 8 w 161"/>
                <a:gd name="T55" fmla="*/ 274 h 322"/>
                <a:gd name="T56" fmla="*/ 7 w 161"/>
                <a:gd name="T57" fmla="*/ 295 h 322"/>
                <a:gd name="T58" fmla="*/ 12 w 161"/>
                <a:gd name="T59" fmla="*/ 307 h 322"/>
                <a:gd name="T60" fmla="*/ 27 w 161"/>
                <a:gd name="T61" fmla="*/ 317 h 322"/>
                <a:gd name="T62" fmla="*/ 39 w 161"/>
                <a:gd name="T63" fmla="*/ 322 h 322"/>
                <a:gd name="T64" fmla="*/ 57 w 161"/>
                <a:gd name="T65" fmla="*/ 313 h 322"/>
                <a:gd name="T66" fmla="*/ 74 w 161"/>
                <a:gd name="T67" fmla="*/ 307 h 322"/>
                <a:gd name="T68" fmla="*/ 86 w 161"/>
                <a:gd name="T69" fmla="*/ 279 h 322"/>
                <a:gd name="T70" fmla="*/ 97 w 161"/>
                <a:gd name="T71" fmla="*/ 246 h 322"/>
                <a:gd name="T72" fmla="*/ 112 w 161"/>
                <a:gd name="T73" fmla="*/ 201 h 322"/>
                <a:gd name="T74" fmla="*/ 125 w 161"/>
                <a:gd name="T75" fmla="*/ 168 h 322"/>
                <a:gd name="T76" fmla="*/ 135 w 161"/>
                <a:gd name="T77" fmla="*/ 141 h 322"/>
                <a:gd name="T78" fmla="*/ 138 w 161"/>
                <a:gd name="T79" fmla="*/ 120 h 322"/>
                <a:gd name="T80" fmla="*/ 144 w 161"/>
                <a:gd name="T81" fmla="*/ 115 h 322"/>
                <a:gd name="T82" fmla="*/ 146 w 161"/>
                <a:gd name="T83" fmla="*/ 105 h 322"/>
                <a:gd name="T84" fmla="*/ 143 w 161"/>
                <a:gd name="T85" fmla="*/ 87 h 322"/>
                <a:gd name="T86" fmla="*/ 148 w 161"/>
                <a:gd name="T87" fmla="*/ 80 h 322"/>
                <a:gd name="T88" fmla="*/ 153 w 161"/>
                <a:gd name="T89" fmla="*/ 94 h 322"/>
                <a:gd name="T90" fmla="*/ 158 w 161"/>
                <a:gd name="T91" fmla="*/ 87 h 322"/>
                <a:gd name="T92" fmla="*/ 161 w 161"/>
                <a:gd name="T93" fmla="*/ 76 h 322"/>
                <a:gd name="T94" fmla="*/ 156 w 161"/>
                <a:gd name="T95" fmla="*/ 64 h 322"/>
                <a:gd name="T96" fmla="*/ 154 w 161"/>
                <a:gd name="T97" fmla="*/ 36 h 322"/>
                <a:gd name="T98" fmla="*/ 154 w 161"/>
                <a:gd name="T99" fmla="*/ 3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 h="322">
                  <a:moveTo>
                    <a:pt x="154" y="36"/>
                  </a:moveTo>
                  <a:lnTo>
                    <a:pt x="150" y="21"/>
                  </a:lnTo>
                  <a:lnTo>
                    <a:pt x="145" y="10"/>
                  </a:lnTo>
                  <a:lnTo>
                    <a:pt x="139" y="0"/>
                  </a:lnTo>
                  <a:lnTo>
                    <a:pt x="131" y="10"/>
                  </a:lnTo>
                  <a:lnTo>
                    <a:pt x="129" y="25"/>
                  </a:lnTo>
                  <a:lnTo>
                    <a:pt x="117" y="42"/>
                  </a:lnTo>
                  <a:lnTo>
                    <a:pt x="109" y="38"/>
                  </a:lnTo>
                  <a:lnTo>
                    <a:pt x="111" y="49"/>
                  </a:lnTo>
                  <a:lnTo>
                    <a:pt x="104" y="61"/>
                  </a:lnTo>
                  <a:lnTo>
                    <a:pt x="86" y="76"/>
                  </a:lnTo>
                  <a:lnTo>
                    <a:pt x="73" y="89"/>
                  </a:lnTo>
                  <a:lnTo>
                    <a:pt x="65" y="89"/>
                  </a:lnTo>
                  <a:lnTo>
                    <a:pt x="56" y="93"/>
                  </a:lnTo>
                  <a:lnTo>
                    <a:pt x="45" y="98"/>
                  </a:lnTo>
                  <a:lnTo>
                    <a:pt x="34" y="99"/>
                  </a:lnTo>
                  <a:lnTo>
                    <a:pt x="30" y="115"/>
                  </a:lnTo>
                  <a:lnTo>
                    <a:pt x="23" y="128"/>
                  </a:lnTo>
                  <a:lnTo>
                    <a:pt x="23" y="149"/>
                  </a:lnTo>
                  <a:lnTo>
                    <a:pt x="26" y="164"/>
                  </a:lnTo>
                  <a:lnTo>
                    <a:pt x="30" y="176"/>
                  </a:lnTo>
                  <a:lnTo>
                    <a:pt x="26" y="191"/>
                  </a:lnTo>
                  <a:lnTo>
                    <a:pt x="16" y="209"/>
                  </a:lnTo>
                  <a:lnTo>
                    <a:pt x="15" y="217"/>
                  </a:lnTo>
                  <a:lnTo>
                    <a:pt x="6" y="221"/>
                  </a:lnTo>
                  <a:lnTo>
                    <a:pt x="0" y="238"/>
                  </a:lnTo>
                  <a:lnTo>
                    <a:pt x="1" y="255"/>
                  </a:lnTo>
                  <a:lnTo>
                    <a:pt x="8" y="274"/>
                  </a:lnTo>
                  <a:lnTo>
                    <a:pt x="7" y="295"/>
                  </a:lnTo>
                  <a:lnTo>
                    <a:pt x="12" y="307"/>
                  </a:lnTo>
                  <a:lnTo>
                    <a:pt x="27" y="317"/>
                  </a:lnTo>
                  <a:lnTo>
                    <a:pt x="39" y="322"/>
                  </a:lnTo>
                  <a:lnTo>
                    <a:pt x="57" y="313"/>
                  </a:lnTo>
                  <a:lnTo>
                    <a:pt x="74" y="307"/>
                  </a:lnTo>
                  <a:lnTo>
                    <a:pt x="86" y="279"/>
                  </a:lnTo>
                  <a:lnTo>
                    <a:pt x="97" y="246"/>
                  </a:lnTo>
                  <a:lnTo>
                    <a:pt x="112" y="201"/>
                  </a:lnTo>
                  <a:lnTo>
                    <a:pt x="125" y="168"/>
                  </a:lnTo>
                  <a:lnTo>
                    <a:pt x="135" y="141"/>
                  </a:lnTo>
                  <a:lnTo>
                    <a:pt x="138" y="120"/>
                  </a:lnTo>
                  <a:lnTo>
                    <a:pt x="144" y="115"/>
                  </a:lnTo>
                  <a:lnTo>
                    <a:pt x="146" y="105"/>
                  </a:lnTo>
                  <a:lnTo>
                    <a:pt x="143" y="87"/>
                  </a:lnTo>
                  <a:lnTo>
                    <a:pt x="148" y="80"/>
                  </a:lnTo>
                  <a:lnTo>
                    <a:pt x="153" y="94"/>
                  </a:lnTo>
                  <a:lnTo>
                    <a:pt x="158" y="87"/>
                  </a:lnTo>
                  <a:lnTo>
                    <a:pt x="161" y="76"/>
                  </a:lnTo>
                  <a:lnTo>
                    <a:pt x="156" y="64"/>
                  </a:lnTo>
                  <a:lnTo>
                    <a:pt x="154" y="36"/>
                  </a:lnTo>
                  <a:lnTo>
                    <a:pt x="154" y="3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Mexico"/>
            <p:cNvSpPr>
              <a:spLocks/>
            </p:cNvSpPr>
            <p:nvPr/>
          </p:nvSpPr>
          <p:spPr bwMode="auto">
            <a:xfrm>
              <a:off x="2287587" y="3249613"/>
              <a:ext cx="877887" cy="685800"/>
            </a:xfrm>
            <a:custGeom>
              <a:avLst/>
              <a:gdLst>
                <a:gd name="T0" fmla="*/ 324 w 553"/>
                <a:gd name="T1" fmla="*/ 151 h 432"/>
                <a:gd name="T2" fmla="*/ 311 w 553"/>
                <a:gd name="T3" fmla="*/ 109 h 432"/>
                <a:gd name="T4" fmla="*/ 289 w 553"/>
                <a:gd name="T5" fmla="*/ 70 h 432"/>
                <a:gd name="T6" fmla="*/ 240 w 553"/>
                <a:gd name="T7" fmla="*/ 82 h 432"/>
                <a:gd name="T8" fmla="*/ 227 w 553"/>
                <a:gd name="T9" fmla="*/ 49 h 432"/>
                <a:gd name="T10" fmla="*/ 206 w 553"/>
                <a:gd name="T11" fmla="*/ 23 h 432"/>
                <a:gd name="T12" fmla="*/ 152 w 553"/>
                <a:gd name="T13" fmla="*/ 32 h 432"/>
                <a:gd name="T14" fmla="*/ 45 w 553"/>
                <a:gd name="T15" fmla="*/ 4 h 432"/>
                <a:gd name="T16" fmla="*/ 0 w 553"/>
                <a:gd name="T17" fmla="*/ 4 h 432"/>
                <a:gd name="T18" fmla="*/ 5 w 553"/>
                <a:gd name="T19" fmla="*/ 59 h 432"/>
                <a:gd name="T20" fmla="*/ 29 w 553"/>
                <a:gd name="T21" fmla="*/ 99 h 432"/>
                <a:gd name="T22" fmla="*/ 7 w 553"/>
                <a:gd name="T23" fmla="*/ 116 h 432"/>
                <a:gd name="T24" fmla="*/ 25 w 553"/>
                <a:gd name="T25" fmla="*/ 138 h 432"/>
                <a:gd name="T26" fmla="*/ 44 w 553"/>
                <a:gd name="T27" fmla="*/ 152 h 432"/>
                <a:gd name="T28" fmla="*/ 47 w 553"/>
                <a:gd name="T29" fmla="*/ 189 h 432"/>
                <a:gd name="T30" fmla="*/ 79 w 553"/>
                <a:gd name="T31" fmla="*/ 220 h 432"/>
                <a:gd name="T32" fmla="*/ 96 w 553"/>
                <a:gd name="T33" fmla="*/ 226 h 432"/>
                <a:gd name="T34" fmla="*/ 86 w 553"/>
                <a:gd name="T35" fmla="*/ 200 h 432"/>
                <a:gd name="T36" fmla="*/ 74 w 553"/>
                <a:gd name="T37" fmla="*/ 176 h 432"/>
                <a:gd name="T38" fmla="*/ 59 w 553"/>
                <a:gd name="T39" fmla="*/ 131 h 432"/>
                <a:gd name="T40" fmla="*/ 52 w 553"/>
                <a:gd name="T41" fmla="*/ 101 h 432"/>
                <a:gd name="T42" fmla="*/ 45 w 553"/>
                <a:gd name="T43" fmla="*/ 92 h 432"/>
                <a:gd name="T44" fmla="*/ 30 w 553"/>
                <a:gd name="T45" fmla="*/ 60 h 432"/>
                <a:gd name="T46" fmla="*/ 41 w 553"/>
                <a:gd name="T47" fmla="*/ 22 h 432"/>
                <a:gd name="T48" fmla="*/ 68 w 553"/>
                <a:gd name="T49" fmla="*/ 37 h 432"/>
                <a:gd name="T50" fmla="*/ 72 w 553"/>
                <a:gd name="T51" fmla="*/ 82 h 432"/>
                <a:gd name="T52" fmla="*/ 86 w 553"/>
                <a:gd name="T53" fmla="*/ 113 h 432"/>
                <a:gd name="T54" fmla="*/ 105 w 553"/>
                <a:gd name="T55" fmla="*/ 143 h 432"/>
                <a:gd name="T56" fmla="*/ 111 w 553"/>
                <a:gd name="T57" fmla="*/ 169 h 432"/>
                <a:gd name="T58" fmla="*/ 150 w 553"/>
                <a:gd name="T59" fmla="*/ 212 h 432"/>
                <a:gd name="T60" fmla="*/ 169 w 553"/>
                <a:gd name="T61" fmla="*/ 257 h 432"/>
                <a:gd name="T62" fmla="*/ 167 w 553"/>
                <a:gd name="T63" fmla="*/ 282 h 432"/>
                <a:gd name="T64" fmla="*/ 164 w 553"/>
                <a:gd name="T65" fmla="*/ 303 h 432"/>
                <a:gd name="T66" fmla="*/ 199 w 553"/>
                <a:gd name="T67" fmla="*/ 342 h 432"/>
                <a:gd name="T68" fmla="*/ 235 w 553"/>
                <a:gd name="T69" fmla="*/ 358 h 432"/>
                <a:gd name="T70" fmla="*/ 288 w 553"/>
                <a:gd name="T71" fmla="*/ 383 h 432"/>
                <a:gd name="T72" fmla="*/ 335 w 553"/>
                <a:gd name="T73" fmla="*/ 405 h 432"/>
                <a:gd name="T74" fmla="*/ 375 w 553"/>
                <a:gd name="T75" fmla="*/ 392 h 432"/>
                <a:gd name="T76" fmla="*/ 422 w 553"/>
                <a:gd name="T77" fmla="*/ 432 h 432"/>
                <a:gd name="T78" fmla="*/ 424 w 553"/>
                <a:gd name="T79" fmla="*/ 414 h 432"/>
                <a:gd name="T80" fmla="*/ 464 w 553"/>
                <a:gd name="T81" fmla="*/ 387 h 432"/>
                <a:gd name="T82" fmla="*/ 452 w 553"/>
                <a:gd name="T83" fmla="*/ 375 h 432"/>
                <a:gd name="T84" fmla="*/ 456 w 553"/>
                <a:gd name="T85" fmla="*/ 353 h 432"/>
                <a:gd name="T86" fmla="*/ 495 w 553"/>
                <a:gd name="T87" fmla="*/ 351 h 432"/>
                <a:gd name="T88" fmla="*/ 510 w 553"/>
                <a:gd name="T89" fmla="*/ 338 h 432"/>
                <a:gd name="T90" fmla="*/ 523 w 553"/>
                <a:gd name="T91" fmla="*/ 343 h 432"/>
                <a:gd name="T92" fmla="*/ 532 w 553"/>
                <a:gd name="T93" fmla="*/ 310 h 432"/>
                <a:gd name="T94" fmla="*/ 553 w 553"/>
                <a:gd name="T95" fmla="*/ 270 h 432"/>
                <a:gd name="T96" fmla="*/ 519 w 553"/>
                <a:gd name="T97" fmla="*/ 267 h 432"/>
                <a:gd name="T98" fmla="*/ 477 w 553"/>
                <a:gd name="T99" fmla="*/ 285 h 432"/>
                <a:gd name="T100" fmla="*/ 451 w 553"/>
                <a:gd name="T101" fmla="*/ 328 h 432"/>
                <a:gd name="T102" fmla="*/ 406 w 553"/>
                <a:gd name="T103" fmla="*/ 339 h 432"/>
                <a:gd name="T104" fmla="*/ 358 w 553"/>
                <a:gd name="T105" fmla="*/ 330 h 432"/>
                <a:gd name="T106" fmla="*/ 338 w 553"/>
                <a:gd name="T107" fmla="*/ 287 h 432"/>
                <a:gd name="T108" fmla="*/ 330 w 553"/>
                <a:gd name="T109" fmla="*/ 244 h 432"/>
                <a:gd name="T110" fmla="*/ 348 w 553"/>
                <a:gd name="T111" fmla="*/ 183 h 432"/>
                <a:gd name="T112" fmla="*/ 352 w 553"/>
                <a:gd name="T113" fmla="*/ 1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432">
                  <a:moveTo>
                    <a:pt x="352" y="163"/>
                  </a:moveTo>
                  <a:lnTo>
                    <a:pt x="338" y="158"/>
                  </a:lnTo>
                  <a:lnTo>
                    <a:pt x="324" y="151"/>
                  </a:lnTo>
                  <a:lnTo>
                    <a:pt x="320" y="140"/>
                  </a:lnTo>
                  <a:lnTo>
                    <a:pt x="320" y="123"/>
                  </a:lnTo>
                  <a:lnTo>
                    <a:pt x="311" y="109"/>
                  </a:lnTo>
                  <a:lnTo>
                    <a:pt x="307" y="95"/>
                  </a:lnTo>
                  <a:lnTo>
                    <a:pt x="301" y="79"/>
                  </a:lnTo>
                  <a:lnTo>
                    <a:pt x="289" y="70"/>
                  </a:lnTo>
                  <a:lnTo>
                    <a:pt x="273" y="70"/>
                  </a:lnTo>
                  <a:lnTo>
                    <a:pt x="255" y="88"/>
                  </a:lnTo>
                  <a:lnTo>
                    <a:pt x="240" y="82"/>
                  </a:lnTo>
                  <a:lnTo>
                    <a:pt x="232" y="74"/>
                  </a:lnTo>
                  <a:lnTo>
                    <a:pt x="230" y="61"/>
                  </a:lnTo>
                  <a:lnTo>
                    <a:pt x="227" y="49"/>
                  </a:lnTo>
                  <a:lnTo>
                    <a:pt x="218" y="39"/>
                  </a:lnTo>
                  <a:lnTo>
                    <a:pt x="211" y="31"/>
                  </a:lnTo>
                  <a:lnTo>
                    <a:pt x="206" y="23"/>
                  </a:lnTo>
                  <a:lnTo>
                    <a:pt x="171" y="23"/>
                  </a:lnTo>
                  <a:lnTo>
                    <a:pt x="168" y="32"/>
                  </a:lnTo>
                  <a:lnTo>
                    <a:pt x="152" y="32"/>
                  </a:lnTo>
                  <a:lnTo>
                    <a:pt x="112" y="32"/>
                  </a:lnTo>
                  <a:lnTo>
                    <a:pt x="72" y="16"/>
                  </a:lnTo>
                  <a:lnTo>
                    <a:pt x="45" y="4"/>
                  </a:lnTo>
                  <a:lnTo>
                    <a:pt x="49" y="0"/>
                  </a:lnTo>
                  <a:lnTo>
                    <a:pt x="23" y="2"/>
                  </a:lnTo>
                  <a:lnTo>
                    <a:pt x="0" y="4"/>
                  </a:lnTo>
                  <a:lnTo>
                    <a:pt x="1" y="26"/>
                  </a:lnTo>
                  <a:lnTo>
                    <a:pt x="2" y="44"/>
                  </a:lnTo>
                  <a:lnTo>
                    <a:pt x="5" y="59"/>
                  </a:lnTo>
                  <a:lnTo>
                    <a:pt x="8" y="74"/>
                  </a:lnTo>
                  <a:lnTo>
                    <a:pt x="18" y="82"/>
                  </a:lnTo>
                  <a:lnTo>
                    <a:pt x="29" y="99"/>
                  </a:lnTo>
                  <a:lnTo>
                    <a:pt x="25" y="109"/>
                  </a:lnTo>
                  <a:lnTo>
                    <a:pt x="16" y="117"/>
                  </a:lnTo>
                  <a:lnTo>
                    <a:pt x="7" y="116"/>
                  </a:lnTo>
                  <a:lnTo>
                    <a:pt x="5" y="118"/>
                  </a:lnTo>
                  <a:lnTo>
                    <a:pt x="14" y="132"/>
                  </a:lnTo>
                  <a:lnTo>
                    <a:pt x="25" y="138"/>
                  </a:lnTo>
                  <a:lnTo>
                    <a:pt x="29" y="144"/>
                  </a:lnTo>
                  <a:lnTo>
                    <a:pt x="31" y="141"/>
                  </a:lnTo>
                  <a:lnTo>
                    <a:pt x="44" y="152"/>
                  </a:lnTo>
                  <a:lnTo>
                    <a:pt x="51" y="159"/>
                  </a:lnTo>
                  <a:lnTo>
                    <a:pt x="51" y="171"/>
                  </a:lnTo>
                  <a:lnTo>
                    <a:pt x="47" y="189"/>
                  </a:lnTo>
                  <a:lnTo>
                    <a:pt x="57" y="196"/>
                  </a:lnTo>
                  <a:lnTo>
                    <a:pt x="69" y="207"/>
                  </a:lnTo>
                  <a:lnTo>
                    <a:pt x="79" y="220"/>
                  </a:lnTo>
                  <a:lnTo>
                    <a:pt x="82" y="235"/>
                  </a:lnTo>
                  <a:lnTo>
                    <a:pt x="86" y="235"/>
                  </a:lnTo>
                  <a:lnTo>
                    <a:pt x="96" y="226"/>
                  </a:lnTo>
                  <a:lnTo>
                    <a:pt x="98" y="222"/>
                  </a:lnTo>
                  <a:lnTo>
                    <a:pt x="92" y="211"/>
                  </a:lnTo>
                  <a:lnTo>
                    <a:pt x="86" y="200"/>
                  </a:lnTo>
                  <a:lnTo>
                    <a:pt x="76" y="199"/>
                  </a:lnTo>
                  <a:lnTo>
                    <a:pt x="77" y="187"/>
                  </a:lnTo>
                  <a:lnTo>
                    <a:pt x="74" y="176"/>
                  </a:lnTo>
                  <a:lnTo>
                    <a:pt x="71" y="166"/>
                  </a:lnTo>
                  <a:lnTo>
                    <a:pt x="69" y="143"/>
                  </a:lnTo>
                  <a:lnTo>
                    <a:pt x="59" y="131"/>
                  </a:lnTo>
                  <a:lnTo>
                    <a:pt x="57" y="123"/>
                  </a:lnTo>
                  <a:lnTo>
                    <a:pt x="52" y="117"/>
                  </a:lnTo>
                  <a:lnTo>
                    <a:pt x="52" y="101"/>
                  </a:lnTo>
                  <a:lnTo>
                    <a:pt x="48" y="102"/>
                  </a:lnTo>
                  <a:lnTo>
                    <a:pt x="48" y="94"/>
                  </a:lnTo>
                  <a:lnTo>
                    <a:pt x="45" y="92"/>
                  </a:lnTo>
                  <a:lnTo>
                    <a:pt x="44" y="86"/>
                  </a:lnTo>
                  <a:lnTo>
                    <a:pt x="34" y="71"/>
                  </a:lnTo>
                  <a:lnTo>
                    <a:pt x="30" y="60"/>
                  </a:lnTo>
                  <a:lnTo>
                    <a:pt x="33" y="42"/>
                  </a:lnTo>
                  <a:lnTo>
                    <a:pt x="34" y="31"/>
                  </a:lnTo>
                  <a:lnTo>
                    <a:pt x="41" y="22"/>
                  </a:lnTo>
                  <a:lnTo>
                    <a:pt x="49" y="28"/>
                  </a:lnTo>
                  <a:lnTo>
                    <a:pt x="57" y="28"/>
                  </a:lnTo>
                  <a:lnTo>
                    <a:pt x="68" y="37"/>
                  </a:lnTo>
                  <a:lnTo>
                    <a:pt x="65" y="45"/>
                  </a:lnTo>
                  <a:lnTo>
                    <a:pt x="66" y="64"/>
                  </a:lnTo>
                  <a:lnTo>
                    <a:pt x="72" y="82"/>
                  </a:lnTo>
                  <a:lnTo>
                    <a:pt x="71" y="89"/>
                  </a:lnTo>
                  <a:lnTo>
                    <a:pt x="77" y="100"/>
                  </a:lnTo>
                  <a:lnTo>
                    <a:pt x="86" y="113"/>
                  </a:lnTo>
                  <a:lnTo>
                    <a:pt x="96" y="115"/>
                  </a:lnTo>
                  <a:lnTo>
                    <a:pt x="97" y="131"/>
                  </a:lnTo>
                  <a:lnTo>
                    <a:pt x="105" y="143"/>
                  </a:lnTo>
                  <a:lnTo>
                    <a:pt x="115" y="149"/>
                  </a:lnTo>
                  <a:lnTo>
                    <a:pt x="108" y="164"/>
                  </a:lnTo>
                  <a:lnTo>
                    <a:pt x="111" y="169"/>
                  </a:lnTo>
                  <a:lnTo>
                    <a:pt x="126" y="179"/>
                  </a:lnTo>
                  <a:lnTo>
                    <a:pt x="133" y="194"/>
                  </a:lnTo>
                  <a:lnTo>
                    <a:pt x="150" y="212"/>
                  </a:lnTo>
                  <a:lnTo>
                    <a:pt x="164" y="236"/>
                  </a:lnTo>
                  <a:lnTo>
                    <a:pt x="169" y="248"/>
                  </a:lnTo>
                  <a:lnTo>
                    <a:pt x="169" y="257"/>
                  </a:lnTo>
                  <a:lnTo>
                    <a:pt x="174" y="268"/>
                  </a:lnTo>
                  <a:lnTo>
                    <a:pt x="173" y="276"/>
                  </a:lnTo>
                  <a:lnTo>
                    <a:pt x="167" y="282"/>
                  </a:lnTo>
                  <a:lnTo>
                    <a:pt x="169" y="289"/>
                  </a:lnTo>
                  <a:lnTo>
                    <a:pt x="161" y="292"/>
                  </a:lnTo>
                  <a:lnTo>
                    <a:pt x="164" y="303"/>
                  </a:lnTo>
                  <a:lnTo>
                    <a:pt x="172" y="318"/>
                  </a:lnTo>
                  <a:lnTo>
                    <a:pt x="192" y="332"/>
                  </a:lnTo>
                  <a:lnTo>
                    <a:pt x="199" y="342"/>
                  </a:lnTo>
                  <a:lnTo>
                    <a:pt x="219" y="350"/>
                  </a:lnTo>
                  <a:lnTo>
                    <a:pt x="230" y="352"/>
                  </a:lnTo>
                  <a:lnTo>
                    <a:pt x="235" y="358"/>
                  </a:lnTo>
                  <a:lnTo>
                    <a:pt x="251" y="369"/>
                  </a:lnTo>
                  <a:lnTo>
                    <a:pt x="273" y="380"/>
                  </a:lnTo>
                  <a:lnTo>
                    <a:pt x="288" y="383"/>
                  </a:lnTo>
                  <a:lnTo>
                    <a:pt x="306" y="394"/>
                  </a:lnTo>
                  <a:lnTo>
                    <a:pt x="321" y="399"/>
                  </a:lnTo>
                  <a:lnTo>
                    <a:pt x="335" y="405"/>
                  </a:lnTo>
                  <a:lnTo>
                    <a:pt x="345" y="403"/>
                  </a:lnTo>
                  <a:lnTo>
                    <a:pt x="363" y="394"/>
                  </a:lnTo>
                  <a:lnTo>
                    <a:pt x="375" y="392"/>
                  </a:lnTo>
                  <a:lnTo>
                    <a:pt x="391" y="398"/>
                  </a:lnTo>
                  <a:lnTo>
                    <a:pt x="401" y="406"/>
                  </a:lnTo>
                  <a:lnTo>
                    <a:pt x="422" y="432"/>
                  </a:lnTo>
                  <a:lnTo>
                    <a:pt x="423" y="424"/>
                  </a:lnTo>
                  <a:lnTo>
                    <a:pt x="426" y="419"/>
                  </a:lnTo>
                  <a:lnTo>
                    <a:pt x="424" y="414"/>
                  </a:lnTo>
                  <a:lnTo>
                    <a:pt x="436" y="395"/>
                  </a:lnTo>
                  <a:lnTo>
                    <a:pt x="462" y="395"/>
                  </a:lnTo>
                  <a:lnTo>
                    <a:pt x="464" y="387"/>
                  </a:lnTo>
                  <a:lnTo>
                    <a:pt x="461" y="386"/>
                  </a:lnTo>
                  <a:lnTo>
                    <a:pt x="459" y="380"/>
                  </a:lnTo>
                  <a:lnTo>
                    <a:pt x="452" y="375"/>
                  </a:lnTo>
                  <a:lnTo>
                    <a:pt x="445" y="367"/>
                  </a:lnTo>
                  <a:lnTo>
                    <a:pt x="454" y="367"/>
                  </a:lnTo>
                  <a:lnTo>
                    <a:pt x="456" y="353"/>
                  </a:lnTo>
                  <a:lnTo>
                    <a:pt x="476" y="353"/>
                  </a:lnTo>
                  <a:lnTo>
                    <a:pt x="495" y="354"/>
                  </a:lnTo>
                  <a:lnTo>
                    <a:pt x="495" y="351"/>
                  </a:lnTo>
                  <a:lnTo>
                    <a:pt x="497" y="349"/>
                  </a:lnTo>
                  <a:lnTo>
                    <a:pt x="501" y="352"/>
                  </a:lnTo>
                  <a:lnTo>
                    <a:pt x="510" y="338"/>
                  </a:lnTo>
                  <a:lnTo>
                    <a:pt x="514" y="338"/>
                  </a:lnTo>
                  <a:lnTo>
                    <a:pt x="519" y="338"/>
                  </a:lnTo>
                  <a:lnTo>
                    <a:pt x="523" y="343"/>
                  </a:lnTo>
                  <a:lnTo>
                    <a:pt x="531" y="324"/>
                  </a:lnTo>
                  <a:lnTo>
                    <a:pt x="535" y="314"/>
                  </a:lnTo>
                  <a:lnTo>
                    <a:pt x="532" y="310"/>
                  </a:lnTo>
                  <a:lnTo>
                    <a:pt x="538" y="296"/>
                  </a:lnTo>
                  <a:lnTo>
                    <a:pt x="551" y="282"/>
                  </a:lnTo>
                  <a:lnTo>
                    <a:pt x="553" y="270"/>
                  </a:lnTo>
                  <a:lnTo>
                    <a:pt x="550" y="265"/>
                  </a:lnTo>
                  <a:lnTo>
                    <a:pt x="537" y="267"/>
                  </a:lnTo>
                  <a:lnTo>
                    <a:pt x="519" y="267"/>
                  </a:lnTo>
                  <a:lnTo>
                    <a:pt x="496" y="272"/>
                  </a:lnTo>
                  <a:lnTo>
                    <a:pt x="481" y="278"/>
                  </a:lnTo>
                  <a:lnTo>
                    <a:pt x="477" y="285"/>
                  </a:lnTo>
                  <a:lnTo>
                    <a:pt x="472" y="305"/>
                  </a:lnTo>
                  <a:lnTo>
                    <a:pt x="466" y="319"/>
                  </a:lnTo>
                  <a:lnTo>
                    <a:pt x="451" y="328"/>
                  </a:lnTo>
                  <a:lnTo>
                    <a:pt x="438" y="333"/>
                  </a:lnTo>
                  <a:lnTo>
                    <a:pt x="422" y="337"/>
                  </a:lnTo>
                  <a:lnTo>
                    <a:pt x="406" y="339"/>
                  </a:lnTo>
                  <a:lnTo>
                    <a:pt x="386" y="346"/>
                  </a:lnTo>
                  <a:lnTo>
                    <a:pt x="380" y="336"/>
                  </a:lnTo>
                  <a:lnTo>
                    <a:pt x="358" y="330"/>
                  </a:lnTo>
                  <a:lnTo>
                    <a:pt x="352" y="318"/>
                  </a:lnTo>
                  <a:lnTo>
                    <a:pt x="349" y="304"/>
                  </a:lnTo>
                  <a:lnTo>
                    <a:pt x="338" y="287"/>
                  </a:lnTo>
                  <a:lnTo>
                    <a:pt x="337" y="268"/>
                  </a:lnTo>
                  <a:lnTo>
                    <a:pt x="332" y="256"/>
                  </a:lnTo>
                  <a:lnTo>
                    <a:pt x="330" y="244"/>
                  </a:lnTo>
                  <a:lnTo>
                    <a:pt x="334" y="232"/>
                  </a:lnTo>
                  <a:lnTo>
                    <a:pt x="340" y="200"/>
                  </a:lnTo>
                  <a:lnTo>
                    <a:pt x="348" y="183"/>
                  </a:lnTo>
                  <a:lnTo>
                    <a:pt x="359" y="162"/>
                  </a:lnTo>
                  <a:lnTo>
                    <a:pt x="352" y="163"/>
                  </a:lnTo>
                  <a:lnTo>
                    <a:pt x="352" y="16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1" name="Macedonia"/>
            <p:cNvSpPr>
              <a:spLocks/>
            </p:cNvSpPr>
            <p:nvPr/>
          </p:nvSpPr>
          <p:spPr bwMode="auto">
            <a:xfrm>
              <a:off x="6626225" y="2886076"/>
              <a:ext cx="74612" cy="53975"/>
            </a:xfrm>
            <a:custGeom>
              <a:avLst/>
              <a:gdLst>
                <a:gd name="T0" fmla="*/ 44 w 47"/>
                <a:gd name="T1" fmla="*/ 7 h 34"/>
                <a:gd name="T2" fmla="*/ 34 w 47"/>
                <a:gd name="T3" fmla="*/ 0 h 34"/>
                <a:gd name="T4" fmla="*/ 25 w 47"/>
                <a:gd name="T5" fmla="*/ 1 h 34"/>
                <a:gd name="T6" fmla="*/ 18 w 47"/>
                <a:gd name="T7" fmla="*/ 2 h 34"/>
                <a:gd name="T8" fmla="*/ 14 w 47"/>
                <a:gd name="T9" fmla="*/ 3 h 34"/>
                <a:gd name="T10" fmla="*/ 3 w 47"/>
                <a:gd name="T11" fmla="*/ 6 h 34"/>
                <a:gd name="T12" fmla="*/ 3 w 47"/>
                <a:gd name="T13" fmla="*/ 11 h 34"/>
                <a:gd name="T14" fmla="*/ 0 w 47"/>
                <a:gd name="T15" fmla="*/ 11 h 34"/>
                <a:gd name="T16" fmla="*/ 0 w 47"/>
                <a:gd name="T17" fmla="*/ 11 h 34"/>
                <a:gd name="T18" fmla="*/ 0 w 47"/>
                <a:gd name="T19" fmla="*/ 18 h 34"/>
                <a:gd name="T20" fmla="*/ 2 w 47"/>
                <a:gd name="T21" fmla="*/ 29 h 34"/>
                <a:gd name="T22" fmla="*/ 11 w 47"/>
                <a:gd name="T23" fmla="*/ 34 h 34"/>
                <a:gd name="T24" fmla="*/ 24 w 47"/>
                <a:gd name="T25" fmla="*/ 32 h 34"/>
                <a:gd name="T26" fmla="*/ 30 w 47"/>
                <a:gd name="T27" fmla="*/ 27 h 34"/>
                <a:gd name="T28" fmla="*/ 41 w 47"/>
                <a:gd name="T29" fmla="*/ 28 h 34"/>
                <a:gd name="T30" fmla="*/ 43 w 47"/>
                <a:gd name="T31" fmla="*/ 23 h 34"/>
                <a:gd name="T32" fmla="*/ 47 w 47"/>
                <a:gd name="T33" fmla="*/ 23 h 34"/>
                <a:gd name="T34" fmla="*/ 44 w 47"/>
                <a:gd name="T35" fmla="*/ 7 h 34"/>
                <a:gd name="T36" fmla="*/ 44 w 47"/>
                <a:gd name="T3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34">
                  <a:moveTo>
                    <a:pt x="44" y="7"/>
                  </a:moveTo>
                  <a:lnTo>
                    <a:pt x="34" y="0"/>
                  </a:lnTo>
                  <a:lnTo>
                    <a:pt x="25" y="1"/>
                  </a:lnTo>
                  <a:lnTo>
                    <a:pt x="18" y="2"/>
                  </a:lnTo>
                  <a:lnTo>
                    <a:pt x="14" y="3"/>
                  </a:lnTo>
                  <a:lnTo>
                    <a:pt x="3" y="6"/>
                  </a:lnTo>
                  <a:lnTo>
                    <a:pt x="3" y="11"/>
                  </a:lnTo>
                  <a:lnTo>
                    <a:pt x="0" y="11"/>
                  </a:lnTo>
                  <a:lnTo>
                    <a:pt x="0" y="11"/>
                  </a:lnTo>
                  <a:lnTo>
                    <a:pt x="0" y="18"/>
                  </a:lnTo>
                  <a:lnTo>
                    <a:pt x="2" y="29"/>
                  </a:lnTo>
                  <a:lnTo>
                    <a:pt x="11" y="34"/>
                  </a:lnTo>
                  <a:lnTo>
                    <a:pt x="24" y="32"/>
                  </a:lnTo>
                  <a:lnTo>
                    <a:pt x="30" y="27"/>
                  </a:lnTo>
                  <a:lnTo>
                    <a:pt x="41" y="28"/>
                  </a:lnTo>
                  <a:lnTo>
                    <a:pt x="43" y="23"/>
                  </a:lnTo>
                  <a:lnTo>
                    <a:pt x="47" y="23"/>
                  </a:lnTo>
                  <a:lnTo>
                    <a:pt x="44" y="7"/>
                  </a:lnTo>
                  <a:lnTo>
                    <a:pt x="44" y="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2" name="Malia"/>
            <p:cNvSpPr>
              <a:spLocks/>
            </p:cNvSpPr>
            <p:nvPr/>
          </p:nvSpPr>
          <p:spPr bwMode="auto">
            <a:xfrm>
              <a:off x="5599112" y="3540126"/>
              <a:ext cx="542925" cy="561975"/>
            </a:xfrm>
            <a:custGeom>
              <a:avLst/>
              <a:gdLst>
                <a:gd name="T0" fmla="*/ 319 w 342"/>
                <a:gd name="T1" fmla="*/ 141 h 354"/>
                <a:gd name="T2" fmla="*/ 309 w 342"/>
                <a:gd name="T3" fmla="*/ 122 h 354"/>
                <a:gd name="T4" fmla="*/ 291 w 342"/>
                <a:gd name="T5" fmla="*/ 104 h 354"/>
                <a:gd name="T6" fmla="*/ 153 w 342"/>
                <a:gd name="T7" fmla="*/ 0 h 354"/>
                <a:gd name="T8" fmla="*/ 130 w 342"/>
                <a:gd name="T9" fmla="*/ 103 h 354"/>
                <a:gd name="T10" fmla="*/ 143 w 342"/>
                <a:gd name="T11" fmla="*/ 209 h 354"/>
                <a:gd name="T12" fmla="*/ 55 w 342"/>
                <a:gd name="T13" fmla="*/ 225 h 354"/>
                <a:gd name="T14" fmla="*/ 43 w 342"/>
                <a:gd name="T15" fmla="*/ 229 h 354"/>
                <a:gd name="T16" fmla="*/ 17 w 342"/>
                <a:gd name="T17" fmla="*/ 227 h 354"/>
                <a:gd name="T18" fmla="*/ 7 w 342"/>
                <a:gd name="T19" fmla="*/ 242 h 354"/>
                <a:gd name="T20" fmla="*/ 0 w 342"/>
                <a:gd name="T21" fmla="*/ 261 h 354"/>
                <a:gd name="T22" fmla="*/ 13 w 342"/>
                <a:gd name="T23" fmla="*/ 282 h 354"/>
                <a:gd name="T24" fmla="*/ 13 w 342"/>
                <a:gd name="T25" fmla="*/ 298 h 354"/>
                <a:gd name="T26" fmla="*/ 17 w 342"/>
                <a:gd name="T27" fmla="*/ 307 h 354"/>
                <a:gd name="T28" fmla="*/ 27 w 342"/>
                <a:gd name="T29" fmla="*/ 305 h 354"/>
                <a:gd name="T30" fmla="*/ 41 w 342"/>
                <a:gd name="T31" fmla="*/ 312 h 354"/>
                <a:gd name="T32" fmla="*/ 54 w 342"/>
                <a:gd name="T33" fmla="*/ 304 h 354"/>
                <a:gd name="T34" fmla="*/ 63 w 342"/>
                <a:gd name="T35" fmla="*/ 302 h 354"/>
                <a:gd name="T36" fmla="*/ 70 w 342"/>
                <a:gd name="T37" fmla="*/ 313 h 354"/>
                <a:gd name="T38" fmla="*/ 74 w 342"/>
                <a:gd name="T39" fmla="*/ 329 h 354"/>
                <a:gd name="T40" fmla="*/ 78 w 342"/>
                <a:gd name="T41" fmla="*/ 335 h 354"/>
                <a:gd name="T42" fmla="*/ 79 w 342"/>
                <a:gd name="T43" fmla="*/ 345 h 354"/>
                <a:gd name="T44" fmla="*/ 88 w 342"/>
                <a:gd name="T45" fmla="*/ 349 h 354"/>
                <a:gd name="T46" fmla="*/ 111 w 342"/>
                <a:gd name="T47" fmla="*/ 353 h 354"/>
                <a:gd name="T48" fmla="*/ 118 w 342"/>
                <a:gd name="T49" fmla="*/ 347 h 354"/>
                <a:gd name="T50" fmla="*/ 127 w 342"/>
                <a:gd name="T51" fmla="*/ 354 h 354"/>
                <a:gd name="T52" fmla="*/ 140 w 342"/>
                <a:gd name="T53" fmla="*/ 348 h 354"/>
                <a:gd name="T54" fmla="*/ 145 w 342"/>
                <a:gd name="T55" fmla="*/ 324 h 354"/>
                <a:gd name="T56" fmla="*/ 161 w 342"/>
                <a:gd name="T57" fmla="*/ 296 h 354"/>
                <a:gd name="T58" fmla="*/ 170 w 342"/>
                <a:gd name="T59" fmla="*/ 274 h 354"/>
                <a:gd name="T60" fmla="*/ 189 w 342"/>
                <a:gd name="T61" fmla="*/ 272 h 354"/>
                <a:gd name="T62" fmla="*/ 208 w 342"/>
                <a:gd name="T63" fmla="*/ 255 h 354"/>
                <a:gd name="T64" fmla="*/ 231 w 342"/>
                <a:gd name="T65" fmla="*/ 239 h 354"/>
                <a:gd name="T66" fmla="*/ 248 w 342"/>
                <a:gd name="T67" fmla="*/ 240 h 354"/>
                <a:gd name="T68" fmla="*/ 275 w 342"/>
                <a:gd name="T69" fmla="*/ 239 h 354"/>
                <a:gd name="T70" fmla="*/ 310 w 342"/>
                <a:gd name="T71" fmla="*/ 227 h 354"/>
                <a:gd name="T72" fmla="*/ 331 w 342"/>
                <a:gd name="T73" fmla="*/ 210 h 354"/>
                <a:gd name="T74" fmla="*/ 341 w 342"/>
                <a:gd name="T75" fmla="*/ 13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2" h="354">
                  <a:moveTo>
                    <a:pt x="341" y="139"/>
                  </a:moveTo>
                  <a:lnTo>
                    <a:pt x="319" y="141"/>
                  </a:lnTo>
                  <a:lnTo>
                    <a:pt x="318" y="127"/>
                  </a:lnTo>
                  <a:lnTo>
                    <a:pt x="309" y="122"/>
                  </a:lnTo>
                  <a:lnTo>
                    <a:pt x="295" y="115"/>
                  </a:lnTo>
                  <a:lnTo>
                    <a:pt x="291" y="104"/>
                  </a:lnTo>
                  <a:lnTo>
                    <a:pt x="222" y="53"/>
                  </a:lnTo>
                  <a:lnTo>
                    <a:pt x="153" y="0"/>
                  </a:lnTo>
                  <a:lnTo>
                    <a:pt x="122" y="1"/>
                  </a:lnTo>
                  <a:lnTo>
                    <a:pt x="130" y="103"/>
                  </a:lnTo>
                  <a:lnTo>
                    <a:pt x="140" y="206"/>
                  </a:lnTo>
                  <a:lnTo>
                    <a:pt x="143" y="209"/>
                  </a:lnTo>
                  <a:lnTo>
                    <a:pt x="139" y="225"/>
                  </a:lnTo>
                  <a:lnTo>
                    <a:pt x="55" y="225"/>
                  </a:lnTo>
                  <a:lnTo>
                    <a:pt x="52" y="231"/>
                  </a:lnTo>
                  <a:lnTo>
                    <a:pt x="43" y="229"/>
                  </a:lnTo>
                  <a:lnTo>
                    <a:pt x="32" y="235"/>
                  </a:lnTo>
                  <a:lnTo>
                    <a:pt x="17" y="227"/>
                  </a:lnTo>
                  <a:lnTo>
                    <a:pt x="11" y="228"/>
                  </a:lnTo>
                  <a:lnTo>
                    <a:pt x="7" y="242"/>
                  </a:lnTo>
                  <a:lnTo>
                    <a:pt x="0" y="247"/>
                  </a:lnTo>
                  <a:lnTo>
                    <a:pt x="0" y="261"/>
                  </a:lnTo>
                  <a:lnTo>
                    <a:pt x="5" y="275"/>
                  </a:lnTo>
                  <a:lnTo>
                    <a:pt x="13" y="282"/>
                  </a:lnTo>
                  <a:lnTo>
                    <a:pt x="14" y="291"/>
                  </a:lnTo>
                  <a:lnTo>
                    <a:pt x="13" y="298"/>
                  </a:lnTo>
                  <a:lnTo>
                    <a:pt x="14" y="307"/>
                  </a:lnTo>
                  <a:lnTo>
                    <a:pt x="17" y="307"/>
                  </a:lnTo>
                  <a:lnTo>
                    <a:pt x="23" y="304"/>
                  </a:lnTo>
                  <a:lnTo>
                    <a:pt x="27" y="305"/>
                  </a:lnTo>
                  <a:lnTo>
                    <a:pt x="32" y="310"/>
                  </a:lnTo>
                  <a:lnTo>
                    <a:pt x="41" y="312"/>
                  </a:lnTo>
                  <a:lnTo>
                    <a:pt x="47" y="308"/>
                  </a:lnTo>
                  <a:lnTo>
                    <a:pt x="54" y="304"/>
                  </a:lnTo>
                  <a:lnTo>
                    <a:pt x="58" y="301"/>
                  </a:lnTo>
                  <a:lnTo>
                    <a:pt x="63" y="302"/>
                  </a:lnTo>
                  <a:lnTo>
                    <a:pt x="68" y="307"/>
                  </a:lnTo>
                  <a:lnTo>
                    <a:pt x="70" y="313"/>
                  </a:lnTo>
                  <a:lnTo>
                    <a:pt x="79" y="324"/>
                  </a:lnTo>
                  <a:lnTo>
                    <a:pt x="74" y="329"/>
                  </a:lnTo>
                  <a:lnTo>
                    <a:pt x="73" y="338"/>
                  </a:lnTo>
                  <a:lnTo>
                    <a:pt x="78" y="335"/>
                  </a:lnTo>
                  <a:lnTo>
                    <a:pt x="81" y="338"/>
                  </a:lnTo>
                  <a:lnTo>
                    <a:pt x="79" y="345"/>
                  </a:lnTo>
                  <a:lnTo>
                    <a:pt x="85" y="352"/>
                  </a:lnTo>
                  <a:lnTo>
                    <a:pt x="88" y="349"/>
                  </a:lnTo>
                  <a:lnTo>
                    <a:pt x="94" y="352"/>
                  </a:lnTo>
                  <a:lnTo>
                    <a:pt x="111" y="353"/>
                  </a:lnTo>
                  <a:lnTo>
                    <a:pt x="114" y="346"/>
                  </a:lnTo>
                  <a:lnTo>
                    <a:pt x="118" y="347"/>
                  </a:lnTo>
                  <a:lnTo>
                    <a:pt x="124" y="344"/>
                  </a:lnTo>
                  <a:lnTo>
                    <a:pt x="127" y="354"/>
                  </a:lnTo>
                  <a:lnTo>
                    <a:pt x="132" y="351"/>
                  </a:lnTo>
                  <a:lnTo>
                    <a:pt x="140" y="348"/>
                  </a:lnTo>
                  <a:lnTo>
                    <a:pt x="139" y="334"/>
                  </a:lnTo>
                  <a:lnTo>
                    <a:pt x="145" y="324"/>
                  </a:lnTo>
                  <a:lnTo>
                    <a:pt x="144" y="315"/>
                  </a:lnTo>
                  <a:lnTo>
                    <a:pt x="161" y="296"/>
                  </a:lnTo>
                  <a:lnTo>
                    <a:pt x="164" y="280"/>
                  </a:lnTo>
                  <a:lnTo>
                    <a:pt x="170" y="274"/>
                  </a:lnTo>
                  <a:lnTo>
                    <a:pt x="180" y="277"/>
                  </a:lnTo>
                  <a:lnTo>
                    <a:pt x="189" y="272"/>
                  </a:lnTo>
                  <a:lnTo>
                    <a:pt x="192" y="267"/>
                  </a:lnTo>
                  <a:lnTo>
                    <a:pt x="208" y="255"/>
                  </a:lnTo>
                  <a:lnTo>
                    <a:pt x="211" y="248"/>
                  </a:lnTo>
                  <a:lnTo>
                    <a:pt x="231" y="239"/>
                  </a:lnTo>
                  <a:lnTo>
                    <a:pt x="242" y="235"/>
                  </a:lnTo>
                  <a:lnTo>
                    <a:pt x="248" y="240"/>
                  </a:lnTo>
                  <a:lnTo>
                    <a:pt x="261" y="240"/>
                  </a:lnTo>
                  <a:lnTo>
                    <a:pt x="275" y="239"/>
                  </a:lnTo>
                  <a:lnTo>
                    <a:pt x="282" y="230"/>
                  </a:lnTo>
                  <a:lnTo>
                    <a:pt x="310" y="227"/>
                  </a:lnTo>
                  <a:lnTo>
                    <a:pt x="329" y="224"/>
                  </a:lnTo>
                  <a:lnTo>
                    <a:pt x="331" y="210"/>
                  </a:lnTo>
                  <a:lnTo>
                    <a:pt x="342" y="194"/>
                  </a:lnTo>
                  <a:lnTo>
                    <a:pt x="341" y="139"/>
                  </a:lnTo>
                  <a:lnTo>
                    <a:pt x="341" y="13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3" name="Myanmar"/>
            <p:cNvSpPr>
              <a:spLocks/>
            </p:cNvSpPr>
            <p:nvPr/>
          </p:nvSpPr>
          <p:spPr bwMode="auto">
            <a:xfrm>
              <a:off x="9015412" y="3414713"/>
              <a:ext cx="290512" cy="693738"/>
            </a:xfrm>
            <a:custGeom>
              <a:avLst/>
              <a:gdLst>
                <a:gd name="T0" fmla="*/ 180 w 183"/>
                <a:gd name="T1" fmla="*/ 154 h 437"/>
                <a:gd name="T2" fmla="*/ 156 w 183"/>
                <a:gd name="T3" fmla="*/ 156 h 437"/>
                <a:gd name="T4" fmla="*/ 142 w 183"/>
                <a:gd name="T5" fmla="*/ 128 h 437"/>
                <a:gd name="T6" fmla="*/ 120 w 183"/>
                <a:gd name="T7" fmla="*/ 101 h 437"/>
                <a:gd name="T8" fmla="*/ 97 w 183"/>
                <a:gd name="T9" fmla="*/ 77 h 437"/>
                <a:gd name="T10" fmla="*/ 109 w 183"/>
                <a:gd name="T11" fmla="*/ 37 h 437"/>
                <a:gd name="T12" fmla="*/ 94 w 183"/>
                <a:gd name="T13" fmla="*/ 13 h 437"/>
                <a:gd name="T14" fmla="*/ 72 w 183"/>
                <a:gd name="T15" fmla="*/ 1 h 437"/>
                <a:gd name="T16" fmla="*/ 71 w 183"/>
                <a:gd name="T17" fmla="*/ 15 h 437"/>
                <a:gd name="T18" fmla="*/ 59 w 183"/>
                <a:gd name="T19" fmla="*/ 25 h 437"/>
                <a:gd name="T20" fmla="*/ 41 w 183"/>
                <a:gd name="T21" fmla="*/ 55 h 437"/>
                <a:gd name="T22" fmla="*/ 33 w 183"/>
                <a:gd name="T23" fmla="*/ 87 h 437"/>
                <a:gd name="T24" fmla="*/ 11 w 183"/>
                <a:gd name="T25" fmla="*/ 101 h 437"/>
                <a:gd name="T26" fmla="*/ 11 w 183"/>
                <a:gd name="T27" fmla="*/ 134 h 437"/>
                <a:gd name="T28" fmla="*/ 5 w 183"/>
                <a:gd name="T29" fmla="*/ 150 h 437"/>
                <a:gd name="T30" fmla="*/ 0 w 183"/>
                <a:gd name="T31" fmla="*/ 163 h 437"/>
                <a:gd name="T32" fmla="*/ 20 w 183"/>
                <a:gd name="T33" fmla="*/ 201 h 437"/>
                <a:gd name="T34" fmla="*/ 31 w 183"/>
                <a:gd name="T35" fmla="*/ 213 h 437"/>
                <a:gd name="T36" fmla="*/ 59 w 183"/>
                <a:gd name="T37" fmla="*/ 262 h 437"/>
                <a:gd name="T38" fmla="*/ 69 w 183"/>
                <a:gd name="T39" fmla="*/ 297 h 437"/>
                <a:gd name="T40" fmla="*/ 102 w 183"/>
                <a:gd name="T41" fmla="*/ 282 h 437"/>
                <a:gd name="T42" fmla="*/ 127 w 183"/>
                <a:gd name="T43" fmla="*/ 290 h 437"/>
                <a:gd name="T44" fmla="*/ 143 w 183"/>
                <a:gd name="T45" fmla="*/ 349 h 437"/>
                <a:gd name="T46" fmla="*/ 154 w 183"/>
                <a:gd name="T47" fmla="*/ 387 h 437"/>
                <a:gd name="T48" fmla="*/ 157 w 183"/>
                <a:gd name="T49" fmla="*/ 419 h 437"/>
                <a:gd name="T50" fmla="*/ 169 w 183"/>
                <a:gd name="T51" fmla="*/ 413 h 437"/>
                <a:gd name="T52" fmla="*/ 168 w 183"/>
                <a:gd name="T53" fmla="*/ 369 h 437"/>
                <a:gd name="T54" fmla="*/ 164 w 183"/>
                <a:gd name="T55" fmla="*/ 345 h 437"/>
                <a:gd name="T56" fmla="*/ 141 w 183"/>
                <a:gd name="T57" fmla="*/ 314 h 437"/>
                <a:gd name="T58" fmla="*/ 153 w 183"/>
                <a:gd name="T59" fmla="*/ 289 h 437"/>
                <a:gd name="T60" fmla="*/ 127 w 183"/>
                <a:gd name="T61" fmla="*/ 256 h 437"/>
                <a:gd name="T62" fmla="*/ 122 w 183"/>
                <a:gd name="T63" fmla="*/ 231 h 437"/>
                <a:gd name="T64" fmla="*/ 142 w 183"/>
                <a:gd name="T65" fmla="*/ 204 h 437"/>
                <a:gd name="T66" fmla="*/ 164 w 183"/>
                <a:gd name="T67" fmla="*/ 188 h 437"/>
                <a:gd name="T68" fmla="*/ 183 w 183"/>
                <a:gd name="T69" fmla="*/ 16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437">
                  <a:moveTo>
                    <a:pt x="183" y="164"/>
                  </a:moveTo>
                  <a:lnTo>
                    <a:pt x="180" y="154"/>
                  </a:lnTo>
                  <a:lnTo>
                    <a:pt x="166" y="161"/>
                  </a:lnTo>
                  <a:lnTo>
                    <a:pt x="156" y="156"/>
                  </a:lnTo>
                  <a:lnTo>
                    <a:pt x="140" y="148"/>
                  </a:lnTo>
                  <a:lnTo>
                    <a:pt x="142" y="128"/>
                  </a:lnTo>
                  <a:lnTo>
                    <a:pt x="128" y="123"/>
                  </a:lnTo>
                  <a:lnTo>
                    <a:pt x="120" y="101"/>
                  </a:lnTo>
                  <a:lnTo>
                    <a:pt x="99" y="105"/>
                  </a:lnTo>
                  <a:lnTo>
                    <a:pt x="97" y="77"/>
                  </a:lnTo>
                  <a:lnTo>
                    <a:pt x="112" y="57"/>
                  </a:lnTo>
                  <a:lnTo>
                    <a:pt x="109" y="37"/>
                  </a:lnTo>
                  <a:lnTo>
                    <a:pt x="104" y="19"/>
                  </a:lnTo>
                  <a:lnTo>
                    <a:pt x="94" y="13"/>
                  </a:lnTo>
                  <a:lnTo>
                    <a:pt x="84" y="0"/>
                  </a:lnTo>
                  <a:lnTo>
                    <a:pt x="72" y="1"/>
                  </a:lnTo>
                  <a:lnTo>
                    <a:pt x="76" y="10"/>
                  </a:lnTo>
                  <a:lnTo>
                    <a:pt x="71" y="15"/>
                  </a:lnTo>
                  <a:lnTo>
                    <a:pt x="75" y="29"/>
                  </a:lnTo>
                  <a:lnTo>
                    <a:pt x="59" y="25"/>
                  </a:lnTo>
                  <a:lnTo>
                    <a:pt x="37" y="41"/>
                  </a:lnTo>
                  <a:lnTo>
                    <a:pt x="41" y="55"/>
                  </a:lnTo>
                  <a:lnTo>
                    <a:pt x="32" y="75"/>
                  </a:lnTo>
                  <a:lnTo>
                    <a:pt x="33" y="87"/>
                  </a:lnTo>
                  <a:lnTo>
                    <a:pt x="28" y="107"/>
                  </a:lnTo>
                  <a:lnTo>
                    <a:pt x="11" y="101"/>
                  </a:lnTo>
                  <a:lnTo>
                    <a:pt x="15" y="125"/>
                  </a:lnTo>
                  <a:lnTo>
                    <a:pt x="11" y="134"/>
                  </a:lnTo>
                  <a:lnTo>
                    <a:pt x="15" y="144"/>
                  </a:lnTo>
                  <a:lnTo>
                    <a:pt x="5" y="150"/>
                  </a:lnTo>
                  <a:lnTo>
                    <a:pt x="7" y="166"/>
                  </a:lnTo>
                  <a:lnTo>
                    <a:pt x="0" y="163"/>
                  </a:lnTo>
                  <a:lnTo>
                    <a:pt x="3" y="181"/>
                  </a:lnTo>
                  <a:lnTo>
                    <a:pt x="20" y="201"/>
                  </a:lnTo>
                  <a:lnTo>
                    <a:pt x="33" y="205"/>
                  </a:lnTo>
                  <a:lnTo>
                    <a:pt x="31" y="213"/>
                  </a:lnTo>
                  <a:lnTo>
                    <a:pt x="52" y="240"/>
                  </a:lnTo>
                  <a:lnTo>
                    <a:pt x="59" y="262"/>
                  </a:lnTo>
                  <a:lnTo>
                    <a:pt x="56" y="291"/>
                  </a:lnTo>
                  <a:lnTo>
                    <a:pt x="69" y="297"/>
                  </a:lnTo>
                  <a:lnTo>
                    <a:pt x="81" y="300"/>
                  </a:lnTo>
                  <a:lnTo>
                    <a:pt x="102" y="282"/>
                  </a:lnTo>
                  <a:lnTo>
                    <a:pt x="114" y="271"/>
                  </a:lnTo>
                  <a:lnTo>
                    <a:pt x="127" y="290"/>
                  </a:lnTo>
                  <a:lnTo>
                    <a:pt x="134" y="320"/>
                  </a:lnTo>
                  <a:lnTo>
                    <a:pt x="143" y="349"/>
                  </a:lnTo>
                  <a:lnTo>
                    <a:pt x="153" y="361"/>
                  </a:lnTo>
                  <a:lnTo>
                    <a:pt x="154" y="387"/>
                  </a:lnTo>
                  <a:lnTo>
                    <a:pt x="162" y="402"/>
                  </a:lnTo>
                  <a:lnTo>
                    <a:pt x="157" y="419"/>
                  </a:lnTo>
                  <a:lnTo>
                    <a:pt x="160" y="437"/>
                  </a:lnTo>
                  <a:lnTo>
                    <a:pt x="169" y="413"/>
                  </a:lnTo>
                  <a:lnTo>
                    <a:pt x="179" y="390"/>
                  </a:lnTo>
                  <a:lnTo>
                    <a:pt x="168" y="369"/>
                  </a:lnTo>
                  <a:lnTo>
                    <a:pt x="168" y="358"/>
                  </a:lnTo>
                  <a:lnTo>
                    <a:pt x="164" y="345"/>
                  </a:lnTo>
                  <a:lnTo>
                    <a:pt x="148" y="325"/>
                  </a:lnTo>
                  <a:lnTo>
                    <a:pt x="141" y="314"/>
                  </a:lnTo>
                  <a:lnTo>
                    <a:pt x="148" y="309"/>
                  </a:lnTo>
                  <a:lnTo>
                    <a:pt x="153" y="289"/>
                  </a:lnTo>
                  <a:lnTo>
                    <a:pt x="142" y="273"/>
                  </a:lnTo>
                  <a:lnTo>
                    <a:pt x="127" y="256"/>
                  </a:lnTo>
                  <a:lnTo>
                    <a:pt x="113" y="234"/>
                  </a:lnTo>
                  <a:lnTo>
                    <a:pt x="122" y="231"/>
                  </a:lnTo>
                  <a:lnTo>
                    <a:pt x="127" y="205"/>
                  </a:lnTo>
                  <a:lnTo>
                    <a:pt x="142" y="204"/>
                  </a:lnTo>
                  <a:lnTo>
                    <a:pt x="153" y="193"/>
                  </a:lnTo>
                  <a:lnTo>
                    <a:pt x="164" y="188"/>
                  </a:lnTo>
                  <a:lnTo>
                    <a:pt x="167" y="179"/>
                  </a:lnTo>
                  <a:lnTo>
                    <a:pt x="183" y="164"/>
                  </a:lnTo>
                  <a:lnTo>
                    <a:pt x="183" y="16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4" name="Montenegro"/>
            <p:cNvSpPr>
              <a:spLocks/>
            </p:cNvSpPr>
            <p:nvPr/>
          </p:nvSpPr>
          <p:spPr bwMode="auto">
            <a:xfrm>
              <a:off x="6559550" y="2843213"/>
              <a:ext cx="57150" cy="58738"/>
            </a:xfrm>
            <a:custGeom>
              <a:avLst/>
              <a:gdLst>
                <a:gd name="T0" fmla="*/ 34 w 36"/>
                <a:gd name="T1" fmla="*/ 16 h 37"/>
                <a:gd name="T2" fmla="*/ 36 w 36"/>
                <a:gd name="T3" fmla="*/ 14 h 37"/>
                <a:gd name="T4" fmla="*/ 28 w 36"/>
                <a:gd name="T5" fmla="*/ 9 h 37"/>
                <a:gd name="T6" fmla="*/ 21 w 36"/>
                <a:gd name="T7" fmla="*/ 6 h 37"/>
                <a:gd name="T8" fmla="*/ 18 w 36"/>
                <a:gd name="T9" fmla="*/ 3 h 37"/>
                <a:gd name="T10" fmla="*/ 13 w 36"/>
                <a:gd name="T11" fmla="*/ 0 h 37"/>
                <a:gd name="T12" fmla="*/ 10 w 36"/>
                <a:gd name="T13" fmla="*/ 2 h 37"/>
                <a:gd name="T14" fmla="*/ 4 w 36"/>
                <a:gd name="T15" fmla="*/ 7 h 37"/>
                <a:gd name="T16" fmla="*/ 2 w 36"/>
                <a:gd name="T17" fmla="*/ 19 h 37"/>
                <a:gd name="T18" fmla="*/ 0 w 36"/>
                <a:gd name="T19" fmla="*/ 23 h 37"/>
                <a:gd name="T20" fmla="*/ 0 w 36"/>
                <a:gd name="T21" fmla="*/ 23 h 37"/>
                <a:gd name="T22" fmla="*/ 9 w 36"/>
                <a:gd name="T23" fmla="*/ 28 h 37"/>
                <a:gd name="T24" fmla="*/ 15 w 36"/>
                <a:gd name="T25" fmla="*/ 35 h 37"/>
                <a:gd name="T26" fmla="*/ 19 w 36"/>
                <a:gd name="T27" fmla="*/ 37 h 37"/>
                <a:gd name="T28" fmla="*/ 19 w 36"/>
                <a:gd name="T29" fmla="*/ 37 h 37"/>
                <a:gd name="T30" fmla="*/ 17 w 36"/>
                <a:gd name="T31" fmla="*/ 30 h 37"/>
                <a:gd name="T32" fmla="*/ 25 w 36"/>
                <a:gd name="T33" fmla="*/ 18 h 37"/>
                <a:gd name="T34" fmla="*/ 27 w 36"/>
                <a:gd name="T35" fmla="*/ 23 h 37"/>
                <a:gd name="T36" fmla="*/ 31 w 36"/>
                <a:gd name="T37" fmla="*/ 21 h 37"/>
                <a:gd name="T38" fmla="*/ 34 w 36"/>
                <a:gd name="T39"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37">
                  <a:moveTo>
                    <a:pt x="34" y="16"/>
                  </a:moveTo>
                  <a:lnTo>
                    <a:pt x="36" y="14"/>
                  </a:lnTo>
                  <a:lnTo>
                    <a:pt x="28" y="9"/>
                  </a:lnTo>
                  <a:lnTo>
                    <a:pt x="21" y="6"/>
                  </a:lnTo>
                  <a:lnTo>
                    <a:pt x="18" y="3"/>
                  </a:lnTo>
                  <a:lnTo>
                    <a:pt x="13" y="0"/>
                  </a:lnTo>
                  <a:lnTo>
                    <a:pt x="10" y="2"/>
                  </a:lnTo>
                  <a:lnTo>
                    <a:pt x="4" y="7"/>
                  </a:lnTo>
                  <a:lnTo>
                    <a:pt x="2" y="19"/>
                  </a:lnTo>
                  <a:lnTo>
                    <a:pt x="0" y="23"/>
                  </a:lnTo>
                  <a:lnTo>
                    <a:pt x="0" y="23"/>
                  </a:lnTo>
                  <a:lnTo>
                    <a:pt x="9" y="28"/>
                  </a:lnTo>
                  <a:lnTo>
                    <a:pt x="15" y="35"/>
                  </a:lnTo>
                  <a:lnTo>
                    <a:pt x="19" y="37"/>
                  </a:lnTo>
                  <a:lnTo>
                    <a:pt x="19" y="37"/>
                  </a:lnTo>
                  <a:lnTo>
                    <a:pt x="17" y="30"/>
                  </a:lnTo>
                  <a:lnTo>
                    <a:pt x="25" y="18"/>
                  </a:lnTo>
                  <a:lnTo>
                    <a:pt x="27" y="23"/>
                  </a:lnTo>
                  <a:lnTo>
                    <a:pt x="31" y="21"/>
                  </a:lnTo>
                  <a:lnTo>
                    <a:pt x="34" y="1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5" name="Mongolia"/>
            <p:cNvSpPr>
              <a:spLocks/>
            </p:cNvSpPr>
            <p:nvPr/>
          </p:nvSpPr>
          <p:spPr bwMode="auto">
            <a:xfrm>
              <a:off x="8550275" y="2530476"/>
              <a:ext cx="987425" cy="382588"/>
            </a:xfrm>
            <a:custGeom>
              <a:avLst/>
              <a:gdLst>
                <a:gd name="T0" fmla="*/ 237 w 622"/>
                <a:gd name="T1" fmla="*/ 17 h 241"/>
                <a:gd name="T2" fmla="*/ 194 w 622"/>
                <a:gd name="T3" fmla="*/ 9 h 241"/>
                <a:gd name="T4" fmla="*/ 164 w 622"/>
                <a:gd name="T5" fmla="*/ 23 h 241"/>
                <a:gd name="T6" fmla="*/ 169 w 622"/>
                <a:gd name="T7" fmla="*/ 53 h 241"/>
                <a:gd name="T8" fmla="*/ 121 w 622"/>
                <a:gd name="T9" fmla="*/ 46 h 241"/>
                <a:gd name="T10" fmla="*/ 84 w 622"/>
                <a:gd name="T11" fmla="*/ 35 h 241"/>
                <a:gd name="T12" fmla="*/ 42 w 622"/>
                <a:gd name="T13" fmla="*/ 39 h 241"/>
                <a:gd name="T14" fmla="*/ 0 w 622"/>
                <a:gd name="T15" fmla="*/ 62 h 241"/>
                <a:gd name="T16" fmla="*/ 34 w 622"/>
                <a:gd name="T17" fmla="*/ 91 h 241"/>
                <a:gd name="T18" fmla="*/ 86 w 622"/>
                <a:gd name="T19" fmla="*/ 118 h 241"/>
                <a:gd name="T20" fmla="*/ 102 w 622"/>
                <a:gd name="T21" fmla="*/ 156 h 241"/>
                <a:gd name="T22" fmla="*/ 153 w 622"/>
                <a:gd name="T23" fmla="*/ 163 h 241"/>
                <a:gd name="T24" fmla="*/ 195 w 622"/>
                <a:gd name="T25" fmla="*/ 180 h 241"/>
                <a:gd name="T26" fmla="*/ 231 w 622"/>
                <a:gd name="T27" fmla="*/ 214 h 241"/>
                <a:gd name="T28" fmla="*/ 294 w 622"/>
                <a:gd name="T29" fmla="*/ 219 h 241"/>
                <a:gd name="T30" fmla="*/ 337 w 622"/>
                <a:gd name="T31" fmla="*/ 219 h 241"/>
                <a:gd name="T32" fmla="*/ 395 w 622"/>
                <a:gd name="T33" fmla="*/ 233 h 241"/>
                <a:gd name="T34" fmla="*/ 424 w 622"/>
                <a:gd name="T35" fmla="*/ 228 h 241"/>
                <a:gd name="T36" fmla="*/ 479 w 622"/>
                <a:gd name="T37" fmla="*/ 219 h 241"/>
                <a:gd name="T38" fmla="*/ 505 w 622"/>
                <a:gd name="T39" fmla="*/ 199 h 241"/>
                <a:gd name="T40" fmla="*/ 506 w 622"/>
                <a:gd name="T41" fmla="*/ 184 h 241"/>
                <a:gd name="T42" fmla="*/ 497 w 622"/>
                <a:gd name="T43" fmla="*/ 160 h 241"/>
                <a:gd name="T44" fmla="*/ 532 w 622"/>
                <a:gd name="T45" fmla="*/ 167 h 241"/>
                <a:gd name="T46" fmla="*/ 566 w 622"/>
                <a:gd name="T47" fmla="*/ 145 h 241"/>
                <a:gd name="T48" fmla="*/ 580 w 622"/>
                <a:gd name="T49" fmla="*/ 124 h 241"/>
                <a:gd name="T50" fmla="*/ 622 w 622"/>
                <a:gd name="T51" fmla="*/ 123 h 241"/>
                <a:gd name="T52" fmla="*/ 592 w 622"/>
                <a:gd name="T53" fmla="*/ 99 h 241"/>
                <a:gd name="T54" fmla="*/ 564 w 622"/>
                <a:gd name="T55" fmla="*/ 100 h 241"/>
                <a:gd name="T56" fmla="*/ 535 w 622"/>
                <a:gd name="T57" fmla="*/ 100 h 241"/>
                <a:gd name="T58" fmla="*/ 524 w 622"/>
                <a:gd name="T59" fmla="*/ 66 h 241"/>
                <a:gd name="T60" fmla="*/ 501 w 622"/>
                <a:gd name="T61" fmla="*/ 51 h 241"/>
                <a:gd name="T62" fmla="*/ 474 w 622"/>
                <a:gd name="T63" fmla="*/ 41 h 241"/>
                <a:gd name="T64" fmla="*/ 435 w 622"/>
                <a:gd name="T65" fmla="*/ 60 h 241"/>
                <a:gd name="T66" fmla="*/ 397 w 622"/>
                <a:gd name="T67" fmla="*/ 63 h 241"/>
                <a:gd name="T68" fmla="*/ 362 w 622"/>
                <a:gd name="T69" fmla="*/ 51 h 241"/>
                <a:gd name="T70" fmla="*/ 318 w 622"/>
                <a:gd name="T71" fmla="*/ 37 h 241"/>
                <a:gd name="T72" fmla="*/ 281 w 622"/>
                <a:gd name="T73" fmla="*/ 45 h 241"/>
                <a:gd name="T74" fmla="*/ 251 w 622"/>
                <a:gd name="T75" fmla="*/ 3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2" h="241">
                  <a:moveTo>
                    <a:pt x="251" y="34"/>
                  </a:moveTo>
                  <a:lnTo>
                    <a:pt x="237" y="17"/>
                  </a:lnTo>
                  <a:lnTo>
                    <a:pt x="212" y="12"/>
                  </a:lnTo>
                  <a:lnTo>
                    <a:pt x="194" y="9"/>
                  </a:lnTo>
                  <a:lnTo>
                    <a:pt x="168" y="0"/>
                  </a:lnTo>
                  <a:lnTo>
                    <a:pt x="164" y="23"/>
                  </a:lnTo>
                  <a:lnTo>
                    <a:pt x="179" y="37"/>
                  </a:lnTo>
                  <a:lnTo>
                    <a:pt x="169" y="53"/>
                  </a:lnTo>
                  <a:lnTo>
                    <a:pt x="139" y="47"/>
                  </a:lnTo>
                  <a:lnTo>
                    <a:pt x="121" y="46"/>
                  </a:lnTo>
                  <a:lnTo>
                    <a:pt x="104" y="35"/>
                  </a:lnTo>
                  <a:lnTo>
                    <a:pt x="84" y="35"/>
                  </a:lnTo>
                  <a:lnTo>
                    <a:pt x="65" y="28"/>
                  </a:lnTo>
                  <a:lnTo>
                    <a:pt x="42" y="39"/>
                  </a:lnTo>
                  <a:lnTo>
                    <a:pt x="18" y="59"/>
                  </a:lnTo>
                  <a:lnTo>
                    <a:pt x="0" y="62"/>
                  </a:lnTo>
                  <a:lnTo>
                    <a:pt x="12" y="79"/>
                  </a:lnTo>
                  <a:lnTo>
                    <a:pt x="34" y="91"/>
                  </a:lnTo>
                  <a:lnTo>
                    <a:pt x="65" y="100"/>
                  </a:lnTo>
                  <a:lnTo>
                    <a:pt x="86" y="118"/>
                  </a:lnTo>
                  <a:lnTo>
                    <a:pt x="91" y="146"/>
                  </a:lnTo>
                  <a:lnTo>
                    <a:pt x="102" y="156"/>
                  </a:lnTo>
                  <a:lnTo>
                    <a:pt x="126" y="159"/>
                  </a:lnTo>
                  <a:lnTo>
                    <a:pt x="153" y="163"/>
                  </a:lnTo>
                  <a:lnTo>
                    <a:pt x="182" y="177"/>
                  </a:lnTo>
                  <a:lnTo>
                    <a:pt x="195" y="180"/>
                  </a:lnTo>
                  <a:lnTo>
                    <a:pt x="213" y="201"/>
                  </a:lnTo>
                  <a:lnTo>
                    <a:pt x="231" y="214"/>
                  </a:lnTo>
                  <a:lnTo>
                    <a:pt x="251" y="214"/>
                  </a:lnTo>
                  <a:lnTo>
                    <a:pt x="294" y="219"/>
                  </a:lnTo>
                  <a:lnTo>
                    <a:pt x="317" y="216"/>
                  </a:lnTo>
                  <a:lnTo>
                    <a:pt x="337" y="219"/>
                  </a:lnTo>
                  <a:lnTo>
                    <a:pt x="373" y="234"/>
                  </a:lnTo>
                  <a:lnTo>
                    <a:pt x="395" y="233"/>
                  </a:lnTo>
                  <a:lnTo>
                    <a:pt x="407" y="241"/>
                  </a:lnTo>
                  <a:lnTo>
                    <a:pt x="424" y="228"/>
                  </a:lnTo>
                  <a:lnTo>
                    <a:pt x="451" y="220"/>
                  </a:lnTo>
                  <a:lnTo>
                    <a:pt x="479" y="219"/>
                  </a:lnTo>
                  <a:lnTo>
                    <a:pt x="497" y="212"/>
                  </a:lnTo>
                  <a:lnTo>
                    <a:pt x="505" y="199"/>
                  </a:lnTo>
                  <a:lnTo>
                    <a:pt x="514" y="191"/>
                  </a:lnTo>
                  <a:lnTo>
                    <a:pt x="506" y="184"/>
                  </a:lnTo>
                  <a:lnTo>
                    <a:pt x="496" y="175"/>
                  </a:lnTo>
                  <a:lnTo>
                    <a:pt x="497" y="160"/>
                  </a:lnTo>
                  <a:lnTo>
                    <a:pt x="509" y="162"/>
                  </a:lnTo>
                  <a:lnTo>
                    <a:pt x="532" y="167"/>
                  </a:lnTo>
                  <a:lnTo>
                    <a:pt x="543" y="155"/>
                  </a:lnTo>
                  <a:lnTo>
                    <a:pt x="566" y="145"/>
                  </a:lnTo>
                  <a:lnTo>
                    <a:pt x="572" y="130"/>
                  </a:lnTo>
                  <a:lnTo>
                    <a:pt x="580" y="124"/>
                  </a:lnTo>
                  <a:lnTo>
                    <a:pt x="606" y="120"/>
                  </a:lnTo>
                  <a:lnTo>
                    <a:pt x="622" y="123"/>
                  </a:lnTo>
                  <a:lnTo>
                    <a:pt x="619" y="115"/>
                  </a:lnTo>
                  <a:lnTo>
                    <a:pt x="592" y="99"/>
                  </a:lnTo>
                  <a:lnTo>
                    <a:pt x="574" y="91"/>
                  </a:lnTo>
                  <a:lnTo>
                    <a:pt x="564" y="100"/>
                  </a:lnTo>
                  <a:lnTo>
                    <a:pt x="544" y="96"/>
                  </a:lnTo>
                  <a:lnTo>
                    <a:pt x="535" y="100"/>
                  </a:lnTo>
                  <a:lnTo>
                    <a:pt x="525" y="89"/>
                  </a:lnTo>
                  <a:lnTo>
                    <a:pt x="524" y="66"/>
                  </a:lnTo>
                  <a:lnTo>
                    <a:pt x="521" y="49"/>
                  </a:lnTo>
                  <a:lnTo>
                    <a:pt x="501" y="51"/>
                  </a:lnTo>
                  <a:lnTo>
                    <a:pt x="487" y="44"/>
                  </a:lnTo>
                  <a:lnTo>
                    <a:pt x="474" y="41"/>
                  </a:lnTo>
                  <a:lnTo>
                    <a:pt x="457" y="57"/>
                  </a:lnTo>
                  <a:lnTo>
                    <a:pt x="435" y="60"/>
                  </a:lnTo>
                  <a:lnTo>
                    <a:pt x="422" y="67"/>
                  </a:lnTo>
                  <a:lnTo>
                    <a:pt x="397" y="63"/>
                  </a:lnTo>
                  <a:lnTo>
                    <a:pt x="380" y="63"/>
                  </a:lnTo>
                  <a:lnTo>
                    <a:pt x="362" y="51"/>
                  </a:lnTo>
                  <a:lnTo>
                    <a:pt x="337" y="40"/>
                  </a:lnTo>
                  <a:lnTo>
                    <a:pt x="318" y="37"/>
                  </a:lnTo>
                  <a:lnTo>
                    <a:pt x="296" y="40"/>
                  </a:lnTo>
                  <a:lnTo>
                    <a:pt x="281" y="45"/>
                  </a:lnTo>
                  <a:lnTo>
                    <a:pt x="251" y="34"/>
                  </a:lnTo>
                  <a:lnTo>
                    <a:pt x="251" y="3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6" name="Mozambique"/>
            <p:cNvSpPr>
              <a:spLocks/>
            </p:cNvSpPr>
            <p:nvPr/>
          </p:nvSpPr>
          <p:spPr bwMode="auto">
            <a:xfrm>
              <a:off x="6997700" y="4872038"/>
              <a:ext cx="349250" cy="619125"/>
            </a:xfrm>
            <a:custGeom>
              <a:avLst/>
              <a:gdLst>
                <a:gd name="T0" fmla="*/ 215 w 220"/>
                <a:gd name="T1" fmla="*/ 0 h 390"/>
                <a:gd name="T2" fmla="*/ 215 w 220"/>
                <a:gd name="T3" fmla="*/ 0 h 390"/>
                <a:gd name="T4" fmla="*/ 174 w 220"/>
                <a:gd name="T5" fmla="*/ 23 h 390"/>
                <a:gd name="T6" fmla="*/ 154 w 220"/>
                <a:gd name="T7" fmla="*/ 30 h 390"/>
                <a:gd name="T8" fmla="*/ 134 w 220"/>
                <a:gd name="T9" fmla="*/ 34 h 390"/>
                <a:gd name="T10" fmla="*/ 102 w 220"/>
                <a:gd name="T11" fmla="*/ 28 h 390"/>
                <a:gd name="T12" fmla="*/ 98 w 220"/>
                <a:gd name="T13" fmla="*/ 77 h 390"/>
                <a:gd name="T14" fmla="*/ 106 w 220"/>
                <a:gd name="T15" fmla="*/ 85 h 390"/>
                <a:gd name="T16" fmla="*/ 115 w 220"/>
                <a:gd name="T17" fmla="*/ 133 h 390"/>
                <a:gd name="T18" fmla="*/ 98 w 220"/>
                <a:gd name="T19" fmla="*/ 154 h 390"/>
                <a:gd name="T20" fmla="*/ 85 w 220"/>
                <a:gd name="T21" fmla="*/ 122 h 390"/>
                <a:gd name="T22" fmla="*/ 89 w 220"/>
                <a:gd name="T23" fmla="*/ 102 h 390"/>
                <a:gd name="T24" fmla="*/ 75 w 220"/>
                <a:gd name="T25" fmla="*/ 98 h 390"/>
                <a:gd name="T26" fmla="*/ 0 w 220"/>
                <a:gd name="T27" fmla="*/ 106 h 390"/>
                <a:gd name="T28" fmla="*/ 2 w 220"/>
                <a:gd name="T29" fmla="*/ 133 h 390"/>
                <a:gd name="T30" fmla="*/ 29 w 220"/>
                <a:gd name="T31" fmla="*/ 137 h 390"/>
                <a:gd name="T32" fmla="*/ 43 w 220"/>
                <a:gd name="T33" fmla="*/ 145 h 390"/>
                <a:gd name="T34" fmla="*/ 52 w 220"/>
                <a:gd name="T35" fmla="*/ 182 h 390"/>
                <a:gd name="T36" fmla="*/ 46 w 220"/>
                <a:gd name="T37" fmla="*/ 217 h 390"/>
                <a:gd name="T38" fmla="*/ 46 w 220"/>
                <a:gd name="T39" fmla="*/ 237 h 390"/>
                <a:gd name="T40" fmla="*/ 36 w 220"/>
                <a:gd name="T41" fmla="*/ 257 h 390"/>
                <a:gd name="T42" fmla="*/ 21 w 220"/>
                <a:gd name="T43" fmla="*/ 317 h 390"/>
                <a:gd name="T44" fmla="*/ 19 w 220"/>
                <a:gd name="T45" fmla="*/ 360 h 390"/>
                <a:gd name="T46" fmla="*/ 23 w 220"/>
                <a:gd name="T47" fmla="*/ 380 h 390"/>
                <a:gd name="T48" fmla="*/ 40 w 220"/>
                <a:gd name="T49" fmla="*/ 390 h 390"/>
                <a:gd name="T50" fmla="*/ 37 w 220"/>
                <a:gd name="T51" fmla="*/ 376 h 390"/>
                <a:gd name="T52" fmla="*/ 46 w 220"/>
                <a:gd name="T53" fmla="*/ 358 h 390"/>
                <a:gd name="T54" fmla="*/ 89 w 220"/>
                <a:gd name="T55" fmla="*/ 337 h 390"/>
                <a:gd name="T56" fmla="*/ 102 w 220"/>
                <a:gd name="T57" fmla="*/ 318 h 390"/>
                <a:gd name="T58" fmla="*/ 101 w 220"/>
                <a:gd name="T59" fmla="*/ 303 h 390"/>
                <a:gd name="T60" fmla="*/ 99 w 220"/>
                <a:gd name="T61" fmla="*/ 281 h 390"/>
                <a:gd name="T62" fmla="*/ 96 w 220"/>
                <a:gd name="T63" fmla="*/ 260 h 390"/>
                <a:gd name="T64" fmla="*/ 89 w 220"/>
                <a:gd name="T65" fmla="*/ 225 h 390"/>
                <a:gd name="T66" fmla="*/ 114 w 220"/>
                <a:gd name="T67" fmla="*/ 203 h 390"/>
                <a:gd name="T68" fmla="*/ 146 w 220"/>
                <a:gd name="T69" fmla="*/ 173 h 390"/>
                <a:gd name="T70" fmla="*/ 190 w 220"/>
                <a:gd name="T71" fmla="*/ 152 h 390"/>
                <a:gd name="T72" fmla="*/ 213 w 220"/>
                <a:gd name="T73" fmla="*/ 121 h 390"/>
                <a:gd name="T74" fmla="*/ 216 w 220"/>
                <a:gd name="T75" fmla="*/ 92 h 390"/>
                <a:gd name="T76" fmla="*/ 216 w 220"/>
                <a:gd name="T77" fmla="*/ 34 h 390"/>
                <a:gd name="T78" fmla="*/ 217 w 220"/>
                <a:gd name="T79" fmla="*/ 1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0" h="390">
                  <a:moveTo>
                    <a:pt x="217" y="11"/>
                  </a:moveTo>
                  <a:lnTo>
                    <a:pt x="215" y="0"/>
                  </a:lnTo>
                  <a:lnTo>
                    <a:pt x="215" y="0"/>
                  </a:lnTo>
                  <a:lnTo>
                    <a:pt x="215" y="0"/>
                  </a:lnTo>
                  <a:lnTo>
                    <a:pt x="197" y="14"/>
                  </a:lnTo>
                  <a:lnTo>
                    <a:pt x="174" y="23"/>
                  </a:lnTo>
                  <a:lnTo>
                    <a:pt x="161" y="23"/>
                  </a:lnTo>
                  <a:lnTo>
                    <a:pt x="154" y="30"/>
                  </a:lnTo>
                  <a:lnTo>
                    <a:pt x="139" y="31"/>
                  </a:lnTo>
                  <a:lnTo>
                    <a:pt x="134" y="34"/>
                  </a:lnTo>
                  <a:lnTo>
                    <a:pt x="109" y="27"/>
                  </a:lnTo>
                  <a:lnTo>
                    <a:pt x="102" y="28"/>
                  </a:lnTo>
                  <a:lnTo>
                    <a:pt x="95" y="50"/>
                  </a:lnTo>
                  <a:lnTo>
                    <a:pt x="98" y="77"/>
                  </a:lnTo>
                  <a:lnTo>
                    <a:pt x="99" y="77"/>
                  </a:lnTo>
                  <a:lnTo>
                    <a:pt x="106" y="85"/>
                  </a:lnTo>
                  <a:lnTo>
                    <a:pt x="115" y="102"/>
                  </a:lnTo>
                  <a:lnTo>
                    <a:pt x="115" y="133"/>
                  </a:lnTo>
                  <a:lnTo>
                    <a:pt x="105" y="137"/>
                  </a:lnTo>
                  <a:lnTo>
                    <a:pt x="98" y="154"/>
                  </a:lnTo>
                  <a:lnTo>
                    <a:pt x="86" y="139"/>
                  </a:lnTo>
                  <a:lnTo>
                    <a:pt x="85" y="122"/>
                  </a:lnTo>
                  <a:lnTo>
                    <a:pt x="89" y="112"/>
                  </a:lnTo>
                  <a:lnTo>
                    <a:pt x="89" y="102"/>
                  </a:lnTo>
                  <a:lnTo>
                    <a:pt x="81" y="96"/>
                  </a:lnTo>
                  <a:lnTo>
                    <a:pt x="75" y="98"/>
                  </a:lnTo>
                  <a:lnTo>
                    <a:pt x="63" y="87"/>
                  </a:lnTo>
                  <a:lnTo>
                    <a:pt x="0" y="106"/>
                  </a:lnTo>
                  <a:lnTo>
                    <a:pt x="1" y="123"/>
                  </a:lnTo>
                  <a:lnTo>
                    <a:pt x="2" y="133"/>
                  </a:lnTo>
                  <a:lnTo>
                    <a:pt x="19" y="132"/>
                  </a:lnTo>
                  <a:lnTo>
                    <a:pt x="29" y="137"/>
                  </a:lnTo>
                  <a:lnTo>
                    <a:pt x="33" y="143"/>
                  </a:lnTo>
                  <a:lnTo>
                    <a:pt x="43" y="145"/>
                  </a:lnTo>
                  <a:lnTo>
                    <a:pt x="53" y="152"/>
                  </a:lnTo>
                  <a:lnTo>
                    <a:pt x="52" y="182"/>
                  </a:lnTo>
                  <a:lnTo>
                    <a:pt x="47" y="199"/>
                  </a:lnTo>
                  <a:lnTo>
                    <a:pt x="46" y="217"/>
                  </a:lnTo>
                  <a:lnTo>
                    <a:pt x="48" y="223"/>
                  </a:lnTo>
                  <a:lnTo>
                    <a:pt x="46" y="237"/>
                  </a:lnTo>
                  <a:lnTo>
                    <a:pt x="42" y="240"/>
                  </a:lnTo>
                  <a:lnTo>
                    <a:pt x="36" y="257"/>
                  </a:lnTo>
                  <a:lnTo>
                    <a:pt x="13" y="284"/>
                  </a:lnTo>
                  <a:lnTo>
                    <a:pt x="21" y="317"/>
                  </a:lnTo>
                  <a:lnTo>
                    <a:pt x="25" y="334"/>
                  </a:lnTo>
                  <a:lnTo>
                    <a:pt x="19" y="360"/>
                  </a:lnTo>
                  <a:lnTo>
                    <a:pt x="21" y="369"/>
                  </a:lnTo>
                  <a:lnTo>
                    <a:pt x="23" y="380"/>
                  </a:lnTo>
                  <a:lnTo>
                    <a:pt x="25" y="390"/>
                  </a:lnTo>
                  <a:lnTo>
                    <a:pt x="40" y="390"/>
                  </a:lnTo>
                  <a:lnTo>
                    <a:pt x="43" y="378"/>
                  </a:lnTo>
                  <a:lnTo>
                    <a:pt x="37" y="376"/>
                  </a:lnTo>
                  <a:lnTo>
                    <a:pt x="36" y="367"/>
                  </a:lnTo>
                  <a:lnTo>
                    <a:pt x="46" y="358"/>
                  </a:lnTo>
                  <a:lnTo>
                    <a:pt x="72" y="344"/>
                  </a:lnTo>
                  <a:lnTo>
                    <a:pt x="89" y="337"/>
                  </a:lnTo>
                  <a:lnTo>
                    <a:pt x="98" y="328"/>
                  </a:lnTo>
                  <a:lnTo>
                    <a:pt x="102" y="318"/>
                  </a:lnTo>
                  <a:lnTo>
                    <a:pt x="97" y="315"/>
                  </a:lnTo>
                  <a:lnTo>
                    <a:pt x="101" y="303"/>
                  </a:lnTo>
                  <a:lnTo>
                    <a:pt x="103" y="280"/>
                  </a:lnTo>
                  <a:lnTo>
                    <a:pt x="99" y="281"/>
                  </a:lnTo>
                  <a:lnTo>
                    <a:pt x="99" y="273"/>
                  </a:lnTo>
                  <a:lnTo>
                    <a:pt x="96" y="260"/>
                  </a:lnTo>
                  <a:lnTo>
                    <a:pt x="87" y="242"/>
                  </a:lnTo>
                  <a:lnTo>
                    <a:pt x="89" y="225"/>
                  </a:lnTo>
                  <a:lnTo>
                    <a:pt x="98" y="219"/>
                  </a:lnTo>
                  <a:lnTo>
                    <a:pt x="114" y="203"/>
                  </a:lnTo>
                  <a:lnTo>
                    <a:pt x="122" y="199"/>
                  </a:lnTo>
                  <a:lnTo>
                    <a:pt x="146" y="173"/>
                  </a:lnTo>
                  <a:lnTo>
                    <a:pt x="171" y="161"/>
                  </a:lnTo>
                  <a:lnTo>
                    <a:pt x="190" y="152"/>
                  </a:lnTo>
                  <a:lnTo>
                    <a:pt x="204" y="137"/>
                  </a:lnTo>
                  <a:lnTo>
                    <a:pt x="213" y="121"/>
                  </a:lnTo>
                  <a:lnTo>
                    <a:pt x="220" y="104"/>
                  </a:lnTo>
                  <a:lnTo>
                    <a:pt x="216" y="92"/>
                  </a:lnTo>
                  <a:lnTo>
                    <a:pt x="217" y="55"/>
                  </a:lnTo>
                  <a:lnTo>
                    <a:pt x="216" y="34"/>
                  </a:lnTo>
                  <a:lnTo>
                    <a:pt x="217" y="11"/>
                  </a:lnTo>
                  <a:lnTo>
                    <a:pt x="217" y="1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7" name="Mauritania"/>
            <p:cNvSpPr>
              <a:spLocks/>
            </p:cNvSpPr>
            <p:nvPr/>
          </p:nvSpPr>
          <p:spPr bwMode="auto">
            <a:xfrm>
              <a:off x="5443537" y="3449638"/>
              <a:ext cx="398462" cy="482600"/>
            </a:xfrm>
            <a:custGeom>
              <a:avLst/>
              <a:gdLst>
                <a:gd name="T0" fmla="*/ 251 w 251"/>
                <a:gd name="T1" fmla="*/ 57 h 304"/>
                <a:gd name="T2" fmla="*/ 175 w 251"/>
                <a:gd name="T3" fmla="*/ 0 h 304"/>
                <a:gd name="T4" fmla="*/ 174 w 251"/>
                <a:gd name="T5" fmla="*/ 36 h 304"/>
                <a:gd name="T6" fmla="*/ 108 w 251"/>
                <a:gd name="T7" fmla="*/ 35 h 304"/>
                <a:gd name="T8" fmla="*/ 107 w 251"/>
                <a:gd name="T9" fmla="*/ 96 h 304"/>
                <a:gd name="T10" fmla="*/ 87 w 251"/>
                <a:gd name="T11" fmla="*/ 98 h 304"/>
                <a:gd name="T12" fmla="*/ 82 w 251"/>
                <a:gd name="T13" fmla="*/ 110 h 304"/>
                <a:gd name="T14" fmla="*/ 85 w 251"/>
                <a:gd name="T15" fmla="*/ 144 h 304"/>
                <a:gd name="T16" fmla="*/ 5 w 251"/>
                <a:gd name="T17" fmla="*/ 144 h 304"/>
                <a:gd name="T18" fmla="*/ 0 w 251"/>
                <a:gd name="T19" fmla="*/ 152 h 304"/>
                <a:gd name="T20" fmla="*/ 11 w 251"/>
                <a:gd name="T21" fmla="*/ 162 h 304"/>
                <a:gd name="T22" fmla="*/ 16 w 251"/>
                <a:gd name="T23" fmla="*/ 173 h 304"/>
                <a:gd name="T24" fmla="*/ 13 w 251"/>
                <a:gd name="T25" fmla="*/ 185 h 304"/>
                <a:gd name="T26" fmla="*/ 15 w 251"/>
                <a:gd name="T27" fmla="*/ 198 h 304"/>
                <a:gd name="T28" fmla="*/ 17 w 251"/>
                <a:gd name="T29" fmla="*/ 221 h 304"/>
                <a:gd name="T30" fmla="*/ 14 w 251"/>
                <a:gd name="T31" fmla="*/ 243 h 304"/>
                <a:gd name="T32" fmla="*/ 8 w 251"/>
                <a:gd name="T33" fmla="*/ 254 h 304"/>
                <a:gd name="T34" fmla="*/ 10 w 251"/>
                <a:gd name="T35" fmla="*/ 268 h 304"/>
                <a:gd name="T36" fmla="*/ 17 w 251"/>
                <a:gd name="T37" fmla="*/ 260 h 304"/>
                <a:gd name="T38" fmla="*/ 27 w 251"/>
                <a:gd name="T39" fmla="*/ 262 h 304"/>
                <a:gd name="T40" fmla="*/ 38 w 251"/>
                <a:gd name="T41" fmla="*/ 256 h 304"/>
                <a:gd name="T42" fmla="*/ 49 w 251"/>
                <a:gd name="T43" fmla="*/ 256 h 304"/>
                <a:gd name="T44" fmla="*/ 59 w 251"/>
                <a:gd name="T45" fmla="*/ 264 h 304"/>
                <a:gd name="T46" fmla="*/ 72 w 251"/>
                <a:gd name="T47" fmla="*/ 269 h 304"/>
                <a:gd name="T48" fmla="*/ 84 w 251"/>
                <a:gd name="T49" fmla="*/ 287 h 304"/>
                <a:gd name="T50" fmla="*/ 98 w 251"/>
                <a:gd name="T51" fmla="*/ 304 h 304"/>
                <a:gd name="T52" fmla="*/ 105 w 251"/>
                <a:gd name="T53" fmla="*/ 299 h 304"/>
                <a:gd name="T54" fmla="*/ 109 w 251"/>
                <a:gd name="T55" fmla="*/ 285 h 304"/>
                <a:gd name="T56" fmla="*/ 115 w 251"/>
                <a:gd name="T57" fmla="*/ 284 h 304"/>
                <a:gd name="T58" fmla="*/ 130 w 251"/>
                <a:gd name="T59" fmla="*/ 292 h 304"/>
                <a:gd name="T60" fmla="*/ 141 w 251"/>
                <a:gd name="T61" fmla="*/ 286 h 304"/>
                <a:gd name="T62" fmla="*/ 150 w 251"/>
                <a:gd name="T63" fmla="*/ 288 h 304"/>
                <a:gd name="T64" fmla="*/ 153 w 251"/>
                <a:gd name="T65" fmla="*/ 282 h 304"/>
                <a:gd name="T66" fmla="*/ 237 w 251"/>
                <a:gd name="T67" fmla="*/ 282 h 304"/>
                <a:gd name="T68" fmla="*/ 241 w 251"/>
                <a:gd name="T69" fmla="*/ 266 h 304"/>
                <a:gd name="T70" fmla="*/ 238 w 251"/>
                <a:gd name="T71" fmla="*/ 263 h 304"/>
                <a:gd name="T72" fmla="*/ 228 w 251"/>
                <a:gd name="T73" fmla="*/ 160 h 304"/>
                <a:gd name="T74" fmla="*/ 220 w 251"/>
                <a:gd name="T75" fmla="*/ 58 h 304"/>
                <a:gd name="T76" fmla="*/ 251 w 251"/>
                <a:gd name="T77" fmla="*/ 57 h 304"/>
                <a:gd name="T78" fmla="*/ 251 w 251"/>
                <a:gd name="T79" fmla="*/ 5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1" h="304">
                  <a:moveTo>
                    <a:pt x="251" y="57"/>
                  </a:moveTo>
                  <a:lnTo>
                    <a:pt x="175" y="0"/>
                  </a:lnTo>
                  <a:lnTo>
                    <a:pt x="174" y="36"/>
                  </a:lnTo>
                  <a:lnTo>
                    <a:pt x="108" y="35"/>
                  </a:lnTo>
                  <a:lnTo>
                    <a:pt x="107" y="96"/>
                  </a:lnTo>
                  <a:lnTo>
                    <a:pt x="87" y="98"/>
                  </a:lnTo>
                  <a:lnTo>
                    <a:pt x="82" y="110"/>
                  </a:lnTo>
                  <a:lnTo>
                    <a:pt x="85" y="144"/>
                  </a:lnTo>
                  <a:lnTo>
                    <a:pt x="5" y="144"/>
                  </a:lnTo>
                  <a:lnTo>
                    <a:pt x="0" y="152"/>
                  </a:lnTo>
                  <a:lnTo>
                    <a:pt x="11" y="162"/>
                  </a:lnTo>
                  <a:lnTo>
                    <a:pt x="16" y="173"/>
                  </a:lnTo>
                  <a:lnTo>
                    <a:pt x="13" y="185"/>
                  </a:lnTo>
                  <a:lnTo>
                    <a:pt x="15" y="198"/>
                  </a:lnTo>
                  <a:lnTo>
                    <a:pt x="17" y="221"/>
                  </a:lnTo>
                  <a:lnTo>
                    <a:pt x="14" y="243"/>
                  </a:lnTo>
                  <a:lnTo>
                    <a:pt x="8" y="254"/>
                  </a:lnTo>
                  <a:lnTo>
                    <a:pt x="10" y="268"/>
                  </a:lnTo>
                  <a:lnTo>
                    <a:pt x="17" y="260"/>
                  </a:lnTo>
                  <a:lnTo>
                    <a:pt x="27" y="262"/>
                  </a:lnTo>
                  <a:lnTo>
                    <a:pt x="38" y="256"/>
                  </a:lnTo>
                  <a:lnTo>
                    <a:pt x="49" y="256"/>
                  </a:lnTo>
                  <a:lnTo>
                    <a:pt x="59" y="264"/>
                  </a:lnTo>
                  <a:lnTo>
                    <a:pt x="72" y="269"/>
                  </a:lnTo>
                  <a:lnTo>
                    <a:pt x="84" y="287"/>
                  </a:lnTo>
                  <a:lnTo>
                    <a:pt x="98" y="304"/>
                  </a:lnTo>
                  <a:lnTo>
                    <a:pt x="105" y="299"/>
                  </a:lnTo>
                  <a:lnTo>
                    <a:pt x="109" y="285"/>
                  </a:lnTo>
                  <a:lnTo>
                    <a:pt x="115" y="284"/>
                  </a:lnTo>
                  <a:lnTo>
                    <a:pt x="130" y="292"/>
                  </a:lnTo>
                  <a:lnTo>
                    <a:pt x="141" y="286"/>
                  </a:lnTo>
                  <a:lnTo>
                    <a:pt x="150" y="288"/>
                  </a:lnTo>
                  <a:lnTo>
                    <a:pt x="153" y="282"/>
                  </a:lnTo>
                  <a:lnTo>
                    <a:pt x="237" y="282"/>
                  </a:lnTo>
                  <a:lnTo>
                    <a:pt x="241" y="266"/>
                  </a:lnTo>
                  <a:lnTo>
                    <a:pt x="238" y="263"/>
                  </a:lnTo>
                  <a:lnTo>
                    <a:pt x="228" y="160"/>
                  </a:lnTo>
                  <a:lnTo>
                    <a:pt x="220" y="58"/>
                  </a:lnTo>
                  <a:lnTo>
                    <a:pt x="251" y="57"/>
                  </a:lnTo>
                  <a:lnTo>
                    <a:pt x="251" y="5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8" name="Malawi"/>
            <p:cNvSpPr>
              <a:spLocks/>
            </p:cNvSpPr>
            <p:nvPr/>
          </p:nvSpPr>
          <p:spPr bwMode="auto">
            <a:xfrm>
              <a:off x="7081837" y="4832351"/>
              <a:ext cx="98425" cy="284163"/>
            </a:xfrm>
            <a:custGeom>
              <a:avLst/>
              <a:gdLst>
                <a:gd name="T0" fmla="*/ 38 w 62"/>
                <a:gd name="T1" fmla="*/ 114 h 179"/>
                <a:gd name="T2" fmla="*/ 38 w 62"/>
                <a:gd name="T3" fmla="*/ 105 h 179"/>
                <a:gd name="T4" fmla="*/ 34 w 62"/>
                <a:gd name="T5" fmla="*/ 98 h 179"/>
                <a:gd name="T6" fmla="*/ 35 w 62"/>
                <a:gd name="T7" fmla="*/ 87 h 179"/>
                <a:gd name="T8" fmla="*/ 29 w 62"/>
                <a:gd name="T9" fmla="*/ 70 h 179"/>
                <a:gd name="T10" fmla="*/ 36 w 62"/>
                <a:gd name="T11" fmla="*/ 57 h 179"/>
                <a:gd name="T12" fmla="*/ 35 w 62"/>
                <a:gd name="T13" fmla="*/ 28 h 179"/>
                <a:gd name="T14" fmla="*/ 28 w 62"/>
                <a:gd name="T15" fmla="*/ 13 h 179"/>
                <a:gd name="T16" fmla="*/ 28 w 62"/>
                <a:gd name="T17" fmla="*/ 10 h 179"/>
                <a:gd name="T18" fmla="*/ 28 w 62"/>
                <a:gd name="T19" fmla="*/ 10 h 179"/>
                <a:gd name="T20" fmla="*/ 24 w 62"/>
                <a:gd name="T21" fmla="*/ 3 h 179"/>
                <a:gd name="T22" fmla="*/ 4 w 62"/>
                <a:gd name="T23" fmla="*/ 0 h 179"/>
                <a:gd name="T24" fmla="*/ 14 w 62"/>
                <a:gd name="T25" fmla="*/ 10 h 179"/>
                <a:gd name="T26" fmla="*/ 19 w 62"/>
                <a:gd name="T27" fmla="*/ 30 h 179"/>
                <a:gd name="T28" fmla="*/ 15 w 62"/>
                <a:gd name="T29" fmla="*/ 37 h 179"/>
                <a:gd name="T30" fmla="*/ 10 w 62"/>
                <a:gd name="T31" fmla="*/ 56 h 179"/>
                <a:gd name="T32" fmla="*/ 13 w 62"/>
                <a:gd name="T33" fmla="*/ 75 h 179"/>
                <a:gd name="T34" fmla="*/ 7 w 62"/>
                <a:gd name="T35" fmla="*/ 84 h 179"/>
                <a:gd name="T36" fmla="*/ 0 w 62"/>
                <a:gd name="T37" fmla="*/ 106 h 179"/>
                <a:gd name="T38" fmla="*/ 10 w 62"/>
                <a:gd name="T39" fmla="*/ 112 h 179"/>
                <a:gd name="T40" fmla="*/ 22 w 62"/>
                <a:gd name="T41" fmla="*/ 123 h 179"/>
                <a:gd name="T42" fmla="*/ 28 w 62"/>
                <a:gd name="T43" fmla="*/ 121 h 179"/>
                <a:gd name="T44" fmla="*/ 36 w 62"/>
                <a:gd name="T45" fmla="*/ 127 h 179"/>
                <a:gd name="T46" fmla="*/ 36 w 62"/>
                <a:gd name="T47" fmla="*/ 137 h 179"/>
                <a:gd name="T48" fmla="*/ 32 w 62"/>
                <a:gd name="T49" fmla="*/ 147 h 179"/>
                <a:gd name="T50" fmla="*/ 33 w 62"/>
                <a:gd name="T51" fmla="*/ 164 h 179"/>
                <a:gd name="T52" fmla="*/ 45 w 62"/>
                <a:gd name="T53" fmla="*/ 179 h 179"/>
                <a:gd name="T54" fmla="*/ 52 w 62"/>
                <a:gd name="T55" fmla="*/ 162 h 179"/>
                <a:gd name="T56" fmla="*/ 62 w 62"/>
                <a:gd name="T57" fmla="*/ 158 h 179"/>
                <a:gd name="T58" fmla="*/ 62 w 62"/>
                <a:gd name="T59" fmla="*/ 127 h 179"/>
                <a:gd name="T60" fmla="*/ 53 w 62"/>
                <a:gd name="T61" fmla="*/ 110 h 179"/>
                <a:gd name="T62" fmla="*/ 46 w 62"/>
                <a:gd name="T63" fmla="*/ 102 h 179"/>
                <a:gd name="T64" fmla="*/ 45 w 62"/>
                <a:gd name="T65" fmla="*/ 102 h 179"/>
                <a:gd name="T66" fmla="*/ 45 w 62"/>
                <a:gd name="T67" fmla="*/ 105 h 179"/>
                <a:gd name="T68" fmla="*/ 49 w 62"/>
                <a:gd name="T69" fmla="*/ 106 h 179"/>
                <a:gd name="T70" fmla="*/ 52 w 62"/>
                <a:gd name="T71" fmla="*/ 119 h 179"/>
                <a:gd name="T72" fmla="*/ 52 w 62"/>
                <a:gd name="T73" fmla="*/ 122 h 179"/>
                <a:gd name="T74" fmla="*/ 45 w 62"/>
                <a:gd name="T75" fmla="*/ 113 h 179"/>
                <a:gd name="T76" fmla="*/ 41 w 62"/>
                <a:gd name="T77" fmla="*/ 119 h 179"/>
                <a:gd name="T78" fmla="*/ 38 w 62"/>
                <a:gd name="T79" fmla="*/ 114 h 179"/>
                <a:gd name="T80" fmla="*/ 38 w 62"/>
                <a:gd name="T81" fmla="*/ 11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179">
                  <a:moveTo>
                    <a:pt x="38" y="114"/>
                  </a:moveTo>
                  <a:lnTo>
                    <a:pt x="38" y="105"/>
                  </a:lnTo>
                  <a:lnTo>
                    <a:pt x="34" y="98"/>
                  </a:lnTo>
                  <a:lnTo>
                    <a:pt x="35" y="87"/>
                  </a:lnTo>
                  <a:lnTo>
                    <a:pt x="29" y="70"/>
                  </a:lnTo>
                  <a:lnTo>
                    <a:pt x="36" y="57"/>
                  </a:lnTo>
                  <a:lnTo>
                    <a:pt x="35" y="28"/>
                  </a:lnTo>
                  <a:lnTo>
                    <a:pt x="28" y="13"/>
                  </a:lnTo>
                  <a:lnTo>
                    <a:pt x="28" y="10"/>
                  </a:lnTo>
                  <a:lnTo>
                    <a:pt x="28" y="10"/>
                  </a:lnTo>
                  <a:lnTo>
                    <a:pt x="24" y="3"/>
                  </a:lnTo>
                  <a:lnTo>
                    <a:pt x="4" y="0"/>
                  </a:lnTo>
                  <a:lnTo>
                    <a:pt x="14" y="10"/>
                  </a:lnTo>
                  <a:lnTo>
                    <a:pt x="19" y="30"/>
                  </a:lnTo>
                  <a:lnTo>
                    <a:pt x="15" y="37"/>
                  </a:lnTo>
                  <a:lnTo>
                    <a:pt x="10" y="56"/>
                  </a:lnTo>
                  <a:lnTo>
                    <a:pt x="13" y="75"/>
                  </a:lnTo>
                  <a:lnTo>
                    <a:pt x="7" y="84"/>
                  </a:lnTo>
                  <a:lnTo>
                    <a:pt x="0" y="106"/>
                  </a:lnTo>
                  <a:lnTo>
                    <a:pt x="10" y="112"/>
                  </a:lnTo>
                  <a:lnTo>
                    <a:pt x="22" y="123"/>
                  </a:lnTo>
                  <a:lnTo>
                    <a:pt x="28" y="121"/>
                  </a:lnTo>
                  <a:lnTo>
                    <a:pt x="36" y="127"/>
                  </a:lnTo>
                  <a:lnTo>
                    <a:pt x="36" y="137"/>
                  </a:lnTo>
                  <a:lnTo>
                    <a:pt x="32" y="147"/>
                  </a:lnTo>
                  <a:lnTo>
                    <a:pt x="33" y="164"/>
                  </a:lnTo>
                  <a:lnTo>
                    <a:pt x="45" y="179"/>
                  </a:lnTo>
                  <a:lnTo>
                    <a:pt x="52" y="162"/>
                  </a:lnTo>
                  <a:lnTo>
                    <a:pt x="62" y="158"/>
                  </a:lnTo>
                  <a:lnTo>
                    <a:pt x="62" y="127"/>
                  </a:lnTo>
                  <a:lnTo>
                    <a:pt x="53" y="110"/>
                  </a:lnTo>
                  <a:lnTo>
                    <a:pt x="46" y="102"/>
                  </a:lnTo>
                  <a:lnTo>
                    <a:pt x="45" y="102"/>
                  </a:lnTo>
                  <a:lnTo>
                    <a:pt x="45" y="105"/>
                  </a:lnTo>
                  <a:lnTo>
                    <a:pt x="49" y="106"/>
                  </a:lnTo>
                  <a:lnTo>
                    <a:pt x="52" y="119"/>
                  </a:lnTo>
                  <a:lnTo>
                    <a:pt x="52" y="122"/>
                  </a:lnTo>
                  <a:lnTo>
                    <a:pt x="45" y="113"/>
                  </a:lnTo>
                  <a:lnTo>
                    <a:pt x="41" y="119"/>
                  </a:lnTo>
                  <a:lnTo>
                    <a:pt x="38" y="114"/>
                  </a:lnTo>
                  <a:lnTo>
                    <a:pt x="38" y="11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Malaysia"/>
            <p:cNvSpPr>
              <a:spLocks noEditPoints="1"/>
            </p:cNvSpPr>
            <p:nvPr/>
          </p:nvSpPr>
          <p:spPr bwMode="auto">
            <a:xfrm>
              <a:off x="9329737" y="4221163"/>
              <a:ext cx="636587" cy="233363"/>
            </a:xfrm>
            <a:custGeom>
              <a:avLst/>
              <a:gdLst>
                <a:gd name="T0" fmla="*/ 20 w 401"/>
                <a:gd name="T1" fmla="*/ 18 h 147"/>
                <a:gd name="T2" fmla="*/ 3 w 401"/>
                <a:gd name="T3" fmla="*/ 8 h 147"/>
                <a:gd name="T4" fmla="*/ 0 w 401"/>
                <a:gd name="T5" fmla="*/ 11 h 147"/>
                <a:gd name="T6" fmla="*/ 5 w 401"/>
                <a:gd name="T7" fmla="*/ 22 h 147"/>
                <a:gd name="T8" fmla="*/ 3 w 401"/>
                <a:gd name="T9" fmla="*/ 39 h 147"/>
                <a:gd name="T10" fmla="*/ 11 w 401"/>
                <a:gd name="T11" fmla="*/ 51 h 147"/>
                <a:gd name="T12" fmla="*/ 14 w 401"/>
                <a:gd name="T13" fmla="*/ 71 h 147"/>
                <a:gd name="T14" fmla="*/ 28 w 401"/>
                <a:gd name="T15" fmla="*/ 88 h 147"/>
                <a:gd name="T16" fmla="*/ 30 w 401"/>
                <a:gd name="T17" fmla="*/ 99 h 147"/>
                <a:gd name="T18" fmla="*/ 56 w 401"/>
                <a:gd name="T19" fmla="*/ 118 h 147"/>
                <a:gd name="T20" fmla="*/ 76 w 401"/>
                <a:gd name="T21" fmla="*/ 136 h 147"/>
                <a:gd name="T22" fmla="*/ 91 w 401"/>
                <a:gd name="T23" fmla="*/ 134 h 147"/>
                <a:gd name="T24" fmla="*/ 91 w 401"/>
                <a:gd name="T25" fmla="*/ 126 h 147"/>
                <a:gd name="T26" fmla="*/ 83 w 401"/>
                <a:gd name="T27" fmla="*/ 106 h 147"/>
                <a:gd name="T28" fmla="*/ 74 w 401"/>
                <a:gd name="T29" fmla="*/ 99 h 147"/>
                <a:gd name="T30" fmla="*/ 72 w 401"/>
                <a:gd name="T31" fmla="*/ 84 h 147"/>
                <a:gd name="T32" fmla="*/ 70 w 401"/>
                <a:gd name="T33" fmla="*/ 77 h 147"/>
                <a:gd name="T34" fmla="*/ 72 w 401"/>
                <a:gd name="T35" fmla="*/ 65 h 147"/>
                <a:gd name="T36" fmla="*/ 70 w 401"/>
                <a:gd name="T37" fmla="*/ 50 h 147"/>
                <a:gd name="T38" fmla="*/ 61 w 401"/>
                <a:gd name="T39" fmla="*/ 34 h 147"/>
                <a:gd name="T40" fmla="*/ 48 w 401"/>
                <a:gd name="T41" fmla="*/ 20 h 147"/>
                <a:gd name="T42" fmla="*/ 42 w 401"/>
                <a:gd name="T43" fmla="*/ 17 h 147"/>
                <a:gd name="T44" fmla="*/ 37 w 401"/>
                <a:gd name="T45" fmla="*/ 27 h 147"/>
                <a:gd name="T46" fmla="*/ 23 w 401"/>
                <a:gd name="T47" fmla="*/ 30 h 147"/>
                <a:gd name="T48" fmla="*/ 20 w 401"/>
                <a:gd name="T49" fmla="*/ 18 h 147"/>
                <a:gd name="T50" fmla="*/ 20 w 401"/>
                <a:gd name="T51" fmla="*/ 18 h 147"/>
                <a:gd name="T52" fmla="*/ 390 w 401"/>
                <a:gd name="T53" fmla="*/ 59 h 147"/>
                <a:gd name="T54" fmla="*/ 386 w 401"/>
                <a:gd name="T55" fmla="*/ 47 h 147"/>
                <a:gd name="T56" fmla="*/ 400 w 401"/>
                <a:gd name="T57" fmla="*/ 46 h 147"/>
                <a:gd name="T58" fmla="*/ 401 w 401"/>
                <a:gd name="T59" fmla="*/ 36 h 147"/>
                <a:gd name="T60" fmla="*/ 383 w 401"/>
                <a:gd name="T61" fmla="*/ 29 h 147"/>
                <a:gd name="T62" fmla="*/ 369 w 401"/>
                <a:gd name="T63" fmla="*/ 22 h 147"/>
                <a:gd name="T64" fmla="*/ 367 w 401"/>
                <a:gd name="T65" fmla="*/ 12 h 147"/>
                <a:gd name="T66" fmla="*/ 356 w 401"/>
                <a:gd name="T67" fmla="*/ 0 h 147"/>
                <a:gd name="T68" fmla="*/ 347 w 401"/>
                <a:gd name="T69" fmla="*/ 0 h 147"/>
                <a:gd name="T70" fmla="*/ 337 w 401"/>
                <a:gd name="T71" fmla="*/ 19 h 147"/>
                <a:gd name="T72" fmla="*/ 323 w 401"/>
                <a:gd name="T73" fmla="*/ 36 h 147"/>
                <a:gd name="T74" fmla="*/ 323 w 401"/>
                <a:gd name="T75" fmla="*/ 47 h 147"/>
                <a:gd name="T76" fmla="*/ 322 w 401"/>
                <a:gd name="T77" fmla="*/ 63 h 147"/>
                <a:gd name="T78" fmla="*/ 311 w 401"/>
                <a:gd name="T79" fmla="*/ 62 h 147"/>
                <a:gd name="T80" fmla="*/ 308 w 401"/>
                <a:gd name="T81" fmla="*/ 70 h 147"/>
                <a:gd name="T82" fmla="*/ 297 w 401"/>
                <a:gd name="T83" fmla="*/ 58 h 147"/>
                <a:gd name="T84" fmla="*/ 288 w 401"/>
                <a:gd name="T85" fmla="*/ 73 h 147"/>
                <a:gd name="T86" fmla="*/ 274 w 401"/>
                <a:gd name="T87" fmla="*/ 92 h 147"/>
                <a:gd name="T88" fmla="*/ 249 w 401"/>
                <a:gd name="T89" fmla="*/ 96 h 147"/>
                <a:gd name="T90" fmla="*/ 239 w 401"/>
                <a:gd name="T91" fmla="*/ 101 h 147"/>
                <a:gd name="T92" fmla="*/ 237 w 401"/>
                <a:gd name="T93" fmla="*/ 121 h 147"/>
                <a:gd name="T94" fmla="*/ 220 w 401"/>
                <a:gd name="T95" fmla="*/ 125 h 147"/>
                <a:gd name="T96" fmla="*/ 205 w 401"/>
                <a:gd name="T97" fmla="*/ 118 h 147"/>
                <a:gd name="T98" fmla="*/ 209 w 401"/>
                <a:gd name="T99" fmla="*/ 134 h 147"/>
                <a:gd name="T100" fmla="*/ 223 w 401"/>
                <a:gd name="T101" fmla="*/ 147 h 147"/>
                <a:gd name="T102" fmla="*/ 237 w 401"/>
                <a:gd name="T103" fmla="*/ 142 h 147"/>
                <a:gd name="T104" fmla="*/ 250 w 401"/>
                <a:gd name="T105" fmla="*/ 144 h 147"/>
                <a:gd name="T106" fmla="*/ 262 w 401"/>
                <a:gd name="T107" fmla="*/ 132 h 147"/>
                <a:gd name="T108" fmla="*/ 272 w 401"/>
                <a:gd name="T109" fmla="*/ 129 h 147"/>
                <a:gd name="T110" fmla="*/ 292 w 401"/>
                <a:gd name="T111" fmla="*/ 136 h 147"/>
                <a:gd name="T112" fmla="*/ 309 w 401"/>
                <a:gd name="T113" fmla="*/ 131 h 147"/>
                <a:gd name="T114" fmla="*/ 319 w 401"/>
                <a:gd name="T115" fmla="*/ 98 h 147"/>
                <a:gd name="T116" fmla="*/ 326 w 401"/>
                <a:gd name="T117" fmla="*/ 90 h 147"/>
                <a:gd name="T118" fmla="*/ 333 w 401"/>
                <a:gd name="T119" fmla="*/ 63 h 147"/>
                <a:gd name="T120" fmla="*/ 356 w 401"/>
                <a:gd name="T121" fmla="*/ 63 h 147"/>
                <a:gd name="T122" fmla="*/ 375 w 401"/>
                <a:gd name="T123" fmla="*/ 66 h 147"/>
                <a:gd name="T124" fmla="*/ 390 w 401"/>
                <a:gd name="T12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147">
                  <a:moveTo>
                    <a:pt x="20" y="18"/>
                  </a:moveTo>
                  <a:lnTo>
                    <a:pt x="3" y="8"/>
                  </a:lnTo>
                  <a:lnTo>
                    <a:pt x="0" y="11"/>
                  </a:lnTo>
                  <a:lnTo>
                    <a:pt x="5" y="22"/>
                  </a:lnTo>
                  <a:lnTo>
                    <a:pt x="3" y="39"/>
                  </a:lnTo>
                  <a:lnTo>
                    <a:pt x="11" y="51"/>
                  </a:lnTo>
                  <a:lnTo>
                    <a:pt x="14" y="71"/>
                  </a:lnTo>
                  <a:lnTo>
                    <a:pt x="28" y="88"/>
                  </a:lnTo>
                  <a:lnTo>
                    <a:pt x="30" y="99"/>
                  </a:lnTo>
                  <a:lnTo>
                    <a:pt x="56" y="118"/>
                  </a:lnTo>
                  <a:lnTo>
                    <a:pt x="76" y="136"/>
                  </a:lnTo>
                  <a:lnTo>
                    <a:pt x="91" y="134"/>
                  </a:lnTo>
                  <a:lnTo>
                    <a:pt x="91" y="126"/>
                  </a:lnTo>
                  <a:lnTo>
                    <a:pt x="83" y="106"/>
                  </a:lnTo>
                  <a:lnTo>
                    <a:pt x="74" y="99"/>
                  </a:lnTo>
                  <a:lnTo>
                    <a:pt x="72" y="84"/>
                  </a:lnTo>
                  <a:lnTo>
                    <a:pt x="70" y="77"/>
                  </a:lnTo>
                  <a:lnTo>
                    <a:pt x="72" y="65"/>
                  </a:lnTo>
                  <a:lnTo>
                    <a:pt x="70" y="50"/>
                  </a:lnTo>
                  <a:lnTo>
                    <a:pt x="61" y="34"/>
                  </a:lnTo>
                  <a:lnTo>
                    <a:pt x="48" y="20"/>
                  </a:lnTo>
                  <a:lnTo>
                    <a:pt x="42" y="17"/>
                  </a:lnTo>
                  <a:lnTo>
                    <a:pt x="37" y="27"/>
                  </a:lnTo>
                  <a:lnTo>
                    <a:pt x="23" y="30"/>
                  </a:lnTo>
                  <a:lnTo>
                    <a:pt x="20" y="18"/>
                  </a:lnTo>
                  <a:lnTo>
                    <a:pt x="20" y="18"/>
                  </a:lnTo>
                  <a:close/>
                  <a:moveTo>
                    <a:pt x="390" y="59"/>
                  </a:moveTo>
                  <a:lnTo>
                    <a:pt x="386" y="47"/>
                  </a:lnTo>
                  <a:lnTo>
                    <a:pt x="400" y="46"/>
                  </a:lnTo>
                  <a:lnTo>
                    <a:pt x="401" y="36"/>
                  </a:lnTo>
                  <a:lnTo>
                    <a:pt x="383" y="29"/>
                  </a:lnTo>
                  <a:lnTo>
                    <a:pt x="369" y="22"/>
                  </a:lnTo>
                  <a:lnTo>
                    <a:pt x="367" y="12"/>
                  </a:lnTo>
                  <a:lnTo>
                    <a:pt x="356" y="0"/>
                  </a:lnTo>
                  <a:lnTo>
                    <a:pt x="347" y="0"/>
                  </a:lnTo>
                  <a:lnTo>
                    <a:pt x="337" y="19"/>
                  </a:lnTo>
                  <a:lnTo>
                    <a:pt x="323" y="36"/>
                  </a:lnTo>
                  <a:lnTo>
                    <a:pt x="323" y="47"/>
                  </a:lnTo>
                  <a:lnTo>
                    <a:pt x="322" y="63"/>
                  </a:lnTo>
                  <a:lnTo>
                    <a:pt x="311" y="62"/>
                  </a:lnTo>
                  <a:lnTo>
                    <a:pt x="308" y="70"/>
                  </a:lnTo>
                  <a:lnTo>
                    <a:pt x="297" y="58"/>
                  </a:lnTo>
                  <a:lnTo>
                    <a:pt x="288" y="73"/>
                  </a:lnTo>
                  <a:lnTo>
                    <a:pt x="274" y="92"/>
                  </a:lnTo>
                  <a:lnTo>
                    <a:pt x="249" y="96"/>
                  </a:lnTo>
                  <a:lnTo>
                    <a:pt x="239" y="101"/>
                  </a:lnTo>
                  <a:lnTo>
                    <a:pt x="237" y="121"/>
                  </a:lnTo>
                  <a:lnTo>
                    <a:pt x="220" y="125"/>
                  </a:lnTo>
                  <a:lnTo>
                    <a:pt x="205" y="118"/>
                  </a:lnTo>
                  <a:lnTo>
                    <a:pt x="209" y="134"/>
                  </a:lnTo>
                  <a:lnTo>
                    <a:pt x="223" y="147"/>
                  </a:lnTo>
                  <a:lnTo>
                    <a:pt x="237" y="142"/>
                  </a:lnTo>
                  <a:lnTo>
                    <a:pt x="250" y="144"/>
                  </a:lnTo>
                  <a:lnTo>
                    <a:pt x="262" y="132"/>
                  </a:lnTo>
                  <a:lnTo>
                    <a:pt x="272" y="129"/>
                  </a:lnTo>
                  <a:lnTo>
                    <a:pt x="292" y="136"/>
                  </a:lnTo>
                  <a:lnTo>
                    <a:pt x="309" y="131"/>
                  </a:lnTo>
                  <a:lnTo>
                    <a:pt x="319" y="98"/>
                  </a:lnTo>
                  <a:lnTo>
                    <a:pt x="326" y="90"/>
                  </a:lnTo>
                  <a:lnTo>
                    <a:pt x="333" y="63"/>
                  </a:lnTo>
                  <a:lnTo>
                    <a:pt x="356" y="63"/>
                  </a:lnTo>
                  <a:lnTo>
                    <a:pt x="375" y="66"/>
                  </a:lnTo>
                  <a:lnTo>
                    <a:pt x="390" y="5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0" name="Namibia"/>
            <p:cNvSpPr>
              <a:spLocks/>
            </p:cNvSpPr>
            <p:nvPr/>
          </p:nvSpPr>
          <p:spPr bwMode="auto">
            <a:xfrm>
              <a:off x="6386512" y="5122863"/>
              <a:ext cx="439737" cy="455613"/>
            </a:xfrm>
            <a:custGeom>
              <a:avLst/>
              <a:gdLst>
                <a:gd name="T0" fmla="*/ 238 w 277"/>
                <a:gd name="T1" fmla="*/ 14 h 287"/>
                <a:gd name="T2" fmla="*/ 199 w 277"/>
                <a:gd name="T3" fmla="*/ 23 h 287"/>
                <a:gd name="T4" fmla="*/ 150 w 277"/>
                <a:gd name="T5" fmla="*/ 19 h 287"/>
                <a:gd name="T6" fmla="*/ 136 w 277"/>
                <a:gd name="T7" fmla="*/ 8 h 287"/>
                <a:gd name="T8" fmla="*/ 52 w 277"/>
                <a:gd name="T9" fmla="*/ 9 h 287"/>
                <a:gd name="T10" fmla="*/ 48 w 277"/>
                <a:gd name="T11" fmla="*/ 11 h 287"/>
                <a:gd name="T12" fmla="*/ 37 w 277"/>
                <a:gd name="T13" fmla="*/ 0 h 287"/>
                <a:gd name="T14" fmla="*/ 23 w 277"/>
                <a:gd name="T15" fmla="*/ 0 h 287"/>
                <a:gd name="T16" fmla="*/ 10 w 277"/>
                <a:gd name="T17" fmla="*/ 3 h 287"/>
                <a:gd name="T18" fmla="*/ 0 w 277"/>
                <a:gd name="T19" fmla="*/ 8 h 287"/>
                <a:gd name="T20" fmla="*/ 1 w 277"/>
                <a:gd name="T21" fmla="*/ 26 h 287"/>
                <a:gd name="T22" fmla="*/ 18 w 277"/>
                <a:gd name="T23" fmla="*/ 49 h 287"/>
                <a:gd name="T24" fmla="*/ 22 w 277"/>
                <a:gd name="T25" fmla="*/ 64 h 287"/>
                <a:gd name="T26" fmla="*/ 32 w 277"/>
                <a:gd name="T27" fmla="*/ 93 h 287"/>
                <a:gd name="T28" fmla="*/ 42 w 277"/>
                <a:gd name="T29" fmla="*/ 113 h 287"/>
                <a:gd name="T30" fmla="*/ 50 w 277"/>
                <a:gd name="T31" fmla="*/ 122 h 287"/>
                <a:gd name="T32" fmla="*/ 52 w 277"/>
                <a:gd name="T33" fmla="*/ 135 h 287"/>
                <a:gd name="T34" fmla="*/ 52 w 277"/>
                <a:gd name="T35" fmla="*/ 164 h 287"/>
                <a:gd name="T36" fmla="*/ 58 w 277"/>
                <a:gd name="T37" fmla="*/ 200 h 287"/>
                <a:gd name="T38" fmla="*/ 63 w 277"/>
                <a:gd name="T39" fmla="*/ 217 h 287"/>
                <a:gd name="T40" fmla="*/ 66 w 277"/>
                <a:gd name="T41" fmla="*/ 241 h 287"/>
                <a:gd name="T42" fmla="*/ 74 w 277"/>
                <a:gd name="T43" fmla="*/ 258 h 287"/>
                <a:gd name="T44" fmla="*/ 88 w 277"/>
                <a:gd name="T45" fmla="*/ 276 h 287"/>
                <a:gd name="T46" fmla="*/ 98 w 277"/>
                <a:gd name="T47" fmla="*/ 264 h 287"/>
                <a:gd name="T48" fmla="*/ 106 w 277"/>
                <a:gd name="T49" fmla="*/ 270 h 287"/>
                <a:gd name="T50" fmla="*/ 109 w 277"/>
                <a:gd name="T51" fmla="*/ 281 h 287"/>
                <a:gd name="T52" fmla="*/ 118 w 277"/>
                <a:gd name="T53" fmla="*/ 283 h 287"/>
                <a:gd name="T54" fmla="*/ 130 w 277"/>
                <a:gd name="T55" fmla="*/ 287 h 287"/>
                <a:gd name="T56" fmla="*/ 141 w 277"/>
                <a:gd name="T57" fmla="*/ 285 h 287"/>
                <a:gd name="T58" fmla="*/ 160 w 277"/>
                <a:gd name="T59" fmla="*/ 273 h 287"/>
                <a:gd name="T60" fmla="*/ 164 w 277"/>
                <a:gd name="T61" fmla="*/ 186 h 287"/>
                <a:gd name="T62" fmla="*/ 166 w 277"/>
                <a:gd name="T63" fmla="*/ 116 h 287"/>
                <a:gd name="T64" fmla="*/ 186 w 277"/>
                <a:gd name="T65" fmla="*/ 115 h 287"/>
                <a:gd name="T66" fmla="*/ 190 w 277"/>
                <a:gd name="T67" fmla="*/ 31 h 287"/>
                <a:gd name="T68" fmla="*/ 205 w 277"/>
                <a:gd name="T69" fmla="*/ 30 h 287"/>
                <a:gd name="T70" fmla="*/ 237 w 277"/>
                <a:gd name="T71" fmla="*/ 22 h 287"/>
                <a:gd name="T72" fmla="*/ 245 w 277"/>
                <a:gd name="T73" fmla="*/ 31 h 287"/>
                <a:gd name="T74" fmla="*/ 259 w 277"/>
                <a:gd name="T75" fmla="*/ 22 h 287"/>
                <a:gd name="T76" fmla="*/ 264 w 277"/>
                <a:gd name="T77" fmla="*/ 22 h 287"/>
                <a:gd name="T78" fmla="*/ 277 w 277"/>
                <a:gd name="T79" fmla="*/ 17 h 287"/>
                <a:gd name="T80" fmla="*/ 277 w 277"/>
                <a:gd name="T81" fmla="*/ 15 h 287"/>
                <a:gd name="T82" fmla="*/ 268 w 277"/>
                <a:gd name="T83" fmla="*/ 9 h 287"/>
                <a:gd name="T84" fmla="*/ 255 w 277"/>
                <a:gd name="T85" fmla="*/ 8 h 287"/>
                <a:gd name="T86" fmla="*/ 238 w 277"/>
                <a:gd name="T87" fmla="*/ 14 h 287"/>
                <a:gd name="T88" fmla="*/ 238 w 277"/>
                <a:gd name="T89" fmla="*/ 1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87">
                  <a:moveTo>
                    <a:pt x="238" y="14"/>
                  </a:moveTo>
                  <a:lnTo>
                    <a:pt x="199" y="23"/>
                  </a:lnTo>
                  <a:lnTo>
                    <a:pt x="150" y="19"/>
                  </a:lnTo>
                  <a:lnTo>
                    <a:pt x="136" y="8"/>
                  </a:lnTo>
                  <a:lnTo>
                    <a:pt x="52" y="9"/>
                  </a:lnTo>
                  <a:lnTo>
                    <a:pt x="48" y="11"/>
                  </a:lnTo>
                  <a:lnTo>
                    <a:pt x="37" y="0"/>
                  </a:lnTo>
                  <a:lnTo>
                    <a:pt x="23" y="0"/>
                  </a:lnTo>
                  <a:lnTo>
                    <a:pt x="10" y="3"/>
                  </a:lnTo>
                  <a:lnTo>
                    <a:pt x="0" y="8"/>
                  </a:lnTo>
                  <a:lnTo>
                    <a:pt x="1" y="26"/>
                  </a:lnTo>
                  <a:lnTo>
                    <a:pt x="18" y="49"/>
                  </a:lnTo>
                  <a:lnTo>
                    <a:pt x="22" y="64"/>
                  </a:lnTo>
                  <a:lnTo>
                    <a:pt x="32" y="93"/>
                  </a:lnTo>
                  <a:lnTo>
                    <a:pt x="42" y="113"/>
                  </a:lnTo>
                  <a:lnTo>
                    <a:pt x="50" y="122"/>
                  </a:lnTo>
                  <a:lnTo>
                    <a:pt x="52" y="135"/>
                  </a:lnTo>
                  <a:lnTo>
                    <a:pt x="52" y="164"/>
                  </a:lnTo>
                  <a:lnTo>
                    <a:pt x="58" y="200"/>
                  </a:lnTo>
                  <a:lnTo>
                    <a:pt x="63" y="217"/>
                  </a:lnTo>
                  <a:lnTo>
                    <a:pt x="66" y="241"/>
                  </a:lnTo>
                  <a:lnTo>
                    <a:pt x="74" y="258"/>
                  </a:lnTo>
                  <a:lnTo>
                    <a:pt x="88" y="276"/>
                  </a:lnTo>
                  <a:lnTo>
                    <a:pt x="98" y="264"/>
                  </a:lnTo>
                  <a:lnTo>
                    <a:pt x="106" y="270"/>
                  </a:lnTo>
                  <a:lnTo>
                    <a:pt x="109" y="281"/>
                  </a:lnTo>
                  <a:lnTo>
                    <a:pt x="118" y="283"/>
                  </a:lnTo>
                  <a:lnTo>
                    <a:pt x="130" y="287"/>
                  </a:lnTo>
                  <a:lnTo>
                    <a:pt x="141" y="285"/>
                  </a:lnTo>
                  <a:lnTo>
                    <a:pt x="160" y="273"/>
                  </a:lnTo>
                  <a:lnTo>
                    <a:pt x="164" y="186"/>
                  </a:lnTo>
                  <a:lnTo>
                    <a:pt x="166" y="116"/>
                  </a:lnTo>
                  <a:lnTo>
                    <a:pt x="186" y="115"/>
                  </a:lnTo>
                  <a:lnTo>
                    <a:pt x="190" y="31"/>
                  </a:lnTo>
                  <a:lnTo>
                    <a:pt x="205" y="30"/>
                  </a:lnTo>
                  <a:lnTo>
                    <a:pt x="237" y="22"/>
                  </a:lnTo>
                  <a:lnTo>
                    <a:pt x="245" y="31"/>
                  </a:lnTo>
                  <a:lnTo>
                    <a:pt x="259" y="22"/>
                  </a:lnTo>
                  <a:lnTo>
                    <a:pt x="264" y="22"/>
                  </a:lnTo>
                  <a:lnTo>
                    <a:pt x="277" y="17"/>
                  </a:lnTo>
                  <a:lnTo>
                    <a:pt x="277" y="15"/>
                  </a:lnTo>
                  <a:lnTo>
                    <a:pt x="268" y="9"/>
                  </a:lnTo>
                  <a:lnTo>
                    <a:pt x="255" y="8"/>
                  </a:lnTo>
                  <a:lnTo>
                    <a:pt x="238" y="14"/>
                  </a:lnTo>
                  <a:lnTo>
                    <a:pt x="238" y="1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Niger"/>
            <p:cNvSpPr>
              <a:spLocks/>
            </p:cNvSpPr>
            <p:nvPr/>
          </p:nvSpPr>
          <p:spPr bwMode="auto">
            <a:xfrm>
              <a:off x="6010275" y="3597276"/>
              <a:ext cx="511175" cy="446088"/>
            </a:xfrm>
            <a:custGeom>
              <a:avLst/>
              <a:gdLst>
                <a:gd name="T0" fmla="*/ 273 w 322"/>
                <a:gd name="T1" fmla="*/ 10 h 281"/>
                <a:gd name="T2" fmla="*/ 240 w 322"/>
                <a:gd name="T3" fmla="*/ 0 h 281"/>
                <a:gd name="T4" fmla="*/ 171 w 322"/>
                <a:gd name="T5" fmla="*/ 46 h 281"/>
                <a:gd name="T6" fmla="*/ 111 w 322"/>
                <a:gd name="T7" fmla="*/ 92 h 281"/>
                <a:gd name="T8" fmla="*/ 82 w 322"/>
                <a:gd name="T9" fmla="*/ 103 h 281"/>
                <a:gd name="T10" fmla="*/ 83 w 322"/>
                <a:gd name="T11" fmla="*/ 158 h 281"/>
                <a:gd name="T12" fmla="*/ 72 w 322"/>
                <a:gd name="T13" fmla="*/ 174 h 281"/>
                <a:gd name="T14" fmla="*/ 70 w 322"/>
                <a:gd name="T15" fmla="*/ 188 h 281"/>
                <a:gd name="T16" fmla="*/ 51 w 322"/>
                <a:gd name="T17" fmla="*/ 191 h 281"/>
                <a:gd name="T18" fmla="*/ 23 w 322"/>
                <a:gd name="T19" fmla="*/ 194 h 281"/>
                <a:gd name="T20" fmla="*/ 16 w 322"/>
                <a:gd name="T21" fmla="*/ 203 h 281"/>
                <a:gd name="T22" fmla="*/ 2 w 322"/>
                <a:gd name="T23" fmla="*/ 204 h 281"/>
                <a:gd name="T24" fmla="*/ 0 w 322"/>
                <a:gd name="T25" fmla="*/ 215 h 281"/>
                <a:gd name="T26" fmla="*/ 3 w 322"/>
                <a:gd name="T27" fmla="*/ 226 h 281"/>
                <a:gd name="T28" fmla="*/ 15 w 322"/>
                <a:gd name="T29" fmla="*/ 241 h 281"/>
                <a:gd name="T30" fmla="*/ 16 w 322"/>
                <a:gd name="T31" fmla="*/ 253 h 281"/>
                <a:gd name="T32" fmla="*/ 39 w 322"/>
                <a:gd name="T33" fmla="*/ 258 h 281"/>
                <a:gd name="T34" fmla="*/ 39 w 322"/>
                <a:gd name="T35" fmla="*/ 274 h 281"/>
                <a:gd name="T36" fmla="*/ 46 w 322"/>
                <a:gd name="T37" fmla="*/ 267 h 281"/>
                <a:gd name="T38" fmla="*/ 53 w 322"/>
                <a:gd name="T39" fmla="*/ 267 h 281"/>
                <a:gd name="T40" fmla="*/ 70 w 322"/>
                <a:gd name="T41" fmla="*/ 281 h 281"/>
                <a:gd name="T42" fmla="*/ 71 w 322"/>
                <a:gd name="T43" fmla="*/ 260 h 281"/>
                <a:gd name="T44" fmla="*/ 77 w 322"/>
                <a:gd name="T45" fmla="*/ 250 h 281"/>
                <a:gd name="T46" fmla="*/ 79 w 322"/>
                <a:gd name="T47" fmla="*/ 236 h 281"/>
                <a:gd name="T48" fmla="*/ 85 w 322"/>
                <a:gd name="T49" fmla="*/ 232 h 281"/>
                <a:gd name="T50" fmla="*/ 107 w 322"/>
                <a:gd name="T51" fmla="*/ 229 h 281"/>
                <a:gd name="T52" fmla="*/ 128 w 322"/>
                <a:gd name="T53" fmla="*/ 237 h 281"/>
                <a:gd name="T54" fmla="*/ 136 w 322"/>
                <a:gd name="T55" fmla="*/ 246 h 281"/>
                <a:gd name="T56" fmla="*/ 147 w 322"/>
                <a:gd name="T57" fmla="*/ 246 h 281"/>
                <a:gd name="T58" fmla="*/ 157 w 322"/>
                <a:gd name="T59" fmla="*/ 241 h 281"/>
                <a:gd name="T60" fmla="*/ 182 w 322"/>
                <a:gd name="T61" fmla="*/ 253 h 281"/>
                <a:gd name="T62" fmla="*/ 192 w 322"/>
                <a:gd name="T63" fmla="*/ 253 h 281"/>
                <a:gd name="T64" fmla="*/ 205 w 322"/>
                <a:gd name="T65" fmla="*/ 243 h 281"/>
                <a:gd name="T66" fmla="*/ 218 w 322"/>
                <a:gd name="T67" fmla="*/ 244 h 281"/>
                <a:gd name="T68" fmla="*/ 223 w 322"/>
                <a:gd name="T69" fmla="*/ 240 h 281"/>
                <a:gd name="T70" fmla="*/ 234 w 322"/>
                <a:gd name="T71" fmla="*/ 242 h 281"/>
                <a:gd name="T72" fmla="*/ 250 w 322"/>
                <a:gd name="T73" fmla="*/ 248 h 281"/>
                <a:gd name="T74" fmla="*/ 266 w 322"/>
                <a:gd name="T75" fmla="*/ 235 h 281"/>
                <a:gd name="T76" fmla="*/ 272 w 322"/>
                <a:gd name="T77" fmla="*/ 236 h 281"/>
                <a:gd name="T78" fmla="*/ 286 w 322"/>
                <a:gd name="T79" fmla="*/ 262 h 281"/>
                <a:gd name="T80" fmla="*/ 289 w 322"/>
                <a:gd name="T81" fmla="*/ 261 h 281"/>
                <a:gd name="T82" fmla="*/ 290 w 322"/>
                <a:gd name="T83" fmla="*/ 254 h 281"/>
                <a:gd name="T84" fmla="*/ 296 w 322"/>
                <a:gd name="T85" fmla="*/ 252 h 281"/>
                <a:gd name="T86" fmla="*/ 298 w 322"/>
                <a:gd name="T87" fmla="*/ 242 h 281"/>
                <a:gd name="T88" fmla="*/ 285 w 322"/>
                <a:gd name="T89" fmla="*/ 241 h 281"/>
                <a:gd name="T90" fmla="*/ 285 w 322"/>
                <a:gd name="T91" fmla="*/ 225 h 281"/>
                <a:gd name="T92" fmla="*/ 275 w 322"/>
                <a:gd name="T93" fmla="*/ 217 h 281"/>
                <a:gd name="T94" fmla="*/ 285 w 322"/>
                <a:gd name="T95" fmla="*/ 186 h 281"/>
                <a:gd name="T96" fmla="*/ 310 w 322"/>
                <a:gd name="T97" fmla="*/ 163 h 281"/>
                <a:gd name="T98" fmla="*/ 311 w 322"/>
                <a:gd name="T99" fmla="*/ 132 h 281"/>
                <a:gd name="T100" fmla="*/ 317 w 322"/>
                <a:gd name="T101" fmla="*/ 84 h 281"/>
                <a:gd name="T102" fmla="*/ 322 w 322"/>
                <a:gd name="T103" fmla="*/ 74 h 281"/>
                <a:gd name="T104" fmla="*/ 313 w 322"/>
                <a:gd name="T105" fmla="*/ 65 h 281"/>
                <a:gd name="T106" fmla="*/ 313 w 322"/>
                <a:gd name="T107" fmla="*/ 58 h 281"/>
                <a:gd name="T108" fmla="*/ 305 w 322"/>
                <a:gd name="T109" fmla="*/ 51 h 281"/>
                <a:gd name="T110" fmla="*/ 299 w 322"/>
                <a:gd name="T111" fmla="*/ 15 h 281"/>
                <a:gd name="T112" fmla="*/ 285 w 322"/>
                <a:gd name="T113" fmla="*/ 23 h 281"/>
                <a:gd name="T114" fmla="*/ 273 w 322"/>
                <a:gd name="T115" fmla="*/ 10 h 281"/>
                <a:gd name="T116" fmla="*/ 273 w 322"/>
                <a:gd name="T117" fmla="*/ 1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81">
                  <a:moveTo>
                    <a:pt x="273" y="10"/>
                  </a:moveTo>
                  <a:lnTo>
                    <a:pt x="240" y="0"/>
                  </a:lnTo>
                  <a:lnTo>
                    <a:pt x="171" y="46"/>
                  </a:lnTo>
                  <a:lnTo>
                    <a:pt x="111" y="92"/>
                  </a:lnTo>
                  <a:lnTo>
                    <a:pt x="82" y="103"/>
                  </a:lnTo>
                  <a:lnTo>
                    <a:pt x="83" y="158"/>
                  </a:lnTo>
                  <a:lnTo>
                    <a:pt x="72" y="174"/>
                  </a:lnTo>
                  <a:lnTo>
                    <a:pt x="70" y="188"/>
                  </a:lnTo>
                  <a:lnTo>
                    <a:pt x="51" y="191"/>
                  </a:lnTo>
                  <a:lnTo>
                    <a:pt x="23" y="194"/>
                  </a:lnTo>
                  <a:lnTo>
                    <a:pt x="16" y="203"/>
                  </a:lnTo>
                  <a:lnTo>
                    <a:pt x="2" y="204"/>
                  </a:lnTo>
                  <a:lnTo>
                    <a:pt x="0" y="215"/>
                  </a:lnTo>
                  <a:lnTo>
                    <a:pt x="3" y="226"/>
                  </a:lnTo>
                  <a:lnTo>
                    <a:pt x="15" y="241"/>
                  </a:lnTo>
                  <a:lnTo>
                    <a:pt x="16" y="253"/>
                  </a:lnTo>
                  <a:lnTo>
                    <a:pt x="39" y="258"/>
                  </a:lnTo>
                  <a:lnTo>
                    <a:pt x="39" y="274"/>
                  </a:lnTo>
                  <a:lnTo>
                    <a:pt x="46" y="267"/>
                  </a:lnTo>
                  <a:lnTo>
                    <a:pt x="53" y="267"/>
                  </a:lnTo>
                  <a:lnTo>
                    <a:pt x="70" y="281"/>
                  </a:lnTo>
                  <a:lnTo>
                    <a:pt x="71" y="260"/>
                  </a:lnTo>
                  <a:lnTo>
                    <a:pt x="77" y="250"/>
                  </a:lnTo>
                  <a:lnTo>
                    <a:pt x="79" y="236"/>
                  </a:lnTo>
                  <a:lnTo>
                    <a:pt x="85" y="232"/>
                  </a:lnTo>
                  <a:lnTo>
                    <a:pt x="107" y="229"/>
                  </a:lnTo>
                  <a:lnTo>
                    <a:pt x="128" y="237"/>
                  </a:lnTo>
                  <a:lnTo>
                    <a:pt x="136" y="246"/>
                  </a:lnTo>
                  <a:lnTo>
                    <a:pt x="147" y="246"/>
                  </a:lnTo>
                  <a:lnTo>
                    <a:pt x="157" y="241"/>
                  </a:lnTo>
                  <a:lnTo>
                    <a:pt x="182" y="253"/>
                  </a:lnTo>
                  <a:lnTo>
                    <a:pt x="192" y="253"/>
                  </a:lnTo>
                  <a:lnTo>
                    <a:pt x="205" y="243"/>
                  </a:lnTo>
                  <a:lnTo>
                    <a:pt x="218" y="244"/>
                  </a:lnTo>
                  <a:lnTo>
                    <a:pt x="223" y="240"/>
                  </a:lnTo>
                  <a:lnTo>
                    <a:pt x="234" y="242"/>
                  </a:lnTo>
                  <a:lnTo>
                    <a:pt x="250" y="248"/>
                  </a:lnTo>
                  <a:lnTo>
                    <a:pt x="266" y="235"/>
                  </a:lnTo>
                  <a:lnTo>
                    <a:pt x="272" y="236"/>
                  </a:lnTo>
                  <a:lnTo>
                    <a:pt x="286" y="262"/>
                  </a:lnTo>
                  <a:lnTo>
                    <a:pt x="289" y="261"/>
                  </a:lnTo>
                  <a:lnTo>
                    <a:pt x="290" y="254"/>
                  </a:lnTo>
                  <a:lnTo>
                    <a:pt x="296" y="252"/>
                  </a:lnTo>
                  <a:lnTo>
                    <a:pt x="298" y="242"/>
                  </a:lnTo>
                  <a:lnTo>
                    <a:pt x="285" y="241"/>
                  </a:lnTo>
                  <a:lnTo>
                    <a:pt x="285" y="225"/>
                  </a:lnTo>
                  <a:lnTo>
                    <a:pt x="275" y="217"/>
                  </a:lnTo>
                  <a:lnTo>
                    <a:pt x="285" y="186"/>
                  </a:lnTo>
                  <a:lnTo>
                    <a:pt x="310" y="163"/>
                  </a:lnTo>
                  <a:lnTo>
                    <a:pt x="311" y="132"/>
                  </a:lnTo>
                  <a:lnTo>
                    <a:pt x="317" y="84"/>
                  </a:lnTo>
                  <a:lnTo>
                    <a:pt x="322" y="74"/>
                  </a:lnTo>
                  <a:lnTo>
                    <a:pt x="313" y="65"/>
                  </a:lnTo>
                  <a:lnTo>
                    <a:pt x="313" y="58"/>
                  </a:lnTo>
                  <a:lnTo>
                    <a:pt x="305" y="51"/>
                  </a:lnTo>
                  <a:lnTo>
                    <a:pt x="299" y="15"/>
                  </a:lnTo>
                  <a:lnTo>
                    <a:pt x="285" y="23"/>
                  </a:lnTo>
                  <a:lnTo>
                    <a:pt x="273" y="10"/>
                  </a:lnTo>
                  <a:lnTo>
                    <a:pt x="273" y="1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Nigeria"/>
            <p:cNvSpPr>
              <a:spLocks/>
            </p:cNvSpPr>
            <p:nvPr/>
          </p:nvSpPr>
          <p:spPr bwMode="auto">
            <a:xfrm>
              <a:off x="6089650" y="3960813"/>
              <a:ext cx="393700" cy="361950"/>
            </a:xfrm>
            <a:custGeom>
              <a:avLst/>
              <a:gdLst>
                <a:gd name="T0" fmla="*/ 239 w 248"/>
                <a:gd name="T1" fmla="*/ 32 h 228"/>
                <a:gd name="T2" fmla="*/ 236 w 248"/>
                <a:gd name="T3" fmla="*/ 33 h 228"/>
                <a:gd name="T4" fmla="*/ 222 w 248"/>
                <a:gd name="T5" fmla="*/ 7 h 228"/>
                <a:gd name="T6" fmla="*/ 216 w 248"/>
                <a:gd name="T7" fmla="*/ 6 h 228"/>
                <a:gd name="T8" fmla="*/ 200 w 248"/>
                <a:gd name="T9" fmla="*/ 19 h 228"/>
                <a:gd name="T10" fmla="*/ 184 w 248"/>
                <a:gd name="T11" fmla="*/ 13 h 228"/>
                <a:gd name="T12" fmla="*/ 173 w 248"/>
                <a:gd name="T13" fmla="*/ 11 h 228"/>
                <a:gd name="T14" fmla="*/ 168 w 248"/>
                <a:gd name="T15" fmla="*/ 15 h 228"/>
                <a:gd name="T16" fmla="*/ 155 w 248"/>
                <a:gd name="T17" fmla="*/ 14 h 228"/>
                <a:gd name="T18" fmla="*/ 142 w 248"/>
                <a:gd name="T19" fmla="*/ 24 h 228"/>
                <a:gd name="T20" fmla="*/ 132 w 248"/>
                <a:gd name="T21" fmla="*/ 24 h 228"/>
                <a:gd name="T22" fmla="*/ 107 w 248"/>
                <a:gd name="T23" fmla="*/ 12 h 228"/>
                <a:gd name="T24" fmla="*/ 97 w 248"/>
                <a:gd name="T25" fmla="*/ 17 h 228"/>
                <a:gd name="T26" fmla="*/ 86 w 248"/>
                <a:gd name="T27" fmla="*/ 17 h 228"/>
                <a:gd name="T28" fmla="*/ 78 w 248"/>
                <a:gd name="T29" fmla="*/ 8 h 228"/>
                <a:gd name="T30" fmla="*/ 57 w 248"/>
                <a:gd name="T31" fmla="*/ 0 h 228"/>
                <a:gd name="T32" fmla="*/ 35 w 248"/>
                <a:gd name="T33" fmla="*/ 3 h 228"/>
                <a:gd name="T34" fmla="*/ 29 w 248"/>
                <a:gd name="T35" fmla="*/ 7 h 228"/>
                <a:gd name="T36" fmla="*/ 27 w 248"/>
                <a:gd name="T37" fmla="*/ 21 h 228"/>
                <a:gd name="T38" fmla="*/ 21 w 248"/>
                <a:gd name="T39" fmla="*/ 31 h 228"/>
                <a:gd name="T40" fmla="*/ 20 w 248"/>
                <a:gd name="T41" fmla="*/ 52 h 228"/>
                <a:gd name="T42" fmla="*/ 19 w 248"/>
                <a:gd name="T43" fmla="*/ 59 h 228"/>
                <a:gd name="T44" fmla="*/ 24 w 248"/>
                <a:gd name="T45" fmla="*/ 74 h 228"/>
                <a:gd name="T46" fmla="*/ 19 w 248"/>
                <a:gd name="T47" fmla="*/ 84 h 228"/>
                <a:gd name="T48" fmla="*/ 22 w 248"/>
                <a:gd name="T49" fmla="*/ 89 h 228"/>
                <a:gd name="T50" fmla="*/ 12 w 248"/>
                <a:gd name="T51" fmla="*/ 104 h 228"/>
                <a:gd name="T52" fmla="*/ 5 w 248"/>
                <a:gd name="T53" fmla="*/ 112 h 228"/>
                <a:gd name="T54" fmla="*/ 1 w 248"/>
                <a:gd name="T55" fmla="*/ 127 h 228"/>
                <a:gd name="T56" fmla="*/ 1 w 248"/>
                <a:gd name="T57" fmla="*/ 142 h 228"/>
                <a:gd name="T58" fmla="*/ 0 w 248"/>
                <a:gd name="T59" fmla="*/ 180 h 228"/>
                <a:gd name="T60" fmla="*/ 19 w 248"/>
                <a:gd name="T61" fmla="*/ 180 h 228"/>
                <a:gd name="T62" fmla="*/ 35 w 248"/>
                <a:gd name="T63" fmla="*/ 180 h 228"/>
                <a:gd name="T64" fmla="*/ 50 w 248"/>
                <a:gd name="T65" fmla="*/ 196 h 228"/>
                <a:gd name="T66" fmla="*/ 56 w 248"/>
                <a:gd name="T67" fmla="*/ 213 h 228"/>
                <a:gd name="T68" fmla="*/ 68 w 248"/>
                <a:gd name="T69" fmla="*/ 228 h 228"/>
                <a:gd name="T70" fmla="*/ 84 w 248"/>
                <a:gd name="T71" fmla="*/ 228 h 228"/>
                <a:gd name="T72" fmla="*/ 93 w 248"/>
                <a:gd name="T73" fmla="*/ 223 h 228"/>
                <a:gd name="T74" fmla="*/ 100 w 248"/>
                <a:gd name="T75" fmla="*/ 224 h 228"/>
                <a:gd name="T76" fmla="*/ 123 w 248"/>
                <a:gd name="T77" fmla="*/ 215 h 228"/>
                <a:gd name="T78" fmla="*/ 127 w 248"/>
                <a:gd name="T79" fmla="*/ 199 h 228"/>
                <a:gd name="T80" fmla="*/ 138 w 248"/>
                <a:gd name="T81" fmla="*/ 176 h 228"/>
                <a:gd name="T82" fmla="*/ 143 w 248"/>
                <a:gd name="T83" fmla="*/ 175 h 228"/>
                <a:gd name="T84" fmla="*/ 156 w 248"/>
                <a:gd name="T85" fmla="*/ 162 h 228"/>
                <a:gd name="T86" fmla="*/ 164 w 248"/>
                <a:gd name="T87" fmla="*/ 161 h 228"/>
                <a:gd name="T88" fmla="*/ 176 w 248"/>
                <a:gd name="T89" fmla="*/ 172 h 228"/>
                <a:gd name="T90" fmla="*/ 190 w 248"/>
                <a:gd name="T91" fmla="*/ 163 h 228"/>
                <a:gd name="T92" fmla="*/ 192 w 248"/>
                <a:gd name="T93" fmla="*/ 153 h 228"/>
                <a:gd name="T94" fmla="*/ 197 w 248"/>
                <a:gd name="T95" fmla="*/ 143 h 228"/>
                <a:gd name="T96" fmla="*/ 199 w 248"/>
                <a:gd name="T97" fmla="*/ 131 h 228"/>
                <a:gd name="T98" fmla="*/ 211 w 248"/>
                <a:gd name="T99" fmla="*/ 122 h 228"/>
                <a:gd name="T100" fmla="*/ 215 w 248"/>
                <a:gd name="T101" fmla="*/ 105 h 228"/>
                <a:gd name="T102" fmla="*/ 220 w 248"/>
                <a:gd name="T103" fmla="*/ 100 h 228"/>
                <a:gd name="T104" fmla="*/ 222 w 248"/>
                <a:gd name="T105" fmla="*/ 87 h 228"/>
                <a:gd name="T106" fmla="*/ 227 w 248"/>
                <a:gd name="T107" fmla="*/ 73 h 228"/>
                <a:gd name="T108" fmla="*/ 245 w 248"/>
                <a:gd name="T109" fmla="*/ 54 h 228"/>
                <a:gd name="T110" fmla="*/ 246 w 248"/>
                <a:gd name="T111" fmla="*/ 46 h 228"/>
                <a:gd name="T112" fmla="*/ 248 w 248"/>
                <a:gd name="T113" fmla="*/ 42 h 228"/>
                <a:gd name="T114" fmla="*/ 239 w 248"/>
                <a:gd name="T115" fmla="*/ 32 h 228"/>
                <a:gd name="T116" fmla="*/ 239 w 248"/>
                <a:gd name="T117" fmla="*/ 3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 h="228">
                  <a:moveTo>
                    <a:pt x="239" y="32"/>
                  </a:moveTo>
                  <a:lnTo>
                    <a:pt x="236" y="33"/>
                  </a:lnTo>
                  <a:lnTo>
                    <a:pt x="222" y="7"/>
                  </a:lnTo>
                  <a:lnTo>
                    <a:pt x="216" y="6"/>
                  </a:lnTo>
                  <a:lnTo>
                    <a:pt x="200" y="19"/>
                  </a:lnTo>
                  <a:lnTo>
                    <a:pt x="184" y="13"/>
                  </a:lnTo>
                  <a:lnTo>
                    <a:pt x="173" y="11"/>
                  </a:lnTo>
                  <a:lnTo>
                    <a:pt x="168" y="15"/>
                  </a:lnTo>
                  <a:lnTo>
                    <a:pt x="155" y="14"/>
                  </a:lnTo>
                  <a:lnTo>
                    <a:pt x="142" y="24"/>
                  </a:lnTo>
                  <a:lnTo>
                    <a:pt x="132" y="24"/>
                  </a:lnTo>
                  <a:lnTo>
                    <a:pt x="107" y="12"/>
                  </a:lnTo>
                  <a:lnTo>
                    <a:pt x="97" y="17"/>
                  </a:lnTo>
                  <a:lnTo>
                    <a:pt x="86" y="17"/>
                  </a:lnTo>
                  <a:lnTo>
                    <a:pt x="78" y="8"/>
                  </a:lnTo>
                  <a:lnTo>
                    <a:pt x="57" y="0"/>
                  </a:lnTo>
                  <a:lnTo>
                    <a:pt x="35" y="3"/>
                  </a:lnTo>
                  <a:lnTo>
                    <a:pt x="29" y="7"/>
                  </a:lnTo>
                  <a:lnTo>
                    <a:pt x="27" y="21"/>
                  </a:lnTo>
                  <a:lnTo>
                    <a:pt x="21" y="31"/>
                  </a:lnTo>
                  <a:lnTo>
                    <a:pt x="20" y="52"/>
                  </a:lnTo>
                  <a:lnTo>
                    <a:pt x="19" y="59"/>
                  </a:lnTo>
                  <a:lnTo>
                    <a:pt x="24" y="74"/>
                  </a:lnTo>
                  <a:lnTo>
                    <a:pt x="19" y="84"/>
                  </a:lnTo>
                  <a:lnTo>
                    <a:pt x="22" y="89"/>
                  </a:lnTo>
                  <a:lnTo>
                    <a:pt x="12" y="104"/>
                  </a:lnTo>
                  <a:lnTo>
                    <a:pt x="5" y="112"/>
                  </a:lnTo>
                  <a:lnTo>
                    <a:pt x="1" y="127"/>
                  </a:lnTo>
                  <a:lnTo>
                    <a:pt x="1" y="142"/>
                  </a:lnTo>
                  <a:lnTo>
                    <a:pt x="0" y="180"/>
                  </a:lnTo>
                  <a:lnTo>
                    <a:pt x="19" y="180"/>
                  </a:lnTo>
                  <a:lnTo>
                    <a:pt x="35" y="180"/>
                  </a:lnTo>
                  <a:lnTo>
                    <a:pt x="50" y="196"/>
                  </a:lnTo>
                  <a:lnTo>
                    <a:pt x="56" y="213"/>
                  </a:lnTo>
                  <a:lnTo>
                    <a:pt x="68" y="228"/>
                  </a:lnTo>
                  <a:lnTo>
                    <a:pt x="84" y="228"/>
                  </a:lnTo>
                  <a:lnTo>
                    <a:pt x="93" y="223"/>
                  </a:lnTo>
                  <a:lnTo>
                    <a:pt x="100" y="224"/>
                  </a:lnTo>
                  <a:lnTo>
                    <a:pt x="123" y="215"/>
                  </a:lnTo>
                  <a:lnTo>
                    <a:pt x="127" y="199"/>
                  </a:lnTo>
                  <a:lnTo>
                    <a:pt x="138" y="176"/>
                  </a:lnTo>
                  <a:lnTo>
                    <a:pt x="143" y="175"/>
                  </a:lnTo>
                  <a:lnTo>
                    <a:pt x="156" y="162"/>
                  </a:lnTo>
                  <a:lnTo>
                    <a:pt x="164" y="161"/>
                  </a:lnTo>
                  <a:lnTo>
                    <a:pt x="176" y="172"/>
                  </a:lnTo>
                  <a:lnTo>
                    <a:pt x="190" y="163"/>
                  </a:lnTo>
                  <a:lnTo>
                    <a:pt x="192" y="153"/>
                  </a:lnTo>
                  <a:lnTo>
                    <a:pt x="197" y="143"/>
                  </a:lnTo>
                  <a:lnTo>
                    <a:pt x="199" y="131"/>
                  </a:lnTo>
                  <a:lnTo>
                    <a:pt x="211" y="122"/>
                  </a:lnTo>
                  <a:lnTo>
                    <a:pt x="215" y="105"/>
                  </a:lnTo>
                  <a:lnTo>
                    <a:pt x="220" y="100"/>
                  </a:lnTo>
                  <a:lnTo>
                    <a:pt x="222" y="87"/>
                  </a:lnTo>
                  <a:lnTo>
                    <a:pt x="227" y="73"/>
                  </a:lnTo>
                  <a:lnTo>
                    <a:pt x="245" y="54"/>
                  </a:lnTo>
                  <a:lnTo>
                    <a:pt x="246" y="46"/>
                  </a:lnTo>
                  <a:lnTo>
                    <a:pt x="248" y="42"/>
                  </a:lnTo>
                  <a:lnTo>
                    <a:pt x="239" y="32"/>
                  </a:lnTo>
                  <a:lnTo>
                    <a:pt x="239" y="3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3" name="Nicaragua"/>
            <p:cNvSpPr>
              <a:spLocks/>
            </p:cNvSpPr>
            <p:nvPr/>
          </p:nvSpPr>
          <p:spPr bwMode="auto">
            <a:xfrm>
              <a:off x="3100387" y="3916363"/>
              <a:ext cx="157162" cy="161925"/>
            </a:xfrm>
            <a:custGeom>
              <a:avLst/>
              <a:gdLst>
                <a:gd name="T0" fmla="*/ 99 w 99"/>
                <a:gd name="T1" fmla="*/ 1 h 102"/>
                <a:gd name="T2" fmla="*/ 93 w 99"/>
                <a:gd name="T3" fmla="*/ 0 h 102"/>
                <a:gd name="T4" fmla="*/ 89 w 99"/>
                <a:gd name="T5" fmla="*/ 3 h 102"/>
                <a:gd name="T6" fmla="*/ 81 w 99"/>
                <a:gd name="T7" fmla="*/ 6 h 102"/>
                <a:gd name="T8" fmla="*/ 77 w 99"/>
                <a:gd name="T9" fmla="*/ 6 h 102"/>
                <a:gd name="T10" fmla="*/ 71 w 99"/>
                <a:gd name="T11" fmla="*/ 9 h 102"/>
                <a:gd name="T12" fmla="*/ 67 w 99"/>
                <a:gd name="T13" fmla="*/ 8 h 102"/>
                <a:gd name="T14" fmla="*/ 64 w 99"/>
                <a:gd name="T15" fmla="*/ 5 h 102"/>
                <a:gd name="T16" fmla="*/ 62 w 99"/>
                <a:gd name="T17" fmla="*/ 5 h 102"/>
                <a:gd name="T18" fmla="*/ 59 w 99"/>
                <a:gd name="T19" fmla="*/ 11 h 102"/>
                <a:gd name="T20" fmla="*/ 57 w 99"/>
                <a:gd name="T21" fmla="*/ 11 h 102"/>
                <a:gd name="T22" fmla="*/ 56 w 99"/>
                <a:gd name="T23" fmla="*/ 16 h 102"/>
                <a:gd name="T24" fmla="*/ 48 w 99"/>
                <a:gd name="T25" fmla="*/ 22 h 102"/>
                <a:gd name="T26" fmla="*/ 44 w 99"/>
                <a:gd name="T27" fmla="*/ 25 h 102"/>
                <a:gd name="T28" fmla="*/ 41 w 99"/>
                <a:gd name="T29" fmla="*/ 28 h 102"/>
                <a:gd name="T30" fmla="*/ 36 w 99"/>
                <a:gd name="T31" fmla="*/ 23 h 102"/>
                <a:gd name="T32" fmla="*/ 31 w 99"/>
                <a:gd name="T33" fmla="*/ 30 h 102"/>
                <a:gd name="T34" fmla="*/ 26 w 99"/>
                <a:gd name="T35" fmla="*/ 30 h 102"/>
                <a:gd name="T36" fmla="*/ 22 w 99"/>
                <a:gd name="T37" fmla="*/ 31 h 102"/>
                <a:gd name="T38" fmla="*/ 21 w 99"/>
                <a:gd name="T39" fmla="*/ 42 h 102"/>
                <a:gd name="T40" fmla="*/ 18 w 99"/>
                <a:gd name="T41" fmla="*/ 42 h 102"/>
                <a:gd name="T42" fmla="*/ 15 w 99"/>
                <a:gd name="T43" fmla="*/ 47 h 102"/>
                <a:gd name="T44" fmla="*/ 8 w 99"/>
                <a:gd name="T45" fmla="*/ 48 h 102"/>
                <a:gd name="T46" fmla="*/ 7 w 99"/>
                <a:gd name="T47" fmla="*/ 50 h 102"/>
                <a:gd name="T48" fmla="*/ 3 w 99"/>
                <a:gd name="T49" fmla="*/ 46 h 102"/>
                <a:gd name="T50" fmla="*/ 0 w 99"/>
                <a:gd name="T51" fmla="*/ 50 h 102"/>
                <a:gd name="T52" fmla="*/ 11 w 99"/>
                <a:gd name="T53" fmla="*/ 61 h 102"/>
                <a:gd name="T54" fmla="*/ 19 w 99"/>
                <a:gd name="T55" fmla="*/ 69 h 102"/>
                <a:gd name="T56" fmla="*/ 23 w 99"/>
                <a:gd name="T57" fmla="*/ 76 h 102"/>
                <a:gd name="T58" fmla="*/ 32 w 99"/>
                <a:gd name="T59" fmla="*/ 86 h 102"/>
                <a:gd name="T60" fmla="*/ 39 w 99"/>
                <a:gd name="T61" fmla="*/ 93 h 102"/>
                <a:gd name="T62" fmla="*/ 41 w 99"/>
                <a:gd name="T63" fmla="*/ 90 h 102"/>
                <a:gd name="T64" fmla="*/ 54 w 99"/>
                <a:gd name="T65" fmla="*/ 97 h 102"/>
                <a:gd name="T66" fmla="*/ 60 w 99"/>
                <a:gd name="T67" fmla="*/ 94 h 102"/>
                <a:gd name="T68" fmla="*/ 67 w 99"/>
                <a:gd name="T69" fmla="*/ 96 h 102"/>
                <a:gd name="T70" fmla="*/ 69 w 99"/>
                <a:gd name="T71" fmla="*/ 101 h 102"/>
                <a:gd name="T72" fmla="*/ 76 w 99"/>
                <a:gd name="T73" fmla="*/ 102 h 102"/>
                <a:gd name="T74" fmla="*/ 81 w 99"/>
                <a:gd name="T75" fmla="*/ 97 h 102"/>
                <a:gd name="T76" fmla="*/ 78 w 99"/>
                <a:gd name="T77" fmla="*/ 93 h 102"/>
                <a:gd name="T78" fmla="*/ 78 w 99"/>
                <a:gd name="T79" fmla="*/ 87 h 102"/>
                <a:gd name="T80" fmla="*/ 82 w 99"/>
                <a:gd name="T81" fmla="*/ 81 h 102"/>
                <a:gd name="T82" fmla="*/ 81 w 99"/>
                <a:gd name="T83" fmla="*/ 74 h 102"/>
                <a:gd name="T84" fmla="*/ 84 w 99"/>
                <a:gd name="T85" fmla="*/ 64 h 102"/>
                <a:gd name="T86" fmla="*/ 87 w 99"/>
                <a:gd name="T87" fmla="*/ 61 h 102"/>
                <a:gd name="T88" fmla="*/ 88 w 99"/>
                <a:gd name="T89" fmla="*/ 51 h 102"/>
                <a:gd name="T90" fmla="*/ 87 w 99"/>
                <a:gd name="T91" fmla="*/ 45 h 102"/>
                <a:gd name="T92" fmla="*/ 88 w 99"/>
                <a:gd name="T93" fmla="*/ 34 h 102"/>
                <a:gd name="T94" fmla="*/ 92 w 99"/>
                <a:gd name="T95" fmla="*/ 25 h 102"/>
                <a:gd name="T96" fmla="*/ 97 w 99"/>
                <a:gd name="T97" fmla="*/ 17 h 102"/>
                <a:gd name="T98" fmla="*/ 95 w 99"/>
                <a:gd name="T99" fmla="*/ 8 h 102"/>
                <a:gd name="T100" fmla="*/ 97 w 99"/>
                <a:gd name="T101" fmla="*/ 3 h 102"/>
                <a:gd name="T102" fmla="*/ 99 w 99"/>
                <a:gd name="T103" fmla="*/ 1 h 102"/>
                <a:gd name="T104" fmla="*/ 99 w 99"/>
                <a:gd name="T105"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102">
                  <a:moveTo>
                    <a:pt x="99" y="1"/>
                  </a:moveTo>
                  <a:lnTo>
                    <a:pt x="93" y="0"/>
                  </a:lnTo>
                  <a:lnTo>
                    <a:pt x="89" y="3"/>
                  </a:lnTo>
                  <a:lnTo>
                    <a:pt x="81" y="6"/>
                  </a:lnTo>
                  <a:lnTo>
                    <a:pt x="77" y="6"/>
                  </a:lnTo>
                  <a:lnTo>
                    <a:pt x="71" y="9"/>
                  </a:lnTo>
                  <a:lnTo>
                    <a:pt x="67" y="8"/>
                  </a:lnTo>
                  <a:lnTo>
                    <a:pt x="64" y="5"/>
                  </a:lnTo>
                  <a:lnTo>
                    <a:pt x="62" y="5"/>
                  </a:lnTo>
                  <a:lnTo>
                    <a:pt x="59" y="11"/>
                  </a:lnTo>
                  <a:lnTo>
                    <a:pt x="57" y="11"/>
                  </a:lnTo>
                  <a:lnTo>
                    <a:pt x="56" y="16"/>
                  </a:lnTo>
                  <a:lnTo>
                    <a:pt x="48" y="22"/>
                  </a:lnTo>
                  <a:lnTo>
                    <a:pt x="44" y="25"/>
                  </a:lnTo>
                  <a:lnTo>
                    <a:pt x="41" y="28"/>
                  </a:lnTo>
                  <a:lnTo>
                    <a:pt x="36" y="23"/>
                  </a:lnTo>
                  <a:lnTo>
                    <a:pt x="31" y="30"/>
                  </a:lnTo>
                  <a:lnTo>
                    <a:pt x="26" y="30"/>
                  </a:lnTo>
                  <a:lnTo>
                    <a:pt x="22" y="31"/>
                  </a:lnTo>
                  <a:lnTo>
                    <a:pt x="21" y="42"/>
                  </a:lnTo>
                  <a:lnTo>
                    <a:pt x="18" y="42"/>
                  </a:lnTo>
                  <a:lnTo>
                    <a:pt x="15" y="47"/>
                  </a:lnTo>
                  <a:lnTo>
                    <a:pt x="8" y="48"/>
                  </a:lnTo>
                  <a:lnTo>
                    <a:pt x="7" y="50"/>
                  </a:lnTo>
                  <a:lnTo>
                    <a:pt x="3" y="46"/>
                  </a:lnTo>
                  <a:lnTo>
                    <a:pt x="0" y="50"/>
                  </a:lnTo>
                  <a:lnTo>
                    <a:pt x="11" y="61"/>
                  </a:lnTo>
                  <a:lnTo>
                    <a:pt x="19" y="69"/>
                  </a:lnTo>
                  <a:lnTo>
                    <a:pt x="23" y="76"/>
                  </a:lnTo>
                  <a:lnTo>
                    <a:pt x="32" y="86"/>
                  </a:lnTo>
                  <a:lnTo>
                    <a:pt x="39" y="93"/>
                  </a:lnTo>
                  <a:lnTo>
                    <a:pt x="41" y="90"/>
                  </a:lnTo>
                  <a:lnTo>
                    <a:pt x="54" y="97"/>
                  </a:lnTo>
                  <a:lnTo>
                    <a:pt x="60" y="94"/>
                  </a:lnTo>
                  <a:lnTo>
                    <a:pt x="67" y="96"/>
                  </a:lnTo>
                  <a:lnTo>
                    <a:pt x="69" y="101"/>
                  </a:lnTo>
                  <a:lnTo>
                    <a:pt x="76" y="102"/>
                  </a:lnTo>
                  <a:lnTo>
                    <a:pt x="81" y="97"/>
                  </a:lnTo>
                  <a:lnTo>
                    <a:pt x="78" y="93"/>
                  </a:lnTo>
                  <a:lnTo>
                    <a:pt x="78" y="87"/>
                  </a:lnTo>
                  <a:lnTo>
                    <a:pt x="82" y="81"/>
                  </a:lnTo>
                  <a:lnTo>
                    <a:pt x="81" y="74"/>
                  </a:lnTo>
                  <a:lnTo>
                    <a:pt x="84" y="64"/>
                  </a:lnTo>
                  <a:lnTo>
                    <a:pt x="87" y="61"/>
                  </a:lnTo>
                  <a:lnTo>
                    <a:pt x="88" y="51"/>
                  </a:lnTo>
                  <a:lnTo>
                    <a:pt x="87" y="45"/>
                  </a:lnTo>
                  <a:lnTo>
                    <a:pt x="88" y="34"/>
                  </a:lnTo>
                  <a:lnTo>
                    <a:pt x="92" y="25"/>
                  </a:lnTo>
                  <a:lnTo>
                    <a:pt x="97" y="17"/>
                  </a:lnTo>
                  <a:lnTo>
                    <a:pt x="95" y="8"/>
                  </a:lnTo>
                  <a:lnTo>
                    <a:pt x="97" y="3"/>
                  </a:lnTo>
                  <a:lnTo>
                    <a:pt x="99" y="1"/>
                  </a:lnTo>
                  <a:lnTo>
                    <a:pt x="99"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4" name="Netherlands"/>
            <p:cNvSpPr>
              <a:spLocks/>
            </p:cNvSpPr>
            <p:nvPr/>
          </p:nvSpPr>
          <p:spPr bwMode="auto">
            <a:xfrm>
              <a:off x="6096000" y="2476501"/>
              <a:ext cx="104775" cy="98425"/>
            </a:xfrm>
            <a:custGeom>
              <a:avLst/>
              <a:gdLst>
                <a:gd name="T0" fmla="*/ 48 w 66"/>
                <a:gd name="T1" fmla="*/ 38 h 62"/>
                <a:gd name="T2" fmla="*/ 59 w 66"/>
                <a:gd name="T3" fmla="*/ 38 h 62"/>
                <a:gd name="T4" fmla="*/ 63 w 66"/>
                <a:gd name="T5" fmla="*/ 29 h 62"/>
                <a:gd name="T6" fmla="*/ 66 w 66"/>
                <a:gd name="T7" fmla="*/ 9 h 62"/>
                <a:gd name="T8" fmla="*/ 63 w 66"/>
                <a:gd name="T9" fmla="*/ 1 h 62"/>
                <a:gd name="T10" fmla="*/ 48 w 66"/>
                <a:gd name="T11" fmla="*/ 0 h 62"/>
                <a:gd name="T12" fmla="*/ 24 w 66"/>
                <a:gd name="T13" fmla="*/ 10 h 62"/>
                <a:gd name="T14" fmla="*/ 10 w 66"/>
                <a:gd name="T15" fmla="*/ 43 h 62"/>
                <a:gd name="T16" fmla="*/ 0 w 66"/>
                <a:gd name="T17" fmla="*/ 50 h 62"/>
                <a:gd name="T18" fmla="*/ 0 w 66"/>
                <a:gd name="T19" fmla="*/ 50 h 62"/>
                <a:gd name="T20" fmla="*/ 13 w 66"/>
                <a:gd name="T21" fmla="*/ 51 h 62"/>
                <a:gd name="T22" fmla="*/ 30 w 66"/>
                <a:gd name="T23" fmla="*/ 47 h 62"/>
                <a:gd name="T24" fmla="*/ 41 w 66"/>
                <a:gd name="T25" fmla="*/ 57 h 62"/>
                <a:gd name="T26" fmla="*/ 52 w 66"/>
                <a:gd name="T27" fmla="*/ 62 h 62"/>
                <a:gd name="T28" fmla="*/ 48 w 66"/>
                <a:gd name="T29" fmla="*/ 38 h 62"/>
                <a:gd name="T30" fmla="*/ 48 w 66"/>
                <a:gd name="T31"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2">
                  <a:moveTo>
                    <a:pt x="48" y="38"/>
                  </a:moveTo>
                  <a:lnTo>
                    <a:pt x="59" y="38"/>
                  </a:lnTo>
                  <a:lnTo>
                    <a:pt x="63" y="29"/>
                  </a:lnTo>
                  <a:lnTo>
                    <a:pt x="66" y="9"/>
                  </a:lnTo>
                  <a:lnTo>
                    <a:pt x="63" y="1"/>
                  </a:lnTo>
                  <a:lnTo>
                    <a:pt x="48" y="0"/>
                  </a:lnTo>
                  <a:lnTo>
                    <a:pt x="24" y="10"/>
                  </a:lnTo>
                  <a:lnTo>
                    <a:pt x="10" y="43"/>
                  </a:lnTo>
                  <a:lnTo>
                    <a:pt x="0" y="50"/>
                  </a:lnTo>
                  <a:lnTo>
                    <a:pt x="0" y="50"/>
                  </a:lnTo>
                  <a:lnTo>
                    <a:pt x="13" y="51"/>
                  </a:lnTo>
                  <a:lnTo>
                    <a:pt x="30" y="47"/>
                  </a:lnTo>
                  <a:lnTo>
                    <a:pt x="41" y="57"/>
                  </a:lnTo>
                  <a:lnTo>
                    <a:pt x="52" y="62"/>
                  </a:lnTo>
                  <a:lnTo>
                    <a:pt x="48" y="38"/>
                  </a:lnTo>
                  <a:lnTo>
                    <a:pt x="48" y="3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 name="Norway"/>
            <p:cNvSpPr>
              <a:spLocks noEditPoints="1"/>
            </p:cNvSpPr>
            <p:nvPr/>
          </p:nvSpPr>
          <p:spPr bwMode="auto">
            <a:xfrm>
              <a:off x="6132512" y="1609726"/>
              <a:ext cx="617537" cy="704850"/>
            </a:xfrm>
            <a:custGeom>
              <a:avLst/>
              <a:gdLst>
                <a:gd name="T0" fmla="*/ 311 w 389"/>
                <a:gd name="T1" fmla="*/ 174 h 444"/>
                <a:gd name="T2" fmla="*/ 264 w 389"/>
                <a:gd name="T3" fmla="*/ 189 h 444"/>
                <a:gd name="T4" fmla="*/ 207 w 389"/>
                <a:gd name="T5" fmla="*/ 197 h 444"/>
                <a:gd name="T6" fmla="*/ 145 w 389"/>
                <a:gd name="T7" fmla="*/ 237 h 444"/>
                <a:gd name="T8" fmla="*/ 86 w 389"/>
                <a:gd name="T9" fmla="*/ 306 h 444"/>
                <a:gd name="T10" fmla="*/ 14 w 389"/>
                <a:gd name="T11" fmla="*/ 346 h 444"/>
                <a:gd name="T12" fmla="*/ 6 w 389"/>
                <a:gd name="T13" fmla="*/ 410 h 444"/>
                <a:gd name="T14" fmla="*/ 38 w 389"/>
                <a:gd name="T15" fmla="*/ 444 h 444"/>
                <a:gd name="T16" fmla="*/ 92 w 389"/>
                <a:gd name="T17" fmla="*/ 414 h 444"/>
                <a:gd name="T18" fmla="*/ 111 w 389"/>
                <a:gd name="T19" fmla="*/ 414 h 444"/>
                <a:gd name="T20" fmla="*/ 127 w 389"/>
                <a:gd name="T21" fmla="*/ 374 h 444"/>
                <a:gd name="T22" fmla="*/ 111 w 389"/>
                <a:gd name="T23" fmla="*/ 335 h 444"/>
                <a:gd name="T24" fmla="*/ 136 w 389"/>
                <a:gd name="T25" fmla="*/ 315 h 444"/>
                <a:gd name="T26" fmla="*/ 134 w 389"/>
                <a:gd name="T27" fmla="*/ 301 h 444"/>
                <a:gd name="T28" fmla="*/ 168 w 389"/>
                <a:gd name="T29" fmla="*/ 248 h 444"/>
                <a:gd name="T30" fmla="*/ 191 w 389"/>
                <a:gd name="T31" fmla="*/ 233 h 444"/>
                <a:gd name="T32" fmla="*/ 223 w 389"/>
                <a:gd name="T33" fmla="*/ 226 h 444"/>
                <a:gd name="T34" fmla="*/ 232 w 389"/>
                <a:gd name="T35" fmla="*/ 211 h 444"/>
                <a:gd name="T36" fmla="*/ 259 w 389"/>
                <a:gd name="T37" fmla="*/ 217 h 444"/>
                <a:gd name="T38" fmla="*/ 297 w 389"/>
                <a:gd name="T39" fmla="*/ 220 h 444"/>
                <a:gd name="T40" fmla="*/ 313 w 389"/>
                <a:gd name="T41" fmla="*/ 197 h 444"/>
                <a:gd name="T42" fmla="*/ 356 w 389"/>
                <a:gd name="T43" fmla="*/ 198 h 444"/>
                <a:gd name="T44" fmla="*/ 365 w 389"/>
                <a:gd name="T45" fmla="*/ 211 h 444"/>
                <a:gd name="T46" fmla="*/ 389 w 389"/>
                <a:gd name="T47" fmla="*/ 203 h 444"/>
                <a:gd name="T48" fmla="*/ 387 w 389"/>
                <a:gd name="T49" fmla="*/ 185 h 444"/>
                <a:gd name="T50" fmla="*/ 336 w 389"/>
                <a:gd name="T51" fmla="*/ 170 h 444"/>
                <a:gd name="T52" fmla="*/ 230 w 389"/>
                <a:gd name="T53" fmla="*/ 42 h 444"/>
                <a:gd name="T54" fmla="*/ 197 w 389"/>
                <a:gd name="T55" fmla="*/ 39 h 444"/>
                <a:gd name="T56" fmla="*/ 198 w 389"/>
                <a:gd name="T57" fmla="*/ 49 h 444"/>
                <a:gd name="T58" fmla="*/ 252 w 389"/>
                <a:gd name="T59" fmla="*/ 46 h 444"/>
                <a:gd name="T60" fmla="*/ 139 w 389"/>
                <a:gd name="T61" fmla="*/ 9 h 444"/>
                <a:gd name="T62" fmla="*/ 116 w 389"/>
                <a:gd name="T63" fmla="*/ 15 h 444"/>
                <a:gd name="T64" fmla="*/ 89 w 389"/>
                <a:gd name="T65" fmla="*/ 9 h 444"/>
                <a:gd name="T66" fmla="*/ 66 w 389"/>
                <a:gd name="T67" fmla="*/ 29 h 444"/>
                <a:gd name="T68" fmla="*/ 116 w 389"/>
                <a:gd name="T69" fmla="*/ 48 h 444"/>
                <a:gd name="T70" fmla="*/ 136 w 389"/>
                <a:gd name="T71" fmla="*/ 65 h 444"/>
                <a:gd name="T72" fmla="*/ 156 w 389"/>
                <a:gd name="T73" fmla="*/ 50 h 444"/>
                <a:gd name="T74" fmla="*/ 171 w 389"/>
                <a:gd name="T75" fmla="*/ 34 h 444"/>
                <a:gd name="T76" fmla="*/ 156 w 389"/>
                <a:gd name="T77" fmla="*/ 15 h 444"/>
                <a:gd name="T78" fmla="*/ 213 w 389"/>
                <a:gd name="T79" fmla="*/ 0 h 444"/>
                <a:gd name="T80" fmla="*/ 182 w 389"/>
                <a:gd name="T81" fmla="*/ 0 h 444"/>
                <a:gd name="T82" fmla="*/ 158 w 389"/>
                <a:gd name="T83" fmla="*/ 12 h 444"/>
                <a:gd name="T84" fmla="*/ 181 w 389"/>
                <a:gd name="T85" fmla="*/ 17 h 444"/>
                <a:gd name="T86" fmla="*/ 258 w 389"/>
                <a:gd name="T87" fmla="*/ 18 h 444"/>
                <a:gd name="T88" fmla="*/ 247 w 389"/>
                <a:gd name="T89" fmla="*/ 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9" h="444">
                  <a:moveTo>
                    <a:pt x="336" y="170"/>
                  </a:moveTo>
                  <a:lnTo>
                    <a:pt x="311" y="174"/>
                  </a:lnTo>
                  <a:lnTo>
                    <a:pt x="282" y="174"/>
                  </a:lnTo>
                  <a:lnTo>
                    <a:pt x="264" y="189"/>
                  </a:lnTo>
                  <a:lnTo>
                    <a:pt x="239" y="188"/>
                  </a:lnTo>
                  <a:lnTo>
                    <a:pt x="207" y="197"/>
                  </a:lnTo>
                  <a:lnTo>
                    <a:pt x="170" y="222"/>
                  </a:lnTo>
                  <a:lnTo>
                    <a:pt x="145" y="237"/>
                  </a:lnTo>
                  <a:lnTo>
                    <a:pt x="113" y="277"/>
                  </a:lnTo>
                  <a:lnTo>
                    <a:pt x="86" y="306"/>
                  </a:lnTo>
                  <a:lnTo>
                    <a:pt x="56" y="329"/>
                  </a:lnTo>
                  <a:lnTo>
                    <a:pt x="14" y="346"/>
                  </a:lnTo>
                  <a:lnTo>
                    <a:pt x="0" y="359"/>
                  </a:lnTo>
                  <a:lnTo>
                    <a:pt x="6" y="410"/>
                  </a:lnTo>
                  <a:lnTo>
                    <a:pt x="14" y="433"/>
                  </a:lnTo>
                  <a:lnTo>
                    <a:pt x="38" y="444"/>
                  </a:lnTo>
                  <a:lnTo>
                    <a:pt x="60" y="439"/>
                  </a:lnTo>
                  <a:lnTo>
                    <a:pt x="92" y="414"/>
                  </a:lnTo>
                  <a:lnTo>
                    <a:pt x="104" y="428"/>
                  </a:lnTo>
                  <a:lnTo>
                    <a:pt x="111" y="414"/>
                  </a:lnTo>
                  <a:lnTo>
                    <a:pt x="123" y="400"/>
                  </a:lnTo>
                  <a:lnTo>
                    <a:pt x="127" y="374"/>
                  </a:lnTo>
                  <a:lnTo>
                    <a:pt x="114" y="363"/>
                  </a:lnTo>
                  <a:lnTo>
                    <a:pt x="111" y="335"/>
                  </a:lnTo>
                  <a:lnTo>
                    <a:pt x="120" y="315"/>
                  </a:lnTo>
                  <a:lnTo>
                    <a:pt x="136" y="315"/>
                  </a:lnTo>
                  <a:lnTo>
                    <a:pt x="141" y="307"/>
                  </a:lnTo>
                  <a:lnTo>
                    <a:pt x="134" y="301"/>
                  </a:lnTo>
                  <a:lnTo>
                    <a:pt x="156" y="271"/>
                  </a:lnTo>
                  <a:lnTo>
                    <a:pt x="168" y="248"/>
                  </a:lnTo>
                  <a:lnTo>
                    <a:pt x="176" y="233"/>
                  </a:lnTo>
                  <a:lnTo>
                    <a:pt x="191" y="233"/>
                  </a:lnTo>
                  <a:lnTo>
                    <a:pt x="193" y="222"/>
                  </a:lnTo>
                  <a:lnTo>
                    <a:pt x="223" y="226"/>
                  </a:lnTo>
                  <a:lnTo>
                    <a:pt x="223" y="213"/>
                  </a:lnTo>
                  <a:lnTo>
                    <a:pt x="232" y="211"/>
                  </a:lnTo>
                  <a:lnTo>
                    <a:pt x="240" y="206"/>
                  </a:lnTo>
                  <a:lnTo>
                    <a:pt x="259" y="217"/>
                  </a:lnTo>
                  <a:lnTo>
                    <a:pt x="279" y="216"/>
                  </a:lnTo>
                  <a:lnTo>
                    <a:pt x="297" y="220"/>
                  </a:lnTo>
                  <a:lnTo>
                    <a:pt x="309" y="212"/>
                  </a:lnTo>
                  <a:lnTo>
                    <a:pt x="313" y="197"/>
                  </a:lnTo>
                  <a:lnTo>
                    <a:pt x="335" y="190"/>
                  </a:lnTo>
                  <a:lnTo>
                    <a:pt x="356" y="198"/>
                  </a:lnTo>
                  <a:lnTo>
                    <a:pt x="353" y="213"/>
                  </a:lnTo>
                  <a:lnTo>
                    <a:pt x="365" y="211"/>
                  </a:lnTo>
                  <a:lnTo>
                    <a:pt x="389" y="203"/>
                  </a:lnTo>
                  <a:lnTo>
                    <a:pt x="389" y="203"/>
                  </a:lnTo>
                  <a:lnTo>
                    <a:pt x="368" y="190"/>
                  </a:lnTo>
                  <a:lnTo>
                    <a:pt x="387" y="185"/>
                  </a:lnTo>
                  <a:lnTo>
                    <a:pt x="336" y="170"/>
                  </a:lnTo>
                  <a:lnTo>
                    <a:pt x="336" y="170"/>
                  </a:lnTo>
                  <a:close/>
                  <a:moveTo>
                    <a:pt x="252" y="46"/>
                  </a:moveTo>
                  <a:lnTo>
                    <a:pt x="230" y="42"/>
                  </a:lnTo>
                  <a:lnTo>
                    <a:pt x="224" y="35"/>
                  </a:lnTo>
                  <a:lnTo>
                    <a:pt x="197" y="39"/>
                  </a:lnTo>
                  <a:lnTo>
                    <a:pt x="206" y="45"/>
                  </a:lnTo>
                  <a:lnTo>
                    <a:pt x="198" y="49"/>
                  </a:lnTo>
                  <a:lnTo>
                    <a:pt x="223" y="53"/>
                  </a:lnTo>
                  <a:lnTo>
                    <a:pt x="252" y="46"/>
                  </a:lnTo>
                  <a:close/>
                  <a:moveTo>
                    <a:pt x="156" y="15"/>
                  </a:moveTo>
                  <a:lnTo>
                    <a:pt x="139" y="9"/>
                  </a:lnTo>
                  <a:lnTo>
                    <a:pt x="120" y="9"/>
                  </a:lnTo>
                  <a:lnTo>
                    <a:pt x="116" y="15"/>
                  </a:lnTo>
                  <a:lnTo>
                    <a:pt x="98" y="15"/>
                  </a:lnTo>
                  <a:lnTo>
                    <a:pt x="89" y="9"/>
                  </a:lnTo>
                  <a:lnTo>
                    <a:pt x="55" y="16"/>
                  </a:lnTo>
                  <a:lnTo>
                    <a:pt x="66" y="29"/>
                  </a:lnTo>
                  <a:lnTo>
                    <a:pt x="95" y="43"/>
                  </a:lnTo>
                  <a:lnTo>
                    <a:pt x="116" y="48"/>
                  </a:lnTo>
                  <a:lnTo>
                    <a:pt x="105" y="54"/>
                  </a:lnTo>
                  <a:lnTo>
                    <a:pt x="136" y="65"/>
                  </a:lnTo>
                  <a:lnTo>
                    <a:pt x="153" y="64"/>
                  </a:lnTo>
                  <a:lnTo>
                    <a:pt x="156" y="50"/>
                  </a:lnTo>
                  <a:lnTo>
                    <a:pt x="167" y="47"/>
                  </a:lnTo>
                  <a:lnTo>
                    <a:pt x="171" y="34"/>
                  </a:lnTo>
                  <a:lnTo>
                    <a:pt x="203" y="27"/>
                  </a:lnTo>
                  <a:lnTo>
                    <a:pt x="156" y="15"/>
                  </a:lnTo>
                  <a:close/>
                  <a:moveTo>
                    <a:pt x="247" y="4"/>
                  </a:moveTo>
                  <a:lnTo>
                    <a:pt x="213" y="0"/>
                  </a:lnTo>
                  <a:lnTo>
                    <a:pt x="201" y="4"/>
                  </a:lnTo>
                  <a:lnTo>
                    <a:pt x="182" y="0"/>
                  </a:lnTo>
                  <a:lnTo>
                    <a:pt x="142" y="5"/>
                  </a:lnTo>
                  <a:lnTo>
                    <a:pt x="158" y="12"/>
                  </a:lnTo>
                  <a:lnTo>
                    <a:pt x="178" y="12"/>
                  </a:lnTo>
                  <a:lnTo>
                    <a:pt x="181" y="17"/>
                  </a:lnTo>
                  <a:lnTo>
                    <a:pt x="221" y="20"/>
                  </a:lnTo>
                  <a:lnTo>
                    <a:pt x="258" y="18"/>
                  </a:lnTo>
                  <a:lnTo>
                    <a:pt x="274" y="9"/>
                  </a:lnTo>
                  <a:lnTo>
                    <a:pt x="247" y="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New Zealand"/>
            <p:cNvSpPr>
              <a:spLocks noEditPoints="1"/>
            </p:cNvSpPr>
            <p:nvPr/>
          </p:nvSpPr>
          <p:spPr bwMode="auto">
            <a:xfrm>
              <a:off x="10941050" y="5781676"/>
              <a:ext cx="601662" cy="457200"/>
            </a:xfrm>
            <a:custGeom>
              <a:avLst/>
              <a:gdLst>
                <a:gd name="T0" fmla="*/ 223 w 379"/>
                <a:gd name="T1" fmla="*/ 146 h 288"/>
                <a:gd name="T2" fmla="*/ 188 w 379"/>
                <a:gd name="T3" fmla="*/ 169 h 288"/>
                <a:gd name="T4" fmla="*/ 154 w 379"/>
                <a:gd name="T5" fmla="*/ 193 h 288"/>
                <a:gd name="T6" fmla="*/ 107 w 379"/>
                <a:gd name="T7" fmla="*/ 216 h 288"/>
                <a:gd name="T8" fmla="*/ 70 w 379"/>
                <a:gd name="T9" fmla="*/ 229 h 288"/>
                <a:gd name="T10" fmla="*/ 4 w 379"/>
                <a:gd name="T11" fmla="*/ 269 h 288"/>
                <a:gd name="T12" fmla="*/ 19 w 379"/>
                <a:gd name="T13" fmla="*/ 279 h 288"/>
                <a:gd name="T14" fmla="*/ 41 w 379"/>
                <a:gd name="T15" fmla="*/ 288 h 288"/>
                <a:gd name="T16" fmla="*/ 81 w 379"/>
                <a:gd name="T17" fmla="*/ 270 h 288"/>
                <a:gd name="T18" fmla="*/ 128 w 379"/>
                <a:gd name="T19" fmla="*/ 232 h 288"/>
                <a:gd name="T20" fmla="*/ 167 w 379"/>
                <a:gd name="T21" fmla="*/ 223 h 288"/>
                <a:gd name="T22" fmla="*/ 185 w 379"/>
                <a:gd name="T23" fmla="*/ 203 h 288"/>
                <a:gd name="T24" fmla="*/ 227 w 379"/>
                <a:gd name="T25" fmla="*/ 175 h 288"/>
                <a:gd name="T26" fmla="*/ 237 w 379"/>
                <a:gd name="T27" fmla="*/ 156 h 288"/>
                <a:gd name="T28" fmla="*/ 219 w 379"/>
                <a:gd name="T29" fmla="*/ 155 h 288"/>
                <a:gd name="T30" fmla="*/ 327 w 379"/>
                <a:gd name="T31" fmla="*/ 41 h 288"/>
                <a:gd name="T32" fmla="*/ 322 w 379"/>
                <a:gd name="T33" fmla="*/ 14 h 288"/>
                <a:gd name="T34" fmla="*/ 310 w 379"/>
                <a:gd name="T35" fmla="*/ 2 h 288"/>
                <a:gd name="T36" fmla="*/ 312 w 379"/>
                <a:gd name="T37" fmla="*/ 40 h 288"/>
                <a:gd name="T38" fmla="*/ 312 w 379"/>
                <a:gd name="T39" fmla="*/ 55 h 288"/>
                <a:gd name="T40" fmla="*/ 301 w 379"/>
                <a:gd name="T41" fmla="*/ 87 h 288"/>
                <a:gd name="T42" fmla="*/ 265 w 379"/>
                <a:gd name="T43" fmla="*/ 113 h 288"/>
                <a:gd name="T44" fmla="*/ 273 w 379"/>
                <a:gd name="T45" fmla="*/ 132 h 288"/>
                <a:gd name="T46" fmla="*/ 244 w 379"/>
                <a:gd name="T47" fmla="*/ 164 h 288"/>
                <a:gd name="T48" fmla="*/ 248 w 379"/>
                <a:gd name="T49" fmla="*/ 173 h 288"/>
                <a:gd name="T50" fmla="*/ 292 w 379"/>
                <a:gd name="T51" fmla="*/ 149 h 288"/>
                <a:gd name="T52" fmla="*/ 315 w 379"/>
                <a:gd name="T53" fmla="*/ 131 h 288"/>
                <a:gd name="T54" fmla="*/ 331 w 379"/>
                <a:gd name="T55" fmla="*/ 113 h 288"/>
                <a:gd name="T56" fmla="*/ 361 w 379"/>
                <a:gd name="T57" fmla="*/ 100 h 288"/>
                <a:gd name="T58" fmla="*/ 372 w 379"/>
                <a:gd name="T59" fmla="*/ 76 h 288"/>
                <a:gd name="T60" fmla="*/ 343 w 379"/>
                <a:gd name="T61" fmla="*/ 83 h 288"/>
                <a:gd name="T62" fmla="*/ 340 w 379"/>
                <a:gd name="T63" fmla="*/ 57 h 288"/>
                <a:gd name="T64" fmla="*/ 325 w 379"/>
                <a:gd name="T65" fmla="*/ 66 h 288"/>
                <a:gd name="T66" fmla="*/ 327 w 379"/>
                <a:gd name="T67" fmla="*/ 4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288">
                  <a:moveTo>
                    <a:pt x="219" y="155"/>
                  </a:moveTo>
                  <a:lnTo>
                    <a:pt x="223" y="146"/>
                  </a:lnTo>
                  <a:lnTo>
                    <a:pt x="201" y="156"/>
                  </a:lnTo>
                  <a:lnTo>
                    <a:pt x="188" y="169"/>
                  </a:lnTo>
                  <a:lnTo>
                    <a:pt x="176" y="175"/>
                  </a:lnTo>
                  <a:lnTo>
                    <a:pt x="154" y="193"/>
                  </a:lnTo>
                  <a:lnTo>
                    <a:pt x="133" y="205"/>
                  </a:lnTo>
                  <a:lnTo>
                    <a:pt x="107" y="216"/>
                  </a:lnTo>
                  <a:lnTo>
                    <a:pt x="86" y="225"/>
                  </a:lnTo>
                  <a:lnTo>
                    <a:pt x="70" y="229"/>
                  </a:lnTo>
                  <a:lnTo>
                    <a:pt x="28" y="252"/>
                  </a:lnTo>
                  <a:lnTo>
                    <a:pt x="4" y="269"/>
                  </a:lnTo>
                  <a:lnTo>
                    <a:pt x="0" y="278"/>
                  </a:lnTo>
                  <a:lnTo>
                    <a:pt x="19" y="279"/>
                  </a:lnTo>
                  <a:lnTo>
                    <a:pt x="25" y="287"/>
                  </a:lnTo>
                  <a:lnTo>
                    <a:pt x="41" y="288"/>
                  </a:lnTo>
                  <a:lnTo>
                    <a:pt x="56" y="281"/>
                  </a:lnTo>
                  <a:lnTo>
                    <a:pt x="81" y="270"/>
                  </a:lnTo>
                  <a:lnTo>
                    <a:pt x="111" y="248"/>
                  </a:lnTo>
                  <a:lnTo>
                    <a:pt x="128" y="232"/>
                  </a:lnTo>
                  <a:lnTo>
                    <a:pt x="152" y="223"/>
                  </a:lnTo>
                  <a:lnTo>
                    <a:pt x="167" y="223"/>
                  </a:lnTo>
                  <a:lnTo>
                    <a:pt x="168" y="212"/>
                  </a:lnTo>
                  <a:lnTo>
                    <a:pt x="185" y="203"/>
                  </a:lnTo>
                  <a:lnTo>
                    <a:pt x="211" y="186"/>
                  </a:lnTo>
                  <a:lnTo>
                    <a:pt x="227" y="175"/>
                  </a:lnTo>
                  <a:lnTo>
                    <a:pt x="236" y="165"/>
                  </a:lnTo>
                  <a:lnTo>
                    <a:pt x="237" y="156"/>
                  </a:lnTo>
                  <a:lnTo>
                    <a:pt x="216" y="165"/>
                  </a:lnTo>
                  <a:lnTo>
                    <a:pt x="219" y="155"/>
                  </a:lnTo>
                  <a:lnTo>
                    <a:pt x="219" y="155"/>
                  </a:lnTo>
                  <a:close/>
                  <a:moveTo>
                    <a:pt x="327" y="41"/>
                  </a:moveTo>
                  <a:lnTo>
                    <a:pt x="334" y="20"/>
                  </a:lnTo>
                  <a:lnTo>
                    <a:pt x="322" y="14"/>
                  </a:lnTo>
                  <a:lnTo>
                    <a:pt x="320" y="0"/>
                  </a:lnTo>
                  <a:lnTo>
                    <a:pt x="310" y="2"/>
                  </a:lnTo>
                  <a:lnTo>
                    <a:pt x="309" y="20"/>
                  </a:lnTo>
                  <a:lnTo>
                    <a:pt x="312" y="40"/>
                  </a:lnTo>
                  <a:lnTo>
                    <a:pt x="316" y="51"/>
                  </a:lnTo>
                  <a:lnTo>
                    <a:pt x="312" y="55"/>
                  </a:lnTo>
                  <a:lnTo>
                    <a:pt x="310" y="71"/>
                  </a:lnTo>
                  <a:lnTo>
                    <a:pt x="301" y="87"/>
                  </a:lnTo>
                  <a:lnTo>
                    <a:pt x="285" y="106"/>
                  </a:lnTo>
                  <a:lnTo>
                    <a:pt x="265" y="113"/>
                  </a:lnTo>
                  <a:lnTo>
                    <a:pt x="259" y="123"/>
                  </a:lnTo>
                  <a:lnTo>
                    <a:pt x="273" y="132"/>
                  </a:lnTo>
                  <a:lnTo>
                    <a:pt x="270" y="145"/>
                  </a:lnTo>
                  <a:lnTo>
                    <a:pt x="244" y="164"/>
                  </a:lnTo>
                  <a:lnTo>
                    <a:pt x="250" y="167"/>
                  </a:lnTo>
                  <a:lnTo>
                    <a:pt x="248" y="173"/>
                  </a:lnTo>
                  <a:lnTo>
                    <a:pt x="270" y="164"/>
                  </a:lnTo>
                  <a:lnTo>
                    <a:pt x="292" y="149"/>
                  </a:lnTo>
                  <a:lnTo>
                    <a:pt x="308" y="136"/>
                  </a:lnTo>
                  <a:lnTo>
                    <a:pt x="315" y="131"/>
                  </a:lnTo>
                  <a:lnTo>
                    <a:pt x="321" y="121"/>
                  </a:lnTo>
                  <a:lnTo>
                    <a:pt x="331" y="113"/>
                  </a:lnTo>
                  <a:lnTo>
                    <a:pt x="345" y="114"/>
                  </a:lnTo>
                  <a:lnTo>
                    <a:pt x="361" y="100"/>
                  </a:lnTo>
                  <a:lnTo>
                    <a:pt x="379" y="79"/>
                  </a:lnTo>
                  <a:lnTo>
                    <a:pt x="372" y="76"/>
                  </a:lnTo>
                  <a:lnTo>
                    <a:pt x="355" y="85"/>
                  </a:lnTo>
                  <a:lnTo>
                    <a:pt x="343" y="83"/>
                  </a:lnTo>
                  <a:lnTo>
                    <a:pt x="332" y="76"/>
                  </a:lnTo>
                  <a:lnTo>
                    <a:pt x="340" y="57"/>
                  </a:lnTo>
                  <a:lnTo>
                    <a:pt x="336" y="51"/>
                  </a:lnTo>
                  <a:lnTo>
                    <a:pt x="325" y="66"/>
                  </a:lnTo>
                  <a:lnTo>
                    <a:pt x="327" y="41"/>
                  </a:lnTo>
                  <a:lnTo>
                    <a:pt x="327" y="4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Nepal"/>
            <p:cNvSpPr>
              <a:spLocks/>
            </p:cNvSpPr>
            <p:nvPr/>
          </p:nvSpPr>
          <p:spPr bwMode="auto">
            <a:xfrm>
              <a:off x="8572500" y="3335338"/>
              <a:ext cx="274637" cy="152400"/>
            </a:xfrm>
            <a:custGeom>
              <a:avLst/>
              <a:gdLst>
                <a:gd name="T0" fmla="*/ 167 w 173"/>
                <a:gd name="T1" fmla="*/ 60 h 96"/>
                <a:gd name="T2" fmla="*/ 143 w 173"/>
                <a:gd name="T3" fmla="*/ 59 h 96"/>
                <a:gd name="T4" fmla="*/ 119 w 173"/>
                <a:gd name="T5" fmla="*/ 53 h 96"/>
                <a:gd name="T6" fmla="*/ 100 w 173"/>
                <a:gd name="T7" fmla="*/ 43 h 96"/>
                <a:gd name="T8" fmla="*/ 83 w 173"/>
                <a:gd name="T9" fmla="*/ 38 h 96"/>
                <a:gd name="T10" fmla="*/ 74 w 173"/>
                <a:gd name="T11" fmla="*/ 26 h 96"/>
                <a:gd name="T12" fmla="*/ 62 w 173"/>
                <a:gd name="T13" fmla="*/ 23 h 96"/>
                <a:gd name="T14" fmla="*/ 39 w 173"/>
                <a:gd name="T15" fmla="*/ 7 h 96"/>
                <a:gd name="T16" fmla="*/ 21 w 173"/>
                <a:gd name="T17" fmla="*/ 0 h 96"/>
                <a:gd name="T18" fmla="*/ 13 w 173"/>
                <a:gd name="T19" fmla="*/ 5 h 96"/>
                <a:gd name="T20" fmla="*/ 3 w 173"/>
                <a:gd name="T21" fmla="*/ 17 h 96"/>
                <a:gd name="T22" fmla="*/ 0 w 173"/>
                <a:gd name="T23" fmla="*/ 39 h 96"/>
                <a:gd name="T24" fmla="*/ 21 w 173"/>
                <a:gd name="T25" fmla="*/ 48 h 96"/>
                <a:gd name="T26" fmla="*/ 43 w 173"/>
                <a:gd name="T27" fmla="*/ 59 h 96"/>
                <a:gd name="T28" fmla="*/ 71 w 173"/>
                <a:gd name="T29" fmla="*/ 73 h 96"/>
                <a:gd name="T30" fmla="*/ 100 w 173"/>
                <a:gd name="T31" fmla="*/ 76 h 96"/>
                <a:gd name="T32" fmla="*/ 114 w 173"/>
                <a:gd name="T33" fmla="*/ 87 h 96"/>
                <a:gd name="T34" fmla="*/ 130 w 173"/>
                <a:gd name="T35" fmla="*/ 90 h 96"/>
                <a:gd name="T36" fmla="*/ 155 w 173"/>
                <a:gd name="T37" fmla="*/ 96 h 96"/>
                <a:gd name="T38" fmla="*/ 173 w 173"/>
                <a:gd name="T39" fmla="*/ 95 h 96"/>
                <a:gd name="T40" fmla="*/ 173 w 173"/>
                <a:gd name="T41" fmla="*/ 86 h 96"/>
                <a:gd name="T42" fmla="*/ 167 w 173"/>
                <a:gd name="T43" fmla="*/ 71 h 96"/>
                <a:gd name="T44" fmla="*/ 167 w 173"/>
                <a:gd name="T45" fmla="*/ 60 h 96"/>
                <a:gd name="T46" fmla="*/ 167 w 173"/>
                <a:gd name="T4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3" h="96">
                  <a:moveTo>
                    <a:pt x="167" y="60"/>
                  </a:moveTo>
                  <a:lnTo>
                    <a:pt x="143" y="59"/>
                  </a:lnTo>
                  <a:lnTo>
                    <a:pt x="119" y="53"/>
                  </a:lnTo>
                  <a:lnTo>
                    <a:pt x="100" y="43"/>
                  </a:lnTo>
                  <a:lnTo>
                    <a:pt x="83" y="38"/>
                  </a:lnTo>
                  <a:lnTo>
                    <a:pt x="74" y="26"/>
                  </a:lnTo>
                  <a:lnTo>
                    <a:pt x="62" y="23"/>
                  </a:lnTo>
                  <a:lnTo>
                    <a:pt x="39" y="7"/>
                  </a:lnTo>
                  <a:lnTo>
                    <a:pt x="21" y="0"/>
                  </a:lnTo>
                  <a:lnTo>
                    <a:pt x="13" y="5"/>
                  </a:lnTo>
                  <a:lnTo>
                    <a:pt x="3" y="17"/>
                  </a:lnTo>
                  <a:lnTo>
                    <a:pt x="0" y="39"/>
                  </a:lnTo>
                  <a:lnTo>
                    <a:pt x="21" y="48"/>
                  </a:lnTo>
                  <a:lnTo>
                    <a:pt x="43" y="59"/>
                  </a:lnTo>
                  <a:lnTo>
                    <a:pt x="71" y="73"/>
                  </a:lnTo>
                  <a:lnTo>
                    <a:pt x="100" y="76"/>
                  </a:lnTo>
                  <a:lnTo>
                    <a:pt x="114" y="87"/>
                  </a:lnTo>
                  <a:lnTo>
                    <a:pt x="130" y="90"/>
                  </a:lnTo>
                  <a:lnTo>
                    <a:pt x="155" y="96"/>
                  </a:lnTo>
                  <a:lnTo>
                    <a:pt x="173" y="95"/>
                  </a:lnTo>
                  <a:lnTo>
                    <a:pt x="173" y="86"/>
                  </a:lnTo>
                  <a:lnTo>
                    <a:pt x="167" y="71"/>
                  </a:lnTo>
                  <a:lnTo>
                    <a:pt x="167" y="60"/>
                  </a:lnTo>
                  <a:lnTo>
                    <a:pt x="167" y="6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Oman"/>
            <p:cNvSpPr>
              <a:spLocks noEditPoints="1"/>
            </p:cNvSpPr>
            <p:nvPr/>
          </p:nvSpPr>
          <p:spPr bwMode="auto">
            <a:xfrm>
              <a:off x="7705725" y="3487738"/>
              <a:ext cx="244475" cy="366713"/>
            </a:xfrm>
            <a:custGeom>
              <a:avLst/>
              <a:gdLst>
                <a:gd name="T0" fmla="*/ 137 w 154"/>
                <a:gd name="T1" fmla="*/ 125 h 231"/>
                <a:gd name="T2" fmla="*/ 145 w 154"/>
                <a:gd name="T3" fmla="*/ 118 h 231"/>
                <a:gd name="T4" fmla="*/ 149 w 154"/>
                <a:gd name="T5" fmla="*/ 111 h 231"/>
                <a:gd name="T6" fmla="*/ 154 w 154"/>
                <a:gd name="T7" fmla="*/ 97 h 231"/>
                <a:gd name="T8" fmla="*/ 154 w 154"/>
                <a:gd name="T9" fmla="*/ 91 h 231"/>
                <a:gd name="T10" fmla="*/ 146 w 154"/>
                <a:gd name="T11" fmla="*/ 89 h 231"/>
                <a:gd name="T12" fmla="*/ 140 w 154"/>
                <a:gd name="T13" fmla="*/ 81 h 231"/>
                <a:gd name="T14" fmla="*/ 129 w 154"/>
                <a:gd name="T15" fmla="*/ 67 h 231"/>
                <a:gd name="T16" fmla="*/ 117 w 154"/>
                <a:gd name="T17" fmla="*/ 62 h 231"/>
                <a:gd name="T18" fmla="*/ 102 w 154"/>
                <a:gd name="T19" fmla="*/ 60 h 231"/>
                <a:gd name="T20" fmla="*/ 89 w 154"/>
                <a:gd name="T21" fmla="*/ 51 h 231"/>
                <a:gd name="T22" fmla="*/ 79 w 154"/>
                <a:gd name="T23" fmla="*/ 34 h 231"/>
                <a:gd name="T24" fmla="*/ 68 w 154"/>
                <a:gd name="T25" fmla="*/ 34 h 231"/>
                <a:gd name="T26" fmla="*/ 67 w 154"/>
                <a:gd name="T27" fmla="*/ 50 h 231"/>
                <a:gd name="T28" fmla="*/ 72 w 154"/>
                <a:gd name="T29" fmla="*/ 53 h 231"/>
                <a:gd name="T30" fmla="*/ 63 w 154"/>
                <a:gd name="T31" fmla="*/ 59 h 231"/>
                <a:gd name="T32" fmla="*/ 64 w 154"/>
                <a:gd name="T33" fmla="*/ 68 h 231"/>
                <a:gd name="T34" fmla="*/ 59 w 154"/>
                <a:gd name="T35" fmla="*/ 77 h 231"/>
                <a:gd name="T36" fmla="*/ 59 w 154"/>
                <a:gd name="T37" fmla="*/ 88 h 231"/>
                <a:gd name="T38" fmla="*/ 70 w 154"/>
                <a:gd name="T39" fmla="*/ 104 h 231"/>
                <a:gd name="T40" fmla="*/ 60 w 154"/>
                <a:gd name="T41" fmla="*/ 152 h 231"/>
                <a:gd name="T42" fmla="*/ 0 w 154"/>
                <a:gd name="T43" fmla="*/ 175 h 231"/>
                <a:gd name="T44" fmla="*/ 20 w 154"/>
                <a:gd name="T45" fmla="*/ 215 h 231"/>
                <a:gd name="T46" fmla="*/ 27 w 154"/>
                <a:gd name="T47" fmla="*/ 231 h 231"/>
                <a:gd name="T48" fmla="*/ 37 w 154"/>
                <a:gd name="T49" fmla="*/ 230 h 231"/>
                <a:gd name="T50" fmla="*/ 50 w 154"/>
                <a:gd name="T51" fmla="*/ 222 h 231"/>
                <a:gd name="T52" fmla="*/ 62 w 154"/>
                <a:gd name="T53" fmla="*/ 224 h 231"/>
                <a:gd name="T54" fmla="*/ 71 w 154"/>
                <a:gd name="T55" fmla="*/ 217 h 231"/>
                <a:gd name="T56" fmla="*/ 70 w 154"/>
                <a:gd name="T57" fmla="*/ 208 h 231"/>
                <a:gd name="T58" fmla="*/ 78 w 154"/>
                <a:gd name="T59" fmla="*/ 202 h 231"/>
                <a:gd name="T60" fmla="*/ 91 w 154"/>
                <a:gd name="T61" fmla="*/ 202 h 231"/>
                <a:gd name="T62" fmla="*/ 95 w 154"/>
                <a:gd name="T63" fmla="*/ 197 h 231"/>
                <a:gd name="T64" fmla="*/ 96 w 154"/>
                <a:gd name="T65" fmla="*/ 186 h 231"/>
                <a:gd name="T66" fmla="*/ 108 w 154"/>
                <a:gd name="T67" fmla="*/ 176 h 231"/>
                <a:gd name="T68" fmla="*/ 118 w 154"/>
                <a:gd name="T69" fmla="*/ 176 h 231"/>
                <a:gd name="T70" fmla="*/ 120 w 154"/>
                <a:gd name="T71" fmla="*/ 174 h 231"/>
                <a:gd name="T72" fmla="*/ 116 w 154"/>
                <a:gd name="T73" fmla="*/ 158 h 231"/>
                <a:gd name="T74" fmla="*/ 118 w 154"/>
                <a:gd name="T75" fmla="*/ 146 h 231"/>
                <a:gd name="T76" fmla="*/ 122 w 154"/>
                <a:gd name="T77" fmla="*/ 141 h 231"/>
                <a:gd name="T78" fmla="*/ 131 w 154"/>
                <a:gd name="T79" fmla="*/ 142 h 231"/>
                <a:gd name="T80" fmla="*/ 137 w 154"/>
                <a:gd name="T81" fmla="*/ 125 h 231"/>
                <a:gd name="T82" fmla="*/ 137 w 154"/>
                <a:gd name="T83" fmla="*/ 125 h 231"/>
                <a:gd name="T84" fmla="*/ 76 w 154"/>
                <a:gd name="T85" fmla="*/ 12 h 231"/>
                <a:gd name="T86" fmla="*/ 76 w 154"/>
                <a:gd name="T87" fmla="*/ 2 h 231"/>
                <a:gd name="T88" fmla="*/ 74 w 154"/>
                <a:gd name="T89" fmla="*/ 0 h 231"/>
                <a:gd name="T90" fmla="*/ 68 w 154"/>
                <a:gd name="T91" fmla="*/ 8 h 231"/>
                <a:gd name="T92" fmla="*/ 74 w 154"/>
                <a:gd name="T93" fmla="*/ 16 h 231"/>
                <a:gd name="T94" fmla="*/ 76 w 154"/>
                <a:gd name="T9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231">
                  <a:moveTo>
                    <a:pt x="137" y="125"/>
                  </a:moveTo>
                  <a:lnTo>
                    <a:pt x="145" y="118"/>
                  </a:lnTo>
                  <a:lnTo>
                    <a:pt x="149" y="111"/>
                  </a:lnTo>
                  <a:lnTo>
                    <a:pt x="154" y="97"/>
                  </a:lnTo>
                  <a:lnTo>
                    <a:pt x="154" y="91"/>
                  </a:lnTo>
                  <a:lnTo>
                    <a:pt x="146" y="89"/>
                  </a:lnTo>
                  <a:lnTo>
                    <a:pt x="140" y="81"/>
                  </a:lnTo>
                  <a:lnTo>
                    <a:pt x="129" y="67"/>
                  </a:lnTo>
                  <a:lnTo>
                    <a:pt x="117" y="62"/>
                  </a:lnTo>
                  <a:lnTo>
                    <a:pt x="102" y="60"/>
                  </a:lnTo>
                  <a:lnTo>
                    <a:pt x="89" y="51"/>
                  </a:lnTo>
                  <a:lnTo>
                    <a:pt x="79" y="34"/>
                  </a:lnTo>
                  <a:lnTo>
                    <a:pt x="68" y="34"/>
                  </a:lnTo>
                  <a:lnTo>
                    <a:pt x="67" y="50"/>
                  </a:lnTo>
                  <a:lnTo>
                    <a:pt x="72" y="53"/>
                  </a:lnTo>
                  <a:lnTo>
                    <a:pt x="63" y="59"/>
                  </a:lnTo>
                  <a:lnTo>
                    <a:pt x="64" y="68"/>
                  </a:lnTo>
                  <a:lnTo>
                    <a:pt x="59" y="77"/>
                  </a:lnTo>
                  <a:lnTo>
                    <a:pt x="59" y="88"/>
                  </a:lnTo>
                  <a:lnTo>
                    <a:pt x="70" y="104"/>
                  </a:lnTo>
                  <a:lnTo>
                    <a:pt x="60" y="152"/>
                  </a:lnTo>
                  <a:lnTo>
                    <a:pt x="0" y="175"/>
                  </a:lnTo>
                  <a:lnTo>
                    <a:pt x="20" y="215"/>
                  </a:lnTo>
                  <a:lnTo>
                    <a:pt x="27" y="231"/>
                  </a:lnTo>
                  <a:lnTo>
                    <a:pt x="37" y="230"/>
                  </a:lnTo>
                  <a:lnTo>
                    <a:pt x="50" y="222"/>
                  </a:lnTo>
                  <a:lnTo>
                    <a:pt x="62" y="224"/>
                  </a:lnTo>
                  <a:lnTo>
                    <a:pt x="71" y="217"/>
                  </a:lnTo>
                  <a:lnTo>
                    <a:pt x="70" y="208"/>
                  </a:lnTo>
                  <a:lnTo>
                    <a:pt x="78" y="202"/>
                  </a:lnTo>
                  <a:lnTo>
                    <a:pt x="91" y="202"/>
                  </a:lnTo>
                  <a:lnTo>
                    <a:pt x="95" y="197"/>
                  </a:lnTo>
                  <a:lnTo>
                    <a:pt x="96" y="186"/>
                  </a:lnTo>
                  <a:lnTo>
                    <a:pt x="108" y="176"/>
                  </a:lnTo>
                  <a:lnTo>
                    <a:pt x="118" y="176"/>
                  </a:lnTo>
                  <a:lnTo>
                    <a:pt x="120" y="174"/>
                  </a:lnTo>
                  <a:lnTo>
                    <a:pt x="116" y="158"/>
                  </a:lnTo>
                  <a:lnTo>
                    <a:pt x="118" y="146"/>
                  </a:lnTo>
                  <a:lnTo>
                    <a:pt x="122" y="141"/>
                  </a:lnTo>
                  <a:lnTo>
                    <a:pt x="131" y="142"/>
                  </a:lnTo>
                  <a:lnTo>
                    <a:pt x="137" y="125"/>
                  </a:lnTo>
                  <a:lnTo>
                    <a:pt x="137" y="125"/>
                  </a:lnTo>
                  <a:close/>
                  <a:moveTo>
                    <a:pt x="76" y="12"/>
                  </a:moveTo>
                  <a:lnTo>
                    <a:pt x="76" y="2"/>
                  </a:lnTo>
                  <a:lnTo>
                    <a:pt x="74" y="0"/>
                  </a:lnTo>
                  <a:lnTo>
                    <a:pt x="68" y="8"/>
                  </a:lnTo>
                  <a:lnTo>
                    <a:pt x="74" y="16"/>
                  </a:lnTo>
                  <a:lnTo>
                    <a:pt x="76" y="1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Pakistan"/>
            <p:cNvSpPr>
              <a:spLocks/>
            </p:cNvSpPr>
            <p:nvPr/>
          </p:nvSpPr>
          <p:spPr bwMode="auto">
            <a:xfrm>
              <a:off x="7948612" y="3081338"/>
              <a:ext cx="492125" cy="508000"/>
            </a:xfrm>
            <a:custGeom>
              <a:avLst/>
              <a:gdLst>
                <a:gd name="T0" fmla="*/ 276 w 310"/>
                <a:gd name="T1" fmla="*/ 30 h 320"/>
                <a:gd name="T2" fmla="*/ 247 w 310"/>
                <a:gd name="T3" fmla="*/ 0 h 320"/>
                <a:gd name="T4" fmla="*/ 227 w 310"/>
                <a:gd name="T5" fmla="*/ 7 h 320"/>
                <a:gd name="T6" fmla="*/ 186 w 310"/>
                <a:gd name="T7" fmla="*/ 15 h 320"/>
                <a:gd name="T8" fmla="*/ 184 w 310"/>
                <a:gd name="T9" fmla="*/ 36 h 320"/>
                <a:gd name="T10" fmla="*/ 182 w 310"/>
                <a:gd name="T11" fmla="*/ 58 h 320"/>
                <a:gd name="T12" fmla="*/ 181 w 310"/>
                <a:gd name="T13" fmla="*/ 76 h 320"/>
                <a:gd name="T14" fmla="*/ 174 w 310"/>
                <a:gd name="T15" fmla="*/ 91 h 320"/>
                <a:gd name="T16" fmla="*/ 157 w 310"/>
                <a:gd name="T17" fmla="*/ 111 h 320"/>
                <a:gd name="T18" fmla="*/ 154 w 310"/>
                <a:gd name="T19" fmla="*/ 132 h 320"/>
                <a:gd name="T20" fmla="*/ 132 w 310"/>
                <a:gd name="T21" fmla="*/ 133 h 320"/>
                <a:gd name="T22" fmla="*/ 116 w 310"/>
                <a:gd name="T23" fmla="*/ 139 h 320"/>
                <a:gd name="T24" fmla="*/ 110 w 310"/>
                <a:gd name="T25" fmla="*/ 173 h 320"/>
                <a:gd name="T26" fmla="*/ 72 w 310"/>
                <a:gd name="T27" fmla="*/ 180 h 320"/>
                <a:gd name="T28" fmla="*/ 56 w 310"/>
                <a:gd name="T29" fmla="*/ 183 h 320"/>
                <a:gd name="T30" fmla="*/ 0 w 310"/>
                <a:gd name="T31" fmla="*/ 175 h 320"/>
                <a:gd name="T32" fmla="*/ 23 w 310"/>
                <a:gd name="T33" fmla="*/ 201 h 320"/>
                <a:gd name="T34" fmla="*/ 48 w 310"/>
                <a:gd name="T35" fmla="*/ 233 h 320"/>
                <a:gd name="T36" fmla="*/ 61 w 310"/>
                <a:gd name="T37" fmla="*/ 247 h 320"/>
                <a:gd name="T38" fmla="*/ 29 w 310"/>
                <a:gd name="T39" fmla="*/ 287 h 320"/>
                <a:gd name="T40" fmla="*/ 91 w 310"/>
                <a:gd name="T41" fmla="*/ 283 h 320"/>
                <a:gd name="T42" fmla="*/ 146 w 310"/>
                <a:gd name="T43" fmla="*/ 297 h 320"/>
                <a:gd name="T44" fmla="*/ 169 w 310"/>
                <a:gd name="T45" fmla="*/ 320 h 320"/>
                <a:gd name="T46" fmla="*/ 226 w 310"/>
                <a:gd name="T47" fmla="*/ 304 h 320"/>
                <a:gd name="T48" fmla="*/ 207 w 310"/>
                <a:gd name="T49" fmla="*/ 272 h 320"/>
                <a:gd name="T50" fmla="*/ 186 w 310"/>
                <a:gd name="T51" fmla="*/ 243 h 320"/>
                <a:gd name="T52" fmla="*/ 229 w 310"/>
                <a:gd name="T53" fmla="*/ 219 h 320"/>
                <a:gd name="T54" fmla="*/ 253 w 310"/>
                <a:gd name="T55" fmla="*/ 171 h 320"/>
                <a:gd name="T56" fmla="*/ 264 w 310"/>
                <a:gd name="T57" fmla="*/ 130 h 320"/>
                <a:gd name="T58" fmla="*/ 259 w 310"/>
                <a:gd name="T59" fmla="*/ 105 h 320"/>
                <a:gd name="T60" fmla="*/ 236 w 310"/>
                <a:gd name="T61" fmla="*/ 68 h 320"/>
                <a:gd name="T62" fmla="*/ 276 w 310"/>
                <a:gd name="T63" fmla="*/ 64 h 320"/>
                <a:gd name="T64" fmla="*/ 310 w 310"/>
                <a:gd name="T65" fmla="*/ 3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0" h="320">
                  <a:moveTo>
                    <a:pt x="310" y="39"/>
                  </a:moveTo>
                  <a:lnTo>
                    <a:pt x="276" y="30"/>
                  </a:lnTo>
                  <a:lnTo>
                    <a:pt x="264" y="11"/>
                  </a:lnTo>
                  <a:lnTo>
                    <a:pt x="247" y="0"/>
                  </a:lnTo>
                  <a:lnTo>
                    <a:pt x="236" y="3"/>
                  </a:lnTo>
                  <a:lnTo>
                    <a:pt x="227" y="7"/>
                  </a:lnTo>
                  <a:lnTo>
                    <a:pt x="206" y="10"/>
                  </a:lnTo>
                  <a:lnTo>
                    <a:pt x="186" y="15"/>
                  </a:lnTo>
                  <a:lnTo>
                    <a:pt x="177" y="25"/>
                  </a:lnTo>
                  <a:lnTo>
                    <a:pt x="184" y="36"/>
                  </a:lnTo>
                  <a:lnTo>
                    <a:pt x="190" y="48"/>
                  </a:lnTo>
                  <a:lnTo>
                    <a:pt x="182" y="58"/>
                  </a:lnTo>
                  <a:lnTo>
                    <a:pt x="185" y="67"/>
                  </a:lnTo>
                  <a:lnTo>
                    <a:pt x="181" y="76"/>
                  </a:lnTo>
                  <a:lnTo>
                    <a:pt x="163" y="75"/>
                  </a:lnTo>
                  <a:lnTo>
                    <a:pt x="174" y="91"/>
                  </a:lnTo>
                  <a:lnTo>
                    <a:pt x="163" y="96"/>
                  </a:lnTo>
                  <a:lnTo>
                    <a:pt x="157" y="111"/>
                  </a:lnTo>
                  <a:lnTo>
                    <a:pt x="161" y="125"/>
                  </a:lnTo>
                  <a:lnTo>
                    <a:pt x="154" y="132"/>
                  </a:lnTo>
                  <a:lnTo>
                    <a:pt x="147" y="130"/>
                  </a:lnTo>
                  <a:lnTo>
                    <a:pt x="132" y="133"/>
                  </a:lnTo>
                  <a:lnTo>
                    <a:pt x="131" y="139"/>
                  </a:lnTo>
                  <a:lnTo>
                    <a:pt x="116" y="139"/>
                  </a:lnTo>
                  <a:lnTo>
                    <a:pt x="108" y="152"/>
                  </a:lnTo>
                  <a:lnTo>
                    <a:pt x="110" y="173"/>
                  </a:lnTo>
                  <a:lnTo>
                    <a:pt x="86" y="182"/>
                  </a:lnTo>
                  <a:lnTo>
                    <a:pt x="72" y="180"/>
                  </a:lnTo>
                  <a:lnTo>
                    <a:pt x="68" y="186"/>
                  </a:lnTo>
                  <a:lnTo>
                    <a:pt x="56" y="183"/>
                  </a:lnTo>
                  <a:lnTo>
                    <a:pt x="37" y="186"/>
                  </a:lnTo>
                  <a:lnTo>
                    <a:pt x="0" y="175"/>
                  </a:lnTo>
                  <a:lnTo>
                    <a:pt x="12" y="187"/>
                  </a:lnTo>
                  <a:lnTo>
                    <a:pt x="23" y="201"/>
                  </a:lnTo>
                  <a:lnTo>
                    <a:pt x="44" y="211"/>
                  </a:lnTo>
                  <a:lnTo>
                    <a:pt x="48" y="233"/>
                  </a:lnTo>
                  <a:lnTo>
                    <a:pt x="57" y="236"/>
                  </a:lnTo>
                  <a:lnTo>
                    <a:pt x="61" y="247"/>
                  </a:lnTo>
                  <a:lnTo>
                    <a:pt x="33" y="260"/>
                  </a:lnTo>
                  <a:lnTo>
                    <a:pt x="29" y="287"/>
                  </a:lnTo>
                  <a:lnTo>
                    <a:pt x="57" y="284"/>
                  </a:lnTo>
                  <a:lnTo>
                    <a:pt x="91" y="283"/>
                  </a:lnTo>
                  <a:lnTo>
                    <a:pt x="127" y="279"/>
                  </a:lnTo>
                  <a:lnTo>
                    <a:pt x="146" y="297"/>
                  </a:lnTo>
                  <a:lnTo>
                    <a:pt x="153" y="314"/>
                  </a:lnTo>
                  <a:lnTo>
                    <a:pt x="169" y="320"/>
                  </a:lnTo>
                  <a:lnTo>
                    <a:pt x="181" y="304"/>
                  </a:lnTo>
                  <a:lnTo>
                    <a:pt x="226" y="304"/>
                  </a:lnTo>
                  <a:lnTo>
                    <a:pt x="220" y="284"/>
                  </a:lnTo>
                  <a:lnTo>
                    <a:pt x="207" y="272"/>
                  </a:lnTo>
                  <a:lnTo>
                    <a:pt x="201" y="253"/>
                  </a:lnTo>
                  <a:lnTo>
                    <a:pt x="186" y="243"/>
                  </a:lnTo>
                  <a:lnTo>
                    <a:pt x="205" y="218"/>
                  </a:lnTo>
                  <a:lnTo>
                    <a:pt x="229" y="219"/>
                  </a:lnTo>
                  <a:lnTo>
                    <a:pt x="246" y="195"/>
                  </a:lnTo>
                  <a:lnTo>
                    <a:pt x="253" y="171"/>
                  </a:lnTo>
                  <a:lnTo>
                    <a:pt x="268" y="147"/>
                  </a:lnTo>
                  <a:lnTo>
                    <a:pt x="264" y="130"/>
                  </a:lnTo>
                  <a:lnTo>
                    <a:pt x="278" y="117"/>
                  </a:lnTo>
                  <a:lnTo>
                    <a:pt x="259" y="105"/>
                  </a:lnTo>
                  <a:lnTo>
                    <a:pt x="249" y="89"/>
                  </a:lnTo>
                  <a:lnTo>
                    <a:pt x="236" y="68"/>
                  </a:lnTo>
                  <a:lnTo>
                    <a:pt x="244" y="57"/>
                  </a:lnTo>
                  <a:lnTo>
                    <a:pt x="276" y="64"/>
                  </a:lnTo>
                  <a:lnTo>
                    <a:pt x="296" y="60"/>
                  </a:lnTo>
                  <a:lnTo>
                    <a:pt x="310" y="39"/>
                  </a:lnTo>
                  <a:lnTo>
                    <a:pt x="310" y="3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Panama"/>
            <p:cNvSpPr>
              <a:spLocks/>
            </p:cNvSpPr>
            <p:nvPr/>
          </p:nvSpPr>
          <p:spPr bwMode="auto">
            <a:xfrm>
              <a:off x="3246437" y="4121151"/>
              <a:ext cx="188912" cy="90488"/>
            </a:xfrm>
            <a:custGeom>
              <a:avLst/>
              <a:gdLst>
                <a:gd name="T0" fmla="*/ 117 w 119"/>
                <a:gd name="T1" fmla="*/ 22 h 57"/>
                <a:gd name="T2" fmla="*/ 110 w 119"/>
                <a:gd name="T3" fmla="*/ 15 h 57"/>
                <a:gd name="T4" fmla="*/ 103 w 119"/>
                <a:gd name="T5" fmla="*/ 8 h 57"/>
                <a:gd name="T6" fmla="*/ 94 w 119"/>
                <a:gd name="T7" fmla="*/ 4 h 57"/>
                <a:gd name="T8" fmla="*/ 83 w 119"/>
                <a:gd name="T9" fmla="*/ 3 h 57"/>
                <a:gd name="T10" fmla="*/ 84 w 119"/>
                <a:gd name="T11" fmla="*/ 1 h 57"/>
                <a:gd name="T12" fmla="*/ 73 w 119"/>
                <a:gd name="T13" fmla="*/ 0 h 57"/>
                <a:gd name="T14" fmla="*/ 65 w 119"/>
                <a:gd name="T15" fmla="*/ 7 h 57"/>
                <a:gd name="T16" fmla="*/ 52 w 119"/>
                <a:gd name="T17" fmla="*/ 12 h 57"/>
                <a:gd name="T18" fmla="*/ 43 w 119"/>
                <a:gd name="T19" fmla="*/ 17 h 57"/>
                <a:gd name="T20" fmla="*/ 32 w 119"/>
                <a:gd name="T21" fmla="*/ 19 h 57"/>
                <a:gd name="T22" fmla="*/ 27 w 119"/>
                <a:gd name="T23" fmla="*/ 14 h 57"/>
                <a:gd name="T24" fmla="*/ 25 w 119"/>
                <a:gd name="T25" fmla="*/ 15 h 57"/>
                <a:gd name="T26" fmla="*/ 17 w 119"/>
                <a:gd name="T27" fmla="*/ 14 h 57"/>
                <a:gd name="T28" fmla="*/ 17 w 119"/>
                <a:gd name="T29" fmla="*/ 9 h 57"/>
                <a:gd name="T30" fmla="*/ 10 w 119"/>
                <a:gd name="T31" fmla="*/ 0 h 57"/>
                <a:gd name="T32" fmla="*/ 2 w 119"/>
                <a:gd name="T33" fmla="*/ 3 h 57"/>
                <a:gd name="T34" fmla="*/ 2 w 119"/>
                <a:gd name="T35" fmla="*/ 13 h 57"/>
                <a:gd name="T36" fmla="*/ 5 w 119"/>
                <a:gd name="T37" fmla="*/ 16 h 57"/>
                <a:gd name="T38" fmla="*/ 3 w 119"/>
                <a:gd name="T39" fmla="*/ 18 h 57"/>
                <a:gd name="T40" fmla="*/ 3 w 119"/>
                <a:gd name="T41" fmla="*/ 23 h 57"/>
                <a:gd name="T42" fmla="*/ 1 w 119"/>
                <a:gd name="T43" fmla="*/ 28 h 57"/>
                <a:gd name="T44" fmla="*/ 0 w 119"/>
                <a:gd name="T45" fmla="*/ 32 h 57"/>
                <a:gd name="T46" fmla="*/ 2 w 119"/>
                <a:gd name="T47" fmla="*/ 36 h 57"/>
                <a:gd name="T48" fmla="*/ 3 w 119"/>
                <a:gd name="T49" fmla="*/ 31 h 57"/>
                <a:gd name="T50" fmla="*/ 12 w 119"/>
                <a:gd name="T51" fmla="*/ 31 h 57"/>
                <a:gd name="T52" fmla="*/ 17 w 119"/>
                <a:gd name="T53" fmla="*/ 33 h 57"/>
                <a:gd name="T54" fmla="*/ 26 w 119"/>
                <a:gd name="T55" fmla="*/ 35 h 57"/>
                <a:gd name="T56" fmla="*/ 30 w 119"/>
                <a:gd name="T57" fmla="*/ 44 h 57"/>
                <a:gd name="T58" fmla="*/ 36 w 119"/>
                <a:gd name="T59" fmla="*/ 46 h 57"/>
                <a:gd name="T60" fmla="*/ 39 w 119"/>
                <a:gd name="T61" fmla="*/ 42 h 57"/>
                <a:gd name="T62" fmla="*/ 42 w 119"/>
                <a:gd name="T63" fmla="*/ 57 h 57"/>
                <a:gd name="T64" fmla="*/ 52 w 119"/>
                <a:gd name="T65" fmla="*/ 56 h 57"/>
                <a:gd name="T66" fmla="*/ 55 w 119"/>
                <a:gd name="T67" fmla="*/ 52 h 57"/>
                <a:gd name="T68" fmla="*/ 60 w 119"/>
                <a:gd name="T69" fmla="*/ 48 h 57"/>
                <a:gd name="T70" fmla="*/ 51 w 119"/>
                <a:gd name="T71" fmla="*/ 36 h 57"/>
                <a:gd name="T72" fmla="*/ 54 w 119"/>
                <a:gd name="T73" fmla="*/ 31 h 57"/>
                <a:gd name="T74" fmla="*/ 59 w 119"/>
                <a:gd name="T75" fmla="*/ 29 h 57"/>
                <a:gd name="T76" fmla="*/ 67 w 119"/>
                <a:gd name="T77" fmla="*/ 24 h 57"/>
                <a:gd name="T78" fmla="*/ 72 w 119"/>
                <a:gd name="T79" fmla="*/ 15 h 57"/>
                <a:gd name="T80" fmla="*/ 81 w 119"/>
                <a:gd name="T81" fmla="*/ 14 h 57"/>
                <a:gd name="T82" fmla="*/ 91 w 119"/>
                <a:gd name="T83" fmla="*/ 21 h 57"/>
                <a:gd name="T84" fmla="*/ 95 w 119"/>
                <a:gd name="T85" fmla="*/ 28 h 57"/>
                <a:gd name="T86" fmla="*/ 100 w 119"/>
                <a:gd name="T87" fmla="*/ 30 h 57"/>
                <a:gd name="T88" fmla="*/ 94 w 119"/>
                <a:gd name="T89" fmla="*/ 37 h 57"/>
                <a:gd name="T90" fmla="*/ 98 w 119"/>
                <a:gd name="T91" fmla="*/ 50 h 57"/>
                <a:gd name="T92" fmla="*/ 104 w 119"/>
                <a:gd name="T93" fmla="*/ 57 h 57"/>
                <a:gd name="T94" fmla="*/ 108 w 119"/>
                <a:gd name="T95" fmla="*/ 44 h 57"/>
                <a:gd name="T96" fmla="*/ 115 w 119"/>
                <a:gd name="T97" fmla="*/ 46 h 57"/>
                <a:gd name="T98" fmla="*/ 119 w 119"/>
                <a:gd name="T99" fmla="*/ 40 h 57"/>
                <a:gd name="T100" fmla="*/ 115 w 119"/>
                <a:gd name="T101" fmla="*/ 26 h 57"/>
                <a:gd name="T102" fmla="*/ 117 w 119"/>
                <a:gd name="T103"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57">
                  <a:moveTo>
                    <a:pt x="117" y="22"/>
                  </a:moveTo>
                  <a:lnTo>
                    <a:pt x="110" y="15"/>
                  </a:lnTo>
                  <a:lnTo>
                    <a:pt x="103" y="8"/>
                  </a:lnTo>
                  <a:lnTo>
                    <a:pt x="94" y="4"/>
                  </a:lnTo>
                  <a:lnTo>
                    <a:pt x="83" y="3"/>
                  </a:lnTo>
                  <a:lnTo>
                    <a:pt x="84" y="1"/>
                  </a:lnTo>
                  <a:lnTo>
                    <a:pt x="73" y="0"/>
                  </a:lnTo>
                  <a:lnTo>
                    <a:pt x="65" y="7"/>
                  </a:lnTo>
                  <a:lnTo>
                    <a:pt x="52" y="12"/>
                  </a:lnTo>
                  <a:lnTo>
                    <a:pt x="43" y="17"/>
                  </a:lnTo>
                  <a:lnTo>
                    <a:pt x="32" y="19"/>
                  </a:lnTo>
                  <a:lnTo>
                    <a:pt x="27" y="14"/>
                  </a:lnTo>
                  <a:lnTo>
                    <a:pt x="25" y="15"/>
                  </a:lnTo>
                  <a:lnTo>
                    <a:pt x="17" y="14"/>
                  </a:lnTo>
                  <a:lnTo>
                    <a:pt x="17" y="9"/>
                  </a:lnTo>
                  <a:lnTo>
                    <a:pt x="10" y="0"/>
                  </a:lnTo>
                  <a:lnTo>
                    <a:pt x="2" y="3"/>
                  </a:lnTo>
                  <a:lnTo>
                    <a:pt x="2" y="13"/>
                  </a:lnTo>
                  <a:lnTo>
                    <a:pt x="5" y="16"/>
                  </a:lnTo>
                  <a:lnTo>
                    <a:pt x="3" y="18"/>
                  </a:lnTo>
                  <a:lnTo>
                    <a:pt x="3" y="23"/>
                  </a:lnTo>
                  <a:lnTo>
                    <a:pt x="1" y="28"/>
                  </a:lnTo>
                  <a:lnTo>
                    <a:pt x="0" y="32"/>
                  </a:lnTo>
                  <a:lnTo>
                    <a:pt x="2" y="36"/>
                  </a:lnTo>
                  <a:lnTo>
                    <a:pt x="3" y="31"/>
                  </a:lnTo>
                  <a:lnTo>
                    <a:pt x="12" y="31"/>
                  </a:lnTo>
                  <a:lnTo>
                    <a:pt x="17" y="33"/>
                  </a:lnTo>
                  <a:lnTo>
                    <a:pt x="26" y="35"/>
                  </a:lnTo>
                  <a:lnTo>
                    <a:pt x="30" y="44"/>
                  </a:lnTo>
                  <a:lnTo>
                    <a:pt x="36" y="46"/>
                  </a:lnTo>
                  <a:lnTo>
                    <a:pt x="39" y="42"/>
                  </a:lnTo>
                  <a:lnTo>
                    <a:pt x="42" y="57"/>
                  </a:lnTo>
                  <a:lnTo>
                    <a:pt x="52" y="56"/>
                  </a:lnTo>
                  <a:lnTo>
                    <a:pt x="55" y="52"/>
                  </a:lnTo>
                  <a:lnTo>
                    <a:pt x="60" y="48"/>
                  </a:lnTo>
                  <a:lnTo>
                    <a:pt x="51" y="36"/>
                  </a:lnTo>
                  <a:lnTo>
                    <a:pt x="54" y="31"/>
                  </a:lnTo>
                  <a:lnTo>
                    <a:pt x="59" y="29"/>
                  </a:lnTo>
                  <a:lnTo>
                    <a:pt x="67" y="24"/>
                  </a:lnTo>
                  <a:lnTo>
                    <a:pt x="72" y="15"/>
                  </a:lnTo>
                  <a:lnTo>
                    <a:pt x="81" y="14"/>
                  </a:lnTo>
                  <a:lnTo>
                    <a:pt x="91" y="21"/>
                  </a:lnTo>
                  <a:lnTo>
                    <a:pt x="95" y="28"/>
                  </a:lnTo>
                  <a:lnTo>
                    <a:pt x="100" y="30"/>
                  </a:lnTo>
                  <a:lnTo>
                    <a:pt x="94" y="37"/>
                  </a:lnTo>
                  <a:lnTo>
                    <a:pt x="98" y="50"/>
                  </a:lnTo>
                  <a:lnTo>
                    <a:pt x="104" y="57"/>
                  </a:lnTo>
                  <a:lnTo>
                    <a:pt x="108" y="44"/>
                  </a:lnTo>
                  <a:lnTo>
                    <a:pt x="115" y="46"/>
                  </a:lnTo>
                  <a:lnTo>
                    <a:pt x="119" y="40"/>
                  </a:lnTo>
                  <a:lnTo>
                    <a:pt x="115" y="26"/>
                  </a:lnTo>
                  <a:lnTo>
                    <a:pt x="117" y="2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Peru"/>
            <p:cNvSpPr>
              <a:spLocks/>
            </p:cNvSpPr>
            <p:nvPr/>
          </p:nvSpPr>
          <p:spPr bwMode="auto">
            <a:xfrm>
              <a:off x="3292475" y="4484688"/>
              <a:ext cx="438150" cy="690563"/>
            </a:xfrm>
            <a:custGeom>
              <a:avLst/>
              <a:gdLst>
                <a:gd name="T0" fmla="*/ 230 w 276"/>
                <a:gd name="T1" fmla="*/ 88 h 435"/>
                <a:gd name="T2" fmla="*/ 237 w 276"/>
                <a:gd name="T3" fmla="*/ 64 h 435"/>
                <a:gd name="T4" fmla="*/ 208 w 276"/>
                <a:gd name="T5" fmla="*/ 54 h 435"/>
                <a:gd name="T6" fmla="*/ 189 w 276"/>
                <a:gd name="T7" fmla="*/ 57 h 435"/>
                <a:gd name="T8" fmla="*/ 160 w 276"/>
                <a:gd name="T9" fmla="*/ 29 h 435"/>
                <a:gd name="T10" fmla="*/ 143 w 276"/>
                <a:gd name="T11" fmla="*/ 11 h 435"/>
                <a:gd name="T12" fmla="*/ 124 w 276"/>
                <a:gd name="T13" fmla="*/ 2 h 435"/>
                <a:gd name="T14" fmla="*/ 121 w 276"/>
                <a:gd name="T15" fmla="*/ 36 h 435"/>
                <a:gd name="T16" fmla="*/ 73 w 276"/>
                <a:gd name="T17" fmla="*/ 70 h 435"/>
                <a:gd name="T18" fmla="*/ 58 w 276"/>
                <a:gd name="T19" fmla="*/ 107 h 435"/>
                <a:gd name="T20" fmla="*/ 37 w 276"/>
                <a:gd name="T21" fmla="*/ 105 h 435"/>
                <a:gd name="T22" fmla="*/ 19 w 276"/>
                <a:gd name="T23" fmla="*/ 104 h 435"/>
                <a:gd name="T24" fmla="*/ 25 w 276"/>
                <a:gd name="T25" fmla="*/ 90 h 435"/>
                <a:gd name="T26" fmla="*/ 5 w 276"/>
                <a:gd name="T27" fmla="*/ 95 h 435"/>
                <a:gd name="T28" fmla="*/ 11 w 276"/>
                <a:gd name="T29" fmla="*/ 135 h 435"/>
                <a:gd name="T30" fmla="*/ 19 w 276"/>
                <a:gd name="T31" fmla="*/ 154 h 435"/>
                <a:gd name="T32" fmla="*/ 44 w 276"/>
                <a:gd name="T33" fmla="*/ 187 h 435"/>
                <a:gd name="T34" fmla="*/ 75 w 276"/>
                <a:gd name="T35" fmla="*/ 246 h 435"/>
                <a:gd name="T36" fmla="*/ 118 w 276"/>
                <a:gd name="T37" fmla="*/ 320 h 435"/>
                <a:gd name="T38" fmla="*/ 126 w 276"/>
                <a:gd name="T39" fmla="*/ 348 h 435"/>
                <a:gd name="T40" fmla="*/ 184 w 276"/>
                <a:gd name="T41" fmla="*/ 388 h 435"/>
                <a:gd name="T42" fmla="*/ 229 w 276"/>
                <a:gd name="T43" fmla="*/ 421 h 435"/>
                <a:gd name="T44" fmla="*/ 261 w 276"/>
                <a:gd name="T45" fmla="*/ 429 h 435"/>
                <a:gd name="T46" fmla="*/ 276 w 276"/>
                <a:gd name="T47" fmla="*/ 391 h 435"/>
                <a:gd name="T48" fmla="*/ 270 w 276"/>
                <a:gd name="T49" fmla="*/ 363 h 435"/>
                <a:gd name="T50" fmla="*/ 272 w 276"/>
                <a:gd name="T51" fmla="*/ 342 h 435"/>
                <a:gd name="T52" fmla="*/ 271 w 276"/>
                <a:gd name="T53" fmla="*/ 306 h 435"/>
                <a:gd name="T54" fmla="*/ 255 w 276"/>
                <a:gd name="T55" fmla="*/ 259 h 435"/>
                <a:gd name="T56" fmla="*/ 234 w 276"/>
                <a:gd name="T57" fmla="*/ 261 h 435"/>
                <a:gd name="T58" fmla="*/ 216 w 276"/>
                <a:gd name="T59" fmla="*/ 238 h 435"/>
                <a:gd name="T60" fmla="*/ 189 w 276"/>
                <a:gd name="T61" fmla="*/ 225 h 435"/>
                <a:gd name="T62" fmla="*/ 180 w 276"/>
                <a:gd name="T63" fmla="*/ 213 h 435"/>
                <a:gd name="T64" fmla="*/ 157 w 276"/>
                <a:gd name="T65" fmla="*/ 178 h 435"/>
                <a:gd name="T66" fmla="*/ 163 w 276"/>
                <a:gd name="T67" fmla="*/ 164 h 435"/>
                <a:gd name="T68" fmla="*/ 172 w 276"/>
                <a:gd name="T69" fmla="*/ 144 h 435"/>
                <a:gd name="T70" fmla="*/ 179 w 276"/>
                <a:gd name="T71" fmla="*/ 124 h 435"/>
                <a:gd name="T72" fmla="*/ 219 w 276"/>
                <a:gd name="T73" fmla="*/ 104 h 435"/>
                <a:gd name="T74" fmla="*/ 241 w 276"/>
                <a:gd name="T75" fmla="*/ 1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435">
                  <a:moveTo>
                    <a:pt x="241" y="101"/>
                  </a:moveTo>
                  <a:lnTo>
                    <a:pt x="230" y="88"/>
                  </a:lnTo>
                  <a:lnTo>
                    <a:pt x="224" y="88"/>
                  </a:lnTo>
                  <a:lnTo>
                    <a:pt x="237" y="64"/>
                  </a:lnTo>
                  <a:lnTo>
                    <a:pt x="220" y="53"/>
                  </a:lnTo>
                  <a:lnTo>
                    <a:pt x="208" y="54"/>
                  </a:lnTo>
                  <a:lnTo>
                    <a:pt x="200" y="51"/>
                  </a:lnTo>
                  <a:lnTo>
                    <a:pt x="189" y="57"/>
                  </a:lnTo>
                  <a:lnTo>
                    <a:pt x="173" y="54"/>
                  </a:lnTo>
                  <a:lnTo>
                    <a:pt x="160" y="29"/>
                  </a:lnTo>
                  <a:lnTo>
                    <a:pt x="150" y="23"/>
                  </a:lnTo>
                  <a:lnTo>
                    <a:pt x="143" y="11"/>
                  </a:lnTo>
                  <a:lnTo>
                    <a:pt x="129" y="0"/>
                  </a:lnTo>
                  <a:lnTo>
                    <a:pt x="124" y="2"/>
                  </a:lnTo>
                  <a:lnTo>
                    <a:pt x="128" y="21"/>
                  </a:lnTo>
                  <a:lnTo>
                    <a:pt x="121" y="36"/>
                  </a:lnTo>
                  <a:lnTo>
                    <a:pt x="99" y="61"/>
                  </a:lnTo>
                  <a:lnTo>
                    <a:pt x="73" y="70"/>
                  </a:lnTo>
                  <a:lnTo>
                    <a:pt x="61" y="91"/>
                  </a:lnTo>
                  <a:lnTo>
                    <a:pt x="58" y="107"/>
                  </a:lnTo>
                  <a:lnTo>
                    <a:pt x="46" y="117"/>
                  </a:lnTo>
                  <a:lnTo>
                    <a:pt x="37" y="105"/>
                  </a:lnTo>
                  <a:lnTo>
                    <a:pt x="29" y="102"/>
                  </a:lnTo>
                  <a:lnTo>
                    <a:pt x="19" y="104"/>
                  </a:lnTo>
                  <a:lnTo>
                    <a:pt x="19" y="95"/>
                  </a:lnTo>
                  <a:lnTo>
                    <a:pt x="25" y="90"/>
                  </a:lnTo>
                  <a:lnTo>
                    <a:pt x="22" y="80"/>
                  </a:lnTo>
                  <a:lnTo>
                    <a:pt x="5" y="95"/>
                  </a:lnTo>
                  <a:lnTo>
                    <a:pt x="0" y="111"/>
                  </a:lnTo>
                  <a:lnTo>
                    <a:pt x="11" y="135"/>
                  </a:lnTo>
                  <a:lnTo>
                    <a:pt x="4" y="145"/>
                  </a:lnTo>
                  <a:lnTo>
                    <a:pt x="19" y="154"/>
                  </a:lnTo>
                  <a:lnTo>
                    <a:pt x="36" y="170"/>
                  </a:lnTo>
                  <a:lnTo>
                    <a:pt x="44" y="187"/>
                  </a:lnTo>
                  <a:lnTo>
                    <a:pt x="53" y="198"/>
                  </a:lnTo>
                  <a:lnTo>
                    <a:pt x="75" y="246"/>
                  </a:lnTo>
                  <a:lnTo>
                    <a:pt x="99" y="290"/>
                  </a:lnTo>
                  <a:lnTo>
                    <a:pt x="118" y="320"/>
                  </a:lnTo>
                  <a:lnTo>
                    <a:pt x="115" y="327"/>
                  </a:lnTo>
                  <a:lnTo>
                    <a:pt x="126" y="348"/>
                  </a:lnTo>
                  <a:lnTo>
                    <a:pt x="143" y="362"/>
                  </a:lnTo>
                  <a:lnTo>
                    <a:pt x="184" y="388"/>
                  </a:lnTo>
                  <a:lnTo>
                    <a:pt x="227" y="411"/>
                  </a:lnTo>
                  <a:lnTo>
                    <a:pt x="229" y="421"/>
                  </a:lnTo>
                  <a:lnTo>
                    <a:pt x="251" y="435"/>
                  </a:lnTo>
                  <a:lnTo>
                    <a:pt x="261" y="429"/>
                  </a:lnTo>
                  <a:lnTo>
                    <a:pt x="266" y="417"/>
                  </a:lnTo>
                  <a:lnTo>
                    <a:pt x="276" y="391"/>
                  </a:lnTo>
                  <a:lnTo>
                    <a:pt x="266" y="371"/>
                  </a:lnTo>
                  <a:lnTo>
                    <a:pt x="270" y="363"/>
                  </a:lnTo>
                  <a:lnTo>
                    <a:pt x="266" y="354"/>
                  </a:lnTo>
                  <a:lnTo>
                    <a:pt x="272" y="342"/>
                  </a:lnTo>
                  <a:lnTo>
                    <a:pt x="271" y="322"/>
                  </a:lnTo>
                  <a:lnTo>
                    <a:pt x="271" y="306"/>
                  </a:lnTo>
                  <a:lnTo>
                    <a:pt x="275" y="297"/>
                  </a:lnTo>
                  <a:lnTo>
                    <a:pt x="255" y="259"/>
                  </a:lnTo>
                  <a:lnTo>
                    <a:pt x="243" y="264"/>
                  </a:lnTo>
                  <a:lnTo>
                    <a:pt x="234" y="261"/>
                  </a:lnTo>
                  <a:lnTo>
                    <a:pt x="233" y="224"/>
                  </a:lnTo>
                  <a:lnTo>
                    <a:pt x="216" y="238"/>
                  </a:lnTo>
                  <a:lnTo>
                    <a:pt x="199" y="237"/>
                  </a:lnTo>
                  <a:lnTo>
                    <a:pt x="189" y="225"/>
                  </a:lnTo>
                  <a:lnTo>
                    <a:pt x="176" y="224"/>
                  </a:lnTo>
                  <a:lnTo>
                    <a:pt x="180" y="213"/>
                  </a:lnTo>
                  <a:lnTo>
                    <a:pt x="167" y="199"/>
                  </a:lnTo>
                  <a:lnTo>
                    <a:pt x="157" y="178"/>
                  </a:lnTo>
                  <a:lnTo>
                    <a:pt x="163" y="174"/>
                  </a:lnTo>
                  <a:lnTo>
                    <a:pt x="163" y="164"/>
                  </a:lnTo>
                  <a:lnTo>
                    <a:pt x="175" y="156"/>
                  </a:lnTo>
                  <a:lnTo>
                    <a:pt x="172" y="144"/>
                  </a:lnTo>
                  <a:lnTo>
                    <a:pt x="177" y="136"/>
                  </a:lnTo>
                  <a:lnTo>
                    <a:pt x="179" y="124"/>
                  </a:lnTo>
                  <a:lnTo>
                    <a:pt x="202" y="109"/>
                  </a:lnTo>
                  <a:lnTo>
                    <a:pt x="219" y="104"/>
                  </a:lnTo>
                  <a:lnTo>
                    <a:pt x="222" y="100"/>
                  </a:lnTo>
                  <a:lnTo>
                    <a:pt x="241" y="101"/>
                  </a:lnTo>
                  <a:lnTo>
                    <a:pt x="241" y="10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2" name="The Philippines"/>
            <p:cNvSpPr>
              <a:spLocks noEditPoints="1"/>
            </p:cNvSpPr>
            <p:nvPr/>
          </p:nvSpPr>
          <p:spPr bwMode="auto">
            <a:xfrm>
              <a:off x="9891712" y="3786188"/>
              <a:ext cx="314325" cy="487363"/>
            </a:xfrm>
            <a:custGeom>
              <a:avLst/>
              <a:gdLst>
                <a:gd name="T0" fmla="*/ 191 w 198"/>
                <a:gd name="T1" fmla="*/ 230 h 307"/>
                <a:gd name="T2" fmla="*/ 170 w 198"/>
                <a:gd name="T3" fmla="*/ 207 h 307"/>
                <a:gd name="T4" fmla="*/ 158 w 198"/>
                <a:gd name="T5" fmla="*/ 226 h 307"/>
                <a:gd name="T6" fmla="*/ 140 w 198"/>
                <a:gd name="T7" fmla="*/ 243 h 307"/>
                <a:gd name="T8" fmla="*/ 122 w 198"/>
                <a:gd name="T9" fmla="*/ 241 h 307"/>
                <a:gd name="T10" fmla="*/ 101 w 198"/>
                <a:gd name="T11" fmla="*/ 268 h 307"/>
                <a:gd name="T12" fmla="*/ 120 w 198"/>
                <a:gd name="T13" fmla="*/ 262 h 307"/>
                <a:gd name="T14" fmla="*/ 136 w 198"/>
                <a:gd name="T15" fmla="*/ 253 h 307"/>
                <a:gd name="T16" fmla="*/ 144 w 198"/>
                <a:gd name="T17" fmla="*/ 276 h 307"/>
                <a:gd name="T18" fmla="*/ 177 w 198"/>
                <a:gd name="T19" fmla="*/ 307 h 307"/>
                <a:gd name="T20" fmla="*/ 174 w 198"/>
                <a:gd name="T21" fmla="*/ 278 h 307"/>
                <a:gd name="T22" fmla="*/ 193 w 198"/>
                <a:gd name="T23" fmla="*/ 290 h 307"/>
                <a:gd name="T24" fmla="*/ 196 w 198"/>
                <a:gd name="T25" fmla="*/ 255 h 307"/>
                <a:gd name="T26" fmla="*/ 193 w 198"/>
                <a:gd name="T27" fmla="*/ 239 h 307"/>
                <a:gd name="T28" fmla="*/ 138 w 198"/>
                <a:gd name="T29" fmla="*/ 172 h 307"/>
                <a:gd name="T30" fmla="*/ 127 w 198"/>
                <a:gd name="T31" fmla="*/ 179 h 307"/>
                <a:gd name="T32" fmla="*/ 115 w 198"/>
                <a:gd name="T33" fmla="*/ 196 h 307"/>
                <a:gd name="T34" fmla="*/ 107 w 198"/>
                <a:gd name="T35" fmla="*/ 209 h 307"/>
                <a:gd name="T36" fmla="*/ 127 w 198"/>
                <a:gd name="T37" fmla="*/ 218 h 307"/>
                <a:gd name="T38" fmla="*/ 138 w 198"/>
                <a:gd name="T39" fmla="*/ 195 h 307"/>
                <a:gd name="T40" fmla="*/ 26 w 198"/>
                <a:gd name="T41" fmla="*/ 218 h 307"/>
                <a:gd name="T42" fmla="*/ 49 w 198"/>
                <a:gd name="T43" fmla="*/ 188 h 307"/>
                <a:gd name="T44" fmla="*/ 34 w 198"/>
                <a:gd name="T45" fmla="*/ 192 h 307"/>
                <a:gd name="T46" fmla="*/ 10 w 198"/>
                <a:gd name="T47" fmla="*/ 224 h 307"/>
                <a:gd name="T48" fmla="*/ 26 w 198"/>
                <a:gd name="T49" fmla="*/ 218 h 307"/>
                <a:gd name="T50" fmla="*/ 92 w 198"/>
                <a:gd name="T51" fmla="*/ 156 h 307"/>
                <a:gd name="T52" fmla="*/ 96 w 198"/>
                <a:gd name="T53" fmla="*/ 180 h 307"/>
                <a:gd name="T54" fmla="*/ 110 w 198"/>
                <a:gd name="T55" fmla="*/ 183 h 307"/>
                <a:gd name="T56" fmla="*/ 118 w 198"/>
                <a:gd name="T57" fmla="*/ 164 h 307"/>
                <a:gd name="T58" fmla="*/ 92 w 198"/>
                <a:gd name="T59" fmla="*/ 156 h 307"/>
                <a:gd name="T60" fmla="*/ 166 w 198"/>
                <a:gd name="T61" fmla="*/ 150 h 307"/>
                <a:gd name="T62" fmla="*/ 139 w 198"/>
                <a:gd name="T63" fmla="*/ 141 h 307"/>
                <a:gd name="T64" fmla="*/ 155 w 198"/>
                <a:gd name="T65" fmla="*/ 168 h 307"/>
                <a:gd name="T66" fmla="*/ 148 w 198"/>
                <a:gd name="T67" fmla="*/ 181 h 307"/>
                <a:gd name="T68" fmla="*/ 156 w 198"/>
                <a:gd name="T69" fmla="*/ 198 h 307"/>
                <a:gd name="T70" fmla="*/ 159 w 198"/>
                <a:gd name="T71" fmla="*/ 178 h 307"/>
                <a:gd name="T72" fmla="*/ 175 w 198"/>
                <a:gd name="T73" fmla="*/ 177 h 307"/>
                <a:gd name="T74" fmla="*/ 166 w 198"/>
                <a:gd name="T75" fmla="*/ 150 h 307"/>
                <a:gd name="T76" fmla="*/ 72 w 198"/>
                <a:gd name="T77" fmla="*/ 120 h 307"/>
                <a:gd name="T78" fmla="*/ 68 w 198"/>
                <a:gd name="T79" fmla="*/ 137 h 307"/>
                <a:gd name="T80" fmla="*/ 81 w 198"/>
                <a:gd name="T81" fmla="*/ 128 h 307"/>
                <a:gd name="T82" fmla="*/ 56 w 198"/>
                <a:gd name="T83" fmla="*/ 0 h 307"/>
                <a:gd name="T84" fmla="*/ 41 w 198"/>
                <a:gd name="T85" fmla="*/ 21 h 307"/>
                <a:gd name="T86" fmla="*/ 36 w 198"/>
                <a:gd name="T87" fmla="*/ 50 h 307"/>
                <a:gd name="T88" fmla="*/ 44 w 198"/>
                <a:gd name="T89" fmla="*/ 84 h 307"/>
                <a:gd name="T90" fmla="*/ 58 w 198"/>
                <a:gd name="T91" fmla="*/ 88 h 307"/>
                <a:gd name="T92" fmla="*/ 59 w 198"/>
                <a:gd name="T93" fmla="*/ 100 h 307"/>
                <a:gd name="T94" fmla="*/ 70 w 198"/>
                <a:gd name="T95" fmla="*/ 115 h 307"/>
                <a:gd name="T96" fmla="*/ 104 w 198"/>
                <a:gd name="T97" fmla="*/ 126 h 307"/>
                <a:gd name="T98" fmla="*/ 118 w 198"/>
                <a:gd name="T99" fmla="*/ 129 h 307"/>
                <a:gd name="T100" fmla="*/ 137 w 198"/>
                <a:gd name="T101" fmla="*/ 130 h 307"/>
                <a:gd name="T102" fmla="*/ 129 w 198"/>
                <a:gd name="T103" fmla="*/ 112 h 307"/>
                <a:gd name="T104" fmla="*/ 93 w 198"/>
                <a:gd name="T105" fmla="*/ 101 h 307"/>
                <a:gd name="T106" fmla="*/ 73 w 198"/>
                <a:gd name="T107" fmla="*/ 80 h 307"/>
                <a:gd name="T108" fmla="*/ 85 w 198"/>
                <a:gd name="T109" fmla="*/ 53 h 307"/>
                <a:gd name="T110" fmla="*/ 77 w 198"/>
                <a:gd name="T111" fmla="*/ 15 h 307"/>
                <a:gd name="T112" fmla="*/ 76 w 198"/>
                <a:gd name="T113" fmla="*/ 0 h 307"/>
                <a:gd name="T114" fmla="*/ 56 w 198"/>
                <a:gd name="T11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07">
                  <a:moveTo>
                    <a:pt x="193" y="239"/>
                  </a:moveTo>
                  <a:lnTo>
                    <a:pt x="191" y="230"/>
                  </a:lnTo>
                  <a:lnTo>
                    <a:pt x="188" y="218"/>
                  </a:lnTo>
                  <a:lnTo>
                    <a:pt x="170" y="207"/>
                  </a:lnTo>
                  <a:lnTo>
                    <a:pt x="173" y="225"/>
                  </a:lnTo>
                  <a:lnTo>
                    <a:pt x="158" y="226"/>
                  </a:lnTo>
                  <a:lnTo>
                    <a:pt x="155" y="237"/>
                  </a:lnTo>
                  <a:lnTo>
                    <a:pt x="140" y="243"/>
                  </a:lnTo>
                  <a:lnTo>
                    <a:pt x="132" y="233"/>
                  </a:lnTo>
                  <a:lnTo>
                    <a:pt x="122" y="241"/>
                  </a:lnTo>
                  <a:lnTo>
                    <a:pt x="109" y="248"/>
                  </a:lnTo>
                  <a:lnTo>
                    <a:pt x="101" y="268"/>
                  </a:lnTo>
                  <a:lnTo>
                    <a:pt x="106" y="275"/>
                  </a:lnTo>
                  <a:lnTo>
                    <a:pt x="120" y="262"/>
                  </a:lnTo>
                  <a:lnTo>
                    <a:pt x="130" y="263"/>
                  </a:lnTo>
                  <a:lnTo>
                    <a:pt x="136" y="253"/>
                  </a:lnTo>
                  <a:lnTo>
                    <a:pt x="150" y="264"/>
                  </a:lnTo>
                  <a:lnTo>
                    <a:pt x="144" y="276"/>
                  </a:lnTo>
                  <a:lnTo>
                    <a:pt x="152" y="293"/>
                  </a:lnTo>
                  <a:lnTo>
                    <a:pt x="177" y="307"/>
                  </a:lnTo>
                  <a:lnTo>
                    <a:pt x="182" y="296"/>
                  </a:lnTo>
                  <a:lnTo>
                    <a:pt x="174" y="278"/>
                  </a:lnTo>
                  <a:lnTo>
                    <a:pt x="183" y="266"/>
                  </a:lnTo>
                  <a:lnTo>
                    <a:pt x="193" y="290"/>
                  </a:lnTo>
                  <a:lnTo>
                    <a:pt x="198" y="268"/>
                  </a:lnTo>
                  <a:lnTo>
                    <a:pt x="196" y="255"/>
                  </a:lnTo>
                  <a:lnTo>
                    <a:pt x="193" y="239"/>
                  </a:lnTo>
                  <a:lnTo>
                    <a:pt x="193" y="239"/>
                  </a:lnTo>
                  <a:close/>
                  <a:moveTo>
                    <a:pt x="138" y="195"/>
                  </a:moveTo>
                  <a:lnTo>
                    <a:pt x="138" y="172"/>
                  </a:lnTo>
                  <a:lnTo>
                    <a:pt x="125" y="195"/>
                  </a:lnTo>
                  <a:lnTo>
                    <a:pt x="127" y="179"/>
                  </a:lnTo>
                  <a:lnTo>
                    <a:pt x="116" y="181"/>
                  </a:lnTo>
                  <a:lnTo>
                    <a:pt x="115" y="196"/>
                  </a:lnTo>
                  <a:lnTo>
                    <a:pt x="110" y="202"/>
                  </a:lnTo>
                  <a:lnTo>
                    <a:pt x="107" y="209"/>
                  </a:lnTo>
                  <a:lnTo>
                    <a:pt x="121" y="225"/>
                  </a:lnTo>
                  <a:lnTo>
                    <a:pt x="127" y="218"/>
                  </a:lnTo>
                  <a:lnTo>
                    <a:pt x="132" y="203"/>
                  </a:lnTo>
                  <a:lnTo>
                    <a:pt x="138" y="195"/>
                  </a:lnTo>
                  <a:lnTo>
                    <a:pt x="138" y="195"/>
                  </a:lnTo>
                  <a:close/>
                  <a:moveTo>
                    <a:pt x="26" y="218"/>
                  </a:moveTo>
                  <a:lnTo>
                    <a:pt x="36" y="201"/>
                  </a:lnTo>
                  <a:lnTo>
                    <a:pt x="49" y="188"/>
                  </a:lnTo>
                  <a:lnTo>
                    <a:pt x="43" y="169"/>
                  </a:lnTo>
                  <a:lnTo>
                    <a:pt x="34" y="192"/>
                  </a:lnTo>
                  <a:lnTo>
                    <a:pt x="24" y="209"/>
                  </a:lnTo>
                  <a:lnTo>
                    <a:pt x="10" y="224"/>
                  </a:lnTo>
                  <a:lnTo>
                    <a:pt x="0" y="240"/>
                  </a:lnTo>
                  <a:lnTo>
                    <a:pt x="26" y="218"/>
                  </a:lnTo>
                  <a:lnTo>
                    <a:pt x="26" y="218"/>
                  </a:lnTo>
                  <a:close/>
                  <a:moveTo>
                    <a:pt x="92" y="156"/>
                  </a:moveTo>
                  <a:lnTo>
                    <a:pt x="96" y="168"/>
                  </a:lnTo>
                  <a:lnTo>
                    <a:pt x="96" y="180"/>
                  </a:lnTo>
                  <a:lnTo>
                    <a:pt x="97" y="191"/>
                  </a:lnTo>
                  <a:lnTo>
                    <a:pt x="110" y="183"/>
                  </a:lnTo>
                  <a:lnTo>
                    <a:pt x="119" y="173"/>
                  </a:lnTo>
                  <a:lnTo>
                    <a:pt x="118" y="164"/>
                  </a:lnTo>
                  <a:lnTo>
                    <a:pt x="105" y="164"/>
                  </a:lnTo>
                  <a:lnTo>
                    <a:pt x="92" y="156"/>
                  </a:lnTo>
                  <a:lnTo>
                    <a:pt x="92" y="156"/>
                  </a:lnTo>
                  <a:close/>
                  <a:moveTo>
                    <a:pt x="166" y="150"/>
                  </a:moveTo>
                  <a:lnTo>
                    <a:pt x="159" y="141"/>
                  </a:lnTo>
                  <a:lnTo>
                    <a:pt x="139" y="141"/>
                  </a:lnTo>
                  <a:lnTo>
                    <a:pt x="154" y="158"/>
                  </a:lnTo>
                  <a:lnTo>
                    <a:pt x="155" y="168"/>
                  </a:lnTo>
                  <a:lnTo>
                    <a:pt x="143" y="166"/>
                  </a:lnTo>
                  <a:lnTo>
                    <a:pt x="148" y="181"/>
                  </a:lnTo>
                  <a:lnTo>
                    <a:pt x="153" y="182"/>
                  </a:lnTo>
                  <a:lnTo>
                    <a:pt x="156" y="198"/>
                  </a:lnTo>
                  <a:lnTo>
                    <a:pt x="166" y="193"/>
                  </a:lnTo>
                  <a:lnTo>
                    <a:pt x="159" y="178"/>
                  </a:lnTo>
                  <a:lnTo>
                    <a:pt x="158" y="170"/>
                  </a:lnTo>
                  <a:lnTo>
                    <a:pt x="175" y="177"/>
                  </a:lnTo>
                  <a:lnTo>
                    <a:pt x="166" y="150"/>
                  </a:lnTo>
                  <a:lnTo>
                    <a:pt x="166" y="150"/>
                  </a:lnTo>
                  <a:close/>
                  <a:moveTo>
                    <a:pt x="81" y="128"/>
                  </a:moveTo>
                  <a:lnTo>
                    <a:pt x="72" y="120"/>
                  </a:lnTo>
                  <a:lnTo>
                    <a:pt x="54" y="119"/>
                  </a:lnTo>
                  <a:lnTo>
                    <a:pt x="68" y="137"/>
                  </a:lnTo>
                  <a:lnTo>
                    <a:pt x="78" y="149"/>
                  </a:lnTo>
                  <a:lnTo>
                    <a:pt x="81" y="128"/>
                  </a:lnTo>
                  <a:lnTo>
                    <a:pt x="81" y="128"/>
                  </a:lnTo>
                  <a:close/>
                  <a:moveTo>
                    <a:pt x="56" y="0"/>
                  </a:moveTo>
                  <a:lnTo>
                    <a:pt x="44" y="0"/>
                  </a:lnTo>
                  <a:lnTo>
                    <a:pt x="41" y="21"/>
                  </a:lnTo>
                  <a:lnTo>
                    <a:pt x="45" y="57"/>
                  </a:lnTo>
                  <a:lnTo>
                    <a:pt x="36" y="50"/>
                  </a:lnTo>
                  <a:lnTo>
                    <a:pt x="40" y="72"/>
                  </a:lnTo>
                  <a:lnTo>
                    <a:pt x="44" y="84"/>
                  </a:lnTo>
                  <a:lnTo>
                    <a:pt x="56" y="97"/>
                  </a:lnTo>
                  <a:lnTo>
                    <a:pt x="58" y="88"/>
                  </a:lnTo>
                  <a:lnTo>
                    <a:pt x="65" y="94"/>
                  </a:lnTo>
                  <a:lnTo>
                    <a:pt x="59" y="100"/>
                  </a:lnTo>
                  <a:lnTo>
                    <a:pt x="60" y="110"/>
                  </a:lnTo>
                  <a:lnTo>
                    <a:pt x="70" y="115"/>
                  </a:lnTo>
                  <a:lnTo>
                    <a:pt x="89" y="112"/>
                  </a:lnTo>
                  <a:lnTo>
                    <a:pt x="104" y="126"/>
                  </a:lnTo>
                  <a:lnTo>
                    <a:pt x="109" y="117"/>
                  </a:lnTo>
                  <a:lnTo>
                    <a:pt x="118" y="129"/>
                  </a:lnTo>
                  <a:lnTo>
                    <a:pt x="136" y="141"/>
                  </a:lnTo>
                  <a:lnTo>
                    <a:pt x="137" y="130"/>
                  </a:lnTo>
                  <a:lnTo>
                    <a:pt x="129" y="125"/>
                  </a:lnTo>
                  <a:lnTo>
                    <a:pt x="129" y="112"/>
                  </a:lnTo>
                  <a:lnTo>
                    <a:pt x="101" y="99"/>
                  </a:lnTo>
                  <a:lnTo>
                    <a:pt x="93" y="101"/>
                  </a:lnTo>
                  <a:lnTo>
                    <a:pt x="81" y="99"/>
                  </a:lnTo>
                  <a:lnTo>
                    <a:pt x="73" y="80"/>
                  </a:lnTo>
                  <a:lnTo>
                    <a:pt x="74" y="60"/>
                  </a:lnTo>
                  <a:lnTo>
                    <a:pt x="85" y="53"/>
                  </a:lnTo>
                  <a:lnTo>
                    <a:pt x="87" y="33"/>
                  </a:lnTo>
                  <a:lnTo>
                    <a:pt x="77" y="15"/>
                  </a:lnTo>
                  <a:lnTo>
                    <a:pt x="79" y="6"/>
                  </a:lnTo>
                  <a:lnTo>
                    <a:pt x="76" y="0"/>
                  </a:lnTo>
                  <a:lnTo>
                    <a:pt x="70" y="6"/>
                  </a:lnTo>
                  <a:lnTo>
                    <a:pt x="56" y="0"/>
                  </a:lnTo>
                  <a:lnTo>
                    <a:pt x="56"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Papua New Guinea"/>
            <p:cNvSpPr>
              <a:spLocks noEditPoints="1"/>
            </p:cNvSpPr>
            <p:nvPr/>
          </p:nvSpPr>
          <p:spPr bwMode="auto">
            <a:xfrm>
              <a:off x="10682287" y="4576763"/>
              <a:ext cx="504825" cy="307975"/>
            </a:xfrm>
            <a:custGeom>
              <a:avLst/>
              <a:gdLst>
                <a:gd name="T0" fmla="*/ 318 w 318"/>
                <a:gd name="T1" fmla="*/ 96 h 194"/>
                <a:gd name="T2" fmla="*/ 301 w 318"/>
                <a:gd name="T3" fmla="*/ 73 h 194"/>
                <a:gd name="T4" fmla="*/ 292 w 318"/>
                <a:gd name="T5" fmla="*/ 61 h 194"/>
                <a:gd name="T6" fmla="*/ 293 w 318"/>
                <a:gd name="T7" fmla="*/ 81 h 194"/>
                <a:gd name="T8" fmla="*/ 309 w 318"/>
                <a:gd name="T9" fmla="*/ 106 h 194"/>
                <a:gd name="T10" fmla="*/ 316 w 318"/>
                <a:gd name="T11" fmla="*/ 103 h 194"/>
                <a:gd name="T12" fmla="*/ 244 w 318"/>
                <a:gd name="T13" fmla="*/ 56 h 194"/>
                <a:gd name="T14" fmla="*/ 242 w 318"/>
                <a:gd name="T15" fmla="*/ 39 h 194"/>
                <a:gd name="T16" fmla="*/ 231 w 318"/>
                <a:gd name="T17" fmla="*/ 54 h 194"/>
                <a:gd name="T18" fmla="*/ 212 w 318"/>
                <a:gd name="T19" fmla="*/ 71 h 194"/>
                <a:gd name="T20" fmla="*/ 198 w 318"/>
                <a:gd name="T21" fmla="*/ 60 h 194"/>
                <a:gd name="T22" fmla="*/ 191 w 318"/>
                <a:gd name="T23" fmla="*/ 72 h 194"/>
                <a:gd name="T24" fmla="*/ 161 w 318"/>
                <a:gd name="T25" fmla="*/ 70 h 194"/>
                <a:gd name="T26" fmla="*/ 171 w 318"/>
                <a:gd name="T27" fmla="*/ 84 h 194"/>
                <a:gd name="T28" fmla="*/ 198 w 318"/>
                <a:gd name="T29" fmla="*/ 92 h 194"/>
                <a:gd name="T30" fmla="*/ 221 w 318"/>
                <a:gd name="T31" fmla="*/ 79 h 194"/>
                <a:gd name="T32" fmla="*/ 236 w 318"/>
                <a:gd name="T33" fmla="*/ 71 h 194"/>
                <a:gd name="T34" fmla="*/ 133 w 318"/>
                <a:gd name="T35" fmla="*/ 117 h 194"/>
                <a:gd name="T36" fmla="*/ 148 w 318"/>
                <a:gd name="T37" fmla="*/ 98 h 194"/>
                <a:gd name="T38" fmla="*/ 110 w 318"/>
                <a:gd name="T39" fmla="*/ 71 h 194"/>
                <a:gd name="T40" fmla="*/ 97 w 318"/>
                <a:gd name="T41" fmla="*/ 45 h 194"/>
                <a:gd name="T42" fmla="*/ 46 w 318"/>
                <a:gd name="T43" fmla="*/ 19 h 194"/>
                <a:gd name="T44" fmla="*/ 6 w 318"/>
                <a:gd name="T45" fmla="*/ 80 h 194"/>
                <a:gd name="T46" fmla="*/ 21 w 318"/>
                <a:gd name="T47" fmla="*/ 159 h 194"/>
                <a:gd name="T48" fmla="*/ 50 w 318"/>
                <a:gd name="T49" fmla="*/ 154 h 194"/>
                <a:gd name="T50" fmla="*/ 62 w 318"/>
                <a:gd name="T51" fmla="*/ 129 h 194"/>
                <a:gd name="T52" fmla="*/ 107 w 318"/>
                <a:gd name="T53" fmla="*/ 133 h 194"/>
                <a:gd name="T54" fmla="*/ 127 w 318"/>
                <a:gd name="T55" fmla="*/ 166 h 194"/>
                <a:gd name="T56" fmla="*/ 161 w 318"/>
                <a:gd name="T57" fmla="*/ 185 h 194"/>
                <a:gd name="T58" fmla="*/ 184 w 318"/>
                <a:gd name="T59" fmla="*/ 194 h 194"/>
                <a:gd name="T60" fmla="*/ 201 w 318"/>
                <a:gd name="T61" fmla="*/ 186 h 194"/>
                <a:gd name="T62" fmla="*/ 187 w 318"/>
                <a:gd name="T63" fmla="*/ 171 h 194"/>
                <a:gd name="T64" fmla="*/ 173 w 318"/>
                <a:gd name="T65" fmla="*/ 157 h 194"/>
                <a:gd name="T66" fmla="*/ 150 w 318"/>
                <a:gd name="T67" fmla="*/ 132 h 194"/>
                <a:gd name="T68" fmla="*/ 133 w 318"/>
                <a:gd name="T69" fmla="*/ 117 h 194"/>
                <a:gd name="T70" fmla="*/ 260 w 318"/>
                <a:gd name="T71" fmla="*/ 36 h 194"/>
                <a:gd name="T72" fmla="*/ 245 w 318"/>
                <a:gd name="T73" fmla="*/ 18 h 194"/>
                <a:gd name="T74" fmla="*/ 229 w 318"/>
                <a:gd name="T75" fmla="*/ 8 h 194"/>
                <a:gd name="T76" fmla="*/ 212 w 318"/>
                <a:gd name="T77" fmla="*/ 6 h 194"/>
                <a:gd name="T78" fmla="*/ 238 w 318"/>
                <a:gd name="T79" fmla="*/ 23 h 194"/>
                <a:gd name="T80" fmla="*/ 252 w 318"/>
                <a:gd name="T81" fmla="*/ 40 h 194"/>
                <a:gd name="T82" fmla="*/ 262 w 318"/>
                <a:gd name="T83"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4">
                  <a:moveTo>
                    <a:pt x="316" y="103"/>
                  </a:moveTo>
                  <a:lnTo>
                    <a:pt x="318" y="96"/>
                  </a:lnTo>
                  <a:lnTo>
                    <a:pt x="310" y="88"/>
                  </a:lnTo>
                  <a:lnTo>
                    <a:pt x="301" y="73"/>
                  </a:lnTo>
                  <a:lnTo>
                    <a:pt x="294" y="67"/>
                  </a:lnTo>
                  <a:lnTo>
                    <a:pt x="292" y="61"/>
                  </a:lnTo>
                  <a:lnTo>
                    <a:pt x="289" y="64"/>
                  </a:lnTo>
                  <a:lnTo>
                    <a:pt x="293" y="81"/>
                  </a:lnTo>
                  <a:lnTo>
                    <a:pt x="302" y="96"/>
                  </a:lnTo>
                  <a:lnTo>
                    <a:pt x="309" y="106"/>
                  </a:lnTo>
                  <a:lnTo>
                    <a:pt x="316" y="103"/>
                  </a:lnTo>
                  <a:lnTo>
                    <a:pt x="316" y="103"/>
                  </a:lnTo>
                  <a:close/>
                  <a:moveTo>
                    <a:pt x="236" y="71"/>
                  </a:moveTo>
                  <a:lnTo>
                    <a:pt x="244" y="56"/>
                  </a:lnTo>
                  <a:lnTo>
                    <a:pt x="245" y="43"/>
                  </a:lnTo>
                  <a:lnTo>
                    <a:pt x="242" y="39"/>
                  </a:lnTo>
                  <a:lnTo>
                    <a:pt x="229" y="40"/>
                  </a:lnTo>
                  <a:lnTo>
                    <a:pt x="231" y="54"/>
                  </a:lnTo>
                  <a:lnTo>
                    <a:pt x="217" y="63"/>
                  </a:lnTo>
                  <a:lnTo>
                    <a:pt x="212" y="71"/>
                  </a:lnTo>
                  <a:lnTo>
                    <a:pt x="200" y="73"/>
                  </a:lnTo>
                  <a:lnTo>
                    <a:pt x="198" y="60"/>
                  </a:lnTo>
                  <a:lnTo>
                    <a:pt x="195" y="60"/>
                  </a:lnTo>
                  <a:lnTo>
                    <a:pt x="191" y="72"/>
                  </a:lnTo>
                  <a:lnTo>
                    <a:pt x="180" y="74"/>
                  </a:lnTo>
                  <a:lnTo>
                    <a:pt x="161" y="70"/>
                  </a:lnTo>
                  <a:lnTo>
                    <a:pt x="159" y="78"/>
                  </a:lnTo>
                  <a:lnTo>
                    <a:pt x="171" y="84"/>
                  </a:lnTo>
                  <a:lnTo>
                    <a:pt x="188" y="92"/>
                  </a:lnTo>
                  <a:lnTo>
                    <a:pt x="198" y="92"/>
                  </a:lnTo>
                  <a:lnTo>
                    <a:pt x="209" y="86"/>
                  </a:lnTo>
                  <a:lnTo>
                    <a:pt x="221" y="79"/>
                  </a:lnTo>
                  <a:lnTo>
                    <a:pt x="225" y="73"/>
                  </a:lnTo>
                  <a:lnTo>
                    <a:pt x="236" y="71"/>
                  </a:lnTo>
                  <a:lnTo>
                    <a:pt x="236" y="71"/>
                  </a:lnTo>
                  <a:close/>
                  <a:moveTo>
                    <a:pt x="133" y="117"/>
                  </a:moveTo>
                  <a:lnTo>
                    <a:pt x="129" y="101"/>
                  </a:lnTo>
                  <a:lnTo>
                    <a:pt x="148" y="98"/>
                  </a:lnTo>
                  <a:lnTo>
                    <a:pt x="145" y="86"/>
                  </a:lnTo>
                  <a:lnTo>
                    <a:pt x="110" y="71"/>
                  </a:lnTo>
                  <a:lnTo>
                    <a:pt x="108" y="57"/>
                  </a:lnTo>
                  <a:lnTo>
                    <a:pt x="97" y="45"/>
                  </a:lnTo>
                  <a:lnTo>
                    <a:pt x="83" y="33"/>
                  </a:lnTo>
                  <a:lnTo>
                    <a:pt x="46" y="19"/>
                  </a:lnTo>
                  <a:lnTo>
                    <a:pt x="9" y="3"/>
                  </a:lnTo>
                  <a:lnTo>
                    <a:pt x="6" y="80"/>
                  </a:lnTo>
                  <a:lnTo>
                    <a:pt x="0" y="158"/>
                  </a:lnTo>
                  <a:lnTo>
                    <a:pt x="21" y="159"/>
                  </a:lnTo>
                  <a:lnTo>
                    <a:pt x="33" y="163"/>
                  </a:lnTo>
                  <a:lnTo>
                    <a:pt x="50" y="154"/>
                  </a:lnTo>
                  <a:lnTo>
                    <a:pt x="49" y="136"/>
                  </a:lnTo>
                  <a:lnTo>
                    <a:pt x="62" y="129"/>
                  </a:lnTo>
                  <a:lnTo>
                    <a:pt x="81" y="122"/>
                  </a:lnTo>
                  <a:lnTo>
                    <a:pt x="107" y="133"/>
                  </a:lnTo>
                  <a:lnTo>
                    <a:pt x="116" y="153"/>
                  </a:lnTo>
                  <a:lnTo>
                    <a:pt x="127" y="166"/>
                  </a:lnTo>
                  <a:lnTo>
                    <a:pt x="141" y="181"/>
                  </a:lnTo>
                  <a:lnTo>
                    <a:pt x="161" y="185"/>
                  </a:lnTo>
                  <a:lnTo>
                    <a:pt x="180" y="188"/>
                  </a:lnTo>
                  <a:lnTo>
                    <a:pt x="184" y="194"/>
                  </a:lnTo>
                  <a:lnTo>
                    <a:pt x="198" y="192"/>
                  </a:lnTo>
                  <a:lnTo>
                    <a:pt x="201" y="186"/>
                  </a:lnTo>
                  <a:lnTo>
                    <a:pt x="180" y="176"/>
                  </a:lnTo>
                  <a:lnTo>
                    <a:pt x="187" y="171"/>
                  </a:lnTo>
                  <a:lnTo>
                    <a:pt x="171" y="167"/>
                  </a:lnTo>
                  <a:lnTo>
                    <a:pt x="173" y="157"/>
                  </a:lnTo>
                  <a:lnTo>
                    <a:pt x="161" y="157"/>
                  </a:lnTo>
                  <a:lnTo>
                    <a:pt x="150" y="132"/>
                  </a:lnTo>
                  <a:lnTo>
                    <a:pt x="133" y="117"/>
                  </a:lnTo>
                  <a:lnTo>
                    <a:pt x="133" y="117"/>
                  </a:lnTo>
                  <a:close/>
                  <a:moveTo>
                    <a:pt x="262" y="48"/>
                  </a:moveTo>
                  <a:lnTo>
                    <a:pt x="260" y="36"/>
                  </a:lnTo>
                  <a:lnTo>
                    <a:pt x="253" y="28"/>
                  </a:lnTo>
                  <a:lnTo>
                    <a:pt x="245" y="18"/>
                  </a:lnTo>
                  <a:lnTo>
                    <a:pt x="236" y="12"/>
                  </a:lnTo>
                  <a:lnTo>
                    <a:pt x="229" y="8"/>
                  </a:lnTo>
                  <a:lnTo>
                    <a:pt x="218" y="0"/>
                  </a:lnTo>
                  <a:lnTo>
                    <a:pt x="212" y="6"/>
                  </a:lnTo>
                  <a:lnTo>
                    <a:pt x="227" y="13"/>
                  </a:lnTo>
                  <a:lnTo>
                    <a:pt x="238" y="23"/>
                  </a:lnTo>
                  <a:lnTo>
                    <a:pt x="247" y="31"/>
                  </a:lnTo>
                  <a:lnTo>
                    <a:pt x="252" y="40"/>
                  </a:lnTo>
                  <a:lnTo>
                    <a:pt x="255" y="54"/>
                  </a:lnTo>
                  <a:lnTo>
                    <a:pt x="262" y="48"/>
                  </a:lnTo>
                  <a:lnTo>
                    <a:pt x="262" y="4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Poland"/>
            <p:cNvSpPr>
              <a:spLocks/>
            </p:cNvSpPr>
            <p:nvPr/>
          </p:nvSpPr>
          <p:spPr bwMode="auto">
            <a:xfrm>
              <a:off x="6397625" y="2428876"/>
              <a:ext cx="295275" cy="211138"/>
            </a:xfrm>
            <a:custGeom>
              <a:avLst/>
              <a:gdLst>
                <a:gd name="T0" fmla="*/ 97 w 186"/>
                <a:gd name="T1" fmla="*/ 10 h 133"/>
                <a:gd name="T2" fmla="*/ 79 w 186"/>
                <a:gd name="T3" fmla="*/ 10 h 133"/>
                <a:gd name="T4" fmla="*/ 77 w 186"/>
                <a:gd name="T5" fmla="*/ 4 h 133"/>
                <a:gd name="T6" fmla="*/ 59 w 186"/>
                <a:gd name="T7" fmla="*/ 0 h 133"/>
                <a:gd name="T8" fmla="*/ 38 w 186"/>
                <a:gd name="T9" fmla="*/ 8 h 133"/>
                <a:gd name="T10" fmla="*/ 12 w 186"/>
                <a:gd name="T11" fmla="*/ 18 h 133"/>
                <a:gd name="T12" fmla="*/ 0 w 186"/>
                <a:gd name="T13" fmla="*/ 24 h 133"/>
                <a:gd name="T14" fmla="*/ 5 w 186"/>
                <a:gd name="T15" fmla="*/ 37 h 133"/>
                <a:gd name="T16" fmla="*/ 1 w 186"/>
                <a:gd name="T17" fmla="*/ 42 h 133"/>
                <a:gd name="T18" fmla="*/ 8 w 186"/>
                <a:gd name="T19" fmla="*/ 51 h 133"/>
                <a:gd name="T20" fmla="*/ 14 w 186"/>
                <a:gd name="T21" fmla="*/ 63 h 133"/>
                <a:gd name="T22" fmla="*/ 13 w 186"/>
                <a:gd name="T23" fmla="*/ 70 h 133"/>
                <a:gd name="T24" fmla="*/ 22 w 186"/>
                <a:gd name="T25" fmla="*/ 85 h 133"/>
                <a:gd name="T26" fmla="*/ 31 w 186"/>
                <a:gd name="T27" fmla="*/ 93 h 133"/>
                <a:gd name="T28" fmla="*/ 45 w 186"/>
                <a:gd name="T29" fmla="*/ 95 h 133"/>
                <a:gd name="T30" fmla="*/ 45 w 186"/>
                <a:gd name="T31" fmla="*/ 101 h 133"/>
                <a:gd name="T32" fmla="*/ 54 w 186"/>
                <a:gd name="T33" fmla="*/ 106 h 133"/>
                <a:gd name="T34" fmla="*/ 57 w 186"/>
                <a:gd name="T35" fmla="*/ 100 h 133"/>
                <a:gd name="T36" fmla="*/ 69 w 186"/>
                <a:gd name="T37" fmla="*/ 102 h 133"/>
                <a:gd name="T38" fmla="*/ 72 w 186"/>
                <a:gd name="T39" fmla="*/ 109 h 133"/>
                <a:gd name="T40" fmla="*/ 86 w 186"/>
                <a:gd name="T41" fmla="*/ 110 h 133"/>
                <a:gd name="T42" fmla="*/ 95 w 186"/>
                <a:gd name="T43" fmla="*/ 123 h 133"/>
                <a:gd name="T44" fmla="*/ 96 w 186"/>
                <a:gd name="T45" fmla="*/ 123 h 133"/>
                <a:gd name="T46" fmla="*/ 103 w 186"/>
                <a:gd name="T47" fmla="*/ 121 h 133"/>
                <a:gd name="T48" fmla="*/ 114 w 186"/>
                <a:gd name="T49" fmla="*/ 128 h 133"/>
                <a:gd name="T50" fmla="*/ 124 w 186"/>
                <a:gd name="T51" fmla="*/ 123 h 133"/>
                <a:gd name="T52" fmla="*/ 132 w 186"/>
                <a:gd name="T53" fmla="*/ 126 h 133"/>
                <a:gd name="T54" fmla="*/ 145 w 186"/>
                <a:gd name="T55" fmla="*/ 123 h 133"/>
                <a:gd name="T56" fmla="*/ 164 w 186"/>
                <a:gd name="T57" fmla="*/ 132 h 133"/>
                <a:gd name="T58" fmla="*/ 168 w 186"/>
                <a:gd name="T59" fmla="*/ 133 h 133"/>
                <a:gd name="T60" fmla="*/ 162 w 186"/>
                <a:gd name="T61" fmla="*/ 123 h 133"/>
                <a:gd name="T62" fmla="*/ 176 w 186"/>
                <a:gd name="T63" fmla="*/ 104 h 133"/>
                <a:gd name="T64" fmla="*/ 185 w 186"/>
                <a:gd name="T65" fmla="*/ 101 h 133"/>
                <a:gd name="T66" fmla="*/ 186 w 186"/>
                <a:gd name="T67" fmla="*/ 95 h 133"/>
                <a:gd name="T68" fmla="*/ 174 w 186"/>
                <a:gd name="T69" fmla="*/ 74 h 133"/>
                <a:gd name="T70" fmla="*/ 172 w 186"/>
                <a:gd name="T71" fmla="*/ 65 h 133"/>
                <a:gd name="T72" fmla="*/ 165 w 186"/>
                <a:gd name="T73" fmla="*/ 53 h 133"/>
                <a:gd name="T74" fmla="*/ 175 w 186"/>
                <a:gd name="T75" fmla="*/ 49 h 133"/>
                <a:gd name="T76" fmla="*/ 174 w 186"/>
                <a:gd name="T77" fmla="*/ 40 h 133"/>
                <a:gd name="T78" fmla="*/ 168 w 186"/>
                <a:gd name="T79" fmla="*/ 31 h 133"/>
                <a:gd name="T80" fmla="*/ 166 w 186"/>
                <a:gd name="T81" fmla="*/ 22 h 133"/>
                <a:gd name="T82" fmla="*/ 160 w 186"/>
                <a:gd name="T83" fmla="*/ 14 h 133"/>
                <a:gd name="T84" fmla="*/ 151 w 186"/>
                <a:gd name="T85" fmla="*/ 12 h 133"/>
                <a:gd name="T86" fmla="*/ 118 w 186"/>
                <a:gd name="T87" fmla="*/ 12 h 133"/>
                <a:gd name="T88" fmla="*/ 97 w 186"/>
                <a:gd name="T89" fmla="*/ 10 h 133"/>
                <a:gd name="T90" fmla="*/ 97 w 186"/>
                <a:gd name="T91" fmla="*/ 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33">
                  <a:moveTo>
                    <a:pt x="97" y="10"/>
                  </a:moveTo>
                  <a:lnTo>
                    <a:pt x="79" y="10"/>
                  </a:lnTo>
                  <a:lnTo>
                    <a:pt x="77" y="4"/>
                  </a:lnTo>
                  <a:lnTo>
                    <a:pt x="59" y="0"/>
                  </a:lnTo>
                  <a:lnTo>
                    <a:pt x="38" y="8"/>
                  </a:lnTo>
                  <a:lnTo>
                    <a:pt x="12" y="18"/>
                  </a:lnTo>
                  <a:lnTo>
                    <a:pt x="0" y="24"/>
                  </a:lnTo>
                  <a:lnTo>
                    <a:pt x="5" y="37"/>
                  </a:lnTo>
                  <a:lnTo>
                    <a:pt x="1" y="42"/>
                  </a:lnTo>
                  <a:lnTo>
                    <a:pt x="8" y="51"/>
                  </a:lnTo>
                  <a:lnTo>
                    <a:pt x="14" y="63"/>
                  </a:lnTo>
                  <a:lnTo>
                    <a:pt x="13" y="70"/>
                  </a:lnTo>
                  <a:lnTo>
                    <a:pt x="22" y="85"/>
                  </a:lnTo>
                  <a:lnTo>
                    <a:pt x="31" y="93"/>
                  </a:lnTo>
                  <a:lnTo>
                    <a:pt x="45" y="95"/>
                  </a:lnTo>
                  <a:lnTo>
                    <a:pt x="45" y="101"/>
                  </a:lnTo>
                  <a:lnTo>
                    <a:pt x="54" y="106"/>
                  </a:lnTo>
                  <a:lnTo>
                    <a:pt x="57" y="100"/>
                  </a:lnTo>
                  <a:lnTo>
                    <a:pt x="69" y="102"/>
                  </a:lnTo>
                  <a:lnTo>
                    <a:pt x="72" y="109"/>
                  </a:lnTo>
                  <a:lnTo>
                    <a:pt x="86" y="110"/>
                  </a:lnTo>
                  <a:lnTo>
                    <a:pt x="95" y="123"/>
                  </a:lnTo>
                  <a:lnTo>
                    <a:pt x="96" y="123"/>
                  </a:lnTo>
                  <a:lnTo>
                    <a:pt x="103" y="121"/>
                  </a:lnTo>
                  <a:lnTo>
                    <a:pt x="114" y="128"/>
                  </a:lnTo>
                  <a:lnTo>
                    <a:pt x="124" y="123"/>
                  </a:lnTo>
                  <a:lnTo>
                    <a:pt x="132" y="126"/>
                  </a:lnTo>
                  <a:lnTo>
                    <a:pt x="145" y="123"/>
                  </a:lnTo>
                  <a:lnTo>
                    <a:pt x="164" y="132"/>
                  </a:lnTo>
                  <a:lnTo>
                    <a:pt x="168" y="133"/>
                  </a:lnTo>
                  <a:lnTo>
                    <a:pt x="162" y="123"/>
                  </a:lnTo>
                  <a:lnTo>
                    <a:pt x="176" y="104"/>
                  </a:lnTo>
                  <a:lnTo>
                    <a:pt x="185" y="101"/>
                  </a:lnTo>
                  <a:lnTo>
                    <a:pt x="186" y="95"/>
                  </a:lnTo>
                  <a:lnTo>
                    <a:pt x="174" y="74"/>
                  </a:lnTo>
                  <a:lnTo>
                    <a:pt x="172" y="65"/>
                  </a:lnTo>
                  <a:lnTo>
                    <a:pt x="165" y="53"/>
                  </a:lnTo>
                  <a:lnTo>
                    <a:pt x="175" y="49"/>
                  </a:lnTo>
                  <a:lnTo>
                    <a:pt x="174" y="40"/>
                  </a:lnTo>
                  <a:lnTo>
                    <a:pt x="168" y="31"/>
                  </a:lnTo>
                  <a:lnTo>
                    <a:pt x="166" y="22"/>
                  </a:lnTo>
                  <a:lnTo>
                    <a:pt x="160" y="14"/>
                  </a:lnTo>
                  <a:lnTo>
                    <a:pt x="151" y="12"/>
                  </a:lnTo>
                  <a:lnTo>
                    <a:pt x="118" y="12"/>
                  </a:lnTo>
                  <a:lnTo>
                    <a:pt x="97" y="10"/>
                  </a:lnTo>
                  <a:lnTo>
                    <a:pt x="97" y="1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5" name="North Korea"/>
            <p:cNvSpPr>
              <a:spLocks/>
            </p:cNvSpPr>
            <p:nvPr/>
          </p:nvSpPr>
          <p:spPr bwMode="auto">
            <a:xfrm>
              <a:off x="9818687" y="2862263"/>
              <a:ext cx="150812" cy="198438"/>
            </a:xfrm>
            <a:custGeom>
              <a:avLst/>
              <a:gdLst>
                <a:gd name="T0" fmla="*/ 90 w 95"/>
                <a:gd name="T1" fmla="*/ 13 h 125"/>
                <a:gd name="T2" fmla="*/ 90 w 95"/>
                <a:gd name="T3" fmla="*/ 13 h 125"/>
                <a:gd name="T4" fmla="*/ 70 w 95"/>
                <a:gd name="T5" fmla="*/ 0 h 125"/>
                <a:gd name="T6" fmla="*/ 70 w 95"/>
                <a:gd name="T7" fmla="*/ 13 h 125"/>
                <a:gd name="T8" fmla="*/ 46 w 95"/>
                <a:gd name="T9" fmla="*/ 22 h 125"/>
                <a:gd name="T10" fmla="*/ 57 w 95"/>
                <a:gd name="T11" fmla="*/ 34 h 125"/>
                <a:gd name="T12" fmla="*/ 39 w 95"/>
                <a:gd name="T13" fmla="*/ 34 h 125"/>
                <a:gd name="T14" fmla="*/ 26 w 95"/>
                <a:gd name="T15" fmla="*/ 27 h 125"/>
                <a:gd name="T16" fmla="*/ 22 w 95"/>
                <a:gd name="T17" fmla="*/ 43 h 125"/>
                <a:gd name="T18" fmla="*/ 8 w 95"/>
                <a:gd name="T19" fmla="*/ 56 h 125"/>
                <a:gd name="T20" fmla="*/ 0 w 95"/>
                <a:gd name="T21" fmla="*/ 71 h 125"/>
                <a:gd name="T22" fmla="*/ 13 w 95"/>
                <a:gd name="T23" fmla="*/ 77 h 125"/>
                <a:gd name="T24" fmla="*/ 25 w 95"/>
                <a:gd name="T25" fmla="*/ 79 h 125"/>
                <a:gd name="T26" fmla="*/ 28 w 95"/>
                <a:gd name="T27" fmla="*/ 83 h 125"/>
                <a:gd name="T28" fmla="*/ 29 w 95"/>
                <a:gd name="T29" fmla="*/ 96 h 125"/>
                <a:gd name="T30" fmla="*/ 33 w 95"/>
                <a:gd name="T31" fmla="*/ 101 h 125"/>
                <a:gd name="T32" fmla="*/ 30 w 95"/>
                <a:gd name="T33" fmla="*/ 103 h 125"/>
                <a:gd name="T34" fmla="*/ 29 w 95"/>
                <a:gd name="T35" fmla="*/ 115 h 125"/>
                <a:gd name="T36" fmla="*/ 37 w 95"/>
                <a:gd name="T37" fmla="*/ 118 h 125"/>
                <a:gd name="T38" fmla="*/ 43 w 95"/>
                <a:gd name="T39" fmla="*/ 120 h 125"/>
                <a:gd name="T40" fmla="*/ 46 w 95"/>
                <a:gd name="T41" fmla="*/ 125 h 125"/>
                <a:gd name="T42" fmla="*/ 51 w 95"/>
                <a:gd name="T43" fmla="*/ 123 h 125"/>
                <a:gd name="T44" fmla="*/ 51 w 95"/>
                <a:gd name="T45" fmla="*/ 118 h 125"/>
                <a:gd name="T46" fmla="*/ 62 w 95"/>
                <a:gd name="T47" fmla="*/ 123 h 125"/>
                <a:gd name="T48" fmla="*/ 63 w 95"/>
                <a:gd name="T49" fmla="*/ 120 h 125"/>
                <a:gd name="T50" fmla="*/ 72 w 95"/>
                <a:gd name="T51" fmla="*/ 121 h 125"/>
                <a:gd name="T52" fmla="*/ 74 w 95"/>
                <a:gd name="T53" fmla="*/ 111 h 125"/>
                <a:gd name="T54" fmla="*/ 87 w 95"/>
                <a:gd name="T55" fmla="*/ 109 h 125"/>
                <a:gd name="T56" fmla="*/ 95 w 95"/>
                <a:gd name="T57" fmla="*/ 108 h 125"/>
                <a:gd name="T58" fmla="*/ 95 w 95"/>
                <a:gd name="T59" fmla="*/ 102 h 125"/>
                <a:gd name="T60" fmla="*/ 79 w 95"/>
                <a:gd name="T61" fmla="*/ 91 h 125"/>
                <a:gd name="T62" fmla="*/ 69 w 95"/>
                <a:gd name="T63" fmla="*/ 88 h 125"/>
                <a:gd name="T64" fmla="*/ 70 w 95"/>
                <a:gd name="T65" fmla="*/ 85 h 125"/>
                <a:gd name="T66" fmla="*/ 65 w 95"/>
                <a:gd name="T67" fmla="*/ 75 h 125"/>
                <a:gd name="T68" fmla="*/ 71 w 95"/>
                <a:gd name="T69" fmla="*/ 68 h 125"/>
                <a:gd name="T70" fmla="*/ 81 w 95"/>
                <a:gd name="T71" fmla="*/ 64 h 125"/>
                <a:gd name="T72" fmla="*/ 85 w 95"/>
                <a:gd name="T73" fmla="*/ 58 h 125"/>
                <a:gd name="T74" fmla="*/ 86 w 95"/>
                <a:gd name="T75" fmla="*/ 53 h 125"/>
                <a:gd name="T76" fmla="*/ 93 w 95"/>
                <a:gd name="T77" fmla="*/ 48 h 125"/>
                <a:gd name="T78" fmla="*/ 83 w 95"/>
                <a:gd name="T79" fmla="*/ 32 h 125"/>
                <a:gd name="T80" fmla="*/ 84 w 95"/>
                <a:gd name="T81" fmla="*/ 23 h 125"/>
                <a:gd name="T82" fmla="*/ 87 w 95"/>
                <a:gd name="T83" fmla="*/ 16 h 125"/>
                <a:gd name="T84" fmla="*/ 95 w 95"/>
                <a:gd name="T85" fmla="*/ 18 h 125"/>
                <a:gd name="T86" fmla="*/ 95 w 95"/>
                <a:gd name="T87" fmla="*/ 18 h 125"/>
                <a:gd name="T88" fmla="*/ 95 w 95"/>
                <a:gd name="T89" fmla="*/ 18 h 125"/>
                <a:gd name="T90" fmla="*/ 95 w 95"/>
                <a:gd name="T91" fmla="*/ 18 h 125"/>
                <a:gd name="T92" fmla="*/ 90 w 95"/>
                <a:gd name="T93" fmla="*/ 13 h 125"/>
                <a:gd name="T94" fmla="*/ 90 w 95"/>
                <a:gd name="T95" fmla="*/ 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25">
                  <a:moveTo>
                    <a:pt x="90" y="13"/>
                  </a:moveTo>
                  <a:lnTo>
                    <a:pt x="90" y="13"/>
                  </a:lnTo>
                  <a:lnTo>
                    <a:pt x="70" y="0"/>
                  </a:lnTo>
                  <a:lnTo>
                    <a:pt x="70" y="13"/>
                  </a:lnTo>
                  <a:lnTo>
                    <a:pt x="46" y="22"/>
                  </a:lnTo>
                  <a:lnTo>
                    <a:pt x="57" y="34"/>
                  </a:lnTo>
                  <a:lnTo>
                    <a:pt x="39" y="34"/>
                  </a:lnTo>
                  <a:lnTo>
                    <a:pt x="26" y="27"/>
                  </a:lnTo>
                  <a:lnTo>
                    <a:pt x="22" y="43"/>
                  </a:lnTo>
                  <a:lnTo>
                    <a:pt x="8" y="56"/>
                  </a:lnTo>
                  <a:lnTo>
                    <a:pt x="0" y="71"/>
                  </a:lnTo>
                  <a:lnTo>
                    <a:pt x="13" y="77"/>
                  </a:lnTo>
                  <a:lnTo>
                    <a:pt x="25" y="79"/>
                  </a:lnTo>
                  <a:lnTo>
                    <a:pt x="28" y="83"/>
                  </a:lnTo>
                  <a:lnTo>
                    <a:pt x="29" y="96"/>
                  </a:lnTo>
                  <a:lnTo>
                    <a:pt x="33" y="101"/>
                  </a:lnTo>
                  <a:lnTo>
                    <a:pt x="30" y="103"/>
                  </a:lnTo>
                  <a:lnTo>
                    <a:pt x="29" y="115"/>
                  </a:lnTo>
                  <a:lnTo>
                    <a:pt x="37" y="118"/>
                  </a:lnTo>
                  <a:lnTo>
                    <a:pt x="43" y="120"/>
                  </a:lnTo>
                  <a:lnTo>
                    <a:pt x="46" y="125"/>
                  </a:lnTo>
                  <a:lnTo>
                    <a:pt x="51" y="123"/>
                  </a:lnTo>
                  <a:lnTo>
                    <a:pt x="51" y="118"/>
                  </a:lnTo>
                  <a:lnTo>
                    <a:pt x="62" y="123"/>
                  </a:lnTo>
                  <a:lnTo>
                    <a:pt x="63" y="120"/>
                  </a:lnTo>
                  <a:lnTo>
                    <a:pt x="72" y="121"/>
                  </a:lnTo>
                  <a:lnTo>
                    <a:pt x="74" y="111"/>
                  </a:lnTo>
                  <a:lnTo>
                    <a:pt x="87" y="109"/>
                  </a:lnTo>
                  <a:lnTo>
                    <a:pt x="95" y="108"/>
                  </a:lnTo>
                  <a:lnTo>
                    <a:pt x="95" y="102"/>
                  </a:lnTo>
                  <a:lnTo>
                    <a:pt x="79" y="91"/>
                  </a:lnTo>
                  <a:lnTo>
                    <a:pt x="69" y="88"/>
                  </a:lnTo>
                  <a:lnTo>
                    <a:pt x="70" y="85"/>
                  </a:lnTo>
                  <a:lnTo>
                    <a:pt x="65" y="75"/>
                  </a:lnTo>
                  <a:lnTo>
                    <a:pt x="71" y="68"/>
                  </a:lnTo>
                  <a:lnTo>
                    <a:pt x="81" y="64"/>
                  </a:lnTo>
                  <a:lnTo>
                    <a:pt x="85" y="58"/>
                  </a:lnTo>
                  <a:lnTo>
                    <a:pt x="86" y="53"/>
                  </a:lnTo>
                  <a:lnTo>
                    <a:pt x="93" y="48"/>
                  </a:lnTo>
                  <a:lnTo>
                    <a:pt x="83" y="32"/>
                  </a:lnTo>
                  <a:lnTo>
                    <a:pt x="84" y="23"/>
                  </a:lnTo>
                  <a:lnTo>
                    <a:pt x="87" y="16"/>
                  </a:lnTo>
                  <a:lnTo>
                    <a:pt x="95" y="18"/>
                  </a:lnTo>
                  <a:lnTo>
                    <a:pt x="95" y="18"/>
                  </a:lnTo>
                  <a:lnTo>
                    <a:pt x="95" y="18"/>
                  </a:lnTo>
                  <a:lnTo>
                    <a:pt x="95" y="18"/>
                  </a:lnTo>
                  <a:lnTo>
                    <a:pt x="90" y="13"/>
                  </a:lnTo>
                  <a:lnTo>
                    <a:pt x="90" y="1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Portugal"/>
            <p:cNvSpPr>
              <a:spLocks/>
            </p:cNvSpPr>
            <p:nvPr/>
          </p:nvSpPr>
          <p:spPr bwMode="auto">
            <a:xfrm>
              <a:off x="5707062" y="2887663"/>
              <a:ext cx="98425" cy="204788"/>
            </a:xfrm>
            <a:custGeom>
              <a:avLst/>
              <a:gdLst>
                <a:gd name="T0" fmla="*/ 39 w 62"/>
                <a:gd name="T1" fmla="*/ 123 h 129"/>
                <a:gd name="T2" fmla="*/ 38 w 62"/>
                <a:gd name="T3" fmla="*/ 115 h 129"/>
                <a:gd name="T4" fmla="*/ 45 w 62"/>
                <a:gd name="T5" fmla="*/ 105 h 129"/>
                <a:gd name="T6" fmla="*/ 48 w 62"/>
                <a:gd name="T7" fmla="*/ 99 h 129"/>
                <a:gd name="T8" fmla="*/ 42 w 62"/>
                <a:gd name="T9" fmla="*/ 92 h 129"/>
                <a:gd name="T10" fmla="*/ 47 w 62"/>
                <a:gd name="T11" fmla="*/ 76 h 129"/>
                <a:gd name="T12" fmla="*/ 40 w 62"/>
                <a:gd name="T13" fmla="*/ 61 h 129"/>
                <a:gd name="T14" fmla="*/ 48 w 62"/>
                <a:gd name="T15" fmla="*/ 59 h 129"/>
                <a:gd name="T16" fmla="*/ 49 w 62"/>
                <a:gd name="T17" fmla="*/ 48 h 129"/>
                <a:gd name="T18" fmla="*/ 53 w 62"/>
                <a:gd name="T19" fmla="*/ 45 h 129"/>
                <a:gd name="T20" fmla="*/ 54 w 62"/>
                <a:gd name="T21" fmla="*/ 27 h 129"/>
                <a:gd name="T22" fmla="*/ 62 w 62"/>
                <a:gd name="T23" fmla="*/ 20 h 129"/>
                <a:gd name="T24" fmla="*/ 58 w 62"/>
                <a:gd name="T25" fmla="*/ 9 h 129"/>
                <a:gd name="T26" fmla="*/ 46 w 62"/>
                <a:gd name="T27" fmla="*/ 8 h 129"/>
                <a:gd name="T28" fmla="*/ 43 w 62"/>
                <a:gd name="T29" fmla="*/ 11 h 129"/>
                <a:gd name="T30" fmla="*/ 31 w 62"/>
                <a:gd name="T31" fmla="*/ 11 h 129"/>
                <a:gd name="T32" fmla="*/ 28 w 62"/>
                <a:gd name="T33" fmla="*/ 0 h 129"/>
                <a:gd name="T34" fmla="*/ 19 w 62"/>
                <a:gd name="T35" fmla="*/ 3 h 129"/>
                <a:gd name="T36" fmla="*/ 13 w 62"/>
                <a:gd name="T37" fmla="*/ 9 h 129"/>
                <a:gd name="T38" fmla="*/ 13 w 62"/>
                <a:gd name="T39" fmla="*/ 17 h 129"/>
                <a:gd name="T40" fmla="*/ 16 w 62"/>
                <a:gd name="T41" fmla="*/ 25 h 129"/>
                <a:gd name="T42" fmla="*/ 16 w 62"/>
                <a:gd name="T43" fmla="*/ 35 h 129"/>
                <a:gd name="T44" fmla="*/ 12 w 62"/>
                <a:gd name="T45" fmla="*/ 49 h 129"/>
                <a:gd name="T46" fmla="*/ 10 w 62"/>
                <a:gd name="T47" fmla="*/ 59 h 129"/>
                <a:gd name="T48" fmla="*/ 2 w 62"/>
                <a:gd name="T49" fmla="*/ 67 h 129"/>
                <a:gd name="T50" fmla="*/ 0 w 62"/>
                <a:gd name="T51" fmla="*/ 83 h 129"/>
                <a:gd name="T52" fmla="*/ 4 w 62"/>
                <a:gd name="T53" fmla="*/ 92 h 129"/>
                <a:gd name="T54" fmla="*/ 13 w 62"/>
                <a:gd name="T55" fmla="*/ 94 h 129"/>
                <a:gd name="T56" fmla="*/ 15 w 62"/>
                <a:gd name="T57" fmla="*/ 109 h 129"/>
                <a:gd name="T58" fmla="*/ 11 w 62"/>
                <a:gd name="T59" fmla="*/ 129 h 129"/>
                <a:gd name="T60" fmla="*/ 21 w 62"/>
                <a:gd name="T61" fmla="*/ 126 h 129"/>
                <a:gd name="T62" fmla="*/ 31 w 62"/>
                <a:gd name="T63" fmla="*/ 129 h 129"/>
                <a:gd name="T64" fmla="*/ 39 w 62"/>
                <a:gd name="T65" fmla="*/ 123 h 129"/>
                <a:gd name="T66" fmla="*/ 39 w 62"/>
                <a:gd name="T67"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29">
                  <a:moveTo>
                    <a:pt x="39" y="123"/>
                  </a:moveTo>
                  <a:lnTo>
                    <a:pt x="38" y="115"/>
                  </a:lnTo>
                  <a:lnTo>
                    <a:pt x="45" y="105"/>
                  </a:lnTo>
                  <a:lnTo>
                    <a:pt x="48" y="99"/>
                  </a:lnTo>
                  <a:lnTo>
                    <a:pt x="42" y="92"/>
                  </a:lnTo>
                  <a:lnTo>
                    <a:pt x="47" y="76"/>
                  </a:lnTo>
                  <a:lnTo>
                    <a:pt x="40" y="61"/>
                  </a:lnTo>
                  <a:lnTo>
                    <a:pt x="48" y="59"/>
                  </a:lnTo>
                  <a:lnTo>
                    <a:pt x="49" y="48"/>
                  </a:lnTo>
                  <a:lnTo>
                    <a:pt x="53" y="45"/>
                  </a:lnTo>
                  <a:lnTo>
                    <a:pt x="54" y="27"/>
                  </a:lnTo>
                  <a:lnTo>
                    <a:pt x="62" y="20"/>
                  </a:lnTo>
                  <a:lnTo>
                    <a:pt x="58" y="9"/>
                  </a:lnTo>
                  <a:lnTo>
                    <a:pt x="46" y="8"/>
                  </a:lnTo>
                  <a:lnTo>
                    <a:pt x="43" y="11"/>
                  </a:lnTo>
                  <a:lnTo>
                    <a:pt x="31" y="11"/>
                  </a:lnTo>
                  <a:lnTo>
                    <a:pt x="28" y="0"/>
                  </a:lnTo>
                  <a:lnTo>
                    <a:pt x="19" y="3"/>
                  </a:lnTo>
                  <a:lnTo>
                    <a:pt x="13" y="9"/>
                  </a:lnTo>
                  <a:lnTo>
                    <a:pt x="13" y="17"/>
                  </a:lnTo>
                  <a:lnTo>
                    <a:pt x="16" y="25"/>
                  </a:lnTo>
                  <a:lnTo>
                    <a:pt x="16" y="35"/>
                  </a:lnTo>
                  <a:lnTo>
                    <a:pt x="12" y="49"/>
                  </a:lnTo>
                  <a:lnTo>
                    <a:pt x="10" y="59"/>
                  </a:lnTo>
                  <a:lnTo>
                    <a:pt x="2" y="67"/>
                  </a:lnTo>
                  <a:lnTo>
                    <a:pt x="0" y="83"/>
                  </a:lnTo>
                  <a:lnTo>
                    <a:pt x="4" y="92"/>
                  </a:lnTo>
                  <a:lnTo>
                    <a:pt x="13" y="94"/>
                  </a:lnTo>
                  <a:lnTo>
                    <a:pt x="15" y="109"/>
                  </a:lnTo>
                  <a:lnTo>
                    <a:pt x="11" y="129"/>
                  </a:lnTo>
                  <a:lnTo>
                    <a:pt x="21" y="126"/>
                  </a:lnTo>
                  <a:lnTo>
                    <a:pt x="31" y="129"/>
                  </a:lnTo>
                  <a:lnTo>
                    <a:pt x="39" y="123"/>
                  </a:lnTo>
                  <a:lnTo>
                    <a:pt x="39" y="12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Paraguay"/>
            <p:cNvSpPr>
              <a:spLocks/>
            </p:cNvSpPr>
            <p:nvPr/>
          </p:nvSpPr>
          <p:spPr bwMode="auto">
            <a:xfrm>
              <a:off x="3957637" y="5213351"/>
              <a:ext cx="280987" cy="309563"/>
            </a:xfrm>
            <a:custGeom>
              <a:avLst/>
              <a:gdLst>
                <a:gd name="T0" fmla="*/ 89 w 177"/>
                <a:gd name="T1" fmla="*/ 19 h 195"/>
                <a:gd name="T2" fmla="*/ 88 w 177"/>
                <a:gd name="T3" fmla="*/ 12 h 195"/>
                <a:gd name="T4" fmla="*/ 67 w 177"/>
                <a:gd name="T5" fmla="*/ 0 h 195"/>
                <a:gd name="T6" fmla="*/ 48 w 177"/>
                <a:gd name="T7" fmla="*/ 0 h 195"/>
                <a:gd name="T8" fmla="*/ 13 w 177"/>
                <a:gd name="T9" fmla="*/ 6 h 195"/>
                <a:gd name="T10" fmla="*/ 5 w 177"/>
                <a:gd name="T11" fmla="*/ 28 h 195"/>
                <a:gd name="T12" fmla="*/ 6 w 177"/>
                <a:gd name="T13" fmla="*/ 40 h 195"/>
                <a:gd name="T14" fmla="*/ 0 w 177"/>
                <a:gd name="T15" fmla="*/ 69 h 195"/>
                <a:gd name="T16" fmla="*/ 42 w 177"/>
                <a:gd name="T17" fmla="*/ 107 h 195"/>
                <a:gd name="T18" fmla="*/ 59 w 177"/>
                <a:gd name="T19" fmla="*/ 111 h 195"/>
                <a:gd name="T20" fmla="*/ 86 w 177"/>
                <a:gd name="T21" fmla="*/ 129 h 195"/>
                <a:gd name="T22" fmla="*/ 108 w 177"/>
                <a:gd name="T23" fmla="*/ 138 h 195"/>
                <a:gd name="T24" fmla="*/ 112 w 177"/>
                <a:gd name="T25" fmla="*/ 148 h 195"/>
                <a:gd name="T26" fmla="*/ 96 w 177"/>
                <a:gd name="T27" fmla="*/ 185 h 195"/>
                <a:gd name="T28" fmla="*/ 118 w 177"/>
                <a:gd name="T29" fmla="*/ 191 h 195"/>
                <a:gd name="T30" fmla="*/ 141 w 177"/>
                <a:gd name="T31" fmla="*/ 195 h 195"/>
                <a:gd name="T32" fmla="*/ 157 w 177"/>
                <a:gd name="T33" fmla="*/ 191 h 195"/>
                <a:gd name="T34" fmla="*/ 173 w 177"/>
                <a:gd name="T35" fmla="*/ 172 h 195"/>
                <a:gd name="T36" fmla="*/ 174 w 177"/>
                <a:gd name="T37" fmla="*/ 152 h 195"/>
                <a:gd name="T38" fmla="*/ 176 w 177"/>
                <a:gd name="T39" fmla="*/ 138 h 195"/>
                <a:gd name="T40" fmla="*/ 177 w 177"/>
                <a:gd name="T41" fmla="*/ 124 h 195"/>
                <a:gd name="T42" fmla="*/ 176 w 177"/>
                <a:gd name="T43" fmla="*/ 111 h 195"/>
                <a:gd name="T44" fmla="*/ 168 w 177"/>
                <a:gd name="T45" fmla="*/ 106 h 195"/>
                <a:gd name="T46" fmla="*/ 161 w 177"/>
                <a:gd name="T47" fmla="*/ 111 h 195"/>
                <a:gd name="T48" fmla="*/ 153 w 177"/>
                <a:gd name="T49" fmla="*/ 109 h 195"/>
                <a:gd name="T50" fmla="*/ 150 w 177"/>
                <a:gd name="T51" fmla="*/ 100 h 195"/>
                <a:gd name="T52" fmla="*/ 147 w 177"/>
                <a:gd name="T53" fmla="*/ 78 h 195"/>
                <a:gd name="T54" fmla="*/ 142 w 177"/>
                <a:gd name="T55" fmla="*/ 72 h 195"/>
                <a:gd name="T56" fmla="*/ 127 w 177"/>
                <a:gd name="T57" fmla="*/ 65 h 195"/>
                <a:gd name="T58" fmla="*/ 119 w 177"/>
                <a:gd name="T59" fmla="*/ 70 h 195"/>
                <a:gd name="T60" fmla="*/ 97 w 177"/>
                <a:gd name="T61" fmla="*/ 65 h 195"/>
                <a:gd name="T62" fmla="*/ 95 w 177"/>
                <a:gd name="T63" fmla="*/ 32 h 195"/>
                <a:gd name="T64" fmla="*/ 89 w 177"/>
                <a:gd name="T65" fmla="*/ 19 h 195"/>
                <a:gd name="T66" fmla="*/ 89 w 177"/>
                <a:gd name="T67" fmla="*/ 1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95">
                  <a:moveTo>
                    <a:pt x="89" y="19"/>
                  </a:moveTo>
                  <a:lnTo>
                    <a:pt x="88" y="12"/>
                  </a:lnTo>
                  <a:lnTo>
                    <a:pt x="67" y="0"/>
                  </a:lnTo>
                  <a:lnTo>
                    <a:pt x="48" y="0"/>
                  </a:lnTo>
                  <a:lnTo>
                    <a:pt x="13" y="6"/>
                  </a:lnTo>
                  <a:lnTo>
                    <a:pt x="5" y="28"/>
                  </a:lnTo>
                  <a:lnTo>
                    <a:pt x="6" y="40"/>
                  </a:lnTo>
                  <a:lnTo>
                    <a:pt x="0" y="69"/>
                  </a:lnTo>
                  <a:lnTo>
                    <a:pt x="42" y="107"/>
                  </a:lnTo>
                  <a:lnTo>
                    <a:pt x="59" y="111"/>
                  </a:lnTo>
                  <a:lnTo>
                    <a:pt x="86" y="129"/>
                  </a:lnTo>
                  <a:lnTo>
                    <a:pt x="108" y="138"/>
                  </a:lnTo>
                  <a:lnTo>
                    <a:pt x="112" y="148"/>
                  </a:lnTo>
                  <a:lnTo>
                    <a:pt x="96" y="185"/>
                  </a:lnTo>
                  <a:lnTo>
                    <a:pt x="118" y="191"/>
                  </a:lnTo>
                  <a:lnTo>
                    <a:pt x="141" y="195"/>
                  </a:lnTo>
                  <a:lnTo>
                    <a:pt x="157" y="191"/>
                  </a:lnTo>
                  <a:lnTo>
                    <a:pt x="173" y="172"/>
                  </a:lnTo>
                  <a:lnTo>
                    <a:pt x="174" y="152"/>
                  </a:lnTo>
                  <a:lnTo>
                    <a:pt x="176" y="138"/>
                  </a:lnTo>
                  <a:lnTo>
                    <a:pt x="177" y="124"/>
                  </a:lnTo>
                  <a:lnTo>
                    <a:pt x="176" y="111"/>
                  </a:lnTo>
                  <a:lnTo>
                    <a:pt x="168" y="106"/>
                  </a:lnTo>
                  <a:lnTo>
                    <a:pt x="161" y="111"/>
                  </a:lnTo>
                  <a:lnTo>
                    <a:pt x="153" y="109"/>
                  </a:lnTo>
                  <a:lnTo>
                    <a:pt x="150" y="100"/>
                  </a:lnTo>
                  <a:lnTo>
                    <a:pt x="147" y="78"/>
                  </a:lnTo>
                  <a:lnTo>
                    <a:pt x="142" y="72"/>
                  </a:lnTo>
                  <a:lnTo>
                    <a:pt x="127" y="65"/>
                  </a:lnTo>
                  <a:lnTo>
                    <a:pt x="119" y="70"/>
                  </a:lnTo>
                  <a:lnTo>
                    <a:pt x="97" y="65"/>
                  </a:lnTo>
                  <a:lnTo>
                    <a:pt x="95" y="32"/>
                  </a:lnTo>
                  <a:lnTo>
                    <a:pt x="89" y="19"/>
                  </a:lnTo>
                  <a:lnTo>
                    <a:pt x="89" y="1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8" name="Cisjordania"/>
            <p:cNvSpPr>
              <a:spLocks/>
            </p:cNvSpPr>
            <p:nvPr/>
          </p:nvSpPr>
          <p:spPr bwMode="auto">
            <a:xfrm>
              <a:off x="7113587" y="3255963"/>
              <a:ext cx="17462" cy="44450"/>
            </a:xfrm>
            <a:custGeom>
              <a:avLst/>
              <a:gdLst>
                <a:gd name="T0" fmla="*/ 10 w 11"/>
                <a:gd name="T1" fmla="*/ 3 h 28"/>
                <a:gd name="T2" fmla="*/ 2 w 11"/>
                <a:gd name="T3" fmla="*/ 0 h 28"/>
                <a:gd name="T4" fmla="*/ 0 w 11"/>
                <a:gd name="T5" fmla="*/ 16 h 28"/>
                <a:gd name="T6" fmla="*/ 4 w 11"/>
                <a:gd name="T7" fmla="*/ 19 h 28"/>
                <a:gd name="T8" fmla="*/ 1 w 11"/>
                <a:gd name="T9" fmla="*/ 22 h 28"/>
                <a:gd name="T10" fmla="*/ 0 w 11"/>
                <a:gd name="T11" fmla="*/ 28 h 28"/>
                <a:gd name="T12" fmla="*/ 9 w 11"/>
                <a:gd name="T13" fmla="*/ 25 h 28"/>
                <a:gd name="T14" fmla="*/ 11 w 11"/>
                <a:gd name="T15" fmla="*/ 18 h 28"/>
                <a:gd name="T16" fmla="*/ 10 w 11"/>
                <a:gd name="T17" fmla="*/ 3 h 28"/>
                <a:gd name="T18" fmla="*/ 10 w 11"/>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10" y="3"/>
                  </a:moveTo>
                  <a:lnTo>
                    <a:pt x="2" y="0"/>
                  </a:lnTo>
                  <a:lnTo>
                    <a:pt x="0" y="16"/>
                  </a:lnTo>
                  <a:lnTo>
                    <a:pt x="4" y="19"/>
                  </a:lnTo>
                  <a:lnTo>
                    <a:pt x="1" y="22"/>
                  </a:lnTo>
                  <a:lnTo>
                    <a:pt x="0" y="28"/>
                  </a:lnTo>
                  <a:lnTo>
                    <a:pt x="9" y="25"/>
                  </a:lnTo>
                  <a:lnTo>
                    <a:pt x="11" y="18"/>
                  </a:lnTo>
                  <a:lnTo>
                    <a:pt x="10" y="3"/>
                  </a:lnTo>
                  <a:lnTo>
                    <a:pt x="10"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9" name="Bahrain"/>
            <p:cNvSpPr>
              <a:spLocks/>
            </p:cNvSpPr>
            <p:nvPr/>
          </p:nvSpPr>
          <p:spPr bwMode="auto">
            <a:xfrm>
              <a:off x="7645400" y="3497263"/>
              <a:ext cx="28575" cy="60325"/>
            </a:xfrm>
            <a:custGeom>
              <a:avLst/>
              <a:gdLst>
                <a:gd name="T0" fmla="*/ 15 w 18"/>
                <a:gd name="T1" fmla="*/ 36 h 38"/>
                <a:gd name="T2" fmla="*/ 18 w 18"/>
                <a:gd name="T3" fmla="*/ 22 h 38"/>
                <a:gd name="T4" fmla="*/ 16 w 18"/>
                <a:gd name="T5" fmla="*/ 8 h 38"/>
                <a:gd name="T6" fmla="*/ 9 w 18"/>
                <a:gd name="T7" fmla="*/ 0 h 38"/>
                <a:gd name="T8" fmla="*/ 4 w 18"/>
                <a:gd name="T9" fmla="*/ 3 h 38"/>
                <a:gd name="T10" fmla="*/ 0 w 18"/>
                <a:gd name="T11" fmla="*/ 15 h 38"/>
                <a:gd name="T12" fmla="*/ 3 w 18"/>
                <a:gd name="T13" fmla="*/ 33 h 38"/>
                <a:gd name="T14" fmla="*/ 9 w 18"/>
                <a:gd name="T15" fmla="*/ 38 h 38"/>
                <a:gd name="T16" fmla="*/ 15 w 18"/>
                <a:gd name="T17" fmla="*/ 36 h 38"/>
                <a:gd name="T18" fmla="*/ 15 w 18"/>
                <a:gd name="T19"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8">
                  <a:moveTo>
                    <a:pt x="15" y="36"/>
                  </a:moveTo>
                  <a:lnTo>
                    <a:pt x="18" y="22"/>
                  </a:lnTo>
                  <a:lnTo>
                    <a:pt x="16" y="8"/>
                  </a:lnTo>
                  <a:lnTo>
                    <a:pt x="9" y="0"/>
                  </a:lnTo>
                  <a:lnTo>
                    <a:pt x="4" y="3"/>
                  </a:lnTo>
                  <a:lnTo>
                    <a:pt x="0" y="15"/>
                  </a:lnTo>
                  <a:lnTo>
                    <a:pt x="3" y="33"/>
                  </a:lnTo>
                  <a:lnTo>
                    <a:pt x="9" y="38"/>
                  </a:lnTo>
                  <a:lnTo>
                    <a:pt x="15" y="36"/>
                  </a:lnTo>
                  <a:lnTo>
                    <a:pt x="15" y="3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Romania"/>
            <p:cNvSpPr>
              <a:spLocks/>
            </p:cNvSpPr>
            <p:nvPr/>
          </p:nvSpPr>
          <p:spPr bwMode="auto">
            <a:xfrm>
              <a:off x="6602412" y="2668588"/>
              <a:ext cx="284162" cy="168275"/>
            </a:xfrm>
            <a:custGeom>
              <a:avLst/>
              <a:gdLst>
                <a:gd name="T0" fmla="*/ 112 w 179"/>
                <a:gd name="T1" fmla="*/ 0 h 106"/>
                <a:gd name="T2" fmla="*/ 104 w 179"/>
                <a:gd name="T3" fmla="*/ 0 h 106"/>
                <a:gd name="T4" fmla="*/ 100 w 179"/>
                <a:gd name="T5" fmla="*/ 6 h 106"/>
                <a:gd name="T6" fmla="*/ 87 w 179"/>
                <a:gd name="T7" fmla="*/ 9 h 106"/>
                <a:gd name="T8" fmla="*/ 81 w 179"/>
                <a:gd name="T9" fmla="*/ 12 h 106"/>
                <a:gd name="T10" fmla="*/ 72 w 179"/>
                <a:gd name="T11" fmla="*/ 6 h 106"/>
                <a:gd name="T12" fmla="*/ 60 w 179"/>
                <a:gd name="T13" fmla="*/ 6 h 106"/>
                <a:gd name="T14" fmla="*/ 48 w 179"/>
                <a:gd name="T15" fmla="*/ 3 h 106"/>
                <a:gd name="T16" fmla="*/ 41 w 179"/>
                <a:gd name="T17" fmla="*/ 9 h 106"/>
                <a:gd name="T18" fmla="*/ 30 w 179"/>
                <a:gd name="T19" fmla="*/ 14 h 106"/>
                <a:gd name="T20" fmla="*/ 23 w 179"/>
                <a:gd name="T21" fmla="*/ 29 h 106"/>
                <a:gd name="T22" fmla="*/ 14 w 179"/>
                <a:gd name="T23" fmla="*/ 45 h 106"/>
                <a:gd name="T24" fmla="*/ 0 w 179"/>
                <a:gd name="T25" fmla="*/ 49 h 106"/>
                <a:gd name="T26" fmla="*/ 10 w 179"/>
                <a:gd name="T27" fmla="*/ 58 h 106"/>
                <a:gd name="T28" fmla="*/ 13 w 179"/>
                <a:gd name="T29" fmla="*/ 66 h 106"/>
                <a:gd name="T30" fmla="*/ 25 w 179"/>
                <a:gd name="T31" fmla="*/ 71 h 106"/>
                <a:gd name="T32" fmla="*/ 28 w 179"/>
                <a:gd name="T33" fmla="*/ 81 h 106"/>
                <a:gd name="T34" fmla="*/ 39 w 179"/>
                <a:gd name="T35" fmla="*/ 87 h 106"/>
                <a:gd name="T36" fmla="*/ 44 w 179"/>
                <a:gd name="T37" fmla="*/ 83 h 106"/>
                <a:gd name="T38" fmla="*/ 50 w 179"/>
                <a:gd name="T39" fmla="*/ 85 h 106"/>
                <a:gd name="T40" fmla="*/ 45 w 179"/>
                <a:gd name="T41" fmla="*/ 89 h 106"/>
                <a:gd name="T42" fmla="*/ 49 w 179"/>
                <a:gd name="T43" fmla="*/ 93 h 106"/>
                <a:gd name="T44" fmla="*/ 56 w 179"/>
                <a:gd name="T45" fmla="*/ 102 h 106"/>
                <a:gd name="T46" fmla="*/ 63 w 179"/>
                <a:gd name="T47" fmla="*/ 100 h 106"/>
                <a:gd name="T48" fmla="*/ 78 w 179"/>
                <a:gd name="T49" fmla="*/ 104 h 106"/>
                <a:gd name="T50" fmla="*/ 106 w 179"/>
                <a:gd name="T51" fmla="*/ 106 h 106"/>
                <a:gd name="T52" fmla="*/ 114 w 179"/>
                <a:gd name="T53" fmla="*/ 99 h 106"/>
                <a:gd name="T54" fmla="*/ 136 w 179"/>
                <a:gd name="T55" fmla="*/ 95 h 106"/>
                <a:gd name="T56" fmla="*/ 151 w 179"/>
                <a:gd name="T57" fmla="*/ 102 h 106"/>
                <a:gd name="T58" fmla="*/ 162 w 179"/>
                <a:gd name="T59" fmla="*/ 105 h 106"/>
                <a:gd name="T60" fmla="*/ 164 w 179"/>
                <a:gd name="T61" fmla="*/ 78 h 106"/>
                <a:gd name="T62" fmla="*/ 169 w 179"/>
                <a:gd name="T63" fmla="*/ 80 h 106"/>
                <a:gd name="T64" fmla="*/ 179 w 179"/>
                <a:gd name="T65" fmla="*/ 74 h 106"/>
                <a:gd name="T66" fmla="*/ 177 w 179"/>
                <a:gd name="T67" fmla="*/ 69 h 106"/>
                <a:gd name="T68" fmla="*/ 168 w 179"/>
                <a:gd name="T69" fmla="*/ 65 h 106"/>
                <a:gd name="T70" fmla="*/ 160 w 179"/>
                <a:gd name="T71" fmla="*/ 69 h 106"/>
                <a:gd name="T72" fmla="*/ 151 w 179"/>
                <a:gd name="T73" fmla="*/ 64 h 106"/>
                <a:gd name="T74" fmla="*/ 146 w 179"/>
                <a:gd name="T75" fmla="*/ 54 h 106"/>
                <a:gd name="T76" fmla="*/ 147 w 179"/>
                <a:gd name="T77" fmla="*/ 43 h 106"/>
                <a:gd name="T78" fmla="*/ 144 w 179"/>
                <a:gd name="T79" fmla="*/ 33 h 106"/>
                <a:gd name="T80" fmla="*/ 132 w 179"/>
                <a:gd name="T81" fmla="*/ 20 h 106"/>
                <a:gd name="T82" fmla="*/ 125 w 179"/>
                <a:gd name="T83" fmla="*/ 10 h 106"/>
                <a:gd name="T84" fmla="*/ 118 w 179"/>
                <a:gd name="T85" fmla="*/ 3 h 106"/>
                <a:gd name="T86" fmla="*/ 112 w 179"/>
                <a:gd name="T87" fmla="*/ 0 h 106"/>
                <a:gd name="T88" fmla="*/ 112 w 179"/>
                <a:gd name="T8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106">
                  <a:moveTo>
                    <a:pt x="112" y="0"/>
                  </a:moveTo>
                  <a:lnTo>
                    <a:pt x="104" y="0"/>
                  </a:lnTo>
                  <a:lnTo>
                    <a:pt x="100" y="6"/>
                  </a:lnTo>
                  <a:lnTo>
                    <a:pt x="87" y="9"/>
                  </a:lnTo>
                  <a:lnTo>
                    <a:pt x="81" y="12"/>
                  </a:lnTo>
                  <a:lnTo>
                    <a:pt x="72" y="6"/>
                  </a:lnTo>
                  <a:lnTo>
                    <a:pt x="60" y="6"/>
                  </a:lnTo>
                  <a:lnTo>
                    <a:pt x="48" y="3"/>
                  </a:lnTo>
                  <a:lnTo>
                    <a:pt x="41" y="9"/>
                  </a:lnTo>
                  <a:lnTo>
                    <a:pt x="30" y="14"/>
                  </a:lnTo>
                  <a:lnTo>
                    <a:pt x="23" y="29"/>
                  </a:lnTo>
                  <a:lnTo>
                    <a:pt x="14" y="45"/>
                  </a:lnTo>
                  <a:lnTo>
                    <a:pt x="0" y="49"/>
                  </a:lnTo>
                  <a:lnTo>
                    <a:pt x="10" y="58"/>
                  </a:lnTo>
                  <a:lnTo>
                    <a:pt x="13" y="66"/>
                  </a:lnTo>
                  <a:lnTo>
                    <a:pt x="25" y="71"/>
                  </a:lnTo>
                  <a:lnTo>
                    <a:pt x="28" y="81"/>
                  </a:lnTo>
                  <a:lnTo>
                    <a:pt x="39" y="87"/>
                  </a:lnTo>
                  <a:lnTo>
                    <a:pt x="44" y="83"/>
                  </a:lnTo>
                  <a:lnTo>
                    <a:pt x="50" y="85"/>
                  </a:lnTo>
                  <a:lnTo>
                    <a:pt x="45" y="89"/>
                  </a:lnTo>
                  <a:lnTo>
                    <a:pt x="49" y="93"/>
                  </a:lnTo>
                  <a:lnTo>
                    <a:pt x="56" y="102"/>
                  </a:lnTo>
                  <a:lnTo>
                    <a:pt x="63" y="100"/>
                  </a:lnTo>
                  <a:lnTo>
                    <a:pt x="78" y="104"/>
                  </a:lnTo>
                  <a:lnTo>
                    <a:pt x="106" y="106"/>
                  </a:lnTo>
                  <a:lnTo>
                    <a:pt x="114" y="99"/>
                  </a:lnTo>
                  <a:lnTo>
                    <a:pt x="136" y="95"/>
                  </a:lnTo>
                  <a:lnTo>
                    <a:pt x="151" y="102"/>
                  </a:lnTo>
                  <a:lnTo>
                    <a:pt x="162" y="105"/>
                  </a:lnTo>
                  <a:lnTo>
                    <a:pt x="164" y="78"/>
                  </a:lnTo>
                  <a:lnTo>
                    <a:pt x="169" y="80"/>
                  </a:lnTo>
                  <a:lnTo>
                    <a:pt x="179" y="74"/>
                  </a:lnTo>
                  <a:lnTo>
                    <a:pt x="177" y="69"/>
                  </a:lnTo>
                  <a:lnTo>
                    <a:pt x="168" y="65"/>
                  </a:lnTo>
                  <a:lnTo>
                    <a:pt x="160" y="69"/>
                  </a:lnTo>
                  <a:lnTo>
                    <a:pt x="151" y="64"/>
                  </a:lnTo>
                  <a:lnTo>
                    <a:pt x="146" y="54"/>
                  </a:lnTo>
                  <a:lnTo>
                    <a:pt x="147" y="43"/>
                  </a:lnTo>
                  <a:lnTo>
                    <a:pt x="144" y="33"/>
                  </a:lnTo>
                  <a:lnTo>
                    <a:pt x="132" y="20"/>
                  </a:lnTo>
                  <a:lnTo>
                    <a:pt x="125" y="10"/>
                  </a:lnTo>
                  <a:lnTo>
                    <a:pt x="118" y="3"/>
                  </a:lnTo>
                  <a:lnTo>
                    <a:pt x="112" y="0"/>
                  </a:lnTo>
                  <a:lnTo>
                    <a:pt x="112"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Russia"/>
            <p:cNvSpPr>
              <a:spLocks noEditPoints="1"/>
            </p:cNvSpPr>
            <p:nvPr/>
          </p:nvSpPr>
          <p:spPr bwMode="auto">
            <a:xfrm>
              <a:off x="6551612" y="1595438"/>
              <a:ext cx="4113212" cy="1333500"/>
            </a:xfrm>
            <a:custGeom>
              <a:avLst/>
              <a:gdLst>
                <a:gd name="T0" fmla="*/ 955 w 2591"/>
                <a:gd name="T1" fmla="*/ 40 h 840"/>
                <a:gd name="T2" fmla="*/ 261 w 2591"/>
                <a:gd name="T3" fmla="*/ 10 h 840"/>
                <a:gd name="T4" fmla="*/ 999 w 2591"/>
                <a:gd name="T5" fmla="*/ 29 h 840"/>
                <a:gd name="T6" fmla="*/ 1046 w 2591"/>
                <a:gd name="T7" fmla="*/ 80 h 840"/>
                <a:gd name="T8" fmla="*/ 899 w 2591"/>
                <a:gd name="T9" fmla="*/ 127 h 840"/>
                <a:gd name="T10" fmla="*/ 771 w 2591"/>
                <a:gd name="T11" fmla="*/ 176 h 840"/>
                <a:gd name="T12" fmla="*/ 798 w 2591"/>
                <a:gd name="T13" fmla="*/ 236 h 840"/>
                <a:gd name="T14" fmla="*/ 746 w 2591"/>
                <a:gd name="T15" fmla="*/ 195 h 840"/>
                <a:gd name="T16" fmla="*/ 668 w 2591"/>
                <a:gd name="T17" fmla="*/ 204 h 840"/>
                <a:gd name="T18" fmla="*/ 586 w 2591"/>
                <a:gd name="T19" fmla="*/ 224 h 840"/>
                <a:gd name="T20" fmla="*/ 400 w 2591"/>
                <a:gd name="T21" fmla="*/ 253 h 840"/>
                <a:gd name="T22" fmla="*/ 350 w 2591"/>
                <a:gd name="T23" fmla="*/ 268 h 840"/>
                <a:gd name="T24" fmla="*/ 250 w 2591"/>
                <a:gd name="T25" fmla="*/ 328 h 840"/>
                <a:gd name="T26" fmla="*/ 291 w 2591"/>
                <a:gd name="T27" fmla="*/ 254 h 840"/>
                <a:gd name="T28" fmla="*/ 117 w 2591"/>
                <a:gd name="T29" fmla="*/ 249 h 840"/>
                <a:gd name="T30" fmla="*/ 121 w 2591"/>
                <a:gd name="T31" fmla="*/ 400 h 840"/>
                <a:gd name="T32" fmla="*/ 142 w 2591"/>
                <a:gd name="T33" fmla="*/ 496 h 840"/>
                <a:gd name="T34" fmla="*/ 228 w 2591"/>
                <a:gd name="T35" fmla="*/ 553 h 840"/>
                <a:gd name="T36" fmla="*/ 240 w 2591"/>
                <a:gd name="T37" fmla="*/ 584 h 840"/>
                <a:gd name="T38" fmla="*/ 346 w 2591"/>
                <a:gd name="T39" fmla="*/ 637 h 840"/>
                <a:gd name="T40" fmla="*/ 379 w 2591"/>
                <a:gd name="T41" fmla="*/ 699 h 840"/>
                <a:gd name="T42" fmla="*/ 430 w 2591"/>
                <a:gd name="T43" fmla="*/ 789 h 840"/>
                <a:gd name="T44" fmla="*/ 573 w 2591"/>
                <a:gd name="T45" fmla="*/ 840 h 840"/>
                <a:gd name="T46" fmla="*/ 558 w 2591"/>
                <a:gd name="T47" fmla="*/ 715 h 840"/>
                <a:gd name="T48" fmla="*/ 567 w 2591"/>
                <a:gd name="T49" fmla="*/ 597 h 840"/>
                <a:gd name="T50" fmla="*/ 730 w 2591"/>
                <a:gd name="T51" fmla="*/ 591 h 840"/>
                <a:gd name="T52" fmla="*/ 893 w 2591"/>
                <a:gd name="T53" fmla="*/ 518 h 840"/>
                <a:gd name="T54" fmla="*/ 1106 w 2591"/>
                <a:gd name="T55" fmla="*/ 604 h 840"/>
                <a:gd name="T56" fmla="*/ 1277 w 2591"/>
                <a:gd name="T57" fmla="*/ 648 h 840"/>
                <a:gd name="T58" fmla="*/ 1427 w 2591"/>
                <a:gd name="T59" fmla="*/ 589 h 840"/>
                <a:gd name="T60" fmla="*/ 1639 w 2591"/>
                <a:gd name="T61" fmla="*/ 652 h 840"/>
                <a:gd name="T62" fmla="*/ 1824 w 2591"/>
                <a:gd name="T63" fmla="*/ 633 h 840"/>
                <a:gd name="T64" fmla="*/ 1901 w 2591"/>
                <a:gd name="T65" fmla="*/ 572 h 840"/>
                <a:gd name="T66" fmla="*/ 2139 w 2591"/>
                <a:gd name="T67" fmla="*/ 671 h 840"/>
                <a:gd name="T68" fmla="*/ 2148 w 2591"/>
                <a:gd name="T69" fmla="*/ 811 h 840"/>
                <a:gd name="T70" fmla="*/ 2214 w 2591"/>
                <a:gd name="T71" fmla="*/ 789 h 840"/>
                <a:gd name="T72" fmla="*/ 2122 w 2591"/>
                <a:gd name="T73" fmla="*/ 540 h 840"/>
                <a:gd name="T74" fmla="*/ 2172 w 2591"/>
                <a:gd name="T75" fmla="*/ 419 h 840"/>
                <a:gd name="T76" fmla="*/ 2325 w 2591"/>
                <a:gd name="T77" fmla="*/ 358 h 840"/>
                <a:gd name="T78" fmla="*/ 2428 w 2591"/>
                <a:gd name="T79" fmla="*/ 564 h 840"/>
                <a:gd name="T80" fmla="*/ 2483 w 2591"/>
                <a:gd name="T81" fmla="*/ 496 h 840"/>
                <a:gd name="T82" fmla="*/ 2511 w 2591"/>
                <a:gd name="T83" fmla="*/ 414 h 840"/>
                <a:gd name="T84" fmla="*/ 2524 w 2591"/>
                <a:gd name="T85" fmla="*/ 324 h 840"/>
                <a:gd name="T86" fmla="*/ 2228 w 2591"/>
                <a:gd name="T87" fmla="*/ 210 h 840"/>
                <a:gd name="T88" fmla="*/ 2027 w 2591"/>
                <a:gd name="T89" fmla="*/ 185 h 840"/>
                <a:gd name="T90" fmla="*/ 1657 w 2591"/>
                <a:gd name="T91" fmla="*/ 170 h 840"/>
                <a:gd name="T92" fmla="*/ 1426 w 2591"/>
                <a:gd name="T93" fmla="*/ 130 h 840"/>
                <a:gd name="T94" fmla="*/ 1217 w 2591"/>
                <a:gd name="T95" fmla="*/ 122 h 840"/>
                <a:gd name="T96" fmla="*/ 1119 w 2591"/>
                <a:gd name="T97" fmla="*/ 71 h 840"/>
                <a:gd name="T98" fmla="*/ 588 w 2591"/>
                <a:gd name="T99" fmla="*/ 71 h 840"/>
                <a:gd name="T100" fmla="*/ 424 w 2591"/>
                <a:gd name="T101" fmla="*/ 159 h 840"/>
                <a:gd name="T102" fmla="*/ 1581 w 2591"/>
                <a:gd name="T103" fmla="*/ 85 h 840"/>
                <a:gd name="T104" fmla="*/ 1712 w 2591"/>
                <a:gd name="T105" fmla="*/ 103 h 840"/>
                <a:gd name="T106" fmla="*/ 1679 w 2591"/>
                <a:gd name="T107" fmla="*/ 138 h 840"/>
                <a:gd name="T108" fmla="*/ 52 w 2591"/>
                <a:gd name="T109" fmla="*/ 525 h 840"/>
                <a:gd name="T110" fmla="*/ 2185 w 2591"/>
                <a:gd name="T111" fmla="*/ 551 h 840"/>
                <a:gd name="T112" fmla="*/ 2293 w 2591"/>
                <a:gd name="T113" fmla="*/ 70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1" h="840">
                  <a:moveTo>
                    <a:pt x="981" y="37"/>
                  </a:moveTo>
                  <a:lnTo>
                    <a:pt x="964" y="22"/>
                  </a:lnTo>
                  <a:lnTo>
                    <a:pt x="914" y="7"/>
                  </a:lnTo>
                  <a:lnTo>
                    <a:pt x="878" y="0"/>
                  </a:lnTo>
                  <a:lnTo>
                    <a:pt x="855" y="2"/>
                  </a:lnTo>
                  <a:lnTo>
                    <a:pt x="835" y="14"/>
                  </a:lnTo>
                  <a:lnTo>
                    <a:pt x="857" y="16"/>
                  </a:lnTo>
                  <a:lnTo>
                    <a:pt x="882" y="29"/>
                  </a:lnTo>
                  <a:lnTo>
                    <a:pt x="912" y="35"/>
                  </a:lnTo>
                  <a:lnTo>
                    <a:pt x="955" y="40"/>
                  </a:lnTo>
                  <a:lnTo>
                    <a:pt x="981" y="37"/>
                  </a:lnTo>
                  <a:close/>
                  <a:moveTo>
                    <a:pt x="314" y="10"/>
                  </a:moveTo>
                  <a:lnTo>
                    <a:pt x="317" y="8"/>
                  </a:lnTo>
                  <a:lnTo>
                    <a:pt x="296" y="4"/>
                  </a:lnTo>
                  <a:lnTo>
                    <a:pt x="286" y="7"/>
                  </a:lnTo>
                  <a:lnTo>
                    <a:pt x="281" y="11"/>
                  </a:lnTo>
                  <a:lnTo>
                    <a:pt x="275" y="6"/>
                  </a:lnTo>
                  <a:lnTo>
                    <a:pt x="256" y="7"/>
                  </a:lnTo>
                  <a:lnTo>
                    <a:pt x="232" y="10"/>
                  </a:lnTo>
                  <a:lnTo>
                    <a:pt x="261" y="10"/>
                  </a:lnTo>
                  <a:lnTo>
                    <a:pt x="258" y="14"/>
                  </a:lnTo>
                  <a:lnTo>
                    <a:pt x="273" y="18"/>
                  </a:lnTo>
                  <a:lnTo>
                    <a:pt x="287" y="16"/>
                  </a:lnTo>
                  <a:lnTo>
                    <a:pt x="287" y="14"/>
                  </a:lnTo>
                  <a:lnTo>
                    <a:pt x="299" y="13"/>
                  </a:lnTo>
                  <a:lnTo>
                    <a:pt x="314" y="10"/>
                  </a:lnTo>
                  <a:close/>
                  <a:moveTo>
                    <a:pt x="1062" y="47"/>
                  </a:moveTo>
                  <a:lnTo>
                    <a:pt x="1057" y="41"/>
                  </a:lnTo>
                  <a:lnTo>
                    <a:pt x="1010" y="30"/>
                  </a:lnTo>
                  <a:lnTo>
                    <a:pt x="999" y="29"/>
                  </a:lnTo>
                  <a:lnTo>
                    <a:pt x="991" y="31"/>
                  </a:lnTo>
                  <a:lnTo>
                    <a:pt x="995" y="54"/>
                  </a:lnTo>
                  <a:lnTo>
                    <a:pt x="1062" y="47"/>
                  </a:lnTo>
                  <a:close/>
                  <a:moveTo>
                    <a:pt x="1119" y="71"/>
                  </a:moveTo>
                  <a:lnTo>
                    <a:pt x="1085" y="68"/>
                  </a:lnTo>
                  <a:lnTo>
                    <a:pt x="1098" y="63"/>
                  </a:lnTo>
                  <a:lnTo>
                    <a:pt x="1067" y="57"/>
                  </a:lnTo>
                  <a:lnTo>
                    <a:pt x="1045" y="65"/>
                  </a:lnTo>
                  <a:lnTo>
                    <a:pt x="1041" y="72"/>
                  </a:lnTo>
                  <a:lnTo>
                    <a:pt x="1046" y="80"/>
                  </a:lnTo>
                  <a:lnTo>
                    <a:pt x="1020" y="80"/>
                  </a:lnTo>
                  <a:lnTo>
                    <a:pt x="1001" y="89"/>
                  </a:lnTo>
                  <a:lnTo>
                    <a:pt x="985" y="85"/>
                  </a:lnTo>
                  <a:lnTo>
                    <a:pt x="950" y="87"/>
                  </a:lnTo>
                  <a:lnTo>
                    <a:pt x="951" y="92"/>
                  </a:lnTo>
                  <a:lnTo>
                    <a:pt x="917" y="95"/>
                  </a:lnTo>
                  <a:lnTo>
                    <a:pt x="898" y="104"/>
                  </a:lnTo>
                  <a:lnTo>
                    <a:pt x="883" y="104"/>
                  </a:lnTo>
                  <a:lnTo>
                    <a:pt x="878" y="117"/>
                  </a:lnTo>
                  <a:lnTo>
                    <a:pt x="899" y="127"/>
                  </a:lnTo>
                  <a:lnTo>
                    <a:pt x="870" y="129"/>
                  </a:lnTo>
                  <a:lnTo>
                    <a:pt x="835" y="128"/>
                  </a:lnTo>
                  <a:lnTo>
                    <a:pt x="813" y="132"/>
                  </a:lnTo>
                  <a:lnTo>
                    <a:pt x="831" y="153"/>
                  </a:lnTo>
                  <a:lnTo>
                    <a:pt x="857" y="169"/>
                  </a:lnTo>
                  <a:lnTo>
                    <a:pt x="821" y="157"/>
                  </a:lnTo>
                  <a:lnTo>
                    <a:pt x="792" y="158"/>
                  </a:lnTo>
                  <a:lnTo>
                    <a:pt x="772" y="166"/>
                  </a:lnTo>
                  <a:lnTo>
                    <a:pt x="789" y="180"/>
                  </a:lnTo>
                  <a:lnTo>
                    <a:pt x="771" y="176"/>
                  </a:lnTo>
                  <a:lnTo>
                    <a:pt x="763" y="157"/>
                  </a:lnTo>
                  <a:lnTo>
                    <a:pt x="747" y="147"/>
                  </a:lnTo>
                  <a:lnTo>
                    <a:pt x="740" y="147"/>
                  </a:lnTo>
                  <a:lnTo>
                    <a:pt x="754" y="161"/>
                  </a:lnTo>
                  <a:lnTo>
                    <a:pt x="736" y="174"/>
                  </a:lnTo>
                  <a:lnTo>
                    <a:pt x="767" y="190"/>
                  </a:lnTo>
                  <a:lnTo>
                    <a:pt x="768" y="211"/>
                  </a:lnTo>
                  <a:lnTo>
                    <a:pt x="779" y="221"/>
                  </a:lnTo>
                  <a:lnTo>
                    <a:pt x="797" y="223"/>
                  </a:lnTo>
                  <a:lnTo>
                    <a:pt x="798" y="236"/>
                  </a:lnTo>
                  <a:lnTo>
                    <a:pt x="815" y="248"/>
                  </a:lnTo>
                  <a:lnTo>
                    <a:pt x="807" y="257"/>
                  </a:lnTo>
                  <a:lnTo>
                    <a:pt x="809" y="268"/>
                  </a:lnTo>
                  <a:lnTo>
                    <a:pt x="795" y="272"/>
                  </a:lnTo>
                  <a:lnTo>
                    <a:pt x="793" y="280"/>
                  </a:lnTo>
                  <a:lnTo>
                    <a:pt x="774" y="277"/>
                  </a:lnTo>
                  <a:lnTo>
                    <a:pt x="787" y="248"/>
                  </a:lnTo>
                  <a:lnTo>
                    <a:pt x="785" y="235"/>
                  </a:lnTo>
                  <a:lnTo>
                    <a:pt x="760" y="222"/>
                  </a:lnTo>
                  <a:lnTo>
                    <a:pt x="746" y="195"/>
                  </a:lnTo>
                  <a:lnTo>
                    <a:pt x="732" y="181"/>
                  </a:lnTo>
                  <a:lnTo>
                    <a:pt x="719" y="175"/>
                  </a:lnTo>
                  <a:lnTo>
                    <a:pt x="722" y="159"/>
                  </a:lnTo>
                  <a:lnTo>
                    <a:pt x="711" y="149"/>
                  </a:lnTo>
                  <a:lnTo>
                    <a:pt x="668" y="143"/>
                  </a:lnTo>
                  <a:lnTo>
                    <a:pt x="661" y="147"/>
                  </a:lnTo>
                  <a:lnTo>
                    <a:pt x="663" y="165"/>
                  </a:lnTo>
                  <a:lnTo>
                    <a:pt x="647" y="183"/>
                  </a:lnTo>
                  <a:lnTo>
                    <a:pt x="652" y="188"/>
                  </a:lnTo>
                  <a:lnTo>
                    <a:pt x="668" y="204"/>
                  </a:lnTo>
                  <a:lnTo>
                    <a:pt x="669" y="213"/>
                  </a:lnTo>
                  <a:lnTo>
                    <a:pt x="689" y="215"/>
                  </a:lnTo>
                  <a:lnTo>
                    <a:pt x="692" y="220"/>
                  </a:lnTo>
                  <a:lnTo>
                    <a:pt x="713" y="230"/>
                  </a:lnTo>
                  <a:lnTo>
                    <a:pt x="709" y="240"/>
                  </a:lnTo>
                  <a:lnTo>
                    <a:pt x="640" y="218"/>
                  </a:lnTo>
                  <a:lnTo>
                    <a:pt x="616" y="212"/>
                  </a:lnTo>
                  <a:lnTo>
                    <a:pt x="568" y="206"/>
                  </a:lnTo>
                  <a:lnTo>
                    <a:pt x="564" y="212"/>
                  </a:lnTo>
                  <a:lnTo>
                    <a:pt x="586" y="224"/>
                  </a:lnTo>
                  <a:lnTo>
                    <a:pt x="576" y="237"/>
                  </a:lnTo>
                  <a:lnTo>
                    <a:pt x="552" y="226"/>
                  </a:lnTo>
                  <a:lnTo>
                    <a:pt x="533" y="233"/>
                  </a:lnTo>
                  <a:lnTo>
                    <a:pt x="505" y="234"/>
                  </a:lnTo>
                  <a:lnTo>
                    <a:pt x="497" y="240"/>
                  </a:lnTo>
                  <a:lnTo>
                    <a:pt x="477" y="239"/>
                  </a:lnTo>
                  <a:lnTo>
                    <a:pt x="486" y="226"/>
                  </a:lnTo>
                  <a:lnTo>
                    <a:pt x="474" y="226"/>
                  </a:lnTo>
                  <a:lnTo>
                    <a:pt x="428" y="242"/>
                  </a:lnTo>
                  <a:lnTo>
                    <a:pt x="400" y="253"/>
                  </a:lnTo>
                  <a:lnTo>
                    <a:pt x="401" y="266"/>
                  </a:lnTo>
                  <a:lnTo>
                    <a:pt x="379" y="270"/>
                  </a:lnTo>
                  <a:lnTo>
                    <a:pt x="364" y="263"/>
                  </a:lnTo>
                  <a:lnTo>
                    <a:pt x="360" y="252"/>
                  </a:lnTo>
                  <a:lnTo>
                    <a:pt x="379" y="249"/>
                  </a:lnTo>
                  <a:lnTo>
                    <a:pt x="365" y="238"/>
                  </a:lnTo>
                  <a:lnTo>
                    <a:pt x="319" y="231"/>
                  </a:lnTo>
                  <a:lnTo>
                    <a:pt x="336" y="244"/>
                  </a:lnTo>
                  <a:lnTo>
                    <a:pt x="332" y="255"/>
                  </a:lnTo>
                  <a:lnTo>
                    <a:pt x="350" y="268"/>
                  </a:lnTo>
                  <a:lnTo>
                    <a:pt x="346" y="282"/>
                  </a:lnTo>
                  <a:lnTo>
                    <a:pt x="328" y="275"/>
                  </a:lnTo>
                  <a:lnTo>
                    <a:pt x="314" y="274"/>
                  </a:lnTo>
                  <a:lnTo>
                    <a:pt x="284" y="295"/>
                  </a:lnTo>
                  <a:lnTo>
                    <a:pt x="300" y="310"/>
                  </a:lnTo>
                  <a:lnTo>
                    <a:pt x="287" y="315"/>
                  </a:lnTo>
                  <a:lnTo>
                    <a:pt x="245" y="302"/>
                  </a:lnTo>
                  <a:lnTo>
                    <a:pt x="237" y="310"/>
                  </a:lnTo>
                  <a:lnTo>
                    <a:pt x="250" y="319"/>
                  </a:lnTo>
                  <a:lnTo>
                    <a:pt x="250" y="328"/>
                  </a:lnTo>
                  <a:lnTo>
                    <a:pt x="236" y="324"/>
                  </a:lnTo>
                  <a:lnTo>
                    <a:pt x="214" y="317"/>
                  </a:lnTo>
                  <a:lnTo>
                    <a:pt x="207" y="296"/>
                  </a:lnTo>
                  <a:lnTo>
                    <a:pt x="203" y="285"/>
                  </a:lnTo>
                  <a:lnTo>
                    <a:pt x="173" y="270"/>
                  </a:lnTo>
                  <a:lnTo>
                    <a:pt x="184" y="268"/>
                  </a:lnTo>
                  <a:lnTo>
                    <a:pt x="259" y="283"/>
                  </a:lnTo>
                  <a:lnTo>
                    <a:pt x="283" y="278"/>
                  </a:lnTo>
                  <a:lnTo>
                    <a:pt x="297" y="268"/>
                  </a:lnTo>
                  <a:lnTo>
                    <a:pt x="291" y="254"/>
                  </a:lnTo>
                  <a:lnTo>
                    <a:pt x="276" y="244"/>
                  </a:lnTo>
                  <a:lnTo>
                    <a:pt x="210" y="222"/>
                  </a:lnTo>
                  <a:lnTo>
                    <a:pt x="167" y="216"/>
                  </a:lnTo>
                  <a:lnTo>
                    <a:pt x="138" y="205"/>
                  </a:lnTo>
                  <a:lnTo>
                    <a:pt x="125" y="212"/>
                  </a:lnTo>
                  <a:lnTo>
                    <a:pt x="125" y="212"/>
                  </a:lnTo>
                  <a:lnTo>
                    <a:pt x="101" y="220"/>
                  </a:lnTo>
                  <a:lnTo>
                    <a:pt x="89" y="222"/>
                  </a:lnTo>
                  <a:lnTo>
                    <a:pt x="90" y="235"/>
                  </a:lnTo>
                  <a:lnTo>
                    <a:pt x="117" y="249"/>
                  </a:lnTo>
                  <a:lnTo>
                    <a:pt x="107" y="265"/>
                  </a:lnTo>
                  <a:lnTo>
                    <a:pt x="131" y="288"/>
                  </a:lnTo>
                  <a:lnTo>
                    <a:pt x="125" y="306"/>
                  </a:lnTo>
                  <a:lnTo>
                    <a:pt x="143" y="321"/>
                  </a:lnTo>
                  <a:lnTo>
                    <a:pt x="140" y="335"/>
                  </a:lnTo>
                  <a:lnTo>
                    <a:pt x="167" y="350"/>
                  </a:lnTo>
                  <a:lnTo>
                    <a:pt x="163" y="360"/>
                  </a:lnTo>
                  <a:lnTo>
                    <a:pt x="151" y="373"/>
                  </a:lnTo>
                  <a:lnTo>
                    <a:pt x="121" y="400"/>
                  </a:lnTo>
                  <a:lnTo>
                    <a:pt x="121" y="400"/>
                  </a:lnTo>
                  <a:lnTo>
                    <a:pt x="142" y="410"/>
                  </a:lnTo>
                  <a:lnTo>
                    <a:pt x="125" y="423"/>
                  </a:lnTo>
                  <a:lnTo>
                    <a:pt x="125" y="423"/>
                  </a:lnTo>
                  <a:lnTo>
                    <a:pt x="128" y="426"/>
                  </a:lnTo>
                  <a:lnTo>
                    <a:pt x="118" y="439"/>
                  </a:lnTo>
                  <a:lnTo>
                    <a:pt x="128" y="460"/>
                  </a:lnTo>
                  <a:lnTo>
                    <a:pt x="121" y="466"/>
                  </a:lnTo>
                  <a:lnTo>
                    <a:pt x="131" y="472"/>
                  </a:lnTo>
                  <a:lnTo>
                    <a:pt x="134" y="482"/>
                  </a:lnTo>
                  <a:lnTo>
                    <a:pt x="142" y="496"/>
                  </a:lnTo>
                  <a:lnTo>
                    <a:pt x="161" y="502"/>
                  </a:lnTo>
                  <a:lnTo>
                    <a:pt x="165" y="507"/>
                  </a:lnTo>
                  <a:lnTo>
                    <a:pt x="173" y="504"/>
                  </a:lnTo>
                  <a:lnTo>
                    <a:pt x="192" y="509"/>
                  </a:lnTo>
                  <a:lnTo>
                    <a:pt x="196" y="521"/>
                  </a:lnTo>
                  <a:lnTo>
                    <a:pt x="193" y="526"/>
                  </a:lnTo>
                  <a:lnTo>
                    <a:pt x="207" y="541"/>
                  </a:lnTo>
                  <a:lnTo>
                    <a:pt x="216" y="545"/>
                  </a:lnTo>
                  <a:lnTo>
                    <a:pt x="215" y="549"/>
                  </a:lnTo>
                  <a:lnTo>
                    <a:pt x="228" y="553"/>
                  </a:lnTo>
                  <a:lnTo>
                    <a:pt x="234" y="559"/>
                  </a:lnTo>
                  <a:lnTo>
                    <a:pt x="228" y="564"/>
                  </a:lnTo>
                  <a:lnTo>
                    <a:pt x="214" y="564"/>
                  </a:lnTo>
                  <a:lnTo>
                    <a:pt x="211" y="565"/>
                  </a:lnTo>
                  <a:lnTo>
                    <a:pt x="216" y="573"/>
                  </a:lnTo>
                  <a:lnTo>
                    <a:pt x="224" y="588"/>
                  </a:lnTo>
                  <a:lnTo>
                    <a:pt x="224" y="588"/>
                  </a:lnTo>
                  <a:lnTo>
                    <a:pt x="230" y="588"/>
                  </a:lnTo>
                  <a:lnTo>
                    <a:pt x="234" y="583"/>
                  </a:lnTo>
                  <a:lnTo>
                    <a:pt x="240" y="584"/>
                  </a:lnTo>
                  <a:lnTo>
                    <a:pt x="258" y="582"/>
                  </a:lnTo>
                  <a:lnTo>
                    <a:pt x="272" y="595"/>
                  </a:lnTo>
                  <a:lnTo>
                    <a:pt x="269" y="600"/>
                  </a:lnTo>
                  <a:lnTo>
                    <a:pt x="271" y="606"/>
                  </a:lnTo>
                  <a:lnTo>
                    <a:pt x="286" y="607"/>
                  </a:lnTo>
                  <a:lnTo>
                    <a:pt x="294" y="618"/>
                  </a:lnTo>
                  <a:lnTo>
                    <a:pt x="295" y="622"/>
                  </a:lnTo>
                  <a:lnTo>
                    <a:pt x="319" y="631"/>
                  </a:lnTo>
                  <a:lnTo>
                    <a:pt x="332" y="627"/>
                  </a:lnTo>
                  <a:lnTo>
                    <a:pt x="346" y="637"/>
                  </a:lnTo>
                  <a:lnTo>
                    <a:pt x="356" y="637"/>
                  </a:lnTo>
                  <a:lnTo>
                    <a:pt x="385" y="645"/>
                  </a:lnTo>
                  <a:lnTo>
                    <a:pt x="386" y="651"/>
                  </a:lnTo>
                  <a:lnTo>
                    <a:pt x="382" y="663"/>
                  </a:lnTo>
                  <a:lnTo>
                    <a:pt x="388" y="676"/>
                  </a:lnTo>
                  <a:lnTo>
                    <a:pt x="387" y="684"/>
                  </a:lnTo>
                  <a:lnTo>
                    <a:pt x="370" y="686"/>
                  </a:lnTo>
                  <a:lnTo>
                    <a:pt x="362" y="692"/>
                  </a:lnTo>
                  <a:lnTo>
                    <a:pt x="363" y="703"/>
                  </a:lnTo>
                  <a:lnTo>
                    <a:pt x="379" y="699"/>
                  </a:lnTo>
                  <a:lnTo>
                    <a:pt x="381" y="704"/>
                  </a:lnTo>
                  <a:lnTo>
                    <a:pt x="355" y="714"/>
                  </a:lnTo>
                  <a:lnTo>
                    <a:pt x="367" y="722"/>
                  </a:lnTo>
                  <a:lnTo>
                    <a:pt x="355" y="742"/>
                  </a:lnTo>
                  <a:lnTo>
                    <a:pt x="342" y="746"/>
                  </a:lnTo>
                  <a:lnTo>
                    <a:pt x="361" y="760"/>
                  </a:lnTo>
                  <a:lnTo>
                    <a:pt x="384" y="768"/>
                  </a:lnTo>
                  <a:lnTo>
                    <a:pt x="412" y="788"/>
                  </a:lnTo>
                  <a:lnTo>
                    <a:pt x="413" y="785"/>
                  </a:lnTo>
                  <a:lnTo>
                    <a:pt x="430" y="789"/>
                  </a:lnTo>
                  <a:lnTo>
                    <a:pt x="459" y="792"/>
                  </a:lnTo>
                  <a:lnTo>
                    <a:pt x="487" y="803"/>
                  </a:lnTo>
                  <a:lnTo>
                    <a:pt x="491" y="808"/>
                  </a:lnTo>
                  <a:lnTo>
                    <a:pt x="502" y="804"/>
                  </a:lnTo>
                  <a:lnTo>
                    <a:pt x="521" y="809"/>
                  </a:lnTo>
                  <a:lnTo>
                    <a:pt x="529" y="818"/>
                  </a:lnTo>
                  <a:lnTo>
                    <a:pt x="542" y="823"/>
                  </a:lnTo>
                  <a:lnTo>
                    <a:pt x="548" y="824"/>
                  </a:lnTo>
                  <a:lnTo>
                    <a:pt x="564" y="838"/>
                  </a:lnTo>
                  <a:lnTo>
                    <a:pt x="573" y="840"/>
                  </a:lnTo>
                  <a:lnTo>
                    <a:pt x="575" y="834"/>
                  </a:lnTo>
                  <a:lnTo>
                    <a:pt x="584" y="825"/>
                  </a:lnTo>
                  <a:lnTo>
                    <a:pt x="584" y="825"/>
                  </a:lnTo>
                  <a:lnTo>
                    <a:pt x="557" y="798"/>
                  </a:lnTo>
                  <a:lnTo>
                    <a:pt x="555" y="782"/>
                  </a:lnTo>
                  <a:lnTo>
                    <a:pt x="534" y="761"/>
                  </a:lnTo>
                  <a:lnTo>
                    <a:pt x="547" y="737"/>
                  </a:lnTo>
                  <a:lnTo>
                    <a:pt x="564" y="732"/>
                  </a:lnTo>
                  <a:lnTo>
                    <a:pt x="569" y="718"/>
                  </a:lnTo>
                  <a:lnTo>
                    <a:pt x="558" y="715"/>
                  </a:lnTo>
                  <a:lnTo>
                    <a:pt x="558" y="704"/>
                  </a:lnTo>
                  <a:lnTo>
                    <a:pt x="542" y="688"/>
                  </a:lnTo>
                  <a:lnTo>
                    <a:pt x="528" y="689"/>
                  </a:lnTo>
                  <a:lnTo>
                    <a:pt x="509" y="673"/>
                  </a:lnTo>
                  <a:lnTo>
                    <a:pt x="515" y="655"/>
                  </a:lnTo>
                  <a:lnTo>
                    <a:pt x="509" y="650"/>
                  </a:lnTo>
                  <a:lnTo>
                    <a:pt x="517" y="625"/>
                  </a:lnTo>
                  <a:lnTo>
                    <a:pt x="539" y="638"/>
                  </a:lnTo>
                  <a:lnTo>
                    <a:pt x="537" y="621"/>
                  </a:lnTo>
                  <a:lnTo>
                    <a:pt x="567" y="597"/>
                  </a:lnTo>
                  <a:lnTo>
                    <a:pt x="595" y="596"/>
                  </a:lnTo>
                  <a:lnTo>
                    <a:pt x="639" y="612"/>
                  </a:lnTo>
                  <a:lnTo>
                    <a:pt x="664" y="621"/>
                  </a:lnTo>
                  <a:lnTo>
                    <a:pt x="680" y="612"/>
                  </a:lnTo>
                  <a:lnTo>
                    <a:pt x="708" y="611"/>
                  </a:lnTo>
                  <a:lnTo>
                    <a:pt x="736" y="623"/>
                  </a:lnTo>
                  <a:lnTo>
                    <a:pt x="738" y="616"/>
                  </a:lnTo>
                  <a:lnTo>
                    <a:pt x="764" y="618"/>
                  </a:lnTo>
                  <a:lnTo>
                    <a:pt x="765" y="606"/>
                  </a:lnTo>
                  <a:lnTo>
                    <a:pt x="730" y="591"/>
                  </a:lnTo>
                  <a:lnTo>
                    <a:pt x="743" y="579"/>
                  </a:lnTo>
                  <a:lnTo>
                    <a:pt x="737" y="573"/>
                  </a:lnTo>
                  <a:lnTo>
                    <a:pt x="752" y="567"/>
                  </a:lnTo>
                  <a:lnTo>
                    <a:pt x="734" y="552"/>
                  </a:lnTo>
                  <a:lnTo>
                    <a:pt x="739" y="544"/>
                  </a:lnTo>
                  <a:lnTo>
                    <a:pt x="802" y="536"/>
                  </a:lnTo>
                  <a:lnTo>
                    <a:pt x="808" y="531"/>
                  </a:lnTo>
                  <a:lnTo>
                    <a:pt x="849" y="522"/>
                  </a:lnTo>
                  <a:lnTo>
                    <a:pt x="860" y="513"/>
                  </a:lnTo>
                  <a:lnTo>
                    <a:pt x="893" y="518"/>
                  </a:lnTo>
                  <a:lnTo>
                    <a:pt x="909" y="541"/>
                  </a:lnTo>
                  <a:lnTo>
                    <a:pt x="926" y="535"/>
                  </a:lnTo>
                  <a:lnTo>
                    <a:pt x="952" y="544"/>
                  </a:lnTo>
                  <a:lnTo>
                    <a:pt x="956" y="556"/>
                  </a:lnTo>
                  <a:lnTo>
                    <a:pt x="973" y="554"/>
                  </a:lnTo>
                  <a:lnTo>
                    <a:pt x="1006" y="534"/>
                  </a:lnTo>
                  <a:lnTo>
                    <a:pt x="1004" y="540"/>
                  </a:lnTo>
                  <a:lnTo>
                    <a:pt x="1034" y="558"/>
                  </a:lnTo>
                  <a:lnTo>
                    <a:pt x="1102" y="616"/>
                  </a:lnTo>
                  <a:lnTo>
                    <a:pt x="1106" y="604"/>
                  </a:lnTo>
                  <a:lnTo>
                    <a:pt x="1137" y="617"/>
                  </a:lnTo>
                  <a:lnTo>
                    <a:pt x="1160" y="611"/>
                  </a:lnTo>
                  <a:lnTo>
                    <a:pt x="1173" y="615"/>
                  </a:lnTo>
                  <a:lnTo>
                    <a:pt x="1187" y="629"/>
                  </a:lnTo>
                  <a:lnTo>
                    <a:pt x="1202" y="633"/>
                  </a:lnTo>
                  <a:lnTo>
                    <a:pt x="1215" y="643"/>
                  </a:lnTo>
                  <a:lnTo>
                    <a:pt x="1237" y="639"/>
                  </a:lnTo>
                  <a:lnTo>
                    <a:pt x="1253" y="653"/>
                  </a:lnTo>
                  <a:lnTo>
                    <a:pt x="1259" y="651"/>
                  </a:lnTo>
                  <a:lnTo>
                    <a:pt x="1277" y="648"/>
                  </a:lnTo>
                  <a:lnTo>
                    <a:pt x="1301" y="628"/>
                  </a:lnTo>
                  <a:lnTo>
                    <a:pt x="1324" y="617"/>
                  </a:lnTo>
                  <a:lnTo>
                    <a:pt x="1343" y="624"/>
                  </a:lnTo>
                  <a:lnTo>
                    <a:pt x="1363" y="624"/>
                  </a:lnTo>
                  <a:lnTo>
                    <a:pt x="1380" y="635"/>
                  </a:lnTo>
                  <a:lnTo>
                    <a:pt x="1398" y="636"/>
                  </a:lnTo>
                  <a:lnTo>
                    <a:pt x="1428" y="642"/>
                  </a:lnTo>
                  <a:lnTo>
                    <a:pt x="1438" y="626"/>
                  </a:lnTo>
                  <a:lnTo>
                    <a:pt x="1423" y="612"/>
                  </a:lnTo>
                  <a:lnTo>
                    <a:pt x="1427" y="589"/>
                  </a:lnTo>
                  <a:lnTo>
                    <a:pt x="1453" y="598"/>
                  </a:lnTo>
                  <a:lnTo>
                    <a:pt x="1471" y="601"/>
                  </a:lnTo>
                  <a:lnTo>
                    <a:pt x="1496" y="606"/>
                  </a:lnTo>
                  <a:lnTo>
                    <a:pt x="1510" y="623"/>
                  </a:lnTo>
                  <a:lnTo>
                    <a:pt x="1540" y="634"/>
                  </a:lnTo>
                  <a:lnTo>
                    <a:pt x="1555" y="629"/>
                  </a:lnTo>
                  <a:lnTo>
                    <a:pt x="1577" y="626"/>
                  </a:lnTo>
                  <a:lnTo>
                    <a:pt x="1596" y="629"/>
                  </a:lnTo>
                  <a:lnTo>
                    <a:pt x="1621" y="640"/>
                  </a:lnTo>
                  <a:lnTo>
                    <a:pt x="1639" y="652"/>
                  </a:lnTo>
                  <a:lnTo>
                    <a:pt x="1656" y="652"/>
                  </a:lnTo>
                  <a:lnTo>
                    <a:pt x="1681" y="656"/>
                  </a:lnTo>
                  <a:lnTo>
                    <a:pt x="1694" y="649"/>
                  </a:lnTo>
                  <a:lnTo>
                    <a:pt x="1716" y="646"/>
                  </a:lnTo>
                  <a:lnTo>
                    <a:pt x="1733" y="630"/>
                  </a:lnTo>
                  <a:lnTo>
                    <a:pt x="1746" y="633"/>
                  </a:lnTo>
                  <a:lnTo>
                    <a:pt x="1760" y="640"/>
                  </a:lnTo>
                  <a:lnTo>
                    <a:pt x="1780" y="638"/>
                  </a:lnTo>
                  <a:lnTo>
                    <a:pt x="1807" y="647"/>
                  </a:lnTo>
                  <a:lnTo>
                    <a:pt x="1824" y="633"/>
                  </a:lnTo>
                  <a:lnTo>
                    <a:pt x="1817" y="622"/>
                  </a:lnTo>
                  <a:lnTo>
                    <a:pt x="1817" y="598"/>
                  </a:lnTo>
                  <a:lnTo>
                    <a:pt x="1821" y="591"/>
                  </a:lnTo>
                  <a:lnTo>
                    <a:pt x="1812" y="578"/>
                  </a:lnTo>
                  <a:lnTo>
                    <a:pt x="1798" y="573"/>
                  </a:lnTo>
                  <a:lnTo>
                    <a:pt x="1805" y="562"/>
                  </a:lnTo>
                  <a:lnTo>
                    <a:pt x="1823" y="557"/>
                  </a:lnTo>
                  <a:lnTo>
                    <a:pt x="1847" y="556"/>
                  </a:lnTo>
                  <a:lnTo>
                    <a:pt x="1878" y="564"/>
                  </a:lnTo>
                  <a:lnTo>
                    <a:pt x="1901" y="572"/>
                  </a:lnTo>
                  <a:lnTo>
                    <a:pt x="1929" y="594"/>
                  </a:lnTo>
                  <a:lnTo>
                    <a:pt x="1944" y="605"/>
                  </a:lnTo>
                  <a:lnTo>
                    <a:pt x="1960" y="619"/>
                  </a:lnTo>
                  <a:lnTo>
                    <a:pt x="1983" y="641"/>
                  </a:lnTo>
                  <a:lnTo>
                    <a:pt x="2019" y="648"/>
                  </a:lnTo>
                  <a:lnTo>
                    <a:pt x="2053" y="665"/>
                  </a:lnTo>
                  <a:lnTo>
                    <a:pt x="2075" y="687"/>
                  </a:lnTo>
                  <a:lnTo>
                    <a:pt x="2103" y="687"/>
                  </a:lnTo>
                  <a:lnTo>
                    <a:pt x="2113" y="677"/>
                  </a:lnTo>
                  <a:lnTo>
                    <a:pt x="2139" y="671"/>
                  </a:lnTo>
                  <a:lnTo>
                    <a:pt x="2144" y="691"/>
                  </a:lnTo>
                  <a:lnTo>
                    <a:pt x="2142" y="700"/>
                  </a:lnTo>
                  <a:lnTo>
                    <a:pt x="2153" y="726"/>
                  </a:lnTo>
                  <a:lnTo>
                    <a:pt x="2155" y="748"/>
                  </a:lnTo>
                  <a:lnTo>
                    <a:pt x="2130" y="744"/>
                  </a:lnTo>
                  <a:lnTo>
                    <a:pt x="2118" y="752"/>
                  </a:lnTo>
                  <a:lnTo>
                    <a:pt x="2136" y="772"/>
                  </a:lnTo>
                  <a:lnTo>
                    <a:pt x="2150" y="799"/>
                  </a:lnTo>
                  <a:lnTo>
                    <a:pt x="2141" y="800"/>
                  </a:lnTo>
                  <a:lnTo>
                    <a:pt x="2148" y="811"/>
                  </a:lnTo>
                  <a:lnTo>
                    <a:pt x="2148" y="811"/>
                  </a:lnTo>
                  <a:lnTo>
                    <a:pt x="2153" y="816"/>
                  </a:lnTo>
                  <a:lnTo>
                    <a:pt x="2153" y="816"/>
                  </a:lnTo>
                  <a:lnTo>
                    <a:pt x="2153" y="816"/>
                  </a:lnTo>
                  <a:lnTo>
                    <a:pt x="2153" y="816"/>
                  </a:lnTo>
                  <a:lnTo>
                    <a:pt x="2152" y="808"/>
                  </a:lnTo>
                  <a:lnTo>
                    <a:pt x="2167" y="791"/>
                  </a:lnTo>
                  <a:lnTo>
                    <a:pt x="2186" y="803"/>
                  </a:lnTo>
                  <a:lnTo>
                    <a:pt x="2198" y="802"/>
                  </a:lnTo>
                  <a:lnTo>
                    <a:pt x="2214" y="789"/>
                  </a:lnTo>
                  <a:lnTo>
                    <a:pt x="2218" y="775"/>
                  </a:lnTo>
                  <a:lnTo>
                    <a:pt x="2226" y="748"/>
                  </a:lnTo>
                  <a:lnTo>
                    <a:pt x="2233" y="721"/>
                  </a:lnTo>
                  <a:lnTo>
                    <a:pt x="2228" y="705"/>
                  </a:lnTo>
                  <a:lnTo>
                    <a:pt x="2231" y="672"/>
                  </a:lnTo>
                  <a:lnTo>
                    <a:pt x="2213" y="634"/>
                  </a:lnTo>
                  <a:lnTo>
                    <a:pt x="2192" y="607"/>
                  </a:lnTo>
                  <a:lnTo>
                    <a:pt x="2186" y="584"/>
                  </a:lnTo>
                  <a:lnTo>
                    <a:pt x="2170" y="565"/>
                  </a:lnTo>
                  <a:lnTo>
                    <a:pt x="2122" y="540"/>
                  </a:lnTo>
                  <a:lnTo>
                    <a:pt x="2101" y="538"/>
                  </a:lnTo>
                  <a:lnTo>
                    <a:pt x="2100" y="549"/>
                  </a:lnTo>
                  <a:lnTo>
                    <a:pt x="2078" y="545"/>
                  </a:lnTo>
                  <a:lnTo>
                    <a:pt x="2057" y="531"/>
                  </a:lnTo>
                  <a:lnTo>
                    <a:pt x="2027" y="528"/>
                  </a:lnTo>
                  <a:lnTo>
                    <a:pt x="2045" y="476"/>
                  </a:lnTo>
                  <a:lnTo>
                    <a:pt x="2059" y="433"/>
                  </a:lnTo>
                  <a:lnTo>
                    <a:pt x="2107" y="425"/>
                  </a:lnTo>
                  <a:lnTo>
                    <a:pt x="2163" y="429"/>
                  </a:lnTo>
                  <a:lnTo>
                    <a:pt x="2172" y="419"/>
                  </a:lnTo>
                  <a:lnTo>
                    <a:pt x="2201" y="422"/>
                  </a:lnTo>
                  <a:lnTo>
                    <a:pt x="2218" y="438"/>
                  </a:lnTo>
                  <a:lnTo>
                    <a:pt x="2242" y="436"/>
                  </a:lnTo>
                  <a:lnTo>
                    <a:pt x="2273" y="430"/>
                  </a:lnTo>
                  <a:lnTo>
                    <a:pt x="2244" y="417"/>
                  </a:lnTo>
                  <a:lnTo>
                    <a:pt x="2244" y="380"/>
                  </a:lnTo>
                  <a:lnTo>
                    <a:pt x="2278" y="373"/>
                  </a:lnTo>
                  <a:lnTo>
                    <a:pt x="2324" y="399"/>
                  </a:lnTo>
                  <a:lnTo>
                    <a:pt x="2337" y="376"/>
                  </a:lnTo>
                  <a:lnTo>
                    <a:pt x="2325" y="358"/>
                  </a:lnTo>
                  <a:lnTo>
                    <a:pt x="2342" y="356"/>
                  </a:lnTo>
                  <a:lnTo>
                    <a:pt x="2367" y="386"/>
                  </a:lnTo>
                  <a:lnTo>
                    <a:pt x="2358" y="404"/>
                  </a:lnTo>
                  <a:lnTo>
                    <a:pt x="2355" y="426"/>
                  </a:lnTo>
                  <a:lnTo>
                    <a:pt x="2356" y="454"/>
                  </a:lnTo>
                  <a:lnTo>
                    <a:pt x="2335" y="459"/>
                  </a:lnTo>
                  <a:lnTo>
                    <a:pt x="2345" y="469"/>
                  </a:lnTo>
                  <a:lnTo>
                    <a:pt x="2345" y="482"/>
                  </a:lnTo>
                  <a:lnTo>
                    <a:pt x="2369" y="513"/>
                  </a:lnTo>
                  <a:lnTo>
                    <a:pt x="2428" y="564"/>
                  </a:lnTo>
                  <a:lnTo>
                    <a:pt x="2467" y="596"/>
                  </a:lnTo>
                  <a:lnTo>
                    <a:pt x="2489" y="612"/>
                  </a:lnTo>
                  <a:lnTo>
                    <a:pt x="2495" y="592"/>
                  </a:lnTo>
                  <a:lnTo>
                    <a:pt x="2478" y="568"/>
                  </a:lnTo>
                  <a:lnTo>
                    <a:pt x="2499" y="563"/>
                  </a:lnTo>
                  <a:lnTo>
                    <a:pt x="2480" y="536"/>
                  </a:lnTo>
                  <a:lnTo>
                    <a:pt x="2498" y="525"/>
                  </a:lnTo>
                  <a:lnTo>
                    <a:pt x="2481" y="515"/>
                  </a:lnTo>
                  <a:lnTo>
                    <a:pt x="2467" y="496"/>
                  </a:lnTo>
                  <a:lnTo>
                    <a:pt x="2483" y="496"/>
                  </a:lnTo>
                  <a:lnTo>
                    <a:pt x="2450" y="464"/>
                  </a:lnTo>
                  <a:lnTo>
                    <a:pt x="2425" y="459"/>
                  </a:lnTo>
                  <a:lnTo>
                    <a:pt x="2413" y="450"/>
                  </a:lnTo>
                  <a:lnTo>
                    <a:pt x="2410" y="429"/>
                  </a:lnTo>
                  <a:lnTo>
                    <a:pt x="2397" y="414"/>
                  </a:lnTo>
                  <a:lnTo>
                    <a:pt x="2424" y="417"/>
                  </a:lnTo>
                  <a:lnTo>
                    <a:pt x="2429" y="408"/>
                  </a:lnTo>
                  <a:lnTo>
                    <a:pt x="2446" y="416"/>
                  </a:lnTo>
                  <a:lnTo>
                    <a:pt x="2469" y="399"/>
                  </a:lnTo>
                  <a:lnTo>
                    <a:pt x="2511" y="414"/>
                  </a:lnTo>
                  <a:lnTo>
                    <a:pt x="2506" y="404"/>
                  </a:lnTo>
                  <a:lnTo>
                    <a:pt x="2513" y="391"/>
                  </a:lnTo>
                  <a:lnTo>
                    <a:pt x="2519" y="376"/>
                  </a:lnTo>
                  <a:lnTo>
                    <a:pt x="2530" y="373"/>
                  </a:lnTo>
                  <a:lnTo>
                    <a:pt x="2554" y="357"/>
                  </a:lnTo>
                  <a:lnTo>
                    <a:pt x="2591" y="362"/>
                  </a:lnTo>
                  <a:lnTo>
                    <a:pt x="2588" y="356"/>
                  </a:lnTo>
                  <a:lnTo>
                    <a:pt x="2573" y="347"/>
                  </a:lnTo>
                  <a:lnTo>
                    <a:pt x="2558" y="341"/>
                  </a:lnTo>
                  <a:lnTo>
                    <a:pt x="2524" y="324"/>
                  </a:lnTo>
                  <a:lnTo>
                    <a:pt x="2494" y="313"/>
                  </a:lnTo>
                  <a:lnTo>
                    <a:pt x="2517" y="314"/>
                  </a:lnTo>
                  <a:lnTo>
                    <a:pt x="2524" y="305"/>
                  </a:lnTo>
                  <a:lnTo>
                    <a:pt x="2524" y="305"/>
                  </a:lnTo>
                  <a:lnTo>
                    <a:pt x="2401" y="224"/>
                  </a:lnTo>
                  <a:lnTo>
                    <a:pt x="2366" y="214"/>
                  </a:lnTo>
                  <a:lnTo>
                    <a:pt x="2308" y="205"/>
                  </a:lnTo>
                  <a:lnTo>
                    <a:pt x="2278" y="206"/>
                  </a:lnTo>
                  <a:lnTo>
                    <a:pt x="2221" y="201"/>
                  </a:lnTo>
                  <a:lnTo>
                    <a:pt x="2228" y="210"/>
                  </a:lnTo>
                  <a:lnTo>
                    <a:pt x="2259" y="222"/>
                  </a:lnTo>
                  <a:lnTo>
                    <a:pt x="2250" y="229"/>
                  </a:lnTo>
                  <a:lnTo>
                    <a:pt x="2198" y="211"/>
                  </a:lnTo>
                  <a:lnTo>
                    <a:pt x="2172" y="213"/>
                  </a:lnTo>
                  <a:lnTo>
                    <a:pt x="2138" y="209"/>
                  </a:lnTo>
                  <a:lnTo>
                    <a:pt x="2112" y="210"/>
                  </a:lnTo>
                  <a:lnTo>
                    <a:pt x="2097" y="214"/>
                  </a:lnTo>
                  <a:lnTo>
                    <a:pt x="2070" y="208"/>
                  </a:lnTo>
                  <a:lnTo>
                    <a:pt x="2051" y="194"/>
                  </a:lnTo>
                  <a:lnTo>
                    <a:pt x="2027" y="185"/>
                  </a:lnTo>
                  <a:lnTo>
                    <a:pt x="1992" y="183"/>
                  </a:lnTo>
                  <a:lnTo>
                    <a:pt x="1937" y="186"/>
                  </a:lnTo>
                  <a:lnTo>
                    <a:pt x="1877" y="171"/>
                  </a:lnTo>
                  <a:lnTo>
                    <a:pt x="1848" y="160"/>
                  </a:lnTo>
                  <a:lnTo>
                    <a:pt x="1698" y="147"/>
                  </a:lnTo>
                  <a:lnTo>
                    <a:pt x="1691" y="155"/>
                  </a:lnTo>
                  <a:lnTo>
                    <a:pt x="1725" y="173"/>
                  </a:lnTo>
                  <a:lnTo>
                    <a:pt x="1697" y="170"/>
                  </a:lnTo>
                  <a:lnTo>
                    <a:pt x="1693" y="176"/>
                  </a:lnTo>
                  <a:lnTo>
                    <a:pt x="1657" y="170"/>
                  </a:lnTo>
                  <a:lnTo>
                    <a:pt x="1638" y="175"/>
                  </a:lnTo>
                  <a:lnTo>
                    <a:pt x="1604" y="167"/>
                  </a:lnTo>
                  <a:lnTo>
                    <a:pt x="1615" y="187"/>
                  </a:lnTo>
                  <a:lnTo>
                    <a:pt x="1581" y="179"/>
                  </a:lnTo>
                  <a:lnTo>
                    <a:pt x="1544" y="164"/>
                  </a:lnTo>
                  <a:lnTo>
                    <a:pt x="1543" y="155"/>
                  </a:lnTo>
                  <a:lnTo>
                    <a:pt x="1521" y="143"/>
                  </a:lnTo>
                  <a:lnTo>
                    <a:pt x="1484" y="134"/>
                  </a:lnTo>
                  <a:lnTo>
                    <a:pt x="1461" y="134"/>
                  </a:lnTo>
                  <a:lnTo>
                    <a:pt x="1426" y="130"/>
                  </a:lnTo>
                  <a:lnTo>
                    <a:pt x="1444" y="145"/>
                  </a:lnTo>
                  <a:lnTo>
                    <a:pt x="1380" y="141"/>
                  </a:lnTo>
                  <a:lnTo>
                    <a:pt x="1365" y="133"/>
                  </a:lnTo>
                  <a:lnTo>
                    <a:pt x="1315" y="130"/>
                  </a:lnTo>
                  <a:lnTo>
                    <a:pt x="1296" y="133"/>
                  </a:lnTo>
                  <a:lnTo>
                    <a:pt x="1296" y="138"/>
                  </a:lnTo>
                  <a:lnTo>
                    <a:pt x="1273" y="126"/>
                  </a:lnTo>
                  <a:lnTo>
                    <a:pt x="1265" y="129"/>
                  </a:lnTo>
                  <a:lnTo>
                    <a:pt x="1238" y="125"/>
                  </a:lnTo>
                  <a:lnTo>
                    <a:pt x="1217" y="122"/>
                  </a:lnTo>
                  <a:lnTo>
                    <a:pt x="1221" y="116"/>
                  </a:lnTo>
                  <a:lnTo>
                    <a:pt x="1246" y="106"/>
                  </a:lnTo>
                  <a:lnTo>
                    <a:pt x="1255" y="100"/>
                  </a:lnTo>
                  <a:lnTo>
                    <a:pt x="1245" y="91"/>
                  </a:lnTo>
                  <a:lnTo>
                    <a:pt x="1225" y="84"/>
                  </a:lnTo>
                  <a:lnTo>
                    <a:pt x="1182" y="75"/>
                  </a:lnTo>
                  <a:lnTo>
                    <a:pt x="1142" y="75"/>
                  </a:lnTo>
                  <a:lnTo>
                    <a:pt x="1135" y="80"/>
                  </a:lnTo>
                  <a:lnTo>
                    <a:pt x="1119" y="71"/>
                  </a:lnTo>
                  <a:lnTo>
                    <a:pt x="1119" y="71"/>
                  </a:lnTo>
                  <a:close/>
                  <a:moveTo>
                    <a:pt x="513" y="188"/>
                  </a:moveTo>
                  <a:lnTo>
                    <a:pt x="477" y="172"/>
                  </a:lnTo>
                  <a:lnTo>
                    <a:pt x="465" y="156"/>
                  </a:lnTo>
                  <a:lnTo>
                    <a:pt x="478" y="138"/>
                  </a:lnTo>
                  <a:lnTo>
                    <a:pt x="488" y="119"/>
                  </a:lnTo>
                  <a:lnTo>
                    <a:pt x="520" y="102"/>
                  </a:lnTo>
                  <a:lnTo>
                    <a:pt x="556" y="93"/>
                  </a:lnTo>
                  <a:lnTo>
                    <a:pt x="599" y="84"/>
                  </a:lnTo>
                  <a:lnTo>
                    <a:pt x="604" y="78"/>
                  </a:lnTo>
                  <a:lnTo>
                    <a:pt x="588" y="71"/>
                  </a:lnTo>
                  <a:lnTo>
                    <a:pt x="564" y="73"/>
                  </a:lnTo>
                  <a:lnTo>
                    <a:pt x="545" y="80"/>
                  </a:lnTo>
                  <a:lnTo>
                    <a:pt x="501" y="84"/>
                  </a:lnTo>
                  <a:lnTo>
                    <a:pt x="464" y="95"/>
                  </a:lnTo>
                  <a:lnTo>
                    <a:pt x="439" y="105"/>
                  </a:lnTo>
                  <a:lnTo>
                    <a:pt x="448" y="113"/>
                  </a:lnTo>
                  <a:lnTo>
                    <a:pt x="423" y="130"/>
                  </a:lnTo>
                  <a:lnTo>
                    <a:pt x="438" y="132"/>
                  </a:lnTo>
                  <a:lnTo>
                    <a:pt x="417" y="149"/>
                  </a:lnTo>
                  <a:lnTo>
                    <a:pt x="424" y="159"/>
                  </a:lnTo>
                  <a:lnTo>
                    <a:pt x="411" y="163"/>
                  </a:lnTo>
                  <a:lnTo>
                    <a:pt x="418" y="173"/>
                  </a:lnTo>
                  <a:lnTo>
                    <a:pt x="447" y="179"/>
                  </a:lnTo>
                  <a:lnTo>
                    <a:pt x="455" y="187"/>
                  </a:lnTo>
                  <a:lnTo>
                    <a:pt x="506" y="190"/>
                  </a:lnTo>
                  <a:lnTo>
                    <a:pt x="513" y="188"/>
                  </a:lnTo>
                  <a:lnTo>
                    <a:pt x="513" y="188"/>
                  </a:lnTo>
                  <a:close/>
                  <a:moveTo>
                    <a:pt x="1686" y="97"/>
                  </a:moveTo>
                  <a:lnTo>
                    <a:pt x="1620" y="86"/>
                  </a:lnTo>
                  <a:lnTo>
                    <a:pt x="1581" y="85"/>
                  </a:lnTo>
                  <a:lnTo>
                    <a:pt x="1568" y="89"/>
                  </a:lnTo>
                  <a:lnTo>
                    <a:pt x="1581" y="102"/>
                  </a:lnTo>
                  <a:lnTo>
                    <a:pt x="1628" y="113"/>
                  </a:lnTo>
                  <a:lnTo>
                    <a:pt x="1645" y="110"/>
                  </a:lnTo>
                  <a:lnTo>
                    <a:pt x="1697" y="110"/>
                  </a:lnTo>
                  <a:lnTo>
                    <a:pt x="1686" y="97"/>
                  </a:lnTo>
                  <a:close/>
                  <a:moveTo>
                    <a:pt x="1780" y="105"/>
                  </a:moveTo>
                  <a:lnTo>
                    <a:pt x="1736" y="100"/>
                  </a:lnTo>
                  <a:lnTo>
                    <a:pt x="1707" y="98"/>
                  </a:lnTo>
                  <a:lnTo>
                    <a:pt x="1712" y="103"/>
                  </a:lnTo>
                  <a:lnTo>
                    <a:pt x="1751" y="111"/>
                  </a:lnTo>
                  <a:lnTo>
                    <a:pt x="1777" y="113"/>
                  </a:lnTo>
                  <a:lnTo>
                    <a:pt x="1780" y="105"/>
                  </a:lnTo>
                  <a:lnTo>
                    <a:pt x="1780" y="105"/>
                  </a:lnTo>
                  <a:close/>
                  <a:moveTo>
                    <a:pt x="1734" y="141"/>
                  </a:moveTo>
                  <a:lnTo>
                    <a:pt x="1724" y="135"/>
                  </a:lnTo>
                  <a:lnTo>
                    <a:pt x="1693" y="128"/>
                  </a:lnTo>
                  <a:lnTo>
                    <a:pt x="1679" y="130"/>
                  </a:lnTo>
                  <a:lnTo>
                    <a:pt x="1675" y="138"/>
                  </a:lnTo>
                  <a:lnTo>
                    <a:pt x="1679" y="138"/>
                  </a:lnTo>
                  <a:lnTo>
                    <a:pt x="1712" y="141"/>
                  </a:lnTo>
                  <a:lnTo>
                    <a:pt x="1734" y="141"/>
                  </a:lnTo>
                  <a:close/>
                  <a:moveTo>
                    <a:pt x="2341" y="186"/>
                  </a:moveTo>
                  <a:lnTo>
                    <a:pt x="2319" y="173"/>
                  </a:lnTo>
                  <a:lnTo>
                    <a:pt x="2313" y="181"/>
                  </a:lnTo>
                  <a:lnTo>
                    <a:pt x="2327" y="187"/>
                  </a:lnTo>
                  <a:lnTo>
                    <a:pt x="2341" y="186"/>
                  </a:lnTo>
                  <a:close/>
                  <a:moveTo>
                    <a:pt x="54" y="537"/>
                  </a:moveTo>
                  <a:lnTo>
                    <a:pt x="52" y="532"/>
                  </a:lnTo>
                  <a:lnTo>
                    <a:pt x="52" y="525"/>
                  </a:lnTo>
                  <a:lnTo>
                    <a:pt x="45" y="521"/>
                  </a:lnTo>
                  <a:lnTo>
                    <a:pt x="26" y="518"/>
                  </a:lnTo>
                  <a:lnTo>
                    <a:pt x="2" y="525"/>
                  </a:lnTo>
                  <a:lnTo>
                    <a:pt x="0" y="535"/>
                  </a:lnTo>
                  <a:lnTo>
                    <a:pt x="21" y="537"/>
                  </a:lnTo>
                  <a:lnTo>
                    <a:pt x="54" y="537"/>
                  </a:lnTo>
                  <a:close/>
                  <a:moveTo>
                    <a:pt x="2256" y="619"/>
                  </a:moveTo>
                  <a:lnTo>
                    <a:pt x="2229" y="595"/>
                  </a:lnTo>
                  <a:lnTo>
                    <a:pt x="2211" y="573"/>
                  </a:lnTo>
                  <a:lnTo>
                    <a:pt x="2185" y="551"/>
                  </a:lnTo>
                  <a:lnTo>
                    <a:pt x="2167" y="536"/>
                  </a:lnTo>
                  <a:lnTo>
                    <a:pt x="2162" y="539"/>
                  </a:lnTo>
                  <a:lnTo>
                    <a:pt x="2178" y="549"/>
                  </a:lnTo>
                  <a:lnTo>
                    <a:pt x="2172" y="560"/>
                  </a:lnTo>
                  <a:lnTo>
                    <a:pt x="2197" y="592"/>
                  </a:lnTo>
                  <a:lnTo>
                    <a:pt x="2226" y="614"/>
                  </a:lnTo>
                  <a:lnTo>
                    <a:pt x="2250" y="645"/>
                  </a:lnTo>
                  <a:lnTo>
                    <a:pt x="2258" y="662"/>
                  </a:lnTo>
                  <a:lnTo>
                    <a:pt x="2279" y="687"/>
                  </a:lnTo>
                  <a:lnTo>
                    <a:pt x="2293" y="709"/>
                  </a:lnTo>
                  <a:lnTo>
                    <a:pt x="2311" y="729"/>
                  </a:lnTo>
                  <a:lnTo>
                    <a:pt x="2310" y="711"/>
                  </a:lnTo>
                  <a:lnTo>
                    <a:pt x="2334" y="725"/>
                  </a:lnTo>
                  <a:lnTo>
                    <a:pt x="2323" y="709"/>
                  </a:lnTo>
                  <a:lnTo>
                    <a:pt x="2287" y="685"/>
                  </a:lnTo>
                  <a:lnTo>
                    <a:pt x="2274" y="651"/>
                  </a:lnTo>
                  <a:lnTo>
                    <a:pt x="2307" y="659"/>
                  </a:lnTo>
                  <a:lnTo>
                    <a:pt x="2256" y="619"/>
                  </a:lnTo>
                  <a:lnTo>
                    <a:pt x="2256" y="61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 name="Rwanda"/>
            <p:cNvSpPr>
              <a:spLocks/>
            </p:cNvSpPr>
            <p:nvPr/>
          </p:nvSpPr>
          <p:spPr bwMode="auto">
            <a:xfrm>
              <a:off x="6967537" y="4525963"/>
              <a:ext cx="60325" cy="66675"/>
            </a:xfrm>
            <a:custGeom>
              <a:avLst/>
              <a:gdLst>
                <a:gd name="T0" fmla="*/ 29 w 38"/>
                <a:gd name="T1" fmla="*/ 0 h 42"/>
                <a:gd name="T2" fmla="*/ 17 w 38"/>
                <a:gd name="T3" fmla="*/ 7 h 42"/>
                <a:gd name="T4" fmla="*/ 12 w 38"/>
                <a:gd name="T5" fmla="*/ 5 h 42"/>
                <a:gd name="T6" fmla="*/ 6 w 38"/>
                <a:gd name="T7" fmla="*/ 12 h 42"/>
                <a:gd name="T8" fmla="*/ 5 w 38"/>
                <a:gd name="T9" fmla="*/ 26 h 42"/>
                <a:gd name="T10" fmla="*/ 2 w 38"/>
                <a:gd name="T11" fmla="*/ 27 h 42"/>
                <a:gd name="T12" fmla="*/ 0 w 38"/>
                <a:gd name="T13" fmla="*/ 41 h 42"/>
                <a:gd name="T14" fmla="*/ 13 w 38"/>
                <a:gd name="T15" fmla="*/ 42 h 42"/>
                <a:gd name="T16" fmla="*/ 20 w 38"/>
                <a:gd name="T17" fmla="*/ 28 h 42"/>
                <a:gd name="T18" fmla="*/ 31 w 38"/>
                <a:gd name="T19" fmla="*/ 30 h 42"/>
                <a:gd name="T20" fmla="*/ 31 w 38"/>
                <a:gd name="T21" fmla="*/ 30 h 42"/>
                <a:gd name="T22" fmla="*/ 37 w 38"/>
                <a:gd name="T23" fmla="*/ 27 h 42"/>
                <a:gd name="T24" fmla="*/ 38 w 38"/>
                <a:gd name="T25" fmla="*/ 13 h 42"/>
                <a:gd name="T26" fmla="*/ 29 w 38"/>
                <a:gd name="T27" fmla="*/ 0 h 42"/>
                <a:gd name="T28" fmla="*/ 29 w 3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42">
                  <a:moveTo>
                    <a:pt x="29" y="0"/>
                  </a:moveTo>
                  <a:lnTo>
                    <a:pt x="17" y="7"/>
                  </a:lnTo>
                  <a:lnTo>
                    <a:pt x="12" y="5"/>
                  </a:lnTo>
                  <a:lnTo>
                    <a:pt x="6" y="12"/>
                  </a:lnTo>
                  <a:lnTo>
                    <a:pt x="5" y="26"/>
                  </a:lnTo>
                  <a:lnTo>
                    <a:pt x="2" y="27"/>
                  </a:lnTo>
                  <a:lnTo>
                    <a:pt x="0" y="41"/>
                  </a:lnTo>
                  <a:lnTo>
                    <a:pt x="13" y="42"/>
                  </a:lnTo>
                  <a:lnTo>
                    <a:pt x="20" y="28"/>
                  </a:lnTo>
                  <a:lnTo>
                    <a:pt x="31" y="30"/>
                  </a:lnTo>
                  <a:lnTo>
                    <a:pt x="31" y="30"/>
                  </a:lnTo>
                  <a:lnTo>
                    <a:pt x="37" y="27"/>
                  </a:lnTo>
                  <a:lnTo>
                    <a:pt x="38" y="13"/>
                  </a:lnTo>
                  <a:lnTo>
                    <a:pt x="29" y="0"/>
                  </a:lnTo>
                  <a:lnTo>
                    <a:pt x="29"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 name="Western Sahara"/>
            <p:cNvSpPr>
              <a:spLocks/>
            </p:cNvSpPr>
            <p:nvPr/>
          </p:nvSpPr>
          <p:spPr bwMode="auto">
            <a:xfrm>
              <a:off x="5443537" y="3440113"/>
              <a:ext cx="277812" cy="250825"/>
            </a:xfrm>
            <a:custGeom>
              <a:avLst/>
              <a:gdLst>
                <a:gd name="T0" fmla="*/ 175 w 175"/>
                <a:gd name="T1" fmla="*/ 0 h 158"/>
                <a:gd name="T2" fmla="*/ 172 w 175"/>
                <a:gd name="T3" fmla="*/ 0 h 158"/>
                <a:gd name="T4" fmla="*/ 172 w 175"/>
                <a:gd name="T5" fmla="*/ 0 h 158"/>
                <a:gd name="T6" fmla="*/ 173 w 175"/>
                <a:gd name="T7" fmla="*/ 12 h 158"/>
                <a:gd name="T8" fmla="*/ 160 w 175"/>
                <a:gd name="T9" fmla="*/ 13 h 158"/>
                <a:gd name="T10" fmla="*/ 154 w 175"/>
                <a:gd name="T11" fmla="*/ 19 h 158"/>
                <a:gd name="T12" fmla="*/ 144 w 175"/>
                <a:gd name="T13" fmla="*/ 19 h 158"/>
                <a:gd name="T14" fmla="*/ 137 w 175"/>
                <a:gd name="T15" fmla="*/ 16 h 158"/>
                <a:gd name="T16" fmla="*/ 120 w 175"/>
                <a:gd name="T17" fmla="*/ 18 h 158"/>
                <a:gd name="T18" fmla="*/ 112 w 175"/>
                <a:gd name="T19" fmla="*/ 36 h 158"/>
                <a:gd name="T20" fmla="*/ 106 w 175"/>
                <a:gd name="T21" fmla="*/ 38 h 158"/>
                <a:gd name="T22" fmla="*/ 96 w 175"/>
                <a:gd name="T23" fmla="*/ 68 h 158"/>
                <a:gd name="T24" fmla="*/ 67 w 175"/>
                <a:gd name="T25" fmla="*/ 94 h 158"/>
                <a:gd name="T26" fmla="*/ 59 w 175"/>
                <a:gd name="T27" fmla="*/ 127 h 158"/>
                <a:gd name="T28" fmla="*/ 51 w 175"/>
                <a:gd name="T29" fmla="*/ 137 h 158"/>
                <a:gd name="T30" fmla="*/ 48 w 175"/>
                <a:gd name="T31" fmla="*/ 147 h 158"/>
                <a:gd name="T32" fmla="*/ 1 w 175"/>
                <a:gd name="T33" fmla="*/ 148 h 158"/>
                <a:gd name="T34" fmla="*/ 1 w 175"/>
                <a:gd name="T35" fmla="*/ 148 h 158"/>
                <a:gd name="T36" fmla="*/ 0 w 175"/>
                <a:gd name="T37" fmla="*/ 158 h 158"/>
                <a:gd name="T38" fmla="*/ 5 w 175"/>
                <a:gd name="T39" fmla="*/ 150 h 158"/>
                <a:gd name="T40" fmla="*/ 85 w 175"/>
                <a:gd name="T41" fmla="*/ 150 h 158"/>
                <a:gd name="T42" fmla="*/ 82 w 175"/>
                <a:gd name="T43" fmla="*/ 116 h 158"/>
                <a:gd name="T44" fmla="*/ 87 w 175"/>
                <a:gd name="T45" fmla="*/ 104 h 158"/>
                <a:gd name="T46" fmla="*/ 107 w 175"/>
                <a:gd name="T47" fmla="*/ 102 h 158"/>
                <a:gd name="T48" fmla="*/ 108 w 175"/>
                <a:gd name="T49" fmla="*/ 41 h 158"/>
                <a:gd name="T50" fmla="*/ 174 w 175"/>
                <a:gd name="T51" fmla="*/ 42 h 158"/>
                <a:gd name="T52" fmla="*/ 175 w 175"/>
                <a:gd name="T53" fmla="*/ 6 h 158"/>
                <a:gd name="T54" fmla="*/ 175 w 175"/>
                <a:gd name="T55" fmla="*/ 1 h 158"/>
                <a:gd name="T56" fmla="*/ 175 w 175"/>
                <a:gd name="T57" fmla="*/ 0 h 158"/>
                <a:gd name="T58" fmla="*/ 175 w 175"/>
                <a:gd name="T5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58">
                  <a:moveTo>
                    <a:pt x="175" y="0"/>
                  </a:moveTo>
                  <a:lnTo>
                    <a:pt x="172" y="0"/>
                  </a:lnTo>
                  <a:lnTo>
                    <a:pt x="172" y="0"/>
                  </a:lnTo>
                  <a:lnTo>
                    <a:pt x="173" y="12"/>
                  </a:lnTo>
                  <a:lnTo>
                    <a:pt x="160" y="13"/>
                  </a:lnTo>
                  <a:lnTo>
                    <a:pt x="154" y="19"/>
                  </a:lnTo>
                  <a:lnTo>
                    <a:pt x="144" y="19"/>
                  </a:lnTo>
                  <a:lnTo>
                    <a:pt x="137" y="16"/>
                  </a:lnTo>
                  <a:lnTo>
                    <a:pt x="120" y="18"/>
                  </a:lnTo>
                  <a:lnTo>
                    <a:pt x="112" y="36"/>
                  </a:lnTo>
                  <a:lnTo>
                    <a:pt x="106" y="38"/>
                  </a:lnTo>
                  <a:lnTo>
                    <a:pt x="96" y="68"/>
                  </a:lnTo>
                  <a:lnTo>
                    <a:pt x="67" y="94"/>
                  </a:lnTo>
                  <a:lnTo>
                    <a:pt x="59" y="127"/>
                  </a:lnTo>
                  <a:lnTo>
                    <a:pt x="51" y="137"/>
                  </a:lnTo>
                  <a:lnTo>
                    <a:pt x="48" y="147"/>
                  </a:lnTo>
                  <a:lnTo>
                    <a:pt x="1" y="148"/>
                  </a:lnTo>
                  <a:lnTo>
                    <a:pt x="1" y="148"/>
                  </a:lnTo>
                  <a:lnTo>
                    <a:pt x="0" y="158"/>
                  </a:lnTo>
                  <a:lnTo>
                    <a:pt x="5" y="150"/>
                  </a:lnTo>
                  <a:lnTo>
                    <a:pt x="85" y="150"/>
                  </a:lnTo>
                  <a:lnTo>
                    <a:pt x="82" y="116"/>
                  </a:lnTo>
                  <a:lnTo>
                    <a:pt x="87" y="104"/>
                  </a:lnTo>
                  <a:lnTo>
                    <a:pt x="107" y="102"/>
                  </a:lnTo>
                  <a:lnTo>
                    <a:pt x="108" y="41"/>
                  </a:lnTo>
                  <a:lnTo>
                    <a:pt x="174" y="42"/>
                  </a:lnTo>
                  <a:lnTo>
                    <a:pt x="175" y="6"/>
                  </a:lnTo>
                  <a:lnTo>
                    <a:pt x="175" y="1"/>
                  </a:lnTo>
                  <a:lnTo>
                    <a:pt x="175" y="0"/>
                  </a:lnTo>
                  <a:lnTo>
                    <a:pt x="175"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 name="Saudi Arabia"/>
            <p:cNvSpPr>
              <a:spLocks/>
            </p:cNvSpPr>
            <p:nvPr/>
          </p:nvSpPr>
          <p:spPr bwMode="auto">
            <a:xfrm>
              <a:off x="7115175" y="3270251"/>
              <a:ext cx="701675" cy="596900"/>
            </a:xfrm>
            <a:custGeom>
              <a:avLst/>
              <a:gdLst>
                <a:gd name="T0" fmla="*/ 201 w 442"/>
                <a:gd name="T1" fmla="*/ 71 h 376"/>
                <a:gd name="T2" fmla="*/ 107 w 442"/>
                <a:gd name="T3" fmla="*/ 6 h 376"/>
                <a:gd name="T4" fmla="*/ 79 w 442"/>
                <a:gd name="T5" fmla="*/ 3 h 376"/>
                <a:gd name="T6" fmla="*/ 63 w 442"/>
                <a:gd name="T7" fmla="*/ 39 h 376"/>
                <a:gd name="T8" fmla="*/ 54 w 442"/>
                <a:gd name="T9" fmla="*/ 51 h 376"/>
                <a:gd name="T10" fmla="*/ 35 w 442"/>
                <a:gd name="T11" fmla="*/ 63 h 376"/>
                <a:gd name="T12" fmla="*/ 4 w 442"/>
                <a:gd name="T13" fmla="*/ 67 h 376"/>
                <a:gd name="T14" fmla="*/ 2 w 442"/>
                <a:gd name="T15" fmla="*/ 84 h 376"/>
                <a:gd name="T16" fmla="*/ 10 w 442"/>
                <a:gd name="T17" fmla="*/ 97 h 376"/>
                <a:gd name="T18" fmla="*/ 36 w 442"/>
                <a:gd name="T19" fmla="*/ 132 h 376"/>
                <a:gd name="T20" fmla="*/ 52 w 442"/>
                <a:gd name="T21" fmla="*/ 156 h 376"/>
                <a:gd name="T22" fmla="*/ 58 w 442"/>
                <a:gd name="T23" fmla="*/ 173 h 376"/>
                <a:gd name="T24" fmla="*/ 76 w 442"/>
                <a:gd name="T25" fmla="*/ 192 h 376"/>
                <a:gd name="T26" fmla="*/ 100 w 442"/>
                <a:gd name="T27" fmla="*/ 227 h 376"/>
                <a:gd name="T28" fmla="*/ 103 w 442"/>
                <a:gd name="T29" fmla="*/ 258 h 376"/>
                <a:gd name="T30" fmla="*/ 128 w 442"/>
                <a:gd name="T31" fmla="*/ 284 h 376"/>
                <a:gd name="T32" fmla="*/ 150 w 442"/>
                <a:gd name="T33" fmla="*/ 321 h 376"/>
                <a:gd name="T34" fmla="*/ 173 w 442"/>
                <a:gd name="T35" fmla="*/ 349 h 376"/>
                <a:gd name="T36" fmla="*/ 183 w 442"/>
                <a:gd name="T37" fmla="*/ 366 h 376"/>
                <a:gd name="T38" fmla="*/ 194 w 442"/>
                <a:gd name="T39" fmla="*/ 367 h 376"/>
                <a:gd name="T40" fmla="*/ 196 w 442"/>
                <a:gd name="T41" fmla="*/ 346 h 376"/>
                <a:gd name="T42" fmla="*/ 211 w 442"/>
                <a:gd name="T43" fmla="*/ 351 h 376"/>
                <a:gd name="T44" fmla="*/ 239 w 442"/>
                <a:gd name="T45" fmla="*/ 353 h 376"/>
                <a:gd name="T46" fmla="*/ 267 w 442"/>
                <a:gd name="T47" fmla="*/ 353 h 376"/>
                <a:gd name="T48" fmla="*/ 282 w 442"/>
                <a:gd name="T49" fmla="*/ 357 h 376"/>
                <a:gd name="T50" fmla="*/ 313 w 442"/>
                <a:gd name="T51" fmla="*/ 322 h 376"/>
                <a:gd name="T52" fmla="*/ 432 w 442"/>
                <a:gd name="T53" fmla="*/ 289 h 376"/>
                <a:gd name="T54" fmla="*/ 431 w 442"/>
                <a:gd name="T55" fmla="*/ 225 h 376"/>
                <a:gd name="T56" fmla="*/ 365 w 442"/>
                <a:gd name="T57" fmla="*/ 217 h 376"/>
                <a:gd name="T58" fmla="*/ 353 w 442"/>
                <a:gd name="T59" fmla="*/ 188 h 376"/>
                <a:gd name="T60" fmla="*/ 343 w 442"/>
                <a:gd name="T61" fmla="*/ 181 h 376"/>
                <a:gd name="T62" fmla="*/ 333 w 442"/>
                <a:gd name="T63" fmla="*/ 170 h 376"/>
                <a:gd name="T64" fmla="*/ 323 w 442"/>
                <a:gd name="T65" fmla="*/ 156 h 376"/>
                <a:gd name="T66" fmla="*/ 321 w 442"/>
                <a:gd name="T67" fmla="*/ 140 h 376"/>
                <a:gd name="T68" fmla="*/ 304 w 442"/>
                <a:gd name="T69" fmla="*/ 120 h 376"/>
                <a:gd name="T70" fmla="*/ 288 w 442"/>
                <a:gd name="T71" fmla="*/ 106 h 376"/>
                <a:gd name="T72" fmla="*/ 264 w 442"/>
                <a:gd name="T73" fmla="*/ 86 h 376"/>
                <a:gd name="T74" fmla="*/ 240 w 442"/>
                <a:gd name="T75" fmla="*/ 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2" h="376">
                  <a:moveTo>
                    <a:pt x="240" y="72"/>
                  </a:moveTo>
                  <a:lnTo>
                    <a:pt x="201" y="71"/>
                  </a:lnTo>
                  <a:lnTo>
                    <a:pt x="139" y="23"/>
                  </a:lnTo>
                  <a:lnTo>
                    <a:pt x="107" y="6"/>
                  </a:lnTo>
                  <a:lnTo>
                    <a:pt x="82" y="0"/>
                  </a:lnTo>
                  <a:lnTo>
                    <a:pt x="79" y="3"/>
                  </a:lnTo>
                  <a:lnTo>
                    <a:pt x="40" y="15"/>
                  </a:lnTo>
                  <a:lnTo>
                    <a:pt x="63" y="39"/>
                  </a:lnTo>
                  <a:lnTo>
                    <a:pt x="57" y="43"/>
                  </a:lnTo>
                  <a:lnTo>
                    <a:pt x="54" y="51"/>
                  </a:lnTo>
                  <a:lnTo>
                    <a:pt x="39" y="54"/>
                  </a:lnTo>
                  <a:lnTo>
                    <a:pt x="35" y="63"/>
                  </a:lnTo>
                  <a:lnTo>
                    <a:pt x="27" y="71"/>
                  </a:lnTo>
                  <a:lnTo>
                    <a:pt x="4" y="67"/>
                  </a:lnTo>
                  <a:lnTo>
                    <a:pt x="2" y="76"/>
                  </a:lnTo>
                  <a:lnTo>
                    <a:pt x="2" y="84"/>
                  </a:lnTo>
                  <a:lnTo>
                    <a:pt x="0" y="97"/>
                  </a:lnTo>
                  <a:lnTo>
                    <a:pt x="10" y="97"/>
                  </a:lnTo>
                  <a:lnTo>
                    <a:pt x="22" y="114"/>
                  </a:lnTo>
                  <a:lnTo>
                    <a:pt x="36" y="132"/>
                  </a:lnTo>
                  <a:lnTo>
                    <a:pt x="45" y="150"/>
                  </a:lnTo>
                  <a:lnTo>
                    <a:pt x="52" y="156"/>
                  </a:lnTo>
                  <a:lnTo>
                    <a:pt x="58" y="168"/>
                  </a:lnTo>
                  <a:lnTo>
                    <a:pt x="58" y="173"/>
                  </a:lnTo>
                  <a:lnTo>
                    <a:pt x="65" y="187"/>
                  </a:lnTo>
                  <a:lnTo>
                    <a:pt x="76" y="192"/>
                  </a:lnTo>
                  <a:lnTo>
                    <a:pt x="86" y="201"/>
                  </a:lnTo>
                  <a:lnTo>
                    <a:pt x="100" y="227"/>
                  </a:lnTo>
                  <a:lnTo>
                    <a:pt x="100" y="241"/>
                  </a:lnTo>
                  <a:lnTo>
                    <a:pt x="103" y="258"/>
                  </a:lnTo>
                  <a:lnTo>
                    <a:pt x="118" y="281"/>
                  </a:lnTo>
                  <a:lnTo>
                    <a:pt x="128" y="284"/>
                  </a:lnTo>
                  <a:lnTo>
                    <a:pt x="143" y="301"/>
                  </a:lnTo>
                  <a:lnTo>
                    <a:pt x="150" y="321"/>
                  </a:lnTo>
                  <a:lnTo>
                    <a:pt x="162" y="340"/>
                  </a:lnTo>
                  <a:lnTo>
                    <a:pt x="173" y="349"/>
                  </a:lnTo>
                  <a:lnTo>
                    <a:pt x="175" y="358"/>
                  </a:lnTo>
                  <a:lnTo>
                    <a:pt x="183" y="366"/>
                  </a:lnTo>
                  <a:lnTo>
                    <a:pt x="185" y="376"/>
                  </a:lnTo>
                  <a:lnTo>
                    <a:pt x="194" y="367"/>
                  </a:lnTo>
                  <a:lnTo>
                    <a:pt x="192" y="358"/>
                  </a:lnTo>
                  <a:lnTo>
                    <a:pt x="196" y="346"/>
                  </a:lnTo>
                  <a:lnTo>
                    <a:pt x="205" y="353"/>
                  </a:lnTo>
                  <a:lnTo>
                    <a:pt x="211" y="351"/>
                  </a:lnTo>
                  <a:lnTo>
                    <a:pt x="235" y="350"/>
                  </a:lnTo>
                  <a:lnTo>
                    <a:pt x="239" y="353"/>
                  </a:lnTo>
                  <a:lnTo>
                    <a:pt x="258" y="354"/>
                  </a:lnTo>
                  <a:lnTo>
                    <a:pt x="267" y="353"/>
                  </a:lnTo>
                  <a:lnTo>
                    <a:pt x="272" y="361"/>
                  </a:lnTo>
                  <a:lnTo>
                    <a:pt x="282" y="357"/>
                  </a:lnTo>
                  <a:lnTo>
                    <a:pt x="295" y="332"/>
                  </a:lnTo>
                  <a:lnTo>
                    <a:pt x="313" y="322"/>
                  </a:lnTo>
                  <a:lnTo>
                    <a:pt x="372" y="312"/>
                  </a:lnTo>
                  <a:lnTo>
                    <a:pt x="432" y="289"/>
                  </a:lnTo>
                  <a:lnTo>
                    <a:pt x="442" y="241"/>
                  </a:lnTo>
                  <a:lnTo>
                    <a:pt x="431" y="225"/>
                  </a:lnTo>
                  <a:lnTo>
                    <a:pt x="427" y="229"/>
                  </a:lnTo>
                  <a:lnTo>
                    <a:pt x="365" y="217"/>
                  </a:lnTo>
                  <a:lnTo>
                    <a:pt x="354" y="194"/>
                  </a:lnTo>
                  <a:lnTo>
                    <a:pt x="353" y="188"/>
                  </a:lnTo>
                  <a:lnTo>
                    <a:pt x="349" y="179"/>
                  </a:lnTo>
                  <a:lnTo>
                    <a:pt x="343" y="181"/>
                  </a:lnTo>
                  <a:lnTo>
                    <a:pt x="337" y="176"/>
                  </a:lnTo>
                  <a:lnTo>
                    <a:pt x="333" y="170"/>
                  </a:lnTo>
                  <a:lnTo>
                    <a:pt x="329" y="162"/>
                  </a:lnTo>
                  <a:lnTo>
                    <a:pt x="323" y="156"/>
                  </a:lnTo>
                  <a:lnTo>
                    <a:pt x="319" y="147"/>
                  </a:lnTo>
                  <a:lnTo>
                    <a:pt x="321" y="140"/>
                  </a:lnTo>
                  <a:lnTo>
                    <a:pt x="319" y="129"/>
                  </a:lnTo>
                  <a:lnTo>
                    <a:pt x="304" y="120"/>
                  </a:lnTo>
                  <a:lnTo>
                    <a:pt x="299" y="112"/>
                  </a:lnTo>
                  <a:lnTo>
                    <a:pt x="288" y="106"/>
                  </a:lnTo>
                  <a:lnTo>
                    <a:pt x="278" y="86"/>
                  </a:lnTo>
                  <a:lnTo>
                    <a:pt x="264" y="86"/>
                  </a:lnTo>
                  <a:lnTo>
                    <a:pt x="257" y="74"/>
                  </a:lnTo>
                  <a:lnTo>
                    <a:pt x="240" y="72"/>
                  </a:lnTo>
                  <a:lnTo>
                    <a:pt x="240" y="7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 name="Sudan"/>
            <p:cNvSpPr>
              <a:spLocks/>
            </p:cNvSpPr>
            <p:nvPr/>
          </p:nvSpPr>
          <p:spPr bwMode="auto">
            <a:xfrm>
              <a:off x="6726237" y="3652838"/>
              <a:ext cx="536575" cy="504825"/>
            </a:xfrm>
            <a:custGeom>
              <a:avLst/>
              <a:gdLst>
                <a:gd name="T0" fmla="*/ 307 w 338"/>
                <a:gd name="T1" fmla="*/ 120 h 318"/>
                <a:gd name="T2" fmla="*/ 328 w 338"/>
                <a:gd name="T3" fmla="*/ 109 h 318"/>
                <a:gd name="T4" fmla="*/ 326 w 338"/>
                <a:gd name="T5" fmla="*/ 86 h 318"/>
                <a:gd name="T6" fmla="*/ 308 w 338"/>
                <a:gd name="T7" fmla="*/ 52 h 318"/>
                <a:gd name="T8" fmla="*/ 308 w 338"/>
                <a:gd name="T9" fmla="*/ 24 h 318"/>
                <a:gd name="T10" fmla="*/ 219 w 338"/>
                <a:gd name="T11" fmla="*/ 0 h 318"/>
                <a:gd name="T12" fmla="*/ 57 w 338"/>
                <a:gd name="T13" fmla="*/ 0 h 318"/>
                <a:gd name="T14" fmla="*/ 35 w 338"/>
                <a:gd name="T15" fmla="*/ 48 h 318"/>
                <a:gd name="T16" fmla="*/ 39 w 338"/>
                <a:gd name="T17" fmla="*/ 152 h 318"/>
                <a:gd name="T18" fmla="*/ 12 w 338"/>
                <a:gd name="T19" fmla="*/ 168 h 318"/>
                <a:gd name="T20" fmla="*/ 11 w 338"/>
                <a:gd name="T21" fmla="*/ 188 h 318"/>
                <a:gd name="T22" fmla="*/ 7 w 338"/>
                <a:gd name="T23" fmla="*/ 205 h 318"/>
                <a:gd name="T24" fmla="*/ 0 w 338"/>
                <a:gd name="T25" fmla="*/ 224 h 318"/>
                <a:gd name="T26" fmla="*/ 12 w 338"/>
                <a:gd name="T27" fmla="*/ 232 h 318"/>
                <a:gd name="T28" fmla="*/ 21 w 338"/>
                <a:gd name="T29" fmla="*/ 253 h 318"/>
                <a:gd name="T30" fmla="*/ 23 w 338"/>
                <a:gd name="T31" fmla="*/ 268 h 318"/>
                <a:gd name="T32" fmla="*/ 35 w 338"/>
                <a:gd name="T33" fmla="*/ 293 h 318"/>
                <a:gd name="T34" fmla="*/ 34 w 338"/>
                <a:gd name="T35" fmla="*/ 310 h 318"/>
                <a:gd name="T36" fmla="*/ 43 w 338"/>
                <a:gd name="T37" fmla="*/ 318 h 318"/>
                <a:gd name="T38" fmla="*/ 56 w 338"/>
                <a:gd name="T39" fmla="*/ 311 h 318"/>
                <a:gd name="T40" fmla="*/ 67 w 338"/>
                <a:gd name="T41" fmla="*/ 279 h 318"/>
                <a:gd name="T42" fmla="*/ 86 w 338"/>
                <a:gd name="T43" fmla="*/ 282 h 318"/>
                <a:gd name="T44" fmla="*/ 103 w 338"/>
                <a:gd name="T45" fmla="*/ 298 h 318"/>
                <a:gd name="T46" fmla="*/ 125 w 338"/>
                <a:gd name="T47" fmla="*/ 295 h 318"/>
                <a:gd name="T48" fmla="*/ 148 w 338"/>
                <a:gd name="T49" fmla="*/ 300 h 318"/>
                <a:gd name="T50" fmla="*/ 161 w 338"/>
                <a:gd name="T51" fmla="*/ 291 h 318"/>
                <a:gd name="T52" fmla="*/ 170 w 338"/>
                <a:gd name="T53" fmla="*/ 279 h 318"/>
                <a:gd name="T54" fmla="*/ 198 w 338"/>
                <a:gd name="T55" fmla="*/ 290 h 318"/>
                <a:gd name="T56" fmla="*/ 219 w 338"/>
                <a:gd name="T57" fmla="*/ 260 h 318"/>
                <a:gd name="T58" fmla="*/ 212 w 338"/>
                <a:gd name="T59" fmla="*/ 239 h 318"/>
                <a:gd name="T60" fmla="*/ 226 w 338"/>
                <a:gd name="T61" fmla="*/ 232 h 318"/>
                <a:gd name="T62" fmla="*/ 233 w 338"/>
                <a:gd name="T63" fmla="*/ 252 h 318"/>
                <a:gd name="T64" fmla="*/ 247 w 338"/>
                <a:gd name="T65" fmla="*/ 278 h 318"/>
                <a:gd name="T66" fmla="*/ 250 w 338"/>
                <a:gd name="T67" fmla="*/ 297 h 318"/>
                <a:gd name="T68" fmla="*/ 253 w 338"/>
                <a:gd name="T69" fmla="*/ 295 h 318"/>
                <a:gd name="T70" fmla="*/ 268 w 338"/>
                <a:gd name="T71" fmla="*/ 264 h 318"/>
                <a:gd name="T72" fmla="*/ 278 w 338"/>
                <a:gd name="T73" fmla="*/ 236 h 318"/>
                <a:gd name="T74" fmla="*/ 299 w 338"/>
                <a:gd name="T75" fmla="*/ 201 h 318"/>
                <a:gd name="T76" fmla="*/ 299 w 338"/>
                <a:gd name="T77" fmla="*/ 171 h 318"/>
                <a:gd name="T78" fmla="*/ 305 w 338"/>
                <a:gd name="T79" fmla="*/ 13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318">
                  <a:moveTo>
                    <a:pt x="305" y="136"/>
                  </a:moveTo>
                  <a:lnTo>
                    <a:pt x="307" y="120"/>
                  </a:lnTo>
                  <a:lnTo>
                    <a:pt x="313" y="112"/>
                  </a:lnTo>
                  <a:lnTo>
                    <a:pt x="328" y="109"/>
                  </a:lnTo>
                  <a:lnTo>
                    <a:pt x="338" y="96"/>
                  </a:lnTo>
                  <a:lnTo>
                    <a:pt x="326" y="86"/>
                  </a:lnTo>
                  <a:lnTo>
                    <a:pt x="317" y="81"/>
                  </a:lnTo>
                  <a:lnTo>
                    <a:pt x="308" y="52"/>
                  </a:lnTo>
                  <a:lnTo>
                    <a:pt x="304" y="28"/>
                  </a:lnTo>
                  <a:lnTo>
                    <a:pt x="308" y="24"/>
                  </a:lnTo>
                  <a:lnTo>
                    <a:pt x="301" y="0"/>
                  </a:lnTo>
                  <a:lnTo>
                    <a:pt x="219" y="0"/>
                  </a:lnTo>
                  <a:lnTo>
                    <a:pt x="139" y="0"/>
                  </a:lnTo>
                  <a:lnTo>
                    <a:pt x="57" y="0"/>
                  </a:lnTo>
                  <a:lnTo>
                    <a:pt x="59" y="48"/>
                  </a:lnTo>
                  <a:lnTo>
                    <a:pt x="35" y="48"/>
                  </a:lnTo>
                  <a:lnTo>
                    <a:pt x="35" y="57"/>
                  </a:lnTo>
                  <a:lnTo>
                    <a:pt x="39" y="152"/>
                  </a:lnTo>
                  <a:lnTo>
                    <a:pt x="21" y="151"/>
                  </a:lnTo>
                  <a:lnTo>
                    <a:pt x="12" y="168"/>
                  </a:lnTo>
                  <a:lnTo>
                    <a:pt x="7" y="183"/>
                  </a:lnTo>
                  <a:lnTo>
                    <a:pt x="11" y="188"/>
                  </a:lnTo>
                  <a:lnTo>
                    <a:pt x="5" y="196"/>
                  </a:lnTo>
                  <a:lnTo>
                    <a:pt x="7" y="205"/>
                  </a:lnTo>
                  <a:lnTo>
                    <a:pt x="2" y="215"/>
                  </a:lnTo>
                  <a:lnTo>
                    <a:pt x="0" y="224"/>
                  </a:lnTo>
                  <a:lnTo>
                    <a:pt x="7" y="223"/>
                  </a:lnTo>
                  <a:lnTo>
                    <a:pt x="12" y="232"/>
                  </a:lnTo>
                  <a:lnTo>
                    <a:pt x="13" y="246"/>
                  </a:lnTo>
                  <a:lnTo>
                    <a:pt x="21" y="253"/>
                  </a:lnTo>
                  <a:lnTo>
                    <a:pt x="21" y="258"/>
                  </a:lnTo>
                  <a:lnTo>
                    <a:pt x="23" y="268"/>
                  </a:lnTo>
                  <a:lnTo>
                    <a:pt x="35" y="283"/>
                  </a:lnTo>
                  <a:lnTo>
                    <a:pt x="35" y="293"/>
                  </a:lnTo>
                  <a:lnTo>
                    <a:pt x="33" y="303"/>
                  </a:lnTo>
                  <a:lnTo>
                    <a:pt x="34" y="310"/>
                  </a:lnTo>
                  <a:lnTo>
                    <a:pt x="41" y="317"/>
                  </a:lnTo>
                  <a:lnTo>
                    <a:pt x="43" y="318"/>
                  </a:lnTo>
                  <a:lnTo>
                    <a:pt x="49" y="315"/>
                  </a:lnTo>
                  <a:lnTo>
                    <a:pt x="56" y="311"/>
                  </a:lnTo>
                  <a:lnTo>
                    <a:pt x="62" y="290"/>
                  </a:lnTo>
                  <a:lnTo>
                    <a:pt x="67" y="279"/>
                  </a:lnTo>
                  <a:lnTo>
                    <a:pt x="82" y="276"/>
                  </a:lnTo>
                  <a:lnTo>
                    <a:pt x="86" y="282"/>
                  </a:lnTo>
                  <a:lnTo>
                    <a:pt x="97" y="296"/>
                  </a:lnTo>
                  <a:lnTo>
                    <a:pt x="103" y="298"/>
                  </a:lnTo>
                  <a:lnTo>
                    <a:pt x="110" y="294"/>
                  </a:lnTo>
                  <a:lnTo>
                    <a:pt x="125" y="295"/>
                  </a:lnTo>
                  <a:lnTo>
                    <a:pt x="128" y="300"/>
                  </a:lnTo>
                  <a:lnTo>
                    <a:pt x="148" y="300"/>
                  </a:lnTo>
                  <a:lnTo>
                    <a:pt x="149" y="295"/>
                  </a:lnTo>
                  <a:lnTo>
                    <a:pt x="161" y="291"/>
                  </a:lnTo>
                  <a:lnTo>
                    <a:pt x="162" y="283"/>
                  </a:lnTo>
                  <a:lnTo>
                    <a:pt x="170" y="279"/>
                  </a:lnTo>
                  <a:lnTo>
                    <a:pt x="188" y="293"/>
                  </a:lnTo>
                  <a:lnTo>
                    <a:pt x="198" y="290"/>
                  </a:lnTo>
                  <a:lnTo>
                    <a:pt x="208" y="273"/>
                  </a:lnTo>
                  <a:lnTo>
                    <a:pt x="219" y="260"/>
                  </a:lnTo>
                  <a:lnTo>
                    <a:pt x="218" y="245"/>
                  </a:lnTo>
                  <a:lnTo>
                    <a:pt x="212" y="239"/>
                  </a:lnTo>
                  <a:lnTo>
                    <a:pt x="225" y="238"/>
                  </a:lnTo>
                  <a:lnTo>
                    <a:pt x="226" y="232"/>
                  </a:lnTo>
                  <a:lnTo>
                    <a:pt x="235" y="234"/>
                  </a:lnTo>
                  <a:lnTo>
                    <a:pt x="233" y="252"/>
                  </a:lnTo>
                  <a:lnTo>
                    <a:pt x="237" y="268"/>
                  </a:lnTo>
                  <a:lnTo>
                    <a:pt x="247" y="278"/>
                  </a:lnTo>
                  <a:lnTo>
                    <a:pt x="250" y="286"/>
                  </a:lnTo>
                  <a:lnTo>
                    <a:pt x="250" y="297"/>
                  </a:lnTo>
                  <a:lnTo>
                    <a:pt x="253" y="298"/>
                  </a:lnTo>
                  <a:lnTo>
                    <a:pt x="253" y="295"/>
                  </a:lnTo>
                  <a:lnTo>
                    <a:pt x="259" y="270"/>
                  </a:lnTo>
                  <a:lnTo>
                    <a:pt x="268" y="264"/>
                  </a:lnTo>
                  <a:lnTo>
                    <a:pt x="270" y="253"/>
                  </a:lnTo>
                  <a:lnTo>
                    <a:pt x="278" y="236"/>
                  </a:lnTo>
                  <a:lnTo>
                    <a:pt x="290" y="224"/>
                  </a:lnTo>
                  <a:lnTo>
                    <a:pt x="299" y="201"/>
                  </a:lnTo>
                  <a:lnTo>
                    <a:pt x="301" y="181"/>
                  </a:lnTo>
                  <a:lnTo>
                    <a:pt x="299" y="171"/>
                  </a:lnTo>
                  <a:lnTo>
                    <a:pt x="305" y="136"/>
                  </a:lnTo>
                  <a:lnTo>
                    <a:pt x="305" y="13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 name="South Sudan"/>
            <p:cNvSpPr>
              <a:spLocks/>
            </p:cNvSpPr>
            <p:nvPr/>
          </p:nvSpPr>
          <p:spPr bwMode="auto">
            <a:xfrm>
              <a:off x="6794500" y="4021138"/>
              <a:ext cx="381000" cy="328613"/>
            </a:xfrm>
            <a:custGeom>
              <a:avLst/>
              <a:gdLst>
                <a:gd name="T0" fmla="*/ 204 w 240"/>
                <a:gd name="T1" fmla="*/ 46 h 207"/>
                <a:gd name="T2" fmla="*/ 190 w 240"/>
                <a:gd name="T3" fmla="*/ 20 h 207"/>
                <a:gd name="T4" fmla="*/ 183 w 240"/>
                <a:gd name="T5" fmla="*/ 0 h 207"/>
                <a:gd name="T6" fmla="*/ 169 w 240"/>
                <a:gd name="T7" fmla="*/ 7 h 207"/>
                <a:gd name="T8" fmla="*/ 176 w 240"/>
                <a:gd name="T9" fmla="*/ 28 h 207"/>
                <a:gd name="T10" fmla="*/ 155 w 240"/>
                <a:gd name="T11" fmla="*/ 58 h 207"/>
                <a:gd name="T12" fmla="*/ 127 w 240"/>
                <a:gd name="T13" fmla="*/ 47 h 207"/>
                <a:gd name="T14" fmla="*/ 118 w 240"/>
                <a:gd name="T15" fmla="*/ 59 h 207"/>
                <a:gd name="T16" fmla="*/ 105 w 240"/>
                <a:gd name="T17" fmla="*/ 68 h 207"/>
                <a:gd name="T18" fmla="*/ 82 w 240"/>
                <a:gd name="T19" fmla="*/ 63 h 207"/>
                <a:gd name="T20" fmla="*/ 60 w 240"/>
                <a:gd name="T21" fmla="*/ 66 h 207"/>
                <a:gd name="T22" fmla="*/ 43 w 240"/>
                <a:gd name="T23" fmla="*/ 50 h 207"/>
                <a:gd name="T24" fmla="*/ 24 w 240"/>
                <a:gd name="T25" fmla="*/ 47 h 207"/>
                <a:gd name="T26" fmla="*/ 13 w 240"/>
                <a:gd name="T27" fmla="*/ 79 h 207"/>
                <a:gd name="T28" fmla="*/ 0 w 240"/>
                <a:gd name="T29" fmla="*/ 86 h 207"/>
                <a:gd name="T30" fmla="*/ 26 w 240"/>
                <a:gd name="T31" fmla="*/ 105 h 207"/>
                <a:gd name="T32" fmla="*/ 40 w 240"/>
                <a:gd name="T33" fmla="*/ 125 h 207"/>
                <a:gd name="T34" fmla="*/ 55 w 240"/>
                <a:gd name="T35" fmla="*/ 149 h 207"/>
                <a:gd name="T36" fmla="*/ 74 w 240"/>
                <a:gd name="T37" fmla="*/ 167 h 207"/>
                <a:gd name="T38" fmla="*/ 96 w 240"/>
                <a:gd name="T39" fmla="*/ 190 h 207"/>
                <a:gd name="T40" fmla="*/ 112 w 240"/>
                <a:gd name="T41" fmla="*/ 187 h 207"/>
                <a:gd name="T42" fmla="*/ 129 w 240"/>
                <a:gd name="T43" fmla="*/ 191 h 207"/>
                <a:gd name="T44" fmla="*/ 147 w 240"/>
                <a:gd name="T45" fmla="*/ 207 h 207"/>
                <a:gd name="T46" fmla="*/ 169 w 240"/>
                <a:gd name="T47" fmla="*/ 206 h 207"/>
                <a:gd name="T48" fmla="*/ 201 w 240"/>
                <a:gd name="T49" fmla="*/ 201 h 207"/>
                <a:gd name="T50" fmla="*/ 226 w 240"/>
                <a:gd name="T51" fmla="*/ 176 h 207"/>
                <a:gd name="T52" fmla="*/ 227 w 240"/>
                <a:gd name="T53" fmla="*/ 134 h 207"/>
                <a:gd name="T54" fmla="*/ 214 w 240"/>
                <a:gd name="T55" fmla="*/ 120 h 207"/>
                <a:gd name="T56" fmla="*/ 190 w 240"/>
                <a:gd name="T57" fmla="*/ 105 h 207"/>
                <a:gd name="T58" fmla="*/ 208 w 240"/>
                <a:gd name="T59" fmla="*/ 92 h 207"/>
                <a:gd name="T60" fmla="*/ 210 w 240"/>
                <a:gd name="T61" fmla="*/ 66 h 207"/>
                <a:gd name="T62" fmla="*/ 207 w 240"/>
                <a:gd name="T63" fmla="*/ 5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07">
                  <a:moveTo>
                    <a:pt x="207" y="54"/>
                  </a:moveTo>
                  <a:lnTo>
                    <a:pt x="204" y="46"/>
                  </a:lnTo>
                  <a:lnTo>
                    <a:pt x="194" y="36"/>
                  </a:lnTo>
                  <a:lnTo>
                    <a:pt x="190" y="20"/>
                  </a:lnTo>
                  <a:lnTo>
                    <a:pt x="192" y="2"/>
                  </a:lnTo>
                  <a:lnTo>
                    <a:pt x="183" y="0"/>
                  </a:lnTo>
                  <a:lnTo>
                    <a:pt x="182" y="6"/>
                  </a:lnTo>
                  <a:lnTo>
                    <a:pt x="169" y="7"/>
                  </a:lnTo>
                  <a:lnTo>
                    <a:pt x="175" y="13"/>
                  </a:lnTo>
                  <a:lnTo>
                    <a:pt x="176" y="28"/>
                  </a:lnTo>
                  <a:lnTo>
                    <a:pt x="165" y="41"/>
                  </a:lnTo>
                  <a:lnTo>
                    <a:pt x="155" y="58"/>
                  </a:lnTo>
                  <a:lnTo>
                    <a:pt x="145" y="61"/>
                  </a:lnTo>
                  <a:lnTo>
                    <a:pt x="127" y="47"/>
                  </a:lnTo>
                  <a:lnTo>
                    <a:pt x="119" y="51"/>
                  </a:lnTo>
                  <a:lnTo>
                    <a:pt x="118" y="59"/>
                  </a:lnTo>
                  <a:lnTo>
                    <a:pt x="106" y="63"/>
                  </a:lnTo>
                  <a:lnTo>
                    <a:pt x="105" y="68"/>
                  </a:lnTo>
                  <a:lnTo>
                    <a:pt x="85" y="68"/>
                  </a:lnTo>
                  <a:lnTo>
                    <a:pt x="82" y="63"/>
                  </a:lnTo>
                  <a:lnTo>
                    <a:pt x="67" y="62"/>
                  </a:lnTo>
                  <a:lnTo>
                    <a:pt x="60" y="66"/>
                  </a:lnTo>
                  <a:lnTo>
                    <a:pt x="54" y="64"/>
                  </a:lnTo>
                  <a:lnTo>
                    <a:pt x="43" y="50"/>
                  </a:lnTo>
                  <a:lnTo>
                    <a:pt x="39" y="44"/>
                  </a:lnTo>
                  <a:lnTo>
                    <a:pt x="24" y="47"/>
                  </a:lnTo>
                  <a:lnTo>
                    <a:pt x="19" y="58"/>
                  </a:lnTo>
                  <a:lnTo>
                    <a:pt x="13" y="79"/>
                  </a:lnTo>
                  <a:lnTo>
                    <a:pt x="6" y="83"/>
                  </a:lnTo>
                  <a:lnTo>
                    <a:pt x="0" y="86"/>
                  </a:lnTo>
                  <a:lnTo>
                    <a:pt x="14" y="95"/>
                  </a:lnTo>
                  <a:lnTo>
                    <a:pt x="26" y="105"/>
                  </a:lnTo>
                  <a:lnTo>
                    <a:pt x="26" y="113"/>
                  </a:lnTo>
                  <a:lnTo>
                    <a:pt x="40" y="125"/>
                  </a:lnTo>
                  <a:lnTo>
                    <a:pt x="49" y="135"/>
                  </a:lnTo>
                  <a:lnTo>
                    <a:pt x="55" y="149"/>
                  </a:lnTo>
                  <a:lnTo>
                    <a:pt x="71" y="159"/>
                  </a:lnTo>
                  <a:lnTo>
                    <a:pt x="74" y="167"/>
                  </a:lnTo>
                  <a:lnTo>
                    <a:pt x="87" y="186"/>
                  </a:lnTo>
                  <a:lnTo>
                    <a:pt x="96" y="190"/>
                  </a:lnTo>
                  <a:lnTo>
                    <a:pt x="102" y="185"/>
                  </a:lnTo>
                  <a:lnTo>
                    <a:pt x="112" y="187"/>
                  </a:lnTo>
                  <a:lnTo>
                    <a:pt x="123" y="182"/>
                  </a:lnTo>
                  <a:lnTo>
                    <a:pt x="129" y="191"/>
                  </a:lnTo>
                  <a:lnTo>
                    <a:pt x="147" y="207"/>
                  </a:lnTo>
                  <a:lnTo>
                    <a:pt x="147" y="207"/>
                  </a:lnTo>
                  <a:lnTo>
                    <a:pt x="156" y="201"/>
                  </a:lnTo>
                  <a:lnTo>
                    <a:pt x="169" y="206"/>
                  </a:lnTo>
                  <a:lnTo>
                    <a:pt x="186" y="201"/>
                  </a:lnTo>
                  <a:lnTo>
                    <a:pt x="201" y="201"/>
                  </a:lnTo>
                  <a:lnTo>
                    <a:pt x="213" y="190"/>
                  </a:lnTo>
                  <a:lnTo>
                    <a:pt x="226" y="176"/>
                  </a:lnTo>
                  <a:lnTo>
                    <a:pt x="240" y="160"/>
                  </a:lnTo>
                  <a:lnTo>
                    <a:pt x="227" y="134"/>
                  </a:lnTo>
                  <a:lnTo>
                    <a:pt x="217" y="129"/>
                  </a:lnTo>
                  <a:lnTo>
                    <a:pt x="214" y="120"/>
                  </a:lnTo>
                  <a:lnTo>
                    <a:pt x="203" y="107"/>
                  </a:lnTo>
                  <a:lnTo>
                    <a:pt x="190" y="105"/>
                  </a:lnTo>
                  <a:lnTo>
                    <a:pt x="197" y="92"/>
                  </a:lnTo>
                  <a:lnTo>
                    <a:pt x="208" y="92"/>
                  </a:lnTo>
                  <a:lnTo>
                    <a:pt x="211" y="85"/>
                  </a:lnTo>
                  <a:lnTo>
                    <a:pt x="210" y="66"/>
                  </a:lnTo>
                  <a:lnTo>
                    <a:pt x="207" y="65"/>
                  </a:lnTo>
                  <a:lnTo>
                    <a:pt x="207" y="54"/>
                  </a:lnTo>
                  <a:lnTo>
                    <a:pt x="207" y="5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Senegal"/>
            <p:cNvSpPr>
              <a:spLocks/>
            </p:cNvSpPr>
            <p:nvPr/>
          </p:nvSpPr>
          <p:spPr bwMode="auto">
            <a:xfrm>
              <a:off x="5419725" y="3856038"/>
              <a:ext cx="201612" cy="161925"/>
            </a:xfrm>
            <a:custGeom>
              <a:avLst/>
              <a:gdLst>
                <a:gd name="T0" fmla="*/ 113 w 127"/>
                <a:gd name="T1" fmla="*/ 48 h 102"/>
                <a:gd name="T2" fmla="*/ 99 w 127"/>
                <a:gd name="T3" fmla="*/ 31 h 102"/>
                <a:gd name="T4" fmla="*/ 87 w 127"/>
                <a:gd name="T5" fmla="*/ 13 h 102"/>
                <a:gd name="T6" fmla="*/ 74 w 127"/>
                <a:gd name="T7" fmla="*/ 8 h 102"/>
                <a:gd name="T8" fmla="*/ 64 w 127"/>
                <a:gd name="T9" fmla="*/ 0 h 102"/>
                <a:gd name="T10" fmla="*/ 53 w 127"/>
                <a:gd name="T11" fmla="*/ 0 h 102"/>
                <a:gd name="T12" fmla="*/ 42 w 127"/>
                <a:gd name="T13" fmla="*/ 6 h 102"/>
                <a:gd name="T14" fmla="*/ 32 w 127"/>
                <a:gd name="T15" fmla="*/ 4 h 102"/>
                <a:gd name="T16" fmla="*/ 25 w 127"/>
                <a:gd name="T17" fmla="*/ 12 h 102"/>
                <a:gd name="T18" fmla="*/ 20 w 127"/>
                <a:gd name="T19" fmla="*/ 24 h 102"/>
                <a:gd name="T20" fmla="*/ 9 w 127"/>
                <a:gd name="T21" fmla="*/ 41 h 102"/>
                <a:gd name="T22" fmla="*/ 0 w 127"/>
                <a:gd name="T23" fmla="*/ 45 h 102"/>
                <a:gd name="T24" fmla="*/ 10 w 127"/>
                <a:gd name="T25" fmla="*/ 54 h 102"/>
                <a:gd name="T26" fmla="*/ 18 w 127"/>
                <a:gd name="T27" fmla="*/ 72 h 102"/>
                <a:gd name="T28" fmla="*/ 41 w 127"/>
                <a:gd name="T29" fmla="*/ 71 h 102"/>
                <a:gd name="T30" fmla="*/ 46 w 127"/>
                <a:gd name="T31" fmla="*/ 66 h 102"/>
                <a:gd name="T32" fmla="*/ 53 w 127"/>
                <a:gd name="T33" fmla="*/ 66 h 102"/>
                <a:gd name="T34" fmla="*/ 60 w 127"/>
                <a:gd name="T35" fmla="*/ 71 h 102"/>
                <a:gd name="T36" fmla="*/ 67 w 127"/>
                <a:gd name="T37" fmla="*/ 71 h 102"/>
                <a:gd name="T38" fmla="*/ 74 w 127"/>
                <a:gd name="T39" fmla="*/ 68 h 102"/>
                <a:gd name="T40" fmla="*/ 78 w 127"/>
                <a:gd name="T41" fmla="*/ 74 h 102"/>
                <a:gd name="T42" fmla="*/ 69 w 127"/>
                <a:gd name="T43" fmla="*/ 80 h 102"/>
                <a:gd name="T44" fmla="*/ 60 w 127"/>
                <a:gd name="T45" fmla="*/ 79 h 102"/>
                <a:gd name="T46" fmla="*/ 51 w 127"/>
                <a:gd name="T47" fmla="*/ 74 h 102"/>
                <a:gd name="T48" fmla="*/ 43 w 127"/>
                <a:gd name="T49" fmla="*/ 80 h 102"/>
                <a:gd name="T50" fmla="*/ 40 w 127"/>
                <a:gd name="T51" fmla="*/ 80 h 102"/>
                <a:gd name="T52" fmla="*/ 34 w 127"/>
                <a:gd name="T53" fmla="*/ 83 h 102"/>
                <a:gd name="T54" fmla="*/ 15 w 127"/>
                <a:gd name="T55" fmla="*/ 83 h 102"/>
                <a:gd name="T56" fmla="*/ 18 w 127"/>
                <a:gd name="T57" fmla="*/ 101 h 102"/>
                <a:gd name="T58" fmla="*/ 29 w 127"/>
                <a:gd name="T59" fmla="*/ 97 h 102"/>
                <a:gd name="T60" fmla="*/ 37 w 127"/>
                <a:gd name="T61" fmla="*/ 97 h 102"/>
                <a:gd name="T62" fmla="*/ 42 w 127"/>
                <a:gd name="T63" fmla="*/ 95 h 102"/>
                <a:gd name="T64" fmla="*/ 81 w 127"/>
                <a:gd name="T65" fmla="*/ 96 h 102"/>
                <a:gd name="T66" fmla="*/ 91 w 127"/>
                <a:gd name="T67" fmla="*/ 97 h 102"/>
                <a:gd name="T68" fmla="*/ 106 w 127"/>
                <a:gd name="T69" fmla="*/ 102 h 102"/>
                <a:gd name="T70" fmla="*/ 111 w 127"/>
                <a:gd name="T71" fmla="*/ 101 h 102"/>
                <a:gd name="T72" fmla="*/ 112 w 127"/>
                <a:gd name="T73" fmla="*/ 99 h 102"/>
                <a:gd name="T74" fmla="*/ 123 w 127"/>
                <a:gd name="T75" fmla="*/ 101 h 102"/>
                <a:gd name="T76" fmla="*/ 126 w 127"/>
                <a:gd name="T77" fmla="*/ 99 h 102"/>
                <a:gd name="T78" fmla="*/ 127 w 127"/>
                <a:gd name="T79" fmla="*/ 92 h 102"/>
                <a:gd name="T80" fmla="*/ 126 w 127"/>
                <a:gd name="T81" fmla="*/ 83 h 102"/>
                <a:gd name="T82" fmla="*/ 118 w 127"/>
                <a:gd name="T83" fmla="*/ 76 h 102"/>
                <a:gd name="T84" fmla="*/ 113 w 127"/>
                <a:gd name="T85" fmla="*/ 62 h 102"/>
                <a:gd name="T86" fmla="*/ 113 w 127"/>
                <a:gd name="T87" fmla="*/ 48 h 102"/>
                <a:gd name="T88" fmla="*/ 113 w 127"/>
                <a:gd name="T89" fmla="*/ 4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2">
                  <a:moveTo>
                    <a:pt x="113" y="48"/>
                  </a:moveTo>
                  <a:lnTo>
                    <a:pt x="99" y="31"/>
                  </a:lnTo>
                  <a:lnTo>
                    <a:pt x="87" y="13"/>
                  </a:lnTo>
                  <a:lnTo>
                    <a:pt x="74" y="8"/>
                  </a:lnTo>
                  <a:lnTo>
                    <a:pt x="64" y="0"/>
                  </a:lnTo>
                  <a:lnTo>
                    <a:pt x="53" y="0"/>
                  </a:lnTo>
                  <a:lnTo>
                    <a:pt x="42" y="6"/>
                  </a:lnTo>
                  <a:lnTo>
                    <a:pt x="32" y="4"/>
                  </a:lnTo>
                  <a:lnTo>
                    <a:pt x="25" y="12"/>
                  </a:lnTo>
                  <a:lnTo>
                    <a:pt x="20" y="24"/>
                  </a:lnTo>
                  <a:lnTo>
                    <a:pt x="9" y="41"/>
                  </a:lnTo>
                  <a:lnTo>
                    <a:pt x="0" y="45"/>
                  </a:lnTo>
                  <a:lnTo>
                    <a:pt x="10" y="54"/>
                  </a:lnTo>
                  <a:lnTo>
                    <a:pt x="18" y="72"/>
                  </a:lnTo>
                  <a:lnTo>
                    <a:pt x="41" y="71"/>
                  </a:lnTo>
                  <a:lnTo>
                    <a:pt x="46" y="66"/>
                  </a:lnTo>
                  <a:lnTo>
                    <a:pt x="53" y="66"/>
                  </a:lnTo>
                  <a:lnTo>
                    <a:pt x="60" y="71"/>
                  </a:lnTo>
                  <a:lnTo>
                    <a:pt x="67" y="71"/>
                  </a:lnTo>
                  <a:lnTo>
                    <a:pt x="74" y="68"/>
                  </a:lnTo>
                  <a:lnTo>
                    <a:pt x="78" y="74"/>
                  </a:lnTo>
                  <a:lnTo>
                    <a:pt x="69" y="80"/>
                  </a:lnTo>
                  <a:lnTo>
                    <a:pt x="60" y="79"/>
                  </a:lnTo>
                  <a:lnTo>
                    <a:pt x="51" y="74"/>
                  </a:lnTo>
                  <a:lnTo>
                    <a:pt x="43" y="80"/>
                  </a:lnTo>
                  <a:lnTo>
                    <a:pt x="40" y="80"/>
                  </a:lnTo>
                  <a:lnTo>
                    <a:pt x="34" y="83"/>
                  </a:lnTo>
                  <a:lnTo>
                    <a:pt x="15" y="83"/>
                  </a:lnTo>
                  <a:lnTo>
                    <a:pt x="18" y="101"/>
                  </a:lnTo>
                  <a:lnTo>
                    <a:pt x="29" y="97"/>
                  </a:lnTo>
                  <a:lnTo>
                    <a:pt x="37" y="97"/>
                  </a:lnTo>
                  <a:lnTo>
                    <a:pt x="42" y="95"/>
                  </a:lnTo>
                  <a:lnTo>
                    <a:pt x="81" y="96"/>
                  </a:lnTo>
                  <a:lnTo>
                    <a:pt x="91" y="97"/>
                  </a:lnTo>
                  <a:lnTo>
                    <a:pt x="106" y="102"/>
                  </a:lnTo>
                  <a:lnTo>
                    <a:pt x="111" y="101"/>
                  </a:lnTo>
                  <a:lnTo>
                    <a:pt x="112" y="99"/>
                  </a:lnTo>
                  <a:lnTo>
                    <a:pt x="123" y="101"/>
                  </a:lnTo>
                  <a:lnTo>
                    <a:pt x="126" y="99"/>
                  </a:lnTo>
                  <a:lnTo>
                    <a:pt x="127" y="92"/>
                  </a:lnTo>
                  <a:lnTo>
                    <a:pt x="126" y="83"/>
                  </a:lnTo>
                  <a:lnTo>
                    <a:pt x="118" y="76"/>
                  </a:lnTo>
                  <a:lnTo>
                    <a:pt x="113" y="62"/>
                  </a:lnTo>
                  <a:lnTo>
                    <a:pt x="113" y="48"/>
                  </a:lnTo>
                  <a:lnTo>
                    <a:pt x="113" y="4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 name="Sierra Leone"/>
            <p:cNvSpPr>
              <a:spLocks/>
            </p:cNvSpPr>
            <p:nvPr/>
          </p:nvSpPr>
          <p:spPr bwMode="auto">
            <a:xfrm>
              <a:off x="5561012" y="4103688"/>
              <a:ext cx="101600" cy="123825"/>
            </a:xfrm>
            <a:custGeom>
              <a:avLst/>
              <a:gdLst>
                <a:gd name="T0" fmla="*/ 64 w 64"/>
                <a:gd name="T1" fmla="*/ 39 h 78"/>
                <a:gd name="T2" fmla="*/ 58 w 64"/>
                <a:gd name="T3" fmla="*/ 40 h 78"/>
                <a:gd name="T4" fmla="*/ 58 w 64"/>
                <a:gd name="T5" fmla="*/ 32 h 78"/>
                <a:gd name="T6" fmla="*/ 54 w 64"/>
                <a:gd name="T7" fmla="*/ 25 h 78"/>
                <a:gd name="T8" fmla="*/ 55 w 64"/>
                <a:gd name="T9" fmla="*/ 19 h 78"/>
                <a:gd name="T10" fmla="*/ 51 w 64"/>
                <a:gd name="T11" fmla="*/ 9 h 78"/>
                <a:gd name="T12" fmla="*/ 45 w 64"/>
                <a:gd name="T13" fmla="*/ 0 h 78"/>
                <a:gd name="T14" fmla="*/ 28 w 64"/>
                <a:gd name="T15" fmla="*/ 0 h 78"/>
                <a:gd name="T16" fmla="*/ 23 w 64"/>
                <a:gd name="T17" fmla="*/ 5 h 78"/>
                <a:gd name="T18" fmla="*/ 18 w 64"/>
                <a:gd name="T19" fmla="*/ 5 h 78"/>
                <a:gd name="T20" fmla="*/ 14 w 64"/>
                <a:gd name="T21" fmla="*/ 11 h 78"/>
                <a:gd name="T22" fmla="*/ 11 w 64"/>
                <a:gd name="T23" fmla="*/ 17 h 78"/>
                <a:gd name="T24" fmla="*/ 0 w 64"/>
                <a:gd name="T25" fmla="*/ 27 h 78"/>
                <a:gd name="T26" fmla="*/ 3 w 64"/>
                <a:gd name="T27" fmla="*/ 45 h 78"/>
                <a:gd name="T28" fmla="*/ 6 w 64"/>
                <a:gd name="T29" fmla="*/ 53 h 78"/>
                <a:gd name="T30" fmla="*/ 17 w 64"/>
                <a:gd name="T31" fmla="*/ 67 h 78"/>
                <a:gd name="T32" fmla="*/ 32 w 64"/>
                <a:gd name="T33" fmla="*/ 76 h 78"/>
                <a:gd name="T34" fmla="*/ 37 w 64"/>
                <a:gd name="T35" fmla="*/ 78 h 78"/>
                <a:gd name="T36" fmla="*/ 43 w 64"/>
                <a:gd name="T37" fmla="*/ 70 h 78"/>
                <a:gd name="T38" fmla="*/ 44 w 64"/>
                <a:gd name="T39" fmla="*/ 63 h 78"/>
                <a:gd name="T40" fmla="*/ 53 w 64"/>
                <a:gd name="T41" fmla="*/ 51 h 78"/>
                <a:gd name="T42" fmla="*/ 64 w 64"/>
                <a:gd name="T43" fmla="*/ 39 h 78"/>
                <a:gd name="T44" fmla="*/ 64 w 64"/>
                <a:gd name="T4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78">
                  <a:moveTo>
                    <a:pt x="64" y="39"/>
                  </a:moveTo>
                  <a:lnTo>
                    <a:pt x="58" y="40"/>
                  </a:lnTo>
                  <a:lnTo>
                    <a:pt x="58" y="32"/>
                  </a:lnTo>
                  <a:lnTo>
                    <a:pt x="54" y="25"/>
                  </a:lnTo>
                  <a:lnTo>
                    <a:pt x="55" y="19"/>
                  </a:lnTo>
                  <a:lnTo>
                    <a:pt x="51" y="9"/>
                  </a:lnTo>
                  <a:lnTo>
                    <a:pt x="45" y="0"/>
                  </a:lnTo>
                  <a:lnTo>
                    <a:pt x="28" y="0"/>
                  </a:lnTo>
                  <a:lnTo>
                    <a:pt x="23" y="5"/>
                  </a:lnTo>
                  <a:lnTo>
                    <a:pt x="18" y="5"/>
                  </a:lnTo>
                  <a:lnTo>
                    <a:pt x="14" y="11"/>
                  </a:lnTo>
                  <a:lnTo>
                    <a:pt x="11" y="17"/>
                  </a:lnTo>
                  <a:lnTo>
                    <a:pt x="0" y="27"/>
                  </a:lnTo>
                  <a:lnTo>
                    <a:pt x="3" y="45"/>
                  </a:lnTo>
                  <a:lnTo>
                    <a:pt x="6" y="53"/>
                  </a:lnTo>
                  <a:lnTo>
                    <a:pt x="17" y="67"/>
                  </a:lnTo>
                  <a:lnTo>
                    <a:pt x="32" y="76"/>
                  </a:lnTo>
                  <a:lnTo>
                    <a:pt x="37" y="78"/>
                  </a:lnTo>
                  <a:lnTo>
                    <a:pt x="43" y="70"/>
                  </a:lnTo>
                  <a:lnTo>
                    <a:pt x="44" y="63"/>
                  </a:lnTo>
                  <a:lnTo>
                    <a:pt x="53" y="51"/>
                  </a:lnTo>
                  <a:lnTo>
                    <a:pt x="64" y="39"/>
                  </a:lnTo>
                  <a:lnTo>
                    <a:pt x="64" y="3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 name="El Salvador"/>
            <p:cNvSpPr>
              <a:spLocks/>
            </p:cNvSpPr>
            <p:nvPr/>
          </p:nvSpPr>
          <p:spPr bwMode="auto">
            <a:xfrm>
              <a:off x="3024187" y="3940176"/>
              <a:ext cx="77787" cy="47625"/>
            </a:xfrm>
            <a:custGeom>
              <a:avLst/>
              <a:gdLst>
                <a:gd name="T0" fmla="*/ 47 w 49"/>
                <a:gd name="T1" fmla="*/ 24 h 30"/>
                <a:gd name="T2" fmla="*/ 49 w 49"/>
                <a:gd name="T3" fmla="*/ 15 h 30"/>
                <a:gd name="T4" fmla="*/ 46 w 49"/>
                <a:gd name="T5" fmla="*/ 12 h 30"/>
                <a:gd name="T6" fmla="*/ 43 w 49"/>
                <a:gd name="T7" fmla="*/ 10 h 30"/>
                <a:gd name="T8" fmla="*/ 33 w 49"/>
                <a:gd name="T9" fmla="*/ 13 h 30"/>
                <a:gd name="T10" fmla="*/ 33 w 49"/>
                <a:gd name="T11" fmla="*/ 10 h 30"/>
                <a:gd name="T12" fmla="*/ 27 w 49"/>
                <a:gd name="T13" fmla="*/ 6 h 30"/>
                <a:gd name="T14" fmla="*/ 23 w 49"/>
                <a:gd name="T15" fmla="*/ 2 h 30"/>
                <a:gd name="T16" fmla="*/ 17 w 49"/>
                <a:gd name="T17" fmla="*/ 0 h 30"/>
                <a:gd name="T18" fmla="*/ 12 w 49"/>
                <a:gd name="T19" fmla="*/ 1 h 30"/>
                <a:gd name="T20" fmla="*/ 13 w 49"/>
                <a:gd name="T21" fmla="*/ 3 h 30"/>
                <a:gd name="T22" fmla="*/ 9 w 49"/>
                <a:gd name="T23" fmla="*/ 6 h 30"/>
                <a:gd name="T24" fmla="*/ 1 w 49"/>
                <a:gd name="T25" fmla="*/ 12 h 30"/>
                <a:gd name="T26" fmla="*/ 0 w 49"/>
                <a:gd name="T27" fmla="*/ 16 h 30"/>
                <a:gd name="T28" fmla="*/ 5 w 49"/>
                <a:gd name="T29" fmla="*/ 20 h 30"/>
                <a:gd name="T30" fmla="*/ 17 w 49"/>
                <a:gd name="T31" fmla="*/ 22 h 30"/>
                <a:gd name="T32" fmla="*/ 25 w 49"/>
                <a:gd name="T33" fmla="*/ 27 h 30"/>
                <a:gd name="T34" fmla="*/ 32 w 49"/>
                <a:gd name="T35" fmla="*/ 30 h 30"/>
                <a:gd name="T36" fmla="*/ 45 w 49"/>
                <a:gd name="T37" fmla="*/ 30 h 30"/>
                <a:gd name="T38" fmla="*/ 47 w 49"/>
                <a:gd name="T39" fmla="*/ 24 h 30"/>
                <a:gd name="T40" fmla="*/ 47 w 49"/>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0">
                  <a:moveTo>
                    <a:pt x="47" y="24"/>
                  </a:moveTo>
                  <a:lnTo>
                    <a:pt x="49" y="15"/>
                  </a:lnTo>
                  <a:lnTo>
                    <a:pt x="46" y="12"/>
                  </a:lnTo>
                  <a:lnTo>
                    <a:pt x="43" y="10"/>
                  </a:lnTo>
                  <a:lnTo>
                    <a:pt x="33" y="13"/>
                  </a:lnTo>
                  <a:lnTo>
                    <a:pt x="33" y="10"/>
                  </a:lnTo>
                  <a:lnTo>
                    <a:pt x="27" y="6"/>
                  </a:lnTo>
                  <a:lnTo>
                    <a:pt x="23" y="2"/>
                  </a:lnTo>
                  <a:lnTo>
                    <a:pt x="17" y="0"/>
                  </a:lnTo>
                  <a:lnTo>
                    <a:pt x="12" y="1"/>
                  </a:lnTo>
                  <a:lnTo>
                    <a:pt x="13" y="3"/>
                  </a:lnTo>
                  <a:lnTo>
                    <a:pt x="9" y="6"/>
                  </a:lnTo>
                  <a:lnTo>
                    <a:pt x="1" y="12"/>
                  </a:lnTo>
                  <a:lnTo>
                    <a:pt x="0" y="16"/>
                  </a:lnTo>
                  <a:lnTo>
                    <a:pt x="5" y="20"/>
                  </a:lnTo>
                  <a:lnTo>
                    <a:pt x="17" y="22"/>
                  </a:lnTo>
                  <a:lnTo>
                    <a:pt x="25" y="27"/>
                  </a:lnTo>
                  <a:lnTo>
                    <a:pt x="32" y="30"/>
                  </a:lnTo>
                  <a:lnTo>
                    <a:pt x="45" y="30"/>
                  </a:lnTo>
                  <a:lnTo>
                    <a:pt x="47" y="24"/>
                  </a:lnTo>
                  <a:lnTo>
                    <a:pt x="47" y="2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 name="Serbia"/>
            <p:cNvSpPr>
              <a:spLocks/>
            </p:cNvSpPr>
            <p:nvPr/>
          </p:nvSpPr>
          <p:spPr bwMode="auto">
            <a:xfrm>
              <a:off x="6559550" y="2744788"/>
              <a:ext cx="134937" cy="144463"/>
            </a:xfrm>
            <a:custGeom>
              <a:avLst/>
              <a:gdLst>
                <a:gd name="T0" fmla="*/ 52 w 85"/>
                <a:gd name="T1" fmla="*/ 23 h 91"/>
                <a:gd name="T2" fmla="*/ 40 w 85"/>
                <a:gd name="T3" fmla="*/ 18 h 91"/>
                <a:gd name="T4" fmla="*/ 37 w 85"/>
                <a:gd name="T5" fmla="*/ 10 h 91"/>
                <a:gd name="T6" fmla="*/ 27 w 85"/>
                <a:gd name="T7" fmla="*/ 1 h 91"/>
                <a:gd name="T8" fmla="*/ 14 w 85"/>
                <a:gd name="T9" fmla="*/ 0 h 91"/>
                <a:gd name="T10" fmla="*/ 0 w 85"/>
                <a:gd name="T11" fmla="*/ 7 h 91"/>
                <a:gd name="T12" fmla="*/ 0 w 85"/>
                <a:gd name="T13" fmla="*/ 7 h 91"/>
                <a:gd name="T14" fmla="*/ 6 w 85"/>
                <a:gd name="T15" fmla="*/ 15 h 91"/>
                <a:gd name="T16" fmla="*/ 13 w 85"/>
                <a:gd name="T17" fmla="*/ 23 h 91"/>
                <a:gd name="T18" fmla="*/ 6 w 85"/>
                <a:gd name="T19" fmla="*/ 31 h 91"/>
                <a:gd name="T20" fmla="*/ 6 w 85"/>
                <a:gd name="T21" fmla="*/ 31 h 91"/>
                <a:gd name="T22" fmla="*/ 13 w 85"/>
                <a:gd name="T23" fmla="*/ 31 h 91"/>
                <a:gd name="T24" fmla="*/ 9 w 85"/>
                <a:gd name="T25" fmla="*/ 41 h 91"/>
                <a:gd name="T26" fmla="*/ 19 w 85"/>
                <a:gd name="T27" fmla="*/ 50 h 91"/>
                <a:gd name="T28" fmla="*/ 17 w 85"/>
                <a:gd name="T29" fmla="*/ 60 h 91"/>
                <a:gd name="T30" fmla="*/ 13 w 85"/>
                <a:gd name="T31" fmla="*/ 62 h 91"/>
                <a:gd name="T32" fmla="*/ 18 w 85"/>
                <a:gd name="T33" fmla="*/ 65 h 91"/>
                <a:gd name="T34" fmla="*/ 21 w 85"/>
                <a:gd name="T35" fmla="*/ 68 h 91"/>
                <a:gd name="T36" fmla="*/ 28 w 85"/>
                <a:gd name="T37" fmla="*/ 71 h 91"/>
                <a:gd name="T38" fmla="*/ 36 w 85"/>
                <a:gd name="T39" fmla="*/ 76 h 91"/>
                <a:gd name="T40" fmla="*/ 34 w 85"/>
                <a:gd name="T41" fmla="*/ 78 h 91"/>
                <a:gd name="T42" fmla="*/ 39 w 85"/>
                <a:gd name="T43" fmla="*/ 76 h 91"/>
                <a:gd name="T44" fmla="*/ 41 w 85"/>
                <a:gd name="T45" fmla="*/ 68 h 91"/>
                <a:gd name="T46" fmla="*/ 43 w 85"/>
                <a:gd name="T47" fmla="*/ 67 h 91"/>
                <a:gd name="T48" fmla="*/ 47 w 85"/>
                <a:gd name="T49" fmla="*/ 70 h 91"/>
                <a:gd name="T50" fmla="*/ 51 w 85"/>
                <a:gd name="T51" fmla="*/ 72 h 91"/>
                <a:gd name="T52" fmla="*/ 54 w 85"/>
                <a:gd name="T53" fmla="*/ 76 h 91"/>
                <a:gd name="T54" fmla="*/ 56 w 85"/>
                <a:gd name="T55" fmla="*/ 77 h 91"/>
                <a:gd name="T56" fmla="*/ 60 w 85"/>
                <a:gd name="T57" fmla="*/ 80 h 91"/>
                <a:gd name="T58" fmla="*/ 64 w 85"/>
                <a:gd name="T59" fmla="*/ 80 h 91"/>
                <a:gd name="T60" fmla="*/ 62 w 85"/>
                <a:gd name="T61" fmla="*/ 86 h 91"/>
                <a:gd name="T62" fmla="*/ 60 w 85"/>
                <a:gd name="T63" fmla="*/ 89 h 91"/>
                <a:gd name="T64" fmla="*/ 60 w 85"/>
                <a:gd name="T65" fmla="*/ 91 h 91"/>
                <a:gd name="T66" fmla="*/ 67 w 85"/>
                <a:gd name="T67" fmla="*/ 90 h 91"/>
                <a:gd name="T68" fmla="*/ 76 w 85"/>
                <a:gd name="T69" fmla="*/ 89 h 91"/>
                <a:gd name="T70" fmla="*/ 79 w 85"/>
                <a:gd name="T71" fmla="*/ 86 h 91"/>
                <a:gd name="T72" fmla="*/ 76 w 85"/>
                <a:gd name="T73" fmla="*/ 83 h 91"/>
                <a:gd name="T74" fmla="*/ 79 w 85"/>
                <a:gd name="T75" fmla="*/ 76 h 91"/>
                <a:gd name="T76" fmla="*/ 85 w 85"/>
                <a:gd name="T77" fmla="*/ 68 h 91"/>
                <a:gd name="T78" fmla="*/ 75 w 85"/>
                <a:gd name="T79" fmla="*/ 59 h 91"/>
                <a:gd name="T80" fmla="*/ 72 w 85"/>
                <a:gd name="T81" fmla="*/ 51 h 91"/>
                <a:gd name="T82" fmla="*/ 76 w 85"/>
                <a:gd name="T83" fmla="*/ 45 h 91"/>
                <a:gd name="T84" fmla="*/ 72 w 85"/>
                <a:gd name="T85" fmla="*/ 41 h 91"/>
                <a:gd name="T86" fmla="*/ 77 w 85"/>
                <a:gd name="T87" fmla="*/ 37 h 91"/>
                <a:gd name="T88" fmla="*/ 71 w 85"/>
                <a:gd name="T89" fmla="*/ 35 h 91"/>
                <a:gd name="T90" fmla="*/ 66 w 85"/>
                <a:gd name="T91" fmla="*/ 39 h 91"/>
                <a:gd name="T92" fmla="*/ 55 w 85"/>
                <a:gd name="T93" fmla="*/ 33 h 91"/>
                <a:gd name="T94" fmla="*/ 52 w 85"/>
                <a:gd name="T95" fmla="*/ 23 h 91"/>
                <a:gd name="T96" fmla="*/ 52 w 85"/>
                <a:gd name="T97"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1">
                  <a:moveTo>
                    <a:pt x="52" y="23"/>
                  </a:moveTo>
                  <a:lnTo>
                    <a:pt x="40" y="18"/>
                  </a:lnTo>
                  <a:lnTo>
                    <a:pt x="37" y="10"/>
                  </a:lnTo>
                  <a:lnTo>
                    <a:pt x="27" y="1"/>
                  </a:lnTo>
                  <a:lnTo>
                    <a:pt x="14" y="0"/>
                  </a:lnTo>
                  <a:lnTo>
                    <a:pt x="0" y="7"/>
                  </a:lnTo>
                  <a:lnTo>
                    <a:pt x="0" y="7"/>
                  </a:lnTo>
                  <a:lnTo>
                    <a:pt x="6" y="15"/>
                  </a:lnTo>
                  <a:lnTo>
                    <a:pt x="13" y="23"/>
                  </a:lnTo>
                  <a:lnTo>
                    <a:pt x="6" y="31"/>
                  </a:lnTo>
                  <a:lnTo>
                    <a:pt x="6" y="31"/>
                  </a:lnTo>
                  <a:lnTo>
                    <a:pt x="13" y="31"/>
                  </a:lnTo>
                  <a:lnTo>
                    <a:pt x="9" y="41"/>
                  </a:lnTo>
                  <a:lnTo>
                    <a:pt x="19" y="50"/>
                  </a:lnTo>
                  <a:lnTo>
                    <a:pt x="17" y="60"/>
                  </a:lnTo>
                  <a:lnTo>
                    <a:pt x="13" y="62"/>
                  </a:lnTo>
                  <a:lnTo>
                    <a:pt x="18" y="65"/>
                  </a:lnTo>
                  <a:lnTo>
                    <a:pt x="21" y="68"/>
                  </a:lnTo>
                  <a:lnTo>
                    <a:pt x="28" y="71"/>
                  </a:lnTo>
                  <a:lnTo>
                    <a:pt x="36" y="76"/>
                  </a:lnTo>
                  <a:lnTo>
                    <a:pt x="34" y="78"/>
                  </a:lnTo>
                  <a:lnTo>
                    <a:pt x="39" y="76"/>
                  </a:lnTo>
                  <a:lnTo>
                    <a:pt x="41" y="68"/>
                  </a:lnTo>
                  <a:lnTo>
                    <a:pt x="43" y="67"/>
                  </a:lnTo>
                  <a:lnTo>
                    <a:pt x="47" y="70"/>
                  </a:lnTo>
                  <a:lnTo>
                    <a:pt x="51" y="72"/>
                  </a:lnTo>
                  <a:lnTo>
                    <a:pt x="54" y="76"/>
                  </a:lnTo>
                  <a:lnTo>
                    <a:pt x="56" y="77"/>
                  </a:lnTo>
                  <a:lnTo>
                    <a:pt x="60" y="80"/>
                  </a:lnTo>
                  <a:lnTo>
                    <a:pt x="64" y="80"/>
                  </a:lnTo>
                  <a:lnTo>
                    <a:pt x="62" y="86"/>
                  </a:lnTo>
                  <a:lnTo>
                    <a:pt x="60" y="89"/>
                  </a:lnTo>
                  <a:lnTo>
                    <a:pt x="60" y="91"/>
                  </a:lnTo>
                  <a:lnTo>
                    <a:pt x="67" y="90"/>
                  </a:lnTo>
                  <a:lnTo>
                    <a:pt x="76" y="89"/>
                  </a:lnTo>
                  <a:lnTo>
                    <a:pt x="79" y="86"/>
                  </a:lnTo>
                  <a:lnTo>
                    <a:pt x="76" y="83"/>
                  </a:lnTo>
                  <a:lnTo>
                    <a:pt x="79" y="76"/>
                  </a:lnTo>
                  <a:lnTo>
                    <a:pt x="85" y="68"/>
                  </a:lnTo>
                  <a:lnTo>
                    <a:pt x="75" y="59"/>
                  </a:lnTo>
                  <a:lnTo>
                    <a:pt x="72" y="51"/>
                  </a:lnTo>
                  <a:lnTo>
                    <a:pt x="76" y="45"/>
                  </a:lnTo>
                  <a:lnTo>
                    <a:pt x="72" y="41"/>
                  </a:lnTo>
                  <a:lnTo>
                    <a:pt x="77" y="37"/>
                  </a:lnTo>
                  <a:lnTo>
                    <a:pt x="71" y="35"/>
                  </a:lnTo>
                  <a:lnTo>
                    <a:pt x="66" y="39"/>
                  </a:lnTo>
                  <a:lnTo>
                    <a:pt x="55" y="33"/>
                  </a:lnTo>
                  <a:lnTo>
                    <a:pt x="52" y="23"/>
                  </a:lnTo>
                  <a:lnTo>
                    <a:pt x="52" y="2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 name="Suriname"/>
            <p:cNvSpPr>
              <a:spLocks/>
            </p:cNvSpPr>
            <p:nvPr/>
          </p:nvSpPr>
          <p:spPr bwMode="auto">
            <a:xfrm>
              <a:off x="4068762" y="4256088"/>
              <a:ext cx="138112" cy="157163"/>
            </a:xfrm>
            <a:custGeom>
              <a:avLst/>
              <a:gdLst>
                <a:gd name="T0" fmla="*/ 64 w 87"/>
                <a:gd name="T1" fmla="*/ 0 h 99"/>
                <a:gd name="T2" fmla="*/ 48 w 87"/>
                <a:gd name="T3" fmla="*/ 1 h 99"/>
                <a:gd name="T4" fmla="*/ 45 w 87"/>
                <a:gd name="T5" fmla="*/ 6 h 99"/>
                <a:gd name="T6" fmla="*/ 20 w 87"/>
                <a:gd name="T7" fmla="*/ 1 h 99"/>
                <a:gd name="T8" fmla="*/ 16 w 87"/>
                <a:gd name="T9" fmla="*/ 23 h 99"/>
                <a:gd name="T10" fmla="*/ 3 w 87"/>
                <a:gd name="T11" fmla="*/ 28 h 99"/>
                <a:gd name="T12" fmla="*/ 5 w 87"/>
                <a:gd name="T13" fmla="*/ 34 h 99"/>
                <a:gd name="T14" fmla="*/ 0 w 87"/>
                <a:gd name="T15" fmla="*/ 46 h 99"/>
                <a:gd name="T16" fmla="*/ 9 w 87"/>
                <a:gd name="T17" fmla="*/ 64 h 99"/>
                <a:gd name="T18" fmla="*/ 16 w 87"/>
                <a:gd name="T19" fmla="*/ 64 h 99"/>
                <a:gd name="T20" fmla="*/ 19 w 87"/>
                <a:gd name="T21" fmla="*/ 77 h 99"/>
                <a:gd name="T22" fmla="*/ 31 w 87"/>
                <a:gd name="T23" fmla="*/ 98 h 99"/>
                <a:gd name="T24" fmla="*/ 42 w 87"/>
                <a:gd name="T25" fmla="*/ 99 h 99"/>
                <a:gd name="T26" fmla="*/ 44 w 87"/>
                <a:gd name="T27" fmla="*/ 95 h 99"/>
                <a:gd name="T28" fmla="*/ 41 w 87"/>
                <a:gd name="T29" fmla="*/ 90 h 99"/>
                <a:gd name="T30" fmla="*/ 43 w 87"/>
                <a:gd name="T31" fmla="*/ 84 h 99"/>
                <a:gd name="T32" fmla="*/ 51 w 87"/>
                <a:gd name="T33" fmla="*/ 85 h 99"/>
                <a:gd name="T34" fmla="*/ 62 w 87"/>
                <a:gd name="T35" fmla="*/ 83 h 99"/>
                <a:gd name="T36" fmla="*/ 74 w 87"/>
                <a:gd name="T37" fmla="*/ 88 h 99"/>
                <a:gd name="T38" fmla="*/ 78 w 87"/>
                <a:gd name="T39" fmla="*/ 78 h 99"/>
                <a:gd name="T40" fmla="*/ 81 w 87"/>
                <a:gd name="T41" fmla="*/ 68 h 99"/>
                <a:gd name="T42" fmla="*/ 85 w 87"/>
                <a:gd name="T43" fmla="*/ 56 h 99"/>
                <a:gd name="T44" fmla="*/ 77 w 87"/>
                <a:gd name="T45" fmla="*/ 43 h 99"/>
                <a:gd name="T46" fmla="*/ 76 w 87"/>
                <a:gd name="T47" fmla="*/ 27 h 99"/>
                <a:gd name="T48" fmla="*/ 87 w 87"/>
                <a:gd name="T49" fmla="*/ 6 h 99"/>
                <a:gd name="T50" fmla="*/ 64 w 87"/>
                <a:gd name="T51" fmla="*/ 0 h 99"/>
                <a:gd name="T52" fmla="*/ 64 w 87"/>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9">
                  <a:moveTo>
                    <a:pt x="64" y="0"/>
                  </a:moveTo>
                  <a:lnTo>
                    <a:pt x="48" y="1"/>
                  </a:lnTo>
                  <a:lnTo>
                    <a:pt x="45" y="6"/>
                  </a:lnTo>
                  <a:lnTo>
                    <a:pt x="20" y="1"/>
                  </a:lnTo>
                  <a:lnTo>
                    <a:pt x="16" y="23"/>
                  </a:lnTo>
                  <a:lnTo>
                    <a:pt x="3" y="28"/>
                  </a:lnTo>
                  <a:lnTo>
                    <a:pt x="5" y="34"/>
                  </a:lnTo>
                  <a:lnTo>
                    <a:pt x="0" y="46"/>
                  </a:lnTo>
                  <a:lnTo>
                    <a:pt x="9" y="64"/>
                  </a:lnTo>
                  <a:lnTo>
                    <a:pt x="16" y="64"/>
                  </a:lnTo>
                  <a:lnTo>
                    <a:pt x="19" y="77"/>
                  </a:lnTo>
                  <a:lnTo>
                    <a:pt x="31" y="98"/>
                  </a:lnTo>
                  <a:lnTo>
                    <a:pt x="42" y="99"/>
                  </a:lnTo>
                  <a:lnTo>
                    <a:pt x="44" y="95"/>
                  </a:lnTo>
                  <a:lnTo>
                    <a:pt x="41" y="90"/>
                  </a:lnTo>
                  <a:lnTo>
                    <a:pt x="43" y="84"/>
                  </a:lnTo>
                  <a:lnTo>
                    <a:pt x="51" y="85"/>
                  </a:lnTo>
                  <a:lnTo>
                    <a:pt x="62" y="83"/>
                  </a:lnTo>
                  <a:lnTo>
                    <a:pt x="74" y="88"/>
                  </a:lnTo>
                  <a:lnTo>
                    <a:pt x="78" y="78"/>
                  </a:lnTo>
                  <a:lnTo>
                    <a:pt x="81" y="68"/>
                  </a:lnTo>
                  <a:lnTo>
                    <a:pt x="85" y="56"/>
                  </a:lnTo>
                  <a:lnTo>
                    <a:pt x="77" y="43"/>
                  </a:lnTo>
                  <a:lnTo>
                    <a:pt x="76" y="27"/>
                  </a:lnTo>
                  <a:lnTo>
                    <a:pt x="87" y="6"/>
                  </a:lnTo>
                  <a:lnTo>
                    <a:pt x="64" y="0"/>
                  </a:lnTo>
                  <a:lnTo>
                    <a:pt x="64"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 name="Slovakia"/>
            <p:cNvSpPr>
              <a:spLocks/>
            </p:cNvSpPr>
            <p:nvPr/>
          </p:nvSpPr>
          <p:spPr bwMode="auto">
            <a:xfrm>
              <a:off x="6494462" y="2620963"/>
              <a:ext cx="163512" cy="66675"/>
            </a:xfrm>
            <a:custGeom>
              <a:avLst/>
              <a:gdLst>
                <a:gd name="T0" fmla="*/ 103 w 103"/>
                <a:gd name="T1" fmla="*/ 11 h 42"/>
                <a:gd name="T2" fmla="*/ 84 w 103"/>
                <a:gd name="T3" fmla="*/ 2 h 42"/>
                <a:gd name="T4" fmla="*/ 71 w 103"/>
                <a:gd name="T5" fmla="*/ 5 h 42"/>
                <a:gd name="T6" fmla="*/ 63 w 103"/>
                <a:gd name="T7" fmla="*/ 2 h 42"/>
                <a:gd name="T8" fmla="*/ 53 w 103"/>
                <a:gd name="T9" fmla="*/ 7 h 42"/>
                <a:gd name="T10" fmla="*/ 42 w 103"/>
                <a:gd name="T11" fmla="*/ 0 h 42"/>
                <a:gd name="T12" fmla="*/ 35 w 103"/>
                <a:gd name="T13" fmla="*/ 2 h 42"/>
                <a:gd name="T14" fmla="*/ 34 w 103"/>
                <a:gd name="T15" fmla="*/ 2 h 42"/>
                <a:gd name="T16" fmla="*/ 28 w 103"/>
                <a:gd name="T17" fmla="*/ 2 h 42"/>
                <a:gd name="T18" fmla="*/ 26 w 103"/>
                <a:gd name="T19" fmla="*/ 5 h 42"/>
                <a:gd name="T20" fmla="*/ 22 w 103"/>
                <a:gd name="T21" fmla="*/ 6 h 42"/>
                <a:gd name="T22" fmla="*/ 21 w 103"/>
                <a:gd name="T23" fmla="*/ 12 h 42"/>
                <a:gd name="T24" fmla="*/ 18 w 103"/>
                <a:gd name="T25" fmla="*/ 13 h 42"/>
                <a:gd name="T26" fmla="*/ 17 w 103"/>
                <a:gd name="T27" fmla="*/ 15 h 42"/>
                <a:gd name="T28" fmla="*/ 12 w 103"/>
                <a:gd name="T29" fmla="*/ 17 h 42"/>
                <a:gd name="T30" fmla="*/ 3 w 103"/>
                <a:gd name="T31" fmla="*/ 16 h 42"/>
                <a:gd name="T32" fmla="*/ 1 w 103"/>
                <a:gd name="T33" fmla="*/ 22 h 42"/>
                <a:gd name="T34" fmla="*/ 0 w 103"/>
                <a:gd name="T35" fmla="*/ 25 h 42"/>
                <a:gd name="T36" fmla="*/ 2 w 103"/>
                <a:gd name="T37" fmla="*/ 33 h 42"/>
                <a:gd name="T38" fmla="*/ 12 w 103"/>
                <a:gd name="T39" fmla="*/ 39 h 42"/>
                <a:gd name="T40" fmla="*/ 19 w 103"/>
                <a:gd name="T41" fmla="*/ 42 h 42"/>
                <a:gd name="T42" fmla="*/ 35 w 103"/>
                <a:gd name="T43" fmla="*/ 39 h 42"/>
                <a:gd name="T44" fmla="*/ 36 w 103"/>
                <a:gd name="T45" fmla="*/ 34 h 42"/>
                <a:gd name="T46" fmla="*/ 43 w 103"/>
                <a:gd name="T47" fmla="*/ 33 h 42"/>
                <a:gd name="T48" fmla="*/ 52 w 103"/>
                <a:gd name="T49" fmla="*/ 30 h 42"/>
                <a:gd name="T50" fmla="*/ 54 w 103"/>
                <a:gd name="T51" fmla="*/ 31 h 42"/>
                <a:gd name="T52" fmla="*/ 62 w 103"/>
                <a:gd name="T53" fmla="*/ 29 h 42"/>
                <a:gd name="T54" fmla="*/ 66 w 103"/>
                <a:gd name="T55" fmla="*/ 23 h 42"/>
                <a:gd name="T56" fmla="*/ 71 w 103"/>
                <a:gd name="T57" fmla="*/ 21 h 42"/>
                <a:gd name="T58" fmla="*/ 92 w 103"/>
                <a:gd name="T59" fmla="*/ 29 h 42"/>
                <a:gd name="T60" fmla="*/ 96 w 103"/>
                <a:gd name="T61" fmla="*/ 26 h 42"/>
                <a:gd name="T62" fmla="*/ 98 w 103"/>
                <a:gd name="T63" fmla="*/ 16 h 42"/>
                <a:gd name="T64" fmla="*/ 103 w 103"/>
                <a:gd name="T65" fmla="*/ 11 h 42"/>
                <a:gd name="T66" fmla="*/ 103 w 103"/>
                <a:gd name="T6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2">
                  <a:moveTo>
                    <a:pt x="103" y="11"/>
                  </a:moveTo>
                  <a:lnTo>
                    <a:pt x="84" y="2"/>
                  </a:lnTo>
                  <a:lnTo>
                    <a:pt x="71" y="5"/>
                  </a:lnTo>
                  <a:lnTo>
                    <a:pt x="63" y="2"/>
                  </a:lnTo>
                  <a:lnTo>
                    <a:pt x="53" y="7"/>
                  </a:lnTo>
                  <a:lnTo>
                    <a:pt x="42" y="0"/>
                  </a:lnTo>
                  <a:lnTo>
                    <a:pt x="35" y="2"/>
                  </a:lnTo>
                  <a:lnTo>
                    <a:pt x="34" y="2"/>
                  </a:lnTo>
                  <a:lnTo>
                    <a:pt x="28" y="2"/>
                  </a:lnTo>
                  <a:lnTo>
                    <a:pt x="26" y="5"/>
                  </a:lnTo>
                  <a:lnTo>
                    <a:pt x="22" y="6"/>
                  </a:lnTo>
                  <a:lnTo>
                    <a:pt x="21" y="12"/>
                  </a:lnTo>
                  <a:lnTo>
                    <a:pt x="18" y="13"/>
                  </a:lnTo>
                  <a:lnTo>
                    <a:pt x="17" y="15"/>
                  </a:lnTo>
                  <a:lnTo>
                    <a:pt x="12" y="17"/>
                  </a:lnTo>
                  <a:lnTo>
                    <a:pt x="3" y="16"/>
                  </a:lnTo>
                  <a:lnTo>
                    <a:pt x="1" y="22"/>
                  </a:lnTo>
                  <a:lnTo>
                    <a:pt x="0" y="25"/>
                  </a:lnTo>
                  <a:lnTo>
                    <a:pt x="2" y="33"/>
                  </a:lnTo>
                  <a:lnTo>
                    <a:pt x="12" y="39"/>
                  </a:lnTo>
                  <a:lnTo>
                    <a:pt x="19" y="42"/>
                  </a:lnTo>
                  <a:lnTo>
                    <a:pt x="35" y="39"/>
                  </a:lnTo>
                  <a:lnTo>
                    <a:pt x="36" y="34"/>
                  </a:lnTo>
                  <a:lnTo>
                    <a:pt x="43" y="33"/>
                  </a:lnTo>
                  <a:lnTo>
                    <a:pt x="52" y="30"/>
                  </a:lnTo>
                  <a:lnTo>
                    <a:pt x="54" y="31"/>
                  </a:lnTo>
                  <a:lnTo>
                    <a:pt x="62" y="29"/>
                  </a:lnTo>
                  <a:lnTo>
                    <a:pt x="66" y="23"/>
                  </a:lnTo>
                  <a:lnTo>
                    <a:pt x="71" y="21"/>
                  </a:lnTo>
                  <a:lnTo>
                    <a:pt x="92" y="29"/>
                  </a:lnTo>
                  <a:lnTo>
                    <a:pt x="96" y="26"/>
                  </a:lnTo>
                  <a:lnTo>
                    <a:pt x="98" y="16"/>
                  </a:lnTo>
                  <a:lnTo>
                    <a:pt x="103" y="11"/>
                  </a:lnTo>
                  <a:lnTo>
                    <a:pt x="103" y="1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 name="Slovenia"/>
            <p:cNvSpPr>
              <a:spLocks/>
            </p:cNvSpPr>
            <p:nvPr/>
          </p:nvSpPr>
          <p:spPr bwMode="auto">
            <a:xfrm>
              <a:off x="6407150" y="2719388"/>
              <a:ext cx="84137" cy="52388"/>
            </a:xfrm>
            <a:custGeom>
              <a:avLst/>
              <a:gdLst>
                <a:gd name="T0" fmla="*/ 53 w 53"/>
                <a:gd name="T1" fmla="*/ 9 h 33"/>
                <a:gd name="T2" fmla="*/ 49 w 53"/>
                <a:gd name="T3" fmla="*/ 1 h 33"/>
                <a:gd name="T4" fmla="*/ 46 w 53"/>
                <a:gd name="T5" fmla="*/ 0 h 33"/>
                <a:gd name="T6" fmla="*/ 42 w 53"/>
                <a:gd name="T7" fmla="*/ 5 h 33"/>
                <a:gd name="T8" fmla="*/ 26 w 53"/>
                <a:gd name="T9" fmla="*/ 5 h 33"/>
                <a:gd name="T10" fmla="*/ 17 w 53"/>
                <a:gd name="T11" fmla="*/ 10 h 33"/>
                <a:gd name="T12" fmla="*/ 1 w 53"/>
                <a:gd name="T13" fmla="*/ 9 h 33"/>
                <a:gd name="T14" fmla="*/ 0 w 53"/>
                <a:gd name="T15" fmla="*/ 20 h 33"/>
                <a:gd name="T16" fmla="*/ 6 w 53"/>
                <a:gd name="T17" fmla="*/ 30 h 33"/>
                <a:gd name="T18" fmla="*/ 1 w 53"/>
                <a:gd name="T19" fmla="*/ 32 h 33"/>
                <a:gd name="T20" fmla="*/ 14 w 53"/>
                <a:gd name="T21" fmla="*/ 33 h 33"/>
                <a:gd name="T22" fmla="*/ 18 w 53"/>
                <a:gd name="T23" fmla="*/ 29 h 33"/>
                <a:gd name="T24" fmla="*/ 25 w 53"/>
                <a:gd name="T25" fmla="*/ 33 h 33"/>
                <a:gd name="T26" fmla="*/ 32 w 53"/>
                <a:gd name="T27" fmla="*/ 33 h 33"/>
                <a:gd name="T28" fmla="*/ 31 w 53"/>
                <a:gd name="T29" fmla="*/ 26 h 33"/>
                <a:gd name="T30" fmla="*/ 38 w 53"/>
                <a:gd name="T31" fmla="*/ 24 h 33"/>
                <a:gd name="T32" fmla="*/ 39 w 53"/>
                <a:gd name="T33" fmla="*/ 15 h 33"/>
                <a:gd name="T34" fmla="*/ 53 w 53"/>
                <a:gd name="T35" fmla="*/ 9 h 33"/>
                <a:gd name="T36" fmla="*/ 53 w 53"/>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3">
                  <a:moveTo>
                    <a:pt x="53" y="9"/>
                  </a:moveTo>
                  <a:lnTo>
                    <a:pt x="49" y="1"/>
                  </a:lnTo>
                  <a:lnTo>
                    <a:pt x="46" y="0"/>
                  </a:lnTo>
                  <a:lnTo>
                    <a:pt x="42" y="5"/>
                  </a:lnTo>
                  <a:lnTo>
                    <a:pt x="26" y="5"/>
                  </a:lnTo>
                  <a:lnTo>
                    <a:pt x="17" y="10"/>
                  </a:lnTo>
                  <a:lnTo>
                    <a:pt x="1" y="9"/>
                  </a:lnTo>
                  <a:lnTo>
                    <a:pt x="0" y="20"/>
                  </a:lnTo>
                  <a:lnTo>
                    <a:pt x="6" y="30"/>
                  </a:lnTo>
                  <a:lnTo>
                    <a:pt x="1" y="32"/>
                  </a:lnTo>
                  <a:lnTo>
                    <a:pt x="14" y="33"/>
                  </a:lnTo>
                  <a:lnTo>
                    <a:pt x="18" y="29"/>
                  </a:lnTo>
                  <a:lnTo>
                    <a:pt x="25" y="33"/>
                  </a:lnTo>
                  <a:lnTo>
                    <a:pt x="32" y="33"/>
                  </a:lnTo>
                  <a:lnTo>
                    <a:pt x="31" y="26"/>
                  </a:lnTo>
                  <a:lnTo>
                    <a:pt x="38" y="24"/>
                  </a:lnTo>
                  <a:lnTo>
                    <a:pt x="39" y="15"/>
                  </a:lnTo>
                  <a:lnTo>
                    <a:pt x="53" y="9"/>
                  </a:lnTo>
                  <a:lnTo>
                    <a:pt x="53" y="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 name="Sweden"/>
            <p:cNvSpPr>
              <a:spLocks/>
            </p:cNvSpPr>
            <p:nvPr/>
          </p:nvSpPr>
          <p:spPr bwMode="auto">
            <a:xfrm>
              <a:off x="6297612" y="1944688"/>
              <a:ext cx="303212" cy="466725"/>
            </a:xfrm>
            <a:custGeom>
              <a:avLst/>
              <a:gdLst>
                <a:gd name="T0" fmla="*/ 191 w 191"/>
                <a:gd name="T1" fmla="*/ 63 h 294"/>
                <a:gd name="T2" fmla="*/ 183 w 191"/>
                <a:gd name="T3" fmla="*/ 56 h 294"/>
                <a:gd name="T4" fmla="*/ 177 w 191"/>
                <a:gd name="T5" fmla="*/ 24 h 294"/>
                <a:gd name="T6" fmla="*/ 150 w 191"/>
                <a:gd name="T7" fmla="*/ 10 h 294"/>
                <a:gd name="T8" fmla="*/ 128 w 191"/>
                <a:gd name="T9" fmla="*/ 0 h 294"/>
                <a:gd name="T10" fmla="*/ 119 w 191"/>
                <a:gd name="T11" fmla="*/ 2 h 294"/>
                <a:gd name="T12" fmla="*/ 119 w 191"/>
                <a:gd name="T13" fmla="*/ 15 h 294"/>
                <a:gd name="T14" fmla="*/ 89 w 191"/>
                <a:gd name="T15" fmla="*/ 11 h 294"/>
                <a:gd name="T16" fmla="*/ 87 w 191"/>
                <a:gd name="T17" fmla="*/ 22 h 294"/>
                <a:gd name="T18" fmla="*/ 72 w 191"/>
                <a:gd name="T19" fmla="*/ 22 h 294"/>
                <a:gd name="T20" fmla="*/ 64 w 191"/>
                <a:gd name="T21" fmla="*/ 37 h 294"/>
                <a:gd name="T22" fmla="*/ 52 w 191"/>
                <a:gd name="T23" fmla="*/ 60 h 294"/>
                <a:gd name="T24" fmla="*/ 30 w 191"/>
                <a:gd name="T25" fmla="*/ 90 h 294"/>
                <a:gd name="T26" fmla="*/ 37 w 191"/>
                <a:gd name="T27" fmla="*/ 96 h 294"/>
                <a:gd name="T28" fmla="*/ 32 w 191"/>
                <a:gd name="T29" fmla="*/ 104 h 294"/>
                <a:gd name="T30" fmla="*/ 16 w 191"/>
                <a:gd name="T31" fmla="*/ 104 h 294"/>
                <a:gd name="T32" fmla="*/ 7 w 191"/>
                <a:gd name="T33" fmla="*/ 124 h 294"/>
                <a:gd name="T34" fmla="*/ 10 w 191"/>
                <a:gd name="T35" fmla="*/ 152 h 294"/>
                <a:gd name="T36" fmla="*/ 23 w 191"/>
                <a:gd name="T37" fmla="*/ 163 h 294"/>
                <a:gd name="T38" fmla="*/ 19 w 191"/>
                <a:gd name="T39" fmla="*/ 189 h 294"/>
                <a:gd name="T40" fmla="*/ 7 w 191"/>
                <a:gd name="T41" fmla="*/ 203 h 294"/>
                <a:gd name="T42" fmla="*/ 0 w 191"/>
                <a:gd name="T43" fmla="*/ 217 h 294"/>
                <a:gd name="T44" fmla="*/ 16 w 191"/>
                <a:gd name="T45" fmla="*/ 247 h 294"/>
                <a:gd name="T46" fmla="*/ 32 w 191"/>
                <a:gd name="T47" fmla="*/ 273 h 294"/>
                <a:gd name="T48" fmla="*/ 39 w 191"/>
                <a:gd name="T49" fmla="*/ 294 h 294"/>
                <a:gd name="T50" fmla="*/ 59 w 191"/>
                <a:gd name="T51" fmla="*/ 293 h 294"/>
                <a:gd name="T52" fmla="*/ 67 w 191"/>
                <a:gd name="T53" fmla="*/ 275 h 294"/>
                <a:gd name="T54" fmla="*/ 89 w 191"/>
                <a:gd name="T55" fmla="*/ 277 h 294"/>
                <a:gd name="T56" fmla="*/ 96 w 191"/>
                <a:gd name="T57" fmla="*/ 257 h 294"/>
                <a:gd name="T58" fmla="*/ 98 w 191"/>
                <a:gd name="T59" fmla="*/ 219 h 294"/>
                <a:gd name="T60" fmla="*/ 116 w 191"/>
                <a:gd name="T61" fmla="*/ 215 h 294"/>
                <a:gd name="T62" fmla="*/ 128 w 191"/>
                <a:gd name="T63" fmla="*/ 189 h 294"/>
                <a:gd name="T64" fmla="*/ 110 w 191"/>
                <a:gd name="T65" fmla="*/ 177 h 294"/>
                <a:gd name="T66" fmla="*/ 96 w 191"/>
                <a:gd name="T67" fmla="*/ 162 h 294"/>
                <a:gd name="T68" fmla="*/ 105 w 191"/>
                <a:gd name="T69" fmla="*/ 132 h 294"/>
                <a:gd name="T70" fmla="*/ 134 w 191"/>
                <a:gd name="T71" fmla="*/ 114 h 294"/>
                <a:gd name="T72" fmla="*/ 156 w 191"/>
                <a:gd name="T73" fmla="*/ 97 h 294"/>
                <a:gd name="T74" fmla="*/ 151 w 191"/>
                <a:gd name="T75" fmla="*/ 84 h 294"/>
                <a:gd name="T76" fmla="*/ 164 w 191"/>
                <a:gd name="T77" fmla="*/ 69 h 294"/>
                <a:gd name="T78" fmla="*/ 191 w 191"/>
                <a:gd name="T79" fmla="*/ 63 h 294"/>
                <a:gd name="T80" fmla="*/ 191 w 191"/>
                <a:gd name="T81" fmla="*/ 6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1" h="294">
                  <a:moveTo>
                    <a:pt x="191" y="63"/>
                  </a:moveTo>
                  <a:lnTo>
                    <a:pt x="183" y="56"/>
                  </a:lnTo>
                  <a:lnTo>
                    <a:pt x="177" y="24"/>
                  </a:lnTo>
                  <a:lnTo>
                    <a:pt x="150" y="10"/>
                  </a:lnTo>
                  <a:lnTo>
                    <a:pt x="128" y="0"/>
                  </a:lnTo>
                  <a:lnTo>
                    <a:pt x="119" y="2"/>
                  </a:lnTo>
                  <a:lnTo>
                    <a:pt x="119" y="15"/>
                  </a:lnTo>
                  <a:lnTo>
                    <a:pt x="89" y="11"/>
                  </a:lnTo>
                  <a:lnTo>
                    <a:pt x="87" y="22"/>
                  </a:lnTo>
                  <a:lnTo>
                    <a:pt x="72" y="22"/>
                  </a:lnTo>
                  <a:lnTo>
                    <a:pt x="64" y="37"/>
                  </a:lnTo>
                  <a:lnTo>
                    <a:pt x="52" y="60"/>
                  </a:lnTo>
                  <a:lnTo>
                    <a:pt x="30" y="90"/>
                  </a:lnTo>
                  <a:lnTo>
                    <a:pt x="37" y="96"/>
                  </a:lnTo>
                  <a:lnTo>
                    <a:pt x="32" y="104"/>
                  </a:lnTo>
                  <a:lnTo>
                    <a:pt x="16" y="104"/>
                  </a:lnTo>
                  <a:lnTo>
                    <a:pt x="7" y="124"/>
                  </a:lnTo>
                  <a:lnTo>
                    <a:pt x="10" y="152"/>
                  </a:lnTo>
                  <a:lnTo>
                    <a:pt x="23" y="163"/>
                  </a:lnTo>
                  <a:lnTo>
                    <a:pt x="19" y="189"/>
                  </a:lnTo>
                  <a:lnTo>
                    <a:pt x="7" y="203"/>
                  </a:lnTo>
                  <a:lnTo>
                    <a:pt x="0" y="217"/>
                  </a:lnTo>
                  <a:lnTo>
                    <a:pt x="16" y="247"/>
                  </a:lnTo>
                  <a:lnTo>
                    <a:pt x="32" y="273"/>
                  </a:lnTo>
                  <a:lnTo>
                    <a:pt x="39" y="294"/>
                  </a:lnTo>
                  <a:lnTo>
                    <a:pt x="59" y="293"/>
                  </a:lnTo>
                  <a:lnTo>
                    <a:pt x="67" y="275"/>
                  </a:lnTo>
                  <a:lnTo>
                    <a:pt x="89" y="277"/>
                  </a:lnTo>
                  <a:lnTo>
                    <a:pt x="96" y="257"/>
                  </a:lnTo>
                  <a:lnTo>
                    <a:pt x="98" y="219"/>
                  </a:lnTo>
                  <a:lnTo>
                    <a:pt x="116" y="215"/>
                  </a:lnTo>
                  <a:lnTo>
                    <a:pt x="128" y="189"/>
                  </a:lnTo>
                  <a:lnTo>
                    <a:pt x="110" y="177"/>
                  </a:lnTo>
                  <a:lnTo>
                    <a:pt x="96" y="162"/>
                  </a:lnTo>
                  <a:lnTo>
                    <a:pt x="105" y="132"/>
                  </a:lnTo>
                  <a:lnTo>
                    <a:pt x="134" y="114"/>
                  </a:lnTo>
                  <a:lnTo>
                    <a:pt x="156" y="97"/>
                  </a:lnTo>
                  <a:lnTo>
                    <a:pt x="151" y="84"/>
                  </a:lnTo>
                  <a:lnTo>
                    <a:pt x="164" y="69"/>
                  </a:lnTo>
                  <a:lnTo>
                    <a:pt x="191" y="63"/>
                  </a:lnTo>
                  <a:lnTo>
                    <a:pt x="191" y="6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 name="Swaziland"/>
            <p:cNvSpPr>
              <a:spLocks/>
            </p:cNvSpPr>
            <p:nvPr/>
          </p:nvSpPr>
          <p:spPr bwMode="auto">
            <a:xfrm>
              <a:off x="6991350" y="5451476"/>
              <a:ext cx="46037" cy="60325"/>
            </a:xfrm>
            <a:custGeom>
              <a:avLst/>
              <a:gdLst>
                <a:gd name="T0" fmla="*/ 25 w 29"/>
                <a:gd name="T1" fmla="*/ 4 h 38"/>
                <a:gd name="T2" fmla="*/ 15 w 29"/>
                <a:gd name="T3" fmla="*/ 0 h 38"/>
                <a:gd name="T4" fmla="*/ 9 w 29"/>
                <a:gd name="T5" fmla="*/ 2 h 38"/>
                <a:gd name="T6" fmla="*/ 7 w 29"/>
                <a:gd name="T7" fmla="*/ 8 h 38"/>
                <a:gd name="T8" fmla="*/ 1 w 29"/>
                <a:gd name="T9" fmla="*/ 17 h 38"/>
                <a:gd name="T10" fmla="*/ 0 w 29"/>
                <a:gd name="T11" fmla="*/ 25 h 38"/>
                <a:gd name="T12" fmla="*/ 11 w 29"/>
                <a:gd name="T13" fmla="*/ 38 h 38"/>
                <a:gd name="T14" fmla="*/ 23 w 29"/>
                <a:gd name="T15" fmla="*/ 35 h 38"/>
                <a:gd name="T16" fmla="*/ 29 w 29"/>
                <a:gd name="T17" fmla="*/ 25 h 38"/>
                <a:gd name="T18" fmla="*/ 27 w 29"/>
                <a:gd name="T19" fmla="*/ 15 h 38"/>
                <a:gd name="T20" fmla="*/ 25 w 29"/>
                <a:gd name="T21" fmla="*/ 4 h 38"/>
                <a:gd name="T22" fmla="*/ 25 w 29"/>
                <a:gd name="T2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38">
                  <a:moveTo>
                    <a:pt x="25" y="4"/>
                  </a:moveTo>
                  <a:lnTo>
                    <a:pt x="15" y="0"/>
                  </a:lnTo>
                  <a:lnTo>
                    <a:pt x="9" y="2"/>
                  </a:lnTo>
                  <a:lnTo>
                    <a:pt x="7" y="8"/>
                  </a:lnTo>
                  <a:lnTo>
                    <a:pt x="1" y="17"/>
                  </a:lnTo>
                  <a:lnTo>
                    <a:pt x="0" y="25"/>
                  </a:lnTo>
                  <a:lnTo>
                    <a:pt x="11" y="38"/>
                  </a:lnTo>
                  <a:lnTo>
                    <a:pt x="23" y="35"/>
                  </a:lnTo>
                  <a:lnTo>
                    <a:pt x="29" y="25"/>
                  </a:lnTo>
                  <a:lnTo>
                    <a:pt x="27" y="15"/>
                  </a:lnTo>
                  <a:lnTo>
                    <a:pt x="25" y="4"/>
                  </a:lnTo>
                  <a:lnTo>
                    <a:pt x="25" y="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 name="Syria"/>
            <p:cNvSpPr>
              <a:spLocks/>
            </p:cNvSpPr>
            <p:nvPr/>
          </p:nvSpPr>
          <p:spPr bwMode="auto">
            <a:xfrm>
              <a:off x="7126287" y="3076576"/>
              <a:ext cx="192087" cy="187325"/>
            </a:xfrm>
            <a:custGeom>
              <a:avLst/>
              <a:gdLst>
                <a:gd name="T0" fmla="*/ 64 w 121"/>
                <a:gd name="T1" fmla="*/ 94 h 118"/>
                <a:gd name="T2" fmla="*/ 105 w 121"/>
                <a:gd name="T3" fmla="*/ 68 h 118"/>
                <a:gd name="T4" fmla="*/ 108 w 121"/>
                <a:gd name="T5" fmla="*/ 39 h 118"/>
                <a:gd name="T6" fmla="*/ 104 w 121"/>
                <a:gd name="T7" fmla="*/ 22 h 118"/>
                <a:gd name="T8" fmla="*/ 114 w 121"/>
                <a:gd name="T9" fmla="*/ 15 h 118"/>
                <a:gd name="T10" fmla="*/ 121 w 121"/>
                <a:gd name="T11" fmla="*/ 0 h 118"/>
                <a:gd name="T12" fmla="*/ 99 w 121"/>
                <a:gd name="T13" fmla="*/ 4 h 118"/>
                <a:gd name="T14" fmla="*/ 89 w 121"/>
                <a:gd name="T15" fmla="*/ 4 h 118"/>
                <a:gd name="T16" fmla="*/ 67 w 121"/>
                <a:gd name="T17" fmla="*/ 13 h 118"/>
                <a:gd name="T18" fmla="*/ 51 w 121"/>
                <a:gd name="T19" fmla="*/ 13 h 118"/>
                <a:gd name="T20" fmla="*/ 40 w 121"/>
                <a:gd name="T21" fmla="*/ 9 h 118"/>
                <a:gd name="T22" fmla="*/ 20 w 121"/>
                <a:gd name="T23" fmla="*/ 15 h 118"/>
                <a:gd name="T24" fmla="*/ 13 w 121"/>
                <a:gd name="T25" fmla="*/ 11 h 118"/>
                <a:gd name="T26" fmla="*/ 13 w 121"/>
                <a:gd name="T27" fmla="*/ 24 h 118"/>
                <a:gd name="T28" fmla="*/ 8 w 121"/>
                <a:gd name="T29" fmla="*/ 29 h 118"/>
                <a:gd name="T30" fmla="*/ 4 w 121"/>
                <a:gd name="T31" fmla="*/ 35 h 118"/>
                <a:gd name="T32" fmla="*/ 0 w 121"/>
                <a:gd name="T33" fmla="*/ 44 h 118"/>
                <a:gd name="T34" fmla="*/ 5 w 121"/>
                <a:gd name="T35" fmla="*/ 63 h 118"/>
                <a:gd name="T36" fmla="*/ 13 w 121"/>
                <a:gd name="T37" fmla="*/ 64 h 118"/>
                <a:gd name="T38" fmla="*/ 18 w 121"/>
                <a:gd name="T39" fmla="*/ 73 h 118"/>
                <a:gd name="T40" fmla="*/ 8 w 121"/>
                <a:gd name="T41" fmla="*/ 82 h 118"/>
                <a:gd name="T42" fmla="*/ 5 w 121"/>
                <a:gd name="T43" fmla="*/ 95 h 118"/>
                <a:gd name="T44" fmla="*/ 6 w 121"/>
                <a:gd name="T45" fmla="*/ 105 h 118"/>
                <a:gd name="T46" fmla="*/ 4 w 121"/>
                <a:gd name="T47" fmla="*/ 109 h 118"/>
                <a:gd name="T48" fmla="*/ 4 w 121"/>
                <a:gd name="T49" fmla="*/ 109 h 118"/>
                <a:gd name="T50" fmla="*/ 28 w 121"/>
                <a:gd name="T51" fmla="*/ 118 h 118"/>
                <a:gd name="T52" fmla="*/ 64 w 121"/>
                <a:gd name="T53" fmla="*/ 94 h 118"/>
                <a:gd name="T54" fmla="*/ 64 w 121"/>
                <a:gd name="T55" fmla="*/ 9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8">
                  <a:moveTo>
                    <a:pt x="64" y="94"/>
                  </a:moveTo>
                  <a:lnTo>
                    <a:pt x="105" y="68"/>
                  </a:lnTo>
                  <a:lnTo>
                    <a:pt x="108" y="39"/>
                  </a:lnTo>
                  <a:lnTo>
                    <a:pt x="104" y="22"/>
                  </a:lnTo>
                  <a:lnTo>
                    <a:pt x="114" y="15"/>
                  </a:lnTo>
                  <a:lnTo>
                    <a:pt x="121" y="0"/>
                  </a:lnTo>
                  <a:lnTo>
                    <a:pt x="99" y="4"/>
                  </a:lnTo>
                  <a:lnTo>
                    <a:pt x="89" y="4"/>
                  </a:lnTo>
                  <a:lnTo>
                    <a:pt x="67" y="13"/>
                  </a:lnTo>
                  <a:lnTo>
                    <a:pt x="51" y="13"/>
                  </a:lnTo>
                  <a:lnTo>
                    <a:pt x="40" y="9"/>
                  </a:lnTo>
                  <a:lnTo>
                    <a:pt x="20" y="15"/>
                  </a:lnTo>
                  <a:lnTo>
                    <a:pt x="13" y="11"/>
                  </a:lnTo>
                  <a:lnTo>
                    <a:pt x="13" y="24"/>
                  </a:lnTo>
                  <a:lnTo>
                    <a:pt x="8" y="29"/>
                  </a:lnTo>
                  <a:lnTo>
                    <a:pt x="4" y="35"/>
                  </a:lnTo>
                  <a:lnTo>
                    <a:pt x="0" y="44"/>
                  </a:lnTo>
                  <a:lnTo>
                    <a:pt x="5" y="63"/>
                  </a:lnTo>
                  <a:lnTo>
                    <a:pt x="13" y="64"/>
                  </a:lnTo>
                  <a:lnTo>
                    <a:pt x="18" y="73"/>
                  </a:lnTo>
                  <a:lnTo>
                    <a:pt x="8" y="82"/>
                  </a:lnTo>
                  <a:lnTo>
                    <a:pt x="5" y="95"/>
                  </a:lnTo>
                  <a:lnTo>
                    <a:pt x="6" y="105"/>
                  </a:lnTo>
                  <a:lnTo>
                    <a:pt x="4" y="109"/>
                  </a:lnTo>
                  <a:lnTo>
                    <a:pt x="4" y="109"/>
                  </a:lnTo>
                  <a:lnTo>
                    <a:pt x="28" y="118"/>
                  </a:lnTo>
                  <a:lnTo>
                    <a:pt x="64" y="94"/>
                  </a:lnTo>
                  <a:lnTo>
                    <a:pt x="64" y="9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 name="Chad"/>
            <p:cNvSpPr>
              <a:spLocks/>
            </p:cNvSpPr>
            <p:nvPr/>
          </p:nvSpPr>
          <p:spPr bwMode="auto">
            <a:xfrm>
              <a:off x="6446837" y="3600451"/>
              <a:ext cx="341312" cy="603250"/>
            </a:xfrm>
            <a:custGeom>
              <a:avLst/>
              <a:gdLst>
                <a:gd name="T0" fmla="*/ 211 w 215"/>
                <a:gd name="T1" fmla="*/ 90 h 380"/>
                <a:gd name="T2" fmla="*/ 127 w 215"/>
                <a:gd name="T3" fmla="*/ 46 h 380"/>
                <a:gd name="T4" fmla="*/ 44 w 215"/>
                <a:gd name="T5" fmla="*/ 0 h 380"/>
                <a:gd name="T6" fmla="*/ 24 w 215"/>
                <a:gd name="T7" fmla="*/ 13 h 380"/>
                <a:gd name="T8" fmla="*/ 30 w 215"/>
                <a:gd name="T9" fmla="*/ 49 h 380"/>
                <a:gd name="T10" fmla="*/ 38 w 215"/>
                <a:gd name="T11" fmla="*/ 56 h 380"/>
                <a:gd name="T12" fmla="*/ 38 w 215"/>
                <a:gd name="T13" fmla="*/ 63 h 380"/>
                <a:gd name="T14" fmla="*/ 47 w 215"/>
                <a:gd name="T15" fmla="*/ 72 h 380"/>
                <a:gd name="T16" fmla="*/ 42 w 215"/>
                <a:gd name="T17" fmla="*/ 82 h 380"/>
                <a:gd name="T18" fmla="*/ 36 w 215"/>
                <a:gd name="T19" fmla="*/ 130 h 380"/>
                <a:gd name="T20" fmla="*/ 35 w 215"/>
                <a:gd name="T21" fmla="*/ 161 h 380"/>
                <a:gd name="T22" fmla="*/ 10 w 215"/>
                <a:gd name="T23" fmla="*/ 184 h 380"/>
                <a:gd name="T24" fmla="*/ 0 w 215"/>
                <a:gd name="T25" fmla="*/ 215 h 380"/>
                <a:gd name="T26" fmla="*/ 10 w 215"/>
                <a:gd name="T27" fmla="*/ 223 h 380"/>
                <a:gd name="T28" fmla="*/ 10 w 215"/>
                <a:gd name="T29" fmla="*/ 239 h 380"/>
                <a:gd name="T30" fmla="*/ 23 w 215"/>
                <a:gd name="T31" fmla="*/ 240 h 380"/>
                <a:gd name="T32" fmla="*/ 21 w 215"/>
                <a:gd name="T33" fmla="*/ 250 h 380"/>
                <a:gd name="T34" fmla="*/ 29 w 215"/>
                <a:gd name="T35" fmla="*/ 266 h 380"/>
                <a:gd name="T36" fmla="*/ 31 w 215"/>
                <a:gd name="T37" fmla="*/ 281 h 380"/>
                <a:gd name="T38" fmla="*/ 30 w 215"/>
                <a:gd name="T39" fmla="*/ 298 h 380"/>
                <a:gd name="T40" fmla="*/ 42 w 215"/>
                <a:gd name="T41" fmla="*/ 319 h 380"/>
                <a:gd name="T42" fmla="*/ 30 w 215"/>
                <a:gd name="T43" fmla="*/ 318 h 380"/>
                <a:gd name="T44" fmla="*/ 25 w 215"/>
                <a:gd name="T45" fmla="*/ 320 h 380"/>
                <a:gd name="T46" fmla="*/ 15 w 215"/>
                <a:gd name="T47" fmla="*/ 318 h 380"/>
                <a:gd name="T48" fmla="*/ 11 w 215"/>
                <a:gd name="T49" fmla="*/ 329 h 380"/>
                <a:gd name="T50" fmla="*/ 23 w 215"/>
                <a:gd name="T51" fmla="*/ 342 h 380"/>
                <a:gd name="T52" fmla="*/ 32 w 215"/>
                <a:gd name="T53" fmla="*/ 347 h 380"/>
                <a:gd name="T54" fmla="*/ 36 w 215"/>
                <a:gd name="T55" fmla="*/ 356 h 380"/>
                <a:gd name="T56" fmla="*/ 42 w 215"/>
                <a:gd name="T57" fmla="*/ 373 h 380"/>
                <a:gd name="T58" fmla="*/ 39 w 215"/>
                <a:gd name="T59" fmla="*/ 380 h 380"/>
                <a:gd name="T60" fmla="*/ 56 w 215"/>
                <a:gd name="T61" fmla="*/ 378 h 380"/>
                <a:gd name="T62" fmla="*/ 60 w 215"/>
                <a:gd name="T63" fmla="*/ 371 h 380"/>
                <a:gd name="T64" fmla="*/ 64 w 215"/>
                <a:gd name="T65" fmla="*/ 372 h 380"/>
                <a:gd name="T66" fmla="*/ 69 w 215"/>
                <a:gd name="T67" fmla="*/ 378 h 380"/>
                <a:gd name="T68" fmla="*/ 96 w 215"/>
                <a:gd name="T69" fmla="*/ 369 h 380"/>
                <a:gd name="T70" fmla="*/ 104 w 215"/>
                <a:gd name="T71" fmla="*/ 359 h 380"/>
                <a:gd name="T72" fmla="*/ 114 w 215"/>
                <a:gd name="T73" fmla="*/ 351 h 380"/>
                <a:gd name="T74" fmla="*/ 113 w 215"/>
                <a:gd name="T75" fmla="*/ 342 h 380"/>
                <a:gd name="T76" fmla="*/ 118 w 215"/>
                <a:gd name="T77" fmla="*/ 341 h 380"/>
                <a:gd name="T78" fmla="*/ 139 w 215"/>
                <a:gd name="T79" fmla="*/ 342 h 380"/>
                <a:gd name="T80" fmla="*/ 158 w 215"/>
                <a:gd name="T81" fmla="*/ 331 h 380"/>
                <a:gd name="T82" fmla="*/ 173 w 215"/>
                <a:gd name="T83" fmla="*/ 305 h 380"/>
                <a:gd name="T84" fmla="*/ 183 w 215"/>
                <a:gd name="T85" fmla="*/ 296 h 380"/>
                <a:gd name="T86" fmla="*/ 197 w 215"/>
                <a:gd name="T87" fmla="*/ 291 h 380"/>
                <a:gd name="T88" fmla="*/ 197 w 215"/>
                <a:gd name="T89" fmla="*/ 286 h 380"/>
                <a:gd name="T90" fmla="*/ 189 w 215"/>
                <a:gd name="T91" fmla="*/ 279 h 380"/>
                <a:gd name="T92" fmla="*/ 188 w 215"/>
                <a:gd name="T93" fmla="*/ 265 h 380"/>
                <a:gd name="T94" fmla="*/ 183 w 215"/>
                <a:gd name="T95" fmla="*/ 256 h 380"/>
                <a:gd name="T96" fmla="*/ 176 w 215"/>
                <a:gd name="T97" fmla="*/ 257 h 380"/>
                <a:gd name="T98" fmla="*/ 178 w 215"/>
                <a:gd name="T99" fmla="*/ 248 h 380"/>
                <a:gd name="T100" fmla="*/ 183 w 215"/>
                <a:gd name="T101" fmla="*/ 238 h 380"/>
                <a:gd name="T102" fmla="*/ 181 w 215"/>
                <a:gd name="T103" fmla="*/ 229 h 380"/>
                <a:gd name="T104" fmla="*/ 187 w 215"/>
                <a:gd name="T105" fmla="*/ 221 h 380"/>
                <a:gd name="T106" fmla="*/ 183 w 215"/>
                <a:gd name="T107" fmla="*/ 216 h 380"/>
                <a:gd name="T108" fmla="*/ 188 w 215"/>
                <a:gd name="T109" fmla="*/ 201 h 380"/>
                <a:gd name="T110" fmla="*/ 197 w 215"/>
                <a:gd name="T111" fmla="*/ 184 h 380"/>
                <a:gd name="T112" fmla="*/ 215 w 215"/>
                <a:gd name="T113" fmla="*/ 185 h 380"/>
                <a:gd name="T114" fmla="*/ 211 w 215"/>
                <a:gd name="T115" fmla="*/ 90 h 380"/>
                <a:gd name="T116" fmla="*/ 211 w 215"/>
                <a:gd name="T117" fmla="*/ 9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80">
                  <a:moveTo>
                    <a:pt x="211" y="90"/>
                  </a:moveTo>
                  <a:lnTo>
                    <a:pt x="127" y="46"/>
                  </a:lnTo>
                  <a:lnTo>
                    <a:pt x="44" y="0"/>
                  </a:lnTo>
                  <a:lnTo>
                    <a:pt x="24" y="13"/>
                  </a:lnTo>
                  <a:lnTo>
                    <a:pt x="30" y="49"/>
                  </a:lnTo>
                  <a:lnTo>
                    <a:pt x="38" y="56"/>
                  </a:lnTo>
                  <a:lnTo>
                    <a:pt x="38" y="63"/>
                  </a:lnTo>
                  <a:lnTo>
                    <a:pt x="47" y="72"/>
                  </a:lnTo>
                  <a:lnTo>
                    <a:pt x="42" y="82"/>
                  </a:lnTo>
                  <a:lnTo>
                    <a:pt x="36" y="130"/>
                  </a:lnTo>
                  <a:lnTo>
                    <a:pt x="35" y="161"/>
                  </a:lnTo>
                  <a:lnTo>
                    <a:pt x="10" y="184"/>
                  </a:lnTo>
                  <a:lnTo>
                    <a:pt x="0" y="215"/>
                  </a:lnTo>
                  <a:lnTo>
                    <a:pt x="10" y="223"/>
                  </a:lnTo>
                  <a:lnTo>
                    <a:pt x="10" y="239"/>
                  </a:lnTo>
                  <a:lnTo>
                    <a:pt x="23" y="240"/>
                  </a:lnTo>
                  <a:lnTo>
                    <a:pt x="21" y="250"/>
                  </a:lnTo>
                  <a:lnTo>
                    <a:pt x="29" y="266"/>
                  </a:lnTo>
                  <a:lnTo>
                    <a:pt x="31" y="281"/>
                  </a:lnTo>
                  <a:lnTo>
                    <a:pt x="30" y="298"/>
                  </a:lnTo>
                  <a:lnTo>
                    <a:pt x="42" y="319"/>
                  </a:lnTo>
                  <a:lnTo>
                    <a:pt x="30" y="318"/>
                  </a:lnTo>
                  <a:lnTo>
                    <a:pt x="25" y="320"/>
                  </a:lnTo>
                  <a:lnTo>
                    <a:pt x="15" y="318"/>
                  </a:lnTo>
                  <a:lnTo>
                    <a:pt x="11" y="329"/>
                  </a:lnTo>
                  <a:lnTo>
                    <a:pt x="23" y="342"/>
                  </a:lnTo>
                  <a:lnTo>
                    <a:pt x="32" y="347"/>
                  </a:lnTo>
                  <a:lnTo>
                    <a:pt x="36" y="356"/>
                  </a:lnTo>
                  <a:lnTo>
                    <a:pt x="42" y="373"/>
                  </a:lnTo>
                  <a:lnTo>
                    <a:pt x="39" y="380"/>
                  </a:lnTo>
                  <a:lnTo>
                    <a:pt x="56" y="378"/>
                  </a:lnTo>
                  <a:lnTo>
                    <a:pt x="60" y="371"/>
                  </a:lnTo>
                  <a:lnTo>
                    <a:pt x="64" y="372"/>
                  </a:lnTo>
                  <a:lnTo>
                    <a:pt x="69" y="378"/>
                  </a:lnTo>
                  <a:lnTo>
                    <a:pt x="96" y="369"/>
                  </a:lnTo>
                  <a:lnTo>
                    <a:pt x="104" y="359"/>
                  </a:lnTo>
                  <a:lnTo>
                    <a:pt x="114" y="351"/>
                  </a:lnTo>
                  <a:lnTo>
                    <a:pt x="113" y="342"/>
                  </a:lnTo>
                  <a:lnTo>
                    <a:pt x="118" y="341"/>
                  </a:lnTo>
                  <a:lnTo>
                    <a:pt x="139" y="342"/>
                  </a:lnTo>
                  <a:lnTo>
                    <a:pt x="158" y="331"/>
                  </a:lnTo>
                  <a:lnTo>
                    <a:pt x="173" y="305"/>
                  </a:lnTo>
                  <a:lnTo>
                    <a:pt x="183" y="296"/>
                  </a:lnTo>
                  <a:lnTo>
                    <a:pt x="197" y="291"/>
                  </a:lnTo>
                  <a:lnTo>
                    <a:pt x="197" y="286"/>
                  </a:lnTo>
                  <a:lnTo>
                    <a:pt x="189" y="279"/>
                  </a:lnTo>
                  <a:lnTo>
                    <a:pt x="188" y="265"/>
                  </a:lnTo>
                  <a:lnTo>
                    <a:pt x="183" y="256"/>
                  </a:lnTo>
                  <a:lnTo>
                    <a:pt x="176" y="257"/>
                  </a:lnTo>
                  <a:lnTo>
                    <a:pt x="178" y="248"/>
                  </a:lnTo>
                  <a:lnTo>
                    <a:pt x="183" y="238"/>
                  </a:lnTo>
                  <a:lnTo>
                    <a:pt x="181" y="229"/>
                  </a:lnTo>
                  <a:lnTo>
                    <a:pt x="187" y="221"/>
                  </a:lnTo>
                  <a:lnTo>
                    <a:pt x="183" y="216"/>
                  </a:lnTo>
                  <a:lnTo>
                    <a:pt x="188" y="201"/>
                  </a:lnTo>
                  <a:lnTo>
                    <a:pt x="197" y="184"/>
                  </a:lnTo>
                  <a:lnTo>
                    <a:pt x="215" y="185"/>
                  </a:lnTo>
                  <a:lnTo>
                    <a:pt x="211" y="90"/>
                  </a:lnTo>
                  <a:lnTo>
                    <a:pt x="211" y="9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 name="Togo"/>
            <p:cNvSpPr>
              <a:spLocks/>
            </p:cNvSpPr>
            <p:nvPr/>
          </p:nvSpPr>
          <p:spPr bwMode="auto">
            <a:xfrm>
              <a:off x="6000750" y="4067176"/>
              <a:ext cx="63500" cy="192088"/>
            </a:xfrm>
            <a:custGeom>
              <a:avLst/>
              <a:gdLst>
                <a:gd name="T0" fmla="*/ 19 w 40"/>
                <a:gd name="T1" fmla="*/ 1 h 121"/>
                <a:gd name="T2" fmla="*/ 0 w 40"/>
                <a:gd name="T3" fmla="*/ 0 h 121"/>
                <a:gd name="T4" fmla="*/ 0 w 40"/>
                <a:gd name="T5" fmla="*/ 7 h 121"/>
                <a:gd name="T6" fmla="*/ 8 w 40"/>
                <a:gd name="T7" fmla="*/ 20 h 121"/>
                <a:gd name="T8" fmla="*/ 8 w 40"/>
                <a:gd name="T9" fmla="*/ 37 h 121"/>
                <a:gd name="T10" fmla="*/ 10 w 40"/>
                <a:gd name="T11" fmla="*/ 56 h 121"/>
                <a:gd name="T12" fmla="*/ 15 w 40"/>
                <a:gd name="T13" fmla="*/ 64 h 121"/>
                <a:gd name="T14" fmla="*/ 11 w 40"/>
                <a:gd name="T15" fmla="*/ 86 h 121"/>
                <a:gd name="T16" fmla="*/ 13 w 40"/>
                <a:gd name="T17" fmla="*/ 98 h 121"/>
                <a:gd name="T18" fmla="*/ 18 w 40"/>
                <a:gd name="T19" fmla="*/ 113 h 121"/>
                <a:gd name="T20" fmla="*/ 22 w 40"/>
                <a:gd name="T21" fmla="*/ 121 h 121"/>
                <a:gd name="T22" fmla="*/ 40 w 40"/>
                <a:gd name="T23" fmla="*/ 116 h 121"/>
                <a:gd name="T24" fmla="*/ 34 w 40"/>
                <a:gd name="T25" fmla="*/ 100 h 121"/>
                <a:gd name="T26" fmla="*/ 35 w 40"/>
                <a:gd name="T27" fmla="*/ 45 h 121"/>
                <a:gd name="T28" fmla="*/ 31 w 40"/>
                <a:gd name="T29" fmla="*/ 40 h 121"/>
                <a:gd name="T30" fmla="*/ 30 w 40"/>
                <a:gd name="T31" fmla="*/ 29 h 121"/>
                <a:gd name="T32" fmla="*/ 23 w 40"/>
                <a:gd name="T33" fmla="*/ 20 h 121"/>
                <a:gd name="T34" fmla="*/ 16 w 40"/>
                <a:gd name="T35" fmla="*/ 13 h 121"/>
                <a:gd name="T36" fmla="*/ 19 w 40"/>
                <a:gd name="T37" fmla="*/ 1 h 121"/>
                <a:gd name="T38" fmla="*/ 19 w 40"/>
                <a:gd name="T39"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21">
                  <a:moveTo>
                    <a:pt x="19" y="1"/>
                  </a:moveTo>
                  <a:lnTo>
                    <a:pt x="0" y="0"/>
                  </a:lnTo>
                  <a:lnTo>
                    <a:pt x="0" y="7"/>
                  </a:lnTo>
                  <a:lnTo>
                    <a:pt x="8" y="20"/>
                  </a:lnTo>
                  <a:lnTo>
                    <a:pt x="8" y="37"/>
                  </a:lnTo>
                  <a:lnTo>
                    <a:pt x="10" y="56"/>
                  </a:lnTo>
                  <a:lnTo>
                    <a:pt x="15" y="64"/>
                  </a:lnTo>
                  <a:lnTo>
                    <a:pt x="11" y="86"/>
                  </a:lnTo>
                  <a:lnTo>
                    <a:pt x="13" y="98"/>
                  </a:lnTo>
                  <a:lnTo>
                    <a:pt x="18" y="113"/>
                  </a:lnTo>
                  <a:lnTo>
                    <a:pt x="22" y="121"/>
                  </a:lnTo>
                  <a:lnTo>
                    <a:pt x="40" y="116"/>
                  </a:lnTo>
                  <a:lnTo>
                    <a:pt x="34" y="100"/>
                  </a:lnTo>
                  <a:lnTo>
                    <a:pt x="35" y="45"/>
                  </a:lnTo>
                  <a:lnTo>
                    <a:pt x="31" y="40"/>
                  </a:lnTo>
                  <a:lnTo>
                    <a:pt x="30" y="29"/>
                  </a:lnTo>
                  <a:lnTo>
                    <a:pt x="23" y="20"/>
                  </a:lnTo>
                  <a:lnTo>
                    <a:pt x="16" y="13"/>
                  </a:lnTo>
                  <a:lnTo>
                    <a:pt x="19" y="1"/>
                  </a:lnTo>
                  <a:lnTo>
                    <a:pt x="19"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 name="Thailand"/>
            <p:cNvSpPr>
              <a:spLocks/>
            </p:cNvSpPr>
            <p:nvPr/>
          </p:nvSpPr>
          <p:spPr bwMode="auto">
            <a:xfrm>
              <a:off x="9194800" y="3713163"/>
              <a:ext cx="290512" cy="555625"/>
            </a:xfrm>
            <a:custGeom>
              <a:avLst/>
              <a:gdLst>
                <a:gd name="T0" fmla="*/ 183 w 183"/>
                <a:gd name="T1" fmla="*/ 135 h 350"/>
                <a:gd name="T2" fmla="*/ 161 w 183"/>
                <a:gd name="T3" fmla="*/ 94 h 350"/>
                <a:gd name="T4" fmla="*/ 138 w 183"/>
                <a:gd name="T5" fmla="*/ 51 h 350"/>
                <a:gd name="T6" fmla="*/ 119 w 183"/>
                <a:gd name="T7" fmla="*/ 59 h 350"/>
                <a:gd name="T8" fmla="*/ 100 w 183"/>
                <a:gd name="T9" fmla="*/ 55 h 350"/>
                <a:gd name="T10" fmla="*/ 77 w 183"/>
                <a:gd name="T11" fmla="*/ 47 h 350"/>
                <a:gd name="T12" fmla="*/ 64 w 183"/>
                <a:gd name="T13" fmla="*/ 21 h 350"/>
                <a:gd name="T14" fmla="*/ 51 w 183"/>
                <a:gd name="T15" fmla="*/ 0 h 350"/>
                <a:gd name="T16" fmla="*/ 29 w 183"/>
                <a:gd name="T17" fmla="*/ 16 h 350"/>
                <a:gd name="T18" fmla="*/ 9 w 183"/>
                <a:gd name="T19" fmla="*/ 43 h 350"/>
                <a:gd name="T20" fmla="*/ 14 w 183"/>
                <a:gd name="T21" fmla="*/ 68 h 350"/>
                <a:gd name="T22" fmla="*/ 40 w 183"/>
                <a:gd name="T23" fmla="*/ 101 h 350"/>
                <a:gd name="T24" fmla="*/ 28 w 183"/>
                <a:gd name="T25" fmla="*/ 126 h 350"/>
                <a:gd name="T26" fmla="*/ 51 w 183"/>
                <a:gd name="T27" fmla="*/ 157 h 350"/>
                <a:gd name="T28" fmla="*/ 55 w 183"/>
                <a:gd name="T29" fmla="*/ 181 h 350"/>
                <a:gd name="T30" fmla="*/ 56 w 183"/>
                <a:gd name="T31" fmla="*/ 225 h 350"/>
                <a:gd name="T32" fmla="*/ 42 w 183"/>
                <a:gd name="T33" fmla="*/ 271 h 350"/>
                <a:gd name="T34" fmla="*/ 46 w 183"/>
                <a:gd name="T35" fmla="*/ 299 h 350"/>
                <a:gd name="T36" fmla="*/ 59 w 183"/>
                <a:gd name="T37" fmla="*/ 298 h 350"/>
                <a:gd name="T38" fmla="*/ 75 w 183"/>
                <a:gd name="T39" fmla="*/ 322 h 350"/>
                <a:gd name="T40" fmla="*/ 88 w 183"/>
                <a:gd name="T41" fmla="*/ 328 h 350"/>
                <a:gd name="T42" fmla="*/ 108 w 183"/>
                <a:gd name="T43" fmla="*/ 350 h 350"/>
                <a:gd name="T44" fmla="*/ 127 w 183"/>
                <a:gd name="T45" fmla="*/ 337 h 350"/>
                <a:gd name="T46" fmla="*/ 103 w 183"/>
                <a:gd name="T47" fmla="*/ 322 h 350"/>
                <a:gd name="T48" fmla="*/ 86 w 183"/>
                <a:gd name="T49" fmla="*/ 288 h 350"/>
                <a:gd name="T50" fmla="*/ 62 w 183"/>
                <a:gd name="T51" fmla="*/ 266 h 350"/>
                <a:gd name="T52" fmla="*/ 65 w 183"/>
                <a:gd name="T53" fmla="*/ 228 h 350"/>
                <a:gd name="T54" fmla="*/ 72 w 183"/>
                <a:gd name="T55" fmla="*/ 167 h 350"/>
                <a:gd name="T56" fmla="*/ 90 w 183"/>
                <a:gd name="T57" fmla="*/ 185 h 350"/>
                <a:gd name="T58" fmla="*/ 127 w 183"/>
                <a:gd name="T59" fmla="*/ 195 h 350"/>
                <a:gd name="T60" fmla="*/ 130 w 183"/>
                <a:gd name="T61" fmla="*/ 147 h 350"/>
                <a:gd name="T62" fmla="*/ 177 w 183"/>
                <a:gd name="T63" fmla="*/ 14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 h="350">
                  <a:moveTo>
                    <a:pt x="177" y="146"/>
                  </a:moveTo>
                  <a:lnTo>
                    <a:pt x="183" y="135"/>
                  </a:lnTo>
                  <a:lnTo>
                    <a:pt x="181" y="115"/>
                  </a:lnTo>
                  <a:lnTo>
                    <a:pt x="161" y="94"/>
                  </a:lnTo>
                  <a:lnTo>
                    <a:pt x="156" y="71"/>
                  </a:lnTo>
                  <a:lnTo>
                    <a:pt x="138" y="51"/>
                  </a:lnTo>
                  <a:lnTo>
                    <a:pt x="122" y="50"/>
                  </a:lnTo>
                  <a:lnTo>
                    <a:pt x="119" y="59"/>
                  </a:lnTo>
                  <a:lnTo>
                    <a:pt x="107" y="59"/>
                  </a:lnTo>
                  <a:lnTo>
                    <a:pt x="100" y="55"/>
                  </a:lnTo>
                  <a:lnTo>
                    <a:pt x="81" y="69"/>
                  </a:lnTo>
                  <a:lnTo>
                    <a:pt x="77" y="47"/>
                  </a:lnTo>
                  <a:lnTo>
                    <a:pt x="78" y="22"/>
                  </a:lnTo>
                  <a:lnTo>
                    <a:pt x="64" y="21"/>
                  </a:lnTo>
                  <a:lnTo>
                    <a:pt x="60" y="7"/>
                  </a:lnTo>
                  <a:lnTo>
                    <a:pt x="51" y="0"/>
                  </a:lnTo>
                  <a:lnTo>
                    <a:pt x="40" y="5"/>
                  </a:lnTo>
                  <a:lnTo>
                    <a:pt x="29" y="16"/>
                  </a:lnTo>
                  <a:lnTo>
                    <a:pt x="14" y="17"/>
                  </a:lnTo>
                  <a:lnTo>
                    <a:pt x="9" y="43"/>
                  </a:lnTo>
                  <a:lnTo>
                    <a:pt x="0" y="46"/>
                  </a:lnTo>
                  <a:lnTo>
                    <a:pt x="14" y="68"/>
                  </a:lnTo>
                  <a:lnTo>
                    <a:pt x="29" y="85"/>
                  </a:lnTo>
                  <a:lnTo>
                    <a:pt x="40" y="101"/>
                  </a:lnTo>
                  <a:lnTo>
                    <a:pt x="35" y="121"/>
                  </a:lnTo>
                  <a:lnTo>
                    <a:pt x="28" y="126"/>
                  </a:lnTo>
                  <a:lnTo>
                    <a:pt x="35" y="137"/>
                  </a:lnTo>
                  <a:lnTo>
                    <a:pt x="51" y="157"/>
                  </a:lnTo>
                  <a:lnTo>
                    <a:pt x="55" y="170"/>
                  </a:lnTo>
                  <a:lnTo>
                    <a:pt x="55" y="181"/>
                  </a:lnTo>
                  <a:lnTo>
                    <a:pt x="66" y="202"/>
                  </a:lnTo>
                  <a:lnTo>
                    <a:pt x="56" y="225"/>
                  </a:lnTo>
                  <a:lnTo>
                    <a:pt x="47" y="249"/>
                  </a:lnTo>
                  <a:lnTo>
                    <a:pt x="42" y="271"/>
                  </a:lnTo>
                  <a:lnTo>
                    <a:pt x="42" y="286"/>
                  </a:lnTo>
                  <a:lnTo>
                    <a:pt x="46" y="299"/>
                  </a:lnTo>
                  <a:lnTo>
                    <a:pt x="49" y="285"/>
                  </a:lnTo>
                  <a:lnTo>
                    <a:pt x="59" y="298"/>
                  </a:lnTo>
                  <a:lnTo>
                    <a:pt x="71" y="311"/>
                  </a:lnTo>
                  <a:lnTo>
                    <a:pt x="75" y="322"/>
                  </a:lnTo>
                  <a:lnTo>
                    <a:pt x="85" y="331"/>
                  </a:lnTo>
                  <a:lnTo>
                    <a:pt x="88" y="328"/>
                  </a:lnTo>
                  <a:lnTo>
                    <a:pt x="105" y="338"/>
                  </a:lnTo>
                  <a:lnTo>
                    <a:pt x="108" y="350"/>
                  </a:lnTo>
                  <a:lnTo>
                    <a:pt x="122" y="347"/>
                  </a:lnTo>
                  <a:lnTo>
                    <a:pt x="127" y="337"/>
                  </a:lnTo>
                  <a:lnTo>
                    <a:pt x="116" y="325"/>
                  </a:lnTo>
                  <a:lnTo>
                    <a:pt x="103" y="322"/>
                  </a:lnTo>
                  <a:lnTo>
                    <a:pt x="91" y="309"/>
                  </a:lnTo>
                  <a:lnTo>
                    <a:pt x="86" y="288"/>
                  </a:lnTo>
                  <a:lnTo>
                    <a:pt x="76" y="266"/>
                  </a:lnTo>
                  <a:lnTo>
                    <a:pt x="62" y="266"/>
                  </a:lnTo>
                  <a:lnTo>
                    <a:pt x="60" y="248"/>
                  </a:lnTo>
                  <a:lnTo>
                    <a:pt x="65" y="228"/>
                  </a:lnTo>
                  <a:lnTo>
                    <a:pt x="73" y="193"/>
                  </a:lnTo>
                  <a:lnTo>
                    <a:pt x="72" y="167"/>
                  </a:lnTo>
                  <a:lnTo>
                    <a:pt x="91" y="166"/>
                  </a:lnTo>
                  <a:lnTo>
                    <a:pt x="90" y="185"/>
                  </a:lnTo>
                  <a:lnTo>
                    <a:pt x="107" y="185"/>
                  </a:lnTo>
                  <a:lnTo>
                    <a:pt x="127" y="195"/>
                  </a:lnTo>
                  <a:lnTo>
                    <a:pt x="119" y="167"/>
                  </a:lnTo>
                  <a:lnTo>
                    <a:pt x="130" y="147"/>
                  </a:lnTo>
                  <a:lnTo>
                    <a:pt x="157" y="143"/>
                  </a:lnTo>
                  <a:lnTo>
                    <a:pt x="177" y="146"/>
                  </a:lnTo>
                  <a:lnTo>
                    <a:pt x="177" y="14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 name="Tajikistan"/>
            <p:cNvSpPr>
              <a:spLocks/>
            </p:cNvSpPr>
            <p:nvPr/>
          </p:nvSpPr>
          <p:spPr bwMode="auto">
            <a:xfrm>
              <a:off x="8080375" y="2936876"/>
              <a:ext cx="252412" cy="158750"/>
            </a:xfrm>
            <a:custGeom>
              <a:avLst/>
              <a:gdLst>
                <a:gd name="T0" fmla="*/ 62 w 159"/>
                <a:gd name="T1" fmla="*/ 16 h 100"/>
                <a:gd name="T2" fmla="*/ 55 w 159"/>
                <a:gd name="T3" fmla="*/ 17 h 100"/>
                <a:gd name="T4" fmla="*/ 50 w 159"/>
                <a:gd name="T5" fmla="*/ 10 h 100"/>
                <a:gd name="T6" fmla="*/ 51 w 159"/>
                <a:gd name="T7" fmla="*/ 0 h 100"/>
                <a:gd name="T8" fmla="*/ 27 w 159"/>
                <a:gd name="T9" fmla="*/ 5 h 100"/>
                <a:gd name="T10" fmla="*/ 25 w 159"/>
                <a:gd name="T11" fmla="*/ 20 h 100"/>
                <a:gd name="T12" fmla="*/ 19 w 159"/>
                <a:gd name="T13" fmla="*/ 33 h 100"/>
                <a:gd name="T14" fmla="*/ 2 w 159"/>
                <a:gd name="T15" fmla="*/ 32 h 100"/>
                <a:gd name="T16" fmla="*/ 0 w 159"/>
                <a:gd name="T17" fmla="*/ 42 h 100"/>
                <a:gd name="T18" fmla="*/ 16 w 159"/>
                <a:gd name="T19" fmla="*/ 48 h 100"/>
                <a:gd name="T20" fmla="*/ 25 w 159"/>
                <a:gd name="T21" fmla="*/ 66 h 100"/>
                <a:gd name="T22" fmla="*/ 20 w 159"/>
                <a:gd name="T23" fmla="*/ 90 h 100"/>
                <a:gd name="T24" fmla="*/ 27 w 159"/>
                <a:gd name="T25" fmla="*/ 94 h 100"/>
                <a:gd name="T26" fmla="*/ 40 w 159"/>
                <a:gd name="T27" fmla="*/ 85 h 100"/>
                <a:gd name="T28" fmla="*/ 47 w 159"/>
                <a:gd name="T29" fmla="*/ 90 h 100"/>
                <a:gd name="T30" fmla="*/ 51 w 159"/>
                <a:gd name="T31" fmla="*/ 79 h 100"/>
                <a:gd name="T32" fmla="*/ 62 w 159"/>
                <a:gd name="T33" fmla="*/ 80 h 100"/>
                <a:gd name="T34" fmla="*/ 65 w 159"/>
                <a:gd name="T35" fmla="*/ 76 h 100"/>
                <a:gd name="T36" fmla="*/ 64 w 159"/>
                <a:gd name="T37" fmla="*/ 67 h 100"/>
                <a:gd name="T38" fmla="*/ 70 w 159"/>
                <a:gd name="T39" fmla="*/ 58 h 100"/>
                <a:gd name="T40" fmla="*/ 83 w 159"/>
                <a:gd name="T41" fmla="*/ 64 h 100"/>
                <a:gd name="T42" fmla="*/ 83 w 159"/>
                <a:gd name="T43" fmla="*/ 71 h 100"/>
                <a:gd name="T44" fmla="*/ 88 w 159"/>
                <a:gd name="T45" fmla="*/ 72 h 100"/>
                <a:gd name="T46" fmla="*/ 92 w 159"/>
                <a:gd name="T47" fmla="*/ 92 h 100"/>
                <a:gd name="T48" fmla="*/ 101 w 159"/>
                <a:gd name="T49" fmla="*/ 100 h 100"/>
                <a:gd name="T50" fmla="*/ 107 w 159"/>
                <a:gd name="T51" fmla="*/ 96 h 100"/>
                <a:gd name="T52" fmla="*/ 115 w 159"/>
                <a:gd name="T53" fmla="*/ 93 h 100"/>
                <a:gd name="T54" fmla="*/ 125 w 159"/>
                <a:gd name="T55" fmla="*/ 82 h 100"/>
                <a:gd name="T56" fmla="*/ 139 w 159"/>
                <a:gd name="T57" fmla="*/ 84 h 100"/>
                <a:gd name="T58" fmla="*/ 159 w 159"/>
                <a:gd name="T59" fmla="*/ 84 h 100"/>
                <a:gd name="T60" fmla="*/ 152 w 159"/>
                <a:gd name="T61" fmla="*/ 70 h 100"/>
                <a:gd name="T62" fmla="*/ 150 w 159"/>
                <a:gd name="T63" fmla="*/ 60 h 100"/>
                <a:gd name="T64" fmla="*/ 137 w 159"/>
                <a:gd name="T65" fmla="*/ 56 h 100"/>
                <a:gd name="T66" fmla="*/ 131 w 159"/>
                <a:gd name="T67" fmla="*/ 57 h 100"/>
                <a:gd name="T68" fmla="*/ 120 w 159"/>
                <a:gd name="T69" fmla="*/ 36 h 100"/>
                <a:gd name="T70" fmla="*/ 84 w 159"/>
                <a:gd name="T71" fmla="*/ 39 h 100"/>
                <a:gd name="T72" fmla="*/ 57 w 159"/>
                <a:gd name="T73" fmla="*/ 31 h 100"/>
                <a:gd name="T74" fmla="*/ 38 w 159"/>
                <a:gd name="T75" fmla="*/ 33 h 100"/>
                <a:gd name="T76" fmla="*/ 35 w 159"/>
                <a:gd name="T77" fmla="*/ 19 h 100"/>
                <a:gd name="T78" fmla="*/ 57 w 159"/>
                <a:gd name="T79" fmla="*/ 24 h 100"/>
                <a:gd name="T80" fmla="*/ 62 w 159"/>
                <a:gd name="T81" fmla="*/ 16 h 100"/>
                <a:gd name="T82" fmla="*/ 62 w 159"/>
                <a:gd name="T83"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00">
                  <a:moveTo>
                    <a:pt x="62" y="16"/>
                  </a:moveTo>
                  <a:lnTo>
                    <a:pt x="55" y="17"/>
                  </a:lnTo>
                  <a:lnTo>
                    <a:pt x="50" y="10"/>
                  </a:lnTo>
                  <a:lnTo>
                    <a:pt x="51" y="0"/>
                  </a:lnTo>
                  <a:lnTo>
                    <a:pt x="27" y="5"/>
                  </a:lnTo>
                  <a:lnTo>
                    <a:pt x="25" y="20"/>
                  </a:lnTo>
                  <a:lnTo>
                    <a:pt x="19" y="33"/>
                  </a:lnTo>
                  <a:lnTo>
                    <a:pt x="2" y="32"/>
                  </a:lnTo>
                  <a:lnTo>
                    <a:pt x="0" y="42"/>
                  </a:lnTo>
                  <a:lnTo>
                    <a:pt x="16" y="48"/>
                  </a:lnTo>
                  <a:lnTo>
                    <a:pt x="25" y="66"/>
                  </a:lnTo>
                  <a:lnTo>
                    <a:pt x="20" y="90"/>
                  </a:lnTo>
                  <a:lnTo>
                    <a:pt x="27" y="94"/>
                  </a:lnTo>
                  <a:lnTo>
                    <a:pt x="40" y="85"/>
                  </a:lnTo>
                  <a:lnTo>
                    <a:pt x="47" y="90"/>
                  </a:lnTo>
                  <a:lnTo>
                    <a:pt x="51" y="79"/>
                  </a:lnTo>
                  <a:lnTo>
                    <a:pt x="62" y="80"/>
                  </a:lnTo>
                  <a:lnTo>
                    <a:pt x="65" y="76"/>
                  </a:lnTo>
                  <a:lnTo>
                    <a:pt x="64" y="67"/>
                  </a:lnTo>
                  <a:lnTo>
                    <a:pt x="70" y="58"/>
                  </a:lnTo>
                  <a:lnTo>
                    <a:pt x="83" y="64"/>
                  </a:lnTo>
                  <a:lnTo>
                    <a:pt x="83" y="71"/>
                  </a:lnTo>
                  <a:lnTo>
                    <a:pt x="88" y="72"/>
                  </a:lnTo>
                  <a:lnTo>
                    <a:pt x="92" y="92"/>
                  </a:lnTo>
                  <a:lnTo>
                    <a:pt x="101" y="100"/>
                  </a:lnTo>
                  <a:lnTo>
                    <a:pt x="107" y="96"/>
                  </a:lnTo>
                  <a:lnTo>
                    <a:pt x="115" y="93"/>
                  </a:lnTo>
                  <a:lnTo>
                    <a:pt x="125" y="82"/>
                  </a:lnTo>
                  <a:lnTo>
                    <a:pt x="139" y="84"/>
                  </a:lnTo>
                  <a:lnTo>
                    <a:pt x="159" y="84"/>
                  </a:lnTo>
                  <a:lnTo>
                    <a:pt x="152" y="70"/>
                  </a:lnTo>
                  <a:lnTo>
                    <a:pt x="150" y="60"/>
                  </a:lnTo>
                  <a:lnTo>
                    <a:pt x="137" y="56"/>
                  </a:lnTo>
                  <a:lnTo>
                    <a:pt x="131" y="57"/>
                  </a:lnTo>
                  <a:lnTo>
                    <a:pt x="120" y="36"/>
                  </a:lnTo>
                  <a:lnTo>
                    <a:pt x="84" y="39"/>
                  </a:lnTo>
                  <a:lnTo>
                    <a:pt x="57" y="31"/>
                  </a:lnTo>
                  <a:lnTo>
                    <a:pt x="38" y="33"/>
                  </a:lnTo>
                  <a:lnTo>
                    <a:pt x="35" y="19"/>
                  </a:lnTo>
                  <a:lnTo>
                    <a:pt x="57" y="24"/>
                  </a:lnTo>
                  <a:lnTo>
                    <a:pt x="62" y="16"/>
                  </a:lnTo>
                  <a:lnTo>
                    <a:pt x="62" y="1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 name="Turkmenistan"/>
            <p:cNvSpPr>
              <a:spLocks/>
            </p:cNvSpPr>
            <p:nvPr/>
          </p:nvSpPr>
          <p:spPr bwMode="auto">
            <a:xfrm>
              <a:off x="7597775" y="2870201"/>
              <a:ext cx="471487" cy="282575"/>
            </a:xfrm>
            <a:custGeom>
              <a:avLst/>
              <a:gdLst>
                <a:gd name="T0" fmla="*/ 297 w 297"/>
                <a:gd name="T1" fmla="*/ 127 h 178"/>
                <a:gd name="T2" fmla="*/ 294 w 297"/>
                <a:gd name="T3" fmla="*/ 112 h 178"/>
                <a:gd name="T4" fmla="*/ 265 w 297"/>
                <a:gd name="T5" fmla="*/ 102 h 178"/>
                <a:gd name="T6" fmla="*/ 243 w 297"/>
                <a:gd name="T7" fmla="*/ 90 h 178"/>
                <a:gd name="T8" fmla="*/ 227 w 297"/>
                <a:gd name="T9" fmla="*/ 79 h 178"/>
                <a:gd name="T10" fmla="*/ 201 w 297"/>
                <a:gd name="T11" fmla="*/ 63 h 178"/>
                <a:gd name="T12" fmla="*/ 185 w 297"/>
                <a:gd name="T13" fmla="*/ 39 h 178"/>
                <a:gd name="T14" fmla="*/ 177 w 297"/>
                <a:gd name="T15" fmla="*/ 34 h 178"/>
                <a:gd name="T16" fmla="*/ 157 w 297"/>
                <a:gd name="T17" fmla="*/ 35 h 178"/>
                <a:gd name="T18" fmla="*/ 148 w 297"/>
                <a:gd name="T19" fmla="*/ 30 h 178"/>
                <a:gd name="T20" fmla="*/ 141 w 297"/>
                <a:gd name="T21" fmla="*/ 13 h 178"/>
                <a:gd name="T22" fmla="*/ 112 w 297"/>
                <a:gd name="T23" fmla="*/ 0 h 178"/>
                <a:gd name="T24" fmla="*/ 99 w 297"/>
                <a:gd name="T25" fmla="*/ 14 h 178"/>
                <a:gd name="T26" fmla="*/ 85 w 297"/>
                <a:gd name="T27" fmla="*/ 22 h 178"/>
                <a:gd name="T28" fmla="*/ 91 w 297"/>
                <a:gd name="T29" fmla="*/ 33 h 178"/>
                <a:gd name="T30" fmla="*/ 69 w 297"/>
                <a:gd name="T31" fmla="*/ 33 h 178"/>
                <a:gd name="T32" fmla="*/ 60 w 297"/>
                <a:gd name="T33" fmla="*/ 35 h 178"/>
                <a:gd name="T34" fmla="*/ 42 w 297"/>
                <a:gd name="T35" fmla="*/ 16 h 178"/>
                <a:gd name="T36" fmla="*/ 28 w 297"/>
                <a:gd name="T37" fmla="*/ 10 h 178"/>
                <a:gd name="T38" fmla="*/ 7 w 297"/>
                <a:gd name="T39" fmla="*/ 14 h 178"/>
                <a:gd name="T40" fmla="*/ 0 w 297"/>
                <a:gd name="T41" fmla="*/ 22 h 178"/>
                <a:gd name="T42" fmla="*/ 9 w 297"/>
                <a:gd name="T43" fmla="*/ 37 h 178"/>
                <a:gd name="T44" fmla="*/ 7 w 297"/>
                <a:gd name="T45" fmla="*/ 20 h 178"/>
                <a:gd name="T46" fmla="*/ 21 w 297"/>
                <a:gd name="T47" fmla="*/ 14 h 178"/>
                <a:gd name="T48" fmla="*/ 31 w 297"/>
                <a:gd name="T49" fmla="*/ 28 h 178"/>
                <a:gd name="T50" fmla="*/ 48 w 297"/>
                <a:gd name="T51" fmla="*/ 42 h 178"/>
                <a:gd name="T52" fmla="*/ 33 w 297"/>
                <a:gd name="T53" fmla="*/ 49 h 178"/>
                <a:gd name="T54" fmla="*/ 13 w 297"/>
                <a:gd name="T55" fmla="*/ 43 h 178"/>
                <a:gd name="T56" fmla="*/ 13 w 297"/>
                <a:gd name="T57" fmla="*/ 63 h 178"/>
                <a:gd name="T58" fmla="*/ 26 w 297"/>
                <a:gd name="T59" fmla="*/ 65 h 178"/>
                <a:gd name="T60" fmla="*/ 25 w 297"/>
                <a:gd name="T61" fmla="*/ 81 h 178"/>
                <a:gd name="T62" fmla="*/ 42 w 297"/>
                <a:gd name="T63" fmla="*/ 89 h 178"/>
                <a:gd name="T64" fmla="*/ 45 w 297"/>
                <a:gd name="T65" fmla="*/ 114 h 178"/>
                <a:gd name="T66" fmla="*/ 51 w 297"/>
                <a:gd name="T67" fmla="*/ 131 h 178"/>
                <a:gd name="T68" fmla="*/ 67 w 297"/>
                <a:gd name="T69" fmla="*/ 127 h 178"/>
                <a:gd name="T70" fmla="*/ 78 w 297"/>
                <a:gd name="T71" fmla="*/ 112 h 178"/>
                <a:gd name="T72" fmla="*/ 91 w 297"/>
                <a:gd name="T73" fmla="*/ 113 h 178"/>
                <a:gd name="T74" fmla="*/ 100 w 297"/>
                <a:gd name="T75" fmla="*/ 109 h 178"/>
                <a:gd name="T76" fmla="*/ 114 w 297"/>
                <a:gd name="T77" fmla="*/ 112 h 178"/>
                <a:gd name="T78" fmla="*/ 138 w 297"/>
                <a:gd name="T79" fmla="*/ 124 h 178"/>
                <a:gd name="T80" fmla="*/ 154 w 297"/>
                <a:gd name="T81" fmla="*/ 127 h 178"/>
                <a:gd name="T82" fmla="*/ 181 w 297"/>
                <a:gd name="T83" fmla="*/ 147 h 178"/>
                <a:gd name="T84" fmla="*/ 196 w 297"/>
                <a:gd name="T85" fmla="*/ 148 h 178"/>
                <a:gd name="T86" fmla="*/ 202 w 297"/>
                <a:gd name="T87" fmla="*/ 169 h 178"/>
                <a:gd name="T88" fmla="*/ 224 w 297"/>
                <a:gd name="T89" fmla="*/ 178 h 178"/>
                <a:gd name="T90" fmla="*/ 239 w 297"/>
                <a:gd name="T91" fmla="*/ 175 h 178"/>
                <a:gd name="T92" fmla="*/ 240 w 297"/>
                <a:gd name="T93" fmla="*/ 164 h 178"/>
                <a:gd name="T94" fmla="*/ 255 w 297"/>
                <a:gd name="T95" fmla="*/ 160 h 178"/>
                <a:gd name="T96" fmla="*/ 264 w 297"/>
                <a:gd name="T97" fmla="*/ 153 h 178"/>
                <a:gd name="T98" fmla="*/ 264 w 297"/>
                <a:gd name="T99" fmla="*/ 133 h 178"/>
                <a:gd name="T100" fmla="*/ 279 w 297"/>
                <a:gd name="T101" fmla="*/ 128 h 178"/>
                <a:gd name="T102" fmla="*/ 280 w 297"/>
                <a:gd name="T103" fmla="*/ 120 h 178"/>
                <a:gd name="T104" fmla="*/ 291 w 297"/>
                <a:gd name="T105" fmla="*/ 127 h 178"/>
                <a:gd name="T106" fmla="*/ 297 w 297"/>
                <a:gd name="T107" fmla="*/ 127 h 178"/>
                <a:gd name="T108" fmla="*/ 297 w 297"/>
                <a:gd name="T109" fmla="*/ 1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78">
                  <a:moveTo>
                    <a:pt x="297" y="127"/>
                  </a:moveTo>
                  <a:lnTo>
                    <a:pt x="294" y="112"/>
                  </a:lnTo>
                  <a:lnTo>
                    <a:pt x="265" y="102"/>
                  </a:lnTo>
                  <a:lnTo>
                    <a:pt x="243" y="90"/>
                  </a:lnTo>
                  <a:lnTo>
                    <a:pt x="227" y="79"/>
                  </a:lnTo>
                  <a:lnTo>
                    <a:pt x="201" y="63"/>
                  </a:lnTo>
                  <a:lnTo>
                    <a:pt x="185" y="39"/>
                  </a:lnTo>
                  <a:lnTo>
                    <a:pt x="177" y="34"/>
                  </a:lnTo>
                  <a:lnTo>
                    <a:pt x="157" y="35"/>
                  </a:lnTo>
                  <a:lnTo>
                    <a:pt x="148" y="30"/>
                  </a:lnTo>
                  <a:lnTo>
                    <a:pt x="141" y="13"/>
                  </a:lnTo>
                  <a:lnTo>
                    <a:pt x="112" y="0"/>
                  </a:lnTo>
                  <a:lnTo>
                    <a:pt x="99" y="14"/>
                  </a:lnTo>
                  <a:lnTo>
                    <a:pt x="85" y="22"/>
                  </a:lnTo>
                  <a:lnTo>
                    <a:pt x="91" y="33"/>
                  </a:lnTo>
                  <a:lnTo>
                    <a:pt x="69" y="33"/>
                  </a:lnTo>
                  <a:lnTo>
                    <a:pt x="60" y="35"/>
                  </a:lnTo>
                  <a:lnTo>
                    <a:pt x="42" y="16"/>
                  </a:lnTo>
                  <a:lnTo>
                    <a:pt x="28" y="10"/>
                  </a:lnTo>
                  <a:lnTo>
                    <a:pt x="7" y="14"/>
                  </a:lnTo>
                  <a:lnTo>
                    <a:pt x="0" y="22"/>
                  </a:lnTo>
                  <a:lnTo>
                    <a:pt x="9" y="37"/>
                  </a:lnTo>
                  <a:lnTo>
                    <a:pt x="7" y="20"/>
                  </a:lnTo>
                  <a:lnTo>
                    <a:pt x="21" y="14"/>
                  </a:lnTo>
                  <a:lnTo>
                    <a:pt x="31" y="28"/>
                  </a:lnTo>
                  <a:lnTo>
                    <a:pt x="48" y="42"/>
                  </a:lnTo>
                  <a:lnTo>
                    <a:pt x="33" y="49"/>
                  </a:lnTo>
                  <a:lnTo>
                    <a:pt x="13" y="43"/>
                  </a:lnTo>
                  <a:lnTo>
                    <a:pt x="13" y="63"/>
                  </a:lnTo>
                  <a:lnTo>
                    <a:pt x="26" y="65"/>
                  </a:lnTo>
                  <a:lnTo>
                    <a:pt x="25" y="81"/>
                  </a:lnTo>
                  <a:lnTo>
                    <a:pt x="42" y="89"/>
                  </a:lnTo>
                  <a:lnTo>
                    <a:pt x="45" y="114"/>
                  </a:lnTo>
                  <a:lnTo>
                    <a:pt x="51" y="131"/>
                  </a:lnTo>
                  <a:lnTo>
                    <a:pt x="67" y="127"/>
                  </a:lnTo>
                  <a:lnTo>
                    <a:pt x="78" y="112"/>
                  </a:lnTo>
                  <a:lnTo>
                    <a:pt x="91" y="113"/>
                  </a:lnTo>
                  <a:lnTo>
                    <a:pt x="100" y="109"/>
                  </a:lnTo>
                  <a:lnTo>
                    <a:pt x="114" y="112"/>
                  </a:lnTo>
                  <a:lnTo>
                    <a:pt x="138" y="124"/>
                  </a:lnTo>
                  <a:lnTo>
                    <a:pt x="154" y="127"/>
                  </a:lnTo>
                  <a:lnTo>
                    <a:pt x="181" y="147"/>
                  </a:lnTo>
                  <a:lnTo>
                    <a:pt x="196" y="148"/>
                  </a:lnTo>
                  <a:lnTo>
                    <a:pt x="202" y="169"/>
                  </a:lnTo>
                  <a:lnTo>
                    <a:pt x="224" y="178"/>
                  </a:lnTo>
                  <a:lnTo>
                    <a:pt x="239" y="175"/>
                  </a:lnTo>
                  <a:lnTo>
                    <a:pt x="240" y="164"/>
                  </a:lnTo>
                  <a:lnTo>
                    <a:pt x="255" y="160"/>
                  </a:lnTo>
                  <a:lnTo>
                    <a:pt x="264" y="153"/>
                  </a:lnTo>
                  <a:lnTo>
                    <a:pt x="264" y="133"/>
                  </a:lnTo>
                  <a:lnTo>
                    <a:pt x="279" y="128"/>
                  </a:lnTo>
                  <a:lnTo>
                    <a:pt x="280" y="120"/>
                  </a:lnTo>
                  <a:lnTo>
                    <a:pt x="291" y="127"/>
                  </a:lnTo>
                  <a:lnTo>
                    <a:pt x="297" y="127"/>
                  </a:lnTo>
                  <a:lnTo>
                    <a:pt x="297" y="12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2" name="Timor-Leste"/>
            <p:cNvSpPr>
              <a:spLocks/>
            </p:cNvSpPr>
            <p:nvPr/>
          </p:nvSpPr>
          <p:spPr bwMode="auto">
            <a:xfrm>
              <a:off x="10150475" y="4794251"/>
              <a:ext cx="79375" cy="42863"/>
            </a:xfrm>
            <a:custGeom>
              <a:avLst/>
              <a:gdLst>
                <a:gd name="T0" fmla="*/ 1 w 50"/>
                <a:gd name="T1" fmla="*/ 27 h 27"/>
                <a:gd name="T2" fmla="*/ 19 w 50"/>
                <a:gd name="T3" fmla="*/ 20 h 27"/>
                <a:gd name="T4" fmla="*/ 42 w 50"/>
                <a:gd name="T5" fmla="*/ 10 h 27"/>
                <a:gd name="T6" fmla="*/ 50 w 50"/>
                <a:gd name="T7" fmla="*/ 3 h 27"/>
                <a:gd name="T8" fmla="*/ 43 w 50"/>
                <a:gd name="T9" fmla="*/ 0 h 27"/>
                <a:gd name="T10" fmla="*/ 35 w 50"/>
                <a:gd name="T11" fmla="*/ 3 h 27"/>
                <a:gd name="T12" fmla="*/ 20 w 50"/>
                <a:gd name="T13" fmla="*/ 4 h 27"/>
                <a:gd name="T14" fmla="*/ 3 w 50"/>
                <a:gd name="T15" fmla="*/ 10 h 27"/>
                <a:gd name="T16" fmla="*/ 0 w 50"/>
                <a:gd name="T17" fmla="*/ 15 h 27"/>
                <a:gd name="T18" fmla="*/ 2 w 50"/>
                <a:gd name="T19" fmla="*/ 20 h 27"/>
                <a:gd name="T20" fmla="*/ 1 w 50"/>
                <a:gd name="T21" fmla="*/ 27 h 27"/>
                <a:gd name="T22" fmla="*/ 1 w 50"/>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1" y="27"/>
                  </a:moveTo>
                  <a:lnTo>
                    <a:pt x="19" y="20"/>
                  </a:lnTo>
                  <a:lnTo>
                    <a:pt x="42" y="10"/>
                  </a:lnTo>
                  <a:lnTo>
                    <a:pt x="50" y="3"/>
                  </a:lnTo>
                  <a:lnTo>
                    <a:pt x="43" y="0"/>
                  </a:lnTo>
                  <a:lnTo>
                    <a:pt x="35" y="3"/>
                  </a:lnTo>
                  <a:lnTo>
                    <a:pt x="20" y="4"/>
                  </a:lnTo>
                  <a:lnTo>
                    <a:pt x="3" y="10"/>
                  </a:lnTo>
                  <a:lnTo>
                    <a:pt x="0" y="15"/>
                  </a:lnTo>
                  <a:lnTo>
                    <a:pt x="2" y="20"/>
                  </a:lnTo>
                  <a:lnTo>
                    <a:pt x="1" y="27"/>
                  </a:lnTo>
                  <a:lnTo>
                    <a:pt x="1" y="2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Tunisia"/>
            <p:cNvSpPr>
              <a:spLocks/>
            </p:cNvSpPr>
            <p:nvPr/>
          </p:nvSpPr>
          <p:spPr bwMode="auto">
            <a:xfrm>
              <a:off x="6238875" y="3073134"/>
              <a:ext cx="125412" cy="264059"/>
            </a:xfrm>
            <a:custGeom>
              <a:avLst/>
              <a:gdLst>
                <a:gd name="T0" fmla="*/ 79 w 79"/>
                <a:gd name="T1" fmla="*/ 102 h 168"/>
                <a:gd name="T2" fmla="*/ 72 w 79"/>
                <a:gd name="T3" fmla="*/ 98 h 168"/>
                <a:gd name="T4" fmla="*/ 66 w 79"/>
                <a:gd name="T5" fmla="*/ 87 h 168"/>
                <a:gd name="T6" fmla="*/ 56 w 79"/>
                <a:gd name="T7" fmla="*/ 86 h 168"/>
                <a:gd name="T8" fmla="*/ 51 w 79"/>
                <a:gd name="T9" fmla="*/ 73 h 168"/>
                <a:gd name="T10" fmla="*/ 64 w 79"/>
                <a:gd name="T11" fmla="*/ 61 h 168"/>
                <a:gd name="T12" fmla="*/ 66 w 79"/>
                <a:gd name="T13" fmla="*/ 41 h 168"/>
                <a:gd name="T14" fmla="*/ 59 w 79"/>
                <a:gd name="T15" fmla="*/ 35 h 168"/>
                <a:gd name="T16" fmla="*/ 59 w 79"/>
                <a:gd name="T17" fmla="*/ 24 h 168"/>
                <a:gd name="T18" fmla="*/ 68 w 79"/>
                <a:gd name="T19" fmla="*/ 12 h 168"/>
                <a:gd name="T20" fmla="*/ 66 w 79"/>
                <a:gd name="T21" fmla="*/ 7 h 168"/>
                <a:gd name="T22" fmla="*/ 50 w 79"/>
                <a:gd name="T23" fmla="*/ 15 h 168"/>
                <a:gd name="T24" fmla="*/ 50 w 79"/>
                <a:gd name="T25" fmla="*/ 3 h 168"/>
                <a:gd name="T26" fmla="*/ 36 w 79"/>
                <a:gd name="T27" fmla="*/ 0 h 168"/>
                <a:gd name="T28" fmla="*/ 16 w 79"/>
                <a:gd name="T29" fmla="*/ 11 h 168"/>
                <a:gd name="T30" fmla="*/ 12 w 79"/>
                <a:gd name="T31" fmla="*/ 23 h 168"/>
                <a:gd name="T32" fmla="*/ 16 w 79"/>
                <a:gd name="T33" fmla="*/ 46 h 168"/>
                <a:gd name="T34" fmla="*/ 12 w 79"/>
                <a:gd name="T35" fmla="*/ 66 h 168"/>
                <a:gd name="T36" fmla="*/ 0 w 79"/>
                <a:gd name="T37" fmla="*/ 79 h 168"/>
                <a:gd name="T38" fmla="*/ 2 w 79"/>
                <a:gd name="T39" fmla="*/ 97 h 168"/>
                <a:gd name="T40" fmla="*/ 18 w 79"/>
                <a:gd name="T41" fmla="*/ 112 h 168"/>
                <a:gd name="T42" fmla="*/ 18 w 79"/>
                <a:gd name="T43" fmla="*/ 117 h 168"/>
                <a:gd name="T44" fmla="*/ 32 w 79"/>
                <a:gd name="T45" fmla="*/ 126 h 168"/>
                <a:gd name="T46" fmla="*/ 41 w 79"/>
                <a:gd name="T47" fmla="*/ 168 h 168"/>
                <a:gd name="T48" fmla="*/ 51 w 79"/>
                <a:gd name="T49" fmla="*/ 164 h 168"/>
                <a:gd name="T50" fmla="*/ 52 w 79"/>
                <a:gd name="T51" fmla="*/ 154 h 168"/>
                <a:gd name="T52" fmla="*/ 49 w 79"/>
                <a:gd name="T53" fmla="*/ 143 h 168"/>
                <a:gd name="T54" fmla="*/ 63 w 79"/>
                <a:gd name="T55" fmla="*/ 134 h 168"/>
                <a:gd name="T56" fmla="*/ 69 w 79"/>
                <a:gd name="T57" fmla="*/ 126 h 168"/>
                <a:gd name="T58" fmla="*/ 79 w 79"/>
                <a:gd name="T59" fmla="*/ 120 h 168"/>
                <a:gd name="T60" fmla="*/ 79 w 79"/>
                <a:gd name="T61" fmla="*/ 102 h 168"/>
                <a:gd name="T62" fmla="*/ 79 w 79"/>
                <a:gd name="T63" fmla="*/ 10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168">
                  <a:moveTo>
                    <a:pt x="79" y="102"/>
                  </a:moveTo>
                  <a:lnTo>
                    <a:pt x="72" y="98"/>
                  </a:lnTo>
                  <a:lnTo>
                    <a:pt x="66" y="87"/>
                  </a:lnTo>
                  <a:lnTo>
                    <a:pt x="56" y="86"/>
                  </a:lnTo>
                  <a:lnTo>
                    <a:pt x="51" y="73"/>
                  </a:lnTo>
                  <a:lnTo>
                    <a:pt x="64" y="61"/>
                  </a:lnTo>
                  <a:lnTo>
                    <a:pt x="66" y="41"/>
                  </a:lnTo>
                  <a:lnTo>
                    <a:pt x="59" y="35"/>
                  </a:lnTo>
                  <a:lnTo>
                    <a:pt x="59" y="24"/>
                  </a:lnTo>
                  <a:lnTo>
                    <a:pt x="68" y="12"/>
                  </a:lnTo>
                  <a:lnTo>
                    <a:pt x="66" y="7"/>
                  </a:lnTo>
                  <a:lnTo>
                    <a:pt x="50" y="15"/>
                  </a:lnTo>
                  <a:lnTo>
                    <a:pt x="50" y="3"/>
                  </a:lnTo>
                  <a:lnTo>
                    <a:pt x="36" y="0"/>
                  </a:lnTo>
                  <a:lnTo>
                    <a:pt x="16" y="11"/>
                  </a:lnTo>
                  <a:lnTo>
                    <a:pt x="12" y="23"/>
                  </a:lnTo>
                  <a:lnTo>
                    <a:pt x="16" y="46"/>
                  </a:lnTo>
                  <a:lnTo>
                    <a:pt x="12" y="66"/>
                  </a:lnTo>
                  <a:lnTo>
                    <a:pt x="0" y="79"/>
                  </a:lnTo>
                  <a:lnTo>
                    <a:pt x="2" y="97"/>
                  </a:lnTo>
                  <a:lnTo>
                    <a:pt x="18" y="112"/>
                  </a:lnTo>
                  <a:lnTo>
                    <a:pt x="18" y="117"/>
                  </a:lnTo>
                  <a:lnTo>
                    <a:pt x="32" y="126"/>
                  </a:lnTo>
                  <a:lnTo>
                    <a:pt x="41" y="168"/>
                  </a:lnTo>
                  <a:lnTo>
                    <a:pt x="51" y="164"/>
                  </a:lnTo>
                  <a:lnTo>
                    <a:pt x="52" y="154"/>
                  </a:lnTo>
                  <a:lnTo>
                    <a:pt x="49" y="143"/>
                  </a:lnTo>
                  <a:lnTo>
                    <a:pt x="63" y="134"/>
                  </a:lnTo>
                  <a:lnTo>
                    <a:pt x="69" y="126"/>
                  </a:lnTo>
                  <a:lnTo>
                    <a:pt x="79" y="120"/>
                  </a:lnTo>
                  <a:lnTo>
                    <a:pt x="79" y="102"/>
                  </a:lnTo>
                  <a:lnTo>
                    <a:pt x="79" y="10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 name="Turkey"/>
            <p:cNvSpPr>
              <a:spLocks noEditPoints="1"/>
            </p:cNvSpPr>
            <p:nvPr/>
          </p:nvSpPr>
          <p:spPr bwMode="auto">
            <a:xfrm>
              <a:off x="6796087" y="2892426"/>
              <a:ext cx="598487" cy="239713"/>
            </a:xfrm>
            <a:custGeom>
              <a:avLst/>
              <a:gdLst>
                <a:gd name="T0" fmla="*/ 173 w 377"/>
                <a:gd name="T1" fmla="*/ 2 h 151"/>
                <a:gd name="T2" fmla="*/ 119 w 377"/>
                <a:gd name="T3" fmla="*/ 10 h 151"/>
                <a:gd name="T4" fmla="*/ 62 w 377"/>
                <a:gd name="T5" fmla="*/ 21 h 151"/>
                <a:gd name="T6" fmla="*/ 26 w 377"/>
                <a:gd name="T7" fmla="*/ 40 h 151"/>
                <a:gd name="T8" fmla="*/ 20 w 377"/>
                <a:gd name="T9" fmla="*/ 74 h 151"/>
                <a:gd name="T10" fmla="*/ 29 w 377"/>
                <a:gd name="T11" fmla="*/ 106 h 151"/>
                <a:gd name="T12" fmla="*/ 64 w 377"/>
                <a:gd name="T13" fmla="*/ 129 h 151"/>
                <a:gd name="T14" fmla="*/ 98 w 377"/>
                <a:gd name="T15" fmla="*/ 140 h 151"/>
                <a:gd name="T16" fmla="*/ 122 w 377"/>
                <a:gd name="T17" fmla="*/ 130 h 151"/>
                <a:gd name="T18" fmla="*/ 169 w 377"/>
                <a:gd name="T19" fmla="*/ 141 h 151"/>
                <a:gd name="T20" fmla="*/ 198 w 377"/>
                <a:gd name="T21" fmla="*/ 133 h 151"/>
                <a:gd name="T22" fmla="*/ 203 w 377"/>
                <a:gd name="T23" fmla="*/ 140 h 151"/>
                <a:gd name="T24" fmla="*/ 216 w 377"/>
                <a:gd name="T25" fmla="*/ 145 h 151"/>
                <a:gd name="T26" fmla="*/ 221 w 377"/>
                <a:gd name="T27" fmla="*/ 127 h 151"/>
                <a:gd name="T28" fmla="*/ 248 w 377"/>
                <a:gd name="T29" fmla="*/ 125 h 151"/>
                <a:gd name="T30" fmla="*/ 275 w 377"/>
                <a:gd name="T31" fmla="*/ 129 h 151"/>
                <a:gd name="T32" fmla="*/ 307 w 377"/>
                <a:gd name="T33" fmla="*/ 120 h 151"/>
                <a:gd name="T34" fmla="*/ 337 w 377"/>
                <a:gd name="T35" fmla="*/ 113 h 151"/>
                <a:gd name="T36" fmla="*/ 369 w 377"/>
                <a:gd name="T37" fmla="*/ 122 h 151"/>
                <a:gd name="T38" fmla="*/ 377 w 377"/>
                <a:gd name="T39" fmla="*/ 118 h 151"/>
                <a:gd name="T40" fmla="*/ 366 w 377"/>
                <a:gd name="T41" fmla="*/ 91 h 151"/>
                <a:gd name="T42" fmla="*/ 367 w 377"/>
                <a:gd name="T43" fmla="*/ 56 h 151"/>
                <a:gd name="T44" fmla="*/ 343 w 377"/>
                <a:gd name="T45" fmla="*/ 44 h 151"/>
                <a:gd name="T46" fmla="*/ 338 w 377"/>
                <a:gd name="T47" fmla="*/ 25 h 151"/>
                <a:gd name="T48" fmla="*/ 297 w 377"/>
                <a:gd name="T49" fmla="*/ 14 h 151"/>
                <a:gd name="T50" fmla="*/ 259 w 377"/>
                <a:gd name="T51" fmla="*/ 24 h 151"/>
                <a:gd name="T52" fmla="*/ 208 w 377"/>
                <a:gd name="T53" fmla="*/ 19 h 151"/>
                <a:gd name="T54" fmla="*/ 23 w 377"/>
                <a:gd name="T55" fmla="*/ 34 h 151"/>
                <a:gd name="T56" fmla="*/ 53 w 377"/>
                <a:gd name="T57" fmla="*/ 25 h 151"/>
                <a:gd name="T58" fmla="*/ 38 w 377"/>
                <a:gd name="T59" fmla="*/ 12 h 151"/>
                <a:gd name="T60" fmla="*/ 19 w 377"/>
                <a:gd name="T61" fmla="*/ 0 h 151"/>
                <a:gd name="T62" fmla="*/ 10 w 377"/>
                <a:gd name="T63" fmla="*/ 14 h 151"/>
                <a:gd name="T64" fmla="*/ 1 w 377"/>
                <a:gd name="T65" fmla="*/ 30 h 151"/>
                <a:gd name="T66" fmla="*/ 8 w 377"/>
                <a:gd name="T67" fmla="*/ 46 h 151"/>
                <a:gd name="T68" fmla="*/ 23 w 377"/>
                <a:gd name="T69" fmla="*/ 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151">
                  <a:moveTo>
                    <a:pt x="208" y="19"/>
                  </a:moveTo>
                  <a:lnTo>
                    <a:pt x="173" y="2"/>
                  </a:lnTo>
                  <a:lnTo>
                    <a:pt x="141" y="3"/>
                  </a:lnTo>
                  <a:lnTo>
                    <a:pt x="119" y="10"/>
                  </a:lnTo>
                  <a:lnTo>
                    <a:pt x="98" y="25"/>
                  </a:lnTo>
                  <a:lnTo>
                    <a:pt x="62" y="21"/>
                  </a:lnTo>
                  <a:lnTo>
                    <a:pt x="55" y="40"/>
                  </a:lnTo>
                  <a:lnTo>
                    <a:pt x="26" y="40"/>
                  </a:lnTo>
                  <a:lnTo>
                    <a:pt x="6" y="63"/>
                  </a:lnTo>
                  <a:lnTo>
                    <a:pt x="20" y="74"/>
                  </a:lnTo>
                  <a:lnTo>
                    <a:pt x="13" y="93"/>
                  </a:lnTo>
                  <a:lnTo>
                    <a:pt x="29" y="106"/>
                  </a:lnTo>
                  <a:lnTo>
                    <a:pt x="42" y="130"/>
                  </a:lnTo>
                  <a:lnTo>
                    <a:pt x="64" y="129"/>
                  </a:lnTo>
                  <a:lnTo>
                    <a:pt x="84" y="142"/>
                  </a:lnTo>
                  <a:lnTo>
                    <a:pt x="98" y="140"/>
                  </a:lnTo>
                  <a:lnTo>
                    <a:pt x="101" y="129"/>
                  </a:lnTo>
                  <a:lnTo>
                    <a:pt x="122" y="130"/>
                  </a:lnTo>
                  <a:lnTo>
                    <a:pt x="139" y="143"/>
                  </a:lnTo>
                  <a:lnTo>
                    <a:pt x="169" y="141"/>
                  </a:lnTo>
                  <a:lnTo>
                    <a:pt x="181" y="127"/>
                  </a:lnTo>
                  <a:lnTo>
                    <a:pt x="198" y="133"/>
                  </a:lnTo>
                  <a:lnTo>
                    <a:pt x="210" y="130"/>
                  </a:lnTo>
                  <a:lnTo>
                    <a:pt x="203" y="140"/>
                  </a:lnTo>
                  <a:lnTo>
                    <a:pt x="212" y="151"/>
                  </a:lnTo>
                  <a:lnTo>
                    <a:pt x="216" y="145"/>
                  </a:lnTo>
                  <a:lnTo>
                    <a:pt x="221" y="140"/>
                  </a:lnTo>
                  <a:lnTo>
                    <a:pt x="221" y="127"/>
                  </a:lnTo>
                  <a:lnTo>
                    <a:pt x="228" y="131"/>
                  </a:lnTo>
                  <a:lnTo>
                    <a:pt x="248" y="125"/>
                  </a:lnTo>
                  <a:lnTo>
                    <a:pt x="259" y="129"/>
                  </a:lnTo>
                  <a:lnTo>
                    <a:pt x="275" y="129"/>
                  </a:lnTo>
                  <a:lnTo>
                    <a:pt x="297" y="120"/>
                  </a:lnTo>
                  <a:lnTo>
                    <a:pt x="307" y="120"/>
                  </a:lnTo>
                  <a:lnTo>
                    <a:pt x="329" y="116"/>
                  </a:lnTo>
                  <a:lnTo>
                    <a:pt x="337" y="113"/>
                  </a:lnTo>
                  <a:lnTo>
                    <a:pt x="360" y="116"/>
                  </a:lnTo>
                  <a:lnTo>
                    <a:pt x="369" y="122"/>
                  </a:lnTo>
                  <a:lnTo>
                    <a:pt x="377" y="118"/>
                  </a:lnTo>
                  <a:lnTo>
                    <a:pt x="377" y="118"/>
                  </a:lnTo>
                  <a:lnTo>
                    <a:pt x="363" y="98"/>
                  </a:lnTo>
                  <a:lnTo>
                    <a:pt x="366" y="91"/>
                  </a:lnTo>
                  <a:lnTo>
                    <a:pt x="355" y="64"/>
                  </a:lnTo>
                  <a:lnTo>
                    <a:pt x="367" y="56"/>
                  </a:lnTo>
                  <a:lnTo>
                    <a:pt x="358" y="50"/>
                  </a:lnTo>
                  <a:lnTo>
                    <a:pt x="343" y="44"/>
                  </a:lnTo>
                  <a:lnTo>
                    <a:pt x="343" y="32"/>
                  </a:lnTo>
                  <a:lnTo>
                    <a:pt x="338" y="25"/>
                  </a:lnTo>
                  <a:lnTo>
                    <a:pt x="316" y="14"/>
                  </a:lnTo>
                  <a:lnTo>
                    <a:pt x="297" y="14"/>
                  </a:lnTo>
                  <a:lnTo>
                    <a:pt x="276" y="27"/>
                  </a:lnTo>
                  <a:lnTo>
                    <a:pt x="259" y="24"/>
                  </a:lnTo>
                  <a:lnTo>
                    <a:pt x="238" y="28"/>
                  </a:lnTo>
                  <a:lnTo>
                    <a:pt x="208" y="19"/>
                  </a:lnTo>
                  <a:lnTo>
                    <a:pt x="208" y="19"/>
                  </a:lnTo>
                  <a:close/>
                  <a:moveTo>
                    <a:pt x="23" y="34"/>
                  </a:moveTo>
                  <a:lnTo>
                    <a:pt x="31" y="27"/>
                  </a:lnTo>
                  <a:lnTo>
                    <a:pt x="53" y="25"/>
                  </a:lnTo>
                  <a:lnTo>
                    <a:pt x="56" y="19"/>
                  </a:lnTo>
                  <a:lnTo>
                    <a:pt x="38" y="12"/>
                  </a:lnTo>
                  <a:lnTo>
                    <a:pt x="35" y="3"/>
                  </a:lnTo>
                  <a:lnTo>
                    <a:pt x="19" y="0"/>
                  </a:lnTo>
                  <a:lnTo>
                    <a:pt x="0" y="8"/>
                  </a:lnTo>
                  <a:lnTo>
                    <a:pt x="10" y="14"/>
                  </a:lnTo>
                  <a:lnTo>
                    <a:pt x="5" y="28"/>
                  </a:lnTo>
                  <a:lnTo>
                    <a:pt x="1" y="30"/>
                  </a:lnTo>
                  <a:lnTo>
                    <a:pt x="2" y="36"/>
                  </a:lnTo>
                  <a:lnTo>
                    <a:pt x="8" y="46"/>
                  </a:lnTo>
                  <a:lnTo>
                    <a:pt x="23" y="34"/>
                  </a:lnTo>
                  <a:lnTo>
                    <a:pt x="23" y="3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 name="Taiwan"/>
            <p:cNvSpPr>
              <a:spLocks/>
            </p:cNvSpPr>
            <p:nvPr/>
          </p:nvSpPr>
          <p:spPr bwMode="auto">
            <a:xfrm>
              <a:off x="9907587" y="3529013"/>
              <a:ext cx="47625" cy="125413"/>
            </a:xfrm>
            <a:custGeom>
              <a:avLst/>
              <a:gdLst>
                <a:gd name="T0" fmla="*/ 25 w 30"/>
                <a:gd name="T1" fmla="*/ 60 h 79"/>
                <a:gd name="T2" fmla="*/ 30 w 30"/>
                <a:gd name="T3" fmla="*/ 21 h 79"/>
                <a:gd name="T4" fmla="*/ 30 w 30"/>
                <a:gd name="T5" fmla="*/ 7 h 79"/>
                <a:gd name="T6" fmla="*/ 19 w 30"/>
                <a:gd name="T7" fmla="*/ 0 h 79"/>
                <a:gd name="T8" fmla="*/ 7 w 30"/>
                <a:gd name="T9" fmla="*/ 18 h 79"/>
                <a:gd name="T10" fmla="*/ 0 w 30"/>
                <a:gd name="T11" fmla="*/ 41 h 79"/>
                <a:gd name="T12" fmla="*/ 5 w 30"/>
                <a:gd name="T13" fmla="*/ 59 h 79"/>
                <a:gd name="T14" fmla="*/ 20 w 30"/>
                <a:gd name="T15" fmla="*/ 79 h 79"/>
                <a:gd name="T16" fmla="*/ 25 w 30"/>
                <a:gd name="T17" fmla="*/ 60 h 79"/>
                <a:gd name="T18" fmla="*/ 25 w 30"/>
                <a:gd name="T19" fmla="*/ 6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79">
                  <a:moveTo>
                    <a:pt x="25" y="60"/>
                  </a:moveTo>
                  <a:lnTo>
                    <a:pt x="30" y="21"/>
                  </a:lnTo>
                  <a:lnTo>
                    <a:pt x="30" y="7"/>
                  </a:lnTo>
                  <a:lnTo>
                    <a:pt x="19" y="0"/>
                  </a:lnTo>
                  <a:lnTo>
                    <a:pt x="7" y="18"/>
                  </a:lnTo>
                  <a:lnTo>
                    <a:pt x="0" y="41"/>
                  </a:lnTo>
                  <a:lnTo>
                    <a:pt x="5" y="59"/>
                  </a:lnTo>
                  <a:lnTo>
                    <a:pt x="20" y="79"/>
                  </a:lnTo>
                  <a:lnTo>
                    <a:pt x="25" y="60"/>
                  </a:lnTo>
                  <a:lnTo>
                    <a:pt x="25" y="6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 name="Tanzania"/>
            <p:cNvSpPr>
              <a:spLocks/>
            </p:cNvSpPr>
            <p:nvPr/>
          </p:nvSpPr>
          <p:spPr bwMode="auto">
            <a:xfrm>
              <a:off x="6985000" y="4521201"/>
              <a:ext cx="354012" cy="404813"/>
            </a:xfrm>
            <a:custGeom>
              <a:avLst/>
              <a:gdLst>
                <a:gd name="T0" fmla="*/ 18 w 223"/>
                <a:gd name="T1" fmla="*/ 3 h 255"/>
                <a:gd name="T2" fmla="*/ 26 w 223"/>
                <a:gd name="T3" fmla="*/ 30 h 255"/>
                <a:gd name="T4" fmla="*/ 20 w 223"/>
                <a:gd name="T5" fmla="*/ 33 h 255"/>
                <a:gd name="T6" fmla="*/ 26 w 223"/>
                <a:gd name="T7" fmla="*/ 48 h 255"/>
                <a:gd name="T8" fmla="*/ 20 w 223"/>
                <a:gd name="T9" fmla="*/ 61 h 255"/>
                <a:gd name="T10" fmla="*/ 4 w 223"/>
                <a:gd name="T11" fmla="*/ 82 h 255"/>
                <a:gd name="T12" fmla="*/ 0 w 223"/>
                <a:gd name="T13" fmla="*/ 92 h 255"/>
                <a:gd name="T14" fmla="*/ 4 w 223"/>
                <a:gd name="T15" fmla="*/ 106 h 255"/>
                <a:gd name="T16" fmla="*/ 3 w 223"/>
                <a:gd name="T17" fmla="*/ 125 h 255"/>
                <a:gd name="T18" fmla="*/ 21 w 223"/>
                <a:gd name="T19" fmla="*/ 155 h 255"/>
                <a:gd name="T20" fmla="*/ 31 w 223"/>
                <a:gd name="T21" fmla="*/ 179 h 255"/>
                <a:gd name="T22" fmla="*/ 41 w 223"/>
                <a:gd name="T23" fmla="*/ 185 h 255"/>
                <a:gd name="T24" fmla="*/ 65 w 223"/>
                <a:gd name="T25" fmla="*/ 196 h 255"/>
                <a:gd name="T26" fmla="*/ 89 w 223"/>
                <a:gd name="T27" fmla="*/ 206 h 255"/>
                <a:gd name="T28" fmla="*/ 91 w 223"/>
                <a:gd name="T29" fmla="*/ 201 h 255"/>
                <a:gd name="T30" fmla="*/ 102 w 223"/>
                <a:gd name="T31" fmla="*/ 240 h 255"/>
                <a:gd name="T32" fmla="*/ 110 w 223"/>
                <a:gd name="T33" fmla="*/ 249 h 255"/>
                <a:gd name="T34" fmla="*/ 142 w 223"/>
                <a:gd name="T35" fmla="*/ 255 h 255"/>
                <a:gd name="T36" fmla="*/ 162 w 223"/>
                <a:gd name="T37" fmla="*/ 251 h 255"/>
                <a:gd name="T38" fmla="*/ 182 w 223"/>
                <a:gd name="T39" fmla="*/ 244 h 255"/>
                <a:gd name="T40" fmla="*/ 223 w 223"/>
                <a:gd name="T41" fmla="*/ 221 h 255"/>
                <a:gd name="T42" fmla="*/ 215 w 223"/>
                <a:gd name="T43" fmla="*/ 216 h 255"/>
                <a:gd name="T44" fmla="*/ 200 w 223"/>
                <a:gd name="T45" fmla="*/ 178 h 255"/>
                <a:gd name="T46" fmla="*/ 200 w 223"/>
                <a:gd name="T47" fmla="*/ 159 h 255"/>
                <a:gd name="T48" fmla="*/ 206 w 223"/>
                <a:gd name="T49" fmla="*/ 139 h 255"/>
                <a:gd name="T50" fmla="*/ 192 w 223"/>
                <a:gd name="T51" fmla="*/ 116 h 255"/>
                <a:gd name="T52" fmla="*/ 172 w 223"/>
                <a:gd name="T53" fmla="*/ 63 h 255"/>
                <a:gd name="T54" fmla="*/ 96 w 223"/>
                <a:gd name="T55" fmla="*/ 2 h 255"/>
                <a:gd name="T56" fmla="*/ 85 w 223"/>
                <a:gd name="T57" fmla="*/ 12 h 255"/>
                <a:gd name="T58" fmla="*/ 86 w 223"/>
                <a:gd name="T59" fmla="*/ 30 h 255"/>
                <a:gd name="T60" fmla="*/ 71 w 223"/>
                <a:gd name="T61" fmla="*/ 33 h 255"/>
                <a:gd name="T62" fmla="*/ 50 w 223"/>
                <a:gd name="T63" fmla="*/ 41 h 255"/>
                <a:gd name="T64" fmla="*/ 48 w 223"/>
                <a:gd name="T65" fmla="*/ 15 h 255"/>
                <a:gd name="T66" fmla="*/ 49 w 223"/>
                <a:gd name="T67" fmla="*/ 1 h 255"/>
                <a:gd name="T68" fmla="*/ 26 w 223"/>
                <a:gd name="T6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55">
                  <a:moveTo>
                    <a:pt x="26" y="0"/>
                  </a:moveTo>
                  <a:lnTo>
                    <a:pt x="18" y="3"/>
                  </a:lnTo>
                  <a:lnTo>
                    <a:pt x="27" y="16"/>
                  </a:lnTo>
                  <a:lnTo>
                    <a:pt x="26" y="30"/>
                  </a:lnTo>
                  <a:lnTo>
                    <a:pt x="20" y="33"/>
                  </a:lnTo>
                  <a:lnTo>
                    <a:pt x="20" y="33"/>
                  </a:lnTo>
                  <a:lnTo>
                    <a:pt x="21" y="43"/>
                  </a:lnTo>
                  <a:lnTo>
                    <a:pt x="26" y="48"/>
                  </a:lnTo>
                  <a:lnTo>
                    <a:pt x="26" y="56"/>
                  </a:lnTo>
                  <a:lnTo>
                    <a:pt x="20" y="61"/>
                  </a:lnTo>
                  <a:lnTo>
                    <a:pt x="12" y="73"/>
                  </a:lnTo>
                  <a:lnTo>
                    <a:pt x="4" y="82"/>
                  </a:lnTo>
                  <a:lnTo>
                    <a:pt x="1" y="82"/>
                  </a:lnTo>
                  <a:lnTo>
                    <a:pt x="0" y="92"/>
                  </a:lnTo>
                  <a:lnTo>
                    <a:pt x="5" y="96"/>
                  </a:lnTo>
                  <a:lnTo>
                    <a:pt x="4" y="106"/>
                  </a:lnTo>
                  <a:lnTo>
                    <a:pt x="8" y="115"/>
                  </a:lnTo>
                  <a:lnTo>
                    <a:pt x="3" y="125"/>
                  </a:lnTo>
                  <a:lnTo>
                    <a:pt x="20" y="141"/>
                  </a:lnTo>
                  <a:lnTo>
                    <a:pt x="21" y="155"/>
                  </a:lnTo>
                  <a:lnTo>
                    <a:pt x="31" y="179"/>
                  </a:lnTo>
                  <a:lnTo>
                    <a:pt x="31" y="179"/>
                  </a:lnTo>
                  <a:lnTo>
                    <a:pt x="32" y="180"/>
                  </a:lnTo>
                  <a:lnTo>
                    <a:pt x="41" y="185"/>
                  </a:lnTo>
                  <a:lnTo>
                    <a:pt x="54" y="188"/>
                  </a:lnTo>
                  <a:lnTo>
                    <a:pt x="65" y="196"/>
                  </a:lnTo>
                  <a:lnTo>
                    <a:pt x="85" y="199"/>
                  </a:lnTo>
                  <a:lnTo>
                    <a:pt x="89" y="206"/>
                  </a:lnTo>
                  <a:lnTo>
                    <a:pt x="89" y="206"/>
                  </a:lnTo>
                  <a:lnTo>
                    <a:pt x="91" y="201"/>
                  </a:lnTo>
                  <a:lnTo>
                    <a:pt x="101" y="214"/>
                  </a:lnTo>
                  <a:lnTo>
                    <a:pt x="102" y="240"/>
                  </a:lnTo>
                  <a:lnTo>
                    <a:pt x="110" y="248"/>
                  </a:lnTo>
                  <a:lnTo>
                    <a:pt x="110" y="249"/>
                  </a:lnTo>
                  <a:lnTo>
                    <a:pt x="117" y="248"/>
                  </a:lnTo>
                  <a:lnTo>
                    <a:pt x="142" y="255"/>
                  </a:lnTo>
                  <a:lnTo>
                    <a:pt x="147" y="252"/>
                  </a:lnTo>
                  <a:lnTo>
                    <a:pt x="162" y="251"/>
                  </a:lnTo>
                  <a:lnTo>
                    <a:pt x="169" y="244"/>
                  </a:lnTo>
                  <a:lnTo>
                    <a:pt x="182" y="244"/>
                  </a:lnTo>
                  <a:lnTo>
                    <a:pt x="205" y="235"/>
                  </a:lnTo>
                  <a:lnTo>
                    <a:pt x="223" y="221"/>
                  </a:lnTo>
                  <a:lnTo>
                    <a:pt x="223" y="221"/>
                  </a:lnTo>
                  <a:lnTo>
                    <a:pt x="215" y="216"/>
                  </a:lnTo>
                  <a:lnTo>
                    <a:pt x="207" y="192"/>
                  </a:lnTo>
                  <a:lnTo>
                    <a:pt x="200" y="178"/>
                  </a:lnTo>
                  <a:lnTo>
                    <a:pt x="201" y="166"/>
                  </a:lnTo>
                  <a:lnTo>
                    <a:pt x="200" y="159"/>
                  </a:lnTo>
                  <a:lnTo>
                    <a:pt x="207" y="144"/>
                  </a:lnTo>
                  <a:lnTo>
                    <a:pt x="206" y="139"/>
                  </a:lnTo>
                  <a:lnTo>
                    <a:pt x="193" y="130"/>
                  </a:lnTo>
                  <a:lnTo>
                    <a:pt x="192" y="116"/>
                  </a:lnTo>
                  <a:lnTo>
                    <a:pt x="202" y="87"/>
                  </a:lnTo>
                  <a:lnTo>
                    <a:pt x="172" y="63"/>
                  </a:lnTo>
                  <a:lnTo>
                    <a:pt x="171" y="50"/>
                  </a:lnTo>
                  <a:lnTo>
                    <a:pt x="96" y="2"/>
                  </a:lnTo>
                  <a:lnTo>
                    <a:pt x="96" y="2"/>
                  </a:lnTo>
                  <a:lnTo>
                    <a:pt x="85" y="12"/>
                  </a:lnTo>
                  <a:lnTo>
                    <a:pt x="78" y="22"/>
                  </a:lnTo>
                  <a:lnTo>
                    <a:pt x="86" y="30"/>
                  </a:lnTo>
                  <a:lnTo>
                    <a:pt x="74" y="37"/>
                  </a:lnTo>
                  <a:lnTo>
                    <a:pt x="71" y="33"/>
                  </a:lnTo>
                  <a:lnTo>
                    <a:pt x="59" y="35"/>
                  </a:lnTo>
                  <a:lnTo>
                    <a:pt x="50" y="41"/>
                  </a:lnTo>
                  <a:lnTo>
                    <a:pt x="44" y="31"/>
                  </a:lnTo>
                  <a:lnTo>
                    <a:pt x="48" y="15"/>
                  </a:lnTo>
                  <a:lnTo>
                    <a:pt x="49" y="1"/>
                  </a:lnTo>
                  <a:lnTo>
                    <a:pt x="49" y="1"/>
                  </a:lnTo>
                  <a:lnTo>
                    <a:pt x="49" y="1"/>
                  </a:lnTo>
                  <a:lnTo>
                    <a:pt x="26" y="0"/>
                  </a:lnTo>
                  <a:lnTo>
                    <a:pt x="26"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 name="Uganda"/>
            <p:cNvSpPr>
              <a:spLocks/>
            </p:cNvSpPr>
            <p:nvPr/>
          </p:nvSpPr>
          <p:spPr bwMode="auto">
            <a:xfrm>
              <a:off x="6986587" y="4322763"/>
              <a:ext cx="180975" cy="214313"/>
            </a:xfrm>
            <a:custGeom>
              <a:avLst/>
              <a:gdLst>
                <a:gd name="T0" fmla="*/ 92 w 114"/>
                <a:gd name="T1" fmla="*/ 0 h 135"/>
                <a:gd name="T2" fmla="*/ 80 w 114"/>
                <a:gd name="T3" fmla="*/ 11 h 135"/>
                <a:gd name="T4" fmla="*/ 65 w 114"/>
                <a:gd name="T5" fmla="*/ 11 h 135"/>
                <a:gd name="T6" fmla="*/ 48 w 114"/>
                <a:gd name="T7" fmla="*/ 16 h 135"/>
                <a:gd name="T8" fmla="*/ 35 w 114"/>
                <a:gd name="T9" fmla="*/ 11 h 135"/>
                <a:gd name="T10" fmla="*/ 26 w 114"/>
                <a:gd name="T11" fmla="*/ 17 h 135"/>
                <a:gd name="T12" fmla="*/ 26 w 114"/>
                <a:gd name="T13" fmla="*/ 17 h 135"/>
                <a:gd name="T14" fmla="*/ 25 w 114"/>
                <a:gd name="T15" fmla="*/ 45 h 135"/>
                <a:gd name="T16" fmla="*/ 34 w 114"/>
                <a:gd name="T17" fmla="*/ 48 h 135"/>
                <a:gd name="T18" fmla="*/ 26 w 114"/>
                <a:gd name="T19" fmla="*/ 57 h 135"/>
                <a:gd name="T20" fmla="*/ 19 w 114"/>
                <a:gd name="T21" fmla="*/ 63 h 135"/>
                <a:gd name="T22" fmla="*/ 11 w 114"/>
                <a:gd name="T23" fmla="*/ 76 h 135"/>
                <a:gd name="T24" fmla="*/ 6 w 114"/>
                <a:gd name="T25" fmla="*/ 87 h 135"/>
                <a:gd name="T26" fmla="*/ 5 w 114"/>
                <a:gd name="T27" fmla="*/ 106 h 135"/>
                <a:gd name="T28" fmla="*/ 0 w 114"/>
                <a:gd name="T29" fmla="*/ 115 h 135"/>
                <a:gd name="T30" fmla="*/ 0 w 114"/>
                <a:gd name="T31" fmla="*/ 133 h 135"/>
                <a:gd name="T32" fmla="*/ 5 w 114"/>
                <a:gd name="T33" fmla="*/ 135 h 135"/>
                <a:gd name="T34" fmla="*/ 17 w 114"/>
                <a:gd name="T35" fmla="*/ 128 h 135"/>
                <a:gd name="T36" fmla="*/ 25 w 114"/>
                <a:gd name="T37" fmla="*/ 125 h 135"/>
                <a:gd name="T38" fmla="*/ 48 w 114"/>
                <a:gd name="T39" fmla="*/ 126 h 135"/>
                <a:gd name="T40" fmla="*/ 48 w 114"/>
                <a:gd name="T41" fmla="*/ 126 h 135"/>
                <a:gd name="T42" fmla="*/ 47 w 114"/>
                <a:gd name="T43" fmla="*/ 116 h 135"/>
                <a:gd name="T44" fmla="*/ 56 w 114"/>
                <a:gd name="T45" fmla="*/ 102 h 135"/>
                <a:gd name="T46" fmla="*/ 69 w 114"/>
                <a:gd name="T47" fmla="*/ 98 h 135"/>
                <a:gd name="T48" fmla="*/ 79 w 114"/>
                <a:gd name="T49" fmla="*/ 93 h 135"/>
                <a:gd name="T50" fmla="*/ 90 w 114"/>
                <a:gd name="T51" fmla="*/ 98 h 135"/>
                <a:gd name="T52" fmla="*/ 91 w 114"/>
                <a:gd name="T53" fmla="*/ 99 h 135"/>
                <a:gd name="T54" fmla="*/ 91 w 114"/>
                <a:gd name="T55" fmla="*/ 98 h 135"/>
                <a:gd name="T56" fmla="*/ 96 w 114"/>
                <a:gd name="T57" fmla="*/ 89 h 135"/>
                <a:gd name="T58" fmla="*/ 107 w 114"/>
                <a:gd name="T59" fmla="*/ 73 h 135"/>
                <a:gd name="T60" fmla="*/ 114 w 114"/>
                <a:gd name="T61" fmla="*/ 56 h 135"/>
                <a:gd name="T62" fmla="*/ 105 w 114"/>
                <a:gd name="T63" fmla="*/ 28 h 135"/>
                <a:gd name="T64" fmla="*/ 102 w 114"/>
                <a:gd name="T65" fmla="*/ 16 h 135"/>
                <a:gd name="T66" fmla="*/ 92 w 114"/>
                <a:gd name="T67" fmla="*/ 0 h 135"/>
                <a:gd name="T68" fmla="*/ 92 w 114"/>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35">
                  <a:moveTo>
                    <a:pt x="92" y="0"/>
                  </a:moveTo>
                  <a:lnTo>
                    <a:pt x="80" y="11"/>
                  </a:lnTo>
                  <a:lnTo>
                    <a:pt x="65" y="11"/>
                  </a:lnTo>
                  <a:lnTo>
                    <a:pt x="48" y="16"/>
                  </a:lnTo>
                  <a:lnTo>
                    <a:pt x="35" y="11"/>
                  </a:lnTo>
                  <a:lnTo>
                    <a:pt x="26" y="17"/>
                  </a:lnTo>
                  <a:lnTo>
                    <a:pt x="26" y="17"/>
                  </a:lnTo>
                  <a:lnTo>
                    <a:pt x="25" y="45"/>
                  </a:lnTo>
                  <a:lnTo>
                    <a:pt x="34" y="48"/>
                  </a:lnTo>
                  <a:lnTo>
                    <a:pt x="26" y="57"/>
                  </a:lnTo>
                  <a:lnTo>
                    <a:pt x="19" y="63"/>
                  </a:lnTo>
                  <a:lnTo>
                    <a:pt x="11" y="76"/>
                  </a:lnTo>
                  <a:lnTo>
                    <a:pt x="6" y="87"/>
                  </a:lnTo>
                  <a:lnTo>
                    <a:pt x="5" y="106"/>
                  </a:lnTo>
                  <a:lnTo>
                    <a:pt x="0" y="115"/>
                  </a:lnTo>
                  <a:lnTo>
                    <a:pt x="0" y="133"/>
                  </a:lnTo>
                  <a:lnTo>
                    <a:pt x="5" y="135"/>
                  </a:lnTo>
                  <a:lnTo>
                    <a:pt x="17" y="128"/>
                  </a:lnTo>
                  <a:lnTo>
                    <a:pt x="25" y="125"/>
                  </a:lnTo>
                  <a:lnTo>
                    <a:pt x="48" y="126"/>
                  </a:lnTo>
                  <a:lnTo>
                    <a:pt x="48" y="126"/>
                  </a:lnTo>
                  <a:lnTo>
                    <a:pt x="47" y="116"/>
                  </a:lnTo>
                  <a:lnTo>
                    <a:pt x="56" y="102"/>
                  </a:lnTo>
                  <a:lnTo>
                    <a:pt x="69" y="98"/>
                  </a:lnTo>
                  <a:lnTo>
                    <a:pt x="79" y="93"/>
                  </a:lnTo>
                  <a:lnTo>
                    <a:pt x="90" y="98"/>
                  </a:lnTo>
                  <a:lnTo>
                    <a:pt x="91" y="99"/>
                  </a:lnTo>
                  <a:lnTo>
                    <a:pt x="91" y="98"/>
                  </a:lnTo>
                  <a:lnTo>
                    <a:pt x="96" y="89"/>
                  </a:lnTo>
                  <a:lnTo>
                    <a:pt x="107" y="73"/>
                  </a:lnTo>
                  <a:lnTo>
                    <a:pt x="114" y="56"/>
                  </a:lnTo>
                  <a:lnTo>
                    <a:pt x="105" y="28"/>
                  </a:lnTo>
                  <a:lnTo>
                    <a:pt x="102" y="16"/>
                  </a:lnTo>
                  <a:lnTo>
                    <a:pt x="92" y="0"/>
                  </a:lnTo>
                  <a:lnTo>
                    <a:pt x="92"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Ukraine"/>
            <p:cNvSpPr>
              <a:spLocks/>
            </p:cNvSpPr>
            <p:nvPr/>
          </p:nvSpPr>
          <p:spPr bwMode="auto">
            <a:xfrm>
              <a:off x="6646862" y="2519363"/>
              <a:ext cx="520700" cy="292100"/>
            </a:xfrm>
            <a:custGeom>
              <a:avLst/>
              <a:gdLst>
                <a:gd name="T0" fmla="*/ 180 w 328"/>
                <a:gd name="T1" fmla="*/ 2 h 184"/>
                <a:gd name="T2" fmla="*/ 170 w 328"/>
                <a:gd name="T3" fmla="*/ 6 h 184"/>
                <a:gd name="T4" fmla="*/ 164 w 328"/>
                <a:gd name="T5" fmla="*/ 6 h 184"/>
                <a:gd name="T6" fmla="*/ 143 w 328"/>
                <a:gd name="T7" fmla="*/ 11 h 184"/>
                <a:gd name="T8" fmla="*/ 137 w 328"/>
                <a:gd name="T9" fmla="*/ 21 h 184"/>
                <a:gd name="T10" fmla="*/ 115 w 328"/>
                <a:gd name="T11" fmla="*/ 17 h 184"/>
                <a:gd name="T12" fmla="*/ 102 w 328"/>
                <a:gd name="T13" fmla="*/ 17 h 184"/>
                <a:gd name="T14" fmla="*/ 67 w 328"/>
                <a:gd name="T15" fmla="*/ 11 h 184"/>
                <a:gd name="T16" fmla="*/ 34 w 328"/>
                <a:gd name="T17" fmla="*/ 10 h 184"/>
                <a:gd name="T18" fmla="*/ 17 w 328"/>
                <a:gd name="T19" fmla="*/ 17 h 184"/>
                <a:gd name="T20" fmla="*/ 28 w 328"/>
                <a:gd name="T21" fmla="*/ 44 h 184"/>
                <a:gd name="T22" fmla="*/ 5 w 328"/>
                <a:gd name="T23" fmla="*/ 66 h 184"/>
                <a:gd name="T24" fmla="*/ 7 w 328"/>
                <a:gd name="T25" fmla="*/ 75 h 184"/>
                <a:gd name="T26" fmla="*/ 0 w 328"/>
                <a:gd name="T27" fmla="*/ 90 h 184"/>
                <a:gd name="T28" fmla="*/ 13 w 328"/>
                <a:gd name="T29" fmla="*/ 103 h 184"/>
                <a:gd name="T30" fmla="*/ 32 w 328"/>
                <a:gd name="T31" fmla="*/ 100 h 184"/>
                <a:gd name="T32" fmla="*/ 53 w 328"/>
                <a:gd name="T33" fmla="*/ 106 h 184"/>
                <a:gd name="T34" fmla="*/ 72 w 328"/>
                <a:gd name="T35" fmla="*/ 100 h 184"/>
                <a:gd name="T36" fmla="*/ 84 w 328"/>
                <a:gd name="T37" fmla="*/ 94 h 184"/>
                <a:gd name="T38" fmla="*/ 100 w 328"/>
                <a:gd name="T39" fmla="*/ 89 h 184"/>
                <a:gd name="T40" fmla="*/ 122 w 328"/>
                <a:gd name="T41" fmla="*/ 97 h 184"/>
                <a:gd name="T42" fmla="*/ 131 w 328"/>
                <a:gd name="T43" fmla="*/ 111 h 184"/>
                <a:gd name="T44" fmla="*/ 142 w 328"/>
                <a:gd name="T45" fmla="*/ 125 h 184"/>
                <a:gd name="T46" fmla="*/ 149 w 328"/>
                <a:gd name="T47" fmla="*/ 135 h 184"/>
                <a:gd name="T48" fmla="*/ 149 w 328"/>
                <a:gd name="T49" fmla="*/ 138 h 184"/>
                <a:gd name="T50" fmla="*/ 135 w 328"/>
                <a:gd name="T51" fmla="*/ 135 h 184"/>
                <a:gd name="T52" fmla="*/ 133 w 328"/>
                <a:gd name="T53" fmla="*/ 140 h 184"/>
                <a:gd name="T54" fmla="*/ 127 w 328"/>
                <a:gd name="T55" fmla="*/ 155 h 184"/>
                <a:gd name="T56" fmla="*/ 132 w 328"/>
                <a:gd name="T57" fmla="*/ 163 h 184"/>
                <a:gd name="T58" fmla="*/ 149 w 328"/>
                <a:gd name="T59" fmla="*/ 163 h 184"/>
                <a:gd name="T60" fmla="*/ 166 w 328"/>
                <a:gd name="T61" fmla="*/ 133 h 184"/>
                <a:gd name="T62" fmla="*/ 185 w 328"/>
                <a:gd name="T63" fmla="*/ 138 h 184"/>
                <a:gd name="T64" fmla="*/ 222 w 328"/>
                <a:gd name="T65" fmla="*/ 150 h 184"/>
                <a:gd name="T66" fmla="*/ 202 w 328"/>
                <a:gd name="T67" fmla="*/ 162 h 184"/>
                <a:gd name="T68" fmla="*/ 222 w 328"/>
                <a:gd name="T69" fmla="*/ 179 h 184"/>
                <a:gd name="T70" fmla="*/ 256 w 328"/>
                <a:gd name="T71" fmla="*/ 171 h 184"/>
                <a:gd name="T72" fmla="*/ 279 w 328"/>
                <a:gd name="T73" fmla="*/ 159 h 184"/>
                <a:gd name="T74" fmla="*/ 250 w 328"/>
                <a:gd name="T75" fmla="*/ 154 h 184"/>
                <a:gd name="T76" fmla="*/ 260 w 328"/>
                <a:gd name="T77" fmla="*/ 131 h 184"/>
                <a:gd name="T78" fmla="*/ 289 w 328"/>
                <a:gd name="T79" fmla="*/ 122 h 184"/>
                <a:gd name="T80" fmla="*/ 302 w 328"/>
                <a:gd name="T81" fmla="*/ 110 h 184"/>
                <a:gd name="T82" fmla="*/ 327 w 328"/>
                <a:gd name="T83" fmla="*/ 102 h 184"/>
                <a:gd name="T84" fmla="*/ 322 w 328"/>
                <a:gd name="T85" fmla="*/ 81 h 184"/>
                <a:gd name="T86" fmla="*/ 325 w 328"/>
                <a:gd name="T87" fmla="*/ 63 h 184"/>
                <a:gd name="T88" fmla="*/ 286 w 328"/>
                <a:gd name="T89" fmla="*/ 55 h 184"/>
                <a:gd name="T90" fmla="*/ 259 w 328"/>
                <a:gd name="T91" fmla="*/ 49 h 184"/>
                <a:gd name="T92" fmla="*/ 234 w 328"/>
                <a:gd name="T93" fmla="*/ 36 h 184"/>
                <a:gd name="T94" fmla="*/ 211 w 328"/>
                <a:gd name="T95" fmla="*/ 24 h 184"/>
                <a:gd name="T96" fmla="*/ 212 w 328"/>
                <a:gd name="T97" fmla="*/ 13 h 184"/>
                <a:gd name="T98" fmla="*/ 198 w 328"/>
                <a:gd name="T9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184">
                  <a:moveTo>
                    <a:pt x="198" y="0"/>
                  </a:moveTo>
                  <a:lnTo>
                    <a:pt x="180" y="2"/>
                  </a:lnTo>
                  <a:lnTo>
                    <a:pt x="174" y="1"/>
                  </a:lnTo>
                  <a:lnTo>
                    <a:pt x="170" y="6"/>
                  </a:lnTo>
                  <a:lnTo>
                    <a:pt x="164" y="6"/>
                  </a:lnTo>
                  <a:lnTo>
                    <a:pt x="164" y="6"/>
                  </a:lnTo>
                  <a:lnTo>
                    <a:pt x="148" y="7"/>
                  </a:lnTo>
                  <a:lnTo>
                    <a:pt x="143" y="11"/>
                  </a:lnTo>
                  <a:lnTo>
                    <a:pt x="144" y="24"/>
                  </a:lnTo>
                  <a:lnTo>
                    <a:pt x="137" y="21"/>
                  </a:lnTo>
                  <a:lnTo>
                    <a:pt x="121" y="23"/>
                  </a:lnTo>
                  <a:lnTo>
                    <a:pt x="115" y="17"/>
                  </a:lnTo>
                  <a:lnTo>
                    <a:pt x="110" y="21"/>
                  </a:lnTo>
                  <a:lnTo>
                    <a:pt x="102" y="17"/>
                  </a:lnTo>
                  <a:lnTo>
                    <a:pt x="87" y="17"/>
                  </a:lnTo>
                  <a:lnTo>
                    <a:pt x="67" y="11"/>
                  </a:lnTo>
                  <a:lnTo>
                    <a:pt x="48" y="10"/>
                  </a:lnTo>
                  <a:lnTo>
                    <a:pt x="34" y="10"/>
                  </a:lnTo>
                  <a:lnTo>
                    <a:pt x="26" y="16"/>
                  </a:lnTo>
                  <a:lnTo>
                    <a:pt x="17" y="17"/>
                  </a:lnTo>
                  <a:lnTo>
                    <a:pt x="29" y="38"/>
                  </a:lnTo>
                  <a:lnTo>
                    <a:pt x="28" y="44"/>
                  </a:lnTo>
                  <a:lnTo>
                    <a:pt x="19" y="47"/>
                  </a:lnTo>
                  <a:lnTo>
                    <a:pt x="5" y="66"/>
                  </a:lnTo>
                  <a:lnTo>
                    <a:pt x="11" y="76"/>
                  </a:lnTo>
                  <a:lnTo>
                    <a:pt x="7" y="75"/>
                  </a:lnTo>
                  <a:lnTo>
                    <a:pt x="2" y="80"/>
                  </a:lnTo>
                  <a:lnTo>
                    <a:pt x="0" y="90"/>
                  </a:lnTo>
                  <a:lnTo>
                    <a:pt x="11" y="96"/>
                  </a:lnTo>
                  <a:lnTo>
                    <a:pt x="13" y="103"/>
                  </a:lnTo>
                  <a:lnTo>
                    <a:pt x="20" y="97"/>
                  </a:lnTo>
                  <a:lnTo>
                    <a:pt x="32" y="100"/>
                  </a:lnTo>
                  <a:lnTo>
                    <a:pt x="44" y="100"/>
                  </a:lnTo>
                  <a:lnTo>
                    <a:pt x="53" y="106"/>
                  </a:lnTo>
                  <a:lnTo>
                    <a:pt x="59" y="103"/>
                  </a:lnTo>
                  <a:lnTo>
                    <a:pt x="72" y="100"/>
                  </a:lnTo>
                  <a:lnTo>
                    <a:pt x="76" y="94"/>
                  </a:lnTo>
                  <a:lnTo>
                    <a:pt x="84" y="94"/>
                  </a:lnTo>
                  <a:lnTo>
                    <a:pt x="88" y="92"/>
                  </a:lnTo>
                  <a:lnTo>
                    <a:pt x="100" y="89"/>
                  </a:lnTo>
                  <a:lnTo>
                    <a:pt x="114" y="96"/>
                  </a:lnTo>
                  <a:lnTo>
                    <a:pt x="122" y="97"/>
                  </a:lnTo>
                  <a:lnTo>
                    <a:pt x="131" y="103"/>
                  </a:lnTo>
                  <a:lnTo>
                    <a:pt x="131" y="111"/>
                  </a:lnTo>
                  <a:lnTo>
                    <a:pt x="139" y="115"/>
                  </a:lnTo>
                  <a:lnTo>
                    <a:pt x="142" y="125"/>
                  </a:lnTo>
                  <a:lnTo>
                    <a:pt x="150" y="131"/>
                  </a:lnTo>
                  <a:lnTo>
                    <a:pt x="149" y="135"/>
                  </a:lnTo>
                  <a:lnTo>
                    <a:pt x="153" y="136"/>
                  </a:lnTo>
                  <a:lnTo>
                    <a:pt x="149" y="138"/>
                  </a:lnTo>
                  <a:lnTo>
                    <a:pt x="138" y="137"/>
                  </a:lnTo>
                  <a:lnTo>
                    <a:pt x="135" y="135"/>
                  </a:lnTo>
                  <a:lnTo>
                    <a:pt x="131" y="136"/>
                  </a:lnTo>
                  <a:lnTo>
                    <a:pt x="133" y="140"/>
                  </a:lnTo>
                  <a:lnTo>
                    <a:pt x="129" y="148"/>
                  </a:lnTo>
                  <a:lnTo>
                    <a:pt x="127" y="155"/>
                  </a:lnTo>
                  <a:lnTo>
                    <a:pt x="123" y="158"/>
                  </a:lnTo>
                  <a:lnTo>
                    <a:pt x="132" y="163"/>
                  </a:lnTo>
                  <a:lnTo>
                    <a:pt x="140" y="159"/>
                  </a:lnTo>
                  <a:lnTo>
                    <a:pt x="149" y="163"/>
                  </a:lnTo>
                  <a:lnTo>
                    <a:pt x="161" y="146"/>
                  </a:lnTo>
                  <a:lnTo>
                    <a:pt x="166" y="133"/>
                  </a:lnTo>
                  <a:lnTo>
                    <a:pt x="183" y="130"/>
                  </a:lnTo>
                  <a:lnTo>
                    <a:pt x="185" y="138"/>
                  </a:lnTo>
                  <a:lnTo>
                    <a:pt x="215" y="144"/>
                  </a:lnTo>
                  <a:lnTo>
                    <a:pt x="222" y="150"/>
                  </a:lnTo>
                  <a:lnTo>
                    <a:pt x="205" y="157"/>
                  </a:lnTo>
                  <a:lnTo>
                    <a:pt x="202" y="162"/>
                  </a:lnTo>
                  <a:lnTo>
                    <a:pt x="224" y="168"/>
                  </a:lnTo>
                  <a:lnTo>
                    <a:pt x="222" y="179"/>
                  </a:lnTo>
                  <a:lnTo>
                    <a:pt x="233" y="184"/>
                  </a:lnTo>
                  <a:lnTo>
                    <a:pt x="256" y="171"/>
                  </a:lnTo>
                  <a:lnTo>
                    <a:pt x="276" y="166"/>
                  </a:lnTo>
                  <a:lnTo>
                    <a:pt x="279" y="159"/>
                  </a:lnTo>
                  <a:lnTo>
                    <a:pt x="259" y="160"/>
                  </a:lnTo>
                  <a:lnTo>
                    <a:pt x="250" y="154"/>
                  </a:lnTo>
                  <a:lnTo>
                    <a:pt x="246" y="140"/>
                  </a:lnTo>
                  <a:lnTo>
                    <a:pt x="260" y="131"/>
                  </a:lnTo>
                  <a:lnTo>
                    <a:pt x="278" y="130"/>
                  </a:lnTo>
                  <a:lnTo>
                    <a:pt x="289" y="122"/>
                  </a:lnTo>
                  <a:lnTo>
                    <a:pt x="303" y="121"/>
                  </a:lnTo>
                  <a:lnTo>
                    <a:pt x="302" y="110"/>
                  </a:lnTo>
                  <a:lnTo>
                    <a:pt x="310" y="104"/>
                  </a:lnTo>
                  <a:lnTo>
                    <a:pt x="327" y="102"/>
                  </a:lnTo>
                  <a:lnTo>
                    <a:pt x="328" y="94"/>
                  </a:lnTo>
                  <a:lnTo>
                    <a:pt x="322" y="81"/>
                  </a:lnTo>
                  <a:lnTo>
                    <a:pt x="326" y="69"/>
                  </a:lnTo>
                  <a:lnTo>
                    <a:pt x="325" y="63"/>
                  </a:lnTo>
                  <a:lnTo>
                    <a:pt x="296" y="55"/>
                  </a:lnTo>
                  <a:lnTo>
                    <a:pt x="286" y="55"/>
                  </a:lnTo>
                  <a:lnTo>
                    <a:pt x="272" y="45"/>
                  </a:lnTo>
                  <a:lnTo>
                    <a:pt x="259" y="49"/>
                  </a:lnTo>
                  <a:lnTo>
                    <a:pt x="235" y="40"/>
                  </a:lnTo>
                  <a:lnTo>
                    <a:pt x="234" y="36"/>
                  </a:lnTo>
                  <a:lnTo>
                    <a:pt x="226" y="25"/>
                  </a:lnTo>
                  <a:lnTo>
                    <a:pt x="211" y="24"/>
                  </a:lnTo>
                  <a:lnTo>
                    <a:pt x="209" y="18"/>
                  </a:lnTo>
                  <a:lnTo>
                    <a:pt x="212" y="13"/>
                  </a:lnTo>
                  <a:lnTo>
                    <a:pt x="198" y="0"/>
                  </a:lnTo>
                  <a:lnTo>
                    <a:pt x="198"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Uruguay"/>
            <p:cNvSpPr>
              <a:spLocks/>
            </p:cNvSpPr>
            <p:nvPr/>
          </p:nvSpPr>
          <p:spPr bwMode="auto">
            <a:xfrm>
              <a:off x="4154487" y="5618163"/>
              <a:ext cx="161925" cy="182563"/>
            </a:xfrm>
            <a:custGeom>
              <a:avLst/>
              <a:gdLst>
                <a:gd name="T0" fmla="*/ 102 w 102"/>
                <a:gd name="T1" fmla="*/ 87 h 115"/>
                <a:gd name="T2" fmla="*/ 94 w 102"/>
                <a:gd name="T3" fmla="*/ 73 h 115"/>
                <a:gd name="T4" fmla="*/ 101 w 102"/>
                <a:gd name="T5" fmla="*/ 62 h 115"/>
                <a:gd name="T6" fmla="*/ 87 w 102"/>
                <a:gd name="T7" fmla="*/ 46 h 115"/>
                <a:gd name="T8" fmla="*/ 69 w 102"/>
                <a:gd name="T9" fmla="*/ 33 h 115"/>
                <a:gd name="T10" fmla="*/ 46 w 102"/>
                <a:gd name="T11" fmla="*/ 18 h 115"/>
                <a:gd name="T12" fmla="*/ 38 w 102"/>
                <a:gd name="T13" fmla="*/ 18 h 115"/>
                <a:gd name="T14" fmla="*/ 16 w 102"/>
                <a:gd name="T15" fmla="*/ 0 h 115"/>
                <a:gd name="T16" fmla="*/ 3 w 102"/>
                <a:gd name="T17" fmla="*/ 3 h 115"/>
                <a:gd name="T18" fmla="*/ 1 w 102"/>
                <a:gd name="T19" fmla="*/ 22 h 115"/>
                <a:gd name="T20" fmla="*/ 0 w 102"/>
                <a:gd name="T21" fmla="*/ 46 h 115"/>
                <a:gd name="T22" fmla="*/ 4 w 102"/>
                <a:gd name="T23" fmla="*/ 70 h 115"/>
                <a:gd name="T24" fmla="*/ 1 w 102"/>
                <a:gd name="T25" fmla="*/ 75 h 115"/>
                <a:gd name="T26" fmla="*/ 2 w 102"/>
                <a:gd name="T27" fmla="*/ 91 h 115"/>
                <a:gd name="T28" fmla="*/ 17 w 102"/>
                <a:gd name="T29" fmla="*/ 104 h 115"/>
                <a:gd name="T30" fmla="*/ 30 w 102"/>
                <a:gd name="T31" fmla="*/ 103 h 115"/>
                <a:gd name="T32" fmla="*/ 51 w 102"/>
                <a:gd name="T33" fmla="*/ 113 h 115"/>
                <a:gd name="T34" fmla="*/ 61 w 102"/>
                <a:gd name="T35" fmla="*/ 111 h 115"/>
                <a:gd name="T36" fmla="*/ 76 w 102"/>
                <a:gd name="T37" fmla="*/ 115 h 115"/>
                <a:gd name="T38" fmla="*/ 96 w 102"/>
                <a:gd name="T39" fmla="*/ 102 h 115"/>
                <a:gd name="T40" fmla="*/ 102 w 102"/>
                <a:gd name="T41" fmla="*/ 87 h 115"/>
                <a:gd name="T42" fmla="*/ 102 w 102"/>
                <a:gd name="T43" fmla="*/ 8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5">
                  <a:moveTo>
                    <a:pt x="102" y="87"/>
                  </a:moveTo>
                  <a:lnTo>
                    <a:pt x="94" y="73"/>
                  </a:lnTo>
                  <a:lnTo>
                    <a:pt x="101" y="62"/>
                  </a:lnTo>
                  <a:lnTo>
                    <a:pt x="87" y="46"/>
                  </a:lnTo>
                  <a:lnTo>
                    <a:pt x="69" y="33"/>
                  </a:lnTo>
                  <a:lnTo>
                    <a:pt x="46" y="18"/>
                  </a:lnTo>
                  <a:lnTo>
                    <a:pt x="38" y="18"/>
                  </a:lnTo>
                  <a:lnTo>
                    <a:pt x="16" y="0"/>
                  </a:lnTo>
                  <a:lnTo>
                    <a:pt x="3" y="3"/>
                  </a:lnTo>
                  <a:lnTo>
                    <a:pt x="1" y="22"/>
                  </a:lnTo>
                  <a:lnTo>
                    <a:pt x="0" y="46"/>
                  </a:lnTo>
                  <a:lnTo>
                    <a:pt x="4" y="70"/>
                  </a:lnTo>
                  <a:lnTo>
                    <a:pt x="1" y="75"/>
                  </a:lnTo>
                  <a:lnTo>
                    <a:pt x="2" y="91"/>
                  </a:lnTo>
                  <a:lnTo>
                    <a:pt x="17" y="104"/>
                  </a:lnTo>
                  <a:lnTo>
                    <a:pt x="30" y="103"/>
                  </a:lnTo>
                  <a:lnTo>
                    <a:pt x="51" y="113"/>
                  </a:lnTo>
                  <a:lnTo>
                    <a:pt x="61" y="111"/>
                  </a:lnTo>
                  <a:lnTo>
                    <a:pt x="76" y="115"/>
                  </a:lnTo>
                  <a:lnTo>
                    <a:pt x="96" y="102"/>
                  </a:lnTo>
                  <a:lnTo>
                    <a:pt x="102" y="87"/>
                  </a:lnTo>
                  <a:lnTo>
                    <a:pt x="102" y="8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United States of America"/>
            <p:cNvSpPr>
              <a:spLocks noEditPoints="1"/>
            </p:cNvSpPr>
            <p:nvPr/>
          </p:nvSpPr>
          <p:spPr bwMode="auto">
            <a:xfrm>
              <a:off x="790575" y="1874838"/>
              <a:ext cx="3211512" cy="1893888"/>
            </a:xfrm>
            <a:custGeom>
              <a:avLst/>
              <a:gdLst>
                <a:gd name="T0" fmla="*/ 72 w 2023"/>
                <a:gd name="T1" fmla="*/ 1162 h 1193"/>
                <a:gd name="T2" fmla="*/ 67 w 2023"/>
                <a:gd name="T3" fmla="*/ 1193 h 1193"/>
                <a:gd name="T4" fmla="*/ 57 w 2023"/>
                <a:gd name="T5" fmla="*/ 1148 h 1193"/>
                <a:gd name="T6" fmla="*/ 56 w 2023"/>
                <a:gd name="T7" fmla="*/ 1142 h 1193"/>
                <a:gd name="T8" fmla="*/ 36 w 2023"/>
                <a:gd name="T9" fmla="*/ 1137 h 1193"/>
                <a:gd name="T10" fmla="*/ 0 w 2023"/>
                <a:gd name="T11" fmla="*/ 1119 h 1193"/>
                <a:gd name="T12" fmla="*/ 1374 w 2023"/>
                <a:gd name="T13" fmla="*/ 483 h 1193"/>
                <a:gd name="T14" fmla="*/ 1023 w 2023"/>
                <a:gd name="T15" fmla="*/ 501 h 1193"/>
                <a:gd name="T16" fmla="*/ 959 w 2023"/>
                <a:gd name="T17" fmla="*/ 563 h 1193"/>
                <a:gd name="T18" fmla="*/ 876 w 2023"/>
                <a:gd name="T19" fmla="*/ 716 h 1193"/>
                <a:gd name="T20" fmla="*/ 913 w 2023"/>
                <a:gd name="T21" fmla="*/ 827 h 1193"/>
                <a:gd name="T22" fmla="*/ 992 w 2023"/>
                <a:gd name="T23" fmla="*/ 866 h 1193"/>
                <a:gd name="T24" fmla="*/ 1154 w 2023"/>
                <a:gd name="T25" fmla="*/ 897 h 1193"/>
                <a:gd name="T26" fmla="*/ 1232 w 2023"/>
                <a:gd name="T27" fmla="*/ 936 h 1193"/>
                <a:gd name="T28" fmla="*/ 1295 w 2023"/>
                <a:gd name="T29" fmla="*/ 1029 h 1193"/>
                <a:gd name="T30" fmla="*/ 1371 w 2023"/>
                <a:gd name="T31" fmla="*/ 942 h 1193"/>
                <a:gd name="T32" fmla="*/ 1476 w 2023"/>
                <a:gd name="T33" fmla="*/ 950 h 1193"/>
                <a:gd name="T34" fmla="*/ 1543 w 2023"/>
                <a:gd name="T35" fmla="*/ 921 h 1193"/>
                <a:gd name="T36" fmla="*/ 1602 w 2023"/>
                <a:gd name="T37" fmla="*/ 980 h 1193"/>
                <a:gd name="T38" fmla="*/ 1649 w 2023"/>
                <a:gd name="T39" fmla="*/ 1030 h 1193"/>
                <a:gd name="T40" fmla="*/ 1651 w 2023"/>
                <a:gd name="T41" fmla="*/ 896 h 1193"/>
                <a:gd name="T42" fmla="*/ 1770 w 2023"/>
                <a:gd name="T43" fmla="*/ 816 h 1193"/>
                <a:gd name="T44" fmla="*/ 1792 w 2023"/>
                <a:gd name="T45" fmla="*/ 722 h 1193"/>
                <a:gd name="T46" fmla="*/ 1821 w 2023"/>
                <a:gd name="T47" fmla="*/ 720 h 1193"/>
                <a:gd name="T48" fmla="*/ 1849 w 2023"/>
                <a:gd name="T49" fmla="*/ 680 h 1193"/>
                <a:gd name="T50" fmla="*/ 1893 w 2023"/>
                <a:gd name="T51" fmla="*/ 661 h 1193"/>
                <a:gd name="T52" fmla="*/ 1931 w 2023"/>
                <a:gd name="T53" fmla="*/ 649 h 1193"/>
                <a:gd name="T54" fmla="*/ 2020 w 2023"/>
                <a:gd name="T55" fmla="*/ 572 h 1193"/>
                <a:gd name="T56" fmla="*/ 1957 w 2023"/>
                <a:gd name="T57" fmla="*/ 565 h 1193"/>
                <a:gd name="T58" fmla="*/ 1840 w 2023"/>
                <a:gd name="T59" fmla="*/ 599 h 1193"/>
                <a:gd name="T60" fmla="*/ 1779 w 2023"/>
                <a:gd name="T61" fmla="*/ 625 h 1193"/>
                <a:gd name="T62" fmla="*/ 1692 w 2023"/>
                <a:gd name="T63" fmla="*/ 642 h 1193"/>
                <a:gd name="T64" fmla="*/ 1712 w 2023"/>
                <a:gd name="T65" fmla="*/ 597 h 1193"/>
                <a:gd name="T66" fmla="*/ 1692 w 2023"/>
                <a:gd name="T67" fmla="*/ 557 h 1193"/>
                <a:gd name="T68" fmla="*/ 1642 w 2023"/>
                <a:gd name="T69" fmla="*/ 606 h 1193"/>
                <a:gd name="T70" fmla="*/ 1604 w 2023"/>
                <a:gd name="T71" fmla="*/ 639 h 1193"/>
                <a:gd name="T72" fmla="*/ 1626 w 2023"/>
                <a:gd name="T73" fmla="*/ 585 h 1193"/>
                <a:gd name="T74" fmla="*/ 1715 w 2023"/>
                <a:gd name="T75" fmla="*/ 552 h 1193"/>
                <a:gd name="T76" fmla="*/ 1679 w 2023"/>
                <a:gd name="T77" fmla="*/ 537 h 1193"/>
                <a:gd name="T78" fmla="*/ 1590 w 2023"/>
                <a:gd name="T79" fmla="*/ 531 h 1193"/>
                <a:gd name="T80" fmla="*/ 1608 w 2023"/>
                <a:gd name="T81" fmla="*/ 500 h 1193"/>
                <a:gd name="T82" fmla="*/ 649 w 2023"/>
                <a:gd name="T83" fmla="*/ 299 h 1193"/>
                <a:gd name="T84" fmla="*/ 649 w 2023"/>
                <a:gd name="T85" fmla="*/ 299 h 1193"/>
                <a:gd name="T86" fmla="*/ 505 w 2023"/>
                <a:gd name="T87" fmla="*/ 237 h 1193"/>
                <a:gd name="T88" fmla="*/ 545 w 2023"/>
                <a:gd name="T89" fmla="*/ 164 h 1193"/>
                <a:gd name="T90" fmla="*/ 921 w 2023"/>
                <a:gd name="T91" fmla="*/ 10 h 1193"/>
                <a:gd name="T92" fmla="*/ 719 w 2023"/>
                <a:gd name="T93" fmla="*/ 60 h 1193"/>
                <a:gd name="T94" fmla="*/ 704 w 2023"/>
                <a:gd name="T95" fmla="*/ 96 h 1193"/>
                <a:gd name="T96" fmla="*/ 680 w 2023"/>
                <a:gd name="T97" fmla="*/ 137 h 1193"/>
                <a:gd name="T98" fmla="*/ 630 w 2023"/>
                <a:gd name="T99" fmla="*/ 169 h 1193"/>
                <a:gd name="T100" fmla="*/ 529 w 2023"/>
                <a:gd name="T101" fmla="*/ 230 h 1193"/>
                <a:gd name="T102" fmla="*/ 565 w 2023"/>
                <a:gd name="T103" fmla="*/ 266 h 1193"/>
                <a:gd name="T104" fmla="*/ 557 w 2023"/>
                <a:gd name="T105" fmla="*/ 296 h 1193"/>
                <a:gd name="T106" fmla="*/ 380 w 2023"/>
                <a:gd name="T107" fmla="*/ 359 h 1193"/>
                <a:gd name="T108" fmla="*/ 585 w 2023"/>
                <a:gd name="T109" fmla="*/ 302 h 1193"/>
                <a:gd name="T110" fmla="*/ 789 w 2023"/>
                <a:gd name="T111" fmla="*/ 207 h 1193"/>
                <a:gd name="T112" fmla="*/ 801 w 2023"/>
                <a:gd name="T113" fmla="*/ 236 h 1193"/>
                <a:gd name="T114" fmla="*/ 940 w 2023"/>
                <a:gd name="T115" fmla="*/ 268 h 1193"/>
                <a:gd name="T116" fmla="*/ 990 w 2023"/>
                <a:gd name="T117" fmla="*/ 350 h 1193"/>
                <a:gd name="T118" fmla="*/ 1005 w 2023"/>
                <a:gd name="T119" fmla="*/ 251 h 1193"/>
                <a:gd name="T120" fmla="*/ 1058 w 2023"/>
                <a:gd name="T121" fmla="*/ 107 h 1193"/>
                <a:gd name="T122" fmla="*/ 1061 w 2023"/>
                <a:gd name="T123" fmla="*/ 22 h 1193"/>
                <a:gd name="T124" fmla="*/ 975 w 2023"/>
                <a:gd name="T125" fmla="*/ 4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3" h="1193">
                  <a:moveTo>
                    <a:pt x="71" y="1190"/>
                  </a:moveTo>
                  <a:lnTo>
                    <a:pt x="78" y="1186"/>
                  </a:lnTo>
                  <a:lnTo>
                    <a:pt x="87" y="1181"/>
                  </a:lnTo>
                  <a:lnTo>
                    <a:pt x="88" y="1179"/>
                  </a:lnTo>
                  <a:lnTo>
                    <a:pt x="85" y="1171"/>
                  </a:lnTo>
                  <a:lnTo>
                    <a:pt x="82" y="1168"/>
                  </a:lnTo>
                  <a:lnTo>
                    <a:pt x="79" y="1166"/>
                  </a:lnTo>
                  <a:lnTo>
                    <a:pt x="72" y="1162"/>
                  </a:lnTo>
                  <a:lnTo>
                    <a:pt x="71" y="1162"/>
                  </a:lnTo>
                  <a:lnTo>
                    <a:pt x="69" y="1163"/>
                  </a:lnTo>
                  <a:lnTo>
                    <a:pt x="69" y="1168"/>
                  </a:lnTo>
                  <a:lnTo>
                    <a:pt x="64" y="1172"/>
                  </a:lnTo>
                  <a:lnTo>
                    <a:pt x="63" y="1175"/>
                  </a:lnTo>
                  <a:lnTo>
                    <a:pt x="64" y="1183"/>
                  </a:lnTo>
                  <a:lnTo>
                    <a:pt x="62" y="1190"/>
                  </a:lnTo>
                  <a:lnTo>
                    <a:pt x="67" y="1193"/>
                  </a:lnTo>
                  <a:lnTo>
                    <a:pt x="71" y="1190"/>
                  </a:lnTo>
                  <a:lnTo>
                    <a:pt x="71" y="1190"/>
                  </a:lnTo>
                  <a:close/>
                  <a:moveTo>
                    <a:pt x="68" y="1152"/>
                  </a:moveTo>
                  <a:lnTo>
                    <a:pt x="71" y="1149"/>
                  </a:lnTo>
                  <a:lnTo>
                    <a:pt x="66" y="1146"/>
                  </a:lnTo>
                  <a:lnTo>
                    <a:pt x="59" y="1144"/>
                  </a:lnTo>
                  <a:lnTo>
                    <a:pt x="57" y="1146"/>
                  </a:lnTo>
                  <a:lnTo>
                    <a:pt x="57" y="1148"/>
                  </a:lnTo>
                  <a:lnTo>
                    <a:pt x="59" y="1149"/>
                  </a:lnTo>
                  <a:lnTo>
                    <a:pt x="60" y="1154"/>
                  </a:lnTo>
                  <a:lnTo>
                    <a:pt x="68" y="1152"/>
                  </a:lnTo>
                  <a:lnTo>
                    <a:pt x="68" y="1152"/>
                  </a:lnTo>
                  <a:close/>
                  <a:moveTo>
                    <a:pt x="57" y="1140"/>
                  </a:moveTo>
                  <a:lnTo>
                    <a:pt x="47" y="1139"/>
                  </a:lnTo>
                  <a:lnTo>
                    <a:pt x="45" y="1142"/>
                  </a:lnTo>
                  <a:lnTo>
                    <a:pt x="56" y="1142"/>
                  </a:lnTo>
                  <a:lnTo>
                    <a:pt x="57" y="1140"/>
                  </a:lnTo>
                  <a:close/>
                  <a:moveTo>
                    <a:pt x="40" y="1136"/>
                  </a:moveTo>
                  <a:lnTo>
                    <a:pt x="35" y="1129"/>
                  </a:lnTo>
                  <a:lnTo>
                    <a:pt x="34" y="1127"/>
                  </a:lnTo>
                  <a:lnTo>
                    <a:pt x="28" y="1131"/>
                  </a:lnTo>
                  <a:lnTo>
                    <a:pt x="29" y="1131"/>
                  </a:lnTo>
                  <a:lnTo>
                    <a:pt x="30" y="1136"/>
                  </a:lnTo>
                  <a:lnTo>
                    <a:pt x="36" y="1137"/>
                  </a:lnTo>
                  <a:lnTo>
                    <a:pt x="38" y="1138"/>
                  </a:lnTo>
                  <a:lnTo>
                    <a:pt x="40" y="1136"/>
                  </a:lnTo>
                  <a:lnTo>
                    <a:pt x="40" y="1136"/>
                  </a:lnTo>
                  <a:close/>
                  <a:moveTo>
                    <a:pt x="8" y="1120"/>
                  </a:moveTo>
                  <a:lnTo>
                    <a:pt x="10" y="1115"/>
                  </a:lnTo>
                  <a:lnTo>
                    <a:pt x="4" y="1115"/>
                  </a:lnTo>
                  <a:lnTo>
                    <a:pt x="1" y="1117"/>
                  </a:lnTo>
                  <a:lnTo>
                    <a:pt x="0" y="1119"/>
                  </a:lnTo>
                  <a:lnTo>
                    <a:pt x="5" y="1123"/>
                  </a:lnTo>
                  <a:lnTo>
                    <a:pt x="8" y="1120"/>
                  </a:lnTo>
                  <a:close/>
                  <a:moveTo>
                    <a:pt x="1548" y="473"/>
                  </a:moveTo>
                  <a:lnTo>
                    <a:pt x="1541" y="473"/>
                  </a:lnTo>
                  <a:lnTo>
                    <a:pt x="1536" y="483"/>
                  </a:lnTo>
                  <a:lnTo>
                    <a:pt x="1499" y="483"/>
                  </a:lnTo>
                  <a:lnTo>
                    <a:pt x="1437" y="483"/>
                  </a:lnTo>
                  <a:lnTo>
                    <a:pt x="1374" y="483"/>
                  </a:lnTo>
                  <a:lnTo>
                    <a:pt x="1319" y="483"/>
                  </a:lnTo>
                  <a:lnTo>
                    <a:pt x="1264" y="483"/>
                  </a:lnTo>
                  <a:lnTo>
                    <a:pt x="1210" y="483"/>
                  </a:lnTo>
                  <a:lnTo>
                    <a:pt x="1154" y="483"/>
                  </a:lnTo>
                  <a:lnTo>
                    <a:pt x="1136" y="483"/>
                  </a:lnTo>
                  <a:lnTo>
                    <a:pt x="1081" y="483"/>
                  </a:lnTo>
                  <a:lnTo>
                    <a:pt x="1030" y="483"/>
                  </a:lnTo>
                  <a:lnTo>
                    <a:pt x="1023" y="501"/>
                  </a:lnTo>
                  <a:lnTo>
                    <a:pt x="1015" y="521"/>
                  </a:lnTo>
                  <a:lnTo>
                    <a:pt x="1005" y="527"/>
                  </a:lnTo>
                  <a:lnTo>
                    <a:pt x="1010" y="505"/>
                  </a:lnTo>
                  <a:lnTo>
                    <a:pt x="988" y="497"/>
                  </a:lnTo>
                  <a:lnTo>
                    <a:pt x="983" y="501"/>
                  </a:lnTo>
                  <a:lnTo>
                    <a:pt x="981" y="513"/>
                  </a:lnTo>
                  <a:lnTo>
                    <a:pt x="974" y="532"/>
                  </a:lnTo>
                  <a:lnTo>
                    <a:pt x="959" y="563"/>
                  </a:lnTo>
                  <a:lnTo>
                    <a:pt x="944" y="585"/>
                  </a:lnTo>
                  <a:lnTo>
                    <a:pt x="929" y="605"/>
                  </a:lnTo>
                  <a:lnTo>
                    <a:pt x="909" y="627"/>
                  </a:lnTo>
                  <a:lnTo>
                    <a:pt x="904" y="644"/>
                  </a:lnTo>
                  <a:lnTo>
                    <a:pt x="894" y="664"/>
                  </a:lnTo>
                  <a:lnTo>
                    <a:pt x="880" y="683"/>
                  </a:lnTo>
                  <a:lnTo>
                    <a:pt x="884" y="697"/>
                  </a:lnTo>
                  <a:lnTo>
                    <a:pt x="876" y="716"/>
                  </a:lnTo>
                  <a:lnTo>
                    <a:pt x="882" y="736"/>
                  </a:lnTo>
                  <a:lnTo>
                    <a:pt x="887" y="744"/>
                  </a:lnTo>
                  <a:lnTo>
                    <a:pt x="884" y="750"/>
                  </a:lnTo>
                  <a:lnTo>
                    <a:pt x="886" y="783"/>
                  </a:lnTo>
                  <a:lnTo>
                    <a:pt x="895" y="808"/>
                  </a:lnTo>
                  <a:lnTo>
                    <a:pt x="891" y="821"/>
                  </a:lnTo>
                  <a:lnTo>
                    <a:pt x="895" y="824"/>
                  </a:lnTo>
                  <a:lnTo>
                    <a:pt x="913" y="827"/>
                  </a:lnTo>
                  <a:lnTo>
                    <a:pt x="917" y="834"/>
                  </a:lnTo>
                  <a:lnTo>
                    <a:pt x="928" y="835"/>
                  </a:lnTo>
                  <a:lnTo>
                    <a:pt x="928" y="841"/>
                  </a:lnTo>
                  <a:lnTo>
                    <a:pt x="936" y="844"/>
                  </a:lnTo>
                  <a:lnTo>
                    <a:pt x="944" y="858"/>
                  </a:lnTo>
                  <a:lnTo>
                    <a:pt x="943" y="870"/>
                  </a:lnTo>
                  <a:lnTo>
                    <a:pt x="966" y="868"/>
                  </a:lnTo>
                  <a:lnTo>
                    <a:pt x="992" y="866"/>
                  </a:lnTo>
                  <a:lnTo>
                    <a:pt x="988" y="870"/>
                  </a:lnTo>
                  <a:lnTo>
                    <a:pt x="1015" y="882"/>
                  </a:lnTo>
                  <a:lnTo>
                    <a:pt x="1055" y="898"/>
                  </a:lnTo>
                  <a:lnTo>
                    <a:pt x="1095" y="898"/>
                  </a:lnTo>
                  <a:lnTo>
                    <a:pt x="1111" y="898"/>
                  </a:lnTo>
                  <a:lnTo>
                    <a:pt x="1114" y="889"/>
                  </a:lnTo>
                  <a:lnTo>
                    <a:pt x="1149" y="889"/>
                  </a:lnTo>
                  <a:lnTo>
                    <a:pt x="1154" y="897"/>
                  </a:lnTo>
                  <a:lnTo>
                    <a:pt x="1161" y="905"/>
                  </a:lnTo>
                  <a:lnTo>
                    <a:pt x="1170" y="915"/>
                  </a:lnTo>
                  <a:lnTo>
                    <a:pt x="1173" y="927"/>
                  </a:lnTo>
                  <a:lnTo>
                    <a:pt x="1175" y="940"/>
                  </a:lnTo>
                  <a:lnTo>
                    <a:pt x="1183" y="948"/>
                  </a:lnTo>
                  <a:lnTo>
                    <a:pt x="1198" y="954"/>
                  </a:lnTo>
                  <a:lnTo>
                    <a:pt x="1216" y="936"/>
                  </a:lnTo>
                  <a:lnTo>
                    <a:pt x="1232" y="936"/>
                  </a:lnTo>
                  <a:lnTo>
                    <a:pt x="1244" y="945"/>
                  </a:lnTo>
                  <a:lnTo>
                    <a:pt x="1250" y="961"/>
                  </a:lnTo>
                  <a:lnTo>
                    <a:pt x="1254" y="975"/>
                  </a:lnTo>
                  <a:lnTo>
                    <a:pt x="1263" y="989"/>
                  </a:lnTo>
                  <a:lnTo>
                    <a:pt x="1263" y="1006"/>
                  </a:lnTo>
                  <a:lnTo>
                    <a:pt x="1267" y="1017"/>
                  </a:lnTo>
                  <a:lnTo>
                    <a:pt x="1281" y="1024"/>
                  </a:lnTo>
                  <a:lnTo>
                    <a:pt x="1295" y="1029"/>
                  </a:lnTo>
                  <a:lnTo>
                    <a:pt x="1302" y="1028"/>
                  </a:lnTo>
                  <a:lnTo>
                    <a:pt x="1300" y="1021"/>
                  </a:lnTo>
                  <a:lnTo>
                    <a:pt x="1301" y="1008"/>
                  </a:lnTo>
                  <a:lnTo>
                    <a:pt x="1305" y="993"/>
                  </a:lnTo>
                  <a:lnTo>
                    <a:pt x="1312" y="981"/>
                  </a:lnTo>
                  <a:lnTo>
                    <a:pt x="1326" y="970"/>
                  </a:lnTo>
                  <a:lnTo>
                    <a:pt x="1349" y="960"/>
                  </a:lnTo>
                  <a:lnTo>
                    <a:pt x="1371" y="942"/>
                  </a:lnTo>
                  <a:lnTo>
                    <a:pt x="1390" y="937"/>
                  </a:lnTo>
                  <a:lnTo>
                    <a:pt x="1403" y="936"/>
                  </a:lnTo>
                  <a:lnTo>
                    <a:pt x="1416" y="940"/>
                  </a:lnTo>
                  <a:lnTo>
                    <a:pt x="1434" y="937"/>
                  </a:lnTo>
                  <a:lnTo>
                    <a:pt x="1446" y="951"/>
                  </a:lnTo>
                  <a:lnTo>
                    <a:pt x="1461" y="951"/>
                  </a:lnTo>
                  <a:lnTo>
                    <a:pt x="1469" y="947"/>
                  </a:lnTo>
                  <a:lnTo>
                    <a:pt x="1476" y="950"/>
                  </a:lnTo>
                  <a:lnTo>
                    <a:pt x="1480" y="947"/>
                  </a:lnTo>
                  <a:lnTo>
                    <a:pt x="1478" y="942"/>
                  </a:lnTo>
                  <a:lnTo>
                    <a:pt x="1480" y="933"/>
                  </a:lnTo>
                  <a:lnTo>
                    <a:pt x="1478" y="926"/>
                  </a:lnTo>
                  <a:lnTo>
                    <a:pt x="1487" y="922"/>
                  </a:lnTo>
                  <a:lnTo>
                    <a:pt x="1503" y="922"/>
                  </a:lnTo>
                  <a:lnTo>
                    <a:pt x="1521" y="923"/>
                  </a:lnTo>
                  <a:lnTo>
                    <a:pt x="1543" y="921"/>
                  </a:lnTo>
                  <a:lnTo>
                    <a:pt x="1554" y="926"/>
                  </a:lnTo>
                  <a:lnTo>
                    <a:pt x="1562" y="937"/>
                  </a:lnTo>
                  <a:lnTo>
                    <a:pt x="1565" y="938"/>
                  </a:lnTo>
                  <a:lnTo>
                    <a:pt x="1588" y="928"/>
                  </a:lnTo>
                  <a:lnTo>
                    <a:pt x="1595" y="932"/>
                  </a:lnTo>
                  <a:lnTo>
                    <a:pt x="1607" y="951"/>
                  </a:lnTo>
                  <a:lnTo>
                    <a:pt x="1609" y="965"/>
                  </a:lnTo>
                  <a:lnTo>
                    <a:pt x="1602" y="980"/>
                  </a:lnTo>
                  <a:lnTo>
                    <a:pt x="1604" y="990"/>
                  </a:lnTo>
                  <a:lnTo>
                    <a:pt x="1609" y="1007"/>
                  </a:lnTo>
                  <a:lnTo>
                    <a:pt x="1617" y="1028"/>
                  </a:lnTo>
                  <a:lnTo>
                    <a:pt x="1623" y="1034"/>
                  </a:lnTo>
                  <a:lnTo>
                    <a:pt x="1625" y="1044"/>
                  </a:lnTo>
                  <a:lnTo>
                    <a:pt x="1635" y="1047"/>
                  </a:lnTo>
                  <a:lnTo>
                    <a:pt x="1641" y="1044"/>
                  </a:lnTo>
                  <a:lnTo>
                    <a:pt x="1649" y="1030"/>
                  </a:lnTo>
                  <a:lnTo>
                    <a:pt x="1651" y="1021"/>
                  </a:lnTo>
                  <a:lnTo>
                    <a:pt x="1655" y="1004"/>
                  </a:lnTo>
                  <a:lnTo>
                    <a:pt x="1650" y="977"/>
                  </a:lnTo>
                  <a:lnTo>
                    <a:pt x="1652" y="966"/>
                  </a:lnTo>
                  <a:lnTo>
                    <a:pt x="1647" y="950"/>
                  </a:lnTo>
                  <a:lnTo>
                    <a:pt x="1644" y="929"/>
                  </a:lnTo>
                  <a:lnTo>
                    <a:pt x="1644" y="913"/>
                  </a:lnTo>
                  <a:lnTo>
                    <a:pt x="1651" y="896"/>
                  </a:lnTo>
                  <a:lnTo>
                    <a:pt x="1664" y="882"/>
                  </a:lnTo>
                  <a:lnTo>
                    <a:pt x="1677" y="871"/>
                  </a:lnTo>
                  <a:lnTo>
                    <a:pt x="1704" y="855"/>
                  </a:lnTo>
                  <a:lnTo>
                    <a:pt x="1708" y="847"/>
                  </a:lnTo>
                  <a:lnTo>
                    <a:pt x="1720" y="838"/>
                  </a:lnTo>
                  <a:lnTo>
                    <a:pt x="1732" y="838"/>
                  </a:lnTo>
                  <a:lnTo>
                    <a:pt x="1747" y="823"/>
                  </a:lnTo>
                  <a:lnTo>
                    <a:pt x="1770" y="816"/>
                  </a:lnTo>
                  <a:lnTo>
                    <a:pt x="1788" y="798"/>
                  </a:lnTo>
                  <a:lnTo>
                    <a:pt x="1790" y="774"/>
                  </a:lnTo>
                  <a:lnTo>
                    <a:pt x="1791" y="766"/>
                  </a:lnTo>
                  <a:lnTo>
                    <a:pt x="1786" y="764"/>
                  </a:lnTo>
                  <a:lnTo>
                    <a:pt x="1791" y="740"/>
                  </a:lnTo>
                  <a:lnTo>
                    <a:pt x="1780" y="733"/>
                  </a:lnTo>
                  <a:lnTo>
                    <a:pt x="1792" y="737"/>
                  </a:lnTo>
                  <a:lnTo>
                    <a:pt x="1792" y="722"/>
                  </a:lnTo>
                  <a:lnTo>
                    <a:pt x="1799" y="711"/>
                  </a:lnTo>
                  <a:lnTo>
                    <a:pt x="1795" y="731"/>
                  </a:lnTo>
                  <a:lnTo>
                    <a:pt x="1803" y="740"/>
                  </a:lnTo>
                  <a:lnTo>
                    <a:pt x="1792" y="757"/>
                  </a:lnTo>
                  <a:lnTo>
                    <a:pt x="1793" y="757"/>
                  </a:lnTo>
                  <a:lnTo>
                    <a:pt x="1810" y="739"/>
                  </a:lnTo>
                  <a:lnTo>
                    <a:pt x="1819" y="729"/>
                  </a:lnTo>
                  <a:lnTo>
                    <a:pt x="1821" y="720"/>
                  </a:lnTo>
                  <a:lnTo>
                    <a:pt x="1818" y="716"/>
                  </a:lnTo>
                  <a:lnTo>
                    <a:pt x="1818" y="703"/>
                  </a:lnTo>
                  <a:lnTo>
                    <a:pt x="1822" y="709"/>
                  </a:lnTo>
                  <a:lnTo>
                    <a:pt x="1826" y="711"/>
                  </a:lnTo>
                  <a:lnTo>
                    <a:pt x="1826" y="716"/>
                  </a:lnTo>
                  <a:lnTo>
                    <a:pt x="1846" y="697"/>
                  </a:lnTo>
                  <a:lnTo>
                    <a:pt x="1855" y="681"/>
                  </a:lnTo>
                  <a:lnTo>
                    <a:pt x="1849" y="680"/>
                  </a:lnTo>
                  <a:lnTo>
                    <a:pt x="1857" y="673"/>
                  </a:lnTo>
                  <a:lnTo>
                    <a:pt x="1856" y="676"/>
                  </a:lnTo>
                  <a:lnTo>
                    <a:pt x="1868" y="676"/>
                  </a:lnTo>
                  <a:lnTo>
                    <a:pt x="1897" y="669"/>
                  </a:lnTo>
                  <a:lnTo>
                    <a:pt x="1893" y="665"/>
                  </a:lnTo>
                  <a:lnTo>
                    <a:pt x="1863" y="669"/>
                  </a:lnTo>
                  <a:lnTo>
                    <a:pt x="1881" y="662"/>
                  </a:lnTo>
                  <a:lnTo>
                    <a:pt x="1893" y="661"/>
                  </a:lnTo>
                  <a:lnTo>
                    <a:pt x="1902" y="660"/>
                  </a:lnTo>
                  <a:lnTo>
                    <a:pt x="1917" y="656"/>
                  </a:lnTo>
                  <a:lnTo>
                    <a:pt x="1926" y="656"/>
                  </a:lnTo>
                  <a:lnTo>
                    <a:pt x="1941" y="653"/>
                  </a:lnTo>
                  <a:lnTo>
                    <a:pt x="1945" y="646"/>
                  </a:lnTo>
                  <a:lnTo>
                    <a:pt x="1940" y="641"/>
                  </a:lnTo>
                  <a:lnTo>
                    <a:pt x="1939" y="649"/>
                  </a:lnTo>
                  <a:lnTo>
                    <a:pt x="1931" y="649"/>
                  </a:lnTo>
                  <a:lnTo>
                    <a:pt x="1930" y="637"/>
                  </a:lnTo>
                  <a:lnTo>
                    <a:pt x="1933" y="625"/>
                  </a:lnTo>
                  <a:lnTo>
                    <a:pt x="1939" y="619"/>
                  </a:lnTo>
                  <a:lnTo>
                    <a:pt x="1953" y="606"/>
                  </a:lnTo>
                  <a:lnTo>
                    <a:pt x="1975" y="599"/>
                  </a:lnTo>
                  <a:lnTo>
                    <a:pt x="1998" y="591"/>
                  </a:lnTo>
                  <a:lnTo>
                    <a:pt x="2021" y="580"/>
                  </a:lnTo>
                  <a:lnTo>
                    <a:pt x="2020" y="572"/>
                  </a:lnTo>
                  <a:lnTo>
                    <a:pt x="2013" y="559"/>
                  </a:lnTo>
                  <a:lnTo>
                    <a:pt x="2023" y="528"/>
                  </a:lnTo>
                  <a:lnTo>
                    <a:pt x="2017" y="521"/>
                  </a:lnTo>
                  <a:lnTo>
                    <a:pt x="2003" y="525"/>
                  </a:lnTo>
                  <a:lnTo>
                    <a:pt x="2000" y="518"/>
                  </a:lnTo>
                  <a:lnTo>
                    <a:pt x="1979" y="536"/>
                  </a:lnTo>
                  <a:lnTo>
                    <a:pt x="1967" y="555"/>
                  </a:lnTo>
                  <a:lnTo>
                    <a:pt x="1957" y="565"/>
                  </a:lnTo>
                  <a:lnTo>
                    <a:pt x="1947" y="569"/>
                  </a:lnTo>
                  <a:lnTo>
                    <a:pt x="1941" y="570"/>
                  </a:lnTo>
                  <a:lnTo>
                    <a:pt x="1937" y="575"/>
                  </a:lnTo>
                  <a:lnTo>
                    <a:pt x="1902" y="575"/>
                  </a:lnTo>
                  <a:lnTo>
                    <a:pt x="1874" y="575"/>
                  </a:lnTo>
                  <a:lnTo>
                    <a:pt x="1864" y="580"/>
                  </a:lnTo>
                  <a:lnTo>
                    <a:pt x="1839" y="596"/>
                  </a:lnTo>
                  <a:lnTo>
                    <a:pt x="1840" y="599"/>
                  </a:lnTo>
                  <a:lnTo>
                    <a:pt x="1837" y="608"/>
                  </a:lnTo>
                  <a:lnTo>
                    <a:pt x="1820" y="615"/>
                  </a:lnTo>
                  <a:lnTo>
                    <a:pt x="1805" y="613"/>
                  </a:lnTo>
                  <a:lnTo>
                    <a:pt x="1790" y="613"/>
                  </a:lnTo>
                  <a:lnTo>
                    <a:pt x="1781" y="615"/>
                  </a:lnTo>
                  <a:lnTo>
                    <a:pt x="1780" y="622"/>
                  </a:lnTo>
                  <a:lnTo>
                    <a:pt x="1780" y="622"/>
                  </a:lnTo>
                  <a:lnTo>
                    <a:pt x="1779" y="625"/>
                  </a:lnTo>
                  <a:lnTo>
                    <a:pt x="1758" y="638"/>
                  </a:lnTo>
                  <a:lnTo>
                    <a:pt x="1741" y="645"/>
                  </a:lnTo>
                  <a:lnTo>
                    <a:pt x="1730" y="648"/>
                  </a:lnTo>
                  <a:lnTo>
                    <a:pt x="1717" y="655"/>
                  </a:lnTo>
                  <a:lnTo>
                    <a:pt x="1702" y="657"/>
                  </a:lnTo>
                  <a:lnTo>
                    <a:pt x="1692" y="656"/>
                  </a:lnTo>
                  <a:lnTo>
                    <a:pt x="1682" y="652"/>
                  </a:lnTo>
                  <a:lnTo>
                    <a:pt x="1692" y="642"/>
                  </a:lnTo>
                  <a:lnTo>
                    <a:pt x="1692" y="642"/>
                  </a:lnTo>
                  <a:lnTo>
                    <a:pt x="1700" y="634"/>
                  </a:lnTo>
                  <a:lnTo>
                    <a:pt x="1713" y="622"/>
                  </a:lnTo>
                  <a:lnTo>
                    <a:pt x="1713" y="622"/>
                  </a:lnTo>
                  <a:lnTo>
                    <a:pt x="1713" y="622"/>
                  </a:lnTo>
                  <a:lnTo>
                    <a:pt x="1716" y="613"/>
                  </a:lnTo>
                  <a:lnTo>
                    <a:pt x="1718" y="599"/>
                  </a:lnTo>
                  <a:lnTo>
                    <a:pt x="1712" y="597"/>
                  </a:lnTo>
                  <a:lnTo>
                    <a:pt x="1696" y="607"/>
                  </a:lnTo>
                  <a:lnTo>
                    <a:pt x="1692" y="607"/>
                  </a:lnTo>
                  <a:lnTo>
                    <a:pt x="1693" y="601"/>
                  </a:lnTo>
                  <a:lnTo>
                    <a:pt x="1707" y="592"/>
                  </a:lnTo>
                  <a:lnTo>
                    <a:pt x="1714" y="582"/>
                  </a:lnTo>
                  <a:lnTo>
                    <a:pt x="1717" y="571"/>
                  </a:lnTo>
                  <a:lnTo>
                    <a:pt x="1706" y="562"/>
                  </a:lnTo>
                  <a:lnTo>
                    <a:pt x="1692" y="557"/>
                  </a:lnTo>
                  <a:lnTo>
                    <a:pt x="1686" y="566"/>
                  </a:lnTo>
                  <a:lnTo>
                    <a:pt x="1681" y="569"/>
                  </a:lnTo>
                  <a:lnTo>
                    <a:pt x="1673" y="580"/>
                  </a:lnTo>
                  <a:lnTo>
                    <a:pt x="1674" y="572"/>
                  </a:lnTo>
                  <a:lnTo>
                    <a:pt x="1664" y="578"/>
                  </a:lnTo>
                  <a:lnTo>
                    <a:pt x="1657" y="585"/>
                  </a:lnTo>
                  <a:lnTo>
                    <a:pt x="1647" y="597"/>
                  </a:lnTo>
                  <a:lnTo>
                    <a:pt x="1642" y="606"/>
                  </a:lnTo>
                  <a:lnTo>
                    <a:pt x="1642" y="621"/>
                  </a:lnTo>
                  <a:lnTo>
                    <a:pt x="1635" y="636"/>
                  </a:lnTo>
                  <a:lnTo>
                    <a:pt x="1623" y="647"/>
                  </a:lnTo>
                  <a:lnTo>
                    <a:pt x="1618" y="650"/>
                  </a:lnTo>
                  <a:lnTo>
                    <a:pt x="1612" y="653"/>
                  </a:lnTo>
                  <a:lnTo>
                    <a:pt x="1606" y="653"/>
                  </a:lnTo>
                  <a:lnTo>
                    <a:pt x="1605" y="651"/>
                  </a:lnTo>
                  <a:lnTo>
                    <a:pt x="1604" y="639"/>
                  </a:lnTo>
                  <a:lnTo>
                    <a:pt x="1607" y="633"/>
                  </a:lnTo>
                  <a:lnTo>
                    <a:pt x="1609" y="627"/>
                  </a:lnTo>
                  <a:lnTo>
                    <a:pt x="1611" y="616"/>
                  </a:lnTo>
                  <a:lnTo>
                    <a:pt x="1621" y="603"/>
                  </a:lnTo>
                  <a:lnTo>
                    <a:pt x="1632" y="587"/>
                  </a:lnTo>
                  <a:lnTo>
                    <a:pt x="1649" y="570"/>
                  </a:lnTo>
                  <a:lnTo>
                    <a:pt x="1646" y="570"/>
                  </a:lnTo>
                  <a:lnTo>
                    <a:pt x="1626" y="585"/>
                  </a:lnTo>
                  <a:lnTo>
                    <a:pt x="1624" y="582"/>
                  </a:lnTo>
                  <a:lnTo>
                    <a:pt x="1635" y="573"/>
                  </a:lnTo>
                  <a:lnTo>
                    <a:pt x="1653" y="558"/>
                  </a:lnTo>
                  <a:lnTo>
                    <a:pt x="1666" y="556"/>
                  </a:lnTo>
                  <a:lnTo>
                    <a:pt x="1683" y="552"/>
                  </a:lnTo>
                  <a:lnTo>
                    <a:pt x="1697" y="554"/>
                  </a:lnTo>
                  <a:lnTo>
                    <a:pt x="1697" y="554"/>
                  </a:lnTo>
                  <a:lnTo>
                    <a:pt x="1715" y="552"/>
                  </a:lnTo>
                  <a:lnTo>
                    <a:pt x="1709" y="542"/>
                  </a:lnTo>
                  <a:lnTo>
                    <a:pt x="1709" y="542"/>
                  </a:lnTo>
                  <a:lnTo>
                    <a:pt x="1705" y="542"/>
                  </a:lnTo>
                  <a:lnTo>
                    <a:pt x="1705" y="542"/>
                  </a:lnTo>
                  <a:lnTo>
                    <a:pt x="1705" y="542"/>
                  </a:lnTo>
                  <a:lnTo>
                    <a:pt x="1700" y="541"/>
                  </a:lnTo>
                  <a:lnTo>
                    <a:pt x="1698" y="535"/>
                  </a:lnTo>
                  <a:lnTo>
                    <a:pt x="1679" y="537"/>
                  </a:lnTo>
                  <a:lnTo>
                    <a:pt x="1661" y="542"/>
                  </a:lnTo>
                  <a:lnTo>
                    <a:pt x="1651" y="533"/>
                  </a:lnTo>
                  <a:lnTo>
                    <a:pt x="1642" y="530"/>
                  </a:lnTo>
                  <a:lnTo>
                    <a:pt x="1653" y="518"/>
                  </a:lnTo>
                  <a:lnTo>
                    <a:pt x="1634" y="526"/>
                  </a:lnTo>
                  <a:lnTo>
                    <a:pt x="1615" y="533"/>
                  </a:lnTo>
                  <a:lnTo>
                    <a:pt x="1598" y="539"/>
                  </a:lnTo>
                  <a:lnTo>
                    <a:pt x="1590" y="531"/>
                  </a:lnTo>
                  <a:lnTo>
                    <a:pt x="1569" y="536"/>
                  </a:lnTo>
                  <a:lnTo>
                    <a:pt x="1571" y="532"/>
                  </a:lnTo>
                  <a:lnTo>
                    <a:pt x="1588" y="523"/>
                  </a:lnTo>
                  <a:lnTo>
                    <a:pt x="1606" y="514"/>
                  </a:lnTo>
                  <a:lnTo>
                    <a:pt x="1628" y="505"/>
                  </a:lnTo>
                  <a:lnTo>
                    <a:pt x="1628" y="505"/>
                  </a:lnTo>
                  <a:lnTo>
                    <a:pt x="1628" y="505"/>
                  </a:lnTo>
                  <a:lnTo>
                    <a:pt x="1608" y="500"/>
                  </a:lnTo>
                  <a:lnTo>
                    <a:pt x="1592" y="502"/>
                  </a:lnTo>
                  <a:lnTo>
                    <a:pt x="1578" y="496"/>
                  </a:lnTo>
                  <a:lnTo>
                    <a:pt x="1560" y="492"/>
                  </a:lnTo>
                  <a:lnTo>
                    <a:pt x="1549" y="490"/>
                  </a:lnTo>
                  <a:lnTo>
                    <a:pt x="1545" y="486"/>
                  </a:lnTo>
                  <a:lnTo>
                    <a:pt x="1548" y="473"/>
                  </a:lnTo>
                  <a:lnTo>
                    <a:pt x="1548" y="473"/>
                  </a:lnTo>
                  <a:close/>
                  <a:moveTo>
                    <a:pt x="649" y="299"/>
                  </a:moveTo>
                  <a:lnTo>
                    <a:pt x="675" y="289"/>
                  </a:lnTo>
                  <a:lnTo>
                    <a:pt x="675" y="281"/>
                  </a:lnTo>
                  <a:lnTo>
                    <a:pt x="665" y="280"/>
                  </a:lnTo>
                  <a:lnTo>
                    <a:pt x="652" y="283"/>
                  </a:lnTo>
                  <a:lnTo>
                    <a:pt x="628" y="291"/>
                  </a:lnTo>
                  <a:lnTo>
                    <a:pt x="621" y="302"/>
                  </a:lnTo>
                  <a:lnTo>
                    <a:pt x="622" y="307"/>
                  </a:lnTo>
                  <a:lnTo>
                    <a:pt x="649" y="299"/>
                  </a:lnTo>
                  <a:close/>
                  <a:moveTo>
                    <a:pt x="505" y="237"/>
                  </a:moveTo>
                  <a:lnTo>
                    <a:pt x="513" y="229"/>
                  </a:lnTo>
                  <a:lnTo>
                    <a:pt x="502" y="227"/>
                  </a:lnTo>
                  <a:lnTo>
                    <a:pt x="481" y="231"/>
                  </a:lnTo>
                  <a:lnTo>
                    <a:pt x="484" y="236"/>
                  </a:lnTo>
                  <a:lnTo>
                    <a:pt x="490" y="241"/>
                  </a:lnTo>
                  <a:lnTo>
                    <a:pt x="505" y="237"/>
                  </a:lnTo>
                  <a:lnTo>
                    <a:pt x="505" y="237"/>
                  </a:lnTo>
                  <a:close/>
                  <a:moveTo>
                    <a:pt x="509" y="154"/>
                  </a:moveTo>
                  <a:lnTo>
                    <a:pt x="497" y="162"/>
                  </a:lnTo>
                  <a:lnTo>
                    <a:pt x="499" y="164"/>
                  </a:lnTo>
                  <a:lnTo>
                    <a:pt x="514" y="162"/>
                  </a:lnTo>
                  <a:lnTo>
                    <a:pt x="516" y="167"/>
                  </a:lnTo>
                  <a:lnTo>
                    <a:pt x="522" y="171"/>
                  </a:lnTo>
                  <a:lnTo>
                    <a:pt x="540" y="167"/>
                  </a:lnTo>
                  <a:lnTo>
                    <a:pt x="545" y="164"/>
                  </a:lnTo>
                  <a:lnTo>
                    <a:pt x="533" y="162"/>
                  </a:lnTo>
                  <a:lnTo>
                    <a:pt x="526" y="156"/>
                  </a:lnTo>
                  <a:lnTo>
                    <a:pt x="514" y="158"/>
                  </a:lnTo>
                  <a:lnTo>
                    <a:pt x="509" y="154"/>
                  </a:lnTo>
                  <a:lnTo>
                    <a:pt x="509" y="154"/>
                  </a:lnTo>
                  <a:close/>
                  <a:moveTo>
                    <a:pt x="975" y="4"/>
                  </a:moveTo>
                  <a:lnTo>
                    <a:pt x="959" y="0"/>
                  </a:lnTo>
                  <a:lnTo>
                    <a:pt x="921" y="10"/>
                  </a:lnTo>
                  <a:lnTo>
                    <a:pt x="909" y="9"/>
                  </a:lnTo>
                  <a:lnTo>
                    <a:pt x="868" y="18"/>
                  </a:lnTo>
                  <a:lnTo>
                    <a:pt x="850" y="20"/>
                  </a:lnTo>
                  <a:lnTo>
                    <a:pt x="820" y="29"/>
                  </a:lnTo>
                  <a:lnTo>
                    <a:pt x="803" y="39"/>
                  </a:lnTo>
                  <a:lnTo>
                    <a:pt x="771" y="49"/>
                  </a:lnTo>
                  <a:lnTo>
                    <a:pt x="742" y="49"/>
                  </a:lnTo>
                  <a:lnTo>
                    <a:pt x="719" y="60"/>
                  </a:lnTo>
                  <a:lnTo>
                    <a:pt x="731" y="66"/>
                  </a:lnTo>
                  <a:lnTo>
                    <a:pt x="734" y="75"/>
                  </a:lnTo>
                  <a:lnTo>
                    <a:pt x="731" y="85"/>
                  </a:lnTo>
                  <a:lnTo>
                    <a:pt x="739" y="92"/>
                  </a:lnTo>
                  <a:lnTo>
                    <a:pt x="734" y="106"/>
                  </a:lnTo>
                  <a:lnTo>
                    <a:pt x="700" y="106"/>
                  </a:lnTo>
                  <a:lnTo>
                    <a:pt x="716" y="96"/>
                  </a:lnTo>
                  <a:lnTo>
                    <a:pt x="704" y="96"/>
                  </a:lnTo>
                  <a:lnTo>
                    <a:pt x="654" y="106"/>
                  </a:lnTo>
                  <a:lnTo>
                    <a:pt x="621" y="115"/>
                  </a:lnTo>
                  <a:lnTo>
                    <a:pt x="624" y="127"/>
                  </a:lnTo>
                  <a:lnTo>
                    <a:pt x="620" y="135"/>
                  </a:lnTo>
                  <a:lnTo>
                    <a:pt x="636" y="140"/>
                  </a:lnTo>
                  <a:lnTo>
                    <a:pt x="663" y="137"/>
                  </a:lnTo>
                  <a:lnTo>
                    <a:pt x="669" y="143"/>
                  </a:lnTo>
                  <a:lnTo>
                    <a:pt x="680" y="137"/>
                  </a:lnTo>
                  <a:lnTo>
                    <a:pt x="703" y="134"/>
                  </a:lnTo>
                  <a:lnTo>
                    <a:pt x="713" y="134"/>
                  </a:lnTo>
                  <a:lnTo>
                    <a:pt x="691" y="141"/>
                  </a:lnTo>
                  <a:lnTo>
                    <a:pt x="695" y="145"/>
                  </a:lnTo>
                  <a:lnTo>
                    <a:pt x="686" y="154"/>
                  </a:lnTo>
                  <a:lnTo>
                    <a:pt x="665" y="162"/>
                  </a:lnTo>
                  <a:lnTo>
                    <a:pt x="656" y="160"/>
                  </a:lnTo>
                  <a:lnTo>
                    <a:pt x="630" y="169"/>
                  </a:lnTo>
                  <a:lnTo>
                    <a:pt x="622" y="166"/>
                  </a:lnTo>
                  <a:lnTo>
                    <a:pt x="607" y="167"/>
                  </a:lnTo>
                  <a:lnTo>
                    <a:pt x="588" y="178"/>
                  </a:lnTo>
                  <a:lnTo>
                    <a:pt x="559" y="190"/>
                  </a:lnTo>
                  <a:lnTo>
                    <a:pt x="537" y="203"/>
                  </a:lnTo>
                  <a:lnTo>
                    <a:pt x="538" y="212"/>
                  </a:lnTo>
                  <a:lnTo>
                    <a:pt x="523" y="224"/>
                  </a:lnTo>
                  <a:lnTo>
                    <a:pt x="529" y="230"/>
                  </a:lnTo>
                  <a:lnTo>
                    <a:pt x="531" y="240"/>
                  </a:lnTo>
                  <a:lnTo>
                    <a:pt x="558" y="235"/>
                  </a:lnTo>
                  <a:lnTo>
                    <a:pt x="559" y="244"/>
                  </a:lnTo>
                  <a:lnTo>
                    <a:pt x="547" y="251"/>
                  </a:lnTo>
                  <a:lnTo>
                    <a:pt x="534" y="264"/>
                  </a:lnTo>
                  <a:lnTo>
                    <a:pt x="544" y="264"/>
                  </a:lnTo>
                  <a:lnTo>
                    <a:pt x="571" y="256"/>
                  </a:lnTo>
                  <a:lnTo>
                    <a:pt x="565" y="266"/>
                  </a:lnTo>
                  <a:lnTo>
                    <a:pt x="579" y="259"/>
                  </a:lnTo>
                  <a:lnTo>
                    <a:pt x="577" y="270"/>
                  </a:lnTo>
                  <a:lnTo>
                    <a:pt x="594" y="261"/>
                  </a:lnTo>
                  <a:lnTo>
                    <a:pt x="596" y="266"/>
                  </a:lnTo>
                  <a:lnTo>
                    <a:pt x="623" y="259"/>
                  </a:lnTo>
                  <a:lnTo>
                    <a:pt x="600" y="272"/>
                  </a:lnTo>
                  <a:lnTo>
                    <a:pt x="579" y="289"/>
                  </a:lnTo>
                  <a:lnTo>
                    <a:pt x="557" y="296"/>
                  </a:lnTo>
                  <a:lnTo>
                    <a:pt x="549" y="301"/>
                  </a:lnTo>
                  <a:lnTo>
                    <a:pt x="510" y="315"/>
                  </a:lnTo>
                  <a:lnTo>
                    <a:pt x="492" y="323"/>
                  </a:lnTo>
                  <a:lnTo>
                    <a:pt x="467" y="326"/>
                  </a:lnTo>
                  <a:lnTo>
                    <a:pt x="436" y="338"/>
                  </a:lnTo>
                  <a:lnTo>
                    <a:pt x="411" y="345"/>
                  </a:lnTo>
                  <a:lnTo>
                    <a:pt x="382" y="356"/>
                  </a:lnTo>
                  <a:lnTo>
                    <a:pt x="380" y="359"/>
                  </a:lnTo>
                  <a:lnTo>
                    <a:pt x="417" y="353"/>
                  </a:lnTo>
                  <a:lnTo>
                    <a:pt x="439" y="345"/>
                  </a:lnTo>
                  <a:lnTo>
                    <a:pt x="466" y="338"/>
                  </a:lnTo>
                  <a:lnTo>
                    <a:pt x="488" y="331"/>
                  </a:lnTo>
                  <a:lnTo>
                    <a:pt x="498" y="333"/>
                  </a:lnTo>
                  <a:lnTo>
                    <a:pt x="529" y="324"/>
                  </a:lnTo>
                  <a:lnTo>
                    <a:pt x="546" y="313"/>
                  </a:lnTo>
                  <a:lnTo>
                    <a:pt x="585" y="302"/>
                  </a:lnTo>
                  <a:lnTo>
                    <a:pt x="599" y="292"/>
                  </a:lnTo>
                  <a:lnTo>
                    <a:pt x="624" y="285"/>
                  </a:lnTo>
                  <a:lnTo>
                    <a:pt x="652" y="275"/>
                  </a:lnTo>
                  <a:lnTo>
                    <a:pt x="686" y="261"/>
                  </a:lnTo>
                  <a:lnTo>
                    <a:pt x="685" y="249"/>
                  </a:lnTo>
                  <a:lnTo>
                    <a:pt x="726" y="234"/>
                  </a:lnTo>
                  <a:lnTo>
                    <a:pt x="754" y="219"/>
                  </a:lnTo>
                  <a:lnTo>
                    <a:pt x="789" y="207"/>
                  </a:lnTo>
                  <a:lnTo>
                    <a:pt x="787" y="213"/>
                  </a:lnTo>
                  <a:lnTo>
                    <a:pt x="762" y="219"/>
                  </a:lnTo>
                  <a:lnTo>
                    <a:pt x="731" y="241"/>
                  </a:lnTo>
                  <a:lnTo>
                    <a:pt x="719" y="254"/>
                  </a:lnTo>
                  <a:lnTo>
                    <a:pt x="743" y="249"/>
                  </a:lnTo>
                  <a:lnTo>
                    <a:pt x="765" y="242"/>
                  </a:lnTo>
                  <a:lnTo>
                    <a:pt x="790" y="237"/>
                  </a:lnTo>
                  <a:lnTo>
                    <a:pt x="801" y="236"/>
                  </a:lnTo>
                  <a:lnTo>
                    <a:pt x="814" y="220"/>
                  </a:lnTo>
                  <a:lnTo>
                    <a:pt x="837" y="216"/>
                  </a:lnTo>
                  <a:lnTo>
                    <a:pt x="847" y="225"/>
                  </a:lnTo>
                  <a:lnTo>
                    <a:pt x="869" y="235"/>
                  </a:lnTo>
                  <a:lnTo>
                    <a:pt x="894" y="233"/>
                  </a:lnTo>
                  <a:lnTo>
                    <a:pt x="916" y="241"/>
                  </a:lnTo>
                  <a:lnTo>
                    <a:pt x="928" y="246"/>
                  </a:lnTo>
                  <a:lnTo>
                    <a:pt x="940" y="268"/>
                  </a:lnTo>
                  <a:lnTo>
                    <a:pt x="954" y="275"/>
                  </a:lnTo>
                  <a:lnTo>
                    <a:pt x="980" y="275"/>
                  </a:lnTo>
                  <a:lnTo>
                    <a:pt x="996" y="276"/>
                  </a:lnTo>
                  <a:lnTo>
                    <a:pt x="986" y="297"/>
                  </a:lnTo>
                  <a:lnTo>
                    <a:pt x="991" y="316"/>
                  </a:lnTo>
                  <a:lnTo>
                    <a:pt x="979" y="335"/>
                  </a:lnTo>
                  <a:lnTo>
                    <a:pt x="988" y="342"/>
                  </a:lnTo>
                  <a:lnTo>
                    <a:pt x="990" y="350"/>
                  </a:lnTo>
                  <a:lnTo>
                    <a:pt x="990" y="350"/>
                  </a:lnTo>
                  <a:lnTo>
                    <a:pt x="1010" y="339"/>
                  </a:lnTo>
                  <a:lnTo>
                    <a:pt x="1021" y="326"/>
                  </a:lnTo>
                  <a:lnTo>
                    <a:pt x="1004" y="311"/>
                  </a:lnTo>
                  <a:lnTo>
                    <a:pt x="1010" y="286"/>
                  </a:lnTo>
                  <a:lnTo>
                    <a:pt x="1014" y="270"/>
                  </a:lnTo>
                  <a:lnTo>
                    <a:pt x="1007" y="261"/>
                  </a:lnTo>
                  <a:lnTo>
                    <a:pt x="1005" y="251"/>
                  </a:lnTo>
                  <a:lnTo>
                    <a:pt x="1007" y="240"/>
                  </a:lnTo>
                  <a:lnTo>
                    <a:pt x="983" y="247"/>
                  </a:lnTo>
                  <a:lnTo>
                    <a:pt x="955" y="260"/>
                  </a:lnTo>
                  <a:lnTo>
                    <a:pt x="954" y="245"/>
                  </a:lnTo>
                  <a:lnTo>
                    <a:pt x="951" y="235"/>
                  </a:lnTo>
                  <a:lnTo>
                    <a:pt x="942" y="229"/>
                  </a:lnTo>
                  <a:lnTo>
                    <a:pt x="926" y="229"/>
                  </a:lnTo>
                  <a:lnTo>
                    <a:pt x="1058" y="107"/>
                  </a:lnTo>
                  <a:lnTo>
                    <a:pt x="1149" y="33"/>
                  </a:lnTo>
                  <a:lnTo>
                    <a:pt x="1149" y="33"/>
                  </a:lnTo>
                  <a:lnTo>
                    <a:pt x="1149" y="33"/>
                  </a:lnTo>
                  <a:lnTo>
                    <a:pt x="1136" y="30"/>
                  </a:lnTo>
                  <a:lnTo>
                    <a:pt x="1120" y="23"/>
                  </a:lnTo>
                  <a:lnTo>
                    <a:pt x="1096" y="27"/>
                  </a:lnTo>
                  <a:lnTo>
                    <a:pt x="1087" y="24"/>
                  </a:lnTo>
                  <a:lnTo>
                    <a:pt x="1061" y="22"/>
                  </a:lnTo>
                  <a:lnTo>
                    <a:pt x="1038" y="16"/>
                  </a:lnTo>
                  <a:lnTo>
                    <a:pt x="1020" y="18"/>
                  </a:lnTo>
                  <a:lnTo>
                    <a:pt x="1002" y="15"/>
                  </a:lnTo>
                  <a:lnTo>
                    <a:pt x="1009" y="10"/>
                  </a:lnTo>
                  <a:lnTo>
                    <a:pt x="986" y="9"/>
                  </a:lnTo>
                  <a:lnTo>
                    <a:pt x="973" y="13"/>
                  </a:lnTo>
                  <a:lnTo>
                    <a:pt x="975" y="4"/>
                  </a:lnTo>
                  <a:lnTo>
                    <a:pt x="975" y="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 name="Uzbekistan"/>
            <p:cNvSpPr>
              <a:spLocks/>
            </p:cNvSpPr>
            <p:nvPr/>
          </p:nvSpPr>
          <p:spPr bwMode="auto">
            <a:xfrm>
              <a:off x="7672387" y="2767013"/>
              <a:ext cx="561975" cy="312738"/>
            </a:xfrm>
            <a:custGeom>
              <a:avLst/>
              <a:gdLst>
                <a:gd name="T0" fmla="*/ 303 w 354"/>
                <a:gd name="T1" fmla="*/ 76 h 197"/>
                <a:gd name="T2" fmla="*/ 294 w 354"/>
                <a:gd name="T3" fmla="*/ 80 h 197"/>
                <a:gd name="T4" fmla="*/ 274 w 354"/>
                <a:gd name="T5" fmla="*/ 96 h 197"/>
                <a:gd name="T6" fmla="*/ 270 w 354"/>
                <a:gd name="T7" fmla="*/ 113 h 197"/>
                <a:gd name="T8" fmla="*/ 263 w 354"/>
                <a:gd name="T9" fmla="*/ 113 h 197"/>
                <a:gd name="T10" fmla="*/ 255 w 354"/>
                <a:gd name="T11" fmla="*/ 102 h 197"/>
                <a:gd name="T12" fmla="*/ 230 w 354"/>
                <a:gd name="T13" fmla="*/ 102 h 197"/>
                <a:gd name="T14" fmla="*/ 220 w 354"/>
                <a:gd name="T15" fmla="*/ 83 h 197"/>
                <a:gd name="T16" fmla="*/ 211 w 354"/>
                <a:gd name="T17" fmla="*/ 82 h 197"/>
                <a:gd name="T18" fmla="*/ 205 w 354"/>
                <a:gd name="T19" fmla="*/ 59 h 197"/>
                <a:gd name="T20" fmla="*/ 177 w 354"/>
                <a:gd name="T21" fmla="*/ 42 h 197"/>
                <a:gd name="T22" fmla="*/ 145 w 354"/>
                <a:gd name="T23" fmla="*/ 44 h 197"/>
                <a:gd name="T24" fmla="*/ 124 w 354"/>
                <a:gd name="T25" fmla="*/ 48 h 197"/>
                <a:gd name="T26" fmla="*/ 100 w 354"/>
                <a:gd name="T27" fmla="*/ 27 h 197"/>
                <a:gd name="T28" fmla="*/ 82 w 354"/>
                <a:gd name="T29" fmla="*/ 19 h 197"/>
                <a:gd name="T30" fmla="*/ 48 w 354"/>
                <a:gd name="T31" fmla="*/ 2 h 197"/>
                <a:gd name="T32" fmla="*/ 44 w 354"/>
                <a:gd name="T33" fmla="*/ 0 h 197"/>
                <a:gd name="T34" fmla="*/ 0 w 354"/>
                <a:gd name="T35" fmla="*/ 13 h 197"/>
                <a:gd name="T36" fmla="*/ 22 w 354"/>
                <a:gd name="T37" fmla="*/ 98 h 197"/>
                <a:gd name="T38" fmla="*/ 44 w 354"/>
                <a:gd name="T39" fmla="*/ 98 h 197"/>
                <a:gd name="T40" fmla="*/ 38 w 354"/>
                <a:gd name="T41" fmla="*/ 87 h 197"/>
                <a:gd name="T42" fmla="*/ 52 w 354"/>
                <a:gd name="T43" fmla="*/ 79 h 197"/>
                <a:gd name="T44" fmla="*/ 65 w 354"/>
                <a:gd name="T45" fmla="*/ 65 h 197"/>
                <a:gd name="T46" fmla="*/ 94 w 354"/>
                <a:gd name="T47" fmla="*/ 78 h 197"/>
                <a:gd name="T48" fmla="*/ 101 w 354"/>
                <a:gd name="T49" fmla="*/ 95 h 197"/>
                <a:gd name="T50" fmla="*/ 110 w 354"/>
                <a:gd name="T51" fmla="*/ 100 h 197"/>
                <a:gd name="T52" fmla="*/ 130 w 354"/>
                <a:gd name="T53" fmla="*/ 99 h 197"/>
                <a:gd name="T54" fmla="*/ 138 w 354"/>
                <a:gd name="T55" fmla="*/ 104 h 197"/>
                <a:gd name="T56" fmla="*/ 154 w 354"/>
                <a:gd name="T57" fmla="*/ 128 h 197"/>
                <a:gd name="T58" fmla="*/ 180 w 354"/>
                <a:gd name="T59" fmla="*/ 144 h 197"/>
                <a:gd name="T60" fmla="*/ 196 w 354"/>
                <a:gd name="T61" fmla="*/ 155 h 197"/>
                <a:gd name="T62" fmla="*/ 218 w 354"/>
                <a:gd name="T63" fmla="*/ 167 h 197"/>
                <a:gd name="T64" fmla="*/ 247 w 354"/>
                <a:gd name="T65" fmla="*/ 177 h 197"/>
                <a:gd name="T66" fmla="*/ 250 w 354"/>
                <a:gd name="T67" fmla="*/ 192 h 197"/>
                <a:gd name="T68" fmla="*/ 261 w 354"/>
                <a:gd name="T69" fmla="*/ 192 h 197"/>
                <a:gd name="T70" fmla="*/ 277 w 354"/>
                <a:gd name="T71" fmla="*/ 197 h 197"/>
                <a:gd name="T72" fmla="*/ 282 w 354"/>
                <a:gd name="T73" fmla="*/ 173 h 197"/>
                <a:gd name="T74" fmla="*/ 273 w 354"/>
                <a:gd name="T75" fmla="*/ 155 h 197"/>
                <a:gd name="T76" fmla="*/ 257 w 354"/>
                <a:gd name="T77" fmla="*/ 149 h 197"/>
                <a:gd name="T78" fmla="*/ 259 w 354"/>
                <a:gd name="T79" fmla="*/ 139 h 197"/>
                <a:gd name="T80" fmla="*/ 276 w 354"/>
                <a:gd name="T81" fmla="*/ 140 h 197"/>
                <a:gd name="T82" fmla="*/ 282 w 354"/>
                <a:gd name="T83" fmla="*/ 127 h 197"/>
                <a:gd name="T84" fmla="*/ 284 w 354"/>
                <a:gd name="T85" fmla="*/ 112 h 197"/>
                <a:gd name="T86" fmla="*/ 308 w 354"/>
                <a:gd name="T87" fmla="*/ 107 h 197"/>
                <a:gd name="T88" fmla="*/ 307 w 354"/>
                <a:gd name="T89" fmla="*/ 117 h 197"/>
                <a:gd name="T90" fmla="*/ 312 w 354"/>
                <a:gd name="T91" fmla="*/ 124 h 197"/>
                <a:gd name="T92" fmla="*/ 319 w 354"/>
                <a:gd name="T93" fmla="*/ 123 h 197"/>
                <a:gd name="T94" fmla="*/ 335 w 354"/>
                <a:gd name="T95" fmla="*/ 125 h 197"/>
                <a:gd name="T96" fmla="*/ 354 w 354"/>
                <a:gd name="T97" fmla="*/ 108 h 197"/>
                <a:gd name="T98" fmla="*/ 327 w 354"/>
                <a:gd name="T99" fmla="*/ 96 h 197"/>
                <a:gd name="T100" fmla="*/ 315 w 354"/>
                <a:gd name="T101" fmla="*/ 102 h 197"/>
                <a:gd name="T102" fmla="*/ 298 w 354"/>
                <a:gd name="T103" fmla="*/ 93 h 197"/>
                <a:gd name="T104" fmla="*/ 310 w 354"/>
                <a:gd name="T105" fmla="*/ 79 h 197"/>
                <a:gd name="T106" fmla="*/ 303 w 354"/>
                <a:gd name="T107" fmla="*/ 76 h 197"/>
                <a:gd name="T108" fmla="*/ 303 w 354"/>
                <a:gd name="T109" fmla="*/ 7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4" h="197">
                  <a:moveTo>
                    <a:pt x="303" y="76"/>
                  </a:moveTo>
                  <a:lnTo>
                    <a:pt x="294" y="80"/>
                  </a:lnTo>
                  <a:lnTo>
                    <a:pt x="274" y="96"/>
                  </a:lnTo>
                  <a:lnTo>
                    <a:pt x="270" y="113"/>
                  </a:lnTo>
                  <a:lnTo>
                    <a:pt x="263" y="113"/>
                  </a:lnTo>
                  <a:lnTo>
                    <a:pt x="255" y="102"/>
                  </a:lnTo>
                  <a:lnTo>
                    <a:pt x="230" y="102"/>
                  </a:lnTo>
                  <a:lnTo>
                    <a:pt x="220" y="83"/>
                  </a:lnTo>
                  <a:lnTo>
                    <a:pt x="211" y="82"/>
                  </a:lnTo>
                  <a:lnTo>
                    <a:pt x="205" y="59"/>
                  </a:lnTo>
                  <a:lnTo>
                    <a:pt x="177" y="42"/>
                  </a:lnTo>
                  <a:lnTo>
                    <a:pt x="145" y="44"/>
                  </a:lnTo>
                  <a:lnTo>
                    <a:pt x="124" y="48"/>
                  </a:lnTo>
                  <a:lnTo>
                    <a:pt x="100" y="27"/>
                  </a:lnTo>
                  <a:lnTo>
                    <a:pt x="82" y="19"/>
                  </a:lnTo>
                  <a:lnTo>
                    <a:pt x="48" y="2"/>
                  </a:lnTo>
                  <a:lnTo>
                    <a:pt x="44" y="0"/>
                  </a:lnTo>
                  <a:lnTo>
                    <a:pt x="0" y="13"/>
                  </a:lnTo>
                  <a:lnTo>
                    <a:pt x="22" y="98"/>
                  </a:lnTo>
                  <a:lnTo>
                    <a:pt x="44" y="98"/>
                  </a:lnTo>
                  <a:lnTo>
                    <a:pt x="38" y="87"/>
                  </a:lnTo>
                  <a:lnTo>
                    <a:pt x="52" y="79"/>
                  </a:lnTo>
                  <a:lnTo>
                    <a:pt x="65" y="65"/>
                  </a:lnTo>
                  <a:lnTo>
                    <a:pt x="94" y="78"/>
                  </a:lnTo>
                  <a:lnTo>
                    <a:pt x="101" y="95"/>
                  </a:lnTo>
                  <a:lnTo>
                    <a:pt x="110" y="100"/>
                  </a:lnTo>
                  <a:lnTo>
                    <a:pt x="130" y="99"/>
                  </a:lnTo>
                  <a:lnTo>
                    <a:pt x="138" y="104"/>
                  </a:lnTo>
                  <a:lnTo>
                    <a:pt x="154" y="128"/>
                  </a:lnTo>
                  <a:lnTo>
                    <a:pt x="180" y="144"/>
                  </a:lnTo>
                  <a:lnTo>
                    <a:pt x="196" y="155"/>
                  </a:lnTo>
                  <a:lnTo>
                    <a:pt x="218" y="167"/>
                  </a:lnTo>
                  <a:lnTo>
                    <a:pt x="247" y="177"/>
                  </a:lnTo>
                  <a:lnTo>
                    <a:pt x="250" y="192"/>
                  </a:lnTo>
                  <a:lnTo>
                    <a:pt x="261" y="192"/>
                  </a:lnTo>
                  <a:lnTo>
                    <a:pt x="277" y="197"/>
                  </a:lnTo>
                  <a:lnTo>
                    <a:pt x="282" y="173"/>
                  </a:lnTo>
                  <a:lnTo>
                    <a:pt x="273" y="155"/>
                  </a:lnTo>
                  <a:lnTo>
                    <a:pt x="257" y="149"/>
                  </a:lnTo>
                  <a:lnTo>
                    <a:pt x="259" y="139"/>
                  </a:lnTo>
                  <a:lnTo>
                    <a:pt x="276" y="140"/>
                  </a:lnTo>
                  <a:lnTo>
                    <a:pt x="282" y="127"/>
                  </a:lnTo>
                  <a:lnTo>
                    <a:pt x="284" y="112"/>
                  </a:lnTo>
                  <a:lnTo>
                    <a:pt x="308" y="107"/>
                  </a:lnTo>
                  <a:lnTo>
                    <a:pt x="307" y="117"/>
                  </a:lnTo>
                  <a:lnTo>
                    <a:pt x="312" y="124"/>
                  </a:lnTo>
                  <a:lnTo>
                    <a:pt x="319" y="123"/>
                  </a:lnTo>
                  <a:lnTo>
                    <a:pt x="335" y="125"/>
                  </a:lnTo>
                  <a:lnTo>
                    <a:pt x="354" y="108"/>
                  </a:lnTo>
                  <a:lnTo>
                    <a:pt x="327" y="96"/>
                  </a:lnTo>
                  <a:lnTo>
                    <a:pt x="315" y="102"/>
                  </a:lnTo>
                  <a:lnTo>
                    <a:pt x="298" y="93"/>
                  </a:lnTo>
                  <a:lnTo>
                    <a:pt x="310" y="79"/>
                  </a:lnTo>
                  <a:lnTo>
                    <a:pt x="303" y="76"/>
                  </a:lnTo>
                  <a:lnTo>
                    <a:pt x="303" y="7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 name="Venezuela"/>
            <p:cNvSpPr>
              <a:spLocks/>
            </p:cNvSpPr>
            <p:nvPr/>
          </p:nvSpPr>
          <p:spPr bwMode="auto">
            <a:xfrm>
              <a:off x="3567112" y="4024313"/>
              <a:ext cx="449262" cy="431800"/>
            </a:xfrm>
            <a:custGeom>
              <a:avLst/>
              <a:gdLst>
                <a:gd name="T0" fmla="*/ 275 w 283"/>
                <a:gd name="T1" fmla="*/ 85 h 272"/>
                <a:gd name="T2" fmla="*/ 262 w 283"/>
                <a:gd name="T3" fmla="*/ 66 h 272"/>
                <a:gd name="T4" fmla="*/ 230 w 283"/>
                <a:gd name="T5" fmla="*/ 53 h 272"/>
                <a:gd name="T6" fmla="*/ 241 w 283"/>
                <a:gd name="T7" fmla="*/ 34 h 272"/>
                <a:gd name="T8" fmla="*/ 190 w 283"/>
                <a:gd name="T9" fmla="*/ 36 h 272"/>
                <a:gd name="T10" fmla="*/ 178 w 283"/>
                <a:gd name="T11" fmla="*/ 49 h 272"/>
                <a:gd name="T12" fmla="*/ 151 w 283"/>
                <a:gd name="T13" fmla="*/ 36 h 272"/>
                <a:gd name="T14" fmla="*/ 110 w 283"/>
                <a:gd name="T15" fmla="*/ 38 h 272"/>
                <a:gd name="T16" fmla="*/ 96 w 283"/>
                <a:gd name="T17" fmla="*/ 18 h 272"/>
                <a:gd name="T18" fmla="*/ 75 w 283"/>
                <a:gd name="T19" fmla="*/ 0 h 272"/>
                <a:gd name="T20" fmla="*/ 69 w 283"/>
                <a:gd name="T21" fmla="*/ 19 h 272"/>
                <a:gd name="T22" fmla="*/ 42 w 283"/>
                <a:gd name="T23" fmla="*/ 47 h 272"/>
                <a:gd name="T24" fmla="*/ 43 w 283"/>
                <a:gd name="T25" fmla="*/ 72 h 272"/>
                <a:gd name="T26" fmla="*/ 27 w 283"/>
                <a:gd name="T27" fmla="*/ 55 h 272"/>
                <a:gd name="T28" fmla="*/ 39 w 283"/>
                <a:gd name="T29" fmla="*/ 29 h 272"/>
                <a:gd name="T30" fmla="*/ 44 w 283"/>
                <a:gd name="T31" fmla="*/ 15 h 272"/>
                <a:gd name="T32" fmla="*/ 31 w 283"/>
                <a:gd name="T33" fmla="*/ 13 h 272"/>
                <a:gd name="T34" fmla="*/ 17 w 283"/>
                <a:gd name="T35" fmla="*/ 32 h 272"/>
                <a:gd name="T36" fmla="*/ 7 w 283"/>
                <a:gd name="T37" fmla="*/ 58 h 272"/>
                <a:gd name="T38" fmla="*/ 12 w 283"/>
                <a:gd name="T39" fmla="*/ 74 h 272"/>
                <a:gd name="T40" fmla="*/ 18 w 283"/>
                <a:gd name="T41" fmla="*/ 89 h 272"/>
                <a:gd name="T42" fmla="*/ 16 w 283"/>
                <a:gd name="T43" fmla="*/ 107 h 272"/>
                <a:gd name="T44" fmla="*/ 22 w 283"/>
                <a:gd name="T45" fmla="*/ 115 h 272"/>
                <a:gd name="T46" fmla="*/ 54 w 283"/>
                <a:gd name="T47" fmla="*/ 120 h 272"/>
                <a:gd name="T48" fmla="*/ 80 w 283"/>
                <a:gd name="T49" fmla="*/ 145 h 272"/>
                <a:gd name="T50" fmla="*/ 103 w 283"/>
                <a:gd name="T51" fmla="*/ 143 h 272"/>
                <a:gd name="T52" fmla="*/ 123 w 283"/>
                <a:gd name="T53" fmla="*/ 145 h 272"/>
                <a:gd name="T54" fmla="*/ 113 w 283"/>
                <a:gd name="T55" fmla="*/ 165 h 272"/>
                <a:gd name="T56" fmla="*/ 115 w 283"/>
                <a:gd name="T57" fmla="*/ 198 h 272"/>
                <a:gd name="T58" fmla="*/ 122 w 283"/>
                <a:gd name="T59" fmla="*/ 210 h 272"/>
                <a:gd name="T60" fmla="*/ 118 w 283"/>
                <a:gd name="T61" fmla="*/ 227 h 272"/>
                <a:gd name="T62" fmla="*/ 130 w 283"/>
                <a:gd name="T63" fmla="*/ 259 h 272"/>
                <a:gd name="T64" fmla="*/ 157 w 283"/>
                <a:gd name="T65" fmla="*/ 270 h 272"/>
                <a:gd name="T66" fmla="*/ 177 w 283"/>
                <a:gd name="T67" fmla="*/ 258 h 272"/>
                <a:gd name="T68" fmla="*/ 188 w 283"/>
                <a:gd name="T69" fmla="*/ 244 h 272"/>
                <a:gd name="T70" fmla="*/ 203 w 283"/>
                <a:gd name="T71" fmla="*/ 231 h 272"/>
                <a:gd name="T72" fmla="*/ 182 w 283"/>
                <a:gd name="T73" fmla="*/ 215 h 272"/>
                <a:gd name="T74" fmla="*/ 174 w 283"/>
                <a:gd name="T75" fmla="*/ 193 h 272"/>
                <a:gd name="T76" fmla="*/ 194 w 283"/>
                <a:gd name="T77" fmla="*/ 193 h 272"/>
                <a:gd name="T78" fmla="*/ 216 w 283"/>
                <a:gd name="T79" fmla="*/ 194 h 272"/>
                <a:gd name="T80" fmla="*/ 255 w 283"/>
                <a:gd name="T81" fmla="*/ 181 h 272"/>
                <a:gd name="T82" fmla="*/ 261 w 283"/>
                <a:gd name="T83" fmla="*/ 165 h 272"/>
                <a:gd name="T84" fmla="*/ 252 w 283"/>
                <a:gd name="T85" fmla="*/ 141 h 272"/>
                <a:gd name="T86" fmla="*/ 266 w 283"/>
                <a:gd name="T87" fmla="*/ 126 h 272"/>
                <a:gd name="T88" fmla="*/ 264 w 283"/>
                <a:gd name="T89" fmla="*/ 113 h 272"/>
                <a:gd name="T90" fmla="*/ 283 w 283"/>
                <a:gd name="T91" fmla="*/ 9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3" h="272">
                  <a:moveTo>
                    <a:pt x="283" y="90"/>
                  </a:moveTo>
                  <a:lnTo>
                    <a:pt x="275" y="85"/>
                  </a:lnTo>
                  <a:lnTo>
                    <a:pt x="265" y="85"/>
                  </a:lnTo>
                  <a:lnTo>
                    <a:pt x="262" y="66"/>
                  </a:lnTo>
                  <a:lnTo>
                    <a:pt x="246" y="54"/>
                  </a:lnTo>
                  <a:lnTo>
                    <a:pt x="230" y="53"/>
                  </a:lnTo>
                  <a:lnTo>
                    <a:pt x="224" y="42"/>
                  </a:lnTo>
                  <a:lnTo>
                    <a:pt x="241" y="34"/>
                  </a:lnTo>
                  <a:lnTo>
                    <a:pt x="216" y="34"/>
                  </a:lnTo>
                  <a:lnTo>
                    <a:pt x="190" y="36"/>
                  </a:lnTo>
                  <a:lnTo>
                    <a:pt x="190" y="42"/>
                  </a:lnTo>
                  <a:lnTo>
                    <a:pt x="178" y="49"/>
                  </a:lnTo>
                  <a:lnTo>
                    <a:pt x="162" y="47"/>
                  </a:lnTo>
                  <a:lnTo>
                    <a:pt x="151" y="36"/>
                  </a:lnTo>
                  <a:lnTo>
                    <a:pt x="128" y="38"/>
                  </a:lnTo>
                  <a:lnTo>
                    <a:pt x="110" y="38"/>
                  </a:lnTo>
                  <a:lnTo>
                    <a:pt x="109" y="31"/>
                  </a:lnTo>
                  <a:lnTo>
                    <a:pt x="96" y="18"/>
                  </a:lnTo>
                  <a:lnTo>
                    <a:pt x="82" y="17"/>
                  </a:lnTo>
                  <a:lnTo>
                    <a:pt x="75" y="0"/>
                  </a:lnTo>
                  <a:lnTo>
                    <a:pt x="67" y="7"/>
                  </a:lnTo>
                  <a:lnTo>
                    <a:pt x="69" y="19"/>
                  </a:lnTo>
                  <a:lnTo>
                    <a:pt x="42" y="29"/>
                  </a:lnTo>
                  <a:lnTo>
                    <a:pt x="42" y="47"/>
                  </a:lnTo>
                  <a:lnTo>
                    <a:pt x="49" y="55"/>
                  </a:lnTo>
                  <a:lnTo>
                    <a:pt x="43" y="72"/>
                  </a:lnTo>
                  <a:lnTo>
                    <a:pt x="34" y="74"/>
                  </a:lnTo>
                  <a:lnTo>
                    <a:pt x="27" y="55"/>
                  </a:lnTo>
                  <a:lnTo>
                    <a:pt x="37" y="41"/>
                  </a:lnTo>
                  <a:lnTo>
                    <a:pt x="39" y="29"/>
                  </a:lnTo>
                  <a:lnTo>
                    <a:pt x="32" y="18"/>
                  </a:lnTo>
                  <a:lnTo>
                    <a:pt x="44" y="15"/>
                  </a:lnTo>
                  <a:lnTo>
                    <a:pt x="45" y="9"/>
                  </a:lnTo>
                  <a:lnTo>
                    <a:pt x="31" y="13"/>
                  </a:lnTo>
                  <a:lnTo>
                    <a:pt x="26" y="25"/>
                  </a:lnTo>
                  <a:lnTo>
                    <a:pt x="17" y="32"/>
                  </a:lnTo>
                  <a:lnTo>
                    <a:pt x="11" y="41"/>
                  </a:lnTo>
                  <a:lnTo>
                    <a:pt x="7" y="58"/>
                  </a:lnTo>
                  <a:lnTo>
                    <a:pt x="0" y="72"/>
                  </a:lnTo>
                  <a:lnTo>
                    <a:pt x="12" y="74"/>
                  </a:lnTo>
                  <a:lnTo>
                    <a:pt x="13" y="84"/>
                  </a:lnTo>
                  <a:lnTo>
                    <a:pt x="18" y="89"/>
                  </a:lnTo>
                  <a:lnTo>
                    <a:pt x="19" y="99"/>
                  </a:lnTo>
                  <a:lnTo>
                    <a:pt x="16" y="107"/>
                  </a:lnTo>
                  <a:lnTo>
                    <a:pt x="17" y="113"/>
                  </a:lnTo>
                  <a:lnTo>
                    <a:pt x="22" y="115"/>
                  </a:lnTo>
                  <a:lnTo>
                    <a:pt x="27" y="123"/>
                  </a:lnTo>
                  <a:lnTo>
                    <a:pt x="54" y="120"/>
                  </a:lnTo>
                  <a:lnTo>
                    <a:pt x="66" y="124"/>
                  </a:lnTo>
                  <a:lnTo>
                    <a:pt x="80" y="145"/>
                  </a:lnTo>
                  <a:lnTo>
                    <a:pt x="88" y="142"/>
                  </a:lnTo>
                  <a:lnTo>
                    <a:pt x="103" y="143"/>
                  </a:lnTo>
                  <a:lnTo>
                    <a:pt x="115" y="140"/>
                  </a:lnTo>
                  <a:lnTo>
                    <a:pt x="123" y="145"/>
                  </a:lnTo>
                  <a:lnTo>
                    <a:pt x="118" y="157"/>
                  </a:lnTo>
                  <a:lnTo>
                    <a:pt x="113" y="165"/>
                  </a:lnTo>
                  <a:lnTo>
                    <a:pt x="111" y="182"/>
                  </a:lnTo>
                  <a:lnTo>
                    <a:pt x="115" y="198"/>
                  </a:lnTo>
                  <a:lnTo>
                    <a:pt x="121" y="204"/>
                  </a:lnTo>
                  <a:lnTo>
                    <a:pt x="122" y="210"/>
                  </a:lnTo>
                  <a:lnTo>
                    <a:pt x="111" y="222"/>
                  </a:lnTo>
                  <a:lnTo>
                    <a:pt x="118" y="227"/>
                  </a:lnTo>
                  <a:lnTo>
                    <a:pt x="124" y="235"/>
                  </a:lnTo>
                  <a:lnTo>
                    <a:pt x="130" y="259"/>
                  </a:lnTo>
                  <a:lnTo>
                    <a:pt x="141" y="272"/>
                  </a:lnTo>
                  <a:lnTo>
                    <a:pt x="157" y="270"/>
                  </a:lnTo>
                  <a:lnTo>
                    <a:pt x="162" y="263"/>
                  </a:lnTo>
                  <a:lnTo>
                    <a:pt x="177" y="258"/>
                  </a:lnTo>
                  <a:lnTo>
                    <a:pt x="186" y="254"/>
                  </a:lnTo>
                  <a:lnTo>
                    <a:pt x="188" y="244"/>
                  </a:lnTo>
                  <a:lnTo>
                    <a:pt x="204" y="237"/>
                  </a:lnTo>
                  <a:lnTo>
                    <a:pt x="203" y="231"/>
                  </a:lnTo>
                  <a:lnTo>
                    <a:pt x="184" y="230"/>
                  </a:lnTo>
                  <a:lnTo>
                    <a:pt x="182" y="215"/>
                  </a:lnTo>
                  <a:lnTo>
                    <a:pt x="183" y="199"/>
                  </a:lnTo>
                  <a:lnTo>
                    <a:pt x="174" y="193"/>
                  </a:lnTo>
                  <a:lnTo>
                    <a:pt x="178" y="190"/>
                  </a:lnTo>
                  <a:lnTo>
                    <a:pt x="194" y="193"/>
                  </a:lnTo>
                  <a:lnTo>
                    <a:pt x="210" y="200"/>
                  </a:lnTo>
                  <a:lnTo>
                    <a:pt x="216" y="194"/>
                  </a:lnTo>
                  <a:lnTo>
                    <a:pt x="231" y="190"/>
                  </a:lnTo>
                  <a:lnTo>
                    <a:pt x="255" y="181"/>
                  </a:lnTo>
                  <a:lnTo>
                    <a:pt x="263" y="173"/>
                  </a:lnTo>
                  <a:lnTo>
                    <a:pt x="261" y="165"/>
                  </a:lnTo>
                  <a:lnTo>
                    <a:pt x="247" y="147"/>
                  </a:lnTo>
                  <a:lnTo>
                    <a:pt x="252" y="141"/>
                  </a:lnTo>
                  <a:lnTo>
                    <a:pt x="252" y="130"/>
                  </a:lnTo>
                  <a:lnTo>
                    <a:pt x="266" y="126"/>
                  </a:lnTo>
                  <a:lnTo>
                    <a:pt x="271" y="121"/>
                  </a:lnTo>
                  <a:lnTo>
                    <a:pt x="264" y="113"/>
                  </a:lnTo>
                  <a:lnTo>
                    <a:pt x="266" y="104"/>
                  </a:lnTo>
                  <a:lnTo>
                    <a:pt x="283" y="90"/>
                  </a:lnTo>
                  <a:lnTo>
                    <a:pt x="283" y="9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 name="Vietnam"/>
            <p:cNvSpPr>
              <a:spLocks/>
            </p:cNvSpPr>
            <p:nvPr/>
          </p:nvSpPr>
          <p:spPr bwMode="auto">
            <a:xfrm>
              <a:off x="9329737" y="3602038"/>
              <a:ext cx="288925" cy="557213"/>
            </a:xfrm>
            <a:custGeom>
              <a:avLst/>
              <a:gdLst>
                <a:gd name="T0" fmla="*/ 125 w 182"/>
                <a:gd name="T1" fmla="*/ 43 h 351"/>
                <a:gd name="T2" fmla="*/ 103 w 182"/>
                <a:gd name="T3" fmla="*/ 37 h 351"/>
                <a:gd name="T4" fmla="*/ 92 w 182"/>
                <a:gd name="T5" fmla="*/ 27 h 351"/>
                <a:gd name="T6" fmla="*/ 93 w 182"/>
                <a:gd name="T7" fmla="*/ 13 h 351"/>
                <a:gd name="T8" fmla="*/ 73 w 182"/>
                <a:gd name="T9" fmla="*/ 9 h 351"/>
                <a:gd name="T10" fmla="*/ 62 w 182"/>
                <a:gd name="T11" fmla="*/ 0 h 351"/>
                <a:gd name="T12" fmla="*/ 46 w 182"/>
                <a:gd name="T13" fmla="*/ 13 h 351"/>
                <a:gd name="T14" fmla="*/ 27 w 182"/>
                <a:gd name="T15" fmla="*/ 16 h 351"/>
                <a:gd name="T16" fmla="*/ 11 w 182"/>
                <a:gd name="T17" fmla="*/ 16 h 351"/>
                <a:gd name="T18" fmla="*/ 0 w 182"/>
                <a:gd name="T19" fmla="*/ 21 h 351"/>
                <a:gd name="T20" fmla="*/ 15 w 182"/>
                <a:gd name="T21" fmla="*/ 40 h 351"/>
                <a:gd name="T22" fmla="*/ 28 w 182"/>
                <a:gd name="T23" fmla="*/ 61 h 351"/>
                <a:gd name="T24" fmla="*/ 54 w 182"/>
                <a:gd name="T25" fmla="*/ 61 h 351"/>
                <a:gd name="T26" fmla="*/ 65 w 182"/>
                <a:gd name="T27" fmla="*/ 82 h 351"/>
                <a:gd name="T28" fmla="*/ 53 w 182"/>
                <a:gd name="T29" fmla="*/ 88 h 351"/>
                <a:gd name="T30" fmla="*/ 48 w 182"/>
                <a:gd name="T31" fmla="*/ 97 h 351"/>
                <a:gd name="T32" fmla="*/ 75 w 182"/>
                <a:gd name="T33" fmla="*/ 112 h 351"/>
                <a:gd name="T34" fmla="*/ 97 w 182"/>
                <a:gd name="T35" fmla="*/ 140 h 351"/>
                <a:gd name="T36" fmla="*/ 112 w 182"/>
                <a:gd name="T37" fmla="*/ 160 h 351"/>
                <a:gd name="T38" fmla="*/ 130 w 182"/>
                <a:gd name="T39" fmla="*/ 177 h 351"/>
                <a:gd name="T40" fmla="*/ 138 w 182"/>
                <a:gd name="T41" fmla="*/ 194 h 351"/>
                <a:gd name="T42" fmla="*/ 137 w 182"/>
                <a:gd name="T43" fmla="*/ 217 h 351"/>
                <a:gd name="T44" fmla="*/ 143 w 182"/>
                <a:gd name="T45" fmla="*/ 233 h 351"/>
                <a:gd name="T46" fmla="*/ 144 w 182"/>
                <a:gd name="T47" fmla="*/ 262 h 351"/>
                <a:gd name="T48" fmla="*/ 111 w 182"/>
                <a:gd name="T49" fmla="*/ 280 h 351"/>
                <a:gd name="T50" fmla="*/ 121 w 182"/>
                <a:gd name="T51" fmla="*/ 295 h 351"/>
                <a:gd name="T52" fmla="*/ 99 w 182"/>
                <a:gd name="T53" fmla="*/ 297 h 351"/>
                <a:gd name="T54" fmla="*/ 82 w 182"/>
                <a:gd name="T55" fmla="*/ 306 h 351"/>
                <a:gd name="T56" fmla="*/ 98 w 182"/>
                <a:gd name="T57" fmla="*/ 319 h 351"/>
                <a:gd name="T58" fmla="*/ 94 w 182"/>
                <a:gd name="T59" fmla="*/ 336 h 351"/>
                <a:gd name="T60" fmla="*/ 102 w 182"/>
                <a:gd name="T61" fmla="*/ 351 h 351"/>
                <a:gd name="T62" fmla="*/ 127 w 182"/>
                <a:gd name="T63" fmla="*/ 328 h 351"/>
                <a:gd name="T64" fmla="*/ 142 w 182"/>
                <a:gd name="T65" fmla="*/ 309 h 351"/>
                <a:gd name="T66" fmla="*/ 166 w 182"/>
                <a:gd name="T67" fmla="*/ 293 h 351"/>
                <a:gd name="T68" fmla="*/ 182 w 182"/>
                <a:gd name="T69" fmla="*/ 278 h 351"/>
                <a:gd name="T70" fmla="*/ 180 w 182"/>
                <a:gd name="T71" fmla="*/ 236 h 351"/>
                <a:gd name="T72" fmla="*/ 165 w 182"/>
                <a:gd name="T73" fmla="*/ 192 h 351"/>
                <a:gd name="T74" fmla="*/ 150 w 182"/>
                <a:gd name="T75" fmla="*/ 173 h 351"/>
                <a:gd name="T76" fmla="*/ 128 w 182"/>
                <a:gd name="T77" fmla="*/ 158 h 351"/>
                <a:gd name="T78" fmla="*/ 105 w 182"/>
                <a:gd name="T79" fmla="*/ 127 h 351"/>
                <a:gd name="T80" fmla="*/ 85 w 182"/>
                <a:gd name="T81" fmla="*/ 102 h 351"/>
                <a:gd name="T82" fmla="*/ 87 w 182"/>
                <a:gd name="T83" fmla="*/ 86 h 351"/>
                <a:gd name="T84" fmla="*/ 100 w 182"/>
                <a:gd name="T85" fmla="*/ 63 h 351"/>
                <a:gd name="T86" fmla="*/ 125 w 182"/>
                <a:gd name="T87" fmla="*/ 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351">
                  <a:moveTo>
                    <a:pt x="125" y="43"/>
                  </a:moveTo>
                  <a:lnTo>
                    <a:pt x="103" y="37"/>
                  </a:lnTo>
                  <a:lnTo>
                    <a:pt x="92" y="27"/>
                  </a:lnTo>
                  <a:lnTo>
                    <a:pt x="93" y="13"/>
                  </a:lnTo>
                  <a:lnTo>
                    <a:pt x="73" y="9"/>
                  </a:lnTo>
                  <a:lnTo>
                    <a:pt x="62" y="0"/>
                  </a:lnTo>
                  <a:lnTo>
                    <a:pt x="46" y="13"/>
                  </a:lnTo>
                  <a:lnTo>
                    <a:pt x="27" y="16"/>
                  </a:lnTo>
                  <a:lnTo>
                    <a:pt x="11" y="16"/>
                  </a:lnTo>
                  <a:lnTo>
                    <a:pt x="0" y="21"/>
                  </a:lnTo>
                  <a:lnTo>
                    <a:pt x="15" y="40"/>
                  </a:lnTo>
                  <a:lnTo>
                    <a:pt x="28" y="61"/>
                  </a:lnTo>
                  <a:lnTo>
                    <a:pt x="54" y="61"/>
                  </a:lnTo>
                  <a:lnTo>
                    <a:pt x="65" y="82"/>
                  </a:lnTo>
                  <a:lnTo>
                    <a:pt x="53" y="88"/>
                  </a:lnTo>
                  <a:lnTo>
                    <a:pt x="48" y="97"/>
                  </a:lnTo>
                  <a:lnTo>
                    <a:pt x="75" y="112"/>
                  </a:lnTo>
                  <a:lnTo>
                    <a:pt x="97" y="140"/>
                  </a:lnTo>
                  <a:lnTo>
                    <a:pt x="112" y="160"/>
                  </a:lnTo>
                  <a:lnTo>
                    <a:pt x="130" y="177"/>
                  </a:lnTo>
                  <a:lnTo>
                    <a:pt x="138" y="194"/>
                  </a:lnTo>
                  <a:lnTo>
                    <a:pt x="137" y="217"/>
                  </a:lnTo>
                  <a:lnTo>
                    <a:pt x="143" y="233"/>
                  </a:lnTo>
                  <a:lnTo>
                    <a:pt x="144" y="262"/>
                  </a:lnTo>
                  <a:lnTo>
                    <a:pt x="111" y="280"/>
                  </a:lnTo>
                  <a:lnTo>
                    <a:pt x="121" y="295"/>
                  </a:lnTo>
                  <a:lnTo>
                    <a:pt x="99" y="297"/>
                  </a:lnTo>
                  <a:lnTo>
                    <a:pt x="82" y="306"/>
                  </a:lnTo>
                  <a:lnTo>
                    <a:pt x="98" y="319"/>
                  </a:lnTo>
                  <a:lnTo>
                    <a:pt x="94" y="336"/>
                  </a:lnTo>
                  <a:lnTo>
                    <a:pt x="102" y="351"/>
                  </a:lnTo>
                  <a:lnTo>
                    <a:pt x="127" y="328"/>
                  </a:lnTo>
                  <a:lnTo>
                    <a:pt x="142" y="309"/>
                  </a:lnTo>
                  <a:lnTo>
                    <a:pt x="166" y="293"/>
                  </a:lnTo>
                  <a:lnTo>
                    <a:pt x="182" y="278"/>
                  </a:lnTo>
                  <a:lnTo>
                    <a:pt x="180" y="236"/>
                  </a:lnTo>
                  <a:lnTo>
                    <a:pt x="165" y="192"/>
                  </a:lnTo>
                  <a:lnTo>
                    <a:pt x="150" y="173"/>
                  </a:lnTo>
                  <a:lnTo>
                    <a:pt x="128" y="158"/>
                  </a:lnTo>
                  <a:lnTo>
                    <a:pt x="105" y="127"/>
                  </a:lnTo>
                  <a:lnTo>
                    <a:pt x="85" y="102"/>
                  </a:lnTo>
                  <a:lnTo>
                    <a:pt x="87" y="86"/>
                  </a:lnTo>
                  <a:lnTo>
                    <a:pt x="100" y="63"/>
                  </a:lnTo>
                  <a:lnTo>
                    <a:pt x="125" y="4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 name="Vanuatu"/>
            <p:cNvSpPr>
              <a:spLocks noEditPoints="1"/>
            </p:cNvSpPr>
            <p:nvPr/>
          </p:nvSpPr>
          <p:spPr bwMode="auto">
            <a:xfrm>
              <a:off x="11496675" y="5035551"/>
              <a:ext cx="28575" cy="73025"/>
            </a:xfrm>
            <a:custGeom>
              <a:avLst/>
              <a:gdLst>
                <a:gd name="T0" fmla="*/ 18 w 18"/>
                <a:gd name="T1" fmla="*/ 44 h 46"/>
                <a:gd name="T2" fmla="*/ 9 w 18"/>
                <a:gd name="T3" fmla="*/ 30 h 46"/>
                <a:gd name="T4" fmla="*/ 6 w 18"/>
                <a:gd name="T5" fmla="*/ 36 h 46"/>
                <a:gd name="T6" fmla="*/ 11 w 18"/>
                <a:gd name="T7" fmla="*/ 46 h 46"/>
                <a:gd name="T8" fmla="*/ 18 w 18"/>
                <a:gd name="T9" fmla="*/ 44 h 46"/>
                <a:gd name="T10" fmla="*/ 18 w 18"/>
                <a:gd name="T11" fmla="*/ 44 h 46"/>
                <a:gd name="T12" fmla="*/ 11 w 18"/>
                <a:gd name="T13" fmla="*/ 7 h 46"/>
                <a:gd name="T14" fmla="*/ 2 w 18"/>
                <a:gd name="T15" fmla="*/ 0 h 46"/>
                <a:gd name="T16" fmla="*/ 0 w 18"/>
                <a:gd name="T17" fmla="*/ 17 h 46"/>
                <a:gd name="T18" fmla="*/ 1 w 18"/>
                <a:gd name="T19" fmla="*/ 25 h 46"/>
                <a:gd name="T20" fmla="*/ 5 w 18"/>
                <a:gd name="T21" fmla="*/ 23 h 46"/>
                <a:gd name="T22" fmla="*/ 11 w 18"/>
                <a:gd name="T23" fmla="*/ 26 h 46"/>
                <a:gd name="T24" fmla="*/ 11 w 18"/>
                <a:gd name="T25" fmla="*/ 7 h 46"/>
                <a:gd name="T26" fmla="*/ 11 w 18"/>
                <a:gd name="T27"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46">
                  <a:moveTo>
                    <a:pt x="18" y="44"/>
                  </a:moveTo>
                  <a:lnTo>
                    <a:pt x="9" y="30"/>
                  </a:lnTo>
                  <a:lnTo>
                    <a:pt x="6" y="36"/>
                  </a:lnTo>
                  <a:lnTo>
                    <a:pt x="11" y="46"/>
                  </a:lnTo>
                  <a:lnTo>
                    <a:pt x="18" y="44"/>
                  </a:lnTo>
                  <a:lnTo>
                    <a:pt x="18" y="44"/>
                  </a:lnTo>
                  <a:close/>
                  <a:moveTo>
                    <a:pt x="11" y="7"/>
                  </a:moveTo>
                  <a:lnTo>
                    <a:pt x="2" y="0"/>
                  </a:lnTo>
                  <a:lnTo>
                    <a:pt x="0" y="17"/>
                  </a:lnTo>
                  <a:lnTo>
                    <a:pt x="1" y="25"/>
                  </a:lnTo>
                  <a:lnTo>
                    <a:pt x="5" y="23"/>
                  </a:lnTo>
                  <a:lnTo>
                    <a:pt x="11" y="26"/>
                  </a:lnTo>
                  <a:lnTo>
                    <a:pt x="11" y="7"/>
                  </a:lnTo>
                  <a:lnTo>
                    <a:pt x="11" y="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 name="Yemen"/>
            <p:cNvSpPr>
              <a:spLocks/>
            </p:cNvSpPr>
            <p:nvPr/>
          </p:nvSpPr>
          <p:spPr bwMode="auto">
            <a:xfrm>
              <a:off x="7407275" y="3765551"/>
              <a:ext cx="341312" cy="242888"/>
            </a:xfrm>
            <a:custGeom>
              <a:avLst/>
              <a:gdLst>
                <a:gd name="T0" fmla="*/ 215 w 215"/>
                <a:gd name="T1" fmla="*/ 56 h 153"/>
                <a:gd name="T2" fmla="*/ 208 w 215"/>
                <a:gd name="T3" fmla="*/ 40 h 153"/>
                <a:gd name="T4" fmla="*/ 188 w 215"/>
                <a:gd name="T5" fmla="*/ 0 h 153"/>
                <a:gd name="T6" fmla="*/ 129 w 215"/>
                <a:gd name="T7" fmla="*/ 10 h 153"/>
                <a:gd name="T8" fmla="*/ 111 w 215"/>
                <a:gd name="T9" fmla="*/ 20 h 153"/>
                <a:gd name="T10" fmla="*/ 98 w 215"/>
                <a:gd name="T11" fmla="*/ 45 h 153"/>
                <a:gd name="T12" fmla="*/ 88 w 215"/>
                <a:gd name="T13" fmla="*/ 49 h 153"/>
                <a:gd name="T14" fmla="*/ 83 w 215"/>
                <a:gd name="T15" fmla="*/ 41 h 153"/>
                <a:gd name="T16" fmla="*/ 74 w 215"/>
                <a:gd name="T17" fmla="*/ 42 h 153"/>
                <a:gd name="T18" fmla="*/ 55 w 215"/>
                <a:gd name="T19" fmla="*/ 41 h 153"/>
                <a:gd name="T20" fmla="*/ 51 w 215"/>
                <a:gd name="T21" fmla="*/ 38 h 153"/>
                <a:gd name="T22" fmla="*/ 27 w 215"/>
                <a:gd name="T23" fmla="*/ 39 h 153"/>
                <a:gd name="T24" fmla="*/ 21 w 215"/>
                <a:gd name="T25" fmla="*/ 41 h 153"/>
                <a:gd name="T26" fmla="*/ 12 w 215"/>
                <a:gd name="T27" fmla="*/ 34 h 153"/>
                <a:gd name="T28" fmla="*/ 8 w 215"/>
                <a:gd name="T29" fmla="*/ 46 h 153"/>
                <a:gd name="T30" fmla="*/ 10 w 215"/>
                <a:gd name="T31" fmla="*/ 55 h 153"/>
                <a:gd name="T32" fmla="*/ 1 w 215"/>
                <a:gd name="T33" fmla="*/ 64 h 153"/>
                <a:gd name="T34" fmla="*/ 3 w 215"/>
                <a:gd name="T35" fmla="*/ 74 h 153"/>
                <a:gd name="T36" fmla="*/ 0 w 215"/>
                <a:gd name="T37" fmla="*/ 79 h 153"/>
                <a:gd name="T38" fmla="*/ 3 w 215"/>
                <a:gd name="T39" fmla="*/ 89 h 153"/>
                <a:gd name="T40" fmla="*/ 0 w 215"/>
                <a:gd name="T41" fmla="*/ 91 h 153"/>
                <a:gd name="T42" fmla="*/ 6 w 215"/>
                <a:gd name="T43" fmla="*/ 100 h 153"/>
                <a:gd name="T44" fmla="*/ 11 w 215"/>
                <a:gd name="T45" fmla="*/ 118 h 153"/>
                <a:gd name="T46" fmla="*/ 14 w 215"/>
                <a:gd name="T47" fmla="*/ 125 h 153"/>
                <a:gd name="T48" fmla="*/ 14 w 215"/>
                <a:gd name="T49" fmla="*/ 138 h 153"/>
                <a:gd name="T50" fmla="*/ 20 w 215"/>
                <a:gd name="T51" fmla="*/ 152 h 153"/>
                <a:gd name="T52" fmla="*/ 35 w 215"/>
                <a:gd name="T53" fmla="*/ 153 h 153"/>
                <a:gd name="T54" fmla="*/ 42 w 215"/>
                <a:gd name="T55" fmla="*/ 150 h 153"/>
                <a:gd name="T56" fmla="*/ 52 w 215"/>
                <a:gd name="T57" fmla="*/ 151 h 153"/>
                <a:gd name="T58" fmla="*/ 55 w 215"/>
                <a:gd name="T59" fmla="*/ 144 h 153"/>
                <a:gd name="T60" fmla="*/ 60 w 215"/>
                <a:gd name="T61" fmla="*/ 142 h 153"/>
                <a:gd name="T62" fmla="*/ 64 w 215"/>
                <a:gd name="T63" fmla="*/ 136 h 153"/>
                <a:gd name="T64" fmla="*/ 70 w 215"/>
                <a:gd name="T65" fmla="*/ 135 h 153"/>
                <a:gd name="T66" fmla="*/ 87 w 215"/>
                <a:gd name="T67" fmla="*/ 134 h 153"/>
                <a:gd name="T68" fmla="*/ 100 w 215"/>
                <a:gd name="T69" fmla="*/ 129 h 153"/>
                <a:gd name="T70" fmla="*/ 112 w 215"/>
                <a:gd name="T71" fmla="*/ 119 h 153"/>
                <a:gd name="T72" fmla="*/ 118 w 215"/>
                <a:gd name="T73" fmla="*/ 121 h 153"/>
                <a:gd name="T74" fmla="*/ 127 w 215"/>
                <a:gd name="T75" fmla="*/ 119 h 153"/>
                <a:gd name="T76" fmla="*/ 144 w 215"/>
                <a:gd name="T77" fmla="*/ 102 h 153"/>
                <a:gd name="T78" fmla="*/ 178 w 215"/>
                <a:gd name="T79" fmla="*/ 91 h 153"/>
                <a:gd name="T80" fmla="*/ 197 w 215"/>
                <a:gd name="T81" fmla="*/ 82 h 153"/>
                <a:gd name="T82" fmla="*/ 197 w 215"/>
                <a:gd name="T83" fmla="*/ 73 h 153"/>
                <a:gd name="T84" fmla="*/ 200 w 215"/>
                <a:gd name="T85" fmla="*/ 63 h 153"/>
                <a:gd name="T86" fmla="*/ 215 w 215"/>
                <a:gd name="T87" fmla="*/ 56 h 153"/>
                <a:gd name="T88" fmla="*/ 215 w 215"/>
                <a:gd name="T89" fmla="*/ 5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53">
                  <a:moveTo>
                    <a:pt x="215" y="56"/>
                  </a:moveTo>
                  <a:lnTo>
                    <a:pt x="208" y="40"/>
                  </a:lnTo>
                  <a:lnTo>
                    <a:pt x="188" y="0"/>
                  </a:lnTo>
                  <a:lnTo>
                    <a:pt x="129" y="10"/>
                  </a:lnTo>
                  <a:lnTo>
                    <a:pt x="111" y="20"/>
                  </a:lnTo>
                  <a:lnTo>
                    <a:pt x="98" y="45"/>
                  </a:lnTo>
                  <a:lnTo>
                    <a:pt x="88" y="49"/>
                  </a:lnTo>
                  <a:lnTo>
                    <a:pt x="83" y="41"/>
                  </a:lnTo>
                  <a:lnTo>
                    <a:pt x="74" y="42"/>
                  </a:lnTo>
                  <a:lnTo>
                    <a:pt x="55" y="41"/>
                  </a:lnTo>
                  <a:lnTo>
                    <a:pt x="51" y="38"/>
                  </a:lnTo>
                  <a:lnTo>
                    <a:pt x="27" y="39"/>
                  </a:lnTo>
                  <a:lnTo>
                    <a:pt x="21" y="41"/>
                  </a:lnTo>
                  <a:lnTo>
                    <a:pt x="12" y="34"/>
                  </a:lnTo>
                  <a:lnTo>
                    <a:pt x="8" y="46"/>
                  </a:lnTo>
                  <a:lnTo>
                    <a:pt x="10" y="55"/>
                  </a:lnTo>
                  <a:lnTo>
                    <a:pt x="1" y="64"/>
                  </a:lnTo>
                  <a:lnTo>
                    <a:pt x="3" y="74"/>
                  </a:lnTo>
                  <a:lnTo>
                    <a:pt x="0" y="79"/>
                  </a:lnTo>
                  <a:lnTo>
                    <a:pt x="3" y="89"/>
                  </a:lnTo>
                  <a:lnTo>
                    <a:pt x="0" y="91"/>
                  </a:lnTo>
                  <a:lnTo>
                    <a:pt x="6" y="100"/>
                  </a:lnTo>
                  <a:lnTo>
                    <a:pt x="11" y="118"/>
                  </a:lnTo>
                  <a:lnTo>
                    <a:pt x="14" y="125"/>
                  </a:lnTo>
                  <a:lnTo>
                    <a:pt x="14" y="138"/>
                  </a:lnTo>
                  <a:lnTo>
                    <a:pt x="20" y="152"/>
                  </a:lnTo>
                  <a:lnTo>
                    <a:pt x="35" y="153"/>
                  </a:lnTo>
                  <a:lnTo>
                    <a:pt x="42" y="150"/>
                  </a:lnTo>
                  <a:lnTo>
                    <a:pt x="52" y="151"/>
                  </a:lnTo>
                  <a:lnTo>
                    <a:pt x="55" y="144"/>
                  </a:lnTo>
                  <a:lnTo>
                    <a:pt x="60" y="142"/>
                  </a:lnTo>
                  <a:lnTo>
                    <a:pt x="64" y="136"/>
                  </a:lnTo>
                  <a:lnTo>
                    <a:pt x="70" y="135"/>
                  </a:lnTo>
                  <a:lnTo>
                    <a:pt x="87" y="134"/>
                  </a:lnTo>
                  <a:lnTo>
                    <a:pt x="100" y="129"/>
                  </a:lnTo>
                  <a:lnTo>
                    <a:pt x="112" y="119"/>
                  </a:lnTo>
                  <a:lnTo>
                    <a:pt x="118" y="121"/>
                  </a:lnTo>
                  <a:lnTo>
                    <a:pt x="127" y="119"/>
                  </a:lnTo>
                  <a:lnTo>
                    <a:pt x="144" y="102"/>
                  </a:lnTo>
                  <a:lnTo>
                    <a:pt x="178" y="91"/>
                  </a:lnTo>
                  <a:lnTo>
                    <a:pt x="197" y="82"/>
                  </a:lnTo>
                  <a:lnTo>
                    <a:pt x="197" y="73"/>
                  </a:lnTo>
                  <a:lnTo>
                    <a:pt x="200" y="63"/>
                  </a:lnTo>
                  <a:lnTo>
                    <a:pt x="215" y="56"/>
                  </a:lnTo>
                  <a:lnTo>
                    <a:pt x="215" y="5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 name="South Africa"/>
            <p:cNvSpPr>
              <a:spLocks noEditPoints="1"/>
            </p:cNvSpPr>
            <p:nvPr/>
          </p:nvSpPr>
          <p:spPr bwMode="auto">
            <a:xfrm>
              <a:off x="6526212" y="5316538"/>
              <a:ext cx="534987" cy="481013"/>
            </a:xfrm>
            <a:custGeom>
              <a:avLst/>
              <a:gdLst>
                <a:gd name="T0" fmla="*/ 299 w 337"/>
                <a:gd name="T1" fmla="*/ 1 h 303"/>
                <a:gd name="T2" fmla="*/ 282 w 337"/>
                <a:gd name="T3" fmla="*/ 0 h 303"/>
                <a:gd name="T4" fmla="*/ 244 w 337"/>
                <a:gd name="T5" fmla="*/ 18 h 303"/>
                <a:gd name="T6" fmla="*/ 217 w 337"/>
                <a:gd name="T7" fmla="*/ 51 h 303"/>
                <a:gd name="T8" fmla="*/ 200 w 337"/>
                <a:gd name="T9" fmla="*/ 62 h 303"/>
                <a:gd name="T10" fmla="*/ 193 w 337"/>
                <a:gd name="T11" fmla="*/ 80 h 303"/>
                <a:gd name="T12" fmla="*/ 163 w 337"/>
                <a:gd name="T13" fmla="*/ 85 h 303"/>
                <a:gd name="T14" fmla="*/ 145 w 337"/>
                <a:gd name="T15" fmla="*/ 76 h 303"/>
                <a:gd name="T16" fmla="*/ 130 w 337"/>
                <a:gd name="T17" fmla="*/ 92 h 303"/>
                <a:gd name="T18" fmla="*/ 109 w 337"/>
                <a:gd name="T19" fmla="*/ 110 h 303"/>
                <a:gd name="T20" fmla="*/ 90 w 337"/>
                <a:gd name="T21" fmla="*/ 104 h 303"/>
                <a:gd name="T22" fmla="*/ 81 w 337"/>
                <a:gd name="T23" fmla="*/ 67 h 303"/>
                <a:gd name="T24" fmla="*/ 72 w 337"/>
                <a:gd name="T25" fmla="*/ 151 h 303"/>
                <a:gd name="T26" fmla="*/ 42 w 337"/>
                <a:gd name="T27" fmla="*/ 165 h 303"/>
                <a:gd name="T28" fmla="*/ 21 w 337"/>
                <a:gd name="T29" fmla="*/ 159 h 303"/>
                <a:gd name="T30" fmla="*/ 10 w 337"/>
                <a:gd name="T31" fmla="*/ 142 h 303"/>
                <a:gd name="T32" fmla="*/ 13 w 337"/>
                <a:gd name="T33" fmla="*/ 185 h 303"/>
                <a:gd name="T34" fmla="*/ 22 w 337"/>
                <a:gd name="T35" fmla="*/ 205 h 303"/>
                <a:gd name="T36" fmla="*/ 34 w 337"/>
                <a:gd name="T37" fmla="*/ 246 h 303"/>
                <a:gd name="T38" fmla="*/ 33 w 337"/>
                <a:gd name="T39" fmla="*/ 265 h 303"/>
                <a:gd name="T40" fmla="*/ 34 w 337"/>
                <a:gd name="T41" fmla="*/ 286 h 303"/>
                <a:gd name="T42" fmla="*/ 43 w 337"/>
                <a:gd name="T43" fmla="*/ 293 h 303"/>
                <a:gd name="T44" fmla="*/ 58 w 337"/>
                <a:gd name="T45" fmla="*/ 303 h 303"/>
                <a:gd name="T46" fmla="*/ 79 w 337"/>
                <a:gd name="T47" fmla="*/ 292 h 303"/>
                <a:gd name="T48" fmla="*/ 118 w 337"/>
                <a:gd name="T49" fmla="*/ 279 h 303"/>
                <a:gd name="T50" fmla="*/ 138 w 337"/>
                <a:gd name="T51" fmla="*/ 277 h 303"/>
                <a:gd name="T52" fmla="*/ 170 w 337"/>
                <a:gd name="T53" fmla="*/ 277 h 303"/>
                <a:gd name="T54" fmla="*/ 185 w 337"/>
                <a:gd name="T55" fmla="*/ 275 h 303"/>
                <a:gd name="T56" fmla="*/ 217 w 337"/>
                <a:gd name="T57" fmla="*/ 264 h 303"/>
                <a:gd name="T58" fmla="*/ 247 w 337"/>
                <a:gd name="T59" fmla="*/ 239 h 303"/>
                <a:gd name="T60" fmla="*/ 286 w 337"/>
                <a:gd name="T61" fmla="*/ 198 h 303"/>
                <a:gd name="T62" fmla="*/ 302 w 337"/>
                <a:gd name="T63" fmla="*/ 174 h 303"/>
                <a:gd name="T64" fmla="*/ 320 w 337"/>
                <a:gd name="T65" fmla="*/ 158 h 303"/>
                <a:gd name="T66" fmla="*/ 330 w 337"/>
                <a:gd name="T67" fmla="*/ 128 h 303"/>
                <a:gd name="T68" fmla="*/ 322 w 337"/>
                <a:gd name="T69" fmla="*/ 110 h 303"/>
                <a:gd name="T70" fmla="*/ 304 w 337"/>
                <a:gd name="T71" fmla="*/ 123 h 303"/>
                <a:gd name="T72" fmla="*/ 294 w 337"/>
                <a:gd name="T73" fmla="*/ 102 h 303"/>
                <a:gd name="T74" fmla="*/ 302 w 337"/>
                <a:gd name="T75" fmla="*/ 87 h 303"/>
                <a:gd name="T76" fmla="*/ 318 w 337"/>
                <a:gd name="T77" fmla="*/ 89 h 303"/>
                <a:gd name="T78" fmla="*/ 322 w 337"/>
                <a:gd name="T79" fmla="*/ 54 h 303"/>
                <a:gd name="T80" fmla="*/ 310 w 337"/>
                <a:gd name="T81" fmla="*/ 4 h 303"/>
                <a:gd name="T82" fmla="*/ 234 w 337"/>
                <a:gd name="T83" fmla="*/ 201 h 303"/>
                <a:gd name="T84" fmla="*/ 214 w 337"/>
                <a:gd name="T85" fmla="*/ 185 h 303"/>
                <a:gd name="T86" fmla="*/ 237 w 337"/>
                <a:gd name="T87" fmla="*/ 161 h 303"/>
                <a:gd name="T88" fmla="*/ 255 w 337"/>
                <a:gd name="T89" fmla="*/ 163 h 303"/>
                <a:gd name="T90" fmla="*/ 255 w 337"/>
                <a:gd name="T91" fmla="*/ 182 h 303"/>
                <a:gd name="T92" fmla="*/ 239 w 337"/>
                <a:gd name="T93" fmla="*/ 193 h 303"/>
                <a:gd name="T94" fmla="*/ 234 w 337"/>
                <a:gd name="T95" fmla="*/ 2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303">
                  <a:moveTo>
                    <a:pt x="310" y="4"/>
                  </a:moveTo>
                  <a:lnTo>
                    <a:pt x="299" y="1"/>
                  </a:lnTo>
                  <a:lnTo>
                    <a:pt x="292" y="5"/>
                  </a:lnTo>
                  <a:lnTo>
                    <a:pt x="282" y="0"/>
                  </a:lnTo>
                  <a:lnTo>
                    <a:pt x="274" y="0"/>
                  </a:lnTo>
                  <a:lnTo>
                    <a:pt x="244" y="18"/>
                  </a:lnTo>
                  <a:lnTo>
                    <a:pt x="225" y="35"/>
                  </a:lnTo>
                  <a:lnTo>
                    <a:pt x="217" y="51"/>
                  </a:lnTo>
                  <a:lnTo>
                    <a:pt x="211" y="60"/>
                  </a:lnTo>
                  <a:lnTo>
                    <a:pt x="200" y="62"/>
                  </a:lnTo>
                  <a:lnTo>
                    <a:pt x="195" y="73"/>
                  </a:lnTo>
                  <a:lnTo>
                    <a:pt x="193" y="80"/>
                  </a:lnTo>
                  <a:lnTo>
                    <a:pt x="179" y="86"/>
                  </a:lnTo>
                  <a:lnTo>
                    <a:pt x="163" y="85"/>
                  </a:lnTo>
                  <a:lnTo>
                    <a:pt x="154" y="78"/>
                  </a:lnTo>
                  <a:lnTo>
                    <a:pt x="145" y="76"/>
                  </a:lnTo>
                  <a:lnTo>
                    <a:pt x="135" y="81"/>
                  </a:lnTo>
                  <a:lnTo>
                    <a:pt x="130" y="92"/>
                  </a:lnTo>
                  <a:lnTo>
                    <a:pt x="119" y="100"/>
                  </a:lnTo>
                  <a:lnTo>
                    <a:pt x="109" y="110"/>
                  </a:lnTo>
                  <a:lnTo>
                    <a:pt x="94" y="113"/>
                  </a:lnTo>
                  <a:lnTo>
                    <a:pt x="90" y="104"/>
                  </a:lnTo>
                  <a:lnTo>
                    <a:pt x="92" y="90"/>
                  </a:lnTo>
                  <a:lnTo>
                    <a:pt x="81" y="67"/>
                  </a:lnTo>
                  <a:lnTo>
                    <a:pt x="76" y="64"/>
                  </a:lnTo>
                  <a:lnTo>
                    <a:pt x="72" y="151"/>
                  </a:lnTo>
                  <a:lnTo>
                    <a:pt x="53" y="163"/>
                  </a:lnTo>
                  <a:lnTo>
                    <a:pt x="42" y="165"/>
                  </a:lnTo>
                  <a:lnTo>
                    <a:pt x="30" y="161"/>
                  </a:lnTo>
                  <a:lnTo>
                    <a:pt x="21" y="159"/>
                  </a:lnTo>
                  <a:lnTo>
                    <a:pt x="18" y="148"/>
                  </a:lnTo>
                  <a:lnTo>
                    <a:pt x="10" y="142"/>
                  </a:lnTo>
                  <a:lnTo>
                    <a:pt x="0" y="154"/>
                  </a:lnTo>
                  <a:lnTo>
                    <a:pt x="13" y="185"/>
                  </a:lnTo>
                  <a:lnTo>
                    <a:pt x="13" y="185"/>
                  </a:lnTo>
                  <a:lnTo>
                    <a:pt x="22" y="205"/>
                  </a:lnTo>
                  <a:lnTo>
                    <a:pt x="34" y="227"/>
                  </a:lnTo>
                  <a:lnTo>
                    <a:pt x="34" y="246"/>
                  </a:lnTo>
                  <a:lnTo>
                    <a:pt x="27" y="249"/>
                  </a:lnTo>
                  <a:lnTo>
                    <a:pt x="33" y="265"/>
                  </a:lnTo>
                  <a:lnTo>
                    <a:pt x="32" y="279"/>
                  </a:lnTo>
                  <a:lnTo>
                    <a:pt x="34" y="286"/>
                  </a:lnTo>
                  <a:lnTo>
                    <a:pt x="35" y="283"/>
                  </a:lnTo>
                  <a:lnTo>
                    <a:pt x="43" y="293"/>
                  </a:lnTo>
                  <a:lnTo>
                    <a:pt x="49" y="294"/>
                  </a:lnTo>
                  <a:lnTo>
                    <a:pt x="58" y="303"/>
                  </a:lnTo>
                  <a:lnTo>
                    <a:pt x="66" y="302"/>
                  </a:lnTo>
                  <a:lnTo>
                    <a:pt x="79" y="292"/>
                  </a:lnTo>
                  <a:lnTo>
                    <a:pt x="97" y="289"/>
                  </a:lnTo>
                  <a:lnTo>
                    <a:pt x="118" y="279"/>
                  </a:lnTo>
                  <a:lnTo>
                    <a:pt x="126" y="281"/>
                  </a:lnTo>
                  <a:lnTo>
                    <a:pt x="138" y="277"/>
                  </a:lnTo>
                  <a:lnTo>
                    <a:pt x="160" y="282"/>
                  </a:lnTo>
                  <a:lnTo>
                    <a:pt x="170" y="277"/>
                  </a:lnTo>
                  <a:lnTo>
                    <a:pt x="182" y="281"/>
                  </a:lnTo>
                  <a:lnTo>
                    <a:pt x="185" y="275"/>
                  </a:lnTo>
                  <a:lnTo>
                    <a:pt x="195" y="274"/>
                  </a:lnTo>
                  <a:lnTo>
                    <a:pt x="217" y="264"/>
                  </a:lnTo>
                  <a:lnTo>
                    <a:pt x="232" y="253"/>
                  </a:lnTo>
                  <a:lnTo>
                    <a:pt x="247" y="239"/>
                  </a:lnTo>
                  <a:lnTo>
                    <a:pt x="273" y="215"/>
                  </a:lnTo>
                  <a:lnTo>
                    <a:pt x="286" y="198"/>
                  </a:lnTo>
                  <a:lnTo>
                    <a:pt x="292" y="186"/>
                  </a:lnTo>
                  <a:lnTo>
                    <a:pt x="302" y="174"/>
                  </a:lnTo>
                  <a:lnTo>
                    <a:pt x="306" y="170"/>
                  </a:lnTo>
                  <a:lnTo>
                    <a:pt x="320" y="158"/>
                  </a:lnTo>
                  <a:lnTo>
                    <a:pt x="327" y="148"/>
                  </a:lnTo>
                  <a:lnTo>
                    <a:pt x="330" y="128"/>
                  </a:lnTo>
                  <a:lnTo>
                    <a:pt x="337" y="110"/>
                  </a:lnTo>
                  <a:lnTo>
                    <a:pt x="322" y="110"/>
                  </a:lnTo>
                  <a:lnTo>
                    <a:pt x="316" y="120"/>
                  </a:lnTo>
                  <a:lnTo>
                    <a:pt x="304" y="123"/>
                  </a:lnTo>
                  <a:lnTo>
                    <a:pt x="293" y="110"/>
                  </a:lnTo>
                  <a:lnTo>
                    <a:pt x="294" y="102"/>
                  </a:lnTo>
                  <a:lnTo>
                    <a:pt x="300" y="93"/>
                  </a:lnTo>
                  <a:lnTo>
                    <a:pt x="302" y="87"/>
                  </a:lnTo>
                  <a:lnTo>
                    <a:pt x="308" y="85"/>
                  </a:lnTo>
                  <a:lnTo>
                    <a:pt x="318" y="89"/>
                  </a:lnTo>
                  <a:lnTo>
                    <a:pt x="316" y="80"/>
                  </a:lnTo>
                  <a:lnTo>
                    <a:pt x="322" y="54"/>
                  </a:lnTo>
                  <a:lnTo>
                    <a:pt x="318" y="37"/>
                  </a:lnTo>
                  <a:lnTo>
                    <a:pt x="310" y="4"/>
                  </a:lnTo>
                  <a:lnTo>
                    <a:pt x="310" y="4"/>
                  </a:lnTo>
                  <a:close/>
                  <a:moveTo>
                    <a:pt x="234" y="201"/>
                  </a:moveTo>
                  <a:lnTo>
                    <a:pt x="227" y="203"/>
                  </a:lnTo>
                  <a:lnTo>
                    <a:pt x="214" y="185"/>
                  </a:lnTo>
                  <a:lnTo>
                    <a:pt x="225" y="170"/>
                  </a:lnTo>
                  <a:lnTo>
                    <a:pt x="237" y="161"/>
                  </a:lnTo>
                  <a:lnTo>
                    <a:pt x="246" y="156"/>
                  </a:lnTo>
                  <a:lnTo>
                    <a:pt x="255" y="163"/>
                  </a:lnTo>
                  <a:lnTo>
                    <a:pt x="261" y="170"/>
                  </a:lnTo>
                  <a:lnTo>
                    <a:pt x="255" y="182"/>
                  </a:lnTo>
                  <a:lnTo>
                    <a:pt x="250" y="190"/>
                  </a:lnTo>
                  <a:lnTo>
                    <a:pt x="239" y="193"/>
                  </a:lnTo>
                  <a:lnTo>
                    <a:pt x="234" y="201"/>
                  </a:lnTo>
                  <a:lnTo>
                    <a:pt x="234" y="20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 name="Zambia"/>
            <p:cNvSpPr>
              <a:spLocks/>
            </p:cNvSpPr>
            <p:nvPr/>
          </p:nvSpPr>
          <p:spPr bwMode="auto">
            <a:xfrm>
              <a:off x="6721475" y="4792663"/>
              <a:ext cx="390525" cy="368300"/>
            </a:xfrm>
            <a:custGeom>
              <a:avLst/>
              <a:gdLst>
                <a:gd name="T0" fmla="*/ 183 w 246"/>
                <a:gd name="T1" fmla="*/ 7 h 232"/>
                <a:gd name="T2" fmla="*/ 181 w 246"/>
                <a:gd name="T3" fmla="*/ 0 h 232"/>
                <a:gd name="T4" fmla="*/ 147 w 246"/>
                <a:gd name="T5" fmla="*/ 8 h 232"/>
                <a:gd name="T6" fmla="*/ 146 w 246"/>
                <a:gd name="T7" fmla="*/ 33 h 232"/>
                <a:gd name="T8" fmla="*/ 138 w 246"/>
                <a:gd name="T9" fmla="*/ 85 h 232"/>
                <a:gd name="T10" fmla="*/ 158 w 246"/>
                <a:gd name="T11" fmla="*/ 98 h 232"/>
                <a:gd name="T12" fmla="*/ 165 w 246"/>
                <a:gd name="T13" fmla="*/ 120 h 232"/>
                <a:gd name="T14" fmla="*/ 141 w 246"/>
                <a:gd name="T15" fmla="*/ 107 h 232"/>
                <a:gd name="T16" fmla="*/ 117 w 246"/>
                <a:gd name="T17" fmla="*/ 94 h 232"/>
                <a:gd name="T18" fmla="*/ 100 w 246"/>
                <a:gd name="T19" fmla="*/ 88 h 232"/>
                <a:gd name="T20" fmla="*/ 77 w 246"/>
                <a:gd name="T21" fmla="*/ 74 h 232"/>
                <a:gd name="T22" fmla="*/ 53 w 246"/>
                <a:gd name="T23" fmla="*/ 72 h 232"/>
                <a:gd name="T24" fmla="*/ 46 w 246"/>
                <a:gd name="T25" fmla="*/ 65 h 232"/>
                <a:gd name="T26" fmla="*/ 45 w 246"/>
                <a:gd name="T27" fmla="*/ 84 h 232"/>
                <a:gd name="T28" fmla="*/ 45 w 246"/>
                <a:gd name="T29" fmla="*/ 103 h 232"/>
                <a:gd name="T30" fmla="*/ 3 w 246"/>
                <a:gd name="T31" fmla="*/ 112 h 232"/>
                <a:gd name="T32" fmla="*/ 14 w 246"/>
                <a:gd name="T33" fmla="*/ 207 h 232"/>
                <a:gd name="T34" fmla="*/ 44 w 246"/>
                <a:gd name="T35" fmla="*/ 216 h 232"/>
                <a:gd name="T36" fmla="*/ 66 w 246"/>
                <a:gd name="T37" fmla="*/ 223 h 232"/>
                <a:gd name="T38" fmla="*/ 69 w 246"/>
                <a:gd name="T39" fmla="*/ 226 h 232"/>
                <a:gd name="T40" fmla="*/ 98 w 246"/>
                <a:gd name="T41" fmla="*/ 232 h 232"/>
                <a:gd name="T42" fmla="*/ 118 w 246"/>
                <a:gd name="T43" fmla="*/ 216 h 232"/>
                <a:gd name="T44" fmla="*/ 144 w 246"/>
                <a:gd name="T45" fmla="*/ 195 h 232"/>
                <a:gd name="T46" fmla="*/ 159 w 246"/>
                <a:gd name="T47" fmla="*/ 177 h 232"/>
                <a:gd name="T48" fmla="*/ 174 w 246"/>
                <a:gd name="T49" fmla="*/ 156 h 232"/>
                <a:gd name="T50" fmla="*/ 227 w 246"/>
                <a:gd name="T51" fmla="*/ 131 h 232"/>
                <a:gd name="T52" fmla="*/ 240 w 246"/>
                <a:gd name="T53" fmla="*/ 100 h 232"/>
                <a:gd name="T54" fmla="*/ 242 w 246"/>
                <a:gd name="T55" fmla="*/ 62 h 232"/>
                <a:gd name="T56" fmla="*/ 241 w 246"/>
                <a:gd name="T57" fmla="*/ 35 h 232"/>
                <a:gd name="T58" fmla="*/ 220 w 246"/>
                <a:gd name="T59" fmla="*/ 17 h 232"/>
                <a:gd name="T60" fmla="*/ 198 w 246"/>
                <a:gd name="T61" fmla="*/ 9 h 232"/>
                <a:gd name="T62" fmla="*/ 197 w 246"/>
                <a:gd name="T63" fmla="*/ 8 h 232"/>
                <a:gd name="T64" fmla="*/ 195 w 246"/>
                <a:gd name="T65" fmla="*/ 14 h 232"/>
                <a:gd name="T66" fmla="*/ 191 w 246"/>
                <a:gd name="T67" fmla="*/ 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32">
                  <a:moveTo>
                    <a:pt x="191" y="9"/>
                  </a:moveTo>
                  <a:lnTo>
                    <a:pt x="183" y="7"/>
                  </a:lnTo>
                  <a:lnTo>
                    <a:pt x="185" y="2"/>
                  </a:lnTo>
                  <a:lnTo>
                    <a:pt x="181" y="0"/>
                  </a:lnTo>
                  <a:lnTo>
                    <a:pt x="153" y="5"/>
                  </a:lnTo>
                  <a:lnTo>
                    <a:pt x="147" y="8"/>
                  </a:lnTo>
                  <a:lnTo>
                    <a:pt x="141" y="23"/>
                  </a:lnTo>
                  <a:lnTo>
                    <a:pt x="146" y="33"/>
                  </a:lnTo>
                  <a:lnTo>
                    <a:pt x="141" y="61"/>
                  </a:lnTo>
                  <a:lnTo>
                    <a:pt x="138" y="85"/>
                  </a:lnTo>
                  <a:lnTo>
                    <a:pt x="143" y="89"/>
                  </a:lnTo>
                  <a:lnTo>
                    <a:pt x="158" y="98"/>
                  </a:lnTo>
                  <a:lnTo>
                    <a:pt x="164" y="94"/>
                  </a:lnTo>
                  <a:lnTo>
                    <a:pt x="165" y="120"/>
                  </a:lnTo>
                  <a:lnTo>
                    <a:pt x="149" y="120"/>
                  </a:lnTo>
                  <a:lnTo>
                    <a:pt x="141" y="107"/>
                  </a:lnTo>
                  <a:lnTo>
                    <a:pt x="134" y="97"/>
                  </a:lnTo>
                  <a:lnTo>
                    <a:pt x="117" y="94"/>
                  </a:lnTo>
                  <a:lnTo>
                    <a:pt x="113" y="81"/>
                  </a:lnTo>
                  <a:lnTo>
                    <a:pt x="100" y="88"/>
                  </a:lnTo>
                  <a:lnTo>
                    <a:pt x="83" y="84"/>
                  </a:lnTo>
                  <a:lnTo>
                    <a:pt x="77" y="74"/>
                  </a:lnTo>
                  <a:lnTo>
                    <a:pt x="64" y="72"/>
                  </a:lnTo>
                  <a:lnTo>
                    <a:pt x="53" y="72"/>
                  </a:lnTo>
                  <a:lnTo>
                    <a:pt x="52" y="65"/>
                  </a:lnTo>
                  <a:lnTo>
                    <a:pt x="46" y="65"/>
                  </a:lnTo>
                  <a:lnTo>
                    <a:pt x="48" y="72"/>
                  </a:lnTo>
                  <a:lnTo>
                    <a:pt x="45" y="84"/>
                  </a:lnTo>
                  <a:lnTo>
                    <a:pt x="48" y="95"/>
                  </a:lnTo>
                  <a:lnTo>
                    <a:pt x="45" y="103"/>
                  </a:lnTo>
                  <a:lnTo>
                    <a:pt x="47" y="112"/>
                  </a:lnTo>
                  <a:lnTo>
                    <a:pt x="3" y="112"/>
                  </a:lnTo>
                  <a:lnTo>
                    <a:pt x="0" y="187"/>
                  </a:lnTo>
                  <a:lnTo>
                    <a:pt x="14" y="207"/>
                  </a:lnTo>
                  <a:lnTo>
                    <a:pt x="27" y="222"/>
                  </a:lnTo>
                  <a:lnTo>
                    <a:pt x="44" y="216"/>
                  </a:lnTo>
                  <a:lnTo>
                    <a:pt x="57" y="217"/>
                  </a:lnTo>
                  <a:lnTo>
                    <a:pt x="66" y="223"/>
                  </a:lnTo>
                  <a:lnTo>
                    <a:pt x="66" y="225"/>
                  </a:lnTo>
                  <a:lnTo>
                    <a:pt x="69" y="226"/>
                  </a:lnTo>
                  <a:lnTo>
                    <a:pt x="93" y="229"/>
                  </a:lnTo>
                  <a:lnTo>
                    <a:pt x="98" y="232"/>
                  </a:lnTo>
                  <a:lnTo>
                    <a:pt x="106" y="231"/>
                  </a:lnTo>
                  <a:lnTo>
                    <a:pt x="118" y="216"/>
                  </a:lnTo>
                  <a:lnTo>
                    <a:pt x="137" y="197"/>
                  </a:lnTo>
                  <a:lnTo>
                    <a:pt x="144" y="195"/>
                  </a:lnTo>
                  <a:lnTo>
                    <a:pt x="147" y="186"/>
                  </a:lnTo>
                  <a:lnTo>
                    <a:pt x="159" y="177"/>
                  </a:lnTo>
                  <a:lnTo>
                    <a:pt x="175" y="173"/>
                  </a:lnTo>
                  <a:lnTo>
                    <a:pt x="174" y="156"/>
                  </a:lnTo>
                  <a:lnTo>
                    <a:pt x="237" y="137"/>
                  </a:lnTo>
                  <a:lnTo>
                    <a:pt x="227" y="131"/>
                  </a:lnTo>
                  <a:lnTo>
                    <a:pt x="234" y="109"/>
                  </a:lnTo>
                  <a:lnTo>
                    <a:pt x="240" y="100"/>
                  </a:lnTo>
                  <a:lnTo>
                    <a:pt x="237" y="81"/>
                  </a:lnTo>
                  <a:lnTo>
                    <a:pt x="242" y="62"/>
                  </a:lnTo>
                  <a:lnTo>
                    <a:pt x="246" y="55"/>
                  </a:lnTo>
                  <a:lnTo>
                    <a:pt x="241" y="35"/>
                  </a:lnTo>
                  <a:lnTo>
                    <a:pt x="231" y="25"/>
                  </a:lnTo>
                  <a:lnTo>
                    <a:pt x="220" y="17"/>
                  </a:lnTo>
                  <a:lnTo>
                    <a:pt x="207" y="14"/>
                  </a:lnTo>
                  <a:lnTo>
                    <a:pt x="198" y="9"/>
                  </a:lnTo>
                  <a:lnTo>
                    <a:pt x="197" y="8"/>
                  </a:lnTo>
                  <a:lnTo>
                    <a:pt x="197" y="8"/>
                  </a:lnTo>
                  <a:lnTo>
                    <a:pt x="199" y="13"/>
                  </a:lnTo>
                  <a:lnTo>
                    <a:pt x="195" y="14"/>
                  </a:lnTo>
                  <a:lnTo>
                    <a:pt x="191" y="9"/>
                  </a:lnTo>
                  <a:lnTo>
                    <a:pt x="191" y="9"/>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 name="Zimbabwe"/>
            <p:cNvSpPr>
              <a:spLocks/>
            </p:cNvSpPr>
            <p:nvPr/>
          </p:nvSpPr>
          <p:spPr bwMode="auto">
            <a:xfrm>
              <a:off x="6831012" y="5067301"/>
              <a:ext cx="250825" cy="257175"/>
            </a:xfrm>
            <a:custGeom>
              <a:avLst/>
              <a:gdLst>
                <a:gd name="T0" fmla="*/ 118 w 158"/>
                <a:gd name="T1" fmla="*/ 161 h 162"/>
                <a:gd name="T2" fmla="*/ 141 w 158"/>
                <a:gd name="T3" fmla="*/ 134 h 162"/>
                <a:gd name="T4" fmla="*/ 147 w 158"/>
                <a:gd name="T5" fmla="*/ 117 h 162"/>
                <a:gd name="T6" fmla="*/ 151 w 158"/>
                <a:gd name="T7" fmla="*/ 114 h 162"/>
                <a:gd name="T8" fmla="*/ 153 w 158"/>
                <a:gd name="T9" fmla="*/ 100 h 162"/>
                <a:gd name="T10" fmla="*/ 151 w 158"/>
                <a:gd name="T11" fmla="*/ 94 h 162"/>
                <a:gd name="T12" fmla="*/ 152 w 158"/>
                <a:gd name="T13" fmla="*/ 76 h 162"/>
                <a:gd name="T14" fmla="*/ 157 w 158"/>
                <a:gd name="T15" fmla="*/ 59 h 162"/>
                <a:gd name="T16" fmla="*/ 158 w 158"/>
                <a:gd name="T17" fmla="*/ 29 h 162"/>
                <a:gd name="T18" fmla="*/ 148 w 158"/>
                <a:gd name="T19" fmla="*/ 22 h 162"/>
                <a:gd name="T20" fmla="*/ 138 w 158"/>
                <a:gd name="T21" fmla="*/ 20 h 162"/>
                <a:gd name="T22" fmla="*/ 134 w 158"/>
                <a:gd name="T23" fmla="*/ 14 h 162"/>
                <a:gd name="T24" fmla="*/ 124 w 158"/>
                <a:gd name="T25" fmla="*/ 9 h 162"/>
                <a:gd name="T26" fmla="*/ 107 w 158"/>
                <a:gd name="T27" fmla="*/ 10 h 162"/>
                <a:gd name="T28" fmla="*/ 106 w 158"/>
                <a:gd name="T29" fmla="*/ 0 h 162"/>
                <a:gd name="T30" fmla="*/ 90 w 158"/>
                <a:gd name="T31" fmla="*/ 4 h 162"/>
                <a:gd name="T32" fmla="*/ 78 w 158"/>
                <a:gd name="T33" fmla="*/ 13 h 162"/>
                <a:gd name="T34" fmla="*/ 75 w 158"/>
                <a:gd name="T35" fmla="*/ 22 h 162"/>
                <a:gd name="T36" fmla="*/ 68 w 158"/>
                <a:gd name="T37" fmla="*/ 24 h 162"/>
                <a:gd name="T38" fmla="*/ 49 w 158"/>
                <a:gd name="T39" fmla="*/ 43 h 162"/>
                <a:gd name="T40" fmla="*/ 37 w 158"/>
                <a:gd name="T41" fmla="*/ 58 h 162"/>
                <a:gd name="T42" fmla="*/ 29 w 158"/>
                <a:gd name="T43" fmla="*/ 59 h 162"/>
                <a:gd name="T44" fmla="*/ 24 w 158"/>
                <a:gd name="T45" fmla="*/ 56 h 162"/>
                <a:gd name="T46" fmla="*/ 0 w 158"/>
                <a:gd name="T47" fmla="*/ 53 h 162"/>
                <a:gd name="T48" fmla="*/ 7 w 158"/>
                <a:gd name="T49" fmla="*/ 72 h 162"/>
                <a:gd name="T50" fmla="*/ 11 w 158"/>
                <a:gd name="T51" fmla="*/ 77 h 162"/>
                <a:gd name="T52" fmla="*/ 17 w 158"/>
                <a:gd name="T53" fmla="*/ 91 h 162"/>
                <a:gd name="T54" fmla="*/ 40 w 158"/>
                <a:gd name="T55" fmla="*/ 117 h 162"/>
                <a:gd name="T56" fmla="*/ 48 w 158"/>
                <a:gd name="T57" fmla="*/ 119 h 162"/>
                <a:gd name="T58" fmla="*/ 48 w 158"/>
                <a:gd name="T59" fmla="*/ 127 h 162"/>
                <a:gd name="T60" fmla="*/ 54 w 158"/>
                <a:gd name="T61" fmla="*/ 143 h 162"/>
                <a:gd name="T62" fmla="*/ 69 w 158"/>
                <a:gd name="T63" fmla="*/ 146 h 162"/>
                <a:gd name="T64" fmla="*/ 82 w 158"/>
                <a:gd name="T65" fmla="*/ 157 h 162"/>
                <a:gd name="T66" fmla="*/ 90 w 158"/>
                <a:gd name="T67" fmla="*/ 157 h 162"/>
                <a:gd name="T68" fmla="*/ 100 w 158"/>
                <a:gd name="T69" fmla="*/ 162 h 162"/>
                <a:gd name="T70" fmla="*/ 107 w 158"/>
                <a:gd name="T71" fmla="*/ 158 h 162"/>
                <a:gd name="T72" fmla="*/ 118 w 158"/>
                <a:gd name="T73" fmla="*/ 161 h 162"/>
                <a:gd name="T74" fmla="*/ 118 w 158"/>
                <a:gd name="T7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62">
                  <a:moveTo>
                    <a:pt x="118" y="161"/>
                  </a:moveTo>
                  <a:lnTo>
                    <a:pt x="141" y="134"/>
                  </a:lnTo>
                  <a:lnTo>
                    <a:pt x="147" y="117"/>
                  </a:lnTo>
                  <a:lnTo>
                    <a:pt x="151" y="114"/>
                  </a:lnTo>
                  <a:lnTo>
                    <a:pt x="153" y="100"/>
                  </a:lnTo>
                  <a:lnTo>
                    <a:pt x="151" y="94"/>
                  </a:lnTo>
                  <a:lnTo>
                    <a:pt x="152" y="76"/>
                  </a:lnTo>
                  <a:lnTo>
                    <a:pt x="157" y="59"/>
                  </a:lnTo>
                  <a:lnTo>
                    <a:pt x="158" y="29"/>
                  </a:lnTo>
                  <a:lnTo>
                    <a:pt x="148" y="22"/>
                  </a:lnTo>
                  <a:lnTo>
                    <a:pt x="138" y="20"/>
                  </a:lnTo>
                  <a:lnTo>
                    <a:pt x="134" y="14"/>
                  </a:lnTo>
                  <a:lnTo>
                    <a:pt x="124" y="9"/>
                  </a:lnTo>
                  <a:lnTo>
                    <a:pt x="107" y="10"/>
                  </a:lnTo>
                  <a:lnTo>
                    <a:pt x="106" y="0"/>
                  </a:lnTo>
                  <a:lnTo>
                    <a:pt x="90" y="4"/>
                  </a:lnTo>
                  <a:lnTo>
                    <a:pt x="78" y="13"/>
                  </a:lnTo>
                  <a:lnTo>
                    <a:pt x="75" y="22"/>
                  </a:lnTo>
                  <a:lnTo>
                    <a:pt x="68" y="24"/>
                  </a:lnTo>
                  <a:lnTo>
                    <a:pt x="49" y="43"/>
                  </a:lnTo>
                  <a:lnTo>
                    <a:pt x="37" y="58"/>
                  </a:lnTo>
                  <a:lnTo>
                    <a:pt x="29" y="59"/>
                  </a:lnTo>
                  <a:lnTo>
                    <a:pt x="24" y="56"/>
                  </a:lnTo>
                  <a:lnTo>
                    <a:pt x="0" y="53"/>
                  </a:lnTo>
                  <a:lnTo>
                    <a:pt x="7" y="72"/>
                  </a:lnTo>
                  <a:lnTo>
                    <a:pt x="11" y="77"/>
                  </a:lnTo>
                  <a:lnTo>
                    <a:pt x="17" y="91"/>
                  </a:lnTo>
                  <a:lnTo>
                    <a:pt x="40" y="117"/>
                  </a:lnTo>
                  <a:lnTo>
                    <a:pt x="48" y="119"/>
                  </a:lnTo>
                  <a:lnTo>
                    <a:pt x="48" y="127"/>
                  </a:lnTo>
                  <a:lnTo>
                    <a:pt x="54" y="143"/>
                  </a:lnTo>
                  <a:lnTo>
                    <a:pt x="69" y="146"/>
                  </a:lnTo>
                  <a:lnTo>
                    <a:pt x="82" y="157"/>
                  </a:lnTo>
                  <a:lnTo>
                    <a:pt x="90" y="157"/>
                  </a:lnTo>
                  <a:lnTo>
                    <a:pt x="100" y="162"/>
                  </a:lnTo>
                  <a:lnTo>
                    <a:pt x="107" y="158"/>
                  </a:lnTo>
                  <a:lnTo>
                    <a:pt x="118" y="161"/>
                  </a:lnTo>
                  <a:lnTo>
                    <a:pt x="118" y="16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 name="Somalia"/>
            <p:cNvSpPr>
              <a:spLocks/>
            </p:cNvSpPr>
            <p:nvPr/>
          </p:nvSpPr>
          <p:spPr bwMode="auto">
            <a:xfrm>
              <a:off x="7366000" y="4030663"/>
              <a:ext cx="328612" cy="515938"/>
            </a:xfrm>
            <a:custGeom>
              <a:avLst/>
              <a:gdLst>
                <a:gd name="T0" fmla="*/ 62 w 207"/>
                <a:gd name="T1" fmla="*/ 37 h 325"/>
                <a:gd name="T2" fmla="*/ 52 w 207"/>
                <a:gd name="T3" fmla="*/ 27 h 325"/>
                <a:gd name="T4" fmla="*/ 47 w 207"/>
                <a:gd name="T5" fmla="*/ 17 h 325"/>
                <a:gd name="T6" fmla="*/ 40 w 207"/>
                <a:gd name="T7" fmla="*/ 13 h 325"/>
                <a:gd name="T8" fmla="*/ 33 w 207"/>
                <a:gd name="T9" fmla="*/ 25 h 325"/>
                <a:gd name="T10" fmla="*/ 29 w 207"/>
                <a:gd name="T11" fmla="*/ 34 h 325"/>
                <a:gd name="T12" fmla="*/ 38 w 207"/>
                <a:gd name="T13" fmla="*/ 47 h 325"/>
                <a:gd name="T14" fmla="*/ 45 w 207"/>
                <a:gd name="T15" fmla="*/ 58 h 325"/>
                <a:gd name="T16" fmla="*/ 54 w 207"/>
                <a:gd name="T17" fmla="*/ 67 h 325"/>
                <a:gd name="T18" fmla="*/ 123 w 207"/>
                <a:gd name="T19" fmla="*/ 95 h 325"/>
                <a:gd name="T20" fmla="*/ 140 w 207"/>
                <a:gd name="T21" fmla="*/ 95 h 325"/>
                <a:gd name="T22" fmla="*/ 83 w 207"/>
                <a:gd name="T23" fmla="*/ 166 h 325"/>
                <a:gd name="T24" fmla="*/ 55 w 207"/>
                <a:gd name="T25" fmla="*/ 167 h 325"/>
                <a:gd name="T26" fmla="*/ 37 w 207"/>
                <a:gd name="T27" fmla="*/ 184 h 325"/>
                <a:gd name="T28" fmla="*/ 24 w 207"/>
                <a:gd name="T29" fmla="*/ 184 h 325"/>
                <a:gd name="T30" fmla="*/ 18 w 207"/>
                <a:gd name="T31" fmla="*/ 192 h 325"/>
                <a:gd name="T32" fmla="*/ 0 w 207"/>
                <a:gd name="T33" fmla="*/ 219 h 325"/>
                <a:gd name="T34" fmla="*/ 0 w 207"/>
                <a:gd name="T35" fmla="*/ 305 h 325"/>
                <a:gd name="T36" fmla="*/ 13 w 207"/>
                <a:gd name="T37" fmla="*/ 325 h 325"/>
                <a:gd name="T38" fmla="*/ 18 w 207"/>
                <a:gd name="T39" fmla="*/ 320 h 325"/>
                <a:gd name="T40" fmla="*/ 23 w 207"/>
                <a:gd name="T41" fmla="*/ 307 h 325"/>
                <a:gd name="T42" fmla="*/ 45 w 207"/>
                <a:gd name="T43" fmla="*/ 278 h 325"/>
                <a:gd name="T44" fmla="*/ 66 w 207"/>
                <a:gd name="T45" fmla="*/ 260 h 325"/>
                <a:gd name="T46" fmla="*/ 97 w 207"/>
                <a:gd name="T47" fmla="*/ 236 h 325"/>
                <a:gd name="T48" fmla="*/ 117 w 207"/>
                <a:gd name="T49" fmla="*/ 217 h 325"/>
                <a:gd name="T50" fmla="*/ 141 w 207"/>
                <a:gd name="T51" fmla="*/ 184 h 325"/>
                <a:gd name="T52" fmla="*/ 159 w 207"/>
                <a:gd name="T53" fmla="*/ 158 h 325"/>
                <a:gd name="T54" fmla="*/ 176 w 207"/>
                <a:gd name="T55" fmla="*/ 124 h 325"/>
                <a:gd name="T56" fmla="*/ 188 w 207"/>
                <a:gd name="T57" fmla="*/ 93 h 325"/>
                <a:gd name="T58" fmla="*/ 197 w 207"/>
                <a:gd name="T59" fmla="*/ 66 h 325"/>
                <a:gd name="T60" fmla="*/ 202 w 207"/>
                <a:gd name="T61" fmla="*/ 41 h 325"/>
                <a:gd name="T62" fmla="*/ 206 w 207"/>
                <a:gd name="T63" fmla="*/ 32 h 325"/>
                <a:gd name="T64" fmla="*/ 206 w 207"/>
                <a:gd name="T65" fmla="*/ 19 h 325"/>
                <a:gd name="T66" fmla="*/ 207 w 207"/>
                <a:gd name="T67" fmla="*/ 6 h 325"/>
                <a:gd name="T68" fmla="*/ 206 w 207"/>
                <a:gd name="T69" fmla="*/ 0 h 325"/>
                <a:gd name="T70" fmla="*/ 198 w 207"/>
                <a:gd name="T71" fmla="*/ 0 h 325"/>
                <a:gd name="T72" fmla="*/ 189 w 207"/>
                <a:gd name="T73" fmla="*/ 8 h 325"/>
                <a:gd name="T74" fmla="*/ 178 w 207"/>
                <a:gd name="T75" fmla="*/ 10 h 325"/>
                <a:gd name="T76" fmla="*/ 168 w 207"/>
                <a:gd name="T77" fmla="*/ 14 h 325"/>
                <a:gd name="T78" fmla="*/ 162 w 207"/>
                <a:gd name="T79" fmla="*/ 14 h 325"/>
                <a:gd name="T80" fmla="*/ 162 w 207"/>
                <a:gd name="T81" fmla="*/ 14 h 325"/>
                <a:gd name="T82" fmla="*/ 150 w 207"/>
                <a:gd name="T83" fmla="*/ 15 h 325"/>
                <a:gd name="T84" fmla="*/ 142 w 207"/>
                <a:gd name="T85" fmla="*/ 19 h 325"/>
                <a:gd name="T86" fmla="*/ 132 w 207"/>
                <a:gd name="T87" fmla="*/ 21 h 325"/>
                <a:gd name="T88" fmla="*/ 114 w 207"/>
                <a:gd name="T89" fmla="*/ 28 h 325"/>
                <a:gd name="T90" fmla="*/ 92 w 207"/>
                <a:gd name="T91" fmla="*/ 30 h 325"/>
                <a:gd name="T92" fmla="*/ 72 w 207"/>
                <a:gd name="T93" fmla="*/ 37 h 325"/>
                <a:gd name="T94" fmla="*/ 62 w 207"/>
                <a:gd name="T95" fmla="*/ 37 h 325"/>
                <a:gd name="T96" fmla="*/ 62 w 207"/>
                <a:gd name="T97" fmla="*/ 3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7" h="325">
                  <a:moveTo>
                    <a:pt x="62" y="37"/>
                  </a:moveTo>
                  <a:lnTo>
                    <a:pt x="52" y="27"/>
                  </a:lnTo>
                  <a:lnTo>
                    <a:pt x="47" y="17"/>
                  </a:lnTo>
                  <a:lnTo>
                    <a:pt x="40" y="13"/>
                  </a:lnTo>
                  <a:lnTo>
                    <a:pt x="33" y="25"/>
                  </a:lnTo>
                  <a:lnTo>
                    <a:pt x="29" y="34"/>
                  </a:lnTo>
                  <a:lnTo>
                    <a:pt x="38" y="47"/>
                  </a:lnTo>
                  <a:lnTo>
                    <a:pt x="45" y="58"/>
                  </a:lnTo>
                  <a:lnTo>
                    <a:pt x="54" y="67"/>
                  </a:lnTo>
                  <a:lnTo>
                    <a:pt x="123" y="95"/>
                  </a:lnTo>
                  <a:lnTo>
                    <a:pt x="140" y="95"/>
                  </a:lnTo>
                  <a:lnTo>
                    <a:pt x="83" y="166"/>
                  </a:lnTo>
                  <a:lnTo>
                    <a:pt x="55" y="167"/>
                  </a:lnTo>
                  <a:lnTo>
                    <a:pt x="37" y="184"/>
                  </a:lnTo>
                  <a:lnTo>
                    <a:pt x="24" y="184"/>
                  </a:lnTo>
                  <a:lnTo>
                    <a:pt x="18" y="192"/>
                  </a:lnTo>
                  <a:lnTo>
                    <a:pt x="0" y="219"/>
                  </a:lnTo>
                  <a:lnTo>
                    <a:pt x="0" y="305"/>
                  </a:lnTo>
                  <a:lnTo>
                    <a:pt x="13" y="325"/>
                  </a:lnTo>
                  <a:lnTo>
                    <a:pt x="18" y="320"/>
                  </a:lnTo>
                  <a:lnTo>
                    <a:pt x="23" y="307"/>
                  </a:lnTo>
                  <a:lnTo>
                    <a:pt x="45" y="278"/>
                  </a:lnTo>
                  <a:lnTo>
                    <a:pt x="66" y="260"/>
                  </a:lnTo>
                  <a:lnTo>
                    <a:pt x="97" y="236"/>
                  </a:lnTo>
                  <a:lnTo>
                    <a:pt x="117" y="217"/>
                  </a:lnTo>
                  <a:lnTo>
                    <a:pt x="141" y="184"/>
                  </a:lnTo>
                  <a:lnTo>
                    <a:pt x="159" y="158"/>
                  </a:lnTo>
                  <a:lnTo>
                    <a:pt x="176" y="124"/>
                  </a:lnTo>
                  <a:lnTo>
                    <a:pt x="188" y="93"/>
                  </a:lnTo>
                  <a:lnTo>
                    <a:pt x="197" y="66"/>
                  </a:lnTo>
                  <a:lnTo>
                    <a:pt x="202" y="41"/>
                  </a:lnTo>
                  <a:lnTo>
                    <a:pt x="206" y="32"/>
                  </a:lnTo>
                  <a:lnTo>
                    <a:pt x="206" y="19"/>
                  </a:lnTo>
                  <a:lnTo>
                    <a:pt x="207" y="6"/>
                  </a:lnTo>
                  <a:lnTo>
                    <a:pt x="206" y="0"/>
                  </a:lnTo>
                  <a:lnTo>
                    <a:pt x="198" y="0"/>
                  </a:lnTo>
                  <a:lnTo>
                    <a:pt x="189" y="8"/>
                  </a:lnTo>
                  <a:lnTo>
                    <a:pt x="178" y="10"/>
                  </a:lnTo>
                  <a:lnTo>
                    <a:pt x="168" y="14"/>
                  </a:lnTo>
                  <a:lnTo>
                    <a:pt x="162" y="14"/>
                  </a:lnTo>
                  <a:lnTo>
                    <a:pt x="162" y="14"/>
                  </a:lnTo>
                  <a:lnTo>
                    <a:pt x="150" y="15"/>
                  </a:lnTo>
                  <a:lnTo>
                    <a:pt x="142" y="19"/>
                  </a:lnTo>
                  <a:lnTo>
                    <a:pt x="132" y="21"/>
                  </a:lnTo>
                  <a:lnTo>
                    <a:pt x="114" y="28"/>
                  </a:lnTo>
                  <a:lnTo>
                    <a:pt x="92" y="30"/>
                  </a:lnTo>
                  <a:lnTo>
                    <a:pt x="72" y="37"/>
                  </a:lnTo>
                  <a:lnTo>
                    <a:pt x="62" y="37"/>
                  </a:lnTo>
                  <a:lnTo>
                    <a:pt x="62" y="3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 name="Spain"/>
            <p:cNvSpPr>
              <a:spLocks noEditPoints="1"/>
            </p:cNvSpPr>
            <p:nvPr/>
          </p:nvSpPr>
          <p:spPr bwMode="auto">
            <a:xfrm>
              <a:off x="5716587" y="2833688"/>
              <a:ext cx="417512" cy="293688"/>
            </a:xfrm>
            <a:custGeom>
              <a:avLst/>
              <a:gdLst>
                <a:gd name="T0" fmla="*/ 210 w 263"/>
                <a:gd name="T1" fmla="*/ 118 h 185"/>
                <a:gd name="T2" fmla="*/ 207 w 263"/>
                <a:gd name="T3" fmla="*/ 116 h 185"/>
                <a:gd name="T4" fmla="*/ 207 w 263"/>
                <a:gd name="T5" fmla="*/ 118 h 185"/>
                <a:gd name="T6" fmla="*/ 208 w 263"/>
                <a:gd name="T7" fmla="*/ 119 h 185"/>
                <a:gd name="T8" fmla="*/ 210 w 263"/>
                <a:gd name="T9" fmla="*/ 119 h 185"/>
                <a:gd name="T10" fmla="*/ 207 w 263"/>
                <a:gd name="T11" fmla="*/ 112 h 185"/>
                <a:gd name="T12" fmla="*/ 210 w 263"/>
                <a:gd name="T13" fmla="*/ 110 h 185"/>
                <a:gd name="T14" fmla="*/ 209 w 263"/>
                <a:gd name="T15" fmla="*/ 108 h 185"/>
                <a:gd name="T16" fmla="*/ 205 w 263"/>
                <a:gd name="T17" fmla="*/ 110 h 185"/>
                <a:gd name="T18" fmla="*/ 204 w 263"/>
                <a:gd name="T19" fmla="*/ 111 h 185"/>
                <a:gd name="T20" fmla="*/ 204 w 263"/>
                <a:gd name="T21" fmla="*/ 114 h 185"/>
                <a:gd name="T22" fmla="*/ 207 w 263"/>
                <a:gd name="T23" fmla="*/ 112 h 185"/>
                <a:gd name="T24" fmla="*/ 112 w 263"/>
                <a:gd name="T25" fmla="*/ 7 h 185"/>
                <a:gd name="T26" fmla="*/ 77 w 263"/>
                <a:gd name="T27" fmla="*/ 4 h 185"/>
                <a:gd name="T28" fmla="*/ 28 w 263"/>
                <a:gd name="T29" fmla="*/ 0 h 185"/>
                <a:gd name="T30" fmla="*/ 8 w 263"/>
                <a:gd name="T31" fmla="*/ 26 h 185"/>
                <a:gd name="T32" fmla="*/ 13 w 263"/>
                <a:gd name="T33" fmla="*/ 37 h 185"/>
                <a:gd name="T34" fmla="*/ 25 w 263"/>
                <a:gd name="T35" fmla="*/ 45 h 185"/>
                <a:gd name="T36" fmla="*/ 40 w 263"/>
                <a:gd name="T37" fmla="*/ 42 h 185"/>
                <a:gd name="T38" fmla="*/ 56 w 263"/>
                <a:gd name="T39" fmla="*/ 54 h 185"/>
                <a:gd name="T40" fmla="*/ 47 w 263"/>
                <a:gd name="T41" fmla="*/ 79 h 185"/>
                <a:gd name="T42" fmla="*/ 42 w 263"/>
                <a:gd name="T43" fmla="*/ 93 h 185"/>
                <a:gd name="T44" fmla="*/ 41 w 263"/>
                <a:gd name="T45" fmla="*/ 110 h 185"/>
                <a:gd name="T46" fmla="*/ 42 w 263"/>
                <a:gd name="T47" fmla="*/ 133 h 185"/>
                <a:gd name="T48" fmla="*/ 32 w 263"/>
                <a:gd name="T49" fmla="*/ 149 h 185"/>
                <a:gd name="T50" fmla="*/ 52 w 263"/>
                <a:gd name="T51" fmla="*/ 161 h 185"/>
                <a:gd name="T52" fmla="*/ 64 w 263"/>
                <a:gd name="T53" fmla="*/ 182 h 185"/>
                <a:gd name="T54" fmla="*/ 81 w 263"/>
                <a:gd name="T55" fmla="*/ 176 h 185"/>
                <a:gd name="T56" fmla="*/ 112 w 263"/>
                <a:gd name="T57" fmla="*/ 167 h 185"/>
                <a:gd name="T58" fmla="*/ 151 w 263"/>
                <a:gd name="T59" fmla="*/ 149 h 185"/>
                <a:gd name="T60" fmla="*/ 170 w 263"/>
                <a:gd name="T61" fmla="*/ 128 h 185"/>
                <a:gd name="T62" fmla="*/ 174 w 263"/>
                <a:gd name="T63" fmla="*/ 103 h 185"/>
                <a:gd name="T64" fmla="*/ 193 w 263"/>
                <a:gd name="T65" fmla="*/ 71 h 185"/>
                <a:gd name="T66" fmla="*/ 220 w 263"/>
                <a:gd name="T67" fmla="*/ 58 h 185"/>
                <a:gd name="T68" fmla="*/ 236 w 263"/>
                <a:gd name="T69" fmla="*/ 30 h 185"/>
                <a:gd name="T70" fmla="*/ 193 w 263"/>
                <a:gd name="T71" fmla="*/ 23 h 185"/>
                <a:gd name="T72" fmla="*/ 150 w 263"/>
                <a:gd name="T73" fmla="*/ 17 h 185"/>
                <a:gd name="T74" fmla="*/ 143 w 263"/>
                <a:gd name="T75" fmla="*/ 8 h 185"/>
                <a:gd name="T76" fmla="*/ 240 w 263"/>
                <a:gd name="T77" fmla="*/ 91 h 185"/>
                <a:gd name="T78" fmla="*/ 241 w 263"/>
                <a:gd name="T79" fmla="*/ 90 h 185"/>
                <a:gd name="T80" fmla="*/ 240 w 263"/>
                <a:gd name="T81" fmla="*/ 89 h 185"/>
                <a:gd name="T82" fmla="*/ 240 w 263"/>
                <a:gd name="T83" fmla="*/ 88 h 185"/>
                <a:gd name="T84" fmla="*/ 233 w 263"/>
                <a:gd name="T85" fmla="*/ 91 h 185"/>
                <a:gd name="T86" fmla="*/ 225 w 263"/>
                <a:gd name="T87" fmla="*/ 97 h 185"/>
                <a:gd name="T88" fmla="*/ 227 w 263"/>
                <a:gd name="T89" fmla="*/ 98 h 185"/>
                <a:gd name="T90" fmla="*/ 229 w 263"/>
                <a:gd name="T91" fmla="*/ 98 h 185"/>
                <a:gd name="T92" fmla="*/ 232 w 263"/>
                <a:gd name="T93" fmla="*/ 98 h 185"/>
                <a:gd name="T94" fmla="*/ 233 w 263"/>
                <a:gd name="T95" fmla="*/ 101 h 185"/>
                <a:gd name="T96" fmla="*/ 235 w 263"/>
                <a:gd name="T97" fmla="*/ 102 h 185"/>
                <a:gd name="T98" fmla="*/ 240 w 263"/>
                <a:gd name="T99" fmla="*/ 103 h 185"/>
                <a:gd name="T100" fmla="*/ 243 w 263"/>
                <a:gd name="T101" fmla="*/ 99 h 185"/>
                <a:gd name="T102" fmla="*/ 246 w 263"/>
                <a:gd name="T103" fmla="*/ 95 h 185"/>
                <a:gd name="T104" fmla="*/ 246 w 263"/>
                <a:gd name="T105" fmla="*/ 93 h 185"/>
                <a:gd name="T106" fmla="*/ 244 w 263"/>
                <a:gd name="T107" fmla="*/ 92 h 185"/>
                <a:gd name="T108" fmla="*/ 240 w 263"/>
                <a:gd name="T109" fmla="*/ 92 h 185"/>
                <a:gd name="T110" fmla="*/ 263 w 263"/>
                <a:gd name="T111" fmla="*/ 91 h 185"/>
                <a:gd name="T112" fmla="*/ 263 w 263"/>
                <a:gd name="T113" fmla="*/ 89 h 185"/>
                <a:gd name="T114" fmla="*/ 258 w 263"/>
                <a:gd name="T115" fmla="*/ 85 h 185"/>
                <a:gd name="T116" fmla="*/ 253 w 263"/>
                <a:gd name="T117" fmla="*/ 86 h 185"/>
                <a:gd name="T118" fmla="*/ 254 w 263"/>
                <a:gd name="T119" fmla="*/ 88 h 185"/>
                <a:gd name="T120" fmla="*/ 263 w 263"/>
                <a:gd name="T121" fmla="*/ 91 h 185"/>
                <a:gd name="T122" fmla="*/ 263 w 263"/>
                <a:gd name="T123" fmla="*/ 9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 h="185">
                  <a:moveTo>
                    <a:pt x="210" y="119"/>
                  </a:moveTo>
                  <a:lnTo>
                    <a:pt x="210" y="118"/>
                  </a:lnTo>
                  <a:lnTo>
                    <a:pt x="208" y="118"/>
                  </a:lnTo>
                  <a:lnTo>
                    <a:pt x="207" y="116"/>
                  </a:lnTo>
                  <a:lnTo>
                    <a:pt x="207" y="117"/>
                  </a:lnTo>
                  <a:lnTo>
                    <a:pt x="207" y="118"/>
                  </a:lnTo>
                  <a:lnTo>
                    <a:pt x="207" y="119"/>
                  </a:lnTo>
                  <a:lnTo>
                    <a:pt x="208" y="119"/>
                  </a:lnTo>
                  <a:lnTo>
                    <a:pt x="210" y="119"/>
                  </a:lnTo>
                  <a:lnTo>
                    <a:pt x="210" y="119"/>
                  </a:lnTo>
                  <a:lnTo>
                    <a:pt x="210" y="119"/>
                  </a:lnTo>
                  <a:close/>
                  <a:moveTo>
                    <a:pt x="207" y="112"/>
                  </a:moveTo>
                  <a:lnTo>
                    <a:pt x="208" y="112"/>
                  </a:lnTo>
                  <a:lnTo>
                    <a:pt x="210" y="110"/>
                  </a:lnTo>
                  <a:lnTo>
                    <a:pt x="210" y="108"/>
                  </a:lnTo>
                  <a:lnTo>
                    <a:pt x="209" y="108"/>
                  </a:lnTo>
                  <a:lnTo>
                    <a:pt x="206" y="108"/>
                  </a:lnTo>
                  <a:lnTo>
                    <a:pt x="205" y="110"/>
                  </a:lnTo>
                  <a:lnTo>
                    <a:pt x="205" y="111"/>
                  </a:lnTo>
                  <a:lnTo>
                    <a:pt x="204" y="111"/>
                  </a:lnTo>
                  <a:lnTo>
                    <a:pt x="203" y="113"/>
                  </a:lnTo>
                  <a:lnTo>
                    <a:pt x="204" y="114"/>
                  </a:lnTo>
                  <a:lnTo>
                    <a:pt x="207" y="114"/>
                  </a:lnTo>
                  <a:lnTo>
                    <a:pt x="207" y="112"/>
                  </a:lnTo>
                  <a:close/>
                  <a:moveTo>
                    <a:pt x="143" y="8"/>
                  </a:moveTo>
                  <a:lnTo>
                    <a:pt x="112" y="7"/>
                  </a:lnTo>
                  <a:lnTo>
                    <a:pt x="96" y="8"/>
                  </a:lnTo>
                  <a:lnTo>
                    <a:pt x="77" y="4"/>
                  </a:lnTo>
                  <a:lnTo>
                    <a:pt x="52" y="4"/>
                  </a:lnTo>
                  <a:lnTo>
                    <a:pt x="28" y="0"/>
                  </a:lnTo>
                  <a:lnTo>
                    <a:pt x="0" y="17"/>
                  </a:lnTo>
                  <a:lnTo>
                    <a:pt x="8" y="26"/>
                  </a:lnTo>
                  <a:lnTo>
                    <a:pt x="7" y="43"/>
                  </a:lnTo>
                  <a:lnTo>
                    <a:pt x="13" y="37"/>
                  </a:lnTo>
                  <a:lnTo>
                    <a:pt x="22" y="34"/>
                  </a:lnTo>
                  <a:lnTo>
                    <a:pt x="25" y="45"/>
                  </a:lnTo>
                  <a:lnTo>
                    <a:pt x="37" y="45"/>
                  </a:lnTo>
                  <a:lnTo>
                    <a:pt x="40" y="42"/>
                  </a:lnTo>
                  <a:lnTo>
                    <a:pt x="52" y="43"/>
                  </a:lnTo>
                  <a:lnTo>
                    <a:pt x="56" y="54"/>
                  </a:lnTo>
                  <a:lnTo>
                    <a:pt x="48" y="61"/>
                  </a:lnTo>
                  <a:lnTo>
                    <a:pt x="47" y="79"/>
                  </a:lnTo>
                  <a:lnTo>
                    <a:pt x="43" y="82"/>
                  </a:lnTo>
                  <a:lnTo>
                    <a:pt x="42" y="93"/>
                  </a:lnTo>
                  <a:lnTo>
                    <a:pt x="34" y="95"/>
                  </a:lnTo>
                  <a:lnTo>
                    <a:pt x="41" y="110"/>
                  </a:lnTo>
                  <a:lnTo>
                    <a:pt x="36" y="126"/>
                  </a:lnTo>
                  <a:lnTo>
                    <a:pt x="42" y="133"/>
                  </a:lnTo>
                  <a:lnTo>
                    <a:pt x="39" y="139"/>
                  </a:lnTo>
                  <a:lnTo>
                    <a:pt x="32" y="149"/>
                  </a:lnTo>
                  <a:lnTo>
                    <a:pt x="33" y="157"/>
                  </a:lnTo>
                  <a:lnTo>
                    <a:pt x="52" y="161"/>
                  </a:lnTo>
                  <a:lnTo>
                    <a:pt x="56" y="174"/>
                  </a:lnTo>
                  <a:lnTo>
                    <a:pt x="64" y="182"/>
                  </a:lnTo>
                  <a:lnTo>
                    <a:pt x="73" y="185"/>
                  </a:lnTo>
                  <a:lnTo>
                    <a:pt x="81" y="176"/>
                  </a:lnTo>
                  <a:lnTo>
                    <a:pt x="94" y="166"/>
                  </a:lnTo>
                  <a:lnTo>
                    <a:pt x="112" y="167"/>
                  </a:lnTo>
                  <a:lnTo>
                    <a:pt x="137" y="167"/>
                  </a:lnTo>
                  <a:lnTo>
                    <a:pt x="151" y="149"/>
                  </a:lnTo>
                  <a:lnTo>
                    <a:pt x="165" y="144"/>
                  </a:lnTo>
                  <a:lnTo>
                    <a:pt x="170" y="128"/>
                  </a:lnTo>
                  <a:lnTo>
                    <a:pt x="181" y="117"/>
                  </a:lnTo>
                  <a:lnTo>
                    <a:pt x="174" y="103"/>
                  </a:lnTo>
                  <a:lnTo>
                    <a:pt x="181" y="84"/>
                  </a:lnTo>
                  <a:lnTo>
                    <a:pt x="193" y="71"/>
                  </a:lnTo>
                  <a:lnTo>
                    <a:pt x="195" y="64"/>
                  </a:lnTo>
                  <a:lnTo>
                    <a:pt x="220" y="58"/>
                  </a:lnTo>
                  <a:lnTo>
                    <a:pt x="237" y="43"/>
                  </a:lnTo>
                  <a:lnTo>
                    <a:pt x="236" y="30"/>
                  </a:lnTo>
                  <a:lnTo>
                    <a:pt x="214" y="33"/>
                  </a:lnTo>
                  <a:lnTo>
                    <a:pt x="193" y="23"/>
                  </a:lnTo>
                  <a:lnTo>
                    <a:pt x="186" y="27"/>
                  </a:lnTo>
                  <a:lnTo>
                    <a:pt x="150" y="17"/>
                  </a:lnTo>
                  <a:lnTo>
                    <a:pt x="143" y="8"/>
                  </a:lnTo>
                  <a:lnTo>
                    <a:pt x="143" y="8"/>
                  </a:lnTo>
                  <a:close/>
                  <a:moveTo>
                    <a:pt x="240" y="92"/>
                  </a:moveTo>
                  <a:lnTo>
                    <a:pt x="240" y="91"/>
                  </a:lnTo>
                  <a:lnTo>
                    <a:pt x="241" y="90"/>
                  </a:lnTo>
                  <a:lnTo>
                    <a:pt x="241" y="90"/>
                  </a:lnTo>
                  <a:lnTo>
                    <a:pt x="240" y="89"/>
                  </a:lnTo>
                  <a:lnTo>
                    <a:pt x="240" y="89"/>
                  </a:lnTo>
                  <a:lnTo>
                    <a:pt x="241" y="88"/>
                  </a:lnTo>
                  <a:lnTo>
                    <a:pt x="240" y="88"/>
                  </a:lnTo>
                  <a:lnTo>
                    <a:pt x="235" y="89"/>
                  </a:lnTo>
                  <a:lnTo>
                    <a:pt x="233" y="91"/>
                  </a:lnTo>
                  <a:lnTo>
                    <a:pt x="225" y="96"/>
                  </a:lnTo>
                  <a:lnTo>
                    <a:pt x="225" y="97"/>
                  </a:lnTo>
                  <a:lnTo>
                    <a:pt x="225" y="98"/>
                  </a:lnTo>
                  <a:lnTo>
                    <a:pt x="227" y="98"/>
                  </a:lnTo>
                  <a:lnTo>
                    <a:pt x="228" y="99"/>
                  </a:lnTo>
                  <a:lnTo>
                    <a:pt x="229" y="98"/>
                  </a:lnTo>
                  <a:lnTo>
                    <a:pt x="231" y="97"/>
                  </a:lnTo>
                  <a:lnTo>
                    <a:pt x="232" y="98"/>
                  </a:lnTo>
                  <a:lnTo>
                    <a:pt x="233" y="99"/>
                  </a:lnTo>
                  <a:lnTo>
                    <a:pt x="233" y="101"/>
                  </a:lnTo>
                  <a:lnTo>
                    <a:pt x="234" y="102"/>
                  </a:lnTo>
                  <a:lnTo>
                    <a:pt x="235" y="102"/>
                  </a:lnTo>
                  <a:lnTo>
                    <a:pt x="239" y="104"/>
                  </a:lnTo>
                  <a:lnTo>
                    <a:pt x="240" y="103"/>
                  </a:lnTo>
                  <a:lnTo>
                    <a:pt x="242" y="102"/>
                  </a:lnTo>
                  <a:lnTo>
                    <a:pt x="243" y="99"/>
                  </a:lnTo>
                  <a:lnTo>
                    <a:pt x="244" y="97"/>
                  </a:lnTo>
                  <a:lnTo>
                    <a:pt x="246" y="95"/>
                  </a:lnTo>
                  <a:lnTo>
                    <a:pt x="247" y="94"/>
                  </a:lnTo>
                  <a:lnTo>
                    <a:pt x="246" y="93"/>
                  </a:lnTo>
                  <a:lnTo>
                    <a:pt x="245" y="93"/>
                  </a:lnTo>
                  <a:lnTo>
                    <a:pt x="244" y="92"/>
                  </a:lnTo>
                  <a:lnTo>
                    <a:pt x="242" y="93"/>
                  </a:lnTo>
                  <a:lnTo>
                    <a:pt x="240" y="92"/>
                  </a:lnTo>
                  <a:lnTo>
                    <a:pt x="240" y="92"/>
                  </a:lnTo>
                  <a:close/>
                  <a:moveTo>
                    <a:pt x="263" y="91"/>
                  </a:moveTo>
                  <a:lnTo>
                    <a:pt x="263" y="90"/>
                  </a:lnTo>
                  <a:lnTo>
                    <a:pt x="263" y="89"/>
                  </a:lnTo>
                  <a:lnTo>
                    <a:pt x="261" y="86"/>
                  </a:lnTo>
                  <a:lnTo>
                    <a:pt x="258" y="85"/>
                  </a:lnTo>
                  <a:lnTo>
                    <a:pt x="254" y="86"/>
                  </a:lnTo>
                  <a:lnTo>
                    <a:pt x="253" y="86"/>
                  </a:lnTo>
                  <a:lnTo>
                    <a:pt x="253" y="88"/>
                  </a:lnTo>
                  <a:lnTo>
                    <a:pt x="254" y="88"/>
                  </a:lnTo>
                  <a:lnTo>
                    <a:pt x="256" y="88"/>
                  </a:lnTo>
                  <a:lnTo>
                    <a:pt x="263" y="91"/>
                  </a:lnTo>
                  <a:lnTo>
                    <a:pt x="263" y="91"/>
                  </a:lnTo>
                  <a:lnTo>
                    <a:pt x="263" y="9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 name="Aruba"/>
            <p:cNvSpPr>
              <a:spLocks/>
            </p:cNvSpPr>
            <p:nvPr/>
          </p:nvSpPr>
          <p:spPr bwMode="auto">
            <a:xfrm>
              <a:off x="3683000" y="4008438"/>
              <a:ext cx="4762" cy="4763"/>
            </a:xfrm>
            <a:custGeom>
              <a:avLst/>
              <a:gdLst>
                <a:gd name="T0" fmla="*/ 3 w 3"/>
                <a:gd name="T1" fmla="*/ 3 h 3"/>
                <a:gd name="T2" fmla="*/ 3 w 3"/>
                <a:gd name="T3" fmla="*/ 2 h 3"/>
                <a:gd name="T4" fmla="*/ 2 w 3"/>
                <a:gd name="T5" fmla="*/ 1 h 3"/>
                <a:gd name="T6" fmla="*/ 1 w 3"/>
                <a:gd name="T7" fmla="*/ 0 h 3"/>
                <a:gd name="T8" fmla="*/ 0 w 3"/>
                <a:gd name="T9" fmla="*/ 0 h 3"/>
                <a:gd name="T10" fmla="*/ 0 w 3"/>
                <a:gd name="T11" fmla="*/ 1 h 3"/>
                <a:gd name="T12" fmla="*/ 1 w 3"/>
                <a:gd name="T13" fmla="*/ 1 h 3"/>
                <a:gd name="T14" fmla="*/ 2 w 3"/>
                <a:gd name="T15" fmla="*/ 3 h 3"/>
                <a:gd name="T16" fmla="*/ 3 w 3"/>
                <a:gd name="T17" fmla="*/ 3 h 3"/>
                <a:gd name="T18" fmla="*/ 3 w 3"/>
                <a:gd name="T19" fmla="*/ 3 h 3"/>
                <a:gd name="T20" fmla="*/ 3 w 3"/>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3"/>
                  </a:moveTo>
                  <a:lnTo>
                    <a:pt x="3" y="2"/>
                  </a:lnTo>
                  <a:lnTo>
                    <a:pt x="2" y="1"/>
                  </a:lnTo>
                  <a:lnTo>
                    <a:pt x="1" y="0"/>
                  </a:lnTo>
                  <a:lnTo>
                    <a:pt x="0" y="0"/>
                  </a:lnTo>
                  <a:lnTo>
                    <a:pt x="0" y="1"/>
                  </a:lnTo>
                  <a:lnTo>
                    <a:pt x="1" y="1"/>
                  </a:lnTo>
                  <a:lnTo>
                    <a:pt x="2" y="3"/>
                  </a:lnTo>
                  <a:lnTo>
                    <a:pt x="3" y="3"/>
                  </a:lnTo>
                  <a:lnTo>
                    <a:pt x="3" y="3"/>
                  </a:lnTo>
                  <a:lnTo>
                    <a:pt x="3"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 name="Andorra"/>
            <p:cNvSpPr>
              <a:spLocks/>
            </p:cNvSpPr>
            <p:nvPr/>
          </p:nvSpPr>
          <p:spPr bwMode="auto">
            <a:xfrm>
              <a:off x="6045200" y="2873376"/>
              <a:ext cx="7937" cy="7938"/>
            </a:xfrm>
            <a:custGeom>
              <a:avLst/>
              <a:gdLst>
                <a:gd name="T0" fmla="*/ 5 w 5"/>
                <a:gd name="T1" fmla="*/ 4 h 5"/>
                <a:gd name="T2" fmla="*/ 5 w 5"/>
                <a:gd name="T3" fmla="*/ 3 h 5"/>
                <a:gd name="T4" fmla="*/ 5 w 5"/>
                <a:gd name="T5" fmla="*/ 2 h 5"/>
                <a:gd name="T6" fmla="*/ 5 w 5"/>
                <a:gd name="T7" fmla="*/ 2 h 5"/>
                <a:gd name="T8" fmla="*/ 5 w 5"/>
                <a:gd name="T9" fmla="*/ 1 h 5"/>
                <a:gd name="T10" fmla="*/ 2 w 5"/>
                <a:gd name="T11" fmla="*/ 1 h 5"/>
                <a:gd name="T12" fmla="*/ 1 w 5"/>
                <a:gd name="T13" fmla="*/ 0 h 5"/>
                <a:gd name="T14" fmla="*/ 0 w 5"/>
                <a:gd name="T15" fmla="*/ 1 h 5"/>
                <a:gd name="T16" fmla="*/ 0 w 5"/>
                <a:gd name="T17" fmla="*/ 1 h 5"/>
                <a:gd name="T18" fmla="*/ 0 w 5"/>
                <a:gd name="T19" fmla="*/ 3 h 5"/>
                <a:gd name="T20" fmla="*/ 0 w 5"/>
                <a:gd name="T21" fmla="*/ 3 h 5"/>
                <a:gd name="T22" fmla="*/ 0 w 5"/>
                <a:gd name="T23" fmla="*/ 4 h 5"/>
                <a:gd name="T24" fmla="*/ 0 w 5"/>
                <a:gd name="T25" fmla="*/ 5 h 5"/>
                <a:gd name="T26" fmla="*/ 0 w 5"/>
                <a:gd name="T27" fmla="*/ 5 h 5"/>
                <a:gd name="T28" fmla="*/ 0 w 5"/>
                <a:gd name="T29" fmla="*/ 5 h 5"/>
                <a:gd name="T30" fmla="*/ 1 w 5"/>
                <a:gd name="T31" fmla="*/ 5 h 5"/>
                <a:gd name="T32" fmla="*/ 2 w 5"/>
                <a:gd name="T33" fmla="*/ 5 h 5"/>
                <a:gd name="T34" fmla="*/ 4 w 5"/>
                <a:gd name="T35" fmla="*/ 4 h 5"/>
                <a:gd name="T36" fmla="*/ 5 w 5"/>
                <a:gd name="T37" fmla="*/ 4 h 5"/>
                <a:gd name="T38" fmla="*/ 5 w 5"/>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4"/>
                  </a:moveTo>
                  <a:lnTo>
                    <a:pt x="5" y="3"/>
                  </a:lnTo>
                  <a:lnTo>
                    <a:pt x="5" y="2"/>
                  </a:lnTo>
                  <a:lnTo>
                    <a:pt x="5" y="2"/>
                  </a:lnTo>
                  <a:lnTo>
                    <a:pt x="5" y="1"/>
                  </a:lnTo>
                  <a:lnTo>
                    <a:pt x="2" y="1"/>
                  </a:lnTo>
                  <a:lnTo>
                    <a:pt x="1" y="0"/>
                  </a:lnTo>
                  <a:lnTo>
                    <a:pt x="0" y="1"/>
                  </a:lnTo>
                  <a:lnTo>
                    <a:pt x="0" y="1"/>
                  </a:lnTo>
                  <a:lnTo>
                    <a:pt x="0" y="3"/>
                  </a:lnTo>
                  <a:lnTo>
                    <a:pt x="0" y="3"/>
                  </a:lnTo>
                  <a:lnTo>
                    <a:pt x="0" y="4"/>
                  </a:lnTo>
                  <a:lnTo>
                    <a:pt x="0" y="5"/>
                  </a:lnTo>
                  <a:lnTo>
                    <a:pt x="0" y="5"/>
                  </a:lnTo>
                  <a:lnTo>
                    <a:pt x="0" y="5"/>
                  </a:lnTo>
                  <a:lnTo>
                    <a:pt x="1" y="5"/>
                  </a:lnTo>
                  <a:lnTo>
                    <a:pt x="2" y="5"/>
                  </a:lnTo>
                  <a:lnTo>
                    <a:pt x="4" y="4"/>
                  </a:lnTo>
                  <a:lnTo>
                    <a:pt x="5" y="4"/>
                  </a:lnTo>
                  <a:lnTo>
                    <a:pt x="5" y="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 name="Antigua and Barbuda"/>
            <p:cNvSpPr>
              <a:spLocks noEditPoints="1"/>
            </p:cNvSpPr>
            <p:nvPr/>
          </p:nvSpPr>
          <p:spPr bwMode="auto">
            <a:xfrm>
              <a:off x="3967162" y="3814763"/>
              <a:ext cx="4762" cy="26988"/>
            </a:xfrm>
            <a:custGeom>
              <a:avLst/>
              <a:gdLst>
                <a:gd name="T0" fmla="*/ 2 w 3"/>
                <a:gd name="T1" fmla="*/ 16 h 17"/>
                <a:gd name="T2" fmla="*/ 3 w 3"/>
                <a:gd name="T3" fmla="*/ 16 h 17"/>
                <a:gd name="T4" fmla="*/ 3 w 3"/>
                <a:gd name="T5" fmla="*/ 15 h 17"/>
                <a:gd name="T6" fmla="*/ 3 w 3"/>
                <a:gd name="T7" fmla="*/ 15 h 17"/>
                <a:gd name="T8" fmla="*/ 3 w 3"/>
                <a:gd name="T9" fmla="*/ 14 h 17"/>
                <a:gd name="T10" fmla="*/ 2 w 3"/>
                <a:gd name="T11" fmla="*/ 13 h 17"/>
                <a:gd name="T12" fmla="*/ 1 w 3"/>
                <a:gd name="T13" fmla="*/ 13 h 17"/>
                <a:gd name="T14" fmla="*/ 0 w 3"/>
                <a:gd name="T15" fmla="*/ 15 h 17"/>
                <a:gd name="T16" fmla="*/ 0 w 3"/>
                <a:gd name="T17" fmla="*/ 15 h 17"/>
                <a:gd name="T18" fmla="*/ 0 w 3"/>
                <a:gd name="T19" fmla="*/ 17 h 17"/>
                <a:gd name="T20" fmla="*/ 1 w 3"/>
                <a:gd name="T21" fmla="*/ 17 h 17"/>
                <a:gd name="T22" fmla="*/ 2 w 3"/>
                <a:gd name="T23" fmla="*/ 16 h 17"/>
                <a:gd name="T24" fmla="*/ 2 w 3"/>
                <a:gd name="T25" fmla="*/ 16 h 17"/>
                <a:gd name="T26" fmla="*/ 3 w 3"/>
                <a:gd name="T27" fmla="*/ 3 h 17"/>
                <a:gd name="T28" fmla="*/ 3 w 3"/>
                <a:gd name="T29" fmla="*/ 1 h 17"/>
                <a:gd name="T30" fmla="*/ 3 w 3"/>
                <a:gd name="T31" fmla="*/ 0 h 17"/>
                <a:gd name="T32" fmla="*/ 1 w 3"/>
                <a:gd name="T33" fmla="*/ 0 h 17"/>
                <a:gd name="T34" fmla="*/ 1 w 3"/>
                <a:gd name="T35" fmla="*/ 0 h 17"/>
                <a:gd name="T36" fmla="*/ 1 w 3"/>
                <a:gd name="T37" fmla="*/ 0 h 17"/>
                <a:gd name="T38" fmla="*/ 0 w 3"/>
                <a:gd name="T39" fmla="*/ 0 h 17"/>
                <a:gd name="T40" fmla="*/ 1 w 3"/>
                <a:gd name="T41" fmla="*/ 3 h 17"/>
                <a:gd name="T42" fmla="*/ 3 w 3"/>
                <a:gd name="T43" fmla="*/ 4 h 17"/>
                <a:gd name="T44" fmla="*/ 3 w 3"/>
                <a:gd name="T45" fmla="*/ 3 h 17"/>
                <a:gd name="T46" fmla="*/ 3 w 3"/>
                <a:gd name="T4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7">
                  <a:moveTo>
                    <a:pt x="2" y="16"/>
                  </a:moveTo>
                  <a:lnTo>
                    <a:pt x="3" y="16"/>
                  </a:lnTo>
                  <a:lnTo>
                    <a:pt x="3" y="15"/>
                  </a:lnTo>
                  <a:lnTo>
                    <a:pt x="3" y="15"/>
                  </a:lnTo>
                  <a:lnTo>
                    <a:pt x="3" y="14"/>
                  </a:lnTo>
                  <a:lnTo>
                    <a:pt x="2" y="13"/>
                  </a:lnTo>
                  <a:lnTo>
                    <a:pt x="1" y="13"/>
                  </a:lnTo>
                  <a:lnTo>
                    <a:pt x="0" y="15"/>
                  </a:lnTo>
                  <a:lnTo>
                    <a:pt x="0" y="15"/>
                  </a:lnTo>
                  <a:lnTo>
                    <a:pt x="0" y="17"/>
                  </a:lnTo>
                  <a:lnTo>
                    <a:pt x="1" y="17"/>
                  </a:lnTo>
                  <a:lnTo>
                    <a:pt x="2" y="16"/>
                  </a:lnTo>
                  <a:lnTo>
                    <a:pt x="2" y="16"/>
                  </a:lnTo>
                  <a:close/>
                  <a:moveTo>
                    <a:pt x="3" y="3"/>
                  </a:moveTo>
                  <a:lnTo>
                    <a:pt x="3" y="1"/>
                  </a:lnTo>
                  <a:lnTo>
                    <a:pt x="3" y="0"/>
                  </a:lnTo>
                  <a:lnTo>
                    <a:pt x="1" y="0"/>
                  </a:lnTo>
                  <a:lnTo>
                    <a:pt x="1" y="0"/>
                  </a:lnTo>
                  <a:lnTo>
                    <a:pt x="1" y="0"/>
                  </a:lnTo>
                  <a:lnTo>
                    <a:pt x="0" y="0"/>
                  </a:lnTo>
                  <a:lnTo>
                    <a:pt x="1" y="3"/>
                  </a:lnTo>
                  <a:lnTo>
                    <a:pt x="3" y="4"/>
                  </a:lnTo>
                  <a:lnTo>
                    <a:pt x="3" y="3"/>
                  </a:lnTo>
                  <a:lnTo>
                    <a:pt x="3"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 name="The Bahamas"/>
            <p:cNvSpPr>
              <a:spLocks noEditPoints="1"/>
            </p:cNvSpPr>
            <p:nvPr/>
          </p:nvSpPr>
          <p:spPr bwMode="auto">
            <a:xfrm>
              <a:off x="3451225" y="3467101"/>
              <a:ext cx="179387" cy="227013"/>
            </a:xfrm>
            <a:custGeom>
              <a:avLst/>
              <a:gdLst>
                <a:gd name="T0" fmla="*/ 100 w 113"/>
                <a:gd name="T1" fmla="*/ 137 h 143"/>
                <a:gd name="T2" fmla="*/ 90 w 113"/>
                <a:gd name="T3" fmla="*/ 139 h 143"/>
                <a:gd name="T4" fmla="*/ 90 w 113"/>
                <a:gd name="T5" fmla="*/ 143 h 143"/>
                <a:gd name="T6" fmla="*/ 107 w 113"/>
                <a:gd name="T7" fmla="*/ 129 h 143"/>
                <a:gd name="T8" fmla="*/ 107 w 113"/>
                <a:gd name="T9" fmla="*/ 129 h 143"/>
                <a:gd name="T10" fmla="*/ 108 w 113"/>
                <a:gd name="T11" fmla="*/ 108 h 143"/>
                <a:gd name="T12" fmla="*/ 111 w 113"/>
                <a:gd name="T13" fmla="*/ 108 h 143"/>
                <a:gd name="T14" fmla="*/ 82 w 113"/>
                <a:gd name="T15" fmla="*/ 112 h 143"/>
                <a:gd name="T16" fmla="*/ 91 w 113"/>
                <a:gd name="T17" fmla="*/ 100 h 143"/>
                <a:gd name="T18" fmla="*/ 89 w 113"/>
                <a:gd name="T19" fmla="*/ 104 h 143"/>
                <a:gd name="T20" fmla="*/ 85 w 113"/>
                <a:gd name="T21" fmla="*/ 109 h 143"/>
                <a:gd name="T22" fmla="*/ 86 w 113"/>
                <a:gd name="T23" fmla="*/ 100 h 143"/>
                <a:gd name="T24" fmla="*/ 82 w 113"/>
                <a:gd name="T25" fmla="*/ 99 h 143"/>
                <a:gd name="T26" fmla="*/ 86 w 113"/>
                <a:gd name="T27" fmla="*/ 100 h 143"/>
                <a:gd name="T28" fmla="*/ 67 w 113"/>
                <a:gd name="T29" fmla="*/ 86 h 143"/>
                <a:gd name="T30" fmla="*/ 64 w 113"/>
                <a:gd name="T31" fmla="*/ 80 h 143"/>
                <a:gd name="T32" fmla="*/ 65 w 113"/>
                <a:gd name="T33" fmla="*/ 88 h 143"/>
                <a:gd name="T34" fmla="*/ 71 w 113"/>
                <a:gd name="T35" fmla="*/ 96 h 143"/>
                <a:gd name="T36" fmla="*/ 51 w 113"/>
                <a:gd name="T37" fmla="*/ 78 h 143"/>
                <a:gd name="T38" fmla="*/ 56 w 113"/>
                <a:gd name="T39" fmla="*/ 83 h 143"/>
                <a:gd name="T40" fmla="*/ 83 w 113"/>
                <a:gd name="T41" fmla="*/ 67 h 143"/>
                <a:gd name="T42" fmla="*/ 84 w 113"/>
                <a:gd name="T43" fmla="*/ 68 h 143"/>
                <a:gd name="T44" fmla="*/ 13 w 113"/>
                <a:gd name="T45" fmla="*/ 64 h 143"/>
                <a:gd name="T46" fmla="*/ 14 w 113"/>
                <a:gd name="T47" fmla="*/ 73 h 143"/>
                <a:gd name="T48" fmla="*/ 19 w 113"/>
                <a:gd name="T49" fmla="*/ 72 h 143"/>
                <a:gd name="T50" fmla="*/ 18 w 113"/>
                <a:gd name="T51" fmla="*/ 64 h 143"/>
                <a:gd name="T52" fmla="*/ 17 w 113"/>
                <a:gd name="T53" fmla="*/ 64 h 143"/>
                <a:gd name="T54" fmla="*/ 59 w 113"/>
                <a:gd name="T55" fmla="*/ 53 h 143"/>
                <a:gd name="T56" fmla="*/ 61 w 113"/>
                <a:gd name="T57" fmla="*/ 58 h 143"/>
                <a:gd name="T58" fmla="*/ 61 w 113"/>
                <a:gd name="T59" fmla="*/ 66 h 143"/>
                <a:gd name="T60" fmla="*/ 66 w 113"/>
                <a:gd name="T61" fmla="*/ 65 h 143"/>
                <a:gd name="T62" fmla="*/ 25 w 113"/>
                <a:gd name="T63" fmla="*/ 44 h 143"/>
                <a:gd name="T64" fmla="*/ 27 w 113"/>
                <a:gd name="T65" fmla="*/ 46 h 143"/>
                <a:gd name="T66" fmla="*/ 14 w 113"/>
                <a:gd name="T67" fmla="*/ 46 h 143"/>
                <a:gd name="T68" fmla="*/ 10 w 113"/>
                <a:gd name="T69" fmla="*/ 46 h 143"/>
                <a:gd name="T70" fmla="*/ 7 w 113"/>
                <a:gd name="T71" fmla="*/ 54 h 143"/>
                <a:gd name="T72" fmla="*/ 6 w 113"/>
                <a:gd name="T73" fmla="*/ 59 h 143"/>
                <a:gd name="T74" fmla="*/ 10 w 113"/>
                <a:gd name="T75" fmla="*/ 62 h 143"/>
                <a:gd name="T76" fmla="*/ 16 w 113"/>
                <a:gd name="T77" fmla="*/ 58 h 143"/>
                <a:gd name="T78" fmla="*/ 42 w 113"/>
                <a:gd name="T79" fmla="*/ 32 h 143"/>
                <a:gd name="T80" fmla="*/ 43 w 113"/>
                <a:gd name="T81" fmla="*/ 36 h 143"/>
                <a:gd name="T82" fmla="*/ 51 w 113"/>
                <a:gd name="T83" fmla="*/ 46 h 143"/>
                <a:gd name="T84" fmla="*/ 48 w 113"/>
                <a:gd name="T85" fmla="*/ 52 h 143"/>
                <a:gd name="T86" fmla="*/ 52 w 113"/>
                <a:gd name="T87" fmla="*/ 44 h 143"/>
                <a:gd name="T88" fmla="*/ 43 w 113"/>
                <a:gd name="T89" fmla="*/ 34 h 143"/>
                <a:gd name="T90" fmla="*/ 7 w 113"/>
                <a:gd name="T91" fmla="*/ 5 h 143"/>
                <a:gd name="T92" fmla="*/ 0 w 113"/>
                <a:gd name="T93" fmla="*/ 5 h 143"/>
                <a:gd name="T94" fmla="*/ 15 w 113"/>
                <a:gd name="T95" fmla="*/ 7 h 143"/>
                <a:gd name="T96" fmla="*/ 15 w 113"/>
                <a:gd name="T97" fmla="*/ 4 h 143"/>
                <a:gd name="T98" fmla="*/ 33 w 113"/>
                <a:gd name="T99" fmla="*/ 23 h 143"/>
                <a:gd name="T100" fmla="*/ 35 w 113"/>
                <a:gd name="T101" fmla="*/ 7 h 143"/>
                <a:gd name="T102" fmla="*/ 31 w 113"/>
                <a:gd name="T103" fmla="*/ 3 h 143"/>
                <a:gd name="T104" fmla="*/ 22 w 113"/>
                <a:gd name="T105" fmla="*/ 1 h 143"/>
                <a:gd name="T106" fmla="*/ 35 w 113"/>
                <a:gd name="T107" fmla="*/ 10 h 143"/>
                <a:gd name="T108" fmla="*/ 31 w 113"/>
                <a:gd name="T109" fmla="*/ 19 h 143"/>
                <a:gd name="T110" fmla="*/ 32 w 113"/>
                <a:gd name="T111"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43">
                  <a:moveTo>
                    <a:pt x="104" y="136"/>
                  </a:moveTo>
                  <a:lnTo>
                    <a:pt x="104" y="134"/>
                  </a:lnTo>
                  <a:lnTo>
                    <a:pt x="103" y="133"/>
                  </a:lnTo>
                  <a:lnTo>
                    <a:pt x="101" y="136"/>
                  </a:lnTo>
                  <a:lnTo>
                    <a:pt x="100" y="137"/>
                  </a:lnTo>
                  <a:lnTo>
                    <a:pt x="99" y="137"/>
                  </a:lnTo>
                  <a:lnTo>
                    <a:pt x="96" y="136"/>
                  </a:lnTo>
                  <a:lnTo>
                    <a:pt x="94" y="136"/>
                  </a:lnTo>
                  <a:lnTo>
                    <a:pt x="92" y="138"/>
                  </a:lnTo>
                  <a:lnTo>
                    <a:pt x="90" y="139"/>
                  </a:lnTo>
                  <a:lnTo>
                    <a:pt x="90" y="139"/>
                  </a:lnTo>
                  <a:lnTo>
                    <a:pt x="90" y="140"/>
                  </a:lnTo>
                  <a:lnTo>
                    <a:pt x="89" y="141"/>
                  </a:lnTo>
                  <a:lnTo>
                    <a:pt x="89" y="142"/>
                  </a:lnTo>
                  <a:lnTo>
                    <a:pt x="90" y="143"/>
                  </a:lnTo>
                  <a:lnTo>
                    <a:pt x="96" y="143"/>
                  </a:lnTo>
                  <a:lnTo>
                    <a:pt x="100" y="142"/>
                  </a:lnTo>
                  <a:lnTo>
                    <a:pt x="103" y="138"/>
                  </a:lnTo>
                  <a:lnTo>
                    <a:pt x="104" y="136"/>
                  </a:lnTo>
                  <a:close/>
                  <a:moveTo>
                    <a:pt x="107" y="129"/>
                  </a:moveTo>
                  <a:lnTo>
                    <a:pt x="105" y="128"/>
                  </a:lnTo>
                  <a:lnTo>
                    <a:pt x="104" y="129"/>
                  </a:lnTo>
                  <a:lnTo>
                    <a:pt x="104" y="130"/>
                  </a:lnTo>
                  <a:lnTo>
                    <a:pt x="107" y="129"/>
                  </a:lnTo>
                  <a:lnTo>
                    <a:pt x="107" y="129"/>
                  </a:lnTo>
                  <a:close/>
                  <a:moveTo>
                    <a:pt x="107" y="107"/>
                  </a:moveTo>
                  <a:lnTo>
                    <a:pt x="105" y="106"/>
                  </a:lnTo>
                  <a:lnTo>
                    <a:pt x="104" y="108"/>
                  </a:lnTo>
                  <a:lnTo>
                    <a:pt x="105" y="109"/>
                  </a:lnTo>
                  <a:lnTo>
                    <a:pt x="108" y="108"/>
                  </a:lnTo>
                  <a:lnTo>
                    <a:pt x="110" y="109"/>
                  </a:lnTo>
                  <a:lnTo>
                    <a:pt x="112" y="110"/>
                  </a:lnTo>
                  <a:lnTo>
                    <a:pt x="113" y="109"/>
                  </a:lnTo>
                  <a:lnTo>
                    <a:pt x="113" y="109"/>
                  </a:lnTo>
                  <a:lnTo>
                    <a:pt x="111" y="108"/>
                  </a:lnTo>
                  <a:lnTo>
                    <a:pt x="109" y="107"/>
                  </a:lnTo>
                  <a:lnTo>
                    <a:pt x="108" y="107"/>
                  </a:lnTo>
                  <a:lnTo>
                    <a:pt x="107" y="107"/>
                  </a:lnTo>
                  <a:lnTo>
                    <a:pt x="107" y="107"/>
                  </a:lnTo>
                  <a:close/>
                  <a:moveTo>
                    <a:pt x="82" y="112"/>
                  </a:moveTo>
                  <a:lnTo>
                    <a:pt x="85" y="110"/>
                  </a:lnTo>
                  <a:lnTo>
                    <a:pt x="87" y="109"/>
                  </a:lnTo>
                  <a:lnTo>
                    <a:pt x="91" y="104"/>
                  </a:lnTo>
                  <a:lnTo>
                    <a:pt x="90" y="102"/>
                  </a:lnTo>
                  <a:lnTo>
                    <a:pt x="91" y="100"/>
                  </a:lnTo>
                  <a:lnTo>
                    <a:pt x="89" y="100"/>
                  </a:lnTo>
                  <a:lnTo>
                    <a:pt x="88" y="102"/>
                  </a:lnTo>
                  <a:lnTo>
                    <a:pt x="88" y="103"/>
                  </a:lnTo>
                  <a:lnTo>
                    <a:pt x="89" y="103"/>
                  </a:lnTo>
                  <a:lnTo>
                    <a:pt x="89" y="104"/>
                  </a:lnTo>
                  <a:lnTo>
                    <a:pt x="88" y="106"/>
                  </a:lnTo>
                  <a:lnTo>
                    <a:pt x="87" y="106"/>
                  </a:lnTo>
                  <a:lnTo>
                    <a:pt x="87" y="107"/>
                  </a:lnTo>
                  <a:lnTo>
                    <a:pt x="86" y="107"/>
                  </a:lnTo>
                  <a:lnTo>
                    <a:pt x="85" y="109"/>
                  </a:lnTo>
                  <a:lnTo>
                    <a:pt x="82" y="112"/>
                  </a:lnTo>
                  <a:lnTo>
                    <a:pt x="81" y="113"/>
                  </a:lnTo>
                  <a:lnTo>
                    <a:pt x="82" y="112"/>
                  </a:lnTo>
                  <a:lnTo>
                    <a:pt x="82" y="112"/>
                  </a:lnTo>
                  <a:close/>
                  <a:moveTo>
                    <a:pt x="86" y="100"/>
                  </a:moveTo>
                  <a:lnTo>
                    <a:pt x="85" y="100"/>
                  </a:lnTo>
                  <a:lnTo>
                    <a:pt x="84" y="98"/>
                  </a:lnTo>
                  <a:lnTo>
                    <a:pt x="82" y="98"/>
                  </a:lnTo>
                  <a:lnTo>
                    <a:pt x="82" y="98"/>
                  </a:lnTo>
                  <a:lnTo>
                    <a:pt x="82" y="99"/>
                  </a:lnTo>
                  <a:lnTo>
                    <a:pt x="82" y="101"/>
                  </a:lnTo>
                  <a:lnTo>
                    <a:pt x="83" y="100"/>
                  </a:lnTo>
                  <a:lnTo>
                    <a:pt x="86" y="102"/>
                  </a:lnTo>
                  <a:lnTo>
                    <a:pt x="87" y="101"/>
                  </a:lnTo>
                  <a:lnTo>
                    <a:pt x="86" y="100"/>
                  </a:lnTo>
                  <a:close/>
                  <a:moveTo>
                    <a:pt x="71" y="96"/>
                  </a:moveTo>
                  <a:lnTo>
                    <a:pt x="71" y="93"/>
                  </a:lnTo>
                  <a:lnTo>
                    <a:pt x="70" y="91"/>
                  </a:lnTo>
                  <a:lnTo>
                    <a:pt x="68" y="90"/>
                  </a:lnTo>
                  <a:lnTo>
                    <a:pt x="67" y="86"/>
                  </a:lnTo>
                  <a:lnTo>
                    <a:pt x="66" y="83"/>
                  </a:lnTo>
                  <a:lnTo>
                    <a:pt x="65" y="81"/>
                  </a:lnTo>
                  <a:lnTo>
                    <a:pt x="64" y="77"/>
                  </a:lnTo>
                  <a:lnTo>
                    <a:pt x="64" y="79"/>
                  </a:lnTo>
                  <a:lnTo>
                    <a:pt x="64" y="80"/>
                  </a:lnTo>
                  <a:lnTo>
                    <a:pt x="65" y="82"/>
                  </a:lnTo>
                  <a:lnTo>
                    <a:pt x="66" y="86"/>
                  </a:lnTo>
                  <a:lnTo>
                    <a:pt x="67" y="87"/>
                  </a:lnTo>
                  <a:lnTo>
                    <a:pt x="66" y="88"/>
                  </a:lnTo>
                  <a:lnTo>
                    <a:pt x="65" y="88"/>
                  </a:lnTo>
                  <a:lnTo>
                    <a:pt x="64" y="89"/>
                  </a:lnTo>
                  <a:lnTo>
                    <a:pt x="66" y="90"/>
                  </a:lnTo>
                  <a:lnTo>
                    <a:pt x="69" y="92"/>
                  </a:lnTo>
                  <a:lnTo>
                    <a:pt x="71" y="97"/>
                  </a:lnTo>
                  <a:lnTo>
                    <a:pt x="71" y="96"/>
                  </a:lnTo>
                  <a:lnTo>
                    <a:pt x="71" y="96"/>
                  </a:lnTo>
                  <a:close/>
                  <a:moveTo>
                    <a:pt x="56" y="83"/>
                  </a:moveTo>
                  <a:lnTo>
                    <a:pt x="54" y="82"/>
                  </a:lnTo>
                  <a:lnTo>
                    <a:pt x="54" y="81"/>
                  </a:lnTo>
                  <a:lnTo>
                    <a:pt x="51" y="78"/>
                  </a:lnTo>
                  <a:lnTo>
                    <a:pt x="50" y="77"/>
                  </a:lnTo>
                  <a:lnTo>
                    <a:pt x="49" y="79"/>
                  </a:lnTo>
                  <a:lnTo>
                    <a:pt x="50" y="79"/>
                  </a:lnTo>
                  <a:lnTo>
                    <a:pt x="54" y="82"/>
                  </a:lnTo>
                  <a:lnTo>
                    <a:pt x="56" y="83"/>
                  </a:lnTo>
                  <a:lnTo>
                    <a:pt x="56" y="83"/>
                  </a:lnTo>
                  <a:lnTo>
                    <a:pt x="56" y="83"/>
                  </a:lnTo>
                  <a:close/>
                  <a:moveTo>
                    <a:pt x="84" y="68"/>
                  </a:moveTo>
                  <a:lnTo>
                    <a:pt x="83" y="67"/>
                  </a:lnTo>
                  <a:lnTo>
                    <a:pt x="83" y="67"/>
                  </a:lnTo>
                  <a:lnTo>
                    <a:pt x="82" y="67"/>
                  </a:lnTo>
                  <a:lnTo>
                    <a:pt x="80" y="71"/>
                  </a:lnTo>
                  <a:lnTo>
                    <a:pt x="82" y="71"/>
                  </a:lnTo>
                  <a:lnTo>
                    <a:pt x="84" y="68"/>
                  </a:lnTo>
                  <a:lnTo>
                    <a:pt x="84" y="68"/>
                  </a:lnTo>
                  <a:close/>
                  <a:moveTo>
                    <a:pt x="17" y="64"/>
                  </a:moveTo>
                  <a:lnTo>
                    <a:pt x="16" y="62"/>
                  </a:lnTo>
                  <a:lnTo>
                    <a:pt x="15" y="63"/>
                  </a:lnTo>
                  <a:lnTo>
                    <a:pt x="14" y="63"/>
                  </a:lnTo>
                  <a:lnTo>
                    <a:pt x="13" y="64"/>
                  </a:lnTo>
                  <a:lnTo>
                    <a:pt x="12" y="64"/>
                  </a:lnTo>
                  <a:lnTo>
                    <a:pt x="11" y="64"/>
                  </a:lnTo>
                  <a:lnTo>
                    <a:pt x="12" y="68"/>
                  </a:lnTo>
                  <a:lnTo>
                    <a:pt x="13" y="69"/>
                  </a:lnTo>
                  <a:lnTo>
                    <a:pt x="14" y="73"/>
                  </a:lnTo>
                  <a:lnTo>
                    <a:pt x="15" y="73"/>
                  </a:lnTo>
                  <a:lnTo>
                    <a:pt x="14" y="75"/>
                  </a:lnTo>
                  <a:lnTo>
                    <a:pt x="18" y="75"/>
                  </a:lnTo>
                  <a:lnTo>
                    <a:pt x="19" y="73"/>
                  </a:lnTo>
                  <a:lnTo>
                    <a:pt x="19" y="72"/>
                  </a:lnTo>
                  <a:lnTo>
                    <a:pt x="19" y="72"/>
                  </a:lnTo>
                  <a:lnTo>
                    <a:pt x="19" y="71"/>
                  </a:lnTo>
                  <a:lnTo>
                    <a:pt x="19" y="70"/>
                  </a:lnTo>
                  <a:lnTo>
                    <a:pt x="19" y="66"/>
                  </a:lnTo>
                  <a:lnTo>
                    <a:pt x="18" y="64"/>
                  </a:lnTo>
                  <a:lnTo>
                    <a:pt x="16" y="67"/>
                  </a:lnTo>
                  <a:lnTo>
                    <a:pt x="15" y="66"/>
                  </a:lnTo>
                  <a:lnTo>
                    <a:pt x="17" y="64"/>
                  </a:lnTo>
                  <a:lnTo>
                    <a:pt x="17" y="64"/>
                  </a:lnTo>
                  <a:lnTo>
                    <a:pt x="17" y="64"/>
                  </a:lnTo>
                  <a:close/>
                  <a:moveTo>
                    <a:pt x="66" y="65"/>
                  </a:moveTo>
                  <a:lnTo>
                    <a:pt x="62" y="60"/>
                  </a:lnTo>
                  <a:lnTo>
                    <a:pt x="62" y="59"/>
                  </a:lnTo>
                  <a:lnTo>
                    <a:pt x="60" y="53"/>
                  </a:lnTo>
                  <a:lnTo>
                    <a:pt x="59" y="53"/>
                  </a:lnTo>
                  <a:lnTo>
                    <a:pt x="58" y="53"/>
                  </a:lnTo>
                  <a:lnTo>
                    <a:pt x="58" y="54"/>
                  </a:lnTo>
                  <a:lnTo>
                    <a:pt x="59" y="56"/>
                  </a:lnTo>
                  <a:lnTo>
                    <a:pt x="59" y="57"/>
                  </a:lnTo>
                  <a:lnTo>
                    <a:pt x="61" y="58"/>
                  </a:lnTo>
                  <a:lnTo>
                    <a:pt x="62" y="62"/>
                  </a:lnTo>
                  <a:lnTo>
                    <a:pt x="64" y="63"/>
                  </a:lnTo>
                  <a:lnTo>
                    <a:pt x="63" y="64"/>
                  </a:lnTo>
                  <a:lnTo>
                    <a:pt x="62" y="66"/>
                  </a:lnTo>
                  <a:lnTo>
                    <a:pt x="61" y="66"/>
                  </a:lnTo>
                  <a:lnTo>
                    <a:pt x="62" y="66"/>
                  </a:lnTo>
                  <a:lnTo>
                    <a:pt x="64" y="66"/>
                  </a:lnTo>
                  <a:lnTo>
                    <a:pt x="66" y="66"/>
                  </a:lnTo>
                  <a:lnTo>
                    <a:pt x="66" y="65"/>
                  </a:lnTo>
                  <a:lnTo>
                    <a:pt x="66" y="65"/>
                  </a:lnTo>
                  <a:close/>
                  <a:moveTo>
                    <a:pt x="27" y="46"/>
                  </a:moveTo>
                  <a:lnTo>
                    <a:pt x="29" y="45"/>
                  </a:lnTo>
                  <a:lnTo>
                    <a:pt x="29" y="45"/>
                  </a:lnTo>
                  <a:lnTo>
                    <a:pt x="28" y="44"/>
                  </a:lnTo>
                  <a:lnTo>
                    <a:pt x="25" y="44"/>
                  </a:lnTo>
                  <a:lnTo>
                    <a:pt x="23" y="45"/>
                  </a:lnTo>
                  <a:lnTo>
                    <a:pt x="22" y="46"/>
                  </a:lnTo>
                  <a:lnTo>
                    <a:pt x="23" y="46"/>
                  </a:lnTo>
                  <a:lnTo>
                    <a:pt x="24" y="46"/>
                  </a:lnTo>
                  <a:lnTo>
                    <a:pt x="27" y="46"/>
                  </a:lnTo>
                  <a:lnTo>
                    <a:pt x="27" y="46"/>
                  </a:lnTo>
                  <a:close/>
                  <a:moveTo>
                    <a:pt x="17" y="53"/>
                  </a:moveTo>
                  <a:lnTo>
                    <a:pt x="15" y="51"/>
                  </a:lnTo>
                  <a:lnTo>
                    <a:pt x="15" y="47"/>
                  </a:lnTo>
                  <a:lnTo>
                    <a:pt x="14" y="46"/>
                  </a:lnTo>
                  <a:lnTo>
                    <a:pt x="15" y="44"/>
                  </a:lnTo>
                  <a:lnTo>
                    <a:pt x="13" y="43"/>
                  </a:lnTo>
                  <a:lnTo>
                    <a:pt x="11" y="41"/>
                  </a:lnTo>
                  <a:lnTo>
                    <a:pt x="10" y="42"/>
                  </a:lnTo>
                  <a:lnTo>
                    <a:pt x="10" y="46"/>
                  </a:lnTo>
                  <a:lnTo>
                    <a:pt x="9" y="47"/>
                  </a:lnTo>
                  <a:lnTo>
                    <a:pt x="6" y="52"/>
                  </a:lnTo>
                  <a:lnTo>
                    <a:pt x="7" y="53"/>
                  </a:lnTo>
                  <a:lnTo>
                    <a:pt x="7" y="53"/>
                  </a:lnTo>
                  <a:lnTo>
                    <a:pt x="7" y="54"/>
                  </a:lnTo>
                  <a:lnTo>
                    <a:pt x="5" y="56"/>
                  </a:lnTo>
                  <a:lnTo>
                    <a:pt x="5" y="55"/>
                  </a:lnTo>
                  <a:lnTo>
                    <a:pt x="3" y="55"/>
                  </a:lnTo>
                  <a:lnTo>
                    <a:pt x="4" y="57"/>
                  </a:lnTo>
                  <a:lnTo>
                    <a:pt x="6" y="59"/>
                  </a:lnTo>
                  <a:lnTo>
                    <a:pt x="7" y="59"/>
                  </a:lnTo>
                  <a:lnTo>
                    <a:pt x="9" y="58"/>
                  </a:lnTo>
                  <a:lnTo>
                    <a:pt x="9" y="60"/>
                  </a:lnTo>
                  <a:lnTo>
                    <a:pt x="10" y="61"/>
                  </a:lnTo>
                  <a:lnTo>
                    <a:pt x="10" y="62"/>
                  </a:lnTo>
                  <a:lnTo>
                    <a:pt x="11" y="61"/>
                  </a:lnTo>
                  <a:lnTo>
                    <a:pt x="14" y="60"/>
                  </a:lnTo>
                  <a:lnTo>
                    <a:pt x="15" y="60"/>
                  </a:lnTo>
                  <a:lnTo>
                    <a:pt x="16" y="59"/>
                  </a:lnTo>
                  <a:lnTo>
                    <a:pt x="16" y="58"/>
                  </a:lnTo>
                  <a:lnTo>
                    <a:pt x="17" y="56"/>
                  </a:lnTo>
                  <a:lnTo>
                    <a:pt x="17" y="53"/>
                  </a:lnTo>
                  <a:lnTo>
                    <a:pt x="17" y="53"/>
                  </a:lnTo>
                  <a:close/>
                  <a:moveTo>
                    <a:pt x="43" y="34"/>
                  </a:moveTo>
                  <a:lnTo>
                    <a:pt x="42" y="32"/>
                  </a:lnTo>
                  <a:lnTo>
                    <a:pt x="41" y="32"/>
                  </a:lnTo>
                  <a:lnTo>
                    <a:pt x="41" y="34"/>
                  </a:lnTo>
                  <a:lnTo>
                    <a:pt x="40" y="36"/>
                  </a:lnTo>
                  <a:lnTo>
                    <a:pt x="42" y="35"/>
                  </a:lnTo>
                  <a:lnTo>
                    <a:pt x="43" y="36"/>
                  </a:lnTo>
                  <a:lnTo>
                    <a:pt x="45" y="38"/>
                  </a:lnTo>
                  <a:lnTo>
                    <a:pt x="48" y="38"/>
                  </a:lnTo>
                  <a:lnTo>
                    <a:pt x="49" y="41"/>
                  </a:lnTo>
                  <a:lnTo>
                    <a:pt x="51" y="43"/>
                  </a:lnTo>
                  <a:lnTo>
                    <a:pt x="51" y="46"/>
                  </a:lnTo>
                  <a:lnTo>
                    <a:pt x="50" y="47"/>
                  </a:lnTo>
                  <a:lnTo>
                    <a:pt x="49" y="50"/>
                  </a:lnTo>
                  <a:lnTo>
                    <a:pt x="47" y="50"/>
                  </a:lnTo>
                  <a:lnTo>
                    <a:pt x="47" y="51"/>
                  </a:lnTo>
                  <a:lnTo>
                    <a:pt x="48" y="52"/>
                  </a:lnTo>
                  <a:lnTo>
                    <a:pt x="49" y="53"/>
                  </a:lnTo>
                  <a:lnTo>
                    <a:pt x="50" y="54"/>
                  </a:lnTo>
                  <a:lnTo>
                    <a:pt x="50" y="51"/>
                  </a:lnTo>
                  <a:lnTo>
                    <a:pt x="51" y="48"/>
                  </a:lnTo>
                  <a:lnTo>
                    <a:pt x="52" y="44"/>
                  </a:lnTo>
                  <a:lnTo>
                    <a:pt x="52" y="43"/>
                  </a:lnTo>
                  <a:lnTo>
                    <a:pt x="51" y="42"/>
                  </a:lnTo>
                  <a:lnTo>
                    <a:pt x="48" y="38"/>
                  </a:lnTo>
                  <a:lnTo>
                    <a:pt x="45" y="37"/>
                  </a:lnTo>
                  <a:lnTo>
                    <a:pt x="43" y="34"/>
                  </a:lnTo>
                  <a:lnTo>
                    <a:pt x="43" y="34"/>
                  </a:lnTo>
                  <a:close/>
                  <a:moveTo>
                    <a:pt x="10" y="4"/>
                  </a:moveTo>
                  <a:lnTo>
                    <a:pt x="8" y="4"/>
                  </a:lnTo>
                  <a:lnTo>
                    <a:pt x="7" y="4"/>
                  </a:lnTo>
                  <a:lnTo>
                    <a:pt x="7" y="5"/>
                  </a:lnTo>
                  <a:lnTo>
                    <a:pt x="7" y="6"/>
                  </a:lnTo>
                  <a:lnTo>
                    <a:pt x="5" y="8"/>
                  </a:lnTo>
                  <a:lnTo>
                    <a:pt x="3" y="8"/>
                  </a:lnTo>
                  <a:lnTo>
                    <a:pt x="1" y="6"/>
                  </a:lnTo>
                  <a:lnTo>
                    <a:pt x="0" y="5"/>
                  </a:lnTo>
                  <a:lnTo>
                    <a:pt x="2" y="10"/>
                  </a:lnTo>
                  <a:lnTo>
                    <a:pt x="3" y="10"/>
                  </a:lnTo>
                  <a:lnTo>
                    <a:pt x="5" y="10"/>
                  </a:lnTo>
                  <a:lnTo>
                    <a:pt x="9" y="9"/>
                  </a:lnTo>
                  <a:lnTo>
                    <a:pt x="15" y="7"/>
                  </a:lnTo>
                  <a:lnTo>
                    <a:pt x="21" y="6"/>
                  </a:lnTo>
                  <a:lnTo>
                    <a:pt x="21" y="5"/>
                  </a:lnTo>
                  <a:lnTo>
                    <a:pt x="21" y="4"/>
                  </a:lnTo>
                  <a:lnTo>
                    <a:pt x="18" y="5"/>
                  </a:lnTo>
                  <a:lnTo>
                    <a:pt x="15" y="4"/>
                  </a:lnTo>
                  <a:lnTo>
                    <a:pt x="14" y="5"/>
                  </a:lnTo>
                  <a:lnTo>
                    <a:pt x="12" y="5"/>
                  </a:lnTo>
                  <a:lnTo>
                    <a:pt x="10" y="4"/>
                  </a:lnTo>
                  <a:close/>
                  <a:moveTo>
                    <a:pt x="32" y="24"/>
                  </a:moveTo>
                  <a:lnTo>
                    <a:pt x="33" y="23"/>
                  </a:lnTo>
                  <a:lnTo>
                    <a:pt x="35" y="17"/>
                  </a:lnTo>
                  <a:lnTo>
                    <a:pt x="38" y="14"/>
                  </a:lnTo>
                  <a:lnTo>
                    <a:pt x="38" y="10"/>
                  </a:lnTo>
                  <a:lnTo>
                    <a:pt x="36" y="8"/>
                  </a:lnTo>
                  <a:lnTo>
                    <a:pt x="35" y="7"/>
                  </a:lnTo>
                  <a:lnTo>
                    <a:pt x="34" y="6"/>
                  </a:lnTo>
                  <a:lnTo>
                    <a:pt x="35" y="5"/>
                  </a:lnTo>
                  <a:lnTo>
                    <a:pt x="34" y="5"/>
                  </a:lnTo>
                  <a:lnTo>
                    <a:pt x="33" y="4"/>
                  </a:lnTo>
                  <a:lnTo>
                    <a:pt x="31" y="3"/>
                  </a:lnTo>
                  <a:lnTo>
                    <a:pt x="29" y="1"/>
                  </a:lnTo>
                  <a:lnTo>
                    <a:pt x="28" y="1"/>
                  </a:lnTo>
                  <a:lnTo>
                    <a:pt x="25" y="0"/>
                  </a:lnTo>
                  <a:lnTo>
                    <a:pt x="24" y="0"/>
                  </a:lnTo>
                  <a:lnTo>
                    <a:pt x="22" y="1"/>
                  </a:lnTo>
                  <a:lnTo>
                    <a:pt x="25" y="1"/>
                  </a:lnTo>
                  <a:lnTo>
                    <a:pt x="30" y="2"/>
                  </a:lnTo>
                  <a:lnTo>
                    <a:pt x="33" y="7"/>
                  </a:lnTo>
                  <a:lnTo>
                    <a:pt x="35" y="9"/>
                  </a:lnTo>
                  <a:lnTo>
                    <a:pt x="35" y="10"/>
                  </a:lnTo>
                  <a:lnTo>
                    <a:pt x="34" y="12"/>
                  </a:lnTo>
                  <a:lnTo>
                    <a:pt x="34" y="14"/>
                  </a:lnTo>
                  <a:lnTo>
                    <a:pt x="33" y="16"/>
                  </a:lnTo>
                  <a:lnTo>
                    <a:pt x="33" y="18"/>
                  </a:lnTo>
                  <a:lnTo>
                    <a:pt x="31" y="19"/>
                  </a:lnTo>
                  <a:lnTo>
                    <a:pt x="29" y="21"/>
                  </a:lnTo>
                  <a:lnTo>
                    <a:pt x="30" y="22"/>
                  </a:lnTo>
                  <a:lnTo>
                    <a:pt x="31" y="25"/>
                  </a:lnTo>
                  <a:lnTo>
                    <a:pt x="32" y="24"/>
                  </a:lnTo>
                  <a:lnTo>
                    <a:pt x="32" y="2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 name="Bermuda"/>
            <p:cNvSpPr>
              <a:spLocks/>
            </p:cNvSpPr>
            <p:nvPr/>
          </p:nvSpPr>
          <p:spPr bwMode="auto">
            <a:xfrm>
              <a:off x="3943350" y="3262313"/>
              <a:ext cx="4762" cy="4763"/>
            </a:xfrm>
            <a:custGeom>
              <a:avLst/>
              <a:gdLst>
                <a:gd name="T0" fmla="*/ 2 w 3"/>
                <a:gd name="T1" fmla="*/ 2 h 3"/>
                <a:gd name="T2" fmla="*/ 3 w 3"/>
                <a:gd name="T3" fmla="*/ 0 h 3"/>
                <a:gd name="T4" fmla="*/ 3 w 3"/>
                <a:gd name="T5" fmla="*/ 0 h 3"/>
                <a:gd name="T6" fmla="*/ 1 w 3"/>
                <a:gd name="T7" fmla="*/ 2 h 3"/>
                <a:gd name="T8" fmla="*/ 0 w 3"/>
                <a:gd name="T9" fmla="*/ 3 h 3"/>
                <a:gd name="T10" fmla="*/ 0 w 3"/>
                <a:gd name="T11" fmla="*/ 3 h 3"/>
                <a:gd name="T12" fmla="*/ 0 w 3"/>
                <a:gd name="T13" fmla="*/ 3 h 3"/>
                <a:gd name="T14" fmla="*/ 2 w 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2"/>
                  </a:moveTo>
                  <a:lnTo>
                    <a:pt x="3" y="0"/>
                  </a:lnTo>
                  <a:lnTo>
                    <a:pt x="3" y="0"/>
                  </a:lnTo>
                  <a:lnTo>
                    <a:pt x="1" y="2"/>
                  </a:lnTo>
                  <a:lnTo>
                    <a:pt x="0" y="3"/>
                  </a:lnTo>
                  <a:lnTo>
                    <a:pt x="0" y="3"/>
                  </a:lnTo>
                  <a:lnTo>
                    <a:pt x="0" y="3"/>
                  </a:lnTo>
                  <a:lnTo>
                    <a:pt x="2"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 name="Barbados"/>
            <p:cNvSpPr>
              <a:spLocks/>
            </p:cNvSpPr>
            <p:nvPr/>
          </p:nvSpPr>
          <p:spPr bwMode="auto">
            <a:xfrm>
              <a:off x="4029075" y="3981451"/>
              <a:ext cx="6350" cy="7938"/>
            </a:xfrm>
            <a:custGeom>
              <a:avLst/>
              <a:gdLst>
                <a:gd name="T0" fmla="*/ 3 w 4"/>
                <a:gd name="T1" fmla="*/ 5 h 5"/>
                <a:gd name="T2" fmla="*/ 4 w 4"/>
                <a:gd name="T3" fmla="*/ 4 h 5"/>
                <a:gd name="T4" fmla="*/ 3 w 4"/>
                <a:gd name="T5" fmla="*/ 3 h 5"/>
                <a:gd name="T6" fmla="*/ 2 w 4"/>
                <a:gd name="T7" fmla="*/ 0 h 5"/>
                <a:gd name="T8" fmla="*/ 0 w 4"/>
                <a:gd name="T9" fmla="*/ 0 h 5"/>
                <a:gd name="T10" fmla="*/ 0 w 4"/>
                <a:gd name="T11" fmla="*/ 4 h 5"/>
                <a:gd name="T12" fmla="*/ 1 w 4"/>
                <a:gd name="T13" fmla="*/ 4 h 5"/>
                <a:gd name="T14" fmla="*/ 3 w 4"/>
                <a:gd name="T15" fmla="*/ 5 h 5"/>
                <a:gd name="T16" fmla="*/ 3 w 4"/>
                <a:gd name="T17" fmla="*/ 5 h 5"/>
                <a:gd name="T18" fmla="*/ 3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3" y="5"/>
                  </a:moveTo>
                  <a:lnTo>
                    <a:pt x="4" y="4"/>
                  </a:lnTo>
                  <a:lnTo>
                    <a:pt x="3" y="3"/>
                  </a:lnTo>
                  <a:lnTo>
                    <a:pt x="2" y="0"/>
                  </a:lnTo>
                  <a:lnTo>
                    <a:pt x="0" y="0"/>
                  </a:lnTo>
                  <a:lnTo>
                    <a:pt x="0" y="4"/>
                  </a:lnTo>
                  <a:lnTo>
                    <a:pt x="1" y="4"/>
                  </a:lnTo>
                  <a:lnTo>
                    <a:pt x="3" y="5"/>
                  </a:lnTo>
                  <a:lnTo>
                    <a:pt x="3" y="5"/>
                  </a:lnTo>
                  <a:lnTo>
                    <a:pt x="3"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7" name="Comoros"/>
            <p:cNvSpPr>
              <a:spLocks noEditPoints="1"/>
            </p:cNvSpPr>
            <p:nvPr/>
          </p:nvSpPr>
          <p:spPr bwMode="auto">
            <a:xfrm>
              <a:off x="7431087" y="4911726"/>
              <a:ext cx="42862" cy="38100"/>
            </a:xfrm>
            <a:custGeom>
              <a:avLst/>
              <a:gdLst>
                <a:gd name="T0" fmla="*/ 12 w 27"/>
                <a:gd name="T1" fmla="*/ 23 h 24"/>
                <a:gd name="T2" fmla="*/ 11 w 27"/>
                <a:gd name="T3" fmla="*/ 21 h 24"/>
                <a:gd name="T4" fmla="*/ 9 w 27"/>
                <a:gd name="T5" fmla="*/ 21 h 24"/>
                <a:gd name="T6" fmla="*/ 9 w 27"/>
                <a:gd name="T7" fmla="*/ 22 h 24"/>
                <a:gd name="T8" fmla="*/ 10 w 27"/>
                <a:gd name="T9" fmla="*/ 23 h 24"/>
                <a:gd name="T10" fmla="*/ 13 w 27"/>
                <a:gd name="T11" fmla="*/ 24 h 24"/>
                <a:gd name="T12" fmla="*/ 12 w 27"/>
                <a:gd name="T13" fmla="*/ 23 h 24"/>
                <a:gd name="T14" fmla="*/ 12 w 27"/>
                <a:gd name="T15" fmla="*/ 23 h 24"/>
                <a:gd name="T16" fmla="*/ 27 w 27"/>
                <a:gd name="T17" fmla="*/ 17 h 24"/>
                <a:gd name="T18" fmla="*/ 27 w 27"/>
                <a:gd name="T19" fmla="*/ 17 h 24"/>
                <a:gd name="T20" fmla="*/ 26 w 27"/>
                <a:gd name="T21" fmla="*/ 17 h 24"/>
                <a:gd name="T22" fmla="*/ 25 w 27"/>
                <a:gd name="T23" fmla="*/ 18 h 24"/>
                <a:gd name="T24" fmla="*/ 25 w 27"/>
                <a:gd name="T25" fmla="*/ 19 h 24"/>
                <a:gd name="T26" fmla="*/ 24 w 27"/>
                <a:gd name="T27" fmla="*/ 19 h 24"/>
                <a:gd name="T28" fmla="*/ 23 w 27"/>
                <a:gd name="T29" fmla="*/ 19 h 24"/>
                <a:gd name="T30" fmla="*/ 21 w 27"/>
                <a:gd name="T31" fmla="*/ 19 h 24"/>
                <a:gd name="T32" fmla="*/ 25 w 27"/>
                <a:gd name="T33" fmla="*/ 21 h 24"/>
                <a:gd name="T34" fmla="*/ 27 w 27"/>
                <a:gd name="T35" fmla="*/ 23 h 24"/>
                <a:gd name="T36" fmla="*/ 27 w 27"/>
                <a:gd name="T37" fmla="*/ 23 h 24"/>
                <a:gd name="T38" fmla="*/ 27 w 27"/>
                <a:gd name="T39" fmla="*/ 23 h 24"/>
                <a:gd name="T40" fmla="*/ 27 w 27"/>
                <a:gd name="T41" fmla="*/ 21 h 24"/>
                <a:gd name="T42" fmla="*/ 27 w 27"/>
                <a:gd name="T43" fmla="*/ 17 h 24"/>
                <a:gd name="T44" fmla="*/ 27 w 27"/>
                <a:gd name="T45" fmla="*/ 17 h 24"/>
                <a:gd name="T46" fmla="*/ 6 w 27"/>
                <a:gd name="T47" fmla="*/ 13 h 24"/>
                <a:gd name="T48" fmla="*/ 6 w 27"/>
                <a:gd name="T49" fmla="*/ 11 h 24"/>
                <a:gd name="T50" fmla="*/ 6 w 27"/>
                <a:gd name="T51" fmla="*/ 9 h 24"/>
                <a:gd name="T52" fmla="*/ 4 w 27"/>
                <a:gd name="T53" fmla="*/ 6 h 24"/>
                <a:gd name="T54" fmla="*/ 4 w 27"/>
                <a:gd name="T55" fmla="*/ 1 h 24"/>
                <a:gd name="T56" fmla="*/ 4 w 27"/>
                <a:gd name="T57" fmla="*/ 0 h 24"/>
                <a:gd name="T58" fmla="*/ 2 w 27"/>
                <a:gd name="T59" fmla="*/ 0 h 24"/>
                <a:gd name="T60" fmla="*/ 2 w 27"/>
                <a:gd name="T61" fmla="*/ 0 h 24"/>
                <a:gd name="T62" fmla="*/ 2 w 27"/>
                <a:gd name="T63" fmla="*/ 2 h 24"/>
                <a:gd name="T64" fmla="*/ 0 w 27"/>
                <a:gd name="T65" fmla="*/ 9 h 24"/>
                <a:gd name="T66" fmla="*/ 2 w 27"/>
                <a:gd name="T67" fmla="*/ 11 h 24"/>
                <a:gd name="T68" fmla="*/ 3 w 27"/>
                <a:gd name="T69" fmla="*/ 11 h 24"/>
                <a:gd name="T70" fmla="*/ 5 w 27"/>
                <a:gd name="T71" fmla="*/ 13 h 24"/>
                <a:gd name="T72" fmla="*/ 6 w 27"/>
                <a:gd name="T73" fmla="*/ 13 h 24"/>
                <a:gd name="T74" fmla="*/ 6 w 27"/>
                <a:gd name="T7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24">
                  <a:moveTo>
                    <a:pt x="12" y="23"/>
                  </a:moveTo>
                  <a:lnTo>
                    <a:pt x="11" y="21"/>
                  </a:lnTo>
                  <a:lnTo>
                    <a:pt x="9" y="21"/>
                  </a:lnTo>
                  <a:lnTo>
                    <a:pt x="9" y="22"/>
                  </a:lnTo>
                  <a:lnTo>
                    <a:pt x="10" y="23"/>
                  </a:lnTo>
                  <a:lnTo>
                    <a:pt x="13" y="24"/>
                  </a:lnTo>
                  <a:lnTo>
                    <a:pt x="12" y="23"/>
                  </a:lnTo>
                  <a:lnTo>
                    <a:pt x="12" y="23"/>
                  </a:lnTo>
                  <a:close/>
                  <a:moveTo>
                    <a:pt x="27" y="17"/>
                  </a:moveTo>
                  <a:lnTo>
                    <a:pt x="27" y="17"/>
                  </a:lnTo>
                  <a:lnTo>
                    <a:pt x="26" y="17"/>
                  </a:lnTo>
                  <a:lnTo>
                    <a:pt x="25" y="18"/>
                  </a:lnTo>
                  <a:lnTo>
                    <a:pt x="25" y="19"/>
                  </a:lnTo>
                  <a:lnTo>
                    <a:pt x="24" y="19"/>
                  </a:lnTo>
                  <a:lnTo>
                    <a:pt x="23" y="19"/>
                  </a:lnTo>
                  <a:lnTo>
                    <a:pt x="21" y="19"/>
                  </a:lnTo>
                  <a:lnTo>
                    <a:pt x="25" y="21"/>
                  </a:lnTo>
                  <a:lnTo>
                    <a:pt x="27" y="23"/>
                  </a:lnTo>
                  <a:lnTo>
                    <a:pt x="27" y="23"/>
                  </a:lnTo>
                  <a:lnTo>
                    <a:pt x="27" y="23"/>
                  </a:lnTo>
                  <a:lnTo>
                    <a:pt x="27" y="21"/>
                  </a:lnTo>
                  <a:lnTo>
                    <a:pt x="27" y="17"/>
                  </a:lnTo>
                  <a:lnTo>
                    <a:pt x="27" y="17"/>
                  </a:lnTo>
                  <a:close/>
                  <a:moveTo>
                    <a:pt x="6" y="13"/>
                  </a:moveTo>
                  <a:lnTo>
                    <a:pt x="6" y="11"/>
                  </a:lnTo>
                  <a:lnTo>
                    <a:pt x="6" y="9"/>
                  </a:lnTo>
                  <a:lnTo>
                    <a:pt x="4" y="6"/>
                  </a:lnTo>
                  <a:lnTo>
                    <a:pt x="4" y="1"/>
                  </a:lnTo>
                  <a:lnTo>
                    <a:pt x="4" y="0"/>
                  </a:lnTo>
                  <a:lnTo>
                    <a:pt x="2" y="0"/>
                  </a:lnTo>
                  <a:lnTo>
                    <a:pt x="2" y="0"/>
                  </a:lnTo>
                  <a:lnTo>
                    <a:pt x="2" y="2"/>
                  </a:lnTo>
                  <a:lnTo>
                    <a:pt x="0" y="9"/>
                  </a:lnTo>
                  <a:lnTo>
                    <a:pt x="2" y="11"/>
                  </a:lnTo>
                  <a:lnTo>
                    <a:pt x="3" y="11"/>
                  </a:lnTo>
                  <a:lnTo>
                    <a:pt x="5" y="13"/>
                  </a:lnTo>
                  <a:lnTo>
                    <a:pt x="6" y="13"/>
                  </a:lnTo>
                  <a:lnTo>
                    <a:pt x="6" y="1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8" name="Cape Verde"/>
            <p:cNvSpPr>
              <a:spLocks noEditPoints="1"/>
            </p:cNvSpPr>
            <p:nvPr/>
          </p:nvSpPr>
          <p:spPr bwMode="auto">
            <a:xfrm>
              <a:off x="5167312" y="3833813"/>
              <a:ext cx="87312" cy="90488"/>
            </a:xfrm>
            <a:custGeom>
              <a:avLst/>
              <a:gdLst>
                <a:gd name="T0" fmla="*/ 20 w 55"/>
                <a:gd name="T1" fmla="*/ 55 h 57"/>
                <a:gd name="T2" fmla="*/ 18 w 55"/>
                <a:gd name="T3" fmla="*/ 52 h 57"/>
                <a:gd name="T4" fmla="*/ 16 w 55"/>
                <a:gd name="T5" fmla="*/ 55 h 57"/>
                <a:gd name="T6" fmla="*/ 18 w 55"/>
                <a:gd name="T7" fmla="*/ 56 h 57"/>
                <a:gd name="T8" fmla="*/ 20 w 55"/>
                <a:gd name="T9" fmla="*/ 55 h 57"/>
                <a:gd name="T10" fmla="*/ 44 w 55"/>
                <a:gd name="T11" fmla="*/ 50 h 57"/>
                <a:gd name="T12" fmla="*/ 45 w 55"/>
                <a:gd name="T13" fmla="*/ 46 h 57"/>
                <a:gd name="T14" fmla="*/ 43 w 55"/>
                <a:gd name="T15" fmla="*/ 45 h 57"/>
                <a:gd name="T16" fmla="*/ 43 w 55"/>
                <a:gd name="T17" fmla="*/ 47 h 57"/>
                <a:gd name="T18" fmla="*/ 43 w 55"/>
                <a:gd name="T19" fmla="*/ 50 h 57"/>
                <a:gd name="T20" fmla="*/ 44 w 55"/>
                <a:gd name="T21" fmla="*/ 50 h 57"/>
                <a:gd name="T22" fmla="*/ 36 w 55"/>
                <a:gd name="T23" fmla="*/ 49 h 57"/>
                <a:gd name="T24" fmla="*/ 33 w 55"/>
                <a:gd name="T25" fmla="*/ 46 h 57"/>
                <a:gd name="T26" fmla="*/ 32 w 55"/>
                <a:gd name="T27" fmla="*/ 44 h 57"/>
                <a:gd name="T28" fmla="*/ 32 w 55"/>
                <a:gd name="T29" fmla="*/ 47 h 57"/>
                <a:gd name="T30" fmla="*/ 32 w 55"/>
                <a:gd name="T31" fmla="*/ 51 h 57"/>
                <a:gd name="T32" fmla="*/ 34 w 55"/>
                <a:gd name="T33" fmla="*/ 55 h 57"/>
                <a:gd name="T34" fmla="*/ 38 w 55"/>
                <a:gd name="T35" fmla="*/ 53 h 57"/>
                <a:gd name="T36" fmla="*/ 50 w 55"/>
                <a:gd name="T37" fmla="*/ 24 h 57"/>
                <a:gd name="T38" fmla="*/ 48 w 55"/>
                <a:gd name="T39" fmla="*/ 27 h 57"/>
                <a:gd name="T40" fmla="*/ 52 w 55"/>
                <a:gd name="T41" fmla="*/ 29 h 57"/>
                <a:gd name="T42" fmla="*/ 55 w 55"/>
                <a:gd name="T43" fmla="*/ 26 h 57"/>
                <a:gd name="T44" fmla="*/ 53 w 55"/>
                <a:gd name="T45" fmla="*/ 24 h 57"/>
                <a:gd name="T46" fmla="*/ 52 w 55"/>
                <a:gd name="T47" fmla="*/ 24 h 57"/>
                <a:gd name="T48" fmla="*/ 50 w 55"/>
                <a:gd name="T49" fmla="*/ 24 h 57"/>
                <a:gd name="T50" fmla="*/ 22 w 55"/>
                <a:gd name="T51" fmla="*/ 13 h 57"/>
                <a:gd name="T52" fmla="*/ 19 w 55"/>
                <a:gd name="T53" fmla="*/ 12 h 57"/>
                <a:gd name="T54" fmla="*/ 21 w 55"/>
                <a:gd name="T55" fmla="*/ 17 h 57"/>
                <a:gd name="T56" fmla="*/ 22 w 55"/>
                <a:gd name="T57" fmla="*/ 14 h 57"/>
                <a:gd name="T58" fmla="*/ 27 w 55"/>
                <a:gd name="T59" fmla="*/ 15 h 57"/>
                <a:gd name="T60" fmla="*/ 26 w 55"/>
                <a:gd name="T61" fmla="*/ 14 h 57"/>
                <a:gd name="T62" fmla="*/ 51 w 55"/>
                <a:gd name="T63" fmla="*/ 13 h 57"/>
                <a:gd name="T64" fmla="*/ 50 w 55"/>
                <a:gd name="T65" fmla="*/ 9 h 57"/>
                <a:gd name="T66" fmla="*/ 48 w 55"/>
                <a:gd name="T67" fmla="*/ 10 h 57"/>
                <a:gd name="T68" fmla="*/ 49 w 55"/>
                <a:gd name="T69" fmla="*/ 12 h 57"/>
                <a:gd name="T70" fmla="*/ 51 w 55"/>
                <a:gd name="T71" fmla="*/ 13 h 57"/>
                <a:gd name="T72" fmla="*/ 9 w 55"/>
                <a:gd name="T73" fmla="*/ 10 h 57"/>
                <a:gd name="T74" fmla="*/ 8 w 55"/>
                <a:gd name="T75" fmla="*/ 7 h 57"/>
                <a:gd name="T76" fmla="*/ 5 w 55"/>
                <a:gd name="T77" fmla="*/ 8 h 57"/>
                <a:gd name="T78" fmla="*/ 7 w 55"/>
                <a:gd name="T79" fmla="*/ 10 h 57"/>
                <a:gd name="T80" fmla="*/ 9 w 55"/>
                <a:gd name="T81" fmla="*/ 10 h 57"/>
                <a:gd name="T82" fmla="*/ 4 w 55"/>
                <a:gd name="T83" fmla="*/ 6 h 57"/>
                <a:gd name="T84" fmla="*/ 7 w 55"/>
                <a:gd name="T85" fmla="*/ 3 h 57"/>
                <a:gd name="T86" fmla="*/ 5 w 55"/>
                <a:gd name="T87" fmla="*/ 0 h 57"/>
                <a:gd name="T88" fmla="*/ 0 w 55"/>
                <a:gd name="T89" fmla="*/ 3 h 57"/>
                <a:gd name="T90" fmla="*/ 1 w 55"/>
                <a:gd name="T91" fmla="*/ 7 h 57"/>
                <a:gd name="T92" fmla="*/ 4 w 55"/>
                <a:gd name="T9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57">
                  <a:moveTo>
                    <a:pt x="20" y="55"/>
                  </a:moveTo>
                  <a:lnTo>
                    <a:pt x="20" y="55"/>
                  </a:lnTo>
                  <a:lnTo>
                    <a:pt x="19" y="52"/>
                  </a:lnTo>
                  <a:lnTo>
                    <a:pt x="18" y="52"/>
                  </a:lnTo>
                  <a:lnTo>
                    <a:pt x="17" y="54"/>
                  </a:lnTo>
                  <a:lnTo>
                    <a:pt x="16" y="55"/>
                  </a:lnTo>
                  <a:lnTo>
                    <a:pt x="17" y="55"/>
                  </a:lnTo>
                  <a:lnTo>
                    <a:pt x="18" y="56"/>
                  </a:lnTo>
                  <a:lnTo>
                    <a:pt x="18" y="57"/>
                  </a:lnTo>
                  <a:lnTo>
                    <a:pt x="20" y="55"/>
                  </a:lnTo>
                  <a:lnTo>
                    <a:pt x="20" y="55"/>
                  </a:lnTo>
                  <a:close/>
                  <a:moveTo>
                    <a:pt x="44" y="50"/>
                  </a:moveTo>
                  <a:lnTo>
                    <a:pt x="45" y="49"/>
                  </a:lnTo>
                  <a:lnTo>
                    <a:pt x="45" y="46"/>
                  </a:lnTo>
                  <a:lnTo>
                    <a:pt x="45" y="45"/>
                  </a:lnTo>
                  <a:lnTo>
                    <a:pt x="43" y="45"/>
                  </a:lnTo>
                  <a:lnTo>
                    <a:pt x="43" y="46"/>
                  </a:lnTo>
                  <a:lnTo>
                    <a:pt x="43" y="47"/>
                  </a:lnTo>
                  <a:lnTo>
                    <a:pt x="43" y="48"/>
                  </a:lnTo>
                  <a:lnTo>
                    <a:pt x="43" y="50"/>
                  </a:lnTo>
                  <a:lnTo>
                    <a:pt x="44" y="50"/>
                  </a:lnTo>
                  <a:lnTo>
                    <a:pt x="44" y="50"/>
                  </a:lnTo>
                  <a:close/>
                  <a:moveTo>
                    <a:pt x="38" y="53"/>
                  </a:moveTo>
                  <a:lnTo>
                    <a:pt x="36" y="49"/>
                  </a:lnTo>
                  <a:lnTo>
                    <a:pt x="35" y="49"/>
                  </a:lnTo>
                  <a:lnTo>
                    <a:pt x="33" y="46"/>
                  </a:lnTo>
                  <a:lnTo>
                    <a:pt x="33" y="45"/>
                  </a:lnTo>
                  <a:lnTo>
                    <a:pt x="32" y="44"/>
                  </a:lnTo>
                  <a:lnTo>
                    <a:pt x="32" y="45"/>
                  </a:lnTo>
                  <a:lnTo>
                    <a:pt x="32" y="47"/>
                  </a:lnTo>
                  <a:lnTo>
                    <a:pt x="32" y="49"/>
                  </a:lnTo>
                  <a:lnTo>
                    <a:pt x="32" y="51"/>
                  </a:lnTo>
                  <a:lnTo>
                    <a:pt x="32" y="54"/>
                  </a:lnTo>
                  <a:lnTo>
                    <a:pt x="34" y="55"/>
                  </a:lnTo>
                  <a:lnTo>
                    <a:pt x="37" y="55"/>
                  </a:lnTo>
                  <a:lnTo>
                    <a:pt x="38" y="53"/>
                  </a:lnTo>
                  <a:lnTo>
                    <a:pt x="38" y="53"/>
                  </a:lnTo>
                  <a:close/>
                  <a:moveTo>
                    <a:pt x="50" y="24"/>
                  </a:moveTo>
                  <a:lnTo>
                    <a:pt x="50" y="26"/>
                  </a:lnTo>
                  <a:lnTo>
                    <a:pt x="48" y="27"/>
                  </a:lnTo>
                  <a:lnTo>
                    <a:pt x="50" y="29"/>
                  </a:lnTo>
                  <a:lnTo>
                    <a:pt x="52" y="29"/>
                  </a:lnTo>
                  <a:lnTo>
                    <a:pt x="54" y="27"/>
                  </a:lnTo>
                  <a:lnTo>
                    <a:pt x="55" y="26"/>
                  </a:lnTo>
                  <a:lnTo>
                    <a:pt x="54" y="25"/>
                  </a:lnTo>
                  <a:lnTo>
                    <a:pt x="53" y="24"/>
                  </a:lnTo>
                  <a:lnTo>
                    <a:pt x="52" y="24"/>
                  </a:lnTo>
                  <a:lnTo>
                    <a:pt x="52" y="24"/>
                  </a:lnTo>
                  <a:lnTo>
                    <a:pt x="50" y="24"/>
                  </a:lnTo>
                  <a:lnTo>
                    <a:pt x="50" y="24"/>
                  </a:lnTo>
                  <a:close/>
                  <a:moveTo>
                    <a:pt x="26" y="14"/>
                  </a:moveTo>
                  <a:lnTo>
                    <a:pt x="22" y="13"/>
                  </a:lnTo>
                  <a:lnTo>
                    <a:pt x="20" y="12"/>
                  </a:lnTo>
                  <a:lnTo>
                    <a:pt x="19" y="12"/>
                  </a:lnTo>
                  <a:lnTo>
                    <a:pt x="19" y="14"/>
                  </a:lnTo>
                  <a:lnTo>
                    <a:pt x="21" y="17"/>
                  </a:lnTo>
                  <a:lnTo>
                    <a:pt x="22" y="15"/>
                  </a:lnTo>
                  <a:lnTo>
                    <a:pt x="22" y="14"/>
                  </a:lnTo>
                  <a:lnTo>
                    <a:pt x="26" y="15"/>
                  </a:lnTo>
                  <a:lnTo>
                    <a:pt x="27" y="15"/>
                  </a:lnTo>
                  <a:lnTo>
                    <a:pt x="27" y="14"/>
                  </a:lnTo>
                  <a:lnTo>
                    <a:pt x="26" y="14"/>
                  </a:lnTo>
                  <a:lnTo>
                    <a:pt x="26" y="14"/>
                  </a:lnTo>
                  <a:close/>
                  <a:moveTo>
                    <a:pt x="51" y="13"/>
                  </a:moveTo>
                  <a:lnTo>
                    <a:pt x="50" y="12"/>
                  </a:lnTo>
                  <a:lnTo>
                    <a:pt x="50" y="9"/>
                  </a:lnTo>
                  <a:lnTo>
                    <a:pt x="50" y="9"/>
                  </a:lnTo>
                  <a:lnTo>
                    <a:pt x="48" y="10"/>
                  </a:lnTo>
                  <a:lnTo>
                    <a:pt x="49" y="12"/>
                  </a:lnTo>
                  <a:lnTo>
                    <a:pt x="49" y="12"/>
                  </a:lnTo>
                  <a:lnTo>
                    <a:pt x="50" y="14"/>
                  </a:lnTo>
                  <a:lnTo>
                    <a:pt x="51" y="13"/>
                  </a:lnTo>
                  <a:lnTo>
                    <a:pt x="51" y="13"/>
                  </a:lnTo>
                  <a:close/>
                  <a:moveTo>
                    <a:pt x="9" y="10"/>
                  </a:moveTo>
                  <a:lnTo>
                    <a:pt x="9" y="9"/>
                  </a:lnTo>
                  <a:lnTo>
                    <a:pt x="8" y="7"/>
                  </a:lnTo>
                  <a:lnTo>
                    <a:pt x="7" y="7"/>
                  </a:lnTo>
                  <a:lnTo>
                    <a:pt x="5" y="8"/>
                  </a:lnTo>
                  <a:lnTo>
                    <a:pt x="5" y="9"/>
                  </a:lnTo>
                  <a:lnTo>
                    <a:pt x="7" y="10"/>
                  </a:lnTo>
                  <a:lnTo>
                    <a:pt x="7" y="10"/>
                  </a:lnTo>
                  <a:lnTo>
                    <a:pt x="9" y="10"/>
                  </a:lnTo>
                  <a:lnTo>
                    <a:pt x="9" y="10"/>
                  </a:lnTo>
                  <a:close/>
                  <a:moveTo>
                    <a:pt x="4" y="6"/>
                  </a:moveTo>
                  <a:lnTo>
                    <a:pt x="7" y="4"/>
                  </a:lnTo>
                  <a:lnTo>
                    <a:pt x="7" y="3"/>
                  </a:lnTo>
                  <a:lnTo>
                    <a:pt x="7" y="1"/>
                  </a:lnTo>
                  <a:lnTo>
                    <a:pt x="5" y="0"/>
                  </a:lnTo>
                  <a:lnTo>
                    <a:pt x="1" y="3"/>
                  </a:lnTo>
                  <a:lnTo>
                    <a:pt x="0" y="3"/>
                  </a:lnTo>
                  <a:lnTo>
                    <a:pt x="1" y="5"/>
                  </a:lnTo>
                  <a:lnTo>
                    <a:pt x="1" y="7"/>
                  </a:lnTo>
                  <a:lnTo>
                    <a:pt x="2" y="7"/>
                  </a:lnTo>
                  <a:lnTo>
                    <a:pt x="4" y="6"/>
                  </a:lnTo>
                  <a:lnTo>
                    <a:pt x="4" y="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9" name="Cayman Islands"/>
            <p:cNvSpPr>
              <a:spLocks noEditPoints="1"/>
            </p:cNvSpPr>
            <p:nvPr/>
          </p:nvSpPr>
          <p:spPr bwMode="auto">
            <a:xfrm>
              <a:off x="3333750" y="3738563"/>
              <a:ext cx="55562" cy="17463"/>
            </a:xfrm>
            <a:custGeom>
              <a:avLst/>
              <a:gdLst>
                <a:gd name="T0" fmla="*/ 1 w 35"/>
                <a:gd name="T1" fmla="*/ 9 h 11"/>
                <a:gd name="T2" fmla="*/ 1 w 35"/>
                <a:gd name="T3" fmla="*/ 8 h 11"/>
                <a:gd name="T4" fmla="*/ 0 w 35"/>
                <a:gd name="T5" fmla="*/ 9 h 11"/>
                <a:gd name="T6" fmla="*/ 0 w 35"/>
                <a:gd name="T7" fmla="*/ 11 h 11"/>
                <a:gd name="T8" fmla="*/ 2 w 35"/>
                <a:gd name="T9" fmla="*/ 11 h 11"/>
                <a:gd name="T10" fmla="*/ 3 w 35"/>
                <a:gd name="T11" fmla="*/ 11 h 11"/>
                <a:gd name="T12" fmla="*/ 4 w 35"/>
                <a:gd name="T13" fmla="*/ 10 h 11"/>
                <a:gd name="T14" fmla="*/ 6 w 35"/>
                <a:gd name="T15" fmla="*/ 10 h 11"/>
                <a:gd name="T16" fmla="*/ 5 w 35"/>
                <a:gd name="T17" fmla="*/ 9 h 11"/>
                <a:gd name="T18" fmla="*/ 3 w 35"/>
                <a:gd name="T19" fmla="*/ 9 h 11"/>
                <a:gd name="T20" fmla="*/ 3 w 35"/>
                <a:gd name="T21" fmla="*/ 9 h 11"/>
                <a:gd name="T22" fmla="*/ 2 w 35"/>
                <a:gd name="T23" fmla="*/ 10 h 11"/>
                <a:gd name="T24" fmla="*/ 1 w 35"/>
                <a:gd name="T25" fmla="*/ 9 h 11"/>
                <a:gd name="T26" fmla="*/ 1 w 35"/>
                <a:gd name="T27" fmla="*/ 9 h 11"/>
                <a:gd name="T28" fmla="*/ 31 w 35"/>
                <a:gd name="T29" fmla="*/ 1 h 11"/>
                <a:gd name="T30" fmla="*/ 31 w 35"/>
                <a:gd name="T31" fmla="*/ 1 h 11"/>
                <a:gd name="T32" fmla="*/ 31 w 35"/>
                <a:gd name="T33" fmla="*/ 1 h 11"/>
                <a:gd name="T34" fmla="*/ 30 w 35"/>
                <a:gd name="T35" fmla="*/ 1 h 11"/>
                <a:gd name="T36" fmla="*/ 29 w 35"/>
                <a:gd name="T37" fmla="*/ 1 h 11"/>
                <a:gd name="T38" fmla="*/ 29 w 35"/>
                <a:gd name="T39" fmla="*/ 1 h 11"/>
                <a:gd name="T40" fmla="*/ 28 w 35"/>
                <a:gd name="T41" fmla="*/ 1 h 11"/>
                <a:gd name="T42" fmla="*/ 28 w 35"/>
                <a:gd name="T43" fmla="*/ 2 h 11"/>
                <a:gd name="T44" fmla="*/ 27 w 35"/>
                <a:gd name="T45" fmla="*/ 2 h 11"/>
                <a:gd name="T46" fmla="*/ 28 w 35"/>
                <a:gd name="T47" fmla="*/ 2 h 11"/>
                <a:gd name="T48" fmla="*/ 30 w 35"/>
                <a:gd name="T49" fmla="*/ 1 h 11"/>
                <a:gd name="T50" fmla="*/ 31 w 35"/>
                <a:gd name="T51" fmla="*/ 1 h 11"/>
                <a:gd name="T52" fmla="*/ 31 w 35"/>
                <a:gd name="T53" fmla="*/ 1 h 11"/>
                <a:gd name="T54" fmla="*/ 31 w 35"/>
                <a:gd name="T55" fmla="*/ 1 h 11"/>
                <a:gd name="T56" fmla="*/ 33 w 35"/>
                <a:gd name="T57" fmla="*/ 1 h 11"/>
                <a:gd name="T58" fmla="*/ 35 w 35"/>
                <a:gd name="T59" fmla="*/ 0 h 11"/>
                <a:gd name="T60" fmla="*/ 35 w 35"/>
                <a:gd name="T61" fmla="*/ 0 h 11"/>
                <a:gd name="T62" fmla="*/ 35 w 35"/>
                <a:gd name="T63" fmla="*/ 0 h 11"/>
                <a:gd name="T64" fmla="*/ 34 w 35"/>
                <a:gd name="T65" fmla="*/ 0 h 11"/>
                <a:gd name="T66" fmla="*/ 34 w 35"/>
                <a:gd name="T67" fmla="*/ 0 h 11"/>
                <a:gd name="T68" fmla="*/ 34 w 35"/>
                <a:gd name="T69" fmla="*/ 0 h 11"/>
                <a:gd name="T70" fmla="*/ 33 w 35"/>
                <a:gd name="T71" fmla="*/ 1 h 11"/>
                <a:gd name="T72" fmla="*/ 33 w 35"/>
                <a:gd name="T73" fmla="*/ 1 h 11"/>
                <a:gd name="T74" fmla="*/ 33 w 35"/>
                <a:gd name="T75" fmla="*/ 1 h 11"/>
                <a:gd name="T76" fmla="*/ 33 w 35"/>
                <a:gd name="T7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1">
                  <a:moveTo>
                    <a:pt x="1" y="9"/>
                  </a:moveTo>
                  <a:lnTo>
                    <a:pt x="1" y="8"/>
                  </a:lnTo>
                  <a:lnTo>
                    <a:pt x="0" y="9"/>
                  </a:lnTo>
                  <a:lnTo>
                    <a:pt x="0" y="11"/>
                  </a:lnTo>
                  <a:lnTo>
                    <a:pt x="2" y="11"/>
                  </a:lnTo>
                  <a:lnTo>
                    <a:pt x="3" y="11"/>
                  </a:lnTo>
                  <a:lnTo>
                    <a:pt x="4" y="10"/>
                  </a:lnTo>
                  <a:lnTo>
                    <a:pt x="6" y="10"/>
                  </a:lnTo>
                  <a:lnTo>
                    <a:pt x="5" y="9"/>
                  </a:lnTo>
                  <a:lnTo>
                    <a:pt x="3" y="9"/>
                  </a:lnTo>
                  <a:lnTo>
                    <a:pt x="3" y="9"/>
                  </a:lnTo>
                  <a:lnTo>
                    <a:pt x="2" y="10"/>
                  </a:lnTo>
                  <a:lnTo>
                    <a:pt x="1" y="9"/>
                  </a:lnTo>
                  <a:lnTo>
                    <a:pt x="1" y="9"/>
                  </a:lnTo>
                  <a:close/>
                  <a:moveTo>
                    <a:pt x="31" y="1"/>
                  </a:moveTo>
                  <a:lnTo>
                    <a:pt x="31" y="1"/>
                  </a:lnTo>
                  <a:lnTo>
                    <a:pt x="31" y="1"/>
                  </a:lnTo>
                  <a:lnTo>
                    <a:pt x="30" y="1"/>
                  </a:lnTo>
                  <a:lnTo>
                    <a:pt x="29" y="1"/>
                  </a:lnTo>
                  <a:lnTo>
                    <a:pt x="29" y="1"/>
                  </a:lnTo>
                  <a:lnTo>
                    <a:pt x="28" y="1"/>
                  </a:lnTo>
                  <a:lnTo>
                    <a:pt x="28" y="2"/>
                  </a:lnTo>
                  <a:lnTo>
                    <a:pt x="27" y="2"/>
                  </a:lnTo>
                  <a:lnTo>
                    <a:pt x="28" y="2"/>
                  </a:lnTo>
                  <a:lnTo>
                    <a:pt x="30" y="1"/>
                  </a:lnTo>
                  <a:lnTo>
                    <a:pt x="31" y="1"/>
                  </a:lnTo>
                  <a:lnTo>
                    <a:pt x="31" y="1"/>
                  </a:lnTo>
                  <a:lnTo>
                    <a:pt x="31" y="1"/>
                  </a:lnTo>
                  <a:close/>
                  <a:moveTo>
                    <a:pt x="33" y="1"/>
                  </a:moveTo>
                  <a:lnTo>
                    <a:pt x="35" y="0"/>
                  </a:lnTo>
                  <a:lnTo>
                    <a:pt x="35" y="0"/>
                  </a:lnTo>
                  <a:lnTo>
                    <a:pt x="35" y="0"/>
                  </a:lnTo>
                  <a:lnTo>
                    <a:pt x="34" y="0"/>
                  </a:lnTo>
                  <a:lnTo>
                    <a:pt x="34" y="0"/>
                  </a:lnTo>
                  <a:lnTo>
                    <a:pt x="34" y="0"/>
                  </a:lnTo>
                  <a:lnTo>
                    <a:pt x="33" y="1"/>
                  </a:lnTo>
                  <a:lnTo>
                    <a:pt x="33" y="1"/>
                  </a:lnTo>
                  <a:lnTo>
                    <a:pt x="33" y="1"/>
                  </a:lnTo>
                  <a:lnTo>
                    <a:pt x="33"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0" name="Dominica"/>
            <p:cNvSpPr>
              <a:spLocks/>
            </p:cNvSpPr>
            <p:nvPr/>
          </p:nvSpPr>
          <p:spPr bwMode="auto">
            <a:xfrm>
              <a:off x="3975100" y="3894138"/>
              <a:ext cx="6350" cy="14288"/>
            </a:xfrm>
            <a:custGeom>
              <a:avLst/>
              <a:gdLst>
                <a:gd name="T0" fmla="*/ 3 w 4"/>
                <a:gd name="T1" fmla="*/ 8 h 9"/>
                <a:gd name="T2" fmla="*/ 4 w 4"/>
                <a:gd name="T3" fmla="*/ 6 h 9"/>
                <a:gd name="T4" fmla="*/ 4 w 4"/>
                <a:gd name="T5" fmla="*/ 2 h 9"/>
                <a:gd name="T6" fmla="*/ 3 w 4"/>
                <a:gd name="T7" fmla="*/ 1 h 9"/>
                <a:gd name="T8" fmla="*/ 0 w 4"/>
                <a:gd name="T9" fmla="*/ 0 h 9"/>
                <a:gd name="T10" fmla="*/ 0 w 4"/>
                <a:gd name="T11" fmla="*/ 1 h 9"/>
                <a:gd name="T12" fmla="*/ 0 w 4"/>
                <a:gd name="T13" fmla="*/ 2 h 9"/>
                <a:gd name="T14" fmla="*/ 1 w 4"/>
                <a:gd name="T15" fmla="*/ 5 h 9"/>
                <a:gd name="T16" fmla="*/ 1 w 4"/>
                <a:gd name="T17" fmla="*/ 9 h 9"/>
                <a:gd name="T18" fmla="*/ 3 w 4"/>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3" y="8"/>
                  </a:moveTo>
                  <a:lnTo>
                    <a:pt x="4" y="6"/>
                  </a:lnTo>
                  <a:lnTo>
                    <a:pt x="4" y="2"/>
                  </a:lnTo>
                  <a:lnTo>
                    <a:pt x="3" y="1"/>
                  </a:lnTo>
                  <a:lnTo>
                    <a:pt x="0" y="0"/>
                  </a:lnTo>
                  <a:lnTo>
                    <a:pt x="0" y="1"/>
                  </a:lnTo>
                  <a:lnTo>
                    <a:pt x="0" y="2"/>
                  </a:lnTo>
                  <a:lnTo>
                    <a:pt x="1" y="5"/>
                  </a:lnTo>
                  <a:lnTo>
                    <a:pt x="1" y="9"/>
                  </a:lnTo>
                  <a:lnTo>
                    <a:pt x="3" y="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1" name="Falkland Islands"/>
            <p:cNvSpPr>
              <a:spLocks noEditPoints="1"/>
            </p:cNvSpPr>
            <p:nvPr/>
          </p:nvSpPr>
          <p:spPr bwMode="auto">
            <a:xfrm>
              <a:off x="4257675" y="6408738"/>
              <a:ext cx="90487" cy="36513"/>
            </a:xfrm>
            <a:custGeom>
              <a:avLst/>
              <a:gdLst>
                <a:gd name="T0" fmla="*/ 27 w 57"/>
                <a:gd name="T1" fmla="*/ 20 h 23"/>
                <a:gd name="T2" fmla="*/ 27 w 57"/>
                <a:gd name="T3" fmla="*/ 21 h 23"/>
                <a:gd name="T4" fmla="*/ 28 w 57"/>
                <a:gd name="T5" fmla="*/ 22 h 23"/>
                <a:gd name="T6" fmla="*/ 49 w 57"/>
                <a:gd name="T7" fmla="*/ 16 h 23"/>
                <a:gd name="T8" fmla="*/ 48 w 57"/>
                <a:gd name="T9" fmla="*/ 18 h 23"/>
                <a:gd name="T10" fmla="*/ 49 w 57"/>
                <a:gd name="T11" fmla="*/ 17 h 23"/>
                <a:gd name="T12" fmla="*/ 0 w 57"/>
                <a:gd name="T13" fmla="*/ 12 h 23"/>
                <a:gd name="T14" fmla="*/ 3 w 57"/>
                <a:gd name="T15" fmla="*/ 15 h 23"/>
                <a:gd name="T16" fmla="*/ 2 w 57"/>
                <a:gd name="T17" fmla="*/ 11 h 23"/>
                <a:gd name="T18" fmla="*/ 12 w 57"/>
                <a:gd name="T19" fmla="*/ 4 h 23"/>
                <a:gd name="T20" fmla="*/ 5 w 57"/>
                <a:gd name="T21" fmla="*/ 2 h 23"/>
                <a:gd name="T22" fmla="*/ 8 w 57"/>
                <a:gd name="T23" fmla="*/ 5 h 23"/>
                <a:gd name="T24" fmla="*/ 14 w 57"/>
                <a:gd name="T25" fmla="*/ 8 h 23"/>
                <a:gd name="T26" fmla="*/ 9 w 57"/>
                <a:gd name="T27" fmla="*/ 9 h 23"/>
                <a:gd name="T28" fmla="*/ 13 w 57"/>
                <a:gd name="T29" fmla="*/ 10 h 23"/>
                <a:gd name="T30" fmla="*/ 14 w 57"/>
                <a:gd name="T31" fmla="*/ 10 h 23"/>
                <a:gd name="T32" fmla="*/ 14 w 57"/>
                <a:gd name="T33" fmla="*/ 12 h 23"/>
                <a:gd name="T34" fmla="*/ 7 w 57"/>
                <a:gd name="T35" fmla="*/ 15 h 23"/>
                <a:gd name="T36" fmla="*/ 11 w 57"/>
                <a:gd name="T37" fmla="*/ 21 h 23"/>
                <a:gd name="T38" fmla="*/ 14 w 57"/>
                <a:gd name="T39" fmla="*/ 20 h 23"/>
                <a:gd name="T40" fmla="*/ 16 w 57"/>
                <a:gd name="T41" fmla="*/ 18 h 23"/>
                <a:gd name="T42" fmla="*/ 18 w 57"/>
                <a:gd name="T43" fmla="*/ 16 h 23"/>
                <a:gd name="T44" fmla="*/ 25 w 57"/>
                <a:gd name="T45" fmla="*/ 12 h 23"/>
                <a:gd name="T46" fmla="*/ 28 w 57"/>
                <a:gd name="T47" fmla="*/ 7 h 23"/>
                <a:gd name="T48" fmla="*/ 29 w 57"/>
                <a:gd name="T49" fmla="*/ 4 h 23"/>
                <a:gd name="T50" fmla="*/ 28 w 57"/>
                <a:gd name="T51" fmla="*/ 2 h 23"/>
                <a:gd name="T52" fmla="*/ 22 w 57"/>
                <a:gd name="T53" fmla="*/ 4 h 23"/>
                <a:gd name="T54" fmla="*/ 18 w 57"/>
                <a:gd name="T55" fmla="*/ 2 h 23"/>
                <a:gd name="T56" fmla="*/ 12 w 57"/>
                <a:gd name="T57" fmla="*/ 4 h 23"/>
                <a:gd name="T58" fmla="*/ 14 w 57"/>
                <a:gd name="T59" fmla="*/ 1 h 23"/>
                <a:gd name="T60" fmla="*/ 11 w 57"/>
                <a:gd name="T61" fmla="*/ 0 h 23"/>
                <a:gd name="T62" fmla="*/ 14 w 57"/>
                <a:gd name="T63" fmla="*/ 2 h 23"/>
                <a:gd name="T64" fmla="*/ 36 w 57"/>
                <a:gd name="T65" fmla="*/ 2 h 23"/>
                <a:gd name="T66" fmla="*/ 35 w 57"/>
                <a:gd name="T67" fmla="*/ 9 h 23"/>
                <a:gd name="T68" fmla="*/ 33 w 57"/>
                <a:gd name="T69" fmla="*/ 9 h 23"/>
                <a:gd name="T70" fmla="*/ 28 w 57"/>
                <a:gd name="T71" fmla="*/ 15 h 23"/>
                <a:gd name="T72" fmla="*/ 28 w 57"/>
                <a:gd name="T73" fmla="*/ 19 h 23"/>
                <a:gd name="T74" fmla="*/ 35 w 57"/>
                <a:gd name="T75" fmla="*/ 21 h 23"/>
                <a:gd name="T76" fmla="*/ 39 w 57"/>
                <a:gd name="T77" fmla="*/ 21 h 23"/>
                <a:gd name="T78" fmla="*/ 46 w 57"/>
                <a:gd name="T79" fmla="*/ 19 h 23"/>
                <a:gd name="T80" fmla="*/ 44 w 57"/>
                <a:gd name="T81" fmla="*/ 15 h 23"/>
                <a:gd name="T82" fmla="*/ 53 w 57"/>
                <a:gd name="T83" fmla="*/ 11 h 23"/>
                <a:gd name="T84" fmla="*/ 57 w 57"/>
                <a:gd name="T85" fmla="*/ 9 h 23"/>
                <a:gd name="T86" fmla="*/ 55 w 57"/>
                <a:gd name="T87" fmla="*/ 7 h 23"/>
                <a:gd name="T88" fmla="*/ 54 w 57"/>
                <a:gd name="T89" fmla="*/ 3 h 23"/>
                <a:gd name="T90" fmla="*/ 48 w 57"/>
                <a:gd name="T91" fmla="*/ 3 h 23"/>
                <a:gd name="T92" fmla="*/ 49 w 57"/>
                <a:gd name="T93" fmla="*/ 6 h 23"/>
                <a:gd name="T94" fmla="*/ 44 w 57"/>
                <a:gd name="T95" fmla="*/ 5 h 23"/>
                <a:gd name="T96" fmla="*/ 44 w 57"/>
                <a:gd name="T97" fmla="*/ 3 h 23"/>
                <a:gd name="T98" fmla="*/ 44 w 57"/>
                <a:gd name="T99" fmla="*/ 1 h 23"/>
                <a:gd name="T100" fmla="*/ 36 w 57"/>
                <a:gd name="T10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23">
                  <a:moveTo>
                    <a:pt x="28" y="22"/>
                  </a:moveTo>
                  <a:lnTo>
                    <a:pt x="28" y="21"/>
                  </a:lnTo>
                  <a:lnTo>
                    <a:pt x="27" y="20"/>
                  </a:lnTo>
                  <a:lnTo>
                    <a:pt x="26" y="19"/>
                  </a:lnTo>
                  <a:lnTo>
                    <a:pt x="27" y="20"/>
                  </a:lnTo>
                  <a:lnTo>
                    <a:pt x="27" y="21"/>
                  </a:lnTo>
                  <a:lnTo>
                    <a:pt x="28" y="22"/>
                  </a:lnTo>
                  <a:lnTo>
                    <a:pt x="28" y="23"/>
                  </a:lnTo>
                  <a:lnTo>
                    <a:pt x="28" y="22"/>
                  </a:lnTo>
                  <a:lnTo>
                    <a:pt x="28" y="22"/>
                  </a:lnTo>
                  <a:close/>
                  <a:moveTo>
                    <a:pt x="49" y="17"/>
                  </a:moveTo>
                  <a:lnTo>
                    <a:pt x="49" y="16"/>
                  </a:lnTo>
                  <a:lnTo>
                    <a:pt x="48" y="16"/>
                  </a:lnTo>
                  <a:lnTo>
                    <a:pt x="48" y="17"/>
                  </a:lnTo>
                  <a:lnTo>
                    <a:pt x="48" y="18"/>
                  </a:lnTo>
                  <a:lnTo>
                    <a:pt x="50" y="19"/>
                  </a:lnTo>
                  <a:lnTo>
                    <a:pt x="49" y="17"/>
                  </a:lnTo>
                  <a:lnTo>
                    <a:pt x="49" y="17"/>
                  </a:lnTo>
                  <a:close/>
                  <a:moveTo>
                    <a:pt x="1" y="11"/>
                  </a:moveTo>
                  <a:lnTo>
                    <a:pt x="0" y="12"/>
                  </a:lnTo>
                  <a:lnTo>
                    <a:pt x="0" y="12"/>
                  </a:lnTo>
                  <a:lnTo>
                    <a:pt x="0" y="13"/>
                  </a:lnTo>
                  <a:lnTo>
                    <a:pt x="2" y="15"/>
                  </a:lnTo>
                  <a:lnTo>
                    <a:pt x="3" y="15"/>
                  </a:lnTo>
                  <a:lnTo>
                    <a:pt x="4" y="14"/>
                  </a:lnTo>
                  <a:lnTo>
                    <a:pt x="3" y="11"/>
                  </a:lnTo>
                  <a:lnTo>
                    <a:pt x="2" y="11"/>
                  </a:lnTo>
                  <a:lnTo>
                    <a:pt x="1" y="11"/>
                  </a:lnTo>
                  <a:lnTo>
                    <a:pt x="1" y="11"/>
                  </a:lnTo>
                  <a:close/>
                  <a:moveTo>
                    <a:pt x="12" y="4"/>
                  </a:moveTo>
                  <a:lnTo>
                    <a:pt x="8" y="3"/>
                  </a:lnTo>
                  <a:lnTo>
                    <a:pt x="7" y="2"/>
                  </a:lnTo>
                  <a:lnTo>
                    <a:pt x="5" y="2"/>
                  </a:lnTo>
                  <a:lnTo>
                    <a:pt x="7" y="3"/>
                  </a:lnTo>
                  <a:lnTo>
                    <a:pt x="7" y="4"/>
                  </a:lnTo>
                  <a:lnTo>
                    <a:pt x="8" y="5"/>
                  </a:lnTo>
                  <a:lnTo>
                    <a:pt x="10" y="6"/>
                  </a:lnTo>
                  <a:lnTo>
                    <a:pt x="13" y="7"/>
                  </a:lnTo>
                  <a:lnTo>
                    <a:pt x="14" y="8"/>
                  </a:lnTo>
                  <a:lnTo>
                    <a:pt x="14" y="9"/>
                  </a:lnTo>
                  <a:lnTo>
                    <a:pt x="11" y="9"/>
                  </a:lnTo>
                  <a:lnTo>
                    <a:pt x="9" y="9"/>
                  </a:lnTo>
                  <a:lnTo>
                    <a:pt x="9" y="9"/>
                  </a:lnTo>
                  <a:lnTo>
                    <a:pt x="10" y="10"/>
                  </a:lnTo>
                  <a:lnTo>
                    <a:pt x="13" y="10"/>
                  </a:lnTo>
                  <a:lnTo>
                    <a:pt x="13" y="9"/>
                  </a:lnTo>
                  <a:lnTo>
                    <a:pt x="14" y="9"/>
                  </a:lnTo>
                  <a:lnTo>
                    <a:pt x="14" y="10"/>
                  </a:lnTo>
                  <a:lnTo>
                    <a:pt x="14" y="11"/>
                  </a:lnTo>
                  <a:lnTo>
                    <a:pt x="14" y="11"/>
                  </a:lnTo>
                  <a:lnTo>
                    <a:pt x="14" y="12"/>
                  </a:lnTo>
                  <a:lnTo>
                    <a:pt x="13" y="13"/>
                  </a:lnTo>
                  <a:lnTo>
                    <a:pt x="10" y="15"/>
                  </a:lnTo>
                  <a:lnTo>
                    <a:pt x="7" y="15"/>
                  </a:lnTo>
                  <a:lnTo>
                    <a:pt x="4" y="18"/>
                  </a:lnTo>
                  <a:lnTo>
                    <a:pt x="8" y="20"/>
                  </a:lnTo>
                  <a:lnTo>
                    <a:pt x="11" y="21"/>
                  </a:lnTo>
                  <a:lnTo>
                    <a:pt x="14" y="21"/>
                  </a:lnTo>
                  <a:lnTo>
                    <a:pt x="14" y="21"/>
                  </a:lnTo>
                  <a:lnTo>
                    <a:pt x="14" y="20"/>
                  </a:lnTo>
                  <a:lnTo>
                    <a:pt x="15" y="20"/>
                  </a:lnTo>
                  <a:lnTo>
                    <a:pt x="16" y="20"/>
                  </a:lnTo>
                  <a:lnTo>
                    <a:pt x="16" y="18"/>
                  </a:lnTo>
                  <a:lnTo>
                    <a:pt x="16" y="16"/>
                  </a:lnTo>
                  <a:lnTo>
                    <a:pt x="17" y="16"/>
                  </a:lnTo>
                  <a:lnTo>
                    <a:pt x="18" y="16"/>
                  </a:lnTo>
                  <a:lnTo>
                    <a:pt x="21" y="16"/>
                  </a:lnTo>
                  <a:lnTo>
                    <a:pt x="22" y="15"/>
                  </a:lnTo>
                  <a:lnTo>
                    <a:pt x="25" y="12"/>
                  </a:lnTo>
                  <a:lnTo>
                    <a:pt x="26" y="9"/>
                  </a:lnTo>
                  <a:lnTo>
                    <a:pt x="27" y="8"/>
                  </a:lnTo>
                  <a:lnTo>
                    <a:pt x="28" y="7"/>
                  </a:lnTo>
                  <a:lnTo>
                    <a:pt x="28" y="6"/>
                  </a:lnTo>
                  <a:lnTo>
                    <a:pt x="28" y="5"/>
                  </a:lnTo>
                  <a:lnTo>
                    <a:pt x="29" y="4"/>
                  </a:lnTo>
                  <a:lnTo>
                    <a:pt x="29" y="3"/>
                  </a:lnTo>
                  <a:lnTo>
                    <a:pt x="28" y="2"/>
                  </a:lnTo>
                  <a:lnTo>
                    <a:pt x="28" y="2"/>
                  </a:lnTo>
                  <a:lnTo>
                    <a:pt x="26" y="3"/>
                  </a:lnTo>
                  <a:lnTo>
                    <a:pt x="26" y="2"/>
                  </a:lnTo>
                  <a:lnTo>
                    <a:pt x="22" y="4"/>
                  </a:lnTo>
                  <a:lnTo>
                    <a:pt x="20" y="4"/>
                  </a:lnTo>
                  <a:lnTo>
                    <a:pt x="19" y="3"/>
                  </a:lnTo>
                  <a:lnTo>
                    <a:pt x="18" y="2"/>
                  </a:lnTo>
                  <a:lnTo>
                    <a:pt x="16" y="3"/>
                  </a:lnTo>
                  <a:lnTo>
                    <a:pt x="14" y="5"/>
                  </a:lnTo>
                  <a:lnTo>
                    <a:pt x="12" y="4"/>
                  </a:lnTo>
                  <a:lnTo>
                    <a:pt x="12" y="4"/>
                  </a:lnTo>
                  <a:close/>
                  <a:moveTo>
                    <a:pt x="14" y="2"/>
                  </a:moveTo>
                  <a:lnTo>
                    <a:pt x="14" y="1"/>
                  </a:lnTo>
                  <a:lnTo>
                    <a:pt x="14" y="0"/>
                  </a:lnTo>
                  <a:lnTo>
                    <a:pt x="13" y="0"/>
                  </a:lnTo>
                  <a:lnTo>
                    <a:pt x="11" y="0"/>
                  </a:lnTo>
                  <a:lnTo>
                    <a:pt x="11" y="2"/>
                  </a:lnTo>
                  <a:lnTo>
                    <a:pt x="12" y="2"/>
                  </a:lnTo>
                  <a:lnTo>
                    <a:pt x="14" y="2"/>
                  </a:lnTo>
                  <a:close/>
                  <a:moveTo>
                    <a:pt x="36" y="0"/>
                  </a:moveTo>
                  <a:lnTo>
                    <a:pt x="35" y="0"/>
                  </a:lnTo>
                  <a:lnTo>
                    <a:pt x="36" y="2"/>
                  </a:lnTo>
                  <a:lnTo>
                    <a:pt x="33" y="5"/>
                  </a:lnTo>
                  <a:lnTo>
                    <a:pt x="34" y="7"/>
                  </a:lnTo>
                  <a:lnTo>
                    <a:pt x="35" y="9"/>
                  </a:lnTo>
                  <a:lnTo>
                    <a:pt x="35" y="9"/>
                  </a:lnTo>
                  <a:lnTo>
                    <a:pt x="35" y="9"/>
                  </a:lnTo>
                  <a:lnTo>
                    <a:pt x="33" y="9"/>
                  </a:lnTo>
                  <a:lnTo>
                    <a:pt x="32" y="10"/>
                  </a:lnTo>
                  <a:lnTo>
                    <a:pt x="31" y="11"/>
                  </a:lnTo>
                  <a:lnTo>
                    <a:pt x="28" y="15"/>
                  </a:lnTo>
                  <a:lnTo>
                    <a:pt x="29" y="15"/>
                  </a:lnTo>
                  <a:lnTo>
                    <a:pt x="28" y="18"/>
                  </a:lnTo>
                  <a:lnTo>
                    <a:pt x="28" y="19"/>
                  </a:lnTo>
                  <a:lnTo>
                    <a:pt x="31" y="22"/>
                  </a:lnTo>
                  <a:lnTo>
                    <a:pt x="35" y="23"/>
                  </a:lnTo>
                  <a:lnTo>
                    <a:pt x="35" y="21"/>
                  </a:lnTo>
                  <a:lnTo>
                    <a:pt x="36" y="21"/>
                  </a:lnTo>
                  <a:lnTo>
                    <a:pt x="38" y="21"/>
                  </a:lnTo>
                  <a:lnTo>
                    <a:pt x="39" y="21"/>
                  </a:lnTo>
                  <a:lnTo>
                    <a:pt x="36" y="17"/>
                  </a:lnTo>
                  <a:lnTo>
                    <a:pt x="37" y="17"/>
                  </a:lnTo>
                  <a:lnTo>
                    <a:pt x="46" y="19"/>
                  </a:lnTo>
                  <a:lnTo>
                    <a:pt x="46" y="17"/>
                  </a:lnTo>
                  <a:lnTo>
                    <a:pt x="45" y="16"/>
                  </a:lnTo>
                  <a:lnTo>
                    <a:pt x="44" y="15"/>
                  </a:lnTo>
                  <a:lnTo>
                    <a:pt x="50" y="13"/>
                  </a:lnTo>
                  <a:lnTo>
                    <a:pt x="52" y="12"/>
                  </a:lnTo>
                  <a:lnTo>
                    <a:pt x="53" y="11"/>
                  </a:lnTo>
                  <a:lnTo>
                    <a:pt x="55" y="10"/>
                  </a:lnTo>
                  <a:lnTo>
                    <a:pt x="57" y="9"/>
                  </a:lnTo>
                  <a:lnTo>
                    <a:pt x="57" y="9"/>
                  </a:lnTo>
                  <a:lnTo>
                    <a:pt x="57" y="8"/>
                  </a:lnTo>
                  <a:lnTo>
                    <a:pt x="56" y="8"/>
                  </a:lnTo>
                  <a:lnTo>
                    <a:pt x="55" y="7"/>
                  </a:lnTo>
                  <a:lnTo>
                    <a:pt x="55" y="6"/>
                  </a:lnTo>
                  <a:lnTo>
                    <a:pt x="56" y="6"/>
                  </a:lnTo>
                  <a:lnTo>
                    <a:pt x="54" y="3"/>
                  </a:lnTo>
                  <a:lnTo>
                    <a:pt x="53" y="2"/>
                  </a:lnTo>
                  <a:lnTo>
                    <a:pt x="49" y="3"/>
                  </a:lnTo>
                  <a:lnTo>
                    <a:pt x="48" y="3"/>
                  </a:lnTo>
                  <a:lnTo>
                    <a:pt x="48" y="4"/>
                  </a:lnTo>
                  <a:lnTo>
                    <a:pt x="48" y="5"/>
                  </a:lnTo>
                  <a:lnTo>
                    <a:pt x="49" y="6"/>
                  </a:lnTo>
                  <a:lnTo>
                    <a:pt x="50" y="7"/>
                  </a:lnTo>
                  <a:lnTo>
                    <a:pt x="49" y="7"/>
                  </a:lnTo>
                  <a:lnTo>
                    <a:pt x="44" y="5"/>
                  </a:lnTo>
                  <a:lnTo>
                    <a:pt x="44" y="5"/>
                  </a:lnTo>
                  <a:lnTo>
                    <a:pt x="43" y="3"/>
                  </a:lnTo>
                  <a:lnTo>
                    <a:pt x="44" y="3"/>
                  </a:lnTo>
                  <a:lnTo>
                    <a:pt x="45" y="3"/>
                  </a:lnTo>
                  <a:lnTo>
                    <a:pt x="45" y="2"/>
                  </a:lnTo>
                  <a:lnTo>
                    <a:pt x="44" y="1"/>
                  </a:lnTo>
                  <a:lnTo>
                    <a:pt x="42" y="0"/>
                  </a:lnTo>
                  <a:lnTo>
                    <a:pt x="39" y="1"/>
                  </a:lnTo>
                  <a:lnTo>
                    <a:pt x="36" y="0"/>
                  </a:lnTo>
                  <a:lnTo>
                    <a:pt x="36"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2" name="Faroe Islands"/>
            <p:cNvSpPr>
              <a:spLocks noEditPoints="1"/>
            </p:cNvSpPr>
            <p:nvPr/>
          </p:nvSpPr>
          <p:spPr bwMode="auto">
            <a:xfrm>
              <a:off x="5807075" y="2166938"/>
              <a:ext cx="26987" cy="31750"/>
            </a:xfrm>
            <a:custGeom>
              <a:avLst/>
              <a:gdLst>
                <a:gd name="T0" fmla="*/ 11 w 17"/>
                <a:gd name="T1" fmla="*/ 19 h 20"/>
                <a:gd name="T2" fmla="*/ 11 w 17"/>
                <a:gd name="T3" fmla="*/ 17 h 20"/>
                <a:gd name="T4" fmla="*/ 9 w 17"/>
                <a:gd name="T5" fmla="*/ 17 h 20"/>
                <a:gd name="T6" fmla="*/ 8 w 17"/>
                <a:gd name="T7" fmla="*/ 16 h 20"/>
                <a:gd name="T8" fmla="*/ 9 w 17"/>
                <a:gd name="T9" fmla="*/ 19 h 20"/>
                <a:gd name="T10" fmla="*/ 11 w 17"/>
                <a:gd name="T11" fmla="*/ 20 h 20"/>
                <a:gd name="T12" fmla="*/ 11 w 17"/>
                <a:gd name="T13" fmla="*/ 20 h 20"/>
                <a:gd name="T14" fmla="*/ 13 w 17"/>
                <a:gd name="T15" fmla="*/ 12 h 20"/>
                <a:gd name="T16" fmla="*/ 12 w 17"/>
                <a:gd name="T17" fmla="*/ 11 h 20"/>
                <a:gd name="T18" fmla="*/ 9 w 17"/>
                <a:gd name="T19" fmla="*/ 10 h 20"/>
                <a:gd name="T20" fmla="*/ 9 w 17"/>
                <a:gd name="T21" fmla="*/ 11 h 20"/>
                <a:gd name="T22" fmla="*/ 11 w 17"/>
                <a:gd name="T23" fmla="*/ 12 h 20"/>
                <a:gd name="T24" fmla="*/ 13 w 17"/>
                <a:gd name="T25" fmla="*/ 13 h 20"/>
                <a:gd name="T26" fmla="*/ 13 w 17"/>
                <a:gd name="T27" fmla="*/ 12 h 20"/>
                <a:gd name="T28" fmla="*/ 4 w 17"/>
                <a:gd name="T29" fmla="*/ 5 h 20"/>
                <a:gd name="T30" fmla="*/ 0 w 17"/>
                <a:gd name="T31" fmla="*/ 6 h 20"/>
                <a:gd name="T32" fmla="*/ 3 w 17"/>
                <a:gd name="T33" fmla="*/ 7 h 20"/>
                <a:gd name="T34" fmla="*/ 6 w 17"/>
                <a:gd name="T35" fmla="*/ 7 h 20"/>
                <a:gd name="T36" fmla="*/ 6 w 17"/>
                <a:gd name="T37" fmla="*/ 6 h 20"/>
                <a:gd name="T38" fmla="*/ 4 w 17"/>
                <a:gd name="T39" fmla="*/ 6 h 20"/>
                <a:gd name="T40" fmla="*/ 10 w 17"/>
                <a:gd name="T41" fmla="*/ 3 h 20"/>
                <a:gd name="T42" fmla="*/ 5 w 17"/>
                <a:gd name="T43" fmla="*/ 2 h 20"/>
                <a:gd name="T44" fmla="*/ 10 w 17"/>
                <a:gd name="T45" fmla="*/ 8 h 20"/>
                <a:gd name="T46" fmla="*/ 11 w 17"/>
                <a:gd name="T47" fmla="*/ 9 h 20"/>
                <a:gd name="T48" fmla="*/ 10 w 17"/>
                <a:gd name="T49" fmla="*/ 6 h 20"/>
                <a:gd name="T50" fmla="*/ 9 w 17"/>
                <a:gd name="T51" fmla="*/ 6 h 20"/>
                <a:gd name="T52" fmla="*/ 11 w 17"/>
                <a:gd name="T53" fmla="*/ 6 h 20"/>
                <a:gd name="T54" fmla="*/ 13 w 17"/>
                <a:gd name="T55" fmla="*/ 6 h 20"/>
                <a:gd name="T56" fmla="*/ 13 w 17"/>
                <a:gd name="T57" fmla="*/ 4 h 20"/>
                <a:gd name="T58" fmla="*/ 16 w 17"/>
                <a:gd name="T59" fmla="*/ 2 h 20"/>
                <a:gd name="T60" fmla="*/ 15 w 17"/>
                <a:gd name="T61" fmla="*/ 2 h 20"/>
                <a:gd name="T62" fmla="*/ 15 w 17"/>
                <a:gd name="T63" fmla="*/ 4 h 20"/>
                <a:gd name="T64" fmla="*/ 16 w 17"/>
                <a:gd name="T65" fmla="*/ 4 h 20"/>
                <a:gd name="T66" fmla="*/ 17 w 17"/>
                <a:gd name="T6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0">
                  <a:moveTo>
                    <a:pt x="11" y="20"/>
                  </a:moveTo>
                  <a:lnTo>
                    <a:pt x="11" y="19"/>
                  </a:lnTo>
                  <a:lnTo>
                    <a:pt x="11" y="18"/>
                  </a:lnTo>
                  <a:lnTo>
                    <a:pt x="11" y="17"/>
                  </a:lnTo>
                  <a:lnTo>
                    <a:pt x="10" y="17"/>
                  </a:lnTo>
                  <a:lnTo>
                    <a:pt x="9" y="17"/>
                  </a:lnTo>
                  <a:lnTo>
                    <a:pt x="9" y="16"/>
                  </a:lnTo>
                  <a:lnTo>
                    <a:pt x="8" y="16"/>
                  </a:lnTo>
                  <a:lnTo>
                    <a:pt x="8" y="17"/>
                  </a:lnTo>
                  <a:lnTo>
                    <a:pt x="9" y="19"/>
                  </a:lnTo>
                  <a:lnTo>
                    <a:pt x="10" y="20"/>
                  </a:lnTo>
                  <a:lnTo>
                    <a:pt x="11" y="20"/>
                  </a:lnTo>
                  <a:lnTo>
                    <a:pt x="11" y="20"/>
                  </a:lnTo>
                  <a:lnTo>
                    <a:pt x="11" y="20"/>
                  </a:lnTo>
                  <a:lnTo>
                    <a:pt x="11" y="20"/>
                  </a:lnTo>
                  <a:close/>
                  <a:moveTo>
                    <a:pt x="13" y="12"/>
                  </a:moveTo>
                  <a:lnTo>
                    <a:pt x="13" y="12"/>
                  </a:lnTo>
                  <a:lnTo>
                    <a:pt x="12" y="11"/>
                  </a:lnTo>
                  <a:lnTo>
                    <a:pt x="10" y="10"/>
                  </a:lnTo>
                  <a:lnTo>
                    <a:pt x="9" y="10"/>
                  </a:lnTo>
                  <a:lnTo>
                    <a:pt x="9" y="10"/>
                  </a:lnTo>
                  <a:lnTo>
                    <a:pt x="9" y="11"/>
                  </a:lnTo>
                  <a:lnTo>
                    <a:pt x="9" y="11"/>
                  </a:lnTo>
                  <a:lnTo>
                    <a:pt x="11" y="12"/>
                  </a:lnTo>
                  <a:lnTo>
                    <a:pt x="12" y="13"/>
                  </a:lnTo>
                  <a:lnTo>
                    <a:pt x="13" y="13"/>
                  </a:lnTo>
                  <a:lnTo>
                    <a:pt x="13" y="12"/>
                  </a:lnTo>
                  <a:lnTo>
                    <a:pt x="13" y="12"/>
                  </a:lnTo>
                  <a:close/>
                  <a:moveTo>
                    <a:pt x="4" y="6"/>
                  </a:moveTo>
                  <a:lnTo>
                    <a:pt x="4" y="5"/>
                  </a:lnTo>
                  <a:lnTo>
                    <a:pt x="2" y="6"/>
                  </a:lnTo>
                  <a:lnTo>
                    <a:pt x="0" y="6"/>
                  </a:lnTo>
                  <a:lnTo>
                    <a:pt x="1" y="6"/>
                  </a:lnTo>
                  <a:lnTo>
                    <a:pt x="3" y="7"/>
                  </a:lnTo>
                  <a:lnTo>
                    <a:pt x="4" y="7"/>
                  </a:lnTo>
                  <a:lnTo>
                    <a:pt x="6" y="7"/>
                  </a:lnTo>
                  <a:lnTo>
                    <a:pt x="6" y="6"/>
                  </a:lnTo>
                  <a:lnTo>
                    <a:pt x="6" y="6"/>
                  </a:lnTo>
                  <a:lnTo>
                    <a:pt x="4" y="6"/>
                  </a:lnTo>
                  <a:lnTo>
                    <a:pt x="4" y="6"/>
                  </a:lnTo>
                  <a:close/>
                  <a:moveTo>
                    <a:pt x="13" y="4"/>
                  </a:moveTo>
                  <a:lnTo>
                    <a:pt x="10" y="3"/>
                  </a:lnTo>
                  <a:lnTo>
                    <a:pt x="9" y="2"/>
                  </a:lnTo>
                  <a:lnTo>
                    <a:pt x="5" y="2"/>
                  </a:lnTo>
                  <a:lnTo>
                    <a:pt x="8" y="6"/>
                  </a:lnTo>
                  <a:lnTo>
                    <a:pt x="10" y="8"/>
                  </a:lnTo>
                  <a:lnTo>
                    <a:pt x="11" y="9"/>
                  </a:lnTo>
                  <a:lnTo>
                    <a:pt x="11" y="9"/>
                  </a:lnTo>
                  <a:lnTo>
                    <a:pt x="11" y="8"/>
                  </a:lnTo>
                  <a:lnTo>
                    <a:pt x="10" y="6"/>
                  </a:lnTo>
                  <a:lnTo>
                    <a:pt x="9" y="6"/>
                  </a:lnTo>
                  <a:lnTo>
                    <a:pt x="9" y="6"/>
                  </a:lnTo>
                  <a:lnTo>
                    <a:pt x="10" y="6"/>
                  </a:lnTo>
                  <a:lnTo>
                    <a:pt x="11" y="6"/>
                  </a:lnTo>
                  <a:lnTo>
                    <a:pt x="12" y="6"/>
                  </a:lnTo>
                  <a:lnTo>
                    <a:pt x="13" y="6"/>
                  </a:lnTo>
                  <a:lnTo>
                    <a:pt x="13" y="4"/>
                  </a:lnTo>
                  <a:lnTo>
                    <a:pt x="13" y="4"/>
                  </a:lnTo>
                  <a:close/>
                  <a:moveTo>
                    <a:pt x="17" y="3"/>
                  </a:moveTo>
                  <a:lnTo>
                    <a:pt x="16" y="2"/>
                  </a:lnTo>
                  <a:lnTo>
                    <a:pt x="15" y="0"/>
                  </a:lnTo>
                  <a:lnTo>
                    <a:pt x="15" y="2"/>
                  </a:lnTo>
                  <a:lnTo>
                    <a:pt x="15" y="4"/>
                  </a:lnTo>
                  <a:lnTo>
                    <a:pt x="15" y="4"/>
                  </a:lnTo>
                  <a:lnTo>
                    <a:pt x="15" y="4"/>
                  </a:lnTo>
                  <a:lnTo>
                    <a:pt x="16" y="4"/>
                  </a:lnTo>
                  <a:lnTo>
                    <a:pt x="17" y="3"/>
                  </a:lnTo>
                  <a:lnTo>
                    <a:pt x="17"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3" name="Grenada"/>
            <p:cNvSpPr>
              <a:spLocks/>
            </p:cNvSpPr>
            <p:nvPr/>
          </p:nvSpPr>
          <p:spPr bwMode="auto">
            <a:xfrm>
              <a:off x="3956050" y="4021138"/>
              <a:ext cx="6350" cy="9525"/>
            </a:xfrm>
            <a:custGeom>
              <a:avLst/>
              <a:gdLst>
                <a:gd name="T0" fmla="*/ 1 w 4"/>
                <a:gd name="T1" fmla="*/ 6 h 6"/>
                <a:gd name="T2" fmla="*/ 3 w 4"/>
                <a:gd name="T3" fmla="*/ 5 h 6"/>
                <a:gd name="T4" fmla="*/ 4 w 4"/>
                <a:gd name="T5" fmla="*/ 1 h 6"/>
                <a:gd name="T6" fmla="*/ 3 w 4"/>
                <a:gd name="T7" fmla="*/ 0 h 6"/>
                <a:gd name="T8" fmla="*/ 2 w 4"/>
                <a:gd name="T9" fmla="*/ 1 h 6"/>
                <a:gd name="T10" fmla="*/ 1 w 4"/>
                <a:gd name="T11" fmla="*/ 3 h 6"/>
                <a:gd name="T12" fmla="*/ 1 w 4"/>
                <a:gd name="T13" fmla="*/ 5 h 6"/>
                <a:gd name="T14" fmla="*/ 0 w 4"/>
                <a:gd name="T15" fmla="*/ 6 h 6"/>
                <a:gd name="T16" fmla="*/ 1 w 4"/>
                <a:gd name="T17" fmla="*/ 6 h 6"/>
                <a:gd name="T18" fmla="*/ 1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1" y="6"/>
                  </a:moveTo>
                  <a:lnTo>
                    <a:pt x="3" y="5"/>
                  </a:lnTo>
                  <a:lnTo>
                    <a:pt x="4" y="1"/>
                  </a:lnTo>
                  <a:lnTo>
                    <a:pt x="3" y="0"/>
                  </a:lnTo>
                  <a:lnTo>
                    <a:pt x="2" y="1"/>
                  </a:lnTo>
                  <a:lnTo>
                    <a:pt x="1" y="3"/>
                  </a:lnTo>
                  <a:lnTo>
                    <a:pt x="1" y="5"/>
                  </a:lnTo>
                  <a:lnTo>
                    <a:pt x="0" y="6"/>
                  </a:lnTo>
                  <a:lnTo>
                    <a:pt x="1" y="6"/>
                  </a:lnTo>
                  <a:lnTo>
                    <a:pt x="1" y="6"/>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4" name="Hong-Kong"/>
            <p:cNvSpPr>
              <a:spLocks noEditPoints="1"/>
            </p:cNvSpPr>
            <p:nvPr/>
          </p:nvSpPr>
          <p:spPr bwMode="auto">
            <a:xfrm>
              <a:off x="9712325" y="3630613"/>
              <a:ext cx="15875" cy="15875"/>
            </a:xfrm>
            <a:custGeom>
              <a:avLst/>
              <a:gdLst>
                <a:gd name="T0" fmla="*/ 9 w 10"/>
                <a:gd name="T1" fmla="*/ 10 h 10"/>
                <a:gd name="T2" fmla="*/ 9 w 10"/>
                <a:gd name="T3" fmla="*/ 9 h 10"/>
                <a:gd name="T4" fmla="*/ 9 w 10"/>
                <a:gd name="T5" fmla="*/ 8 h 10"/>
                <a:gd name="T6" fmla="*/ 7 w 10"/>
                <a:gd name="T7" fmla="*/ 7 h 10"/>
                <a:gd name="T8" fmla="*/ 6 w 10"/>
                <a:gd name="T9" fmla="*/ 7 h 10"/>
                <a:gd name="T10" fmla="*/ 6 w 10"/>
                <a:gd name="T11" fmla="*/ 8 h 10"/>
                <a:gd name="T12" fmla="*/ 8 w 10"/>
                <a:gd name="T13" fmla="*/ 10 h 10"/>
                <a:gd name="T14" fmla="*/ 9 w 10"/>
                <a:gd name="T15" fmla="*/ 10 h 10"/>
                <a:gd name="T16" fmla="*/ 9 w 10"/>
                <a:gd name="T17" fmla="*/ 10 h 10"/>
                <a:gd name="T18" fmla="*/ 3 w 10"/>
                <a:gd name="T19" fmla="*/ 10 h 10"/>
                <a:gd name="T20" fmla="*/ 3 w 10"/>
                <a:gd name="T21" fmla="*/ 8 h 10"/>
                <a:gd name="T22" fmla="*/ 4 w 10"/>
                <a:gd name="T23" fmla="*/ 6 h 10"/>
                <a:gd name="T24" fmla="*/ 0 w 10"/>
                <a:gd name="T25" fmla="*/ 8 h 10"/>
                <a:gd name="T26" fmla="*/ 0 w 10"/>
                <a:gd name="T27" fmla="*/ 9 h 10"/>
                <a:gd name="T28" fmla="*/ 0 w 10"/>
                <a:gd name="T29" fmla="*/ 9 h 10"/>
                <a:gd name="T30" fmla="*/ 1 w 10"/>
                <a:gd name="T31" fmla="*/ 10 h 10"/>
                <a:gd name="T32" fmla="*/ 3 w 10"/>
                <a:gd name="T33" fmla="*/ 10 h 10"/>
                <a:gd name="T34" fmla="*/ 3 w 10"/>
                <a:gd name="T35" fmla="*/ 10 h 10"/>
                <a:gd name="T36" fmla="*/ 10 w 10"/>
                <a:gd name="T37" fmla="*/ 5 h 10"/>
                <a:gd name="T38" fmla="*/ 9 w 10"/>
                <a:gd name="T39" fmla="*/ 4 h 10"/>
                <a:gd name="T40" fmla="*/ 9 w 10"/>
                <a:gd name="T41" fmla="*/ 3 h 10"/>
                <a:gd name="T42" fmla="*/ 8 w 10"/>
                <a:gd name="T43" fmla="*/ 2 h 10"/>
                <a:gd name="T44" fmla="*/ 8 w 10"/>
                <a:gd name="T45" fmla="*/ 1 h 10"/>
                <a:gd name="T46" fmla="*/ 8 w 10"/>
                <a:gd name="T47" fmla="*/ 1 h 10"/>
                <a:gd name="T48" fmla="*/ 7 w 10"/>
                <a:gd name="T49" fmla="*/ 1 h 10"/>
                <a:gd name="T50" fmla="*/ 6 w 10"/>
                <a:gd name="T51" fmla="*/ 0 h 10"/>
                <a:gd name="T52" fmla="*/ 4 w 10"/>
                <a:gd name="T53" fmla="*/ 0 h 10"/>
                <a:gd name="T54" fmla="*/ 4 w 10"/>
                <a:gd name="T55" fmla="*/ 1 h 10"/>
                <a:gd name="T56" fmla="*/ 3 w 10"/>
                <a:gd name="T57" fmla="*/ 1 h 10"/>
                <a:gd name="T58" fmla="*/ 2 w 10"/>
                <a:gd name="T59" fmla="*/ 2 h 10"/>
                <a:gd name="T60" fmla="*/ 2 w 10"/>
                <a:gd name="T61" fmla="*/ 2 h 10"/>
                <a:gd name="T62" fmla="*/ 2 w 10"/>
                <a:gd name="T63" fmla="*/ 2 h 10"/>
                <a:gd name="T64" fmla="*/ 0 w 10"/>
                <a:gd name="T65" fmla="*/ 4 h 10"/>
                <a:gd name="T66" fmla="*/ 0 w 10"/>
                <a:gd name="T67" fmla="*/ 5 h 10"/>
                <a:gd name="T68" fmla="*/ 1 w 10"/>
                <a:gd name="T69" fmla="*/ 6 h 10"/>
                <a:gd name="T70" fmla="*/ 3 w 10"/>
                <a:gd name="T71" fmla="*/ 5 h 10"/>
                <a:gd name="T72" fmla="*/ 6 w 10"/>
                <a:gd name="T73" fmla="*/ 6 h 10"/>
                <a:gd name="T74" fmla="*/ 9 w 10"/>
                <a:gd name="T75" fmla="*/ 7 h 10"/>
                <a:gd name="T76" fmla="*/ 9 w 10"/>
                <a:gd name="T77" fmla="*/ 6 h 10"/>
                <a:gd name="T78" fmla="*/ 9 w 10"/>
                <a:gd name="T79" fmla="*/ 5 h 10"/>
                <a:gd name="T80" fmla="*/ 10 w 10"/>
                <a:gd name="T81" fmla="*/ 5 h 10"/>
                <a:gd name="T82" fmla="*/ 10 w 10"/>
                <a:gd name="T8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9" y="10"/>
                  </a:moveTo>
                  <a:lnTo>
                    <a:pt x="9" y="9"/>
                  </a:lnTo>
                  <a:lnTo>
                    <a:pt x="9" y="8"/>
                  </a:lnTo>
                  <a:lnTo>
                    <a:pt x="7" y="7"/>
                  </a:lnTo>
                  <a:lnTo>
                    <a:pt x="6" y="7"/>
                  </a:lnTo>
                  <a:lnTo>
                    <a:pt x="6" y="8"/>
                  </a:lnTo>
                  <a:lnTo>
                    <a:pt x="8" y="10"/>
                  </a:lnTo>
                  <a:lnTo>
                    <a:pt x="9" y="10"/>
                  </a:lnTo>
                  <a:lnTo>
                    <a:pt x="9" y="10"/>
                  </a:lnTo>
                  <a:close/>
                  <a:moveTo>
                    <a:pt x="3" y="10"/>
                  </a:moveTo>
                  <a:lnTo>
                    <a:pt x="3" y="8"/>
                  </a:lnTo>
                  <a:lnTo>
                    <a:pt x="4" y="6"/>
                  </a:lnTo>
                  <a:lnTo>
                    <a:pt x="0" y="8"/>
                  </a:lnTo>
                  <a:lnTo>
                    <a:pt x="0" y="9"/>
                  </a:lnTo>
                  <a:lnTo>
                    <a:pt x="0" y="9"/>
                  </a:lnTo>
                  <a:lnTo>
                    <a:pt x="1" y="10"/>
                  </a:lnTo>
                  <a:lnTo>
                    <a:pt x="3" y="10"/>
                  </a:lnTo>
                  <a:lnTo>
                    <a:pt x="3" y="10"/>
                  </a:lnTo>
                  <a:close/>
                  <a:moveTo>
                    <a:pt x="10" y="5"/>
                  </a:moveTo>
                  <a:lnTo>
                    <a:pt x="9" y="4"/>
                  </a:lnTo>
                  <a:lnTo>
                    <a:pt x="9" y="3"/>
                  </a:lnTo>
                  <a:lnTo>
                    <a:pt x="8" y="2"/>
                  </a:lnTo>
                  <a:lnTo>
                    <a:pt x="8" y="1"/>
                  </a:lnTo>
                  <a:lnTo>
                    <a:pt x="8" y="1"/>
                  </a:lnTo>
                  <a:lnTo>
                    <a:pt x="7" y="1"/>
                  </a:lnTo>
                  <a:lnTo>
                    <a:pt x="6" y="0"/>
                  </a:lnTo>
                  <a:lnTo>
                    <a:pt x="4" y="0"/>
                  </a:lnTo>
                  <a:lnTo>
                    <a:pt x="4" y="1"/>
                  </a:lnTo>
                  <a:lnTo>
                    <a:pt x="3" y="1"/>
                  </a:lnTo>
                  <a:lnTo>
                    <a:pt x="2" y="2"/>
                  </a:lnTo>
                  <a:lnTo>
                    <a:pt x="2" y="2"/>
                  </a:lnTo>
                  <a:lnTo>
                    <a:pt x="2" y="2"/>
                  </a:lnTo>
                  <a:lnTo>
                    <a:pt x="0" y="4"/>
                  </a:lnTo>
                  <a:lnTo>
                    <a:pt x="0" y="5"/>
                  </a:lnTo>
                  <a:lnTo>
                    <a:pt x="1" y="6"/>
                  </a:lnTo>
                  <a:lnTo>
                    <a:pt x="3" y="5"/>
                  </a:lnTo>
                  <a:lnTo>
                    <a:pt x="6" y="6"/>
                  </a:lnTo>
                  <a:lnTo>
                    <a:pt x="9" y="7"/>
                  </a:lnTo>
                  <a:lnTo>
                    <a:pt x="9" y="6"/>
                  </a:lnTo>
                  <a:lnTo>
                    <a:pt x="9" y="5"/>
                  </a:lnTo>
                  <a:lnTo>
                    <a:pt x="10" y="5"/>
                  </a:lnTo>
                  <a:lnTo>
                    <a:pt x="10"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5" name="Saint Kitts and Nevis"/>
            <p:cNvSpPr>
              <a:spLocks noEditPoints="1"/>
            </p:cNvSpPr>
            <p:nvPr/>
          </p:nvSpPr>
          <p:spPr bwMode="auto">
            <a:xfrm>
              <a:off x="3935412" y="3827463"/>
              <a:ext cx="9525" cy="11113"/>
            </a:xfrm>
            <a:custGeom>
              <a:avLst/>
              <a:gdLst>
                <a:gd name="T0" fmla="*/ 6 w 6"/>
                <a:gd name="T1" fmla="*/ 6 h 7"/>
                <a:gd name="T2" fmla="*/ 6 w 6"/>
                <a:gd name="T3" fmla="*/ 5 h 7"/>
                <a:gd name="T4" fmla="*/ 6 w 6"/>
                <a:gd name="T5" fmla="*/ 4 h 7"/>
                <a:gd name="T6" fmla="*/ 5 w 6"/>
                <a:gd name="T7" fmla="*/ 4 h 7"/>
                <a:gd name="T8" fmla="*/ 5 w 6"/>
                <a:gd name="T9" fmla="*/ 6 h 7"/>
                <a:gd name="T10" fmla="*/ 5 w 6"/>
                <a:gd name="T11" fmla="*/ 7 h 7"/>
                <a:gd name="T12" fmla="*/ 6 w 6"/>
                <a:gd name="T13" fmla="*/ 6 h 7"/>
                <a:gd name="T14" fmla="*/ 5 w 6"/>
                <a:gd name="T15" fmla="*/ 3 h 7"/>
                <a:gd name="T16" fmla="*/ 4 w 6"/>
                <a:gd name="T17" fmla="*/ 2 h 7"/>
                <a:gd name="T18" fmla="*/ 4 w 6"/>
                <a:gd name="T19" fmla="*/ 2 h 7"/>
                <a:gd name="T20" fmla="*/ 3 w 6"/>
                <a:gd name="T21" fmla="*/ 1 h 7"/>
                <a:gd name="T22" fmla="*/ 1 w 6"/>
                <a:gd name="T23" fmla="*/ 0 h 7"/>
                <a:gd name="T24" fmla="*/ 1 w 6"/>
                <a:gd name="T25" fmla="*/ 0 h 7"/>
                <a:gd name="T26" fmla="*/ 0 w 6"/>
                <a:gd name="T27" fmla="*/ 1 h 7"/>
                <a:gd name="T28" fmla="*/ 0 w 6"/>
                <a:gd name="T29" fmla="*/ 1 h 7"/>
                <a:gd name="T30" fmla="*/ 0 w 6"/>
                <a:gd name="T31" fmla="*/ 1 h 7"/>
                <a:gd name="T32" fmla="*/ 1 w 6"/>
                <a:gd name="T33" fmla="*/ 2 h 7"/>
                <a:gd name="T34" fmla="*/ 3 w 6"/>
                <a:gd name="T35" fmla="*/ 2 h 7"/>
                <a:gd name="T36" fmla="*/ 4 w 6"/>
                <a:gd name="T37" fmla="*/ 3 h 7"/>
                <a:gd name="T38" fmla="*/ 5 w 6"/>
                <a:gd name="T39" fmla="*/ 3 h 7"/>
                <a:gd name="T40" fmla="*/ 5 w 6"/>
                <a:gd name="T4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6" y="6"/>
                  </a:moveTo>
                  <a:lnTo>
                    <a:pt x="6" y="5"/>
                  </a:lnTo>
                  <a:lnTo>
                    <a:pt x="6" y="4"/>
                  </a:lnTo>
                  <a:lnTo>
                    <a:pt x="5" y="4"/>
                  </a:lnTo>
                  <a:lnTo>
                    <a:pt x="5" y="6"/>
                  </a:lnTo>
                  <a:lnTo>
                    <a:pt x="5" y="7"/>
                  </a:lnTo>
                  <a:lnTo>
                    <a:pt x="6" y="6"/>
                  </a:lnTo>
                  <a:close/>
                  <a:moveTo>
                    <a:pt x="5" y="3"/>
                  </a:moveTo>
                  <a:lnTo>
                    <a:pt x="4" y="2"/>
                  </a:lnTo>
                  <a:lnTo>
                    <a:pt x="4" y="2"/>
                  </a:lnTo>
                  <a:lnTo>
                    <a:pt x="3" y="1"/>
                  </a:lnTo>
                  <a:lnTo>
                    <a:pt x="1" y="0"/>
                  </a:lnTo>
                  <a:lnTo>
                    <a:pt x="1" y="0"/>
                  </a:lnTo>
                  <a:lnTo>
                    <a:pt x="0" y="1"/>
                  </a:lnTo>
                  <a:lnTo>
                    <a:pt x="0" y="1"/>
                  </a:lnTo>
                  <a:lnTo>
                    <a:pt x="0" y="1"/>
                  </a:lnTo>
                  <a:lnTo>
                    <a:pt x="1" y="2"/>
                  </a:lnTo>
                  <a:lnTo>
                    <a:pt x="3" y="2"/>
                  </a:lnTo>
                  <a:lnTo>
                    <a:pt x="4" y="3"/>
                  </a:lnTo>
                  <a:lnTo>
                    <a:pt x="5" y="3"/>
                  </a:lnTo>
                  <a:lnTo>
                    <a:pt x="5"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6" name="Saint Lucia"/>
            <p:cNvSpPr>
              <a:spLocks/>
            </p:cNvSpPr>
            <p:nvPr/>
          </p:nvSpPr>
          <p:spPr bwMode="auto">
            <a:xfrm>
              <a:off x="3984625" y="3951288"/>
              <a:ext cx="4762" cy="14288"/>
            </a:xfrm>
            <a:custGeom>
              <a:avLst/>
              <a:gdLst>
                <a:gd name="T0" fmla="*/ 3 w 3"/>
                <a:gd name="T1" fmla="*/ 7 h 9"/>
                <a:gd name="T2" fmla="*/ 3 w 3"/>
                <a:gd name="T3" fmla="*/ 2 h 9"/>
                <a:gd name="T4" fmla="*/ 3 w 3"/>
                <a:gd name="T5" fmla="*/ 0 h 9"/>
                <a:gd name="T6" fmla="*/ 3 w 3"/>
                <a:gd name="T7" fmla="*/ 0 h 9"/>
                <a:gd name="T8" fmla="*/ 2 w 3"/>
                <a:gd name="T9" fmla="*/ 2 h 9"/>
                <a:gd name="T10" fmla="*/ 0 w 3"/>
                <a:gd name="T11" fmla="*/ 4 h 9"/>
                <a:gd name="T12" fmla="*/ 0 w 3"/>
                <a:gd name="T13" fmla="*/ 6 h 9"/>
                <a:gd name="T14" fmla="*/ 0 w 3"/>
                <a:gd name="T15" fmla="*/ 8 h 9"/>
                <a:gd name="T16" fmla="*/ 2 w 3"/>
                <a:gd name="T17" fmla="*/ 9 h 9"/>
                <a:gd name="T18" fmla="*/ 3 w 3"/>
                <a:gd name="T19" fmla="*/ 7 h 9"/>
                <a:gd name="T20" fmla="*/ 3 w 3"/>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9">
                  <a:moveTo>
                    <a:pt x="3" y="7"/>
                  </a:moveTo>
                  <a:lnTo>
                    <a:pt x="3" y="2"/>
                  </a:lnTo>
                  <a:lnTo>
                    <a:pt x="3" y="0"/>
                  </a:lnTo>
                  <a:lnTo>
                    <a:pt x="3" y="0"/>
                  </a:lnTo>
                  <a:lnTo>
                    <a:pt x="2" y="2"/>
                  </a:lnTo>
                  <a:lnTo>
                    <a:pt x="0" y="4"/>
                  </a:lnTo>
                  <a:lnTo>
                    <a:pt x="0" y="6"/>
                  </a:lnTo>
                  <a:lnTo>
                    <a:pt x="0" y="8"/>
                  </a:lnTo>
                  <a:lnTo>
                    <a:pt x="2" y="9"/>
                  </a:lnTo>
                  <a:lnTo>
                    <a:pt x="3" y="7"/>
                  </a:lnTo>
                  <a:lnTo>
                    <a:pt x="3" y="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7" name="Liechtenstein"/>
            <p:cNvSpPr>
              <a:spLocks/>
            </p:cNvSpPr>
            <p:nvPr/>
          </p:nvSpPr>
          <p:spPr bwMode="auto">
            <a:xfrm>
              <a:off x="6280150" y="2705101"/>
              <a:ext cx="4762" cy="7938"/>
            </a:xfrm>
            <a:custGeom>
              <a:avLst/>
              <a:gdLst>
                <a:gd name="T0" fmla="*/ 3 w 3"/>
                <a:gd name="T1" fmla="*/ 5 h 5"/>
                <a:gd name="T2" fmla="*/ 3 w 3"/>
                <a:gd name="T3" fmla="*/ 5 h 5"/>
                <a:gd name="T4" fmla="*/ 3 w 3"/>
                <a:gd name="T5" fmla="*/ 4 h 5"/>
                <a:gd name="T6" fmla="*/ 3 w 3"/>
                <a:gd name="T7" fmla="*/ 3 h 5"/>
                <a:gd name="T8" fmla="*/ 2 w 3"/>
                <a:gd name="T9" fmla="*/ 3 h 5"/>
                <a:gd name="T10" fmla="*/ 2 w 3"/>
                <a:gd name="T11" fmla="*/ 2 h 5"/>
                <a:gd name="T12" fmla="*/ 2 w 3"/>
                <a:gd name="T13" fmla="*/ 1 h 5"/>
                <a:gd name="T14" fmla="*/ 1 w 3"/>
                <a:gd name="T15" fmla="*/ 1 h 5"/>
                <a:gd name="T16" fmla="*/ 1 w 3"/>
                <a:gd name="T17" fmla="*/ 0 h 5"/>
                <a:gd name="T18" fmla="*/ 1 w 3"/>
                <a:gd name="T19" fmla="*/ 0 h 5"/>
                <a:gd name="T20" fmla="*/ 0 w 3"/>
                <a:gd name="T21" fmla="*/ 2 h 5"/>
                <a:gd name="T22" fmla="*/ 0 w 3"/>
                <a:gd name="T23" fmla="*/ 4 h 5"/>
                <a:gd name="T24" fmla="*/ 1 w 3"/>
                <a:gd name="T25" fmla="*/ 5 h 5"/>
                <a:gd name="T26" fmla="*/ 1 w 3"/>
                <a:gd name="T27" fmla="*/ 5 h 5"/>
                <a:gd name="T28" fmla="*/ 3 w 3"/>
                <a:gd name="T29" fmla="*/ 5 h 5"/>
                <a:gd name="T30" fmla="*/ 3 w 3"/>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5"/>
                  </a:moveTo>
                  <a:lnTo>
                    <a:pt x="3" y="5"/>
                  </a:lnTo>
                  <a:lnTo>
                    <a:pt x="3" y="4"/>
                  </a:lnTo>
                  <a:lnTo>
                    <a:pt x="3" y="3"/>
                  </a:lnTo>
                  <a:lnTo>
                    <a:pt x="2" y="3"/>
                  </a:lnTo>
                  <a:lnTo>
                    <a:pt x="2" y="2"/>
                  </a:lnTo>
                  <a:lnTo>
                    <a:pt x="2" y="1"/>
                  </a:lnTo>
                  <a:lnTo>
                    <a:pt x="1" y="1"/>
                  </a:lnTo>
                  <a:lnTo>
                    <a:pt x="1" y="0"/>
                  </a:lnTo>
                  <a:lnTo>
                    <a:pt x="1" y="0"/>
                  </a:lnTo>
                  <a:lnTo>
                    <a:pt x="0" y="2"/>
                  </a:lnTo>
                  <a:lnTo>
                    <a:pt x="0" y="4"/>
                  </a:lnTo>
                  <a:lnTo>
                    <a:pt x="1" y="5"/>
                  </a:lnTo>
                  <a:lnTo>
                    <a:pt x="1" y="5"/>
                  </a:lnTo>
                  <a:lnTo>
                    <a:pt x="3" y="5"/>
                  </a:lnTo>
                  <a:lnTo>
                    <a:pt x="3"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8" name="Maldives"/>
            <p:cNvSpPr>
              <a:spLocks noEditPoints="1"/>
            </p:cNvSpPr>
            <p:nvPr/>
          </p:nvSpPr>
          <p:spPr bwMode="auto">
            <a:xfrm>
              <a:off x="8445500" y="4322763"/>
              <a:ext cx="3175" cy="38100"/>
            </a:xfrm>
            <a:custGeom>
              <a:avLst/>
              <a:gdLst>
                <a:gd name="T0" fmla="*/ 0 w 2"/>
                <a:gd name="T1" fmla="*/ 24 h 24"/>
                <a:gd name="T2" fmla="*/ 1 w 2"/>
                <a:gd name="T3" fmla="*/ 24 h 24"/>
                <a:gd name="T4" fmla="*/ 1 w 2"/>
                <a:gd name="T5" fmla="*/ 23 h 24"/>
                <a:gd name="T6" fmla="*/ 0 w 2"/>
                <a:gd name="T7" fmla="*/ 23 h 24"/>
                <a:gd name="T8" fmla="*/ 0 w 2"/>
                <a:gd name="T9" fmla="*/ 23 h 24"/>
                <a:gd name="T10" fmla="*/ 0 w 2"/>
                <a:gd name="T11" fmla="*/ 24 h 24"/>
                <a:gd name="T12" fmla="*/ 0 w 2"/>
                <a:gd name="T13" fmla="*/ 24 h 24"/>
                <a:gd name="T14" fmla="*/ 0 w 2"/>
                <a:gd name="T15" fmla="*/ 24 h 24"/>
                <a:gd name="T16" fmla="*/ 0 w 2"/>
                <a:gd name="T17" fmla="*/ 24 h 24"/>
                <a:gd name="T18" fmla="*/ 2 w 2"/>
                <a:gd name="T19" fmla="*/ 2 h 24"/>
                <a:gd name="T20" fmla="*/ 2 w 2"/>
                <a:gd name="T21" fmla="*/ 1 h 24"/>
                <a:gd name="T22" fmla="*/ 2 w 2"/>
                <a:gd name="T23" fmla="*/ 1 h 24"/>
                <a:gd name="T24" fmla="*/ 2 w 2"/>
                <a:gd name="T25" fmla="*/ 0 h 24"/>
                <a:gd name="T26" fmla="*/ 2 w 2"/>
                <a:gd name="T27" fmla="*/ 0 h 24"/>
                <a:gd name="T28" fmla="*/ 2 w 2"/>
                <a:gd name="T29" fmla="*/ 0 h 24"/>
                <a:gd name="T30" fmla="*/ 2 w 2"/>
                <a:gd name="T31" fmla="*/ 0 h 24"/>
                <a:gd name="T32" fmla="*/ 1 w 2"/>
                <a:gd name="T33" fmla="*/ 1 h 24"/>
                <a:gd name="T34" fmla="*/ 1 w 2"/>
                <a:gd name="T35" fmla="*/ 1 h 24"/>
                <a:gd name="T36" fmla="*/ 1 w 2"/>
                <a:gd name="T37" fmla="*/ 1 h 24"/>
                <a:gd name="T38" fmla="*/ 1 w 2"/>
                <a:gd name="T39" fmla="*/ 2 h 24"/>
                <a:gd name="T40" fmla="*/ 1 w 2"/>
                <a:gd name="T41" fmla="*/ 2 h 24"/>
                <a:gd name="T42" fmla="*/ 2 w 2"/>
                <a:gd name="T4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4">
                  <a:moveTo>
                    <a:pt x="0" y="24"/>
                  </a:moveTo>
                  <a:lnTo>
                    <a:pt x="1" y="24"/>
                  </a:lnTo>
                  <a:lnTo>
                    <a:pt x="1" y="23"/>
                  </a:lnTo>
                  <a:lnTo>
                    <a:pt x="0" y="23"/>
                  </a:lnTo>
                  <a:lnTo>
                    <a:pt x="0" y="23"/>
                  </a:lnTo>
                  <a:lnTo>
                    <a:pt x="0" y="24"/>
                  </a:lnTo>
                  <a:lnTo>
                    <a:pt x="0" y="24"/>
                  </a:lnTo>
                  <a:lnTo>
                    <a:pt x="0" y="24"/>
                  </a:lnTo>
                  <a:lnTo>
                    <a:pt x="0" y="24"/>
                  </a:lnTo>
                  <a:close/>
                  <a:moveTo>
                    <a:pt x="2" y="2"/>
                  </a:moveTo>
                  <a:lnTo>
                    <a:pt x="2" y="1"/>
                  </a:lnTo>
                  <a:lnTo>
                    <a:pt x="2" y="1"/>
                  </a:lnTo>
                  <a:lnTo>
                    <a:pt x="2" y="0"/>
                  </a:lnTo>
                  <a:lnTo>
                    <a:pt x="2" y="0"/>
                  </a:lnTo>
                  <a:lnTo>
                    <a:pt x="2" y="0"/>
                  </a:lnTo>
                  <a:lnTo>
                    <a:pt x="2" y="0"/>
                  </a:lnTo>
                  <a:lnTo>
                    <a:pt x="1" y="1"/>
                  </a:lnTo>
                  <a:lnTo>
                    <a:pt x="1" y="1"/>
                  </a:lnTo>
                  <a:lnTo>
                    <a:pt x="1" y="1"/>
                  </a:lnTo>
                  <a:lnTo>
                    <a:pt x="1" y="2"/>
                  </a:lnTo>
                  <a:lnTo>
                    <a:pt x="1" y="2"/>
                  </a:lnTo>
                  <a:lnTo>
                    <a:pt x="2"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9" name="Malta"/>
            <p:cNvSpPr>
              <a:spLocks noEditPoints="1"/>
            </p:cNvSpPr>
            <p:nvPr/>
          </p:nvSpPr>
          <p:spPr bwMode="auto">
            <a:xfrm>
              <a:off x="6445250" y="3121026"/>
              <a:ext cx="11112" cy="11113"/>
            </a:xfrm>
            <a:custGeom>
              <a:avLst/>
              <a:gdLst>
                <a:gd name="T0" fmla="*/ 7 w 7"/>
                <a:gd name="T1" fmla="*/ 6 h 7"/>
                <a:gd name="T2" fmla="*/ 7 w 7"/>
                <a:gd name="T3" fmla="*/ 5 h 7"/>
                <a:gd name="T4" fmla="*/ 5 w 7"/>
                <a:gd name="T5" fmla="*/ 3 h 7"/>
                <a:gd name="T6" fmla="*/ 3 w 7"/>
                <a:gd name="T7" fmla="*/ 3 h 7"/>
                <a:gd name="T8" fmla="*/ 3 w 7"/>
                <a:gd name="T9" fmla="*/ 5 h 7"/>
                <a:gd name="T10" fmla="*/ 5 w 7"/>
                <a:gd name="T11" fmla="*/ 7 h 7"/>
                <a:gd name="T12" fmla="*/ 7 w 7"/>
                <a:gd name="T13" fmla="*/ 7 h 7"/>
                <a:gd name="T14" fmla="*/ 7 w 7"/>
                <a:gd name="T15" fmla="*/ 6 h 7"/>
                <a:gd name="T16" fmla="*/ 7 w 7"/>
                <a:gd name="T17" fmla="*/ 6 h 7"/>
                <a:gd name="T18" fmla="*/ 2 w 7"/>
                <a:gd name="T19" fmla="*/ 1 h 7"/>
                <a:gd name="T20" fmla="*/ 2 w 7"/>
                <a:gd name="T21" fmla="*/ 1 h 7"/>
                <a:gd name="T22" fmla="*/ 2 w 7"/>
                <a:gd name="T23" fmla="*/ 0 h 7"/>
                <a:gd name="T24" fmla="*/ 1 w 7"/>
                <a:gd name="T25" fmla="*/ 0 h 7"/>
                <a:gd name="T26" fmla="*/ 0 w 7"/>
                <a:gd name="T27" fmla="*/ 0 h 7"/>
                <a:gd name="T28" fmla="*/ 0 w 7"/>
                <a:gd name="T29" fmla="*/ 1 h 7"/>
                <a:gd name="T30" fmla="*/ 1 w 7"/>
                <a:gd name="T31" fmla="*/ 2 h 7"/>
                <a:gd name="T32" fmla="*/ 2 w 7"/>
                <a:gd name="T3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7" y="6"/>
                  </a:moveTo>
                  <a:lnTo>
                    <a:pt x="7" y="5"/>
                  </a:lnTo>
                  <a:lnTo>
                    <a:pt x="5" y="3"/>
                  </a:lnTo>
                  <a:lnTo>
                    <a:pt x="3" y="3"/>
                  </a:lnTo>
                  <a:lnTo>
                    <a:pt x="3" y="5"/>
                  </a:lnTo>
                  <a:lnTo>
                    <a:pt x="5" y="7"/>
                  </a:lnTo>
                  <a:lnTo>
                    <a:pt x="7" y="7"/>
                  </a:lnTo>
                  <a:lnTo>
                    <a:pt x="7" y="6"/>
                  </a:lnTo>
                  <a:lnTo>
                    <a:pt x="7" y="6"/>
                  </a:lnTo>
                  <a:close/>
                  <a:moveTo>
                    <a:pt x="2" y="1"/>
                  </a:moveTo>
                  <a:lnTo>
                    <a:pt x="2" y="1"/>
                  </a:lnTo>
                  <a:lnTo>
                    <a:pt x="2" y="0"/>
                  </a:lnTo>
                  <a:lnTo>
                    <a:pt x="1" y="0"/>
                  </a:lnTo>
                  <a:lnTo>
                    <a:pt x="0" y="0"/>
                  </a:lnTo>
                  <a:lnTo>
                    <a:pt x="0" y="1"/>
                  </a:lnTo>
                  <a:lnTo>
                    <a:pt x="1" y="2"/>
                  </a:lnTo>
                  <a:lnTo>
                    <a:pt x="2"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0" name="Montserrat"/>
            <p:cNvSpPr>
              <a:spLocks/>
            </p:cNvSpPr>
            <p:nvPr/>
          </p:nvSpPr>
          <p:spPr bwMode="auto">
            <a:xfrm>
              <a:off x="3954462" y="3849688"/>
              <a:ext cx="1587" cy="3175"/>
            </a:xfrm>
            <a:custGeom>
              <a:avLst/>
              <a:gdLst>
                <a:gd name="T0" fmla="*/ 1 w 1"/>
                <a:gd name="T1" fmla="*/ 2 h 2"/>
                <a:gd name="T2" fmla="*/ 1 w 1"/>
                <a:gd name="T3" fmla="*/ 0 h 2"/>
                <a:gd name="T4" fmla="*/ 0 w 1"/>
                <a:gd name="T5" fmla="*/ 0 h 2"/>
                <a:gd name="T6" fmla="*/ 0 w 1"/>
                <a:gd name="T7" fmla="*/ 1 h 2"/>
                <a:gd name="T8" fmla="*/ 0 w 1"/>
                <a:gd name="T9" fmla="*/ 2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1" y="0"/>
                  </a:lnTo>
                  <a:lnTo>
                    <a:pt x="0" y="0"/>
                  </a:lnTo>
                  <a:lnTo>
                    <a:pt x="0" y="1"/>
                  </a:lnTo>
                  <a:lnTo>
                    <a:pt x="0" y="2"/>
                  </a:lnTo>
                  <a:lnTo>
                    <a:pt x="1" y="2"/>
                  </a:lnTo>
                  <a:lnTo>
                    <a:pt x="1"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1" name="Mauritius"/>
            <p:cNvSpPr>
              <a:spLocks/>
            </p:cNvSpPr>
            <p:nvPr/>
          </p:nvSpPr>
          <p:spPr bwMode="auto">
            <a:xfrm>
              <a:off x="7877175" y="5237163"/>
              <a:ext cx="14287" cy="20638"/>
            </a:xfrm>
            <a:custGeom>
              <a:avLst/>
              <a:gdLst>
                <a:gd name="T0" fmla="*/ 6 w 9"/>
                <a:gd name="T1" fmla="*/ 12 h 13"/>
                <a:gd name="T2" fmla="*/ 7 w 9"/>
                <a:gd name="T3" fmla="*/ 11 h 13"/>
                <a:gd name="T4" fmla="*/ 8 w 9"/>
                <a:gd name="T5" fmla="*/ 9 h 13"/>
                <a:gd name="T6" fmla="*/ 9 w 9"/>
                <a:gd name="T7" fmla="*/ 8 h 13"/>
                <a:gd name="T8" fmla="*/ 9 w 9"/>
                <a:gd name="T9" fmla="*/ 5 h 13"/>
                <a:gd name="T10" fmla="*/ 9 w 9"/>
                <a:gd name="T11" fmla="*/ 2 h 13"/>
                <a:gd name="T12" fmla="*/ 7 w 9"/>
                <a:gd name="T13" fmla="*/ 0 h 13"/>
                <a:gd name="T14" fmla="*/ 5 w 9"/>
                <a:gd name="T15" fmla="*/ 1 h 13"/>
                <a:gd name="T16" fmla="*/ 4 w 9"/>
                <a:gd name="T17" fmla="*/ 1 h 13"/>
                <a:gd name="T18" fmla="*/ 3 w 9"/>
                <a:gd name="T19" fmla="*/ 3 h 13"/>
                <a:gd name="T20" fmla="*/ 1 w 9"/>
                <a:gd name="T21" fmla="*/ 4 h 13"/>
                <a:gd name="T22" fmla="*/ 1 w 9"/>
                <a:gd name="T23" fmla="*/ 6 h 13"/>
                <a:gd name="T24" fmla="*/ 0 w 9"/>
                <a:gd name="T25" fmla="*/ 8 h 13"/>
                <a:gd name="T26" fmla="*/ 0 w 9"/>
                <a:gd name="T27" fmla="*/ 10 h 13"/>
                <a:gd name="T28" fmla="*/ 0 w 9"/>
                <a:gd name="T29" fmla="*/ 10 h 13"/>
                <a:gd name="T30" fmla="*/ 0 w 9"/>
                <a:gd name="T31" fmla="*/ 11 h 13"/>
                <a:gd name="T32" fmla="*/ 0 w 9"/>
                <a:gd name="T33" fmla="*/ 12 h 13"/>
                <a:gd name="T34" fmla="*/ 3 w 9"/>
                <a:gd name="T35" fmla="*/ 13 h 13"/>
                <a:gd name="T36" fmla="*/ 6 w 9"/>
                <a:gd name="T37" fmla="*/ 12 h 13"/>
                <a:gd name="T38" fmla="*/ 6 w 9"/>
                <a:gd name="T3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13">
                  <a:moveTo>
                    <a:pt x="6" y="12"/>
                  </a:moveTo>
                  <a:lnTo>
                    <a:pt x="7" y="11"/>
                  </a:lnTo>
                  <a:lnTo>
                    <a:pt x="8" y="9"/>
                  </a:lnTo>
                  <a:lnTo>
                    <a:pt x="9" y="8"/>
                  </a:lnTo>
                  <a:lnTo>
                    <a:pt x="9" y="5"/>
                  </a:lnTo>
                  <a:lnTo>
                    <a:pt x="9" y="2"/>
                  </a:lnTo>
                  <a:lnTo>
                    <a:pt x="7" y="0"/>
                  </a:lnTo>
                  <a:lnTo>
                    <a:pt x="5" y="1"/>
                  </a:lnTo>
                  <a:lnTo>
                    <a:pt x="4" y="1"/>
                  </a:lnTo>
                  <a:lnTo>
                    <a:pt x="3" y="3"/>
                  </a:lnTo>
                  <a:lnTo>
                    <a:pt x="1" y="4"/>
                  </a:lnTo>
                  <a:lnTo>
                    <a:pt x="1" y="6"/>
                  </a:lnTo>
                  <a:lnTo>
                    <a:pt x="0" y="8"/>
                  </a:lnTo>
                  <a:lnTo>
                    <a:pt x="0" y="10"/>
                  </a:lnTo>
                  <a:lnTo>
                    <a:pt x="0" y="10"/>
                  </a:lnTo>
                  <a:lnTo>
                    <a:pt x="0" y="11"/>
                  </a:lnTo>
                  <a:lnTo>
                    <a:pt x="0" y="12"/>
                  </a:lnTo>
                  <a:lnTo>
                    <a:pt x="3" y="13"/>
                  </a:lnTo>
                  <a:lnTo>
                    <a:pt x="6" y="12"/>
                  </a:lnTo>
                  <a:lnTo>
                    <a:pt x="6" y="1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2" name="New Caledonia"/>
            <p:cNvSpPr>
              <a:spLocks noEditPoints="1"/>
            </p:cNvSpPr>
            <p:nvPr/>
          </p:nvSpPr>
          <p:spPr bwMode="auto">
            <a:xfrm>
              <a:off x="11241087" y="5203826"/>
              <a:ext cx="249237" cy="133350"/>
            </a:xfrm>
            <a:custGeom>
              <a:avLst/>
              <a:gdLst>
                <a:gd name="T0" fmla="*/ 136 w 157"/>
                <a:gd name="T1" fmla="*/ 81 h 84"/>
                <a:gd name="T2" fmla="*/ 136 w 157"/>
                <a:gd name="T3" fmla="*/ 84 h 84"/>
                <a:gd name="T4" fmla="*/ 137 w 157"/>
                <a:gd name="T5" fmla="*/ 83 h 84"/>
                <a:gd name="T6" fmla="*/ 154 w 157"/>
                <a:gd name="T7" fmla="*/ 53 h 84"/>
                <a:gd name="T8" fmla="*/ 151 w 157"/>
                <a:gd name="T9" fmla="*/ 54 h 84"/>
                <a:gd name="T10" fmla="*/ 152 w 157"/>
                <a:gd name="T11" fmla="*/ 59 h 84"/>
                <a:gd name="T12" fmla="*/ 156 w 157"/>
                <a:gd name="T13" fmla="*/ 60 h 84"/>
                <a:gd name="T14" fmla="*/ 155 w 157"/>
                <a:gd name="T15" fmla="*/ 55 h 84"/>
                <a:gd name="T16" fmla="*/ 145 w 157"/>
                <a:gd name="T17" fmla="*/ 47 h 84"/>
                <a:gd name="T18" fmla="*/ 143 w 157"/>
                <a:gd name="T19" fmla="*/ 42 h 84"/>
                <a:gd name="T20" fmla="*/ 142 w 157"/>
                <a:gd name="T21" fmla="*/ 37 h 84"/>
                <a:gd name="T22" fmla="*/ 140 w 157"/>
                <a:gd name="T23" fmla="*/ 39 h 84"/>
                <a:gd name="T24" fmla="*/ 137 w 157"/>
                <a:gd name="T25" fmla="*/ 43 h 84"/>
                <a:gd name="T26" fmla="*/ 141 w 157"/>
                <a:gd name="T27" fmla="*/ 48 h 84"/>
                <a:gd name="T28" fmla="*/ 129 w 157"/>
                <a:gd name="T29" fmla="*/ 38 h 84"/>
                <a:gd name="T30" fmla="*/ 131 w 157"/>
                <a:gd name="T31" fmla="*/ 35 h 84"/>
                <a:gd name="T32" fmla="*/ 133 w 157"/>
                <a:gd name="T33" fmla="*/ 32 h 84"/>
                <a:gd name="T34" fmla="*/ 131 w 157"/>
                <a:gd name="T35" fmla="*/ 32 h 84"/>
                <a:gd name="T36" fmla="*/ 128 w 157"/>
                <a:gd name="T37" fmla="*/ 38 h 84"/>
                <a:gd name="T38" fmla="*/ 83 w 157"/>
                <a:gd name="T39" fmla="*/ 27 h 84"/>
                <a:gd name="T40" fmla="*/ 80 w 157"/>
                <a:gd name="T41" fmla="*/ 27 h 84"/>
                <a:gd name="T42" fmla="*/ 81 w 157"/>
                <a:gd name="T43" fmla="*/ 29 h 84"/>
                <a:gd name="T44" fmla="*/ 83 w 157"/>
                <a:gd name="T45" fmla="*/ 36 h 84"/>
                <a:gd name="T46" fmla="*/ 87 w 157"/>
                <a:gd name="T47" fmla="*/ 43 h 84"/>
                <a:gd name="T48" fmla="*/ 91 w 157"/>
                <a:gd name="T49" fmla="*/ 51 h 84"/>
                <a:gd name="T50" fmla="*/ 99 w 157"/>
                <a:gd name="T51" fmla="*/ 59 h 84"/>
                <a:gd name="T52" fmla="*/ 105 w 157"/>
                <a:gd name="T53" fmla="*/ 64 h 84"/>
                <a:gd name="T54" fmla="*/ 112 w 157"/>
                <a:gd name="T55" fmla="*/ 68 h 84"/>
                <a:gd name="T56" fmla="*/ 113 w 157"/>
                <a:gd name="T57" fmla="*/ 71 h 84"/>
                <a:gd name="T58" fmla="*/ 118 w 157"/>
                <a:gd name="T59" fmla="*/ 74 h 84"/>
                <a:gd name="T60" fmla="*/ 119 w 157"/>
                <a:gd name="T61" fmla="*/ 75 h 84"/>
                <a:gd name="T62" fmla="*/ 126 w 157"/>
                <a:gd name="T63" fmla="*/ 78 h 84"/>
                <a:gd name="T64" fmla="*/ 129 w 157"/>
                <a:gd name="T65" fmla="*/ 71 h 84"/>
                <a:gd name="T66" fmla="*/ 122 w 157"/>
                <a:gd name="T67" fmla="*/ 65 h 84"/>
                <a:gd name="T68" fmla="*/ 114 w 157"/>
                <a:gd name="T69" fmla="*/ 56 h 84"/>
                <a:gd name="T70" fmla="*/ 110 w 157"/>
                <a:gd name="T71" fmla="*/ 53 h 84"/>
                <a:gd name="T72" fmla="*/ 106 w 157"/>
                <a:gd name="T73" fmla="*/ 50 h 84"/>
                <a:gd name="T74" fmla="*/ 104 w 157"/>
                <a:gd name="T75" fmla="*/ 45 h 84"/>
                <a:gd name="T76" fmla="*/ 101 w 157"/>
                <a:gd name="T77" fmla="*/ 40 h 84"/>
                <a:gd name="T78" fmla="*/ 96 w 157"/>
                <a:gd name="T79" fmla="*/ 37 h 84"/>
                <a:gd name="T80" fmla="*/ 85 w 157"/>
                <a:gd name="T81" fmla="*/ 29 h 84"/>
                <a:gd name="T82" fmla="*/ 1 w 157"/>
                <a:gd name="T83" fmla="*/ 5 h 84"/>
                <a:gd name="T84" fmla="*/ 1 w 157"/>
                <a:gd name="T85"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84">
                  <a:moveTo>
                    <a:pt x="137" y="83"/>
                  </a:moveTo>
                  <a:lnTo>
                    <a:pt x="137" y="82"/>
                  </a:lnTo>
                  <a:lnTo>
                    <a:pt x="136" y="81"/>
                  </a:lnTo>
                  <a:lnTo>
                    <a:pt x="135" y="83"/>
                  </a:lnTo>
                  <a:lnTo>
                    <a:pt x="135" y="84"/>
                  </a:lnTo>
                  <a:lnTo>
                    <a:pt x="136" y="84"/>
                  </a:lnTo>
                  <a:lnTo>
                    <a:pt x="136" y="84"/>
                  </a:lnTo>
                  <a:lnTo>
                    <a:pt x="137" y="83"/>
                  </a:lnTo>
                  <a:lnTo>
                    <a:pt x="137" y="83"/>
                  </a:lnTo>
                  <a:close/>
                  <a:moveTo>
                    <a:pt x="155" y="55"/>
                  </a:moveTo>
                  <a:lnTo>
                    <a:pt x="154" y="55"/>
                  </a:lnTo>
                  <a:lnTo>
                    <a:pt x="154" y="53"/>
                  </a:lnTo>
                  <a:lnTo>
                    <a:pt x="155" y="53"/>
                  </a:lnTo>
                  <a:lnTo>
                    <a:pt x="153" y="53"/>
                  </a:lnTo>
                  <a:lnTo>
                    <a:pt x="151" y="54"/>
                  </a:lnTo>
                  <a:lnTo>
                    <a:pt x="151" y="57"/>
                  </a:lnTo>
                  <a:lnTo>
                    <a:pt x="151" y="59"/>
                  </a:lnTo>
                  <a:lnTo>
                    <a:pt x="152" y="59"/>
                  </a:lnTo>
                  <a:lnTo>
                    <a:pt x="152" y="61"/>
                  </a:lnTo>
                  <a:lnTo>
                    <a:pt x="153" y="61"/>
                  </a:lnTo>
                  <a:lnTo>
                    <a:pt x="156" y="60"/>
                  </a:lnTo>
                  <a:lnTo>
                    <a:pt x="157" y="55"/>
                  </a:lnTo>
                  <a:lnTo>
                    <a:pt x="155" y="55"/>
                  </a:lnTo>
                  <a:lnTo>
                    <a:pt x="155" y="55"/>
                  </a:lnTo>
                  <a:lnTo>
                    <a:pt x="155" y="55"/>
                  </a:lnTo>
                  <a:close/>
                  <a:moveTo>
                    <a:pt x="144" y="49"/>
                  </a:moveTo>
                  <a:lnTo>
                    <a:pt x="145" y="47"/>
                  </a:lnTo>
                  <a:lnTo>
                    <a:pt x="145" y="46"/>
                  </a:lnTo>
                  <a:lnTo>
                    <a:pt x="144" y="44"/>
                  </a:lnTo>
                  <a:lnTo>
                    <a:pt x="143" y="42"/>
                  </a:lnTo>
                  <a:lnTo>
                    <a:pt x="144" y="38"/>
                  </a:lnTo>
                  <a:lnTo>
                    <a:pt x="144" y="38"/>
                  </a:lnTo>
                  <a:lnTo>
                    <a:pt x="142" y="37"/>
                  </a:lnTo>
                  <a:lnTo>
                    <a:pt x="139" y="38"/>
                  </a:lnTo>
                  <a:lnTo>
                    <a:pt x="138" y="39"/>
                  </a:lnTo>
                  <a:lnTo>
                    <a:pt x="140" y="39"/>
                  </a:lnTo>
                  <a:lnTo>
                    <a:pt x="141" y="40"/>
                  </a:lnTo>
                  <a:lnTo>
                    <a:pt x="139" y="43"/>
                  </a:lnTo>
                  <a:lnTo>
                    <a:pt x="137" y="43"/>
                  </a:lnTo>
                  <a:lnTo>
                    <a:pt x="138" y="45"/>
                  </a:lnTo>
                  <a:lnTo>
                    <a:pt x="138" y="47"/>
                  </a:lnTo>
                  <a:lnTo>
                    <a:pt x="141" y="48"/>
                  </a:lnTo>
                  <a:lnTo>
                    <a:pt x="142" y="49"/>
                  </a:lnTo>
                  <a:lnTo>
                    <a:pt x="144" y="49"/>
                  </a:lnTo>
                  <a:close/>
                  <a:moveTo>
                    <a:pt x="129" y="38"/>
                  </a:moveTo>
                  <a:lnTo>
                    <a:pt x="130" y="36"/>
                  </a:lnTo>
                  <a:lnTo>
                    <a:pt x="131" y="36"/>
                  </a:lnTo>
                  <a:lnTo>
                    <a:pt x="131" y="35"/>
                  </a:lnTo>
                  <a:lnTo>
                    <a:pt x="131" y="34"/>
                  </a:lnTo>
                  <a:lnTo>
                    <a:pt x="132" y="33"/>
                  </a:lnTo>
                  <a:lnTo>
                    <a:pt x="133" y="32"/>
                  </a:lnTo>
                  <a:lnTo>
                    <a:pt x="132" y="31"/>
                  </a:lnTo>
                  <a:lnTo>
                    <a:pt x="131" y="31"/>
                  </a:lnTo>
                  <a:lnTo>
                    <a:pt x="131" y="32"/>
                  </a:lnTo>
                  <a:lnTo>
                    <a:pt x="130" y="35"/>
                  </a:lnTo>
                  <a:lnTo>
                    <a:pt x="130" y="36"/>
                  </a:lnTo>
                  <a:lnTo>
                    <a:pt x="128" y="38"/>
                  </a:lnTo>
                  <a:lnTo>
                    <a:pt x="129" y="38"/>
                  </a:lnTo>
                  <a:lnTo>
                    <a:pt x="129" y="38"/>
                  </a:lnTo>
                  <a:close/>
                  <a:moveTo>
                    <a:pt x="83" y="27"/>
                  </a:moveTo>
                  <a:lnTo>
                    <a:pt x="80" y="24"/>
                  </a:lnTo>
                  <a:lnTo>
                    <a:pt x="80" y="25"/>
                  </a:lnTo>
                  <a:lnTo>
                    <a:pt x="80" y="27"/>
                  </a:lnTo>
                  <a:lnTo>
                    <a:pt x="80" y="28"/>
                  </a:lnTo>
                  <a:lnTo>
                    <a:pt x="81" y="29"/>
                  </a:lnTo>
                  <a:lnTo>
                    <a:pt x="81" y="29"/>
                  </a:lnTo>
                  <a:lnTo>
                    <a:pt x="81" y="31"/>
                  </a:lnTo>
                  <a:lnTo>
                    <a:pt x="81" y="33"/>
                  </a:lnTo>
                  <a:lnTo>
                    <a:pt x="83" y="36"/>
                  </a:lnTo>
                  <a:lnTo>
                    <a:pt x="84" y="38"/>
                  </a:lnTo>
                  <a:lnTo>
                    <a:pt x="85" y="41"/>
                  </a:lnTo>
                  <a:lnTo>
                    <a:pt x="87" y="43"/>
                  </a:lnTo>
                  <a:lnTo>
                    <a:pt x="88" y="45"/>
                  </a:lnTo>
                  <a:lnTo>
                    <a:pt x="91" y="50"/>
                  </a:lnTo>
                  <a:lnTo>
                    <a:pt x="91" y="51"/>
                  </a:lnTo>
                  <a:lnTo>
                    <a:pt x="93" y="53"/>
                  </a:lnTo>
                  <a:lnTo>
                    <a:pt x="97" y="57"/>
                  </a:lnTo>
                  <a:lnTo>
                    <a:pt x="99" y="59"/>
                  </a:lnTo>
                  <a:lnTo>
                    <a:pt x="100" y="60"/>
                  </a:lnTo>
                  <a:lnTo>
                    <a:pt x="104" y="63"/>
                  </a:lnTo>
                  <a:lnTo>
                    <a:pt x="105" y="64"/>
                  </a:lnTo>
                  <a:lnTo>
                    <a:pt x="106" y="65"/>
                  </a:lnTo>
                  <a:lnTo>
                    <a:pt x="109" y="66"/>
                  </a:lnTo>
                  <a:lnTo>
                    <a:pt x="112" y="68"/>
                  </a:lnTo>
                  <a:lnTo>
                    <a:pt x="112" y="68"/>
                  </a:lnTo>
                  <a:lnTo>
                    <a:pt x="112" y="70"/>
                  </a:lnTo>
                  <a:lnTo>
                    <a:pt x="113" y="71"/>
                  </a:lnTo>
                  <a:lnTo>
                    <a:pt x="115" y="72"/>
                  </a:lnTo>
                  <a:lnTo>
                    <a:pt x="117" y="74"/>
                  </a:lnTo>
                  <a:lnTo>
                    <a:pt x="118" y="74"/>
                  </a:lnTo>
                  <a:lnTo>
                    <a:pt x="118" y="75"/>
                  </a:lnTo>
                  <a:lnTo>
                    <a:pt x="119" y="75"/>
                  </a:lnTo>
                  <a:lnTo>
                    <a:pt x="119" y="75"/>
                  </a:lnTo>
                  <a:lnTo>
                    <a:pt x="123" y="78"/>
                  </a:lnTo>
                  <a:lnTo>
                    <a:pt x="125" y="78"/>
                  </a:lnTo>
                  <a:lnTo>
                    <a:pt x="126" y="78"/>
                  </a:lnTo>
                  <a:lnTo>
                    <a:pt x="128" y="77"/>
                  </a:lnTo>
                  <a:lnTo>
                    <a:pt x="129" y="75"/>
                  </a:lnTo>
                  <a:lnTo>
                    <a:pt x="129" y="71"/>
                  </a:lnTo>
                  <a:lnTo>
                    <a:pt x="127" y="69"/>
                  </a:lnTo>
                  <a:lnTo>
                    <a:pt x="124" y="67"/>
                  </a:lnTo>
                  <a:lnTo>
                    <a:pt x="122" y="65"/>
                  </a:lnTo>
                  <a:lnTo>
                    <a:pt x="121" y="64"/>
                  </a:lnTo>
                  <a:lnTo>
                    <a:pt x="118" y="60"/>
                  </a:lnTo>
                  <a:lnTo>
                    <a:pt x="114" y="56"/>
                  </a:lnTo>
                  <a:lnTo>
                    <a:pt x="112" y="55"/>
                  </a:lnTo>
                  <a:lnTo>
                    <a:pt x="111" y="54"/>
                  </a:lnTo>
                  <a:lnTo>
                    <a:pt x="110" y="53"/>
                  </a:lnTo>
                  <a:lnTo>
                    <a:pt x="109" y="52"/>
                  </a:lnTo>
                  <a:lnTo>
                    <a:pt x="107" y="51"/>
                  </a:lnTo>
                  <a:lnTo>
                    <a:pt x="106" y="50"/>
                  </a:lnTo>
                  <a:lnTo>
                    <a:pt x="104" y="47"/>
                  </a:lnTo>
                  <a:lnTo>
                    <a:pt x="104" y="46"/>
                  </a:lnTo>
                  <a:lnTo>
                    <a:pt x="104" y="45"/>
                  </a:lnTo>
                  <a:lnTo>
                    <a:pt x="104" y="44"/>
                  </a:lnTo>
                  <a:lnTo>
                    <a:pt x="102" y="42"/>
                  </a:lnTo>
                  <a:lnTo>
                    <a:pt x="101" y="40"/>
                  </a:lnTo>
                  <a:lnTo>
                    <a:pt x="101" y="39"/>
                  </a:lnTo>
                  <a:lnTo>
                    <a:pt x="99" y="38"/>
                  </a:lnTo>
                  <a:lnTo>
                    <a:pt x="96" y="37"/>
                  </a:lnTo>
                  <a:lnTo>
                    <a:pt x="90" y="30"/>
                  </a:lnTo>
                  <a:lnTo>
                    <a:pt x="88" y="28"/>
                  </a:lnTo>
                  <a:lnTo>
                    <a:pt x="85" y="29"/>
                  </a:lnTo>
                  <a:lnTo>
                    <a:pt x="83" y="27"/>
                  </a:lnTo>
                  <a:lnTo>
                    <a:pt x="83" y="27"/>
                  </a:lnTo>
                  <a:close/>
                  <a:moveTo>
                    <a:pt x="1" y="5"/>
                  </a:moveTo>
                  <a:lnTo>
                    <a:pt x="2" y="3"/>
                  </a:lnTo>
                  <a:lnTo>
                    <a:pt x="2" y="0"/>
                  </a:lnTo>
                  <a:lnTo>
                    <a:pt x="1" y="2"/>
                  </a:lnTo>
                  <a:lnTo>
                    <a:pt x="0" y="6"/>
                  </a:lnTo>
                  <a:lnTo>
                    <a:pt x="1"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3" name="Marshall Islands"/>
            <p:cNvSpPr>
              <a:spLocks/>
            </p:cNvSpPr>
            <p:nvPr/>
          </p:nvSpPr>
          <p:spPr bwMode="auto">
            <a:xfrm>
              <a:off x="11563350" y="4502151"/>
              <a:ext cx="0" cy="1588"/>
            </a:xfrm>
            <a:custGeom>
              <a:avLst/>
              <a:gdLst>
                <a:gd name="T0" fmla="*/ 0 h 1"/>
                <a:gd name="T1" fmla="*/ 0 h 1"/>
                <a:gd name="T2" fmla="*/ 0 h 1"/>
                <a:gd name="T3" fmla="*/ 0 h 1"/>
                <a:gd name="T4" fmla="*/ 0 h 1"/>
                <a:gd name="T5" fmla="*/ 0 h 1"/>
                <a:gd name="T6" fmla="*/ 1 h 1"/>
                <a:gd name="T7" fmla="*/ 0 h 1"/>
                <a:gd name="T8"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0"/>
                  </a:moveTo>
                  <a:lnTo>
                    <a:pt x="0" y="0"/>
                  </a:lnTo>
                  <a:lnTo>
                    <a:pt x="0" y="0"/>
                  </a:lnTo>
                  <a:lnTo>
                    <a:pt x="0" y="0"/>
                  </a:lnTo>
                  <a:lnTo>
                    <a:pt x="0" y="0"/>
                  </a:lnTo>
                  <a:lnTo>
                    <a:pt x="0" y="0"/>
                  </a:lnTo>
                  <a:lnTo>
                    <a:pt x="0" y="1"/>
                  </a:lnTo>
                  <a:lnTo>
                    <a:pt x="0" y="0"/>
                  </a:lnTo>
                  <a:lnTo>
                    <a:pt x="0"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4" name="Pitcaim Islands"/>
            <p:cNvSpPr>
              <a:spLocks/>
            </p:cNvSpPr>
            <p:nvPr/>
          </p:nvSpPr>
          <p:spPr bwMode="auto">
            <a:xfrm>
              <a:off x="1833562" y="5400676"/>
              <a:ext cx="3175" cy="3175"/>
            </a:xfrm>
            <a:custGeom>
              <a:avLst/>
              <a:gdLst>
                <a:gd name="T0" fmla="*/ 2 w 2"/>
                <a:gd name="T1" fmla="*/ 2 h 2"/>
                <a:gd name="T2" fmla="*/ 2 w 2"/>
                <a:gd name="T3" fmla="*/ 1 h 2"/>
                <a:gd name="T4" fmla="*/ 1 w 2"/>
                <a:gd name="T5" fmla="*/ 0 h 2"/>
                <a:gd name="T6" fmla="*/ 1 w 2"/>
                <a:gd name="T7" fmla="*/ 0 h 2"/>
                <a:gd name="T8" fmla="*/ 0 w 2"/>
                <a:gd name="T9" fmla="*/ 0 h 2"/>
                <a:gd name="T10" fmla="*/ 1 w 2"/>
                <a:gd name="T11" fmla="*/ 1 h 2"/>
                <a:gd name="T12" fmla="*/ 1 w 2"/>
                <a:gd name="T13" fmla="*/ 2 h 2"/>
                <a:gd name="T14" fmla="*/ 2 w 2"/>
                <a:gd name="T15" fmla="*/ 2 h 2"/>
                <a:gd name="T16" fmla="*/ 2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2"/>
                  </a:moveTo>
                  <a:lnTo>
                    <a:pt x="2" y="1"/>
                  </a:lnTo>
                  <a:lnTo>
                    <a:pt x="1" y="0"/>
                  </a:lnTo>
                  <a:lnTo>
                    <a:pt x="1" y="0"/>
                  </a:lnTo>
                  <a:lnTo>
                    <a:pt x="0" y="0"/>
                  </a:lnTo>
                  <a:lnTo>
                    <a:pt x="1" y="1"/>
                  </a:lnTo>
                  <a:lnTo>
                    <a:pt x="1" y="2"/>
                  </a:lnTo>
                  <a:lnTo>
                    <a:pt x="2" y="2"/>
                  </a:lnTo>
                  <a:lnTo>
                    <a:pt x="2"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5" name="Puerto Rico"/>
            <p:cNvSpPr>
              <a:spLocks noEditPoints="1"/>
            </p:cNvSpPr>
            <p:nvPr/>
          </p:nvSpPr>
          <p:spPr bwMode="auto">
            <a:xfrm>
              <a:off x="3770312" y="3784601"/>
              <a:ext cx="85725" cy="22225"/>
            </a:xfrm>
            <a:custGeom>
              <a:avLst/>
              <a:gdLst>
                <a:gd name="T0" fmla="*/ 1 w 54"/>
                <a:gd name="T1" fmla="*/ 11 h 14"/>
                <a:gd name="T2" fmla="*/ 2 w 54"/>
                <a:gd name="T3" fmla="*/ 11 h 14"/>
                <a:gd name="T4" fmla="*/ 2 w 54"/>
                <a:gd name="T5" fmla="*/ 10 h 14"/>
                <a:gd name="T6" fmla="*/ 2 w 54"/>
                <a:gd name="T7" fmla="*/ 10 h 14"/>
                <a:gd name="T8" fmla="*/ 2 w 54"/>
                <a:gd name="T9" fmla="*/ 10 h 14"/>
                <a:gd name="T10" fmla="*/ 0 w 54"/>
                <a:gd name="T11" fmla="*/ 10 h 14"/>
                <a:gd name="T12" fmla="*/ 0 w 54"/>
                <a:gd name="T13" fmla="*/ 10 h 14"/>
                <a:gd name="T14" fmla="*/ 1 w 54"/>
                <a:gd name="T15" fmla="*/ 11 h 14"/>
                <a:gd name="T16" fmla="*/ 1 w 54"/>
                <a:gd name="T17" fmla="*/ 11 h 14"/>
                <a:gd name="T18" fmla="*/ 53 w 54"/>
                <a:gd name="T19" fmla="*/ 10 h 14"/>
                <a:gd name="T20" fmla="*/ 54 w 54"/>
                <a:gd name="T21" fmla="*/ 9 h 14"/>
                <a:gd name="T22" fmla="*/ 51 w 54"/>
                <a:gd name="T23" fmla="*/ 8 h 14"/>
                <a:gd name="T24" fmla="*/ 50 w 54"/>
                <a:gd name="T25" fmla="*/ 10 h 14"/>
                <a:gd name="T26" fmla="*/ 53 w 54"/>
                <a:gd name="T27" fmla="*/ 10 h 14"/>
                <a:gd name="T28" fmla="*/ 38 w 54"/>
                <a:gd name="T29" fmla="*/ 1 h 14"/>
                <a:gd name="T30" fmla="*/ 25 w 54"/>
                <a:gd name="T31" fmla="*/ 1 h 14"/>
                <a:gd name="T32" fmla="*/ 18 w 54"/>
                <a:gd name="T33" fmla="*/ 1 h 14"/>
                <a:gd name="T34" fmla="*/ 17 w 54"/>
                <a:gd name="T35" fmla="*/ 2 h 14"/>
                <a:gd name="T36" fmla="*/ 15 w 54"/>
                <a:gd name="T37" fmla="*/ 3 h 14"/>
                <a:gd name="T38" fmla="*/ 15 w 54"/>
                <a:gd name="T39" fmla="*/ 5 h 14"/>
                <a:gd name="T40" fmla="*/ 16 w 54"/>
                <a:gd name="T41" fmla="*/ 9 h 14"/>
                <a:gd name="T42" fmla="*/ 16 w 54"/>
                <a:gd name="T43" fmla="*/ 14 h 14"/>
                <a:gd name="T44" fmla="*/ 20 w 54"/>
                <a:gd name="T45" fmla="*/ 14 h 14"/>
                <a:gd name="T46" fmla="*/ 23 w 54"/>
                <a:gd name="T47" fmla="*/ 14 h 14"/>
                <a:gd name="T48" fmla="*/ 27 w 54"/>
                <a:gd name="T49" fmla="*/ 13 h 14"/>
                <a:gd name="T50" fmla="*/ 32 w 54"/>
                <a:gd name="T51" fmla="*/ 14 h 14"/>
                <a:gd name="T52" fmla="*/ 34 w 54"/>
                <a:gd name="T53" fmla="*/ 14 h 14"/>
                <a:gd name="T54" fmla="*/ 38 w 54"/>
                <a:gd name="T55" fmla="*/ 14 h 14"/>
                <a:gd name="T56" fmla="*/ 43 w 54"/>
                <a:gd name="T57" fmla="*/ 11 h 14"/>
                <a:gd name="T58" fmla="*/ 46 w 54"/>
                <a:gd name="T59" fmla="*/ 8 h 14"/>
                <a:gd name="T60" fmla="*/ 49 w 54"/>
                <a:gd name="T61" fmla="*/ 3 h 14"/>
                <a:gd name="T62" fmla="*/ 43 w 54"/>
                <a:gd name="T63" fmla="*/ 1 h 14"/>
                <a:gd name="T64" fmla="*/ 39 w 54"/>
                <a:gd name="T65" fmla="*/ 1 h 14"/>
                <a:gd name="T66" fmla="*/ 39 w 54"/>
                <a:gd name="T67" fmla="*/ 2 h 14"/>
                <a:gd name="T68" fmla="*/ 39 w 54"/>
                <a:gd name="T6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4">
                  <a:moveTo>
                    <a:pt x="1" y="11"/>
                  </a:moveTo>
                  <a:lnTo>
                    <a:pt x="1" y="11"/>
                  </a:lnTo>
                  <a:lnTo>
                    <a:pt x="1" y="11"/>
                  </a:lnTo>
                  <a:lnTo>
                    <a:pt x="2" y="11"/>
                  </a:lnTo>
                  <a:lnTo>
                    <a:pt x="2" y="10"/>
                  </a:lnTo>
                  <a:lnTo>
                    <a:pt x="2" y="10"/>
                  </a:lnTo>
                  <a:lnTo>
                    <a:pt x="2" y="10"/>
                  </a:lnTo>
                  <a:lnTo>
                    <a:pt x="2" y="10"/>
                  </a:lnTo>
                  <a:lnTo>
                    <a:pt x="2" y="10"/>
                  </a:lnTo>
                  <a:lnTo>
                    <a:pt x="2" y="10"/>
                  </a:lnTo>
                  <a:lnTo>
                    <a:pt x="0" y="10"/>
                  </a:lnTo>
                  <a:lnTo>
                    <a:pt x="0" y="10"/>
                  </a:lnTo>
                  <a:lnTo>
                    <a:pt x="0" y="10"/>
                  </a:lnTo>
                  <a:lnTo>
                    <a:pt x="0" y="10"/>
                  </a:lnTo>
                  <a:lnTo>
                    <a:pt x="1" y="11"/>
                  </a:lnTo>
                  <a:lnTo>
                    <a:pt x="1" y="11"/>
                  </a:lnTo>
                  <a:lnTo>
                    <a:pt x="1" y="11"/>
                  </a:lnTo>
                  <a:lnTo>
                    <a:pt x="1" y="11"/>
                  </a:lnTo>
                  <a:lnTo>
                    <a:pt x="1" y="11"/>
                  </a:lnTo>
                  <a:close/>
                  <a:moveTo>
                    <a:pt x="53" y="10"/>
                  </a:moveTo>
                  <a:lnTo>
                    <a:pt x="54" y="9"/>
                  </a:lnTo>
                  <a:lnTo>
                    <a:pt x="54" y="9"/>
                  </a:lnTo>
                  <a:lnTo>
                    <a:pt x="53" y="8"/>
                  </a:lnTo>
                  <a:lnTo>
                    <a:pt x="51" y="8"/>
                  </a:lnTo>
                  <a:lnTo>
                    <a:pt x="49" y="9"/>
                  </a:lnTo>
                  <a:lnTo>
                    <a:pt x="50" y="10"/>
                  </a:lnTo>
                  <a:lnTo>
                    <a:pt x="51" y="10"/>
                  </a:lnTo>
                  <a:lnTo>
                    <a:pt x="53" y="10"/>
                  </a:lnTo>
                  <a:close/>
                  <a:moveTo>
                    <a:pt x="39" y="1"/>
                  </a:moveTo>
                  <a:lnTo>
                    <a:pt x="38" y="1"/>
                  </a:lnTo>
                  <a:lnTo>
                    <a:pt x="38" y="1"/>
                  </a:lnTo>
                  <a:lnTo>
                    <a:pt x="25" y="1"/>
                  </a:lnTo>
                  <a:lnTo>
                    <a:pt x="19" y="0"/>
                  </a:lnTo>
                  <a:lnTo>
                    <a:pt x="18" y="1"/>
                  </a:lnTo>
                  <a:lnTo>
                    <a:pt x="17" y="1"/>
                  </a:lnTo>
                  <a:lnTo>
                    <a:pt x="17" y="2"/>
                  </a:lnTo>
                  <a:lnTo>
                    <a:pt x="16" y="2"/>
                  </a:lnTo>
                  <a:lnTo>
                    <a:pt x="15" y="3"/>
                  </a:lnTo>
                  <a:lnTo>
                    <a:pt x="15" y="4"/>
                  </a:lnTo>
                  <a:lnTo>
                    <a:pt x="15" y="5"/>
                  </a:lnTo>
                  <a:lnTo>
                    <a:pt x="16" y="7"/>
                  </a:lnTo>
                  <a:lnTo>
                    <a:pt x="16" y="9"/>
                  </a:lnTo>
                  <a:lnTo>
                    <a:pt x="15" y="13"/>
                  </a:lnTo>
                  <a:lnTo>
                    <a:pt x="16" y="14"/>
                  </a:lnTo>
                  <a:lnTo>
                    <a:pt x="19" y="13"/>
                  </a:lnTo>
                  <a:lnTo>
                    <a:pt x="20" y="14"/>
                  </a:lnTo>
                  <a:lnTo>
                    <a:pt x="21" y="14"/>
                  </a:lnTo>
                  <a:lnTo>
                    <a:pt x="23" y="14"/>
                  </a:lnTo>
                  <a:lnTo>
                    <a:pt x="25" y="13"/>
                  </a:lnTo>
                  <a:lnTo>
                    <a:pt x="27" y="13"/>
                  </a:lnTo>
                  <a:lnTo>
                    <a:pt x="29" y="13"/>
                  </a:lnTo>
                  <a:lnTo>
                    <a:pt x="32" y="14"/>
                  </a:lnTo>
                  <a:lnTo>
                    <a:pt x="33" y="14"/>
                  </a:lnTo>
                  <a:lnTo>
                    <a:pt x="34" y="14"/>
                  </a:lnTo>
                  <a:lnTo>
                    <a:pt x="35" y="14"/>
                  </a:lnTo>
                  <a:lnTo>
                    <a:pt x="38" y="14"/>
                  </a:lnTo>
                  <a:lnTo>
                    <a:pt x="40" y="13"/>
                  </a:lnTo>
                  <a:lnTo>
                    <a:pt x="43" y="11"/>
                  </a:lnTo>
                  <a:lnTo>
                    <a:pt x="45" y="9"/>
                  </a:lnTo>
                  <a:lnTo>
                    <a:pt x="46" y="8"/>
                  </a:lnTo>
                  <a:lnTo>
                    <a:pt x="49" y="6"/>
                  </a:lnTo>
                  <a:lnTo>
                    <a:pt x="49" y="3"/>
                  </a:lnTo>
                  <a:lnTo>
                    <a:pt x="46" y="2"/>
                  </a:lnTo>
                  <a:lnTo>
                    <a:pt x="43" y="1"/>
                  </a:lnTo>
                  <a:lnTo>
                    <a:pt x="39" y="1"/>
                  </a:lnTo>
                  <a:lnTo>
                    <a:pt x="39" y="1"/>
                  </a:lnTo>
                  <a:lnTo>
                    <a:pt x="39" y="2"/>
                  </a:lnTo>
                  <a:lnTo>
                    <a:pt x="39" y="2"/>
                  </a:lnTo>
                  <a:lnTo>
                    <a:pt x="39" y="1"/>
                  </a:lnTo>
                  <a:lnTo>
                    <a:pt x="39"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6" name="Singapore"/>
            <p:cNvSpPr>
              <a:spLocks/>
            </p:cNvSpPr>
            <p:nvPr/>
          </p:nvSpPr>
          <p:spPr bwMode="auto">
            <a:xfrm>
              <a:off x="9455150" y="4429126"/>
              <a:ext cx="9525" cy="4763"/>
            </a:xfrm>
            <a:custGeom>
              <a:avLst/>
              <a:gdLst>
                <a:gd name="T0" fmla="*/ 6 w 6"/>
                <a:gd name="T1" fmla="*/ 3 h 3"/>
                <a:gd name="T2" fmla="*/ 6 w 6"/>
                <a:gd name="T3" fmla="*/ 2 h 3"/>
                <a:gd name="T4" fmla="*/ 6 w 6"/>
                <a:gd name="T5" fmla="*/ 1 h 3"/>
                <a:gd name="T6" fmla="*/ 5 w 6"/>
                <a:gd name="T7" fmla="*/ 1 h 3"/>
                <a:gd name="T8" fmla="*/ 3 w 6"/>
                <a:gd name="T9" fmla="*/ 0 h 3"/>
                <a:gd name="T10" fmla="*/ 1 w 6"/>
                <a:gd name="T11" fmla="*/ 0 h 3"/>
                <a:gd name="T12" fmla="*/ 0 w 6"/>
                <a:gd name="T13" fmla="*/ 3 h 3"/>
                <a:gd name="T14" fmla="*/ 3 w 6"/>
                <a:gd name="T15" fmla="*/ 3 h 3"/>
                <a:gd name="T16" fmla="*/ 6 w 6"/>
                <a:gd name="T17" fmla="*/ 3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6" y="2"/>
                  </a:lnTo>
                  <a:lnTo>
                    <a:pt x="6" y="1"/>
                  </a:lnTo>
                  <a:lnTo>
                    <a:pt x="5" y="1"/>
                  </a:lnTo>
                  <a:lnTo>
                    <a:pt x="3" y="0"/>
                  </a:lnTo>
                  <a:lnTo>
                    <a:pt x="1" y="0"/>
                  </a:lnTo>
                  <a:lnTo>
                    <a:pt x="0" y="3"/>
                  </a:lnTo>
                  <a:lnTo>
                    <a:pt x="3" y="3"/>
                  </a:lnTo>
                  <a:lnTo>
                    <a:pt x="6" y="3"/>
                  </a:lnTo>
                  <a:lnTo>
                    <a:pt x="6"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7" name="Solomon Islands"/>
            <p:cNvSpPr>
              <a:spLocks noEditPoints="1"/>
            </p:cNvSpPr>
            <p:nvPr/>
          </p:nvSpPr>
          <p:spPr bwMode="auto">
            <a:xfrm>
              <a:off x="11176000" y="4732338"/>
              <a:ext cx="352425" cy="196850"/>
            </a:xfrm>
            <a:custGeom>
              <a:avLst/>
              <a:gdLst>
                <a:gd name="T0" fmla="*/ 220 w 222"/>
                <a:gd name="T1" fmla="*/ 121 h 124"/>
                <a:gd name="T2" fmla="*/ 88 w 222"/>
                <a:gd name="T3" fmla="*/ 121 h 124"/>
                <a:gd name="T4" fmla="*/ 80 w 222"/>
                <a:gd name="T5" fmla="*/ 119 h 124"/>
                <a:gd name="T6" fmla="*/ 87 w 222"/>
                <a:gd name="T7" fmla="*/ 123 h 124"/>
                <a:gd name="T8" fmla="*/ 210 w 222"/>
                <a:gd name="T9" fmla="*/ 97 h 124"/>
                <a:gd name="T10" fmla="*/ 202 w 222"/>
                <a:gd name="T11" fmla="*/ 98 h 124"/>
                <a:gd name="T12" fmla="*/ 207 w 222"/>
                <a:gd name="T13" fmla="*/ 99 h 124"/>
                <a:gd name="T14" fmla="*/ 117 w 222"/>
                <a:gd name="T15" fmla="*/ 89 h 124"/>
                <a:gd name="T16" fmla="*/ 112 w 222"/>
                <a:gd name="T17" fmla="*/ 89 h 124"/>
                <a:gd name="T18" fmla="*/ 121 w 222"/>
                <a:gd name="T19" fmla="*/ 99 h 124"/>
                <a:gd name="T20" fmla="*/ 129 w 222"/>
                <a:gd name="T21" fmla="*/ 99 h 124"/>
                <a:gd name="T22" fmla="*/ 120 w 222"/>
                <a:gd name="T23" fmla="*/ 91 h 124"/>
                <a:gd name="T24" fmla="*/ 114 w 222"/>
                <a:gd name="T25" fmla="*/ 67 h 124"/>
                <a:gd name="T26" fmla="*/ 117 w 222"/>
                <a:gd name="T27" fmla="*/ 75 h 124"/>
                <a:gd name="T28" fmla="*/ 76 w 222"/>
                <a:gd name="T29" fmla="*/ 66 h 124"/>
                <a:gd name="T30" fmla="*/ 80 w 222"/>
                <a:gd name="T31" fmla="*/ 76 h 124"/>
                <a:gd name="T32" fmla="*/ 101 w 222"/>
                <a:gd name="T33" fmla="*/ 78 h 124"/>
                <a:gd name="T34" fmla="*/ 95 w 222"/>
                <a:gd name="T35" fmla="*/ 69 h 124"/>
                <a:gd name="T36" fmla="*/ 89 w 222"/>
                <a:gd name="T37" fmla="*/ 57 h 124"/>
                <a:gd name="T38" fmla="*/ 91 w 222"/>
                <a:gd name="T39" fmla="*/ 61 h 124"/>
                <a:gd name="T40" fmla="*/ 90 w 222"/>
                <a:gd name="T41" fmla="*/ 57 h 124"/>
                <a:gd name="T42" fmla="*/ 69 w 222"/>
                <a:gd name="T43" fmla="*/ 57 h 124"/>
                <a:gd name="T44" fmla="*/ 67 w 222"/>
                <a:gd name="T45" fmla="*/ 59 h 124"/>
                <a:gd name="T46" fmla="*/ 35 w 222"/>
                <a:gd name="T47" fmla="*/ 50 h 124"/>
                <a:gd name="T48" fmla="*/ 37 w 222"/>
                <a:gd name="T49" fmla="*/ 52 h 124"/>
                <a:gd name="T50" fmla="*/ 47 w 222"/>
                <a:gd name="T51" fmla="*/ 52 h 124"/>
                <a:gd name="T52" fmla="*/ 47 w 222"/>
                <a:gd name="T53" fmla="*/ 48 h 124"/>
                <a:gd name="T54" fmla="*/ 43 w 222"/>
                <a:gd name="T55" fmla="*/ 47 h 124"/>
                <a:gd name="T56" fmla="*/ 47 w 222"/>
                <a:gd name="T57" fmla="*/ 50 h 124"/>
                <a:gd name="T58" fmla="*/ 33 w 222"/>
                <a:gd name="T59" fmla="*/ 43 h 124"/>
                <a:gd name="T60" fmla="*/ 32 w 222"/>
                <a:gd name="T61" fmla="*/ 50 h 124"/>
                <a:gd name="T62" fmla="*/ 78 w 222"/>
                <a:gd name="T63" fmla="*/ 42 h 124"/>
                <a:gd name="T64" fmla="*/ 103 w 222"/>
                <a:gd name="T65" fmla="*/ 40 h 124"/>
                <a:gd name="T66" fmla="*/ 102 w 222"/>
                <a:gd name="T67" fmla="*/ 46 h 124"/>
                <a:gd name="T68" fmla="*/ 110 w 222"/>
                <a:gd name="T69" fmla="*/ 66 h 124"/>
                <a:gd name="T70" fmla="*/ 112 w 222"/>
                <a:gd name="T71" fmla="*/ 61 h 124"/>
                <a:gd name="T72" fmla="*/ 106 w 222"/>
                <a:gd name="T73" fmla="*/ 52 h 124"/>
                <a:gd name="T74" fmla="*/ 41 w 222"/>
                <a:gd name="T75" fmla="*/ 38 h 124"/>
                <a:gd name="T76" fmla="*/ 33 w 222"/>
                <a:gd name="T77" fmla="*/ 36 h 124"/>
                <a:gd name="T78" fmla="*/ 32 w 222"/>
                <a:gd name="T79" fmla="*/ 39 h 124"/>
                <a:gd name="T80" fmla="*/ 40 w 222"/>
                <a:gd name="T81" fmla="*/ 46 h 124"/>
                <a:gd name="T82" fmla="*/ 41 w 222"/>
                <a:gd name="T83" fmla="*/ 38 h 124"/>
                <a:gd name="T84" fmla="*/ 16 w 222"/>
                <a:gd name="T85" fmla="*/ 33 h 124"/>
                <a:gd name="T86" fmla="*/ 30 w 222"/>
                <a:gd name="T87" fmla="*/ 34 h 124"/>
                <a:gd name="T88" fmla="*/ 24 w 222"/>
                <a:gd name="T89" fmla="*/ 34 h 124"/>
                <a:gd name="T90" fmla="*/ 19 w 222"/>
                <a:gd name="T91" fmla="*/ 30 h 124"/>
                <a:gd name="T92" fmla="*/ 16 w 222"/>
                <a:gd name="T93" fmla="*/ 24 h 124"/>
                <a:gd name="T94" fmla="*/ 19 w 222"/>
                <a:gd name="T95" fmla="*/ 31 h 124"/>
                <a:gd name="T96" fmla="*/ 76 w 222"/>
                <a:gd name="T97" fmla="*/ 34 h 124"/>
                <a:gd name="T98" fmla="*/ 67 w 222"/>
                <a:gd name="T99" fmla="*/ 28 h 124"/>
                <a:gd name="T100" fmla="*/ 60 w 222"/>
                <a:gd name="T101" fmla="*/ 27 h 124"/>
                <a:gd name="T102" fmla="*/ 69 w 222"/>
                <a:gd name="T103" fmla="*/ 36 h 124"/>
                <a:gd name="T104" fmla="*/ 84 w 222"/>
                <a:gd name="T105" fmla="*/ 46 h 124"/>
                <a:gd name="T106" fmla="*/ 0 w 222"/>
                <a:gd name="T107" fmla="*/ 9 h 124"/>
                <a:gd name="T108" fmla="*/ 36 w 222"/>
                <a:gd name="T109" fmla="*/ 17 h 124"/>
                <a:gd name="T110" fmla="*/ 28 w 222"/>
                <a:gd name="T111" fmla="*/ 7 h 124"/>
                <a:gd name="T112" fmla="*/ 18 w 222"/>
                <a:gd name="T113" fmla="*/ 4 h 124"/>
                <a:gd name="T114" fmla="*/ 33 w 222"/>
                <a:gd name="T11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2" h="124">
                  <a:moveTo>
                    <a:pt x="222" y="121"/>
                  </a:moveTo>
                  <a:lnTo>
                    <a:pt x="222" y="120"/>
                  </a:lnTo>
                  <a:lnTo>
                    <a:pt x="221" y="118"/>
                  </a:lnTo>
                  <a:lnTo>
                    <a:pt x="220" y="118"/>
                  </a:lnTo>
                  <a:lnTo>
                    <a:pt x="219" y="119"/>
                  </a:lnTo>
                  <a:lnTo>
                    <a:pt x="220" y="121"/>
                  </a:lnTo>
                  <a:lnTo>
                    <a:pt x="220" y="121"/>
                  </a:lnTo>
                  <a:lnTo>
                    <a:pt x="222" y="121"/>
                  </a:lnTo>
                  <a:lnTo>
                    <a:pt x="222" y="121"/>
                  </a:lnTo>
                  <a:close/>
                  <a:moveTo>
                    <a:pt x="89" y="123"/>
                  </a:moveTo>
                  <a:lnTo>
                    <a:pt x="89" y="122"/>
                  </a:lnTo>
                  <a:lnTo>
                    <a:pt x="88" y="121"/>
                  </a:lnTo>
                  <a:lnTo>
                    <a:pt x="80" y="116"/>
                  </a:lnTo>
                  <a:lnTo>
                    <a:pt x="78" y="116"/>
                  </a:lnTo>
                  <a:lnTo>
                    <a:pt x="78" y="116"/>
                  </a:lnTo>
                  <a:lnTo>
                    <a:pt x="78" y="117"/>
                  </a:lnTo>
                  <a:lnTo>
                    <a:pt x="78" y="118"/>
                  </a:lnTo>
                  <a:lnTo>
                    <a:pt x="80" y="119"/>
                  </a:lnTo>
                  <a:lnTo>
                    <a:pt x="80" y="119"/>
                  </a:lnTo>
                  <a:lnTo>
                    <a:pt x="81" y="120"/>
                  </a:lnTo>
                  <a:lnTo>
                    <a:pt x="84" y="121"/>
                  </a:lnTo>
                  <a:lnTo>
                    <a:pt x="86" y="122"/>
                  </a:lnTo>
                  <a:lnTo>
                    <a:pt x="86" y="123"/>
                  </a:lnTo>
                  <a:lnTo>
                    <a:pt x="87" y="123"/>
                  </a:lnTo>
                  <a:lnTo>
                    <a:pt x="88" y="124"/>
                  </a:lnTo>
                  <a:lnTo>
                    <a:pt x="89" y="123"/>
                  </a:lnTo>
                  <a:lnTo>
                    <a:pt x="89" y="123"/>
                  </a:lnTo>
                  <a:close/>
                  <a:moveTo>
                    <a:pt x="209" y="98"/>
                  </a:moveTo>
                  <a:lnTo>
                    <a:pt x="209" y="98"/>
                  </a:lnTo>
                  <a:lnTo>
                    <a:pt x="210" y="97"/>
                  </a:lnTo>
                  <a:lnTo>
                    <a:pt x="209" y="96"/>
                  </a:lnTo>
                  <a:lnTo>
                    <a:pt x="207" y="96"/>
                  </a:lnTo>
                  <a:lnTo>
                    <a:pt x="204" y="96"/>
                  </a:lnTo>
                  <a:lnTo>
                    <a:pt x="203" y="97"/>
                  </a:lnTo>
                  <a:lnTo>
                    <a:pt x="202" y="98"/>
                  </a:lnTo>
                  <a:lnTo>
                    <a:pt x="202" y="98"/>
                  </a:lnTo>
                  <a:lnTo>
                    <a:pt x="202" y="99"/>
                  </a:lnTo>
                  <a:lnTo>
                    <a:pt x="202" y="101"/>
                  </a:lnTo>
                  <a:lnTo>
                    <a:pt x="203" y="100"/>
                  </a:lnTo>
                  <a:lnTo>
                    <a:pt x="203" y="101"/>
                  </a:lnTo>
                  <a:lnTo>
                    <a:pt x="205" y="99"/>
                  </a:lnTo>
                  <a:lnTo>
                    <a:pt x="207" y="99"/>
                  </a:lnTo>
                  <a:lnTo>
                    <a:pt x="207" y="99"/>
                  </a:lnTo>
                  <a:lnTo>
                    <a:pt x="209" y="98"/>
                  </a:lnTo>
                  <a:lnTo>
                    <a:pt x="209" y="98"/>
                  </a:lnTo>
                  <a:close/>
                  <a:moveTo>
                    <a:pt x="117" y="90"/>
                  </a:moveTo>
                  <a:lnTo>
                    <a:pt x="117" y="89"/>
                  </a:lnTo>
                  <a:lnTo>
                    <a:pt x="117" y="89"/>
                  </a:lnTo>
                  <a:lnTo>
                    <a:pt x="114" y="86"/>
                  </a:lnTo>
                  <a:lnTo>
                    <a:pt x="112" y="85"/>
                  </a:lnTo>
                  <a:lnTo>
                    <a:pt x="110" y="85"/>
                  </a:lnTo>
                  <a:lnTo>
                    <a:pt x="109" y="87"/>
                  </a:lnTo>
                  <a:lnTo>
                    <a:pt x="109" y="89"/>
                  </a:lnTo>
                  <a:lnTo>
                    <a:pt x="112" y="89"/>
                  </a:lnTo>
                  <a:lnTo>
                    <a:pt x="113" y="89"/>
                  </a:lnTo>
                  <a:lnTo>
                    <a:pt x="113" y="92"/>
                  </a:lnTo>
                  <a:lnTo>
                    <a:pt x="114" y="93"/>
                  </a:lnTo>
                  <a:lnTo>
                    <a:pt x="114" y="94"/>
                  </a:lnTo>
                  <a:lnTo>
                    <a:pt x="118" y="97"/>
                  </a:lnTo>
                  <a:lnTo>
                    <a:pt x="121" y="99"/>
                  </a:lnTo>
                  <a:lnTo>
                    <a:pt x="123" y="99"/>
                  </a:lnTo>
                  <a:lnTo>
                    <a:pt x="125" y="100"/>
                  </a:lnTo>
                  <a:lnTo>
                    <a:pt x="127" y="100"/>
                  </a:lnTo>
                  <a:lnTo>
                    <a:pt x="129" y="100"/>
                  </a:lnTo>
                  <a:lnTo>
                    <a:pt x="131" y="100"/>
                  </a:lnTo>
                  <a:lnTo>
                    <a:pt x="129" y="99"/>
                  </a:lnTo>
                  <a:lnTo>
                    <a:pt x="129" y="97"/>
                  </a:lnTo>
                  <a:lnTo>
                    <a:pt x="127" y="93"/>
                  </a:lnTo>
                  <a:lnTo>
                    <a:pt x="126" y="92"/>
                  </a:lnTo>
                  <a:lnTo>
                    <a:pt x="124" y="92"/>
                  </a:lnTo>
                  <a:lnTo>
                    <a:pt x="122" y="91"/>
                  </a:lnTo>
                  <a:lnTo>
                    <a:pt x="120" y="91"/>
                  </a:lnTo>
                  <a:lnTo>
                    <a:pt x="117" y="90"/>
                  </a:lnTo>
                  <a:lnTo>
                    <a:pt x="117" y="90"/>
                  </a:lnTo>
                  <a:close/>
                  <a:moveTo>
                    <a:pt x="117" y="72"/>
                  </a:moveTo>
                  <a:lnTo>
                    <a:pt x="114" y="66"/>
                  </a:lnTo>
                  <a:lnTo>
                    <a:pt x="114" y="66"/>
                  </a:lnTo>
                  <a:lnTo>
                    <a:pt x="114" y="67"/>
                  </a:lnTo>
                  <a:lnTo>
                    <a:pt x="114" y="69"/>
                  </a:lnTo>
                  <a:lnTo>
                    <a:pt x="114" y="71"/>
                  </a:lnTo>
                  <a:lnTo>
                    <a:pt x="114" y="73"/>
                  </a:lnTo>
                  <a:lnTo>
                    <a:pt x="114" y="74"/>
                  </a:lnTo>
                  <a:lnTo>
                    <a:pt x="115" y="73"/>
                  </a:lnTo>
                  <a:lnTo>
                    <a:pt x="117" y="75"/>
                  </a:lnTo>
                  <a:lnTo>
                    <a:pt x="117" y="74"/>
                  </a:lnTo>
                  <a:lnTo>
                    <a:pt x="117" y="72"/>
                  </a:lnTo>
                  <a:close/>
                  <a:moveTo>
                    <a:pt x="80" y="64"/>
                  </a:moveTo>
                  <a:lnTo>
                    <a:pt x="78" y="63"/>
                  </a:lnTo>
                  <a:lnTo>
                    <a:pt x="77" y="65"/>
                  </a:lnTo>
                  <a:lnTo>
                    <a:pt x="76" y="66"/>
                  </a:lnTo>
                  <a:lnTo>
                    <a:pt x="76" y="68"/>
                  </a:lnTo>
                  <a:lnTo>
                    <a:pt x="76" y="69"/>
                  </a:lnTo>
                  <a:lnTo>
                    <a:pt x="77" y="72"/>
                  </a:lnTo>
                  <a:lnTo>
                    <a:pt x="78" y="74"/>
                  </a:lnTo>
                  <a:lnTo>
                    <a:pt x="80" y="75"/>
                  </a:lnTo>
                  <a:lnTo>
                    <a:pt x="80" y="76"/>
                  </a:lnTo>
                  <a:lnTo>
                    <a:pt x="84" y="76"/>
                  </a:lnTo>
                  <a:lnTo>
                    <a:pt x="90" y="77"/>
                  </a:lnTo>
                  <a:lnTo>
                    <a:pt x="93" y="78"/>
                  </a:lnTo>
                  <a:lnTo>
                    <a:pt x="97" y="79"/>
                  </a:lnTo>
                  <a:lnTo>
                    <a:pt x="99" y="79"/>
                  </a:lnTo>
                  <a:lnTo>
                    <a:pt x="101" y="78"/>
                  </a:lnTo>
                  <a:lnTo>
                    <a:pt x="101" y="78"/>
                  </a:lnTo>
                  <a:lnTo>
                    <a:pt x="101" y="75"/>
                  </a:lnTo>
                  <a:lnTo>
                    <a:pt x="100" y="74"/>
                  </a:lnTo>
                  <a:lnTo>
                    <a:pt x="98" y="73"/>
                  </a:lnTo>
                  <a:lnTo>
                    <a:pt x="97" y="71"/>
                  </a:lnTo>
                  <a:lnTo>
                    <a:pt x="95" y="69"/>
                  </a:lnTo>
                  <a:lnTo>
                    <a:pt x="92" y="66"/>
                  </a:lnTo>
                  <a:lnTo>
                    <a:pt x="86" y="66"/>
                  </a:lnTo>
                  <a:lnTo>
                    <a:pt x="84" y="67"/>
                  </a:lnTo>
                  <a:lnTo>
                    <a:pt x="80" y="64"/>
                  </a:lnTo>
                  <a:lnTo>
                    <a:pt x="80" y="64"/>
                  </a:lnTo>
                  <a:close/>
                  <a:moveTo>
                    <a:pt x="89" y="57"/>
                  </a:moveTo>
                  <a:lnTo>
                    <a:pt x="88" y="57"/>
                  </a:lnTo>
                  <a:lnTo>
                    <a:pt x="88" y="59"/>
                  </a:lnTo>
                  <a:lnTo>
                    <a:pt x="89" y="59"/>
                  </a:lnTo>
                  <a:lnTo>
                    <a:pt x="90" y="60"/>
                  </a:lnTo>
                  <a:lnTo>
                    <a:pt x="91" y="61"/>
                  </a:lnTo>
                  <a:lnTo>
                    <a:pt x="91" y="61"/>
                  </a:lnTo>
                  <a:lnTo>
                    <a:pt x="91" y="61"/>
                  </a:lnTo>
                  <a:lnTo>
                    <a:pt x="93" y="61"/>
                  </a:lnTo>
                  <a:lnTo>
                    <a:pt x="94" y="60"/>
                  </a:lnTo>
                  <a:lnTo>
                    <a:pt x="92" y="58"/>
                  </a:lnTo>
                  <a:lnTo>
                    <a:pt x="91" y="57"/>
                  </a:lnTo>
                  <a:lnTo>
                    <a:pt x="90" y="57"/>
                  </a:lnTo>
                  <a:lnTo>
                    <a:pt x="89" y="57"/>
                  </a:lnTo>
                  <a:lnTo>
                    <a:pt x="89" y="57"/>
                  </a:lnTo>
                  <a:close/>
                  <a:moveTo>
                    <a:pt x="69" y="60"/>
                  </a:moveTo>
                  <a:lnTo>
                    <a:pt x="70" y="59"/>
                  </a:lnTo>
                  <a:lnTo>
                    <a:pt x="70" y="57"/>
                  </a:lnTo>
                  <a:lnTo>
                    <a:pt x="69" y="57"/>
                  </a:lnTo>
                  <a:lnTo>
                    <a:pt x="68" y="57"/>
                  </a:lnTo>
                  <a:lnTo>
                    <a:pt x="67" y="57"/>
                  </a:lnTo>
                  <a:lnTo>
                    <a:pt x="66" y="57"/>
                  </a:lnTo>
                  <a:lnTo>
                    <a:pt x="65" y="59"/>
                  </a:lnTo>
                  <a:lnTo>
                    <a:pt x="66" y="59"/>
                  </a:lnTo>
                  <a:lnTo>
                    <a:pt x="67" y="59"/>
                  </a:lnTo>
                  <a:lnTo>
                    <a:pt x="68" y="60"/>
                  </a:lnTo>
                  <a:lnTo>
                    <a:pt x="69" y="60"/>
                  </a:lnTo>
                  <a:lnTo>
                    <a:pt x="69" y="60"/>
                  </a:lnTo>
                  <a:close/>
                  <a:moveTo>
                    <a:pt x="37" y="52"/>
                  </a:moveTo>
                  <a:lnTo>
                    <a:pt x="37" y="51"/>
                  </a:lnTo>
                  <a:lnTo>
                    <a:pt x="35" y="50"/>
                  </a:lnTo>
                  <a:lnTo>
                    <a:pt x="35" y="50"/>
                  </a:lnTo>
                  <a:lnTo>
                    <a:pt x="33" y="50"/>
                  </a:lnTo>
                  <a:lnTo>
                    <a:pt x="33" y="51"/>
                  </a:lnTo>
                  <a:lnTo>
                    <a:pt x="35" y="52"/>
                  </a:lnTo>
                  <a:lnTo>
                    <a:pt x="37" y="52"/>
                  </a:lnTo>
                  <a:lnTo>
                    <a:pt x="37" y="52"/>
                  </a:lnTo>
                  <a:lnTo>
                    <a:pt x="37" y="52"/>
                  </a:lnTo>
                  <a:close/>
                  <a:moveTo>
                    <a:pt x="48" y="52"/>
                  </a:moveTo>
                  <a:lnTo>
                    <a:pt x="50" y="52"/>
                  </a:lnTo>
                  <a:lnTo>
                    <a:pt x="49" y="52"/>
                  </a:lnTo>
                  <a:lnTo>
                    <a:pt x="49" y="50"/>
                  </a:lnTo>
                  <a:lnTo>
                    <a:pt x="47" y="52"/>
                  </a:lnTo>
                  <a:lnTo>
                    <a:pt x="48" y="52"/>
                  </a:lnTo>
                  <a:lnTo>
                    <a:pt x="48" y="52"/>
                  </a:lnTo>
                  <a:close/>
                  <a:moveTo>
                    <a:pt x="47" y="50"/>
                  </a:moveTo>
                  <a:lnTo>
                    <a:pt x="47" y="49"/>
                  </a:lnTo>
                  <a:lnTo>
                    <a:pt x="47" y="48"/>
                  </a:lnTo>
                  <a:lnTo>
                    <a:pt x="47" y="48"/>
                  </a:lnTo>
                  <a:lnTo>
                    <a:pt x="47" y="46"/>
                  </a:lnTo>
                  <a:lnTo>
                    <a:pt x="47" y="46"/>
                  </a:lnTo>
                  <a:lnTo>
                    <a:pt x="45" y="45"/>
                  </a:lnTo>
                  <a:lnTo>
                    <a:pt x="45" y="46"/>
                  </a:lnTo>
                  <a:lnTo>
                    <a:pt x="44" y="46"/>
                  </a:lnTo>
                  <a:lnTo>
                    <a:pt x="43" y="47"/>
                  </a:lnTo>
                  <a:lnTo>
                    <a:pt x="43" y="47"/>
                  </a:lnTo>
                  <a:lnTo>
                    <a:pt x="43" y="49"/>
                  </a:lnTo>
                  <a:lnTo>
                    <a:pt x="43" y="51"/>
                  </a:lnTo>
                  <a:lnTo>
                    <a:pt x="45" y="52"/>
                  </a:lnTo>
                  <a:lnTo>
                    <a:pt x="47" y="50"/>
                  </a:lnTo>
                  <a:lnTo>
                    <a:pt x="47" y="50"/>
                  </a:lnTo>
                  <a:close/>
                  <a:moveTo>
                    <a:pt x="32" y="50"/>
                  </a:moveTo>
                  <a:lnTo>
                    <a:pt x="31" y="49"/>
                  </a:lnTo>
                  <a:lnTo>
                    <a:pt x="32" y="47"/>
                  </a:lnTo>
                  <a:lnTo>
                    <a:pt x="32" y="46"/>
                  </a:lnTo>
                  <a:lnTo>
                    <a:pt x="33" y="44"/>
                  </a:lnTo>
                  <a:lnTo>
                    <a:pt x="33" y="43"/>
                  </a:lnTo>
                  <a:lnTo>
                    <a:pt x="32" y="43"/>
                  </a:lnTo>
                  <a:lnTo>
                    <a:pt x="29" y="46"/>
                  </a:lnTo>
                  <a:lnTo>
                    <a:pt x="29" y="47"/>
                  </a:lnTo>
                  <a:lnTo>
                    <a:pt x="31" y="50"/>
                  </a:lnTo>
                  <a:lnTo>
                    <a:pt x="32" y="51"/>
                  </a:lnTo>
                  <a:lnTo>
                    <a:pt x="32" y="50"/>
                  </a:lnTo>
                  <a:lnTo>
                    <a:pt x="32" y="50"/>
                  </a:lnTo>
                  <a:close/>
                  <a:moveTo>
                    <a:pt x="80" y="45"/>
                  </a:moveTo>
                  <a:lnTo>
                    <a:pt x="80" y="44"/>
                  </a:lnTo>
                  <a:lnTo>
                    <a:pt x="80" y="43"/>
                  </a:lnTo>
                  <a:lnTo>
                    <a:pt x="78" y="42"/>
                  </a:lnTo>
                  <a:lnTo>
                    <a:pt x="78" y="42"/>
                  </a:lnTo>
                  <a:lnTo>
                    <a:pt x="77" y="44"/>
                  </a:lnTo>
                  <a:lnTo>
                    <a:pt x="78" y="44"/>
                  </a:lnTo>
                  <a:lnTo>
                    <a:pt x="79" y="46"/>
                  </a:lnTo>
                  <a:lnTo>
                    <a:pt x="80" y="45"/>
                  </a:lnTo>
                  <a:lnTo>
                    <a:pt x="80" y="45"/>
                  </a:lnTo>
                  <a:close/>
                  <a:moveTo>
                    <a:pt x="103" y="40"/>
                  </a:moveTo>
                  <a:lnTo>
                    <a:pt x="103" y="40"/>
                  </a:lnTo>
                  <a:lnTo>
                    <a:pt x="102" y="41"/>
                  </a:lnTo>
                  <a:lnTo>
                    <a:pt x="101" y="41"/>
                  </a:lnTo>
                  <a:lnTo>
                    <a:pt x="100" y="41"/>
                  </a:lnTo>
                  <a:lnTo>
                    <a:pt x="100" y="42"/>
                  </a:lnTo>
                  <a:lnTo>
                    <a:pt x="102" y="46"/>
                  </a:lnTo>
                  <a:lnTo>
                    <a:pt x="101" y="48"/>
                  </a:lnTo>
                  <a:lnTo>
                    <a:pt x="103" y="56"/>
                  </a:lnTo>
                  <a:lnTo>
                    <a:pt x="103" y="61"/>
                  </a:lnTo>
                  <a:lnTo>
                    <a:pt x="106" y="64"/>
                  </a:lnTo>
                  <a:lnTo>
                    <a:pt x="106" y="65"/>
                  </a:lnTo>
                  <a:lnTo>
                    <a:pt x="110" y="66"/>
                  </a:lnTo>
                  <a:lnTo>
                    <a:pt x="112" y="71"/>
                  </a:lnTo>
                  <a:lnTo>
                    <a:pt x="113" y="71"/>
                  </a:lnTo>
                  <a:lnTo>
                    <a:pt x="113" y="70"/>
                  </a:lnTo>
                  <a:lnTo>
                    <a:pt x="113" y="68"/>
                  </a:lnTo>
                  <a:lnTo>
                    <a:pt x="111" y="65"/>
                  </a:lnTo>
                  <a:lnTo>
                    <a:pt x="112" y="61"/>
                  </a:lnTo>
                  <a:lnTo>
                    <a:pt x="111" y="60"/>
                  </a:lnTo>
                  <a:lnTo>
                    <a:pt x="111" y="59"/>
                  </a:lnTo>
                  <a:lnTo>
                    <a:pt x="110" y="56"/>
                  </a:lnTo>
                  <a:lnTo>
                    <a:pt x="108" y="53"/>
                  </a:lnTo>
                  <a:lnTo>
                    <a:pt x="106" y="53"/>
                  </a:lnTo>
                  <a:lnTo>
                    <a:pt x="106" y="52"/>
                  </a:lnTo>
                  <a:lnTo>
                    <a:pt x="106" y="50"/>
                  </a:lnTo>
                  <a:lnTo>
                    <a:pt x="107" y="49"/>
                  </a:lnTo>
                  <a:lnTo>
                    <a:pt x="108" y="48"/>
                  </a:lnTo>
                  <a:lnTo>
                    <a:pt x="103" y="40"/>
                  </a:lnTo>
                  <a:lnTo>
                    <a:pt x="103" y="40"/>
                  </a:lnTo>
                  <a:close/>
                  <a:moveTo>
                    <a:pt x="41" y="38"/>
                  </a:moveTo>
                  <a:lnTo>
                    <a:pt x="39" y="38"/>
                  </a:lnTo>
                  <a:lnTo>
                    <a:pt x="38" y="37"/>
                  </a:lnTo>
                  <a:lnTo>
                    <a:pt x="38" y="33"/>
                  </a:lnTo>
                  <a:lnTo>
                    <a:pt x="35" y="32"/>
                  </a:lnTo>
                  <a:lnTo>
                    <a:pt x="34" y="33"/>
                  </a:lnTo>
                  <a:lnTo>
                    <a:pt x="33" y="36"/>
                  </a:lnTo>
                  <a:lnTo>
                    <a:pt x="32" y="37"/>
                  </a:lnTo>
                  <a:lnTo>
                    <a:pt x="30" y="38"/>
                  </a:lnTo>
                  <a:lnTo>
                    <a:pt x="30" y="39"/>
                  </a:lnTo>
                  <a:lnTo>
                    <a:pt x="30" y="40"/>
                  </a:lnTo>
                  <a:lnTo>
                    <a:pt x="31" y="41"/>
                  </a:lnTo>
                  <a:lnTo>
                    <a:pt x="32" y="39"/>
                  </a:lnTo>
                  <a:lnTo>
                    <a:pt x="35" y="39"/>
                  </a:lnTo>
                  <a:lnTo>
                    <a:pt x="36" y="39"/>
                  </a:lnTo>
                  <a:lnTo>
                    <a:pt x="36" y="41"/>
                  </a:lnTo>
                  <a:lnTo>
                    <a:pt x="37" y="44"/>
                  </a:lnTo>
                  <a:lnTo>
                    <a:pt x="38" y="45"/>
                  </a:lnTo>
                  <a:lnTo>
                    <a:pt x="40" y="46"/>
                  </a:lnTo>
                  <a:lnTo>
                    <a:pt x="41" y="48"/>
                  </a:lnTo>
                  <a:lnTo>
                    <a:pt x="42" y="47"/>
                  </a:lnTo>
                  <a:lnTo>
                    <a:pt x="43" y="47"/>
                  </a:lnTo>
                  <a:lnTo>
                    <a:pt x="43" y="45"/>
                  </a:lnTo>
                  <a:lnTo>
                    <a:pt x="42" y="40"/>
                  </a:lnTo>
                  <a:lnTo>
                    <a:pt x="41" y="38"/>
                  </a:lnTo>
                  <a:lnTo>
                    <a:pt x="41" y="38"/>
                  </a:lnTo>
                  <a:close/>
                  <a:moveTo>
                    <a:pt x="17" y="38"/>
                  </a:moveTo>
                  <a:lnTo>
                    <a:pt x="17" y="36"/>
                  </a:lnTo>
                  <a:lnTo>
                    <a:pt x="17" y="32"/>
                  </a:lnTo>
                  <a:lnTo>
                    <a:pt x="16" y="33"/>
                  </a:lnTo>
                  <a:lnTo>
                    <a:pt x="16" y="33"/>
                  </a:lnTo>
                  <a:lnTo>
                    <a:pt x="16" y="35"/>
                  </a:lnTo>
                  <a:lnTo>
                    <a:pt x="17" y="38"/>
                  </a:lnTo>
                  <a:lnTo>
                    <a:pt x="17" y="38"/>
                  </a:lnTo>
                  <a:close/>
                  <a:moveTo>
                    <a:pt x="29" y="36"/>
                  </a:moveTo>
                  <a:lnTo>
                    <a:pt x="30" y="35"/>
                  </a:lnTo>
                  <a:lnTo>
                    <a:pt x="30" y="34"/>
                  </a:lnTo>
                  <a:lnTo>
                    <a:pt x="30" y="32"/>
                  </a:lnTo>
                  <a:lnTo>
                    <a:pt x="29" y="30"/>
                  </a:lnTo>
                  <a:lnTo>
                    <a:pt x="28" y="29"/>
                  </a:lnTo>
                  <a:lnTo>
                    <a:pt x="26" y="30"/>
                  </a:lnTo>
                  <a:lnTo>
                    <a:pt x="24" y="32"/>
                  </a:lnTo>
                  <a:lnTo>
                    <a:pt x="24" y="34"/>
                  </a:lnTo>
                  <a:lnTo>
                    <a:pt x="26" y="36"/>
                  </a:lnTo>
                  <a:lnTo>
                    <a:pt x="28" y="36"/>
                  </a:lnTo>
                  <a:lnTo>
                    <a:pt x="29" y="36"/>
                  </a:lnTo>
                  <a:lnTo>
                    <a:pt x="29" y="36"/>
                  </a:lnTo>
                  <a:close/>
                  <a:moveTo>
                    <a:pt x="19" y="31"/>
                  </a:moveTo>
                  <a:lnTo>
                    <a:pt x="19" y="30"/>
                  </a:lnTo>
                  <a:lnTo>
                    <a:pt x="21" y="27"/>
                  </a:lnTo>
                  <a:lnTo>
                    <a:pt x="22" y="26"/>
                  </a:lnTo>
                  <a:lnTo>
                    <a:pt x="20" y="25"/>
                  </a:lnTo>
                  <a:lnTo>
                    <a:pt x="19" y="24"/>
                  </a:lnTo>
                  <a:lnTo>
                    <a:pt x="17" y="24"/>
                  </a:lnTo>
                  <a:lnTo>
                    <a:pt x="16" y="24"/>
                  </a:lnTo>
                  <a:lnTo>
                    <a:pt x="16" y="26"/>
                  </a:lnTo>
                  <a:lnTo>
                    <a:pt x="18" y="28"/>
                  </a:lnTo>
                  <a:lnTo>
                    <a:pt x="18" y="30"/>
                  </a:lnTo>
                  <a:lnTo>
                    <a:pt x="19" y="30"/>
                  </a:lnTo>
                  <a:lnTo>
                    <a:pt x="19" y="32"/>
                  </a:lnTo>
                  <a:lnTo>
                    <a:pt x="19" y="31"/>
                  </a:lnTo>
                  <a:lnTo>
                    <a:pt x="19" y="31"/>
                  </a:lnTo>
                  <a:close/>
                  <a:moveTo>
                    <a:pt x="84" y="46"/>
                  </a:moveTo>
                  <a:lnTo>
                    <a:pt x="84" y="44"/>
                  </a:lnTo>
                  <a:lnTo>
                    <a:pt x="83" y="42"/>
                  </a:lnTo>
                  <a:lnTo>
                    <a:pt x="84" y="40"/>
                  </a:lnTo>
                  <a:lnTo>
                    <a:pt x="76" y="34"/>
                  </a:lnTo>
                  <a:lnTo>
                    <a:pt x="75" y="33"/>
                  </a:lnTo>
                  <a:lnTo>
                    <a:pt x="74" y="33"/>
                  </a:lnTo>
                  <a:lnTo>
                    <a:pt x="72" y="31"/>
                  </a:lnTo>
                  <a:lnTo>
                    <a:pt x="70" y="31"/>
                  </a:lnTo>
                  <a:lnTo>
                    <a:pt x="68" y="29"/>
                  </a:lnTo>
                  <a:lnTo>
                    <a:pt x="67" y="28"/>
                  </a:lnTo>
                  <a:lnTo>
                    <a:pt x="65" y="26"/>
                  </a:lnTo>
                  <a:lnTo>
                    <a:pt x="62" y="24"/>
                  </a:lnTo>
                  <a:lnTo>
                    <a:pt x="57" y="23"/>
                  </a:lnTo>
                  <a:lnTo>
                    <a:pt x="58" y="24"/>
                  </a:lnTo>
                  <a:lnTo>
                    <a:pt x="59" y="24"/>
                  </a:lnTo>
                  <a:lnTo>
                    <a:pt x="60" y="27"/>
                  </a:lnTo>
                  <a:lnTo>
                    <a:pt x="61" y="29"/>
                  </a:lnTo>
                  <a:lnTo>
                    <a:pt x="63" y="31"/>
                  </a:lnTo>
                  <a:lnTo>
                    <a:pt x="63" y="31"/>
                  </a:lnTo>
                  <a:lnTo>
                    <a:pt x="64" y="32"/>
                  </a:lnTo>
                  <a:lnTo>
                    <a:pt x="66" y="34"/>
                  </a:lnTo>
                  <a:lnTo>
                    <a:pt x="69" y="36"/>
                  </a:lnTo>
                  <a:lnTo>
                    <a:pt x="72" y="38"/>
                  </a:lnTo>
                  <a:lnTo>
                    <a:pt x="73" y="38"/>
                  </a:lnTo>
                  <a:lnTo>
                    <a:pt x="75" y="39"/>
                  </a:lnTo>
                  <a:lnTo>
                    <a:pt x="80" y="42"/>
                  </a:lnTo>
                  <a:lnTo>
                    <a:pt x="82" y="44"/>
                  </a:lnTo>
                  <a:lnTo>
                    <a:pt x="84" y="46"/>
                  </a:lnTo>
                  <a:lnTo>
                    <a:pt x="84" y="46"/>
                  </a:lnTo>
                  <a:lnTo>
                    <a:pt x="84" y="46"/>
                  </a:lnTo>
                  <a:close/>
                  <a:moveTo>
                    <a:pt x="3" y="11"/>
                  </a:moveTo>
                  <a:lnTo>
                    <a:pt x="4" y="10"/>
                  </a:lnTo>
                  <a:lnTo>
                    <a:pt x="1" y="9"/>
                  </a:lnTo>
                  <a:lnTo>
                    <a:pt x="0" y="9"/>
                  </a:lnTo>
                  <a:lnTo>
                    <a:pt x="0" y="11"/>
                  </a:lnTo>
                  <a:lnTo>
                    <a:pt x="1" y="12"/>
                  </a:lnTo>
                  <a:lnTo>
                    <a:pt x="3" y="11"/>
                  </a:lnTo>
                  <a:lnTo>
                    <a:pt x="3" y="11"/>
                  </a:lnTo>
                  <a:close/>
                  <a:moveTo>
                    <a:pt x="37" y="17"/>
                  </a:moveTo>
                  <a:lnTo>
                    <a:pt x="36" y="17"/>
                  </a:lnTo>
                  <a:lnTo>
                    <a:pt x="35" y="17"/>
                  </a:lnTo>
                  <a:lnTo>
                    <a:pt x="33" y="16"/>
                  </a:lnTo>
                  <a:lnTo>
                    <a:pt x="32" y="13"/>
                  </a:lnTo>
                  <a:lnTo>
                    <a:pt x="31" y="12"/>
                  </a:lnTo>
                  <a:lnTo>
                    <a:pt x="30" y="9"/>
                  </a:lnTo>
                  <a:lnTo>
                    <a:pt x="28" y="7"/>
                  </a:lnTo>
                  <a:lnTo>
                    <a:pt x="23" y="4"/>
                  </a:lnTo>
                  <a:lnTo>
                    <a:pt x="20" y="1"/>
                  </a:lnTo>
                  <a:lnTo>
                    <a:pt x="18" y="0"/>
                  </a:lnTo>
                  <a:lnTo>
                    <a:pt x="17" y="1"/>
                  </a:lnTo>
                  <a:lnTo>
                    <a:pt x="17" y="3"/>
                  </a:lnTo>
                  <a:lnTo>
                    <a:pt x="18" y="4"/>
                  </a:lnTo>
                  <a:lnTo>
                    <a:pt x="21" y="7"/>
                  </a:lnTo>
                  <a:lnTo>
                    <a:pt x="25" y="13"/>
                  </a:lnTo>
                  <a:lnTo>
                    <a:pt x="29" y="17"/>
                  </a:lnTo>
                  <a:lnTo>
                    <a:pt x="32" y="18"/>
                  </a:lnTo>
                  <a:lnTo>
                    <a:pt x="33" y="18"/>
                  </a:lnTo>
                  <a:lnTo>
                    <a:pt x="33" y="18"/>
                  </a:lnTo>
                  <a:lnTo>
                    <a:pt x="33" y="19"/>
                  </a:lnTo>
                  <a:lnTo>
                    <a:pt x="35" y="20"/>
                  </a:lnTo>
                  <a:lnTo>
                    <a:pt x="37" y="18"/>
                  </a:lnTo>
                  <a:lnTo>
                    <a:pt x="37" y="17"/>
                  </a:lnTo>
                  <a:lnTo>
                    <a:pt x="37" y="1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8" name="Sao Tome and Principe"/>
            <p:cNvSpPr>
              <a:spLocks noEditPoints="1"/>
            </p:cNvSpPr>
            <p:nvPr/>
          </p:nvSpPr>
          <p:spPr bwMode="auto">
            <a:xfrm>
              <a:off x="6216650" y="4419601"/>
              <a:ext cx="31750" cy="61913"/>
            </a:xfrm>
            <a:custGeom>
              <a:avLst/>
              <a:gdLst>
                <a:gd name="T0" fmla="*/ 4 w 20"/>
                <a:gd name="T1" fmla="*/ 37 h 39"/>
                <a:gd name="T2" fmla="*/ 5 w 20"/>
                <a:gd name="T3" fmla="*/ 34 h 39"/>
                <a:gd name="T4" fmla="*/ 5 w 20"/>
                <a:gd name="T5" fmla="*/ 32 h 39"/>
                <a:gd name="T6" fmla="*/ 4 w 20"/>
                <a:gd name="T7" fmla="*/ 30 h 39"/>
                <a:gd name="T8" fmla="*/ 4 w 20"/>
                <a:gd name="T9" fmla="*/ 30 h 39"/>
                <a:gd name="T10" fmla="*/ 2 w 20"/>
                <a:gd name="T11" fmla="*/ 32 h 39"/>
                <a:gd name="T12" fmla="*/ 0 w 20"/>
                <a:gd name="T13" fmla="*/ 34 h 39"/>
                <a:gd name="T14" fmla="*/ 0 w 20"/>
                <a:gd name="T15" fmla="*/ 35 h 39"/>
                <a:gd name="T16" fmla="*/ 1 w 20"/>
                <a:gd name="T17" fmla="*/ 37 h 39"/>
                <a:gd name="T18" fmla="*/ 1 w 20"/>
                <a:gd name="T19" fmla="*/ 38 h 39"/>
                <a:gd name="T20" fmla="*/ 2 w 20"/>
                <a:gd name="T21" fmla="*/ 39 h 39"/>
                <a:gd name="T22" fmla="*/ 4 w 20"/>
                <a:gd name="T23" fmla="*/ 37 h 39"/>
                <a:gd name="T24" fmla="*/ 4 w 20"/>
                <a:gd name="T25" fmla="*/ 37 h 39"/>
                <a:gd name="T26" fmla="*/ 20 w 20"/>
                <a:gd name="T27" fmla="*/ 3 h 39"/>
                <a:gd name="T28" fmla="*/ 20 w 20"/>
                <a:gd name="T29" fmla="*/ 1 h 39"/>
                <a:gd name="T30" fmla="*/ 20 w 20"/>
                <a:gd name="T31" fmla="*/ 0 h 39"/>
                <a:gd name="T32" fmla="*/ 20 w 20"/>
                <a:gd name="T33" fmla="*/ 0 h 39"/>
                <a:gd name="T34" fmla="*/ 20 w 20"/>
                <a:gd name="T35" fmla="*/ 0 h 39"/>
                <a:gd name="T36" fmla="*/ 19 w 20"/>
                <a:gd name="T37" fmla="*/ 0 h 39"/>
                <a:gd name="T38" fmla="*/ 18 w 20"/>
                <a:gd name="T39" fmla="*/ 2 h 39"/>
                <a:gd name="T40" fmla="*/ 18 w 20"/>
                <a:gd name="T41" fmla="*/ 3 h 39"/>
                <a:gd name="T42" fmla="*/ 19 w 20"/>
                <a:gd name="T43" fmla="*/ 4 h 39"/>
                <a:gd name="T44" fmla="*/ 20 w 20"/>
                <a:gd name="T45" fmla="*/ 3 h 39"/>
                <a:gd name="T46" fmla="*/ 20 w 20"/>
                <a:gd name="T4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9">
                  <a:moveTo>
                    <a:pt x="4" y="37"/>
                  </a:moveTo>
                  <a:lnTo>
                    <a:pt x="5" y="34"/>
                  </a:lnTo>
                  <a:lnTo>
                    <a:pt x="5" y="32"/>
                  </a:lnTo>
                  <a:lnTo>
                    <a:pt x="4" y="30"/>
                  </a:lnTo>
                  <a:lnTo>
                    <a:pt x="4" y="30"/>
                  </a:lnTo>
                  <a:lnTo>
                    <a:pt x="2" y="32"/>
                  </a:lnTo>
                  <a:lnTo>
                    <a:pt x="0" y="34"/>
                  </a:lnTo>
                  <a:lnTo>
                    <a:pt x="0" y="35"/>
                  </a:lnTo>
                  <a:lnTo>
                    <a:pt x="1" y="37"/>
                  </a:lnTo>
                  <a:lnTo>
                    <a:pt x="1" y="38"/>
                  </a:lnTo>
                  <a:lnTo>
                    <a:pt x="2" y="39"/>
                  </a:lnTo>
                  <a:lnTo>
                    <a:pt x="4" y="37"/>
                  </a:lnTo>
                  <a:lnTo>
                    <a:pt x="4" y="37"/>
                  </a:lnTo>
                  <a:close/>
                  <a:moveTo>
                    <a:pt x="20" y="3"/>
                  </a:moveTo>
                  <a:lnTo>
                    <a:pt x="20" y="1"/>
                  </a:lnTo>
                  <a:lnTo>
                    <a:pt x="20" y="0"/>
                  </a:lnTo>
                  <a:lnTo>
                    <a:pt x="20" y="0"/>
                  </a:lnTo>
                  <a:lnTo>
                    <a:pt x="20" y="0"/>
                  </a:lnTo>
                  <a:lnTo>
                    <a:pt x="19" y="0"/>
                  </a:lnTo>
                  <a:lnTo>
                    <a:pt x="18" y="2"/>
                  </a:lnTo>
                  <a:lnTo>
                    <a:pt x="18" y="3"/>
                  </a:lnTo>
                  <a:lnTo>
                    <a:pt x="19" y="4"/>
                  </a:lnTo>
                  <a:lnTo>
                    <a:pt x="20" y="3"/>
                  </a:lnTo>
                  <a:lnTo>
                    <a:pt x="20"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99" name="Anguilla"/>
            <p:cNvGrpSpPr/>
            <p:nvPr/>
          </p:nvGrpSpPr>
          <p:grpSpPr>
            <a:xfrm>
              <a:off x="3927475" y="3794126"/>
              <a:ext cx="6350" cy="9525"/>
              <a:chOff x="3927475" y="3794126"/>
              <a:chExt cx="6350" cy="9525"/>
            </a:xfrm>
            <a:grpFill/>
          </p:grpSpPr>
          <p:sp>
            <p:nvSpPr>
              <p:cNvPr id="218" name="Freeform 2013"/>
              <p:cNvSpPr>
                <a:spLocks/>
              </p:cNvSpPr>
              <p:nvPr/>
            </p:nvSpPr>
            <p:spPr bwMode="auto">
              <a:xfrm>
                <a:off x="3927475" y="3794126"/>
                <a:ext cx="6350" cy="3175"/>
              </a:xfrm>
              <a:custGeom>
                <a:avLst/>
                <a:gdLst>
                  <a:gd name="T0" fmla="*/ 4 w 4"/>
                  <a:gd name="T1" fmla="*/ 1 h 2"/>
                  <a:gd name="T2" fmla="*/ 4 w 4"/>
                  <a:gd name="T3" fmla="*/ 0 h 2"/>
                  <a:gd name="T4" fmla="*/ 3 w 4"/>
                  <a:gd name="T5" fmla="*/ 0 h 2"/>
                  <a:gd name="T6" fmla="*/ 0 w 4"/>
                  <a:gd name="T7" fmla="*/ 2 h 2"/>
                  <a:gd name="T8" fmla="*/ 0 w 4"/>
                  <a:gd name="T9" fmla="*/ 2 h 2"/>
                  <a:gd name="T10" fmla="*/ 4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4" y="1"/>
                    </a:moveTo>
                    <a:lnTo>
                      <a:pt x="4" y="0"/>
                    </a:lnTo>
                    <a:lnTo>
                      <a:pt x="3" y="0"/>
                    </a:lnTo>
                    <a:lnTo>
                      <a:pt x="0" y="2"/>
                    </a:lnTo>
                    <a:lnTo>
                      <a:pt x="0" y="2"/>
                    </a:lnTo>
                    <a:lnTo>
                      <a:pt x="4"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9" name="Freeform 202"/>
              <p:cNvSpPr>
                <a:spLocks/>
              </p:cNvSpPr>
              <p:nvPr/>
            </p:nvSpPr>
            <p:spPr bwMode="auto">
              <a:xfrm>
                <a:off x="3927475" y="3802063"/>
                <a:ext cx="4762" cy="1588"/>
              </a:xfrm>
              <a:custGeom>
                <a:avLst/>
                <a:gdLst>
                  <a:gd name="T0" fmla="*/ 0 w 3"/>
                  <a:gd name="T1" fmla="*/ 0 h 1"/>
                  <a:gd name="T2" fmla="*/ 0 w 3"/>
                  <a:gd name="T3" fmla="*/ 0 h 1"/>
                  <a:gd name="T4" fmla="*/ 1 w 3"/>
                  <a:gd name="T5" fmla="*/ 1 h 1"/>
                  <a:gd name="T6" fmla="*/ 2 w 3"/>
                  <a:gd name="T7" fmla="*/ 1 h 1"/>
                  <a:gd name="T8" fmla="*/ 3 w 3"/>
                  <a:gd name="T9" fmla="*/ 1 h 1"/>
                  <a:gd name="T10" fmla="*/ 3 w 3"/>
                  <a:gd name="T11" fmla="*/ 0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lnTo>
                      <a:pt x="0" y="0"/>
                    </a:lnTo>
                    <a:lnTo>
                      <a:pt x="1" y="1"/>
                    </a:lnTo>
                    <a:lnTo>
                      <a:pt x="2" y="1"/>
                    </a:lnTo>
                    <a:lnTo>
                      <a:pt x="3" y="1"/>
                    </a:lnTo>
                    <a:lnTo>
                      <a:pt x="3" y="0"/>
                    </a:lnTo>
                    <a:lnTo>
                      <a:pt x="0"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0" name="Seychelles"/>
            <p:cNvSpPr>
              <a:spLocks/>
            </p:cNvSpPr>
            <p:nvPr/>
          </p:nvSpPr>
          <p:spPr bwMode="auto">
            <a:xfrm>
              <a:off x="7843837" y="4656138"/>
              <a:ext cx="6350" cy="6350"/>
            </a:xfrm>
            <a:custGeom>
              <a:avLst/>
              <a:gdLst>
                <a:gd name="T0" fmla="*/ 4 w 4"/>
                <a:gd name="T1" fmla="*/ 2 h 4"/>
                <a:gd name="T2" fmla="*/ 2 w 4"/>
                <a:gd name="T3" fmla="*/ 0 h 4"/>
                <a:gd name="T4" fmla="*/ 0 w 4"/>
                <a:gd name="T5" fmla="*/ 1 h 4"/>
                <a:gd name="T6" fmla="*/ 1 w 4"/>
                <a:gd name="T7" fmla="*/ 1 h 4"/>
                <a:gd name="T8" fmla="*/ 2 w 4"/>
                <a:gd name="T9" fmla="*/ 2 h 4"/>
                <a:gd name="T10" fmla="*/ 3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0" y="1"/>
                  </a:lnTo>
                  <a:lnTo>
                    <a:pt x="1" y="1"/>
                  </a:lnTo>
                  <a:lnTo>
                    <a:pt x="2" y="2"/>
                  </a:lnTo>
                  <a:lnTo>
                    <a:pt x="3" y="4"/>
                  </a:lnTo>
                  <a:lnTo>
                    <a:pt x="4" y="4"/>
                  </a:lnTo>
                  <a:lnTo>
                    <a:pt x="4" y="2"/>
                  </a:lnTo>
                  <a:lnTo>
                    <a:pt x="4"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1" name="Turks and Caicos Islands"/>
            <p:cNvSpPr>
              <a:spLocks noEditPoints="1"/>
            </p:cNvSpPr>
            <p:nvPr/>
          </p:nvSpPr>
          <p:spPr bwMode="auto">
            <a:xfrm>
              <a:off x="3640137" y="3654426"/>
              <a:ext cx="23812" cy="7938"/>
            </a:xfrm>
            <a:custGeom>
              <a:avLst/>
              <a:gdLst>
                <a:gd name="T0" fmla="*/ 1 w 15"/>
                <a:gd name="T1" fmla="*/ 2 h 5"/>
                <a:gd name="T2" fmla="*/ 0 w 15"/>
                <a:gd name="T3" fmla="*/ 4 h 5"/>
                <a:gd name="T4" fmla="*/ 0 w 15"/>
                <a:gd name="T5" fmla="*/ 5 h 5"/>
                <a:gd name="T6" fmla="*/ 1 w 15"/>
                <a:gd name="T7" fmla="*/ 5 h 5"/>
                <a:gd name="T8" fmla="*/ 4 w 15"/>
                <a:gd name="T9" fmla="*/ 5 h 5"/>
                <a:gd name="T10" fmla="*/ 4 w 15"/>
                <a:gd name="T11" fmla="*/ 4 h 5"/>
                <a:gd name="T12" fmla="*/ 5 w 15"/>
                <a:gd name="T13" fmla="*/ 4 h 5"/>
                <a:gd name="T14" fmla="*/ 5 w 15"/>
                <a:gd name="T15" fmla="*/ 4 h 5"/>
                <a:gd name="T16" fmla="*/ 3 w 15"/>
                <a:gd name="T17" fmla="*/ 4 h 5"/>
                <a:gd name="T18" fmla="*/ 1 w 15"/>
                <a:gd name="T19" fmla="*/ 2 h 5"/>
                <a:gd name="T20" fmla="*/ 14 w 15"/>
                <a:gd name="T21" fmla="*/ 5 h 5"/>
                <a:gd name="T22" fmla="*/ 15 w 15"/>
                <a:gd name="T23" fmla="*/ 4 h 5"/>
                <a:gd name="T24" fmla="*/ 14 w 15"/>
                <a:gd name="T25" fmla="*/ 3 h 5"/>
                <a:gd name="T26" fmla="*/ 11 w 15"/>
                <a:gd name="T27" fmla="*/ 2 h 5"/>
                <a:gd name="T28" fmla="*/ 11 w 15"/>
                <a:gd name="T29" fmla="*/ 3 h 5"/>
                <a:gd name="T30" fmla="*/ 11 w 15"/>
                <a:gd name="T31" fmla="*/ 4 h 5"/>
                <a:gd name="T32" fmla="*/ 13 w 15"/>
                <a:gd name="T33" fmla="*/ 4 h 5"/>
                <a:gd name="T34" fmla="*/ 14 w 15"/>
                <a:gd name="T35" fmla="*/ 5 h 5"/>
                <a:gd name="T36" fmla="*/ 14 w 15"/>
                <a:gd name="T37" fmla="*/ 5 h 5"/>
                <a:gd name="T38" fmla="*/ 14 w 15"/>
                <a:gd name="T39" fmla="*/ 5 h 5"/>
                <a:gd name="T40" fmla="*/ 10 w 15"/>
                <a:gd name="T41" fmla="*/ 3 h 5"/>
                <a:gd name="T42" fmla="*/ 9 w 15"/>
                <a:gd name="T43" fmla="*/ 2 h 5"/>
                <a:gd name="T44" fmla="*/ 9 w 15"/>
                <a:gd name="T45" fmla="*/ 0 h 5"/>
                <a:gd name="T46" fmla="*/ 8 w 15"/>
                <a:gd name="T47" fmla="*/ 0 h 5"/>
                <a:gd name="T48" fmla="*/ 8 w 15"/>
                <a:gd name="T49" fmla="*/ 1 h 5"/>
                <a:gd name="T50" fmla="*/ 8 w 15"/>
                <a:gd name="T51" fmla="*/ 2 h 5"/>
                <a:gd name="T52" fmla="*/ 9 w 15"/>
                <a:gd name="T53" fmla="*/ 2 h 5"/>
                <a:gd name="T54" fmla="*/ 9 w 15"/>
                <a:gd name="T55" fmla="*/ 2 h 5"/>
                <a:gd name="T56" fmla="*/ 9 w 15"/>
                <a:gd name="T57" fmla="*/ 3 h 5"/>
                <a:gd name="T58" fmla="*/ 10 w 15"/>
                <a:gd name="T59" fmla="*/ 3 h 5"/>
                <a:gd name="T60" fmla="*/ 10 w 15"/>
                <a:gd name="T6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5">
                  <a:moveTo>
                    <a:pt x="1" y="2"/>
                  </a:moveTo>
                  <a:lnTo>
                    <a:pt x="0" y="4"/>
                  </a:lnTo>
                  <a:lnTo>
                    <a:pt x="0" y="5"/>
                  </a:lnTo>
                  <a:lnTo>
                    <a:pt x="1" y="5"/>
                  </a:lnTo>
                  <a:lnTo>
                    <a:pt x="4" y="5"/>
                  </a:lnTo>
                  <a:lnTo>
                    <a:pt x="4" y="4"/>
                  </a:lnTo>
                  <a:lnTo>
                    <a:pt x="5" y="4"/>
                  </a:lnTo>
                  <a:lnTo>
                    <a:pt x="5" y="4"/>
                  </a:lnTo>
                  <a:lnTo>
                    <a:pt x="3" y="4"/>
                  </a:lnTo>
                  <a:lnTo>
                    <a:pt x="1" y="2"/>
                  </a:lnTo>
                  <a:close/>
                  <a:moveTo>
                    <a:pt x="14" y="5"/>
                  </a:moveTo>
                  <a:lnTo>
                    <a:pt x="15" y="4"/>
                  </a:lnTo>
                  <a:lnTo>
                    <a:pt x="14" y="3"/>
                  </a:lnTo>
                  <a:lnTo>
                    <a:pt x="11" y="2"/>
                  </a:lnTo>
                  <a:lnTo>
                    <a:pt x="11" y="3"/>
                  </a:lnTo>
                  <a:lnTo>
                    <a:pt x="11" y="4"/>
                  </a:lnTo>
                  <a:lnTo>
                    <a:pt x="13" y="4"/>
                  </a:lnTo>
                  <a:lnTo>
                    <a:pt x="14" y="5"/>
                  </a:lnTo>
                  <a:lnTo>
                    <a:pt x="14" y="5"/>
                  </a:lnTo>
                  <a:lnTo>
                    <a:pt x="14" y="5"/>
                  </a:lnTo>
                  <a:close/>
                  <a:moveTo>
                    <a:pt x="10" y="3"/>
                  </a:moveTo>
                  <a:lnTo>
                    <a:pt x="9" y="2"/>
                  </a:lnTo>
                  <a:lnTo>
                    <a:pt x="9" y="0"/>
                  </a:lnTo>
                  <a:lnTo>
                    <a:pt x="8" y="0"/>
                  </a:lnTo>
                  <a:lnTo>
                    <a:pt x="8" y="1"/>
                  </a:lnTo>
                  <a:lnTo>
                    <a:pt x="8" y="2"/>
                  </a:lnTo>
                  <a:lnTo>
                    <a:pt x="9" y="2"/>
                  </a:lnTo>
                  <a:lnTo>
                    <a:pt x="9" y="2"/>
                  </a:lnTo>
                  <a:lnTo>
                    <a:pt x="9" y="3"/>
                  </a:lnTo>
                  <a:lnTo>
                    <a:pt x="10" y="3"/>
                  </a:lnTo>
                  <a:lnTo>
                    <a:pt x="10"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2" name="Wallis and Futuna"/>
            <p:cNvSpPr>
              <a:spLocks noEditPoints="1"/>
            </p:cNvSpPr>
            <p:nvPr/>
          </p:nvSpPr>
          <p:spPr bwMode="auto">
            <a:xfrm>
              <a:off x="273050" y="5183188"/>
              <a:ext cx="22225" cy="107950"/>
            </a:xfrm>
            <a:custGeom>
              <a:avLst/>
              <a:gdLst>
                <a:gd name="T0" fmla="*/ 10 w 14"/>
                <a:gd name="T1" fmla="*/ 65 h 68"/>
                <a:gd name="T2" fmla="*/ 10 w 14"/>
                <a:gd name="T3" fmla="*/ 65 h 68"/>
                <a:gd name="T4" fmla="*/ 9 w 14"/>
                <a:gd name="T5" fmla="*/ 66 h 68"/>
                <a:gd name="T6" fmla="*/ 9 w 14"/>
                <a:gd name="T7" fmla="*/ 67 h 68"/>
                <a:gd name="T8" fmla="*/ 11 w 14"/>
                <a:gd name="T9" fmla="*/ 68 h 68"/>
                <a:gd name="T10" fmla="*/ 10 w 14"/>
                <a:gd name="T11" fmla="*/ 65 h 68"/>
                <a:gd name="T12" fmla="*/ 5 w 14"/>
                <a:gd name="T13" fmla="*/ 62 h 68"/>
                <a:gd name="T14" fmla="*/ 4 w 14"/>
                <a:gd name="T15" fmla="*/ 62 h 68"/>
                <a:gd name="T16" fmla="*/ 5 w 14"/>
                <a:gd name="T17" fmla="*/ 62 h 68"/>
                <a:gd name="T18" fmla="*/ 3 w 14"/>
                <a:gd name="T19" fmla="*/ 61 h 68"/>
                <a:gd name="T20" fmla="*/ 2 w 14"/>
                <a:gd name="T21" fmla="*/ 61 h 68"/>
                <a:gd name="T22" fmla="*/ 1 w 14"/>
                <a:gd name="T23" fmla="*/ 61 h 68"/>
                <a:gd name="T24" fmla="*/ 1 w 14"/>
                <a:gd name="T25" fmla="*/ 60 h 68"/>
                <a:gd name="T26" fmla="*/ 0 w 14"/>
                <a:gd name="T27" fmla="*/ 61 h 68"/>
                <a:gd name="T28" fmla="*/ 1 w 14"/>
                <a:gd name="T29" fmla="*/ 62 h 68"/>
                <a:gd name="T30" fmla="*/ 4 w 14"/>
                <a:gd name="T31" fmla="*/ 63 h 68"/>
                <a:gd name="T32" fmla="*/ 5 w 14"/>
                <a:gd name="T33" fmla="*/ 64 h 68"/>
                <a:gd name="T34" fmla="*/ 5 w 14"/>
                <a:gd name="T35" fmla="*/ 62 h 68"/>
                <a:gd name="T36" fmla="*/ 5 w 14"/>
                <a:gd name="T37" fmla="*/ 61 h 68"/>
                <a:gd name="T38" fmla="*/ 5 w 14"/>
                <a:gd name="T39" fmla="*/ 62 h 68"/>
                <a:gd name="T40" fmla="*/ 5 w 14"/>
                <a:gd name="T41" fmla="*/ 62 h 68"/>
                <a:gd name="T42" fmla="*/ 5 w 14"/>
                <a:gd name="T43" fmla="*/ 62 h 68"/>
                <a:gd name="T44" fmla="*/ 14 w 14"/>
                <a:gd name="T45" fmla="*/ 2 h 68"/>
                <a:gd name="T46" fmla="*/ 14 w 14"/>
                <a:gd name="T47" fmla="*/ 1 h 68"/>
                <a:gd name="T48" fmla="*/ 14 w 14"/>
                <a:gd name="T49" fmla="*/ 1 h 68"/>
                <a:gd name="T50" fmla="*/ 13 w 14"/>
                <a:gd name="T51" fmla="*/ 0 h 68"/>
                <a:gd name="T52" fmla="*/ 13 w 14"/>
                <a:gd name="T53" fmla="*/ 0 h 68"/>
                <a:gd name="T54" fmla="*/ 11 w 14"/>
                <a:gd name="T55" fmla="*/ 2 h 68"/>
                <a:gd name="T56" fmla="*/ 12 w 14"/>
                <a:gd name="T57" fmla="*/ 3 h 68"/>
                <a:gd name="T58" fmla="*/ 13 w 14"/>
                <a:gd name="T59" fmla="*/ 3 h 68"/>
                <a:gd name="T60" fmla="*/ 13 w 14"/>
                <a:gd name="T61" fmla="*/ 3 h 68"/>
                <a:gd name="T62" fmla="*/ 14 w 14"/>
                <a:gd name="T63" fmla="*/ 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68">
                  <a:moveTo>
                    <a:pt x="10" y="65"/>
                  </a:moveTo>
                  <a:lnTo>
                    <a:pt x="10" y="65"/>
                  </a:lnTo>
                  <a:lnTo>
                    <a:pt x="9" y="66"/>
                  </a:lnTo>
                  <a:lnTo>
                    <a:pt x="9" y="67"/>
                  </a:lnTo>
                  <a:lnTo>
                    <a:pt x="11" y="68"/>
                  </a:lnTo>
                  <a:lnTo>
                    <a:pt x="10" y="65"/>
                  </a:lnTo>
                  <a:close/>
                  <a:moveTo>
                    <a:pt x="5" y="62"/>
                  </a:moveTo>
                  <a:lnTo>
                    <a:pt x="4" y="62"/>
                  </a:lnTo>
                  <a:lnTo>
                    <a:pt x="5" y="62"/>
                  </a:lnTo>
                  <a:lnTo>
                    <a:pt x="3" y="61"/>
                  </a:lnTo>
                  <a:lnTo>
                    <a:pt x="2" y="61"/>
                  </a:lnTo>
                  <a:lnTo>
                    <a:pt x="1" y="61"/>
                  </a:lnTo>
                  <a:lnTo>
                    <a:pt x="1" y="60"/>
                  </a:lnTo>
                  <a:lnTo>
                    <a:pt x="0" y="61"/>
                  </a:lnTo>
                  <a:lnTo>
                    <a:pt x="1" y="62"/>
                  </a:lnTo>
                  <a:lnTo>
                    <a:pt x="4" y="63"/>
                  </a:lnTo>
                  <a:lnTo>
                    <a:pt x="5" y="64"/>
                  </a:lnTo>
                  <a:lnTo>
                    <a:pt x="5" y="62"/>
                  </a:lnTo>
                  <a:lnTo>
                    <a:pt x="5" y="61"/>
                  </a:lnTo>
                  <a:lnTo>
                    <a:pt x="5" y="62"/>
                  </a:lnTo>
                  <a:lnTo>
                    <a:pt x="5" y="62"/>
                  </a:lnTo>
                  <a:lnTo>
                    <a:pt x="5" y="62"/>
                  </a:lnTo>
                  <a:close/>
                  <a:moveTo>
                    <a:pt x="14" y="2"/>
                  </a:moveTo>
                  <a:lnTo>
                    <a:pt x="14" y="1"/>
                  </a:lnTo>
                  <a:lnTo>
                    <a:pt x="14" y="1"/>
                  </a:lnTo>
                  <a:lnTo>
                    <a:pt x="13" y="0"/>
                  </a:lnTo>
                  <a:lnTo>
                    <a:pt x="13" y="0"/>
                  </a:lnTo>
                  <a:lnTo>
                    <a:pt x="11" y="2"/>
                  </a:lnTo>
                  <a:lnTo>
                    <a:pt x="12" y="3"/>
                  </a:lnTo>
                  <a:lnTo>
                    <a:pt x="13" y="3"/>
                  </a:lnTo>
                  <a:lnTo>
                    <a:pt x="13" y="3"/>
                  </a:lnTo>
                  <a:lnTo>
                    <a:pt x="14" y="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3" name="Trinidad and Tobago"/>
            <p:cNvSpPr>
              <a:spLocks noEditPoints="1"/>
            </p:cNvSpPr>
            <p:nvPr/>
          </p:nvSpPr>
          <p:spPr bwMode="auto">
            <a:xfrm>
              <a:off x="3948113" y="4054476"/>
              <a:ext cx="47625" cy="47625"/>
            </a:xfrm>
            <a:custGeom>
              <a:avLst/>
              <a:gdLst>
                <a:gd name="T0" fmla="*/ 19 w 30"/>
                <a:gd name="T1" fmla="*/ 29 h 30"/>
                <a:gd name="T2" fmla="*/ 19 w 30"/>
                <a:gd name="T3" fmla="*/ 28 h 30"/>
                <a:gd name="T4" fmla="*/ 19 w 30"/>
                <a:gd name="T5" fmla="*/ 27 h 30"/>
                <a:gd name="T6" fmla="*/ 20 w 30"/>
                <a:gd name="T7" fmla="*/ 25 h 30"/>
                <a:gd name="T8" fmla="*/ 19 w 30"/>
                <a:gd name="T9" fmla="*/ 23 h 30"/>
                <a:gd name="T10" fmla="*/ 19 w 30"/>
                <a:gd name="T11" fmla="*/ 21 h 30"/>
                <a:gd name="T12" fmla="*/ 19 w 30"/>
                <a:gd name="T13" fmla="*/ 19 h 30"/>
                <a:gd name="T14" fmla="*/ 19 w 30"/>
                <a:gd name="T15" fmla="*/ 16 h 30"/>
                <a:gd name="T16" fmla="*/ 20 w 30"/>
                <a:gd name="T17" fmla="*/ 15 h 30"/>
                <a:gd name="T18" fmla="*/ 22 w 30"/>
                <a:gd name="T19" fmla="*/ 13 h 30"/>
                <a:gd name="T20" fmla="*/ 18 w 30"/>
                <a:gd name="T21" fmla="*/ 13 h 30"/>
                <a:gd name="T22" fmla="*/ 16 w 30"/>
                <a:gd name="T23" fmla="*/ 14 h 30"/>
                <a:gd name="T24" fmla="*/ 12 w 30"/>
                <a:gd name="T25" fmla="*/ 14 h 30"/>
                <a:gd name="T26" fmla="*/ 10 w 30"/>
                <a:gd name="T27" fmla="*/ 14 h 30"/>
                <a:gd name="T28" fmla="*/ 8 w 30"/>
                <a:gd name="T29" fmla="*/ 14 h 30"/>
                <a:gd name="T30" fmla="*/ 6 w 30"/>
                <a:gd name="T31" fmla="*/ 15 h 30"/>
                <a:gd name="T32" fmla="*/ 6 w 30"/>
                <a:gd name="T33" fmla="*/ 15 h 30"/>
                <a:gd name="T34" fmla="*/ 8 w 30"/>
                <a:gd name="T35" fmla="*/ 16 h 30"/>
                <a:gd name="T36" fmla="*/ 9 w 30"/>
                <a:gd name="T37" fmla="*/ 17 h 30"/>
                <a:gd name="T38" fmla="*/ 10 w 30"/>
                <a:gd name="T39" fmla="*/ 18 h 30"/>
                <a:gd name="T40" fmla="*/ 10 w 30"/>
                <a:gd name="T41" fmla="*/ 19 h 30"/>
                <a:gd name="T42" fmla="*/ 9 w 30"/>
                <a:gd name="T43" fmla="*/ 26 h 30"/>
                <a:gd name="T44" fmla="*/ 8 w 30"/>
                <a:gd name="T45" fmla="*/ 27 h 30"/>
                <a:gd name="T46" fmla="*/ 6 w 30"/>
                <a:gd name="T47" fmla="*/ 27 h 30"/>
                <a:gd name="T48" fmla="*/ 5 w 30"/>
                <a:gd name="T49" fmla="*/ 28 h 30"/>
                <a:gd name="T50" fmla="*/ 0 w 30"/>
                <a:gd name="T51" fmla="*/ 30 h 30"/>
                <a:gd name="T52" fmla="*/ 3 w 30"/>
                <a:gd name="T53" fmla="*/ 30 h 30"/>
                <a:gd name="T54" fmla="*/ 6 w 30"/>
                <a:gd name="T55" fmla="*/ 30 h 30"/>
                <a:gd name="T56" fmla="*/ 15 w 30"/>
                <a:gd name="T57" fmla="*/ 30 h 30"/>
                <a:gd name="T58" fmla="*/ 19 w 30"/>
                <a:gd name="T59" fmla="*/ 29 h 30"/>
                <a:gd name="T60" fmla="*/ 19 w 30"/>
                <a:gd name="T61" fmla="*/ 29 h 30"/>
                <a:gd name="T62" fmla="*/ 26 w 30"/>
                <a:gd name="T63" fmla="*/ 4 h 30"/>
                <a:gd name="T64" fmla="*/ 30 w 30"/>
                <a:gd name="T65" fmla="*/ 2 h 30"/>
                <a:gd name="T66" fmla="*/ 30 w 30"/>
                <a:gd name="T67" fmla="*/ 0 h 30"/>
                <a:gd name="T68" fmla="*/ 29 w 30"/>
                <a:gd name="T69" fmla="*/ 0 h 30"/>
                <a:gd name="T70" fmla="*/ 26 w 30"/>
                <a:gd name="T71" fmla="*/ 2 h 30"/>
                <a:gd name="T72" fmla="*/ 25 w 30"/>
                <a:gd name="T73" fmla="*/ 4 h 30"/>
                <a:gd name="T74" fmla="*/ 25 w 30"/>
                <a:gd name="T75" fmla="*/ 4 h 30"/>
                <a:gd name="T76" fmla="*/ 26 w 30"/>
                <a:gd name="T7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30">
                  <a:moveTo>
                    <a:pt x="19" y="29"/>
                  </a:moveTo>
                  <a:lnTo>
                    <a:pt x="19" y="28"/>
                  </a:lnTo>
                  <a:lnTo>
                    <a:pt x="19" y="27"/>
                  </a:lnTo>
                  <a:lnTo>
                    <a:pt x="20" y="25"/>
                  </a:lnTo>
                  <a:lnTo>
                    <a:pt x="19" y="23"/>
                  </a:lnTo>
                  <a:lnTo>
                    <a:pt x="19" y="21"/>
                  </a:lnTo>
                  <a:lnTo>
                    <a:pt x="19" y="19"/>
                  </a:lnTo>
                  <a:lnTo>
                    <a:pt x="19" y="16"/>
                  </a:lnTo>
                  <a:lnTo>
                    <a:pt x="20" y="15"/>
                  </a:lnTo>
                  <a:lnTo>
                    <a:pt x="22" y="13"/>
                  </a:lnTo>
                  <a:lnTo>
                    <a:pt x="18" y="13"/>
                  </a:lnTo>
                  <a:lnTo>
                    <a:pt x="16" y="14"/>
                  </a:lnTo>
                  <a:lnTo>
                    <a:pt x="12" y="14"/>
                  </a:lnTo>
                  <a:lnTo>
                    <a:pt x="10" y="14"/>
                  </a:lnTo>
                  <a:lnTo>
                    <a:pt x="8" y="14"/>
                  </a:lnTo>
                  <a:lnTo>
                    <a:pt x="6" y="15"/>
                  </a:lnTo>
                  <a:lnTo>
                    <a:pt x="6" y="15"/>
                  </a:lnTo>
                  <a:lnTo>
                    <a:pt x="8" y="16"/>
                  </a:lnTo>
                  <a:lnTo>
                    <a:pt x="9" y="17"/>
                  </a:lnTo>
                  <a:lnTo>
                    <a:pt x="10" y="18"/>
                  </a:lnTo>
                  <a:lnTo>
                    <a:pt x="10" y="19"/>
                  </a:lnTo>
                  <a:lnTo>
                    <a:pt x="9" y="26"/>
                  </a:lnTo>
                  <a:lnTo>
                    <a:pt x="8" y="27"/>
                  </a:lnTo>
                  <a:lnTo>
                    <a:pt x="6" y="27"/>
                  </a:lnTo>
                  <a:lnTo>
                    <a:pt x="5" y="28"/>
                  </a:lnTo>
                  <a:lnTo>
                    <a:pt x="0" y="30"/>
                  </a:lnTo>
                  <a:lnTo>
                    <a:pt x="3" y="30"/>
                  </a:lnTo>
                  <a:lnTo>
                    <a:pt x="6" y="30"/>
                  </a:lnTo>
                  <a:lnTo>
                    <a:pt x="15" y="30"/>
                  </a:lnTo>
                  <a:lnTo>
                    <a:pt x="19" y="29"/>
                  </a:lnTo>
                  <a:lnTo>
                    <a:pt x="19" y="29"/>
                  </a:lnTo>
                  <a:close/>
                  <a:moveTo>
                    <a:pt x="26" y="4"/>
                  </a:moveTo>
                  <a:lnTo>
                    <a:pt x="30" y="2"/>
                  </a:lnTo>
                  <a:lnTo>
                    <a:pt x="30" y="0"/>
                  </a:lnTo>
                  <a:lnTo>
                    <a:pt x="29" y="0"/>
                  </a:lnTo>
                  <a:lnTo>
                    <a:pt x="26" y="2"/>
                  </a:lnTo>
                  <a:lnTo>
                    <a:pt x="25" y="4"/>
                  </a:lnTo>
                  <a:lnTo>
                    <a:pt x="25" y="4"/>
                  </a:lnTo>
                  <a:lnTo>
                    <a:pt x="26" y="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4" name="Saint Vincent and the Grenadines"/>
            <p:cNvSpPr>
              <a:spLocks noEditPoints="1"/>
            </p:cNvSpPr>
            <p:nvPr/>
          </p:nvSpPr>
          <p:spPr bwMode="auto">
            <a:xfrm>
              <a:off x="3971925" y="3979863"/>
              <a:ext cx="9525" cy="25400"/>
            </a:xfrm>
            <a:custGeom>
              <a:avLst/>
              <a:gdLst>
                <a:gd name="T0" fmla="*/ 0 w 6"/>
                <a:gd name="T1" fmla="*/ 16 h 16"/>
                <a:gd name="T2" fmla="*/ 0 w 6"/>
                <a:gd name="T3" fmla="*/ 16 h 16"/>
                <a:gd name="T4" fmla="*/ 0 w 6"/>
                <a:gd name="T5" fmla="*/ 15 h 16"/>
                <a:gd name="T6" fmla="*/ 0 w 6"/>
                <a:gd name="T7" fmla="*/ 15 h 16"/>
                <a:gd name="T8" fmla="*/ 0 w 6"/>
                <a:gd name="T9" fmla="*/ 15 h 16"/>
                <a:gd name="T10" fmla="*/ 0 w 6"/>
                <a:gd name="T11" fmla="*/ 15 h 16"/>
                <a:gd name="T12" fmla="*/ 0 w 6"/>
                <a:gd name="T13" fmla="*/ 14 h 16"/>
                <a:gd name="T14" fmla="*/ 0 w 6"/>
                <a:gd name="T15" fmla="*/ 14 h 16"/>
                <a:gd name="T16" fmla="*/ 0 w 6"/>
                <a:gd name="T17" fmla="*/ 15 h 16"/>
                <a:gd name="T18" fmla="*/ 0 w 6"/>
                <a:gd name="T19" fmla="*/ 15 h 16"/>
                <a:gd name="T20" fmla="*/ 0 w 6"/>
                <a:gd name="T21" fmla="*/ 15 h 16"/>
                <a:gd name="T22" fmla="*/ 0 w 6"/>
                <a:gd name="T23" fmla="*/ 15 h 16"/>
                <a:gd name="T24" fmla="*/ 0 w 6"/>
                <a:gd name="T25" fmla="*/ 16 h 16"/>
                <a:gd name="T26" fmla="*/ 0 w 6"/>
                <a:gd name="T27" fmla="*/ 16 h 16"/>
                <a:gd name="T28" fmla="*/ 0 w 6"/>
                <a:gd name="T29" fmla="*/ 16 h 16"/>
                <a:gd name="T30" fmla="*/ 0 w 6"/>
                <a:gd name="T31" fmla="*/ 16 h 16"/>
                <a:gd name="T32" fmla="*/ 3 w 6"/>
                <a:gd name="T33" fmla="*/ 8 h 16"/>
                <a:gd name="T34" fmla="*/ 3 w 6"/>
                <a:gd name="T35" fmla="*/ 7 h 16"/>
                <a:gd name="T36" fmla="*/ 4 w 6"/>
                <a:gd name="T37" fmla="*/ 7 h 16"/>
                <a:gd name="T38" fmla="*/ 4 w 6"/>
                <a:gd name="T39" fmla="*/ 7 h 16"/>
                <a:gd name="T40" fmla="*/ 4 w 6"/>
                <a:gd name="T41" fmla="*/ 7 h 16"/>
                <a:gd name="T42" fmla="*/ 3 w 6"/>
                <a:gd name="T43" fmla="*/ 6 h 16"/>
                <a:gd name="T44" fmla="*/ 3 w 6"/>
                <a:gd name="T45" fmla="*/ 6 h 16"/>
                <a:gd name="T46" fmla="*/ 3 w 6"/>
                <a:gd name="T47" fmla="*/ 7 h 16"/>
                <a:gd name="T48" fmla="*/ 2 w 6"/>
                <a:gd name="T49" fmla="*/ 7 h 16"/>
                <a:gd name="T50" fmla="*/ 2 w 6"/>
                <a:gd name="T51" fmla="*/ 7 h 16"/>
                <a:gd name="T52" fmla="*/ 2 w 6"/>
                <a:gd name="T53" fmla="*/ 8 h 16"/>
                <a:gd name="T54" fmla="*/ 2 w 6"/>
                <a:gd name="T55" fmla="*/ 8 h 16"/>
                <a:gd name="T56" fmla="*/ 2 w 6"/>
                <a:gd name="T57" fmla="*/ 8 h 16"/>
                <a:gd name="T58" fmla="*/ 2 w 6"/>
                <a:gd name="T59" fmla="*/ 8 h 16"/>
                <a:gd name="T60" fmla="*/ 2 w 6"/>
                <a:gd name="T61" fmla="*/ 8 h 16"/>
                <a:gd name="T62" fmla="*/ 2 w 6"/>
                <a:gd name="T63" fmla="*/ 8 h 16"/>
                <a:gd name="T64" fmla="*/ 2 w 6"/>
                <a:gd name="T65" fmla="*/ 8 h 16"/>
                <a:gd name="T66" fmla="*/ 2 w 6"/>
                <a:gd name="T67" fmla="*/ 8 h 16"/>
                <a:gd name="T68" fmla="*/ 2 w 6"/>
                <a:gd name="T69" fmla="*/ 8 h 16"/>
                <a:gd name="T70" fmla="*/ 2 w 6"/>
                <a:gd name="T71" fmla="*/ 8 h 16"/>
                <a:gd name="T72" fmla="*/ 2 w 6"/>
                <a:gd name="T73" fmla="*/ 8 h 16"/>
                <a:gd name="T74" fmla="*/ 2 w 6"/>
                <a:gd name="T75" fmla="*/ 8 h 16"/>
                <a:gd name="T76" fmla="*/ 3 w 6"/>
                <a:gd name="T77" fmla="*/ 8 h 16"/>
                <a:gd name="T78" fmla="*/ 3 w 6"/>
                <a:gd name="T79" fmla="*/ 8 h 16"/>
                <a:gd name="T80" fmla="*/ 4 w 6"/>
                <a:gd name="T81" fmla="*/ 5 h 16"/>
                <a:gd name="T82" fmla="*/ 5 w 6"/>
                <a:gd name="T83" fmla="*/ 4 h 16"/>
                <a:gd name="T84" fmla="*/ 6 w 6"/>
                <a:gd name="T85" fmla="*/ 1 h 16"/>
                <a:gd name="T86" fmla="*/ 5 w 6"/>
                <a:gd name="T87" fmla="*/ 0 h 16"/>
                <a:gd name="T88" fmla="*/ 4 w 6"/>
                <a:gd name="T89" fmla="*/ 0 h 16"/>
                <a:gd name="T90" fmla="*/ 3 w 6"/>
                <a:gd name="T91" fmla="*/ 0 h 16"/>
                <a:gd name="T92" fmla="*/ 2 w 6"/>
                <a:gd name="T93" fmla="*/ 1 h 16"/>
                <a:gd name="T94" fmla="*/ 2 w 6"/>
                <a:gd name="T95" fmla="*/ 3 h 16"/>
                <a:gd name="T96" fmla="*/ 4 w 6"/>
                <a:gd name="T97" fmla="*/ 5 h 16"/>
                <a:gd name="T98" fmla="*/ 4 w 6"/>
                <a:gd name="T99" fmla="*/ 5 h 16"/>
                <a:gd name="T100" fmla="*/ 4 w 6"/>
                <a:gd name="T10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 h="16">
                  <a:moveTo>
                    <a:pt x="0" y="16"/>
                  </a:moveTo>
                  <a:lnTo>
                    <a:pt x="0" y="16"/>
                  </a:lnTo>
                  <a:lnTo>
                    <a:pt x="0" y="15"/>
                  </a:lnTo>
                  <a:lnTo>
                    <a:pt x="0" y="15"/>
                  </a:lnTo>
                  <a:lnTo>
                    <a:pt x="0" y="15"/>
                  </a:lnTo>
                  <a:lnTo>
                    <a:pt x="0" y="15"/>
                  </a:lnTo>
                  <a:lnTo>
                    <a:pt x="0" y="14"/>
                  </a:lnTo>
                  <a:lnTo>
                    <a:pt x="0" y="14"/>
                  </a:lnTo>
                  <a:lnTo>
                    <a:pt x="0" y="15"/>
                  </a:lnTo>
                  <a:lnTo>
                    <a:pt x="0" y="15"/>
                  </a:lnTo>
                  <a:lnTo>
                    <a:pt x="0" y="15"/>
                  </a:lnTo>
                  <a:lnTo>
                    <a:pt x="0" y="15"/>
                  </a:lnTo>
                  <a:lnTo>
                    <a:pt x="0" y="16"/>
                  </a:lnTo>
                  <a:lnTo>
                    <a:pt x="0" y="16"/>
                  </a:lnTo>
                  <a:lnTo>
                    <a:pt x="0" y="16"/>
                  </a:lnTo>
                  <a:lnTo>
                    <a:pt x="0" y="16"/>
                  </a:lnTo>
                  <a:close/>
                  <a:moveTo>
                    <a:pt x="3" y="8"/>
                  </a:moveTo>
                  <a:lnTo>
                    <a:pt x="3" y="7"/>
                  </a:lnTo>
                  <a:lnTo>
                    <a:pt x="4" y="7"/>
                  </a:lnTo>
                  <a:lnTo>
                    <a:pt x="4" y="7"/>
                  </a:lnTo>
                  <a:lnTo>
                    <a:pt x="4" y="7"/>
                  </a:lnTo>
                  <a:lnTo>
                    <a:pt x="3" y="6"/>
                  </a:lnTo>
                  <a:lnTo>
                    <a:pt x="3" y="6"/>
                  </a:lnTo>
                  <a:lnTo>
                    <a:pt x="3" y="7"/>
                  </a:lnTo>
                  <a:lnTo>
                    <a:pt x="2" y="7"/>
                  </a:lnTo>
                  <a:lnTo>
                    <a:pt x="2" y="7"/>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3" y="8"/>
                  </a:lnTo>
                  <a:lnTo>
                    <a:pt x="3" y="8"/>
                  </a:lnTo>
                  <a:close/>
                  <a:moveTo>
                    <a:pt x="4" y="5"/>
                  </a:moveTo>
                  <a:lnTo>
                    <a:pt x="5" y="4"/>
                  </a:lnTo>
                  <a:lnTo>
                    <a:pt x="6" y="1"/>
                  </a:lnTo>
                  <a:lnTo>
                    <a:pt x="5" y="0"/>
                  </a:lnTo>
                  <a:lnTo>
                    <a:pt x="4" y="0"/>
                  </a:lnTo>
                  <a:lnTo>
                    <a:pt x="3" y="0"/>
                  </a:lnTo>
                  <a:lnTo>
                    <a:pt x="2" y="1"/>
                  </a:lnTo>
                  <a:lnTo>
                    <a:pt x="2" y="3"/>
                  </a:lnTo>
                  <a:lnTo>
                    <a:pt x="4" y="5"/>
                  </a:lnTo>
                  <a:lnTo>
                    <a:pt x="4" y="5"/>
                  </a:lnTo>
                  <a:lnTo>
                    <a:pt x="4" y="5"/>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5" name="British Virgin Islands"/>
            <p:cNvSpPr>
              <a:spLocks noEditPoints="1"/>
            </p:cNvSpPr>
            <p:nvPr/>
          </p:nvSpPr>
          <p:spPr bwMode="auto">
            <a:xfrm>
              <a:off x="3878263" y="3776663"/>
              <a:ext cx="14287" cy="11113"/>
            </a:xfrm>
            <a:custGeom>
              <a:avLst/>
              <a:gdLst>
                <a:gd name="T0" fmla="*/ 2 w 9"/>
                <a:gd name="T1" fmla="*/ 7 h 7"/>
                <a:gd name="T2" fmla="*/ 3 w 9"/>
                <a:gd name="T3" fmla="*/ 7 h 7"/>
                <a:gd name="T4" fmla="*/ 2 w 9"/>
                <a:gd name="T5" fmla="*/ 6 h 7"/>
                <a:gd name="T6" fmla="*/ 1 w 9"/>
                <a:gd name="T7" fmla="*/ 6 h 7"/>
                <a:gd name="T8" fmla="*/ 0 w 9"/>
                <a:gd name="T9" fmla="*/ 7 h 7"/>
                <a:gd name="T10" fmla="*/ 0 w 9"/>
                <a:gd name="T11" fmla="*/ 7 h 7"/>
                <a:gd name="T12" fmla="*/ 2 w 9"/>
                <a:gd name="T13" fmla="*/ 7 h 7"/>
                <a:gd name="T14" fmla="*/ 2 w 9"/>
                <a:gd name="T15" fmla="*/ 7 h 7"/>
                <a:gd name="T16" fmla="*/ 6 w 9"/>
                <a:gd name="T17" fmla="*/ 6 h 7"/>
                <a:gd name="T18" fmla="*/ 8 w 9"/>
                <a:gd name="T19" fmla="*/ 5 h 7"/>
                <a:gd name="T20" fmla="*/ 6 w 9"/>
                <a:gd name="T21" fmla="*/ 6 h 7"/>
                <a:gd name="T22" fmla="*/ 5 w 9"/>
                <a:gd name="T23" fmla="*/ 6 h 7"/>
                <a:gd name="T24" fmla="*/ 5 w 9"/>
                <a:gd name="T25" fmla="*/ 6 h 7"/>
                <a:gd name="T26" fmla="*/ 6 w 9"/>
                <a:gd name="T27" fmla="*/ 6 h 7"/>
                <a:gd name="T28" fmla="*/ 6 w 9"/>
                <a:gd name="T29" fmla="*/ 6 h 7"/>
                <a:gd name="T30" fmla="*/ 6 w 9"/>
                <a:gd name="T31" fmla="*/ 6 h 7"/>
                <a:gd name="T32" fmla="*/ 9 w 9"/>
                <a:gd name="T33" fmla="*/ 0 h 7"/>
                <a:gd name="T34" fmla="*/ 9 w 9"/>
                <a:gd name="T35" fmla="*/ 0 h 7"/>
                <a:gd name="T36" fmla="*/ 7 w 9"/>
                <a:gd name="T37" fmla="*/ 0 h 7"/>
                <a:gd name="T38" fmla="*/ 7 w 9"/>
                <a:gd name="T39" fmla="*/ 0 h 7"/>
                <a:gd name="T40" fmla="*/ 7 w 9"/>
                <a:gd name="T41" fmla="*/ 0 h 7"/>
                <a:gd name="T42" fmla="*/ 8 w 9"/>
                <a:gd name="T43" fmla="*/ 0 h 7"/>
                <a:gd name="T44" fmla="*/ 9 w 9"/>
                <a:gd name="T45" fmla="*/ 0 h 7"/>
                <a:gd name="T46" fmla="*/ 9 w 9"/>
                <a:gd name="T47" fmla="*/ 0 h 7"/>
                <a:gd name="T48" fmla="*/ 9 w 9"/>
                <a:gd name="T49" fmla="*/ 0 h 7"/>
                <a:gd name="T50" fmla="*/ 9 w 9"/>
                <a:gd name="T5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7">
                  <a:moveTo>
                    <a:pt x="2" y="7"/>
                  </a:moveTo>
                  <a:lnTo>
                    <a:pt x="3" y="7"/>
                  </a:lnTo>
                  <a:lnTo>
                    <a:pt x="2" y="6"/>
                  </a:lnTo>
                  <a:lnTo>
                    <a:pt x="1" y="6"/>
                  </a:lnTo>
                  <a:lnTo>
                    <a:pt x="0" y="7"/>
                  </a:lnTo>
                  <a:lnTo>
                    <a:pt x="0" y="7"/>
                  </a:lnTo>
                  <a:lnTo>
                    <a:pt x="2" y="7"/>
                  </a:lnTo>
                  <a:lnTo>
                    <a:pt x="2" y="7"/>
                  </a:lnTo>
                  <a:close/>
                  <a:moveTo>
                    <a:pt x="6" y="6"/>
                  </a:moveTo>
                  <a:lnTo>
                    <a:pt x="8" y="5"/>
                  </a:lnTo>
                  <a:lnTo>
                    <a:pt x="6" y="6"/>
                  </a:lnTo>
                  <a:lnTo>
                    <a:pt x="5" y="6"/>
                  </a:lnTo>
                  <a:lnTo>
                    <a:pt x="5" y="6"/>
                  </a:lnTo>
                  <a:lnTo>
                    <a:pt x="6" y="6"/>
                  </a:lnTo>
                  <a:lnTo>
                    <a:pt x="6" y="6"/>
                  </a:lnTo>
                  <a:lnTo>
                    <a:pt x="6" y="6"/>
                  </a:lnTo>
                  <a:close/>
                  <a:moveTo>
                    <a:pt x="9" y="0"/>
                  </a:moveTo>
                  <a:lnTo>
                    <a:pt x="9" y="0"/>
                  </a:lnTo>
                  <a:lnTo>
                    <a:pt x="7" y="0"/>
                  </a:lnTo>
                  <a:lnTo>
                    <a:pt x="7" y="0"/>
                  </a:lnTo>
                  <a:lnTo>
                    <a:pt x="7" y="0"/>
                  </a:lnTo>
                  <a:lnTo>
                    <a:pt x="8" y="0"/>
                  </a:lnTo>
                  <a:lnTo>
                    <a:pt x="9" y="0"/>
                  </a:lnTo>
                  <a:lnTo>
                    <a:pt x="9" y="0"/>
                  </a:lnTo>
                  <a:lnTo>
                    <a:pt x="9" y="0"/>
                  </a:lnTo>
                  <a:lnTo>
                    <a:pt x="9" y="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6" name="Virgin Islands"/>
            <p:cNvSpPr>
              <a:spLocks noEditPoints="1"/>
            </p:cNvSpPr>
            <p:nvPr/>
          </p:nvSpPr>
          <p:spPr bwMode="auto">
            <a:xfrm>
              <a:off x="3867150" y="3789363"/>
              <a:ext cx="12700" cy="25400"/>
            </a:xfrm>
            <a:custGeom>
              <a:avLst/>
              <a:gdLst>
                <a:gd name="T0" fmla="*/ 5 w 8"/>
                <a:gd name="T1" fmla="*/ 14 h 16"/>
                <a:gd name="T2" fmla="*/ 2 w 8"/>
                <a:gd name="T3" fmla="*/ 14 h 16"/>
                <a:gd name="T4" fmla="*/ 1 w 8"/>
                <a:gd name="T5" fmla="*/ 16 h 16"/>
                <a:gd name="T6" fmla="*/ 6 w 8"/>
                <a:gd name="T7" fmla="*/ 16 h 16"/>
                <a:gd name="T8" fmla="*/ 8 w 8"/>
                <a:gd name="T9" fmla="*/ 15 h 16"/>
                <a:gd name="T10" fmla="*/ 6 w 8"/>
                <a:gd name="T11" fmla="*/ 15 h 16"/>
                <a:gd name="T12" fmla="*/ 5 w 8"/>
                <a:gd name="T13" fmla="*/ 14 h 16"/>
                <a:gd name="T14" fmla="*/ 5 w 8"/>
                <a:gd name="T15" fmla="*/ 14 h 16"/>
                <a:gd name="T16" fmla="*/ 7 w 8"/>
                <a:gd name="T17" fmla="*/ 1 h 16"/>
                <a:gd name="T18" fmla="*/ 6 w 8"/>
                <a:gd name="T19" fmla="*/ 0 h 16"/>
                <a:gd name="T20" fmla="*/ 5 w 8"/>
                <a:gd name="T21" fmla="*/ 1 h 16"/>
                <a:gd name="T22" fmla="*/ 5 w 8"/>
                <a:gd name="T23" fmla="*/ 1 h 16"/>
                <a:gd name="T24" fmla="*/ 7 w 8"/>
                <a:gd name="T25" fmla="*/ 1 h 16"/>
                <a:gd name="T26" fmla="*/ 7 w 8"/>
                <a:gd name="T27" fmla="*/ 1 h 16"/>
                <a:gd name="T28" fmla="*/ 4 w 8"/>
                <a:gd name="T29" fmla="*/ 1 h 16"/>
                <a:gd name="T30" fmla="*/ 3 w 8"/>
                <a:gd name="T31" fmla="*/ 0 h 16"/>
                <a:gd name="T32" fmla="*/ 2 w 8"/>
                <a:gd name="T33" fmla="*/ 0 h 16"/>
                <a:gd name="T34" fmla="*/ 0 w 8"/>
                <a:gd name="T35" fmla="*/ 0 h 16"/>
                <a:gd name="T36" fmla="*/ 2 w 8"/>
                <a:gd name="T37" fmla="*/ 1 h 16"/>
                <a:gd name="T38" fmla="*/ 4 w 8"/>
                <a:gd name="T39" fmla="*/ 1 h 16"/>
                <a:gd name="T40" fmla="*/ 4 w 8"/>
                <a:gd name="T4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6">
                  <a:moveTo>
                    <a:pt x="5" y="14"/>
                  </a:moveTo>
                  <a:lnTo>
                    <a:pt x="2" y="14"/>
                  </a:lnTo>
                  <a:lnTo>
                    <a:pt x="1" y="16"/>
                  </a:lnTo>
                  <a:lnTo>
                    <a:pt x="6" y="16"/>
                  </a:lnTo>
                  <a:lnTo>
                    <a:pt x="8" y="15"/>
                  </a:lnTo>
                  <a:lnTo>
                    <a:pt x="6" y="15"/>
                  </a:lnTo>
                  <a:lnTo>
                    <a:pt x="5" y="14"/>
                  </a:lnTo>
                  <a:lnTo>
                    <a:pt x="5" y="14"/>
                  </a:lnTo>
                  <a:close/>
                  <a:moveTo>
                    <a:pt x="7" y="1"/>
                  </a:moveTo>
                  <a:lnTo>
                    <a:pt x="6" y="0"/>
                  </a:lnTo>
                  <a:lnTo>
                    <a:pt x="5" y="1"/>
                  </a:lnTo>
                  <a:lnTo>
                    <a:pt x="5" y="1"/>
                  </a:lnTo>
                  <a:lnTo>
                    <a:pt x="7" y="1"/>
                  </a:lnTo>
                  <a:lnTo>
                    <a:pt x="7" y="1"/>
                  </a:lnTo>
                  <a:close/>
                  <a:moveTo>
                    <a:pt x="4" y="1"/>
                  </a:moveTo>
                  <a:lnTo>
                    <a:pt x="3" y="0"/>
                  </a:lnTo>
                  <a:lnTo>
                    <a:pt x="2" y="0"/>
                  </a:lnTo>
                  <a:lnTo>
                    <a:pt x="0" y="0"/>
                  </a:lnTo>
                  <a:lnTo>
                    <a:pt x="2" y="1"/>
                  </a:lnTo>
                  <a:lnTo>
                    <a:pt x="4" y="1"/>
                  </a:lnTo>
                  <a:lnTo>
                    <a:pt x="4" y="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7" name="Cyprus"/>
            <p:cNvSpPr>
              <a:spLocks/>
            </p:cNvSpPr>
            <p:nvPr/>
          </p:nvSpPr>
          <p:spPr bwMode="auto">
            <a:xfrm>
              <a:off x="7015163" y="3138488"/>
              <a:ext cx="68262" cy="41275"/>
            </a:xfrm>
            <a:custGeom>
              <a:avLst/>
              <a:gdLst>
                <a:gd name="T0" fmla="*/ 8 w 43"/>
                <a:gd name="T1" fmla="*/ 12 h 26"/>
                <a:gd name="T2" fmla="*/ 7 w 43"/>
                <a:gd name="T3" fmla="*/ 11 h 26"/>
                <a:gd name="T4" fmla="*/ 5 w 43"/>
                <a:gd name="T5" fmla="*/ 12 h 26"/>
                <a:gd name="T6" fmla="*/ 4 w 43"/>
                <a:gd name="T7" fmla="*/ 14 h 26"/>
                <a:gd name="T8" fmla="*/ 2 w 43"/>
                <a:gd name="T9" fmla="*/ 14 h 26"/>
                <a:gd name="T10" fmla="*/ 0 w 43"/>
                <a:gd name="T11" fmla="*/ 14 h 26"/>
                <a:gd name="T12" fmla="*/ 1 w 43"/>
                <a:gd name="T13" fmla="*/ 16 h 26"/>
                <a:gd name="T14" fmla="*/ 3 w 43"/>
                <a:gd name="T15" fmla="*/ 21 h 26"/>
                <a:gd name="T16" fmla="*/ 4 w 43"/>
                <a:gd name="T17" fmla="*/ 22 h 26"/>
                <a:gd name="T18" fmla="*/ 5 w 43"/>
                <a:gd name="T19" fmla="*/ 23 h 26"/>
                <a:gd name="T20" fmla="*/ 9 w 43"/>
                <a:gd name="T21" fmla="*/ 24 h 26"/>
                <a:gd name="T22" fmla="*/ 10 w 43"/>
                <a:gd name="T23" fmla="*/ 24 h 26"/>
                <a:gd name="T24" fmla="*/ 12 w 43"/>
                <a:gd name="T25" fmla="*/ 24 h 26"/>
                <a:gd name="T26" fmla="*/ 13 w 43"/>
                <a:gd name="T27" fmla="*/ 24 h 26"/>
                <a:gd name="T28" fmla="*/ 14 w 43"/>
                <a:gd name="T29" fmla="*/ 26 h 26"/>
                <a:gd name="T30" fmla="*/ 16 w 43"/>
                <a:gd name="T31" fmla="*/ 26 h 26"/>
                <a:gd name="T32" fmla="*/ 16 w 43"/>
                <a:gd name="T33" fmla="*/ 25 h 26"/>
                <a:gd name="T34" fmla="*/ 16 w 43"/>
                <a:gd name="T35" fmla="*/ 24 h 26"/>
                <a:gd name="T36" fmla="*/ 16 w 43"/>
                <a:gd name="T37" fmla="*/ 23 h 26"/>
                <a:gd name="T38" fmla="*/ 18 w 43"/>
                <a:gd name="T39" fmla="*/ 23 h 26"/>
                <a:gd name="T40" fmla="*/ 19 w 43"/>
                <a:gd name="T41" fmla="*/ 23 h 26"/>
                <a:gd name="T42" fmla="*/ 21 w 43"/>
                <a:gd name="T43" fmla="*/ 22 h 26"/>
                <a:gd name="T44" fmla="*/ 23 w 43"/>
                <a:gd name="T45" fmla="*/ 21 h 26"/>
                <a:gd name="T46" fmla="*/ 25 w 43"/>
                <a:gd name="T47" fmla="*/ 20 h 26"/>
                <a:gd name="T48" fmla="*/ 28 w 43"/>
                <a:gd name="T49" fmla="*/ 16 h 26"/>
                <a:gd name="T50" fmla="*/ 29 w 43"/>
                <a:gd name="T51" fmla="*/ 16 h 26"/>
                <a:gd name="T52" fmla="*/ 31 w 43"/>
                <a:gd name="T53" fmla="*/ 16 h 26"/>
                <a:gd name="T54" fmla="*/ 33 w 43"/>
                <a:gd name="T55" fmla="*/ 16 h 26"/>
                <a:gd name="T56" fmla="*/ 35 w 43"/>
                <a:gd name="T57" fmla="*/ 15 h 26"/>
                <a:gd name="T58" fmla="*/ 35 w 43"/>
                <a:gd name="T59" fmla="*/ 14 h 26"/>
                <a:gd name="T60" fmla="*/ 34 w 43"/>
                <a:gd name="T61" fmla="*/ 14 h 26"/>
                <a:gd name="T62" fmla="*/ 33 w 43"/>
                <a:gd name="T63" fmla="*/ 12 h 26"/>
                <a:gd name="T64" fmla="*/ 32 w 43"/>
                <a:gd name="T65" fmla="*/ 11 h 26"/>
                <a:gd name="T66" fmla="*/ 32 w 43"/>
                <a:gd name="T67" fmla="*/ 8 h 26"/>
                <a:gd name="T68" fmla="*/ 41 w 43"/>
                <a:gd name="T69" fmla="*/ 1 h 26"/>
                <a:gd name="T70" fmla="*/ 43 w 43"/>
                <a:gd name="T71" fmla="*/ 0 h 26"/>
                <a:gd name="T72" fmla="*/ 40 w 43"/>
                <a:gd name="T73" fmla="*/ 0 h 26"/>
                <a:gd name="T74" fmla="*/ 38 w 43"/>
                <a:gd name="T75" fmla="*/ 1 h 26"/>
                <a:gd name="T76" fmla="*/ 36 w 43"/>
                <a:gd name="T77" fmla="*/ 2 h 26"/>
                <a:gd name="T78" fmla="*/ 34 w 43"/>
                <a:gd name="T79" fmla="*/ 4 h 26"/>
                <a:gd name="T80" fmla="*/ 25 w 43"/>
                <a:gd name="T81" fmla="*/ 7 h 26"/>
                <a:gd name="T82" fmla="*/ 22 w 43"/>
                <a:gd name="T83" fmla="*/ 7 h 26"/>
                <a:gd name="T84" fmla="*/ 20 w 43"/>
                <a:gd name="T85" fmla="*/ 7 h 26"/>
                <a:gd name="T86" fmla="*/ 16 w 43"/>
                <a:gd name="T87" fmla="*/ 7 h 26"/>
                <a:gd name="T88" fmla="*/ 12 w 43"/>
                <a:gd name="T89" fmla="*/ 6 h 26"/>
                <a:gd name="T90" fmla="*/ 12 w 43"/>
                <a:gd name="T91" fmla="*/ 9 h 26"/>
                <a:gd name="T92" fmla="*/ 11 w 43"/>
                <a:gd name="T93" fmla="*/ 11 h 26"/>
                <a:gd name="T94" fmla="*/ 9 w 43"/>
                <a:gd name="T95" fmla="*/ 12 h 26"/>
                <a:gd name="T96" fmla="*/ 8 w 43"/>
                <a:gd name="T97" fmla="*/ 12 h 26"/>
                <a:gd name="T98" fmla="*/ 8 w 43"/>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26">
                  <a:moveTo>
                    <a:pt x="8" y="12"/>
                  </a:moveTo>
                  <a:lnTo>
                    <a:pt x="7" y="11"/>
                  </a:lnTo>
                  <a:lnTo>
                    <a:pt x="5" y="12"/>
                  </a:lnTo>
                  <a:lnTo>
                    <a:pt x="4" y="14"/>
                  </a:lnTo>
                  <a:lnTo>
                    <a:pt x="2" y="14"/>
                  </a:lnTo>
                  <a:lnTo>
                    <a:pt x="0" y="14"/>
                  </a:lnTo>
                  <a:lnTo>
                    <a:pt x="1" y="16"/>
                  </a:lnTo>
                  <a:lnTo>
                    <a:pt x="3" y="21"/>
                  </a:lnTo>
                  <a:lnTo>
                    <a:pt x="4" y="22"/>
                  </a:lnTo>
                  <a:lnTo>
                    <a:pt x="5" y="23"/>
                  </a:lnTo>
                  <a:lnTo>
                    <a:pt x="9" y="24"/>
                  </a:lnTo>
                  <a:lnTo>
                    <a:pt x="10" y="24"/>
                  </a:lnTo>
                  <a:lnTo>
                    <a:pt x="12" y="24"/>
                  </a:lnTo>
                  <a:lnTo>
                    <a:pt x="13" y="24"/>
                  </a:lnTo>
                  <a:lnTo>
                    <a:pt x="14" y="26"/>
                  </a:lnTo>
                  <a:lnTo>
                    <a:pt x="16" y="26"/>
                  </a:lnTo>
                  <a:lnTo>
                    <a:pt x="16" y="25"/>
                  </a:lnTo>
                  <a:lnTo>
                    <a:pt x="16" y="24"/>
                  </a:lnTo>
                  <a:lnTo>
                    <a:pt x="16" y="23"/>
                  </a:lnTo>
                  <a:lnTo>
                    <a:pt x="18" y="23"/>
                  </a:lnTo>
                  <a:lnTo>
                    <a:pt x="19" y="23"/>
                  </a:lnTo>
                  <a:lnTo>
                    <a:pt x="21" y="22"/>
                  </a:lnTo>
                  <a:lnTo>
                    <a:pt x="23" y="21"/>
                  </a:lnTo>
                  <a:lnTo>
                    <a:pt x="25" y="20"/>
                  </a:lnTo>
                  <a:lnTo>
                    <a:pt x="28" y="16"/>
                  </a:lnTo>
                  <a:lnTo>
                    <a:pt x="29" y="16"/>
                  </a:lnTo>
                  <a:lnTo>
                    <a:pt x="31" y="16"/>
                  </a:lnTo>
                  <a:lnTo>
                    <a:pt x="33" y="16"/>
                  </a:lnTo>
                  <a:lnTo>
                    <a:pt x="35" y="15"/>
                  </a:lnTo>
                  <a:lnTo>
                    <a:pt x="35" y="14"/>
                  </a:lnTo>
                  <a:lnTo>
                    <a:pt x="34" y="14"/>
                  </a:lnTo>
                  <a:lnTo>
                    <a:pt x="33" y="12"/>
                  </a:lnTo>
                  <a:lnTo>
                    <a:pt x="32" y="11"/>
                  </a:lnTo>
                  <a:lnTo>
                    <a:pt x="32" y="8"/>
                  </a:lnTo>
                  <a:lnTo>
                    <a:pt x="41" y="1"/>
                  </a:lnTo>
                  <a:lnTo>
                    <a:pt x="43" y="0"/>
                  </a:lnTo>
                  <a:lnTo>
                    <a:pt x="40" y="0"/>
                  </a:lnTo>
                  <a:lnTo>
                    <a:pt x="38" y="1"/>
                  </a:lnTo>
                  <a:lnTo>
                    <a:pt x="36" y="2"/>
                  </a:lnTo>
                  <a:lnTo>
                    <a:pt x="34" y="4"/>
                  </a:lnTo>
                  <a:lnTo>
                    <a:pt x="25" y="7"/>
                  </a:lnTo>
                  <a:lnTo>
                    <a:pt x="22" y="7"/>
                  </a:lnTo>
                  <a:lnTo>
                    <a:pt x="20" y="7"/>
                  </a:lnTo>
                  <a:lnTo>
                    <a:pt x="16" y="7"/>
                  </a:lnTo>
                  <a:lnTo>
                    <a:pt x="12" y="6"/>
                  </a:lnTo>
                  <a:lnTo>
                    <a:pt x="12" y="9"/>
                  </a:lnTo>
                  <a:lnTo>
                    <a:pt x="11" y="11"/>
                  </a:lnTo>
                  <a:lnTo>
                    <a:pt x="9" y="12"/>
                  </a:lnTo>
                  <a:lnTo>
                    <a:pt x="8" y="12"/>
                  </a:lnTo>
                  <a:lnTo>
                    <a:pt x="8" y="12"/>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208" name="France"/>
            <p:cNvGrpSpPr/>
            <p:nvPr/>
          </p:nvGrpSpPr>
          <p:grpSpPr>
            <a:xfrm>
              <a:off x="1014412" y="2562226"/>
              <a:ext cx="6810376" cy="2725738"/>
              <a:chOff x="1014412" y="2562226"/>
              <a:chExt cx="6810376" cy="2725738"/>
            </a:xfrm>
            <a:grpFill/>
          </p:grpSpPr>
          <p:sp>
            <p:nvSpPr>
              <p:cNvPr id="211" name="Freeform 198"/>
              <p:cNvSpPr>
                <a:spLocks noEditPoints="1"/>
              </p:cNvSpPr>
              <p:nvPr/>
            </p:nvSpPr>
            <p:spPr bwMode="auto">
              <a:xfrm>
                <a:off x="1014412" y="4814888"/>
                <a:ext cx="515937" cy="455613"/>
              </a:xfrm>
              <a:custGeom>
                <a:avLst/>
                <a:gdLst>
                  <a:gd name="T0" fmla="*/ 288 w 325"/>
                  <a:gd name="T1" fmla="*/ 285 h 287"/>
                  <a:gd name="T2" fmla="*/ 290 w 325"/>
                  <a:gd name="T3" fmla="*/ 287 h 287"/>
                  <a:gd name="T4" fmla="*/ 322 w 325"/>
                  <a:gd name="T5" fmla="*/ 230 h 287"/>
                  <a:gd name="T6" fmla="*/ 321 w 325"/>
                  <a:gd name="T7" fmla="*/ 230 h 287"/>
                  <a:gd name="T8" fmla="*/ 325 w 325"/>
                  <a:gd name="T9" fmla="*/ 232 h 287"/>
                  <a:gd name="T10" fmla="*/ 231 w 325"/>
                  <a:gd name="T11" fmla="*/ 226 h 287"/>
                  <a:gd name="T12" fmla="*/ 233 w 325"/>
                  <a:gd name="T13" fmla="*/ 227 h 287"/>
                  <a:gd name="T14" fmla="*/ 307 w 325"/>
                  <a:gd name="T15" fmla="*/ 225 h 287"/>
                  <a:gd name="T16" fmla="*/ 227 w 325"/>
                  <a:gd name="T17" fmla="*/ 222 h 287"/>
                  <a:gd name="T18" fmla="*/ 227 w 325"/>
                  <a:gd name="T19" fmla="*/ 222 h 287"/>
                  <a:gd name="T20" fmla="*/ 227 w 325"/>
                  <a:gd name="T21" fmla="*/ 215 h 287"/>
                  <a:gd name="T22" fmla="*/ 228 w 325"/>
                  <a:gd name="T23" fmla="*/ 212 h 287"/>
                  <a:gd name="T24" fmla="*/ 229 w 325"/>
                  <a:gd name="T25" fmla="*/ 211 h 287"/>
                  <a:gd name="T26" fmla="*/ 227 w 325"/>
                  <a:gd name="T27" fmla="*/ 214 h 287"/>
                  <a:gd name="T28" fmla="*/ 227 w 325"/>
                  <a:gd name="T29" fmla="*/ 215 h 287"/>
                  <a:gd name="T30" fmla="*/ 49 w 325"/>
                  <a:gd name="T31" fmla="*/ 207 h 287"/>
                  <a:gd name="T32" fmla="*/ 44 w 325"/>
                  <a:gd name="T33" fmla="*/ 210 h 287"/>
                  <a:gd name="T34" fmla="*/ 52 w 325"/>
                  <a:gd name="T35" fmla="*/ 214 h 287"/>
                  <a:gd name="T36" fmla="*/ 54 w 325"/>
                  <a:gd name="T37" fmla="*/ 212 h 287"/>
                  <a:gd name="T38" fmla="*/ 41 w 325"/>
                  <a:gd name="T39" fmla="*/ 207 h 287"/>
                  <a:gd name="T40" fmla="*/ 38 w 325"/>
                  <a:gd name="T41" fmla="*/ 208 h 287"/>
                  <a:gd name="T42" fmla="*/ 40 w 325"/>
                  <a:gd name="T43" fmla="*/ 208 h 287"/>
                  <a:gd name="T44" fmla="*/ 2 w 325"/>
                  <a:gd name="T45" fmla="*/ 189 h 287"/>
                  <a:gd name="T46" fmla="*/ 3 w 325"/>
                  <a:gd name="T47" fmla="*/ 192 h 287"/>
                  <a:gd name="T48" fmla="*/ 166 w 325"/>
                  <a:gd name="T49" fmla="*/ 186 h 287"/>
                  <a:gd name="T50" fmla="*/ 168 w 325"/>
                  <a:gd name="T51" fmla="*/ 186 h 287"/>
                  <a:gd name="T52" fmla="*/ 162 w 325"/>
                  <a:gd name="T53" fmla="*/ 185 h 287"/>
                  <a:gd name="T54" fmla="*/ 2 w 325"/>
                  <a:gd name="T55" fmla="*/ 186 h 287"/>
                  <a:gd name="T56" fmla="*/ 1 w 325"/>
                  <a:gd name="T57" fmla="*/ 186 h 287"/>
                  <a:gd name="T58" fmla="*/ 2 w 325"/>
                  <a:gd name="T59" fmla="*/ 186 h 287"/>
                  <a:gd name="T60" fmla="*/ 121 w 325"/>
                  <a:gd name="T61" fmla="*/ 175 h 287"/>
                  <a:gd name="T62" fmla="*/ 121 w 325"/>
                  <a:gd name="T63" fmla="*/ 176 h 287"/>
                  <a:gd name="T64" fmla="*/ 124 w 325"/>
                  <a:gd name="T65" fmla="*/ 180 h 287"/>
                  <a:gd name="T66" fmla="*/ 185 w 325"/>
                  <a:gd name="T67" fmla="*/ 171 h 287"/>
                  <a:gd name="T68" fmla="*/ 185 w 325"/>
                  <a:gd name="T69" fmla="*/ 173 h 287"/>
                  <a:gd name="T70" fmla="*/ 129 w 325"/>
                  <a:gd name="T71" fmla="*/ 166 h 287"/>
                  <a:gd name="T72" fmla="*/ 130 w 325"/>
                  <a:gd name="T73" fmla="*/ 168 h 287"/>
                  <a:gd name="T74" fmla="*/ 246 w 325"/>
                  <a:gd name="T75" fmla="*/ 39 h 287"/>
                  <a:gd name="T76" fmla="*/ 246 w 325"/>
                  <a:gd name="T77" fmla="*/ 41 h 287"/>
                  <a:gd name="T78" fmla="*/ 234 w 325"/>
                  <a:gd name="T79" fmla="*/ 27 h 287"/>
                  <a:gd name="T80" fmla="*/ 236 w 325"/>
                  <a:gd name="T81" fmla="*/ 21 h 287"/>
                  <a:gd name="T82" fmla="*/ 236 w 325"/>
                  <a:gd name="T83" fmla="*/ 24 h 287"/>
                  <a:gd name="T84" fmla="*/ 236 w 325"/>
                  <a:gd name="T85" fmla="*/ 21 h 287"/>
                  <a:gd name="T86" fmla="*/ 213 w 325"/>
                  <a:gd name="T87" fmla="*/ 13 h 287"/>
                  <a:gd name="T88" fmla="*/ 213 w 325"/>
                  <a:gd name="T89" fmla="*/ 14 h 287"/>
                  <a:gd name="T90" fmla="*/ 224 w 325"/>
                  <a:gd name="T91" fmla="*/ 2 h 287"/>
                  <a:gd name="T92" fmla="*/ 222 w 325"/>
                  <a:gd name="T93" fmla="*/ 2 h 287"/>
                  <a:gd name="T94" fmla="*/ 213 w 325"/>
                  <a:gd name="T95" fmla="*/ 3 h 287"/>
                  <a:gd name="T96" fmla="*/ 209 w 325"/>
                  <a:gd name="T97" fmla="*/ 0 h 287"/>
                  <a:gd name="T98" fmla="*/ 211 w 325"/>
                  <a:gd name="T9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287">
                    <a:moveTo>
                      <a:pt x="290" y="287"/>
                    </a:moveTo>
                    <a:lnTo>
                      <a:pt x="289" y="285"/>
                    </a:lnTo>
                    <a:lnTo>
                      <a:pt x="289" y="284"/>
                    </a:lnTo>
                    <a:lnTo>
                      <a:pt x="288" y="285"/>
                    </a:lnTo>
                    <a:lnTo>
                      <a:pt x="289" y="285"/>
                    </a:lnTo>
                    <a:lnTo>
                      <a:pt x="289" y="286"/>
                    </a:lnTo>
                    <a:lnTo>
                      <a:pt x="289" y="287"/>
                    </a:lnTo>
                    <a:lnTo>
                      <a:pt x="290" y="287"/>
                    </a:lnTo>
                    <a:close/>
                    <a:moveTo>
                      <a:pt x="325" y="232"/>
                    </a:moveTo>
                    <a:lnTo>
                      <a:pt x="324" y="231"/>
                    </a:lnTo>
                    <a:lnTo>
                      <a:pt x="323" y="230"/>
                    </a:lnTo>
                    <a:lnTo>
                      <a:pt x="322" y="230"/>
                    </a:lnTo>
                    <a:lnTo>
                      <a:pt x="321" y="229"/>
                    </a:lnTo>
                    <a:lnTo>
                      <a:pt x="321" y="230"/>
                    </a:lnTo>
                    <a:lnTo>
                      <a:pt x="321" y="230"/>
                    </a:lnTo>
                    <a:lnTo>
                      <a:pt x="321" y="230"/>
                    </a:lnTo>
                    <a:lnTo>
                      <a:pt x="323" y="231"/>
                    </a:lnTo>
                    <a:lnTo>
                      <a:pt x="324" y="231"/>
                    </a:lnTo>
                    <a:lnTo>
                      <a:pt x="325" y="232"/>
                    </a:lnTo>
                    <a:lnTo>
                      <a:pt x="325" y="232"/>
                    </a:lnTo>
                    <a:lnTo>
                      <a:pt x="325" y="232"/>
                    </a:lnTo>
                    <a:lnTo>
                      <a:pt x="325" y="232"/>
                    </a:lnTo>
                    <a:close/>
                    <a:moveTo>
                      <a:pt x="233" y="227"/>
                    </a:moveTo>
                    <a:lnTo>
                      <a:pt x="231" y="226"/>
                    </a:lnTo>
                    <a:lnTo>
                      <a:pt x="231" y="227"/>
                    </a:lnTo>
                    <a:lnTo>
                      <a:pt x="233" y="228"/>
                    </a:lnTo>
                    <a:lnTo>
                      <a:pt x="233" y="228"/>
                    </a:lnTo>
                    <a:lnTo>
                      <a:pt x="233" y="227"/>
                    </a:lnTo>
                    <a:lnTo>
                      <a:pt x="233" y="227"/>
                    </a:lnTo>
                    <a:close/>
                    <a:moveTo>
                      <a:pt x="310" y="227"/>
                    </a:moveTo>
                    <a:lnTo>
                      <a:pt x="308" y="225"/>
                    </a:lnTo>
                    <a:lnTo>
                      <a:pt x="307" y="225"/>
                    </a:lnTo>
                    <a:lnTo>
                      <a:pt x="310" y="227"/>
                    </a:lnTo>
                    <a:lnTo>
                      <a:pt x="310" y="227"/>
                    </a:lnTo>
                    <a:close/>
                    <a:moveTo>
                      <a:pt x="229" y="224"/>
                    </a:moveTo>
                    <a:lnTo>
                      <a:pt x="227" y="222"/>
                    </a:lnTo>
                    <a:lnTo>
                      <a:pt x="227" y="221"/>
                    </a:lnTo>
                    <a:lnTo>
                      <a:pt x="226" y="220"/>
                    </a:lnTo>
                    <a:lnTo>
                      <a:pt x="226" y="221"/>
                    </a:lnTo>
                    <a:lnTo>
                      <a:pt x="227" y="222"/>
                    </a:lnTo>
                    <a:lnTo>
                      <a:pt x="228" y="224"/>
                    </a:lnTo>
                    <a:lnTo>
                      <a:pt x="229" y="224"/>
                    </a:lnTo>
                    <a:lnTo>
                      <a:pt x="229" y="224"/>
                    </a:lnTo>
                    <a:close/>
                    <a:moveTo>
                      <a:pt x="227" y="215"/>
                    </a:moveTo>
                    <a:lnTo>
                      <a:pt x="227" y="215"/>
                    </a:lnTo>
                    <a:lnTo>
                      <a:pt x="227" y="215"/>
                    </a:lnTo>
                    <a:lnTo>
                      <a:pt x="227" y="214"/>
                    </a:lnTo>
                    <a:lnTo>
                      <a:pt x="228" y="212"/>
                    </a:lnTo>
                    <a:lnTo>
                      <a:pt x="230" y="211"/>
                    </a:lnTo>
                    <a:lnTo>
                      <a:pt x="230" y="211"/>
                    </a:lnTo>
                    <a:lnTo>
                      <a:pt x="230" y="211"/>
                    </a:lnTo>
                    <a:lnTo>
                      <a:pt x="229" y="211"/>
                    </a:lnTo>
                    <a:lnTo>
                      <a:pt x="228" y="212"/>
                    </a:lnTo>
                    <a:lnTo>
                      <a:pt x="227" y="212"/>
                    </a:lnTo>
                    <a:lnTo>
                      <a:pt x="227" y="213"/>
                    </a:lnTo>
                    <a:lnTo>
                      <a:pt x="227" y="214"/>
                    </a:lnTo>
                    <a:lnTo>
                      <a:pt x="227" y="215"/>
                    </a:lnTo>
                    <a:lnTo>
                      <a:pt x="227" y="216"/>
                    </a:lnTo>
                    <a:lnTo>
                      <a:pt x="228" y="216"/>
                    </a:lnTo>
                    <a:lnTo>
                      <a:pt x="227" y="215"/>
                    </a:lnTo>
                    <a:lnTo>
                      <a:pt x="227" y="215"/>
                    </a:lnTo>
                    <a:close/>
                    <a:moveTo>
                      <a:pt x="51" y="211"/>
                    </a:moveTo>
                    <a:lnTo>
                      <a:pt x="50" y="209"/>
                    </a:lnTo>
                    <a:lnTo>
                      <a:pt x="49" y="207"/>
                    </a:lnTo>
                    <a:lnTo>
                      <a:pt x="46" y="207"/>
                    </a:lnTo>
                    <a:lnTo>
                      <a:pt x="44" y="208"/>
                    </a:lnTo>
                    <a:lnTo>
                      <a:pt x="44" y="209"/>
                    </a:lnTo>
                    <a:lnTo>
                      <a:pt x="44" y="210"/>
                    </a:lnTo>
                    <a:lnTo>
                      <a:pt x="46" y="212"/>
                    </a:lnTo>
                    <a:lnTo>
                      <a:pt x="48" y="212"/>
                    </a:lnTo>
                    <a:lnTo>
                      <a:pt x="51" y="212"/>
                    </a:lnTo>
                    <a:lnTo>
                      <a:pt x="52" y="214"/>
                    </a:lnTo>
                    <a:lnTo>
                      <a:pt x="53" y="215"/>
                    </a:lnTo>
                    <a:lnTo>
                      <a:pt x="55" y="215"/>
                    </a:lnTo>
                    <a:lnTo>
                      <a:pt x="55" y="214"/>
                    </a:lnTo>
                    <a:lnTo>
                      <a:pt x="54" y="212"/>
                    </a:lnTo>
                    <a:lnTo>
                      <a:pt x="51" y="211"/>
                    </a:lnTo>
                    <a:lnTo>
                      <a:pt x="51" y="211"/>
                    </a:lnTo>
                    <a:close/>
                    <a:moveTo>
                      <a:pt x="40" y="208"/>
                    </a:moveTo>
                    <a:lnTo>
                      <a:pt x="41" y="207"/>
                    </a:lnTo>
                    <a:lnTo>
                      <a:pt x="40" y="206"/>
                    </a:lnTo>
                    <a:lnTo>
                      <a:pt x="38" y="206"/>
                    </a:lnTo>
                    <a:lnTo>
                      <a:pt x="38" y="207"/>
                    </a:lnTo>
                    <a:lnTo>
                      <a:pt x="38" y="208"/>
                    </a:lnTo>
                    <a:lnTo>
                      <a:pt x="39" y="208"/>
                    </a:lnTo>
                    <a:lnTo>
                      <a:pt x="40" y="209"/>
                    </a:lnTo>
                    <a:lnTo>
                      <a:pt x="40" y="208"/>
                    </a:lnTo>
                    <a:lnTo>
                      <a:pt x="40" y="208"/>
                    </a:lnTo>
                    <a:close/>
                    <a:moveTo>
                      <a:pt x="3" y="192"/>
                    </a:moveTo>
                    <a:lnTo>
                      <a:pt x="4" y="192"/>
                    </a:lnTo>
                    <a:lnTo>
                      <a:pt x="3" y="190"/>
                    </a:lnTo>
                    <a:lnTo>
                      <a:pt x="2" y="189"/>
                    </a:lnTo>
                    <a:lnTo>
                      <a:pt x="2" y="189"/>
                    </a:lnTo>
                    <a:lnTo>
                      <a:pt x="2" y="192"/>
                    </a:lnTo>
                    <a:lnTo>
                      <a:pt x="3" y="192"/>
                    </a:lnTo>
                    <a:lnTo>
                      <a:pt x="3" y="192"/>
                    </a:lnTo>
                    <a:close/>
                    <a:moveTo>
                      <a:pt x="168" y="186"/>
                    </a:moveTo>
                    <a:lnTo>
                      <a:pt x="167" y="186"/>
                    </a:lnTo>
                    <a:lnTo>
                      <a:pt x="166" y="186"/>
                    </a:lnTo>
                    <a:lnTo>
                      <a:pt x="166" y="186"/>
                    </a:lnTo>
                    <a:lnTo>
                      <a:pt x="168" y="186"/>
                    </a:lnTo>
                    <a:lnTo>
                      <a:pt x="169" y="187"/>
                    </a:lnTo>
                    <a:lnTo>
                      <a:pt x="168" y="186"/>
                    </a:lnTo>
                    <a:lnTo>
                      <a:pt x="168" y="186"/>
                    </a:lnTo>
                    <a:close/>
                    <a:moveTo>
                      <a:pt x="165" y="186"/>
                    </a:moveTo>
                    <a:lnTo>
                      <a:pt x="164" y="186"/>
                    </a:lnTo>
                    <a:lnTo>
                      <a:pt x="163" y="185"/>
                    </a:lnTo>
                    <a:lnTo>
                      <a:pt x="162" y="185"/>
                    </a:lnTo>
                    <a:lnTo>
                      <a:pt x="164" y="186"/>
                    </a:lnTo>
                    <a:lnTo>
                      <a:pt x="165" y="186"/>
                    </a:lnTo>
                    <a:lnTo>
                      <a:pt x="165" y="186"/>
                    </a:lnTo>
                    <a:close/>
                    <a:moveTo>
                      <a:pt x="2" y="186"/>
                    </a:moveTo>
                    <a:lnTo>
                      <a:pt x="2" y="186"/>
                    </a:lnTo>
                    <a:lnTo>
                      <a:pt x="2" y="185"/>
                    </a:lnTo>
                    <a:lnTo>
                      <a:pt x="0" y="184"/>
                    </a:lnTo>
                    <a:lnTo>
                      <a:pt x="1" y="186"/>
                    </a:lnTo>
                    <a:lnTo>
                      <a:pt x="1" y="186"/>
                    </a:lnTo>
                    <a:lnTo>
                      <a:pt x="2" y="187"/>
                    </a:lnTo>
                    <a:lnTo>
                      <a:pt x="2" y="186"/>
                    </a:lnTo>
                    <a:lnTo>
                      <a:pt x="2" y="186"/>
                    </a:lnTo>
                    <a:close/>
                    <a:moveTo>
                      <a:pt x="124" y="179"/>
                    </a:moveTo>
                    <a:lnTo>
                      <a:pt x="123" y="178"/>
                    </a:lnTo>
                    <a:lnTo>
                      <a:pt x="122" y="177"/>
                    </a:lnTo>
                    <a:lnTo>
                      <a:pt x="121" y="175"/>
                    </a:lnTo>
                    <a:lnTo>
                      <a:pt x="120" y="173"/>
                    </a:lnTo>
                    <a:lnTo>
                      <a:pt x="120" y="174"/>
                    </a:lnTo>
                    <a:lnTo>
                      <a:pt x="121" y="175"/>
                    </a:lnTo>
                    <a:lnTo>
                      <a:pt x="121" y="176"/>
                    </a:lnTo>
                    <a:lnTo>
                      <a:pt x="122" y="177"/>
                    </a:lnTo>
                    <a:lnTo>
                      <a:pt x="123" y="178"/>
                    </a:lnTo>
                    <a:lnTo>
                      <a:pt x="124" y="180"/>
                    </a:lnTo>
                    <a:lnTo>
                      <a:pt x="124" y="180"/>
                    </a:lnTo>
                    <a:lnTo>
                      <a:pt x="124" y="179"/>
                    </a:lnTo>
                    <a:lnTo>
                      <a:pt x="124" y="179"/>
                    </a:lnTo>
                    <a:close/>
                    <a:moveTo>
                      <a:pt x="185" y="173"/>
                    </a:moveTo>
                    <a:lnTo>
                      <a:pt x="185" y="171"/>
                    </a:lnTo>
                    <a:lnTo>
                      <a:pt x="185" y="171"/>
                    </a:lnTo>
                    <a:lnTo>
                      <a:pt x="185" y="173"/>
                    </a:lnTo>
                    <a:lnTo>
                      <a:pt x="185" y="173"/>
                    </a:lnTo>
                    <a:lnTo>
                      <a:pt x="185" y="173"/>
                    </a:lnTo>
                    <a:close/>
                    <a:moveTo>
                      <a:pt x="130" y="168"/>
                    </a:moveTo>
                    <a:lnTo>
                      <a:pt x="129" y="166"/>
                    </a:lnTo>
                    <a:lnTo>
                      <a:pt x="129" y="166"/>
                    </a:lnTo>
                    <a:lnTo>
                      <a:pt x="129" y="166"/>
                    </a:lnTo>
                    <a:lnTo>
                      <a:pt x="130" y="168"/>
                    </a:lnTo>
                    <a:lnTo>
                      <a:pt x="130" y="169"/>
                    </a:lnTo>
                    <a:lnTo>
                      <a:pt x="130" y="168"/>
                    </a:lnTo>
                    <a:lnTo>
                      <a:pt x="130" y="168"/>
                    </a:lnTo>
                    <a:close/>
                    <a:moveTo>
                      <a:pt x="246" y="41"/>
                    </a:moveTo>
                    <a:lnTo>
                      <a:pt x="246" y="41"/>
                    </a:lnTo>
                    <a:lnTo>
                      <a:pt x="246" y="40"/>
                    </a:lnTo>
                    <a:lnTo>
                      <a:pt x="246" y="39"/>
                    </a:lnTo>
                    <a:lnTo>
                      <a:pt x="244" y="39"/>
                    </a:lnTo>
                    <a:lnTo>
                      <a:pt x="245" y="42"/>
                    </a:lnTo>
                    <a:lnTo>
                      <a:pt x="246" y="41"/>
                    </a:lnTo>
                    <a:lnTo>
                      <a:pt x="246" y="41"/>
                    </a:lnTo>
                    <a:close/>
                    <a:moveTo>
                      <a:pt x="236" y="28"/>
                    </a:moveTo>
                    <a:lnTo>
                      <a:pt x="235" y="27"/>
                    </a:lnTo>
                    <a:lnTo>
                      <a:pt x="235" y="27"/>
                    </a:lnTo>
                    <a:lnTo>
                      <a:pt x="234" y="27"/>
                    </a:lnTo>
                    <a:lnTo>
                      <a:pt x="234" y="28"/>
                    </a:lnTo>
                    <a:lnTo>
                      <a:pt x="236" y="28"/>
                    </a:lnTo>
                    <a:lnTo>
                      <a:pt x="236" y="28"/>
                    </a:lnTo>
                    <a:close/>
                    <a:moveTo>
                      <a:pt x="236" y="21"/>
                    </a:moveTo>
                    <a:lnTo>
                      <a:pt x="233" y="23"/>
                    </a:lnTo>
                    <a:lnTo>
                      <a:pt x="234" y="25"/>
                    </a:lnTo>
                    <a:lnTo>
                      <a:pt x="235" y="25"/>
                    </a:lnTo>
                    <a:lnTo>
                      <a:pt x="236" y="24"/>
                    </a:lnTo>
                    <a:lnTo>
                      <a:pt x="239" y="24"/>
                    </a:lnTo>
                    <a:lnTo>
                      <a:pt x="241" y="22"/>
                    </a:lnTo>
                    <a:lnTo>
                      <a:pt x="239" y="23"/>
                    </a:lnTo>
                    <a:lnTo>
                      <a:pt x="236" y="21"/>
                    </a:lnTo>
                    <a:lnTo>
                      <a:pt x="236" y="21"/>
                    </a:lnTo>
                    <a:close/>
                    <a:moveTo>
                      <a:pt x="213" y="14"/>
                    </a:moveTo>
                    <a:lnTo>
                      <a:pt x="214" y="13"/>
                    </a:lnTo>
                    <a:lnTo>
                      <a:pt x="213" y="13"/>
                    </a:lnTo>
                    <a:lnTo>
                      <a:pt x="212" y="14"/>
                    </a:lnTo>
                    <a:lnTo>
                      <a:pt x="212" y="14"/>
                    </a:lnTo>
                    <a:lnTo>
                      <a:pt x="213" y="15"/>
                    </a:lnTo>
                    <a:lnTo>
                      <a:pt x="213" y="14"/>
                    </a:lnTo>
                    <a:lnTo>
                      <a:pt x="213" y="14"/>
                    </a:lnTo>
                    <a:close/>
                    <a:moveTo>
                      <a:pt x="223" y="3"/>
                    </a:moveTo>
                    <a:lnTo>
                      <a:pt x="224" y="3"/>
                    </a:lnTo>
                    <a:lnTo>
                      <a:pt x="224" y="2"/>
                    </a:lnTo>
                    <a:lnTo>
                      <a:pt x="224" y="1"/>
                    </a:lnTo>
                    <a:lnTo>
                      <a:pt x="222" y="1"/>
                    </a:lnTo>
                    <a:lnTo>
                      <a:pt x="222" y="1"/>
                    </a:lnTo>
                    <a:lnTo>
                      <a:pt x="222" y="2"/>
                    </a:lnTo>
                    <a:lnTo>
                      <a:pt x="222" y="3"/>
                    </a:lnTo>
                    <a:lnTo>
                      <a:pt x="223" y="3"/>
                    </a:lnTo>
                    <a:lnTo>
                      <a:pt x="223" y="3"/>
                    </a:lnTo>
                    <a:close/>
                    <a:moveTo>
                      <a:pt x="213" y="3"/>
                    </a:moveTo>
                    <a:lnTo>
                      <a:pt x="213" y="1"/>
                    </a:lnTo>
                    <a:lnTo>
                      <a:pt x="213" y="1"/>
                    </a:lnTo>
                    <a:lnTo>
                      <a:pt x="213" y="0"/>
                    </a:lnTo>
                    <a:lnTo>
                      <a:pt x="209" y="0"/>
                    </a:lnTo>
                    <a:lnTo>
                      <a:pt x="209" y="0"/>
                    </a:lnTo>
                    <a:lnTo>
                      <a:pt x="209" y="1"/>
                    </a:lnTo>
                    <a:lnTo>
                      <a:pt x="209" y="3"/>
                    </a:lnTo>
                    <a:lnTo>
                      <a:pt x="211" y="3"/>
                    </a:lnTo>
                    <a:lnTo>
                      <a:pt x="213" y="3"/>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2" name="Freeform 213"/>
              <p:cNvSpPr>
                <a:spLocks/>
              </p:cNvSpPr>
              <p:nvPr/>
            </p:nvSpPr>
            <p:spPr bwMode="auto">
              <a:xfrm>
                <a:off x="7491413" y="4960938"/>
                <a:ext cx="6350" cy="11113"/>
              </a:xfrm>
              <a:custGeom>
                <a:avLst/>
                <a:gdLst>
                  <a:gd name="T0" fmla="*/ 3 w 4"/>
                  <a:gd name="T1" fmla="*/ 7 h 7"/>
                  <a:gd name="T2" fmla="*/ 3 w 4"/>
                  <a:gd name="T3" fmla="*/ 6 h 7"/>
                  <a:gd name="T4" fmla="*/ 4 w 4"/>
                  <a:gd name="T5" fmla="*/ 5 h 7"/>
                  <a:gd name="T6" fmla="*/ 4 w 4"/>
                  <a:gd name="T7" fmla="*/ 4 h 7"/>
                  <a:gd name="T8" fmla="*/ 4 w 4"/>
                  <a:gd name="T9" fmla="*/ 2 h 7"/>
                  <a:gd name="T10" fmla="*/ 3 w 4"/>
                  <a:gd name="T11" fmla="*/ 1 h 7"/>
                  <a:gd name="T12" fmla="*/ 2 w 4"/>
                  <a:gd name="T13" fmla="*/ 1 h 7"/>
                  <a:gd name="T14" fmla="*/ 1 w 4"/>
                  <a:gd name="T15" fmla="*/ 0 h 7"/>
                  <a:gd name="T16" fmla="*/ 0 w 4"/>
                  <a:gd name="T17" fmla="*/ 1 h 7"/>
                  <a:gd name="T18" fmla="*/ 1 w 4"/>
                  <a:gd name="T19" fmla="*/ 3 h 7"/>
                  <a:gd name="T20" fmla="*/ 1 w 4"/>
                  <a:gd name="T21" fmla="*/ 4 h 7"/>
                  <a:gd name="T22" fmla="*/ 0 w 4"/>
                  <a:gd name="T23" fmla="*/ 6 h 7"/>
                  <a:gd name="T24" fmla="*/ 1 w 4"/>
                  <a:gd name="T25" fmla="*/ 6 h 7"/>
                  <a:gd name="T26" fmla="*/ 2 w 4"/>
                  <a:gd name="T27" fmla="*/ 7 h 7"/>
                  <a:gd name="T28" fmla="*/ 3 w 4"/>
                  <a:gd name="T29" fmla="*/ 7 h 7"/>
                  <a:gd name="T30" fmla="*/ 3 w 4"/>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7">
                    <a:moveTo>
                      <a:pt x="3" y="7"/>
                    </a:moveTo>
                    <a:lnTo>
                      <a:pt x="3" y="6"/>
                    </a:lnTo>
                    <a:lnTo>
                      <a:pt x="4" y="5"/>
                    </a:lnTo>
                    <a:lnTo>
                      <a:pt x="4" y="4"/>
                    </a:lnTo>
                    <a:lnTo>
                      <a:pt x="4" y="2"/>
                    </a:lnTo>
                    <a:lnTo>
                      <a:pt x="3" y="1"/>
                    </a:lnTo>
                    <a:lnTo>
                      <a:pt x="2" y="1"/>
                    </a:lnTo>
                    <a:lnTo>
                      <a:pt x="1" y="0"/>
                    </a:lnTo>
                    <a:lnTo>
                      <a:pt x="0" y="1"/>
                    </a:lnTo>
                    <a:lnTo>
                      <a:pt x="1" y="3"/>
                    </a:lnTo>
                    <a:lnTo>
                      <a:pt x="1" y="4"/>
                    </a:lnTo>
                    <a:lnTo>
                      <a:pt x="0" y="6"/>
                    </a:lnTo>
                    <a:lnTo>
                      <a:pt x="1" y="6"/>
                    </a:lnTo>
                    <a:lnTo>
                      <a:pt x="2" y="7"/>
                    </a:lnTo>
                    <a:lnTo>
                      <a:pt x="3" y="7"/>
                    </a:lnTo>
                    <a:lnTo>
                      <a:pt x="3" y="7"/>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3" name="Freeform 169"/>
              <p:cNvSpPr>
                <a:spLocks/>
              </p:cNvSpPr>
              <p:nvPr/>
            </p:nvSpPr>
            <p:spPr bwMode="auto">
              <a:xfrm>
                <a:off x="4186237" y="4265613"/>
                <a:ext cx="95250" cy="139700"/>
              </a:xfrm>
              <a:custGeom>
                <a:avLst/>
                <a:gdLst>
                  <a:gd name="T0" fmla="*/ 41 w 60"/>
                  <a:gd name="T1" fmla="*/ 78 h 88"/>
                  <a:gd name="T2" fmla="*/ 47 w 60"/>
                  <a:gd name="T3" fmla="*/ 60 h 88"/>
                  <a:gd name="T4" fmla="*/ 60 w 60"/>
                  <a:gd name="T5" fmla="*/ 38 h 88"/>
                  <a:gd name="T6" fmla="*/ 57 w 60"/>
                  <a:gd name="T7" fmla="*/ 28 h 88"/>
                  <a:gd name="T8" fmla="*/ 35 w 60"/>
                  <a:gd name="T9" fmla="*/ 8 h 88"/>
                  <a:gd name="T10" fmla="*/ 20 w 60"/>
                  <a:gd name="T11" fmla="*/ 3 h 88"/>
                  <a:gd name="T12" fmla="*/ 13 w 60"/>
                  <a:gd name="T13" fmla="*/ 0 h 88"/>
                  <a:gd name="T14" fmla="*/ 2 w 60"/>
                  <a:gd name="T15" fmla="*/ 21 h 88"/>
                  <a:gd name="T16" fmla="*/ 3 w 60"/>
                  <a:gd name="T17" fmla="*/ 37 h 88"/>
                  <a:gd name="T18" fmla="*/ 11 w 60"/>
                  <a:gd name="T19" fmla="*/ 50 h 88"/>
                  <a:gd name="T20" fmla="*/ 7 w 60"/>
                  <a:gd name="T21" fmla="*/ 61 h 88"/>
                  <a:gd name="T22" fmla="*/ 4 w 60"/>
                  <a:gd name="T23" fmla="*/ 72 h 88"/>
                  <a:gd name="T24" fmla="*/ 0 w 60"/>
                  <a:gd name="T25" fmla="*/ 82 h 88"/>
                  <a:gd name="T26" fmla="*/ 8 w 60"/>
                  <a:gd name="T27" fmla="*/ 87 h 88"/>
                  <a:gd name="T28" fmla="*/ 15 w 60"/>
                  <a:gd name="T29" fmla="*/ 80 h 88"/>
                  <a:gd name="T30" fmla="*/ 19 w 60"/>
                  <a:gd name="T31" fmla="*/ 81 h 88"/>
                  <a:gd name="T32" fmla="*/ 22 w 60"/>
                  <a:gd name="T33" fmla="*/ 88 h 88"/>
                  <a:gd name="T34" fmla="*/ 32 w 60"/>
                  <a:gd name="T35" fmla="*/ 86 h 88"/>
                  <a:gd name="T36" fmla="*/ 41 w 60"/>
                  <a:gd name="T37"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8">
                    <a:moveTo>
                      <a:pt x="41" y="78"/>
                    </a:moveTo>
                    <a:lnTo>
                      <a:pt x="47" y="60"/>
                    </a:lnTo>
                    <a:lnTo>
                      <a:pt x="60" y="38"/>
                    </a:lnTo>
                    <a:lnTo>
                      <a:pt x="57" y="28"/>
                    </a:lnTo>
                    <a:lnTo>
                      <a:pt x="35" y="8"/>
                    </a:lnTo>
                    <a:lnTo>
                      <a:pt x="20" y="3"/>
                    </a:lnTo>
                    <a:lnTo>
                      <a:pt x="13" y="0"/>
                    </a:lnTo>
                    <a:lnTo>
                      <a:pt x="2" y="21"/>
                    </a:lnTo>
                    <a:lnTo>
                      <a:pt x="3" y="37"/>
                    </a:lnTo>
                    <a:lnTo>
                      <a:pt x="11" y="50"/>
                    </a:lnTo>
                    <a:lnTo>
                      <a:pt x="7" y="61"/>
                    </a:lnTo>
                    <a:lnTo>
                      <a:pt x="4" y="72"/>
                    </a:lnTo>
                    <a:lnTo>
                      <a:pt x="0" y="82"/>
                    </a:lnTo>
                    <a:lnTo>
                      <a:pt x="8" y="87"/>
                    </a:lnTo>
                    <a:lnTo>
                      <a:pt x="15" y="80"/>
                    </a:lnTo>
                    <a:lnTo>
                      <a:pt x="19" y="81"/>
                    </a:lnTo>
                    <a:lnTo>
                      <a:pt x="22" y="88"/>
                    </a:lnTo>
                    <a:lnTo>
                      <a:pt x="32" y="86"/>
                    </a:lnTo>
                    <a:lnTo>
                      <a:pt x="41" y="7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4" name="Freeform 213"/>
              <p:cNvSpPr>
                <a:spLocks noEditPoints="1"/>
              </p:cNvSpPr>
              <p:nvPr/>
            </p:nvSpPr>
            <p:spPr bwMode="auto">
              <a:xfrm>
                <a:off x="5865812" y="2562226"/>
                <a:ext cx="425450" cy="357188"/>
              </a:xfrm>
              <a:custGeom>
                <a:avLst/>
                <a:gdLst>
                  <a:gd name="T0" fmla="*/ 268 w 268"/>
                  <a:gd name="T1" fmla="*/ 208 h 225"/>
                  <a:gd name="T2" fmla="*/ 264 w 268"/>
                  <a:gd name="T3" fmla="*/ 188 h 225"/>
                  <a:gd name="T4" fmla="*/ 253 w 268"/>
                  <a:gd name="T5" fmla="*/ 197 h 225"/>
                  <a:gd name="T6" fmla="*/ 249 w 268"/>
                  <a:gd name="T7" fmla="*/ 206 h 225"/>
                  <a:gd name="T8" fmla="*/ 253 w 268"/>
                  <a:gd name="T9" fmla="*/ 222 h 225"/>
                  <a:gd name="T10" fmla="*/ 263 w 268"/>
                  <a:gd name="T11" fmla="*/ 225 h 225"/>
                  <a:gd name="T12" fmla="*/ 268 w 268"/>
                  <a:gd name="T13" fmla="*/ 208 h 225"/>
                  <a:gd name="T14" fmla="*/ 151 w 268"/>
                  <a:gd name="T15" fmla="*/ 18 h 225"/>
                  <a:gd name="T16" fmla="*/ 141 w 268"/>
                  <a:gd name="T17" fmla="*/ 9 h 225"/>
                  <a:gd name="T18" fmla="*/ 133 w 268"/>
                  <a:gd name="T19" fmla="*/ 9 h 225"/>
                  <a:gd name="T20" fmla="*/ 131 w 268"/>
                  <a:gd name="T21" fmla="*/ 0 h 225"/>
                  <a:gd name="T22" fmla="*/ 114 w 268"/>
                  <a:gd name="T23" fmla="*/ 5 h 225"/>
                  <a:gd name="T24" fmla="*/ 110 w 268"/>
                  <a:gd name="T25" fmla="*/ 24 h 225"/>
                  <a:gd name="T26" fmla="*/ 68 w 268"/>
                  <a:gd name="T27" fmla="*/ 41 h 225"/>
                  <a:gd name="T28" fmla="*/ 50 w 268"/>
                  <a:gd name="T29" fmla="*/ 32 h 225"/>
                  <a:gd name="T30" fmla="*/ 56 w 268"/>
                  <a:gd name="T31" fmla="*/ 58 h 225"/>
                  <a:gd name="T32" fmla="*/ 25 w 268"/>
                  <a:gd name="T33" fmla="*/ 52 h 225"/>
                  <a:gd name="T34" fmla="*/ 0 w 268"/>
                  <a:gd name="T35" fmla="*/ 57 h 225"/>
                  <a:gd name="T36" fmla="*/ 2 w 268"/>
                  <a:gd name="T37" fmla="*/ 74 h 225"/>
                  <a:gd name="T38" fmla="*/ 30 w 268"/>
                  <a:gd name="T39" fmla="*/ 83 h 225"/>
                  <a:gd name="T40" fmla="*/ 43 w 268"/>
                  <a:gd name="T41" fmla="*/ 95 h 225"/>
                  <a:gd name="T42" fmla="*/ 63 w 268"/>
                  <a:gd name="T43" fmla="*/ 119 h 225"/>
                  <a:gd name="T44" fmla="*/ 59 w 268"/>
                  <a:gd name="T45" fmla="*/ 165 h 225"/>
                  <a:gd name="T46" fmla="*/ 49 w 268"/>
                  <a:gd name="T47" fmla="*/ 179 h 225"/>
                  <a:gd name="T48" fmla="*/ 56 w 268"/>
                  <a:gd name="T49" fmla="*/ 188 h 225"/>
                  <a:gd name="T50" fmla="*/ 92 w 268"/>
                  <a:gd name="T51" fmla="*/ 198 h 225"/>
                  <a:gd name="T52" fmla="*/ 99 w 268"/>
                  <a:gd name="T53" fmla="*/ 194 h 225"/>
                  <a:gd name="T54" fmla="*/ 120 w 268"/>
                  <a:gd name="T55" fmla="*/ 204 h 225"/>
                  <a:gd name="T56" fmla="*/ 142 w 268"/>
                  <a:gd name="T57" fmla="*/ 201 h 225"/>
                  <a:gd name="T58" fmla="*/ 144 w 268"/>
                  <a:gd name="T59" fmla="*/ 187 h 225"/>
                  <a:gd name="T60" fmla="*/ 172 w 268"/>
                  <a:gd name="T61" fmla="*/ 180 h 225"/>
                  <a:gd name="T62" fmla="*/ 210 w 268"/>
                  <a:gd name="T63" fmla="*/ 185 h 225"/>
                  <a:gd name="T64" fmla="*/ 226 w 268"/>
                  <a:gd name="T65" fmla="*/ 173 h 225"/>
                  <a:gd name="T66" fmla="*/ 228 w 268"/>
                  <a:gd name="T67" fmla="*/ 163 h 225"/>
                  <a:gd name="T68" fmla="*/ 218 w 268"/>
                  <a:gd name="T69" fmla="*/ 160 h 225"/>
                  <a:gd name="T70" fmla="*/ 212 w 268"/>
                  <a:gd name="T71" fmla="*/ 141 h 225"/>
                  <a:gd name="T72" fmla="*/ 219 w 268"/>
                  <a:gd name="T73" fmla="*/ 135 h 225"/>
                  <a:gd name="T74" fmla="*/ 212 w 268"/>
                  <a:gd name="T75" fmla="*/ 126 h 225"/>
                  <a:gd name="T76" fmla="*/ 213 w 268"/>
                  <a:gd name="T77" fmla="*/ 120 h 225"/>
                  <a:gd name="T78" fmla="*/ 207 w 268"/>
                  <a:gd name="T79" fmla="*/ 109 h 225"/>
                  <a:gd name="T80" fmla="*/ 197 w 268"/>
                  <a:gd name="T81" fmla="*/ 113 h 225"/>
                  <a:gd name="T82" fmla="*/ 197 w 268"/>
                  <a:gd name="T83" fmla="*/ 102 h 225"/>
                  <a:gd name="T84" fmla="*/ 211 w 268"/>
                  <a:gd name="T85" fmla="*/ 89 h 225"/>
                  <a:gd name="T86" fmla="*/ 210 w 268"/>
                  <a:gd name="T87" fmla="*/ 83 h 225"/>
                  <a:gd name="T88" fmla="*/ 219 w 268"/>
                  <a:gd name="T89" fmla="*/ 85 h 225"/>
                  <a:gd name="T90" fmla="*/ 224 w 268"/>
                  <a:gd name="T91" fmla="*/ 81 h 225"/>
                  <a:gd name="T92" fmla="*/ 225 w 268"/>
                  <a:gd name="T93" fmla="*/ 65 h 225"/>
                  <a:gd name="T94" fmla="*/ 234 w 268"/>
                  <a:gd name="T95" fmla="*/ 50 h 225"/>
                  <a:gd name="T96" fmla="*/ 208 w 268"/>
                  <a:gd name="T97" fmla="*/ 45 h 225"/>
                  <a:gd name="T98" fmla="*/ 198 w 268"/>
                  <a:gd name="T99" fmla="*/ 39 h 225"/>
                  <a:gd name="T100" fmla="*/ 193 w 268"/>
                  <a:gd name="T101" fmla="*/ 39 h 225"/>
                  <a:gd name="T102" fmla="*/ 189 w 268"/>
                  <a:gd name="T103" fmla="*/ 38 h 225"/>
                  <a:gd name="T104" fmla="*/ 172 w 268"/>
                  <a:gd name="T105" fmla="*/ 27 h 225"/>
                  <a:gd name="T106" fmla="*/ 163 w 268"/>
                  <a:gd name="T107" fmla="*/ 28 h 225"/>
                  <a:gd name="T108" fmla="*/ 151 w 268"/>
                  <a:gd name="T109" fmla="*/ 18 h 225"/>
                  <a:gd name="T110" fmla="*/ 151 w 268"/>
                  <a:gd name="T11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225">
                    <a:moveTo>
                      <a:pt x="268" y="208"/>
                    </a:moveTo>
                    <a:lnTo>
                      <a:pt x="264" y="188"/>
                    </a:lnTo>
                    <a:lnTo>
                      <a:pt x="253" y="197"/>
                    </a:lnTo>
                    <a:lnTo>
                      <a:pt x="249" y="206"/>
                    </a:lnTo>
                    <a:lnTo>
                      <a:pt x="253" y="222"/>
                    </a:lnTo>
                    <a:lnTo>
                      <a:pt x="263" y="225"/>
                    </a:lnTo>
                    <a:lnTo>
                      <a:pt x="268" y="208"/>
                    </a:lnTo>
                    <a:close/>
                    <a:moveTo>
                      <a:pt x="151" y="18"/>
                    </a:moveTo>
                    <a:lnTo>
                      <a:pt x="141" y="9"/>
                    </a:lnTo>
                    <a:lnTo>
                      <a:pt x="133" y="9"/>
                    </a:lnTo>
                    <a:lnTo>
                      <a:pt x="131" y="0"/>
                    </a:lnTo>
                    <a:lnTo>
                      <a:pt x="114" y="5"/>
                    </a:lnTo>
                    <a:lnTo>
                      <a:pt x="110" y="24"/>
                    </a:lnTo>
                    <a:lnTo>
                      <a:pt x="68" y="41"/>
                    </a:lnTo>
                    <a:lnTo>
                      <a:pt x="50" y="32"/>
                    </a:lnTo>
                    <a:lnTo>
                      <a:pt x="56" y="58"/>
                    </a:lnTo>
                    <a:lnTo>
                      <a:pt x="25" y="52"/>
                    </a:lnTo>
                    <a:lnTo>
                      <a:pt x="0" y="57"/>
                    </a:lnTo>
                    <a:lnTo>
                      <a:pt x="2" y="74"/>
                    </a:lnTo>
                    <a:lnTo>
                      <a:pt x="30" y="83"/>
                    </a:lnTo>
                    <a:lnTo>
                      <a:pt x="43" y="95"/>
                    </a:lnTo>
                    <a:lnTo>
                      <a:pt x="63" y="119"/>
                    </a:lnTo>
                    <a:lnTo>
                      <a:pt x="59" y="165"/>
                    </a:lnTo>
                    <a:lnTo>
                      <a:pt x="49" y="179"/>
                    </a:lnTo>
                    <a:lnTo>
                      <a:pt x="56" y="188"/>
                    </a:lnTo>
                    <a:lnTo>
                      <a:pt x="92" y="198"/>
                    </a:lnTo>
                    <a:lnTo>
                      <a:pt x="99" y="194"/>
                    </a:lnTo>
                    <a:lnTo>
                      <a:pt x="120" y="204"/>
                    </a:lnTo>
                    <a:lnTo>
                      <a:pt x="142" y="201"/>
                    </a:lnTo>
                    <a:lnTo>
                      <a:pt x="144" y="187"/>
                    </a:lnTo>
                    <a:lnTo>
                      <a:pt x="172" y="180"/>
                    </a:lnTo>
                    <a:lnTo>
                      <a:pt x="210" y="185"/>
                    </a:lnTo>
                    <a:lnTo>
                      <a:pt x="226" y="173"/>
                    </a:lnTo>
                    <a:lnTo>
                      <a:pt x="228" y="163"/>
                    </a:lnTo>
                    <a:lnTo>
                      <a:pt x="218" y="160"/>
                    </a:lnTo>
                    <a:lnTo>
                      <a:pt x="212" y="141"/>
                    </a:lnTo>
                    <a:lnTo>
                      <a:pt x="219" y="135"/>
                    </a:lnTo>
                    <a:lnTo>
                      <a:pt x="212" y="126"/>
                    </a:lnTo>
                    <a:lnTo>
                      <a:pt x="213" y="120"/>
                    </a:lnTo>
                    <a:lnTo>
                      <a:pt x="207" y="109"/>
                    </a:lnTo>
                    <a:lnTo>
                      <a:pt x="197" y="113"/>
                    </a:lnTo>
                    <a:lnTo>
                      <a:pt x="197" y="102"/>
                    </a:lnTo>
                    <a:lnTo>
                      <a:pt x="211" y="89"/>
                    </a:lnTo>
                    <a:lnTo>
                      <a:pt x="210" y="83"/>
                    </a:lnTo>
                    <a:lnTo>
                      <a:pt x="219" y="85"/>
                    </a:lnTo>
                    <a:lnTo>
                      <a:pt x="224" y="81"/>
                    </a:lnTo>
                    <a:lnTo>
                      <a:pt x="225" y="65"/>
                    </a:lnTo>
                    <a:lnTo>
                      <a:pt x="234" y="50"/>
                    </a:lnTo>
                    <a:lnTo>
                      <a:pt x="208" y="45"/>
                    </a:lnTo>
                    <a:lnTo>
                      <a:pt x="198" y="39"/>
                    </a:lnTo>
                    <a:lnTo>
                      <a:pt x="193" y="39"/>
                    </a:lnTo>
                    <a:lnTo>
                      <a:pt x="189" y="38"/>
                    </a:lnTo>
                    <a:lnTo>
                      <a:pt x="172" y="27"/>
                    </a:lnTo>
                    <a:lnTo>
                      <a:pt x="163" y="28"/>
                    </a:lnTo>
                    <a:lnTo>
                      <a:pt x="151" y="18"/>
                    </a:lnTo>
                    <a:lnTo>
                      <a:pt x="151" y="1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5" name="Freeform 247"/>
              <p:cNvSpPr>
                <a:spLocks/>
              </p:cNvSpPr>
              <p:nvPr/>
            </p:nvSpPr>
            <p:spPr bwMode="auto">
              <a:xfrm>
                <a:off x="7805738" y="5270501"/>
                <a:ext cx="19050" cy="17463"/>
              </a:xfrm>
              <a:custGeom>
                <a:avLst/>
                <a:gdLst>
                  <a:gd name="T0" fmla="*/ 11 w 12"/>
                  <a:gd name="T1" fmla="*/ 11 h 11"/>
                  <a:gd name="T2" fmla="*/ 12 w 12"/>
                  <a:gd name="T3" fmla="*/ 9 h 11"/>
                  <a:gd name="T4" fmla="*/ 12 w 12"/>
                  <a:gd name="T5" fmla="*/ 7 h 11"/>
                  <a:gd name="T6" fmla="*/ 11 w 12"/>
                  <a:gd name="T7" fmla="*/ 4 h 11"/>
                  <a:gd name="T8" fmla="*/ 9 w 12"/>
                  <a:gd name="T9" fmla="*/ 1 h 11"/>
                  <a:gd name="T10" fmla="*/ 7 w 12"/>
                  <a:gd name="T11" fmla="*/ 0 h 11"/>
                  <a:gd name="T12" fmla="*/ 4 w 12"/>
                  <a:gd name="T13" fmla="*/ 0 h 11"/>
                  <a:gd name="T14" fmla="*/ 2 w 12"/>
                  <a:gd name="T15" fmla="*/ 1 h 11"/>
                  <a:gd name="T16" fmla="*/ 1 w 12"/>
                  <a:gd name="T17" fmla="*/ 3 h 11"/>
                  <a:gd name="T18" fmla="*/ 0 w 12"/>
                  <a:gd name="T19" fmla="*/ 4 h 11"/>
                  <a:gd name="T20" fmla="*/ 2 w 12"/>
                  <a:gd name="T21" fmla="*/ 8 h 11"/>
                  <a:gd name="T22" fmla="*/ 2 w 12"/>
                  <a:gd name="T23" fmla="*/ 9 h 11"/>
                  <a:gd name="T24" fmla="*/ 6 w 12"/>
                  <a:gd name="T25" fmla="*/ 11 h 11"/>
                  <a:gd name="T26" fmla="*/ 8 w 12"/>
                  <a:gd name="T27" fmla="*/ 11 h 11"/>
                  <a:gd name="T28" fmla="*/ 11 w 12"/>
                  <a:gd name="T29" fmla="*/ 11 h 11"/>
                  <a:gd name="T30" fmla="*/ 11 w 12"/>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11" y="11"/>
                    </a:moveTo>
                    <a:lnTo>
                      <a:pt x="12" y="9"/>
                    </a:lnTo>
                    <a:lnTo>
                      <a:pt x="12" y="7"/>
                    </a:lnTo>
                    <a:lnTo>
                      <a:pt x="11" y="4"/>
                    </a:lnTo>
                    <a:lnTo>
                      <a:pt x="9" y="1"/>
                    </a:lnTo>
                    <a:lnTo>
                      <a:pt x="7" y="0"/>
                    </a:lnTo>
                    <a:lnTo>
                      <a:pt x="4" y="0"/>
                    </a:lnTo>
                    <a:lnTo>
                      <a:pt x="2" y="1"/>
                    </a:lnTo>
                    <a:lnTo>
                      <a:pt x="1" y="3"/>
                    </a:lnTo>
                    <a:lnTo>
                      <a:pt x="0" y="4"/>
                    </a:lnTo>
                    <a:lnTo>
                      <a:pt x="2" y="8"/>
                    </a:lnTo>
                    <a:lnTo>
                      <a:pt x="2" y="9"/>
                    </a:lnTo>
                    <a:lnTo>
                      <a:pt x="6" y="11"/>
                    </a:lnTo>
                    <a:lnTo>
                      <a:pt x="8" y="11"/>
                    </a:lnTo>
                    <a:lnTo>
                      <a:pt x="11" y="11"/>
                    </a:lnTo>
                    <a:lnTo>
                      <a:pt x="11" y="11"/>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6" name="Freeform 214"/>
              <p:cNvSpPr>
                <a:spLocks/>
              </p:cNvSpPr>
              <p:nvPr/>
            </p:nvSpPr>
            <p:spPr bwMode="auto">
              <a:xfrm>
                <a:off x="3981450" y="3921126"/>
                <a:ext cx="11112" cy="19050"/>
              </a:xfrm>
              <a:custGeom>
                <a:avLst/>
                <a:gdLst>
                  <a:gd name="T0" fmla="*/ 7 w 7"/>
                  <a:gd name="T1" fmla="*/ 10 h 12"/>
                  <a:gd name="T2" fmla="*/ 6 w 7"/>
                  <a:gd name="T3" fmla="*/ 7 h 12"/>
                  <a:gd name="T4" fmla="*/ 6 w 7"/>
                  <a:gd name="T5" fmla="*/ 6 h 12"/>
                  <a:gd name="T6" fmla="*/ 5 w 7"/>
                  <a:gd name="T7" fmla="*/ 5 h 12"/>
                  <a:gd name="T8" fmla="*/ 5 w 7"/>
                  <a:gd name="T9" fmla="*/ 4 h 12"/>
                  <a:gd name="T10" fmla="*/ 5 w 7"/>
                  <a:gd name="T11" fmla="*/ 3 h 12"/>
                  <a:gd name="T12" fmla="*/ 5 w 7"/>
                  <a:gd name="T13" fmla="*/ 3 h 12"/>
                  <a:gd name="T14" fmla="*/ 4 w 7"/>
                  <a:gd name="T15" fmla="*/ 1 h 12"/>
                  <a:gd name="T16" fmla="*/ 2 w 7"/>
                  <a:gd name="T17" fmla="*/ 0 h 12"/>
                  <a:gd name="T18" fmla="*/ 1 w 7"/>
                  <a:gd name="T19" fmla="*/ 0 h 12"/>
                  <a:gd name="T20" fmla="*/ 0 w 7"/>
                  <a:gd name="T21" fmla="*/ 1 h 12"/>
                  <a:gd name="T22" fmla="*/ 0 w 7"/>
                  <a:gd name="T23" fmla="*/ 2 h 12"/>
                  <a:gd name="T24" fmla="*/ 1 w 7"/>
                  <a:gd name="T25" fmla="*/ 6 h 12"/>
                  <a:gd name="T26" fmla="*/ 2 w 7"/>
                  <a:gd name="T27" fmla="*/ 6 h 12"/>
                  <a:gd name="T28" fmla="*/ 4 w 7"/>
                  <a:gd name="T29" fmla="*/ 7 h 12"/>
                  <a:gd name="T30" fmla="*/ 2 w 7"/>
                  <a:gd name="T31" fmla="*/ 9 h 12"/>
                  <a:gd name="T32" fmla="*/ 2 w 7"/>
                  <a:gd name="T33" fmla="*/ 9 h 12"/>
                  <a:gd name="T34" fmla="*/ 3 w 7"/>
                  <a:gd name="T35" fmla="*/ 10 h 12"/>
                  <a:gd name="T36" fmla="*/ 5 w 7"/>
                  <a:gd name="T37" fmla="*/ 10 h 12"/>
                  <a:gd name="T38" fmla="*/ 6 w 7"/>
                  <a:gd name="T39" fmla="*/ 12 h 12"/>
                  <a:gd name="T40" fmla="*/ 7 w 7"/>
                  <a:gd name="T41" fmla="*/ 11 h 12"/>
                  <a:gd name="T42" fmla="*/ 7 w 7"/>
                  <a:gd name="T43" fmla="*/ 10 h 12"/>
                  <a:gd name="T44" fmla="*/ 7 w 7"/>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12">
                    <a:moveTo>
                      <a:pt x="7" y="10"/>
                    </a:moveTo>
                    <a:lnTo>
                      <a:pt x="6" y="7"/>
                    </a:lnTo>
                    <a:lnTo>
                      <a:pt x="6" y="6"/>
                    </a:lnTo>
                    <a:lnTo>
                      <a:pt x="5" y="5"/>
                    </a:lnTo>
                    <a:lnTo>
                      <a:pt x="5" y="4"/>
                    </a:lnTo>
                    <a:lnTo>
                      <a:pt x="5" y="3"/>
                    </a:lnTo>
                    <a:lnTo>
                      <a:pt x="5" y="3"/>
                    </a:lnTo>
                    <a:lnTo>
                      <a:pt x="4" y="1"/>
                    </a:lnTo>
                    <a:lnTo>
                      <a:pt x="2" y="0"/>
                    </a:lnTo>
                    <a:lnTo>
                      <a:pt x="1" y="0"/>
                    </a:lnTo>
                    <a:lnTo>
                      <a:pt x="0" y="1"/>
                    </a:lnTo>
                    <a:lnTo>
                      <a:pt x="0" y="2"/>
                    </a:lnTo>
                    <a:lnTo>
                      <a:pt x="1" y="6"/>
                    </a:lnTo>
                    <a:lnTo>
                      <a:pt x="2" y="6"/>
                    </a:lnTo>
                    <a:lnTo>
                      <a:pt x="4" y="7"/>
                    </a:lnTo>
                    <a:lnTo>
                      <a:pt x="2" y="9"/>
                    </a:lnTo>
                    <a:lnTo>
                      <a:pt x="2" y="9"/>
                    </a:lnTo>
                    <a:lnTo>
                      <a:pt x="3" y="10"/>
                    </a:lnTo>
                    <a:lnTo>
                      <a:pt x="5" y="10"/>
                    </a:lnTo>
                    <a:lnTo>
                      <a:pt x="6" y="12"/>
                    </a:lnTo>
                    <a:lnTo>
                      <a:pt x="7" y="11"/>
                    </a:lnTo>
                    <a:lnTo>
                      <a:pt x="7" y="10"/>
                    </a:lnTo>
                    <a:lnTo>
                      <a:pt x="7" y="10"/>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7" name="Freeform 215"/>
              <p:cNvSpPr>
                <a:spLocks noEditPoints="1"/>
              </p:cNvSpPr>
              <p:nvPr/>
            </p:nvSpPr>
            <p:spPr bwMode="auto">
              <a:xfrm>
                <a:off x="3967163" y="3859213"/>
                <a:ext cx="20637" cy="23813"/>
              </a:xfrm>
              <a:custGeom>
                <a:avLst/>
                <a:gdLst>
                  <a:gd name="T0" fmla="*/ 11 w 13"/>
                  <a:gd name="T1" fmla="*/ 15 h 15"/>
                  <a:gd name="T2" fmla="*/ 11 w 13"/>
                  <a:gd name="T3" fmla="*/ 15 h 15"/>
                  <a:gd name="T4" fmla="*/ 11 w 13"/>
                  <a:gd name="T5" fmla="*/ 13 h 15"/>
                  <a:gd name="T6" fmla="*/ 11 w 13"/>
                  <a:gd name="T7" fmla="*/ 12 h 15"/>
                  <a:gd name="T8" fmla="*/ 10 w 13"/>
                  <a:gd name="T9" fmla="*/ 13 h 15"/>
                  <a:gd name="T10" fmla="*/ 9 w 13"/>
                  <a:gd name="T11" fmla="*/ 14 h 15"/>
                  <a:gd name="T12" fmla="*/ 9 w 13"/>
                  <a:gd name="T13" fmla="*/ 15 h 15"/>
                  <a:gd name="T14" fmla="*/ 9 w 13"/>
                  <a:gd name="T15" fmla="*/ 15 h 15"/>
                  <a:gd name="T16" fmla="*/ 11 w 13"/>
                  <a:gd name="T17" fmla="*/ 15 h 15"/>
                  <a:gd name="T18" fmla="*/ 11 w 13"/>
                  <a:gd name="T19" fmla="*/ 15 h 15"/>
                  <a:gd name="T20" fmla="*/ 3 w 13"/>
                  <a:gd name="T21" fmla="*/ 12 h 15"/>
                  <a:gd name="T22" fmla="*/ 4 w 13"/>
                  <a:gd name="T23" fmla="*/ 11 h 15"/>
                  <a:gd name="T24" fmla="*/ 4 w 13"/>
                  <a:gd name="T25" fmla="*/ 8 h 15"/>
                  <a:gd name="T26" fmla="*/ 4 w 13"/>
                  <a:gd name="T27" fmla="*/ 6 h 15"/>
                  <a:gd name="T28" fmla="*/ 3 w 13"/>
                  <a:gd name="T29" fmla="*/ 6 h 15"/>
                  <a:gd name="T30" fmla="*/ 3 w 13"/>
                  <a:gd name="T31" fmla="*/ 5 h 15"/>
                  <a:gd name="T32" fmla="*/ 0 w 13"/>
                  <a:gd name="T33" fmla="*/ 4 h 15"/>
                  <a:gd name="T34" fmla="*/ 0 w 13"/>
                  <a:gd name="T35" fmla="*/ 5 h 15"/>
                  <a:gd name="T36" fmla="*/ 0 w 13"/>
                  <a:gd name="T37" fmla="*/ 6 h 15"/>
                  <a:gd name="T38" fmla="*/ 0 w 13"/>
                  <a:gd name="T39" fmla="*/ 11 h 15"/>
                  <a:gd name="T40" fmla="*/ 0 w 13"/>
                  <a:gd name="T41" fmla="*/ 13 h 15"/>
                  <a:gd name="T42" fmla="*/ 1 w 13"/>
                  <a:gd name="T43" fmla="*/ 13 h 15"/>
                  <a:gd name="T44" fmla="*/ 3 w 13"/>
                  <a:gd name="T45" fmla="*/ 12 h 15"/>
                  <a:gd name="T46" fmla="*/ 3 w 13"/>
                  <a:gd name="T47" fmla="*/ 12 h 15"/>
                  <a:gd name="T48" fmla="*/ 9 w 13"/>
                  <a:gd name="T49" fmla="*/ 8 h 15"/>
                  <a:gd name="T50" fmla="*/ 13 w 13"/>
                  <a:gd name="T51" fmla="*/ 7 h 15"/>
                  <a:gd name="T52" fmla="*/ 9 w 13"/>
                  <a:gd name="T53" fmla="*/ 4 h 15"/>
                  <a:gd name="T54" fmla="*/ 8 w 13"/>
                  <a:gd name="T55" fmla="*/ 3 h 15"/>
                  <a:gd name="T56" fmla="*/ 8 w 13"/>
                  <a:gd name="T57" fmla="*/ 2 h 15"/>
                  <a:gd name="T58" fmla="*/ 7 w 13"/>
                  <a:gd name="T59" fmla="*/ 0 h 15"/>
                  <a:gd name="T60" fmla="*/ 6 w 13"/>
                  <a:gd name="T61" fmla="*/ 1 h 15"/>
                  <a:gd name="T62" fmla="*/ 5 w 13"/>
                  <a:gd name="T63" fmla="*/ 2 h 15"/>
                  <a:gd name="T64" fmla="*/ 6 w 13"/>
                  <a:gd name="T65" fmla="*/ 4 h 15"/>
                  <a:gd name="T66" fmla="*/ 5 w 13"/>
                  <a:gd name="T67" fmla="*/ 6 h 15"/>
                  <a:gd name="T68" fmla="*/ 5 w 13"/>
                  <a:gd name="T69" fmla="*/ 8 h 15"/>
                  <a:gd name="T70" fmla="*/ 7 w 13"/>
                  <a:gd name="T71" fmla="*/ 8 h 15"/>
                  <a:gd name="T72" fmla="*/ 9 w 13"/>
                  <a:gd name="T73" fmla="*/ 8 h 15"/>
                  <a:gd name="T74" fmla="*/ 9 w 13"/>
                  <a:gd name="T7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15">
                    <a:moveTo>
                      <a:pt x="11" y="15"/>
                    </a:moveTo>
                    <a:lnTo>
                      <a:pt x="11" y="15"/>
                    </a:lnTo>
                    <a:lnTo>
                      <a:pt x="11" y="13"/>
                    </a:lnTo>
                    <a:lnTo>
                      <a:pt x="11" y="12"/>
                    </a:lnTo>
                    <a:lnTo>
                      <a:pt x="10" y="13"/>
                    </a:lnTo>
                    <a:lnTo>
                      <a:pt x="9" y="14"/>
                    </a:lnTo>
                    <a:lnTo>
                      <a:pt x="9" y="15"/>
                    </a:lnTo>
                    <a:lnTo>
                      <a:pt x="9" y="15"/>
                    </a:lnTo>
                    <a:lnTo>
                      <a:pt x="11" y="15"/>
                    </a:lnTo>
                    <a:lnTo>
                      <a:pt x="11" y="15"/>
                    </a:lnTo>
                    <a:close/>
                    <a:moveTo>
                      <a:pt x="3" y="12"/>
                    </a:moveTo>
                    <a:lnTo>
                      <a:pt x="4" y="11"/>
                    </a:lnTo>
                    <a:lnTo>
                      <a:pt x="4" y="8"/>
                    </a:lnTo>
                    <a:lnTo>
                      <a:pt x="4" y="6"/>
                    </a:lnTo>
                    <a:lnTo>
                      <a:pt x="3" y="6"/>
                    </a:lnTo>
                    <a:lnTo>
                      <a:pt x="3" y="5"/>
                    </a:lnTo>
                    <a:lnTo>
                      <a:pt x="0" y="4"/>
                    </a:lnTo>
                    <a:lnTo>
                      <a:pt x="0" y="5"/>
                    </a:lnTo>
                    <a:lnTo>
                      <a:pt x="0" y="6"/>
                    </a:lnTo>
                    <a:lnTo>
                      <a:pt x="0" y="11"/>
                    </a:lnTo>
                    <a:lnTo>
                      <a:pt x="0" y="13"/>
                    </a:lnTo>
                    <a:lnTo>
                      <a:pt x="1" y="13"/>
                    </a:lnTo>
                    <a:lnTo>
                      <a:pt x="3" y="12"/>
                    </a:lnTo>
                    <a:lnTo>
                      <a:pt x="3" y="12"/>
                    </a:lnTo>
                    <a:close/>
                    <a:moveTo>
                      <a:pt x="9" y="8"/>
                    </a:moveTo>
                    <a:lnTo>
                      <a:pt x="13" y="7"/>
                    </a:lnTo>
                    <a:lnTo>
                      <a:pt x="9" y="4"/>
                    </a:lnTo>
                    <a:lnTo>
                      <a:pt x="8" y="3"/>
                    </a:lnTo>
                    <a:lnTo>
                      <a:pt x="8" y="2"/>
                    </a:lnTo>
                    <a:lnTo>
                      <a:pt x="7" y="0"/>
                    </a:lnTo>
                    <a:lnTo>
                      <a:pt x="6" y="1"/>
                    </a:lnTo>
                    <a:lnTo>
                      <a:pt x="5" y="2"/>
                    </a:lnTo>
                    <a:lnTo>
                      <a:pt x="6" y="4"/>
                    </a:lnTo>
                    <a:lnTo>
                      <a:pt x="5" y="6"/>
                    </a:lnTo>
                    <a:lnTo>
                      <a:pt x="5" y="8"/>
                    </a:lnTo>
                    <a:lnTo>
                      <a:pt x="7" y="8"/>
                    </a:lnTo>
                    <a:lnTo>
                      <a:pt x="9" y="8"/>
                    </a:lnTo>
                    <a:lnTo>
                      <a:pt x="9" y="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9" name="Curacao"/>
            <p:cNvSpPr>
              <a:spLocks/>
            </p:cNvSpPr>
            <p:nvPr/>
          </p:nvSpPr>
          <p:spPr bwMode="auto">
            <a:xfrm>
              <a:off x="3738563" y="4019551"/>
              <a:ext cx="4762" cy="9525"/>
            </a:xfrm>
            <a:custGeom>
              <a:avLst/>
              <a:gdLst>
                <a:gd name="T0" fmla="*/ 3 w 3"/>
                <a:gd name="T1" fmla="*/ 4 h 6"/>
                <a:gd name="T2" fmla="*/ 3 w 3"/>
                <a:gd name="T3" fmla="*/ 1 h 6"/>
                <a:gd name="T4" fmla="*/ 0 w 3"/>
                <a:gd name="T5" fmla="*/ 0 h 6"/>
                <a:gd name="T6" fmla="*/ 0 w 3"/>
                <a:gd name="T7" fmla="*/ 1 h 6"/>
                <a:gd name="T8" fmla="*/ 0 w 3"/>
                <a:gd name="T9" fmla="*/ 2 h 6"/>
                <a:gd name="T10" fmla="*/ 2 w 3"/>
                <a:gd name="T11" fmla="*/ 2 h 6"/>
                <a:gd name="T12" fmla="*/ 2 w 3"/>
                <a:gd name="T13" fmla="*/ 3 h 6"/>
                <a:gd name="T14" fmla="*/ 2 w 3"/>
                <a:gd name="T15" fmla="*/ 5 h 6"/>
                <a:gd name="T16" fmla="*/ 2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1"/>
                  </a:lnTo>
                  <a:lnTo>
                    <a:pt x="0" y="0"/>
                  </a:lnTo>
                  <a:lnTo>
                    <a:pt x="0" y="1"/>
                  </a:lnTo>
                  <a:lnTo>
                    <a:pt x="0" y="2"/>
                  </a:lnTo>
                  <a:lnTo>
                    <a:pt x="2" y="2"/>
                  </a:lnTo>
                  <a:lnTo>
                    <a:pt x="2" y="3"/>
                  </a:lnTo>
                  <a:lnTo>
                    <a:pt x="2" y="5"/>
                  </a:lnTo>
                  <a:lnTo>
                    <a:pt x="2" y="6"/>
                  </a:lnTo>
                  <a:lnTo>
                    <a:pt x="3" y="4"/>
                  </a:lnTo>
                  <a:lnTo>
                    <a:pt x="3" y="4"/>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0" name="Las Palmas de Gran Canaria"/>
            <p:cNvSpPr>
              <a:spLocks noEditPoints="1"/>
            </p:cNvSpPr>
            <p:nvPr/>
          </p:nvSpPr>
          <p:spPr bwMode="auto">
            <a:xfrm>
              <a:off x="5416550" y="3379788"/>
              <a:ext cx="153987" cy="60325"/>
            </a:xfrm>
            <a:custGeom>
              <a:avLst/>
              <a:gdLst>
                <a:gd name="T0" fmla="*/ 5 w 97"/>
                <a:gd name="T1" fmla="*/ 33 h 38"/>
                <a:gd name="T2" fmla="*/ 0 w 97"/>
                <a:gd name="T3" fmla="*/ 35 h 38"/>
                <a:gd name="T4" fmla="*/ 1 w 97"/>
                <a:gd name="T5" fmla="*/ 37 h 38"/>
                <a:gd name="T6" fmla="*/ 5 w 97"/>
                <a:gd name="T7" fmla="*/ 34 h 38"/>
                <a:gd name="T8" fmla="*/ 56 w 97"/>
                <a:gd name="T9" fmla="*/ 26 h 38"/>
                <a:gd name="T10" fmla="*/ 56 w 97"/>
                <a:gd name="T11" fmla="*/ 26 h 38"/>
                <a:gd name="T12" fmla="*/ 50 w 97"/>
                <a:gd name="T13" fmla="*/ 26 h 38"/>
                <a:gd name="T14" fmla="*/ 48 w 97"/>
                <a:gd name="T15" fmla="*/ 30 h 38"/>
                <a:gd name="T16" fmla="*/ 50 w 97"/>
                <a:gd name="T17" fmla="*/ 35 h 38"/>
                <a:gd name="T18" fmla="*/ 53 w 97"/>
                <a:gd name="T19" fmla="*/ 35 h 38"/>
                <a:gd name="T20" fmla="*/ 56 w 97"/>
                <a:gd name="T21" fmla="*/ 32 h 38"/>
                <a:gd name="T22" fmla="*/ 56 w 97"/>
                <a:gd name="T23" fmla="*/ 28 h 38"/>
                <a:gd name="T24" fmla="*/ 56 w 97"/>
                <a:gd name="T25" fmla="*/ 26 h 38"/>
                <a:gd name="T26" fmla="*/ 22 w 97"/>
                <a:gd name="T27" fmla="*/ 28 h 38"/>
                <a:gd name="T28" fmla="*/ 21 w 97"/>
                <a:gd name="T29" fmla="*/ 26 h 38"/>
                <a:gd name="T30" fmla="*/ 18 w 97"/>
                <a:gd name="T31" fmla="*/ 25 h 38"/>
                <a:gd name="T32" fmla="*/ 17 w 97"/>
                <a:gd name="T33" fmla="*/ 27 h 38"/>
                <a:gd name="T34" fmla="*/ 19 w 97"/>
                <a:gd name="T35" fmla="*/ 30 h 38"/>
                <a:gd name="T36" fmla="*/ 20 w 97"/>
                <a:gd name="T37" fmla="*/ 30 h 38"/>
                <a:gd name="T38" fmla="*/ 42 w 97"/>
                <a:gd name="T39" fmla="*/ 17 h 38"/>
                <a:gd name="T40" fmla="*/ 38 w 97"/>
                <a:gd name="T41" fmla="*/ 17 h 38"/>
                <a:gd name="T42" fmla="*/ 33 w 97"/>
                <a:gd name="T43" fmla="*/ 20 h 38"/>
                <a:gd name="T44" fmla="*/ 28 w 97"/>
                <a:gd name="T45" fmla="*/ 20 h 38"/>
                <a:gd name="T46" fmla="*/ 27 w 97"/>
                <a:gd name="T47" fmla="*/ 22 h 38"/>
                <a:gd name="T48" fmla="*/ 30 w 97"/>
                <a:gd name="T49" fmla="*/ 30 h 38"/>
                <a:gd name="T50" fmla="*/ 34 w 97"/>
                <a:gd name="T51" fmla="*/ 28 h 38"/>
                <a:gd name="T52" fmla="*/ 37 w 97"/>
                <a:gd name="T53" fmla="*/ 20 h 38"/>
                <a:gd name="T54" fmla="*/ 81 w 97"/>
                <a:gd name="T55" fmla="*/ 26 h 38"/>
                <a:gd name="T56" fmla="*/ 87 w 97"/>
                <a:gd name="T57" fmla="*/ 20 h 38"/>
                <a:gd name="T58" fmla="*/ 88 w 97"/>
                <a:gd name="T59" fmla="*/ 13 h 38"/>
                <a:gd name="T60" fmla="*/ 87 w 97"/>
                <a:gd name="T61" fmla="*/ 12 h 38"/>
                <a:gd name="T62" fmla="*/ 85 w 97"/>
                <a:gd name="T63" fmla="*/ 13 h 38"/>
                <a:gd name="T64" fmla="*/ 82 w 97"/>
                <a:gd name="T65" fmla="*/ 20 h 38"/>
                <a:gd name="T66" fmla="*/ 77 w 97"/>
                <a:gd name="T67" fmla="*/ 27 h 38"/>
                <a:gd name="T68" fmla="*/ 75 w 97"/>
                <a:gd name="T69" fmla="*/ 28 h 38"/>
                <a:gd name="T70" fmla="*/ 81 w 97"/>
                <a:gd name="T71" fmla="*/ 26 h 38"/>
                <a:gd name="T72" fmla="*/ 7 w 97"/>
                <a:gd name="T73" fmla="*/ 18 h 38"/>
                <a:gd name="T74" fmla="*/ 9 w 97"/>
                <a:gd name="T75" fmla="*/ 15 h 38"/>
                <a:gd name="T76" fmla="*/ 10 w 97"/>
                <a:gd name="T77" fmla="*/ 13 h 38"/>
                <a:gd name="T78" fmla="*/ 8 w 97"/>
                <a:gd name="T79" fmla="*/ 9 h 38"/>
                <a:gd name="T80" fmla="*/ 4 w 97"/>
                <a:gd name="T81" fmla="*/ 12 h 38"/>
                <a:gd name="T82" fmla="*/ 7 w 97"/>
                <a:gd name="T83" fmla="*/ 18 h 38"/>
                <a:gd name="T84" fmla="*/ 7 w 97"/>
                <a:gd name="T85" fmla="*/ 18 h 38"/>
                <a:gd name="T86" fmla="*/ 94 w 97"/>
                <a:gd name="T87" fmla="*/ 7 h 38"/>
                <a:gd name="T88" fmla="*/ 97 w 97"/>
                <a:gd name="T89" fmla="*/ 3 h 38"/>
                <a:gd name="T90" fmla="*/ 97 w 97"/>
                <a:gd name="T91" fmla="*/ 0 h 38"/>
                <a:gd name="T92" fmla="*/ 95 w 97"/>
                <a:gd name="T93" fmla="*/ 3 h 38"/>
                <a:gd name="T94" fmla="*/ 89 w 97"/>
                <a:gd name="T95" fmla="*/ 4 h 38"/>
                <a:gd name="T96" fmla="*/ 88 w 97"/>
                <a:gd name="T97" fmla="*/ 9 h 38"/>
                <a:gd name="T98" fmla="*/ 91 w 97"/>
                <a:gd name="T9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38">
                  <a:moveTo>
                    <a:pt x="5" y="34"/>
                  </a:moveTo>
                  <a:lnTo>
                    <a:pt x="5" y="33"/>
                  </a:lnTo>
                  <a:lnTo>
                    <a:pt x="2" y="35"/>
                  </a:lnTo>
                  <a:lnTo>
                    <a:pt x="0" y="35"/>
                  </a:lnTo>
                  <a:lnTo>
                    <a:pt x="1" y="36"/>
                  </a:lnTo>
                  <a:lnTo>
                    <a:pt x="1" y="37"/>
                  </a:lnTo>
                  <a:lnTo>
                    <a:pt x="3" y="38"/>
                  </a:lnTo>
                  <a:lnTo>
                    <a:pt x="5" y="34"/>
                  </a:lnTo>
                  <a:lnTo>
                    <a:pt x="5" y="34"/>
                  </a:lnTo>
                  <a:close/>
                  <a:moveTo>
                    <a:pt x="56" y="26"/>
                  </a:moveTo>
                  <a:lnTo>
                    <a:pt x="56" y="26"/>
                  </a:lnTo>
                  <a:lnTo>
                    <a:pt x="56" y="26"/>
                  </a:lnTo>
                  <a:lnTo>
                    <a:pt x="56" y="26"/>
                  </a:lnTo>
                  <a:lnTo>
                    <a:pt x="50" y="26"/>
                  </a:lnTo>
                  <a:lnTo>
                    <a:pt x="50" y="28"/>
                  </a:lnTo>
                  <a:lnTo>
                    <a:pt x="48" y="30"/>
                  </a:lnTo>
                  <a:lnTo>
                    <a:pt x="48" y="32"/>
                  </a:lnTo>
                  <a:lnTo>
                    <a:pt x="50" y="35"/>
                  </a:lnTo>
                  <a:lnTo>
                    <a:pt x="51" y="35"/>
                  </a:lnTo>
                  <a:lnTo>
                    <a:pt x="53" y="35"/>
                  </a:lnTo>
                  <a:lnTo>
                    <a:pt x="56" y="34"/>
                  </a:lnTo>
                  <a:lnTo>
                    <a:pt x="56" y="32"/>
                  </a:lnTo>
                  <a:lnTo>
                    <a:pt x="57" y="30"/>
                  </a:lnTo>
                  <a:lnTo>
                    <a:pt x="56" y="28"/>
                  </a:lnTo>
                  <a:lnTo>
                    <a:pt x="56" y="26"/>
                  </a:lnTo>
                  <a:lnTo>
                    <a:pt x="56" y="26"/>
                  </a:lnTo>
                  <a:close/>
                  <a:moveTo>
                    <a:pt x="20" y="30"/>
                  </a:moveTo>
                  <a:lnTo>
                    <a:pt x="22" y="28"/>
                  </a:lnTo>
                  <a:lnTo>
                    <a:pt x="22" y="27"/>
                  </a:lnTo>
                  <a:lnTo>
                    <a:pt x="21" y="26"/>
                  </a:lnTo>
                  <a:lnTo>
                    <a:pt x="19" y="25"/>
                  </a:lnTo>
                  <a:lnTo>
                    <a:pt x="18" y="25"/>
                  </a:lnTo>
                  <a:lnTo>
                    <a:pt x="18" y="26"/>
                  </a:lnTo>
                  <a:lnTo>
                    <a:pt x="17" y="27"/>
                  </a:lnTo>
                  <a:lnTo>
                    <a:pt x="18" y="29"/>
                  </a:lnTo>
                  <a:lnTo>
                    <a:pt x="19" y="30"/>
                  </a:lnTo>
                  <a:lnTo>
                    <a:pt x="20" y="30"/>
                  </a:lnTo>
                  <a:lnTo>
                    <a:pt x="20" y="30"/>
                  </a:lnTo>
                  <a:close/>
                  <a:moveTo>
                    <a:pt x="37" y="20"/>
                  </a:moveTo>
                  <a:lnTo>
                    <a:pt x="42" y="17"/>
                  </a:lnTo>
                  <a:lnTo>
                    <a:pt x="42" y="16"/>
                  </a:lnTo>
                  <a:lnTo>
                    <a:pt x="38" y="17"/>
                  </a:lnTo>
                  <a:lnTo>
                    <a:pt x="34" y="20"/>
                  </a:lnTo>
                  <a:lnTo>
                    <a:pt x="33" y="20"/>
                  </a:lnTo>
                  <a:lnTo>
                    <a:pt x="30" y="20"/>
                  </a:lnTo>
                  <a:lnTo>
                    <a:pt x="28" y="20"/>
                  </a:lnTo>
                  <a:lnTo>
                    <a:pt x="26" y="21"/>
                  </a:lnTo>
                  <a:lnTo>
                    <a:pt x="27" y="22"/>
                  </a:lnTo>
                  <a:lnTo>
                    <a:pt x="28" y="26"/>
                  </a:lnTo>
                  <a:lnTo>
                    <a:pt x="30" y="30"/>
                  </a:lnTo>
                  <a:lnTo>
                    <a:pt x="33" y="29"/>
                  </a:lnTo>
                  <a:lnTo>
                    <a:pt x="34" y="28"/>
                  </a:lnTo>
                  <a:lnTo>
                    <a:pt x="35" y="26"/>
                  </a:lnTo>
                  <a:lnTo>
                    <a:pt x="37" y="20"/>
                  </a:lnTo>
                  <a:lnTo>
                    <a:pt x="37" y="20"/>
                  </a:lnTo>
                  <a:close/>
                  <a:moveTo>
                    <a:pt x="81" y="26"/>
                  </a:moveTo>
                  <a:lnTo>
                    <a:pt x="86" y="24"/>
                  </a:lnTo>
                  <a:lnTo>
                    <a:pt x="87" y="20"/>
                  </a:lnTo>
                  <a:lnTo>
                    <a:pt x="88" y="16"/>
                  </a:lnTo>
                  <a:lnTo>
                    <a:pt x="88" y="13"/>
                  </a:lnTo>
                  <a:lnTo>
                    <a:pt x="87" y="12"/>
                  </a:lnTo>
                  <a:lnTo>
                    <a:pt x="87" y="12"/>
                  </a:lnTo>
                  <a:lnTo>
                    <a:pt x="86" y="12"/>
                  </a:lnTo>
                  <a:lnTo>
                    <a:pt x="85" y="13"/>
                  </a:lnTo>
                  <a:lnTo>
                    <a:pt x="85" y="15"/>
                  </a:lnTo>
                  <a:lnTo>
                    <a:pt x="82" y="20"/>
                  </a:lnTo>
                  <a:lnTo>
                    <a:pt x="80" y="24"/>
                  </a:lnTo>
                  <a:lnTo>
                    <a:pt x="77" y="27"/>
                  </a:lnTo>
                  <a:lnTo>
                    <a:pt x="74" y="28"/>
                  </a:lnTo>
                  <a:lnTo>
                    <a:pt x="75" y="28"/>
                  </a:lnTo>
                  <a:lnTo>
                    <a:pt x="78" y="28"/>
                  </a:lnTo>
                  <a:lnTo>
                    <a:pt x="81" y="26"/>
                  </a:lnTo>
                  <a:lnTo>
                    <a:pt x="81" y="26"/>
                  </a:lnTo>
                  <a:close/>
                  <a:moveTo>
                    <a:pt x="7" y="18"/>
                  </a:moveTo>
                  <a:lnTo>
                    <a:pt x="9" y="17"/>
                  </a:lnTo>
                  <a:lnTo>
                    <a:pt x="9" y="15"/>
                  </a:lnTo>
                  <a:lnTo>
                    <a:pt x="9" y="13"/>
                  </a:lnTo>
                  <a:lnTo>
                    <a:pt x="10" y="13"/>
                  </a:lnTo>
                  <a:lnTo>
                    <a:pt x="9" y="11"/>
                  </a:lnTo>
                  <a:lnTo>
                    <a:pt x="8" y="9"/>
                  </a:lnTo>
                  <a:lnTo>
                    <a:pt x="5" y="9"/>
                  </a:lnTo>
                  <a:lnTo>
                    <a:pt x="4" y="12"/>
                  </a:lnTo>
                  <a:lnTo>
                    <a:pt x="6" y="17"/>
                  </a:lnTo>
                  <a:lnTo>
                    <a:pt x="7" y="18"/>
                  </a:lnTo>
                  <a:lnTo>
                    <a:pt x="7" y="18"/>
                  </a:lnTo>
                  <a:lnTo>
                    <a:pt x="7" y="18"/>
                  </a:lnTo>
                  <a:close/>
                  <a:moveTo>
                    <a:pt x="91" y="8"/>
                  </a:moveTo>
                  <a:lnTo>
                    <a:pt x="94" y="7"/>
                  </a:lnTo>
                  <a:lnTo>
                    <a:pt x="96" y="5"/>
                  </a:lnTo>
                  <a:lnTo>
                    <a:pt x="97" y="3"/>
                  </a:lnTo>
                  <a:lnTo>
                    <a:pt x="97" y="2"/>
                  </a:lnTo>
                  <a:lnTo>
                    <a:pt x="97" y="0"/>
                  </a:lnTo>
                  <a:lnTo>
                    <a:pt x="96" y="1"/>
                  </a:lnTo>
                  <a:lnTo>
                    <a:pt x="95" y="3"/>
                  </a:lnTo>
                  <a:lnTo>
                    <a:pt x="93" y="3"/>
                  </a:lnTo>
                  <a:lnTo>
                    <a:pt x="89" y="4"/>
                  </a:lnTo>
                  <a:lnTo>
                    <a:pt x="89" y="5"/>
                  </a:lnTo>
                  <a:lnTo>
                    <a:pt x="88" y="9"/>
                  </a:lnTo>
                  <a:lnTo>
                    <a:pt x="89" y="9"/>
                  </a:lnTo>
                  <a:lnTo>
                    <a:pt x="91" y="8"/>
                  </a:lnTo>
                  <a:lnTo>
                    <a:pt x="91" y="8"/>
                  </a:lnTo>
                  <a:close/>
                </a:path>
              </a:pathLst>
            </a:custGeom>
            <a:grpFill/>
            <a:ln w="4763"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41" name="Group 285"/>
          <p:cNvGrpSpPr/>
          <p:nvPr/>
        </p:nvGrpSpPr>
        <p:grpSpPr>
          <a:xfrm>
            <a:off x="5965353" y="2770583"/>
            <a:ext cx="1512197" cy="1073220"/>
            <a:chOff x="3134120" y="2907679"/>
            <a:chExt cx="2450017" cy="1738800"/>
          </a:xfrm>
        </p:grpSpPr>
        <p:sp>
          <p:nvSpPr>
            <p:cNvPr id="242" name="Oval 283"/>
            <p:cNvSpPr/>
            <p:nvPr/>
          </p:nvSpPr>
          <p:spPr>
            <a:xfrm>
              <a:off x="3484360" y="2907679"/>
              <a:ext cx="1736745" cy="1738800"/>
            </a:xfrm>
            <a:prstGeom prst="ellipse">
              <a:avLst/>
            </a:prstGeom>
            <a:solidFill>
              <a:srgbClr val="0052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43" name="TextBox 284"/>
            <p:cNvSpPr txBox="1"/>
            <p:nvPr/>
          </p:nvSpPr>
          <p:spPr>
            <a:xfrm>
              <a:off x="3134120" y="3150434"/>
              <a:ext cx="2450017" cy="1144031"/>
            </a:xfrm>
            <a:prstGeom prst="rect">
              <a:avLst/>
            </a:prstGeom>
            <a:noFill/>
            <a:ln>
              <a:noFill/>
            </a:ln>
          </p:spPr>
          <p:txBody>
            <a:bodyPr wrap="square" rtlCol="0">
              <a:spAutoFit/>
            </a:bodyPr>
            <a:lstStyle/>
            <a:p>
              <a:pPr algn="ctr"/>
              <a:r>
                <a:rPr lang="da-DK" sz="3600" b="1" dirty="0">
                  <a:solidFill>
                    <a:schemeClr val="bg1"/>
                  </a:solidFill>
                </a:rPr>
                <a:t>1.3</a:t>
              </a:r>
              <a:r>
                <a:rPr lang="da-DK" sz="1600" b="1" dirty="0">
                  <a:solidFill>
                    <a:schemeClr val="bg1"/>
                  </a:solidFill>
                </a:rPr>
                <a:t> </a:t>
              </a:r>
            </a:p>
            <a:p>
              <a:pPr algn="ctr"/>
              <a:r>
                <a:rPr lang="da-DK" sz="1200" b="1" dirty="0">
                  <a:solidFill>
                    <a:schemeClr val="bg1"/>
                  </a:solidFill>
                </a:rPr>
                <a:t>B </a:t>
              </a:r>
              <a:r>
                <a:rPr lang="da-DK" sz="1200" b="1" dirty="0" err="1">
                  <a:solidFill>
                    <a:schemeClr val="bg1"/>
                  </a:solidFill>
                </a:rPr>
                <a:t>EUR</a:t>
              </a:r>
              <a:endParaRPr lang="en-US" sz="1200" b="1" dirty="0">
                <a:solidFill>
                  <a:schemeClr val="bg1"/>
                </a:solidFill>
              </a:endParaRPr>
            </a:p>
          </p:txBody>
        </p:sp>
      </p:grpSp>
      <p:grpSp>
        <p:nvGrpSpPr>
          <p:cNvPr id="244" name="Group 5"/>
          <p:cNvGrpSpPr/>
          <p:nvPr/>
        </p:nvGrpSpPr>
        <p:grpSpPr>
          <a:xfrm>
            <a:off x="7843560" y="1790532"/>
            <a:ext cx="5162092" cy="1107996"/>
            <a:chOff x="7503320" y="1790532"/>
            <a:chExt cx="5162092" cy="1107996"/>
          </a:xfrm>
        </p:grpSpPr>
        <p:sp>
          <p:nvSpPr>
            <p:cNvPr id="245" name="Rectangle 6"/>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246" name="Rectangle 7"/>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1</a:t>
              </a:r>
              <a:endParaRPr lang="da-DK" sz="6600" b="1" dirty="0">
                <a:solidFill>
                  <a:schemeClr val="accent1"/>
                </a:solidFill>
                <a:latin typeface="Arial" panose="020B0604020202020204" pitchFamily="34" charset="0"/>
                <a:cs typeface="Arial" panose="020B0604020202020204" pitchFamily="34" charset="0"/>
              </a:endParaRPr>
            </a:p>
          </p:txBody>
        </p:sp>
        <p:sp>
          <p:nvSpPr>
            <p:cNvPr id="247" name="Rectangle 8"/>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248" name="Group 9"/>
          <p:cNvGrpSpPr/>
          <p:nvPr/>
        </p:nvGrpSpPr>
        <p:grpSpPr>
          <a:xfrm>
            <a:off x="7843560" y="3133256"/>
            <a:ext cx="5162092" cy="1107996"/>
            <a:chOff x="7503320" y="1790532"/>
            <a:chExt cx="5162092" cy="1107996"/>
          </a:xfrm>
        </p:grpSpPr>
        <p:sp>
          <p:nvSpPr>
            <p:cNvPr id="249" name="Rectangle 10"/>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250" name="Rectangle 11"/>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2</a:t>
              </a:r>
              <a:endParaRPr lang="da-DK" sz="6600" b="1" dirty="0">
                <a:solidFill>
                  <a:schemeClr val="accent1"/>
                </a:solidFill>
                <a:latin typeface="Arial" panose="020B0604020202020204" pitchFamily="34" charset="0"/>
                <a:cs typeface="Arial" panose="020B0604020202020204" pitchFamily="34" charset="0"/>
              </a:endParaRPr>
            </a:p>
          </p:txBody>
        </p:sp>
        <p:sp>
          <p:nvSpPr>
            <p:cNvPr id="251" name="Rectangle 12"/>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252" name="Group 13"/>
          <p:cNvGrpSpPr/>
          <p:nvPr/>
        </p:nvGrpSpPr>
        <p:grpSpPr>
          <a:xfrm>
            <a:off x="7843560" y="4475980"/>
            <a:ext cx="5162092" cy="1107996"/>
            <a:chOff x="7503320" y="1790532"/>
            <a:chExt cx="5162092" cy="1107996"/>
          </a:xfrm>
        </p:grpSpPr>
        <p:sp>
          <p:nvSpPr>
            <p:cNvPr id="253" name="Rectangle 14"/>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254" name="Rectangle 15"/>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3</a:t>
              </a:r>
              <a:endParaRPr lang="da-DK" sz="6600" b="1" dirty="0">
                <a:solidFill>
                  <a:schemeClr val="accent1"/>
                </a:solidFill>
                <a:latin typeface="Arial" panose="020B0604020202020204" pitchFamily="34" charset="0"/>
                <a:cs typeface="Arial" panose="020B0604020202020204" pitchFamily="34" charset="0"/>
              </a:endParaRPr>
            </a:p>
          </p:txBody>
        </p:sp>
        <p:sp>
          <p:nvSpPr>
            <p:cNvPr id="255" name="Rectangle 16"/>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649395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0" hidden="1"/>
          <p:cNvGraphicFramePr>
            <a:graphicFrameLocks/>
          </p:cNvGraphicFramePr>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36203" name="think-cell Slide" r:id="rId10" imgW="0" imgH="0" progId="TCLayout.ActiveDocument.1">
                  <p:embed/>
                </p:oleObj>
              </mc:Choice>
              <mc:Fallback>
                <p:oleObj name="think-cell Slide" r:id="rId10" imgW="0" imgH="0" progId="TCLayout.ActiveDocument.1">
                  <p:embed/>
                  <p:pic>
                    <p:nvPicPr>
                      <p:cNvPr id="6146" name="Rectangle 2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FB65CF3C-CA86-49E7-B8C8-0D5A0D08573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600" dirty="0">
              <a:latin typeface="Arial" panose="020B0604020202020204" pitchFamily="34" charset="0"/>
              <a:ea typeface="+mj-ea"/>
              <a:cs typeface="+mj-cs"/>
              <a:sym typeface="Arial" panose="020B0604020202020204" pitchFamily="34" charset="0"/>
            </a:endParaRPr>
          </a:p>
        </p:txBody>
      </p:sp>
      <p:sp>
        <p:nvSpPr>
          <p:cNvPr id="308" name="Rektangel 307"/>
          <p:cNvSpPr/>
          <p:nvPr/>
        </p:nvSpPr>
        <p:spPr>
          <a:xfrm>
            <a:off x="8348907" y="4795088"/>
            <a:ext cx="2952599" cy="12697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Rektangel 306"/>
          <p:cNvSpPr/>
          <p:nvPr/>
        </p:nvSpPr>
        <p:spPr>
          <a:xfrm>
            <a:off x="8348908" y="3139516"/>
            <a:ext cx="2952599" cy="1269789"/>
          </a:xfrm>
          <a:prstGeom prst="rect">
            <a:avLst/>
          </a:prstGeom>
          <a:solidFill>
            <a:srgbClr val="0E395B">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Rektangel 281"/>
          <p:cNvSpPr/>
          <p:nvPr/>
        </p:nvSpPr>
        <p:spPr>
          <a:xfrm>
            <a:off x="8347295" y="1517071"/>
            <a:ext cx="2952599" cy="12697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ladsholder til tekst 2"/>
          <p:cNvSpPr>
            <a:spLocks noGrp="1"/>
          </p:cNvSpPr>
          <p:nvPr>
            <p:ph type="body" sz="quarter" idx="13"/>
          </p:nvPr>
        </p:nvSpPr>
        <p:spPr/>
        <p:txBody>
          <a:bodyPr/>
          <a:lstStyle/>
          <a:p>
            <a:endParaRPr lang="en-US"/>
          </a:p>
        </p:txBody>
      </p:sp>
      <p:sp>
        <p:nvSpPr>
          <p:cNvPr id="4" name="Pladsholder til tekst 3"/>
          <p:cNvSpPr>
            <a:spLocks noGrp="1"/>
          </p:cNvSpPr>
          <p:nvPr>
            <p:ph type="body" sz="quarter" idx="15"/>
          </p:nvPr>
        </p:nvSpPr>
        <p:spPr/>
        <p:txBody>
          <a:bodyPr/>
          <a:lstStyle/>
          <a:p>
            <a:endParaRPr lang="en-US"/>
          </a:p>
        </p:txBody>
      </p:sp>
      <p:sp>
        <p:nvSpPr>
          <p:cNvPr id="10" name="Title 9"/>
          <p:cNvSpPr>
            <a:spLocks noGrp="1"/>
          </p:cNvSpPr>
          <p:nvPr>
            <p:ph type="title"/>
          </p:nvPr>
        </p:nvSpPr>
        <p:spPr>
          <a:xfrm>
            <a:off x="527050" y="127212"/>
            <a:ext cx="9314374" cy="925103"/>
          </a:xfrm>
          <a:prstGeom prst="rect">
            <a:avLst/>
          </a:prstGeom>
        </p:spPr>
        <p:txBody>
          <a:bodyPr anchor="ctr"/>
          <a:lstStyle/>
          <a:p>
            <a:r>
              <a:rPr lang="en-US" dirty="0">
                <a:solidFill>
                  <a:srgbClr val="0F2850"/>
                </a:solidFill>
              </a:rPr>
              <a:t>The expansion strategy of XX is based on three distinct steps </a:t>
            </a:r>
          </a:p>
        </p:txBody>
      </p:sp>
      <p:sp>
        <p:nvSpPr>
          <p:cNvPr id="6148" name="Rectangle 5"/>
          <p:cNvSpPr>
            <a:spLocks noGrp="1" noChangeArrowheads="1"/>
          </p:cNvSpPr>
          <p:nvPr>
            <p:ph type="dt" sz="half" idx="4294967295"/>
            <p:custDataLst>
              <p:tags r:id="rId3"/>
            </p:custDataLst>
          </p:nvPr>
        </p:nvSpPr>
        <p:spPr>
          <a:xfrm>
            <a:off x="9848850" y="6613525"/>
            <a:ext cx="2343150" cy="184150"/>
          </a:xfrm>
          <a:prstGeom prst="rect">
            <a:avLst/>
          </a:prstGeom>
          <a:noFill/>
        </p:spPr>
        <p:txBody>
          <a:bodyPr/>
          <a:lstStyle/>
          <a:p>
            <a:fld id="{5EF33DD3-0541-4773-9FB6-135DFE5CA5A1}" type="datetime1">
              <a:rPr lang="en-US" smtClean="0">
                <a:solidFill>
                  <a:srgbClr val="0F2850"/>
                </a:solidFill>
              </a:rPr>
              <a:pPr/>
              <a:t>4/9/20</a:t>
            </a:fld>
            <a:endParaRPr lang="en-US" dirty="0">
              <a:solidFill>
                <a:srgbClr val="0F2850"/>
              </a:solidFill>
            </a:endParaRPr>
          </a:p>
        </p:txBody>
      </p:sp>
      <p:sp>
        <p:nvSpPr>
          <p:cNvPr id="6149" name="Rectangle 6"/>
          <p:cNvSpPr>
            <a:spLocks noGrp="1" noChangeArrowheads="1"/>
          </p:cNvSpPr>
          <p:nvPr>
            <p:ph type="ftr" sz="quarter" idx="4294967295"/>
            <p:custDataLst>
              <p:tags r:id="rId4"/>
            </p:custDataLst>
          </p:nvPr>
        </p:nvSpPr>
        <p:spPr>
          <a:xfrm>
            <a:off x="0" y="6356350"/>
            <a:ext cx="4114800" cy="365125"/>
          </a:xfrm>
          <a:prstGeom prst="rect">
            <a:avLst/>
          </a:prstGeom>
          <a:noFill/>
        </p:spPr>
        <p:txBody>
          <a:bodyPr/>
          <a:lstStyle/>
          <a:p>
            <a:r>
              <a:rPr lang="en-US" dirty="0">
                <a:solidFill>
                  <a:srgbClr val="0F2850"/>
                </a:solidFill>
              </a:rPr>
              <a:t>Strictly confidential</a:t>
            </a:r>
          </a:p>
        </p:txBody>
      </p:sp>
      <p:grpSp>
        <p:nvGrpSpPr>
          <p:cNvPr id="8" name="Grupper 7"/>
          <p:cNvGrpSpPr/>
          <p:nvPr/>
        </p:nvGrpSpPr>
        <p:grpSpPr>
          <a:xfrm>
            <a:off x="620911" y="2068745"/>
            <a:ext cx="6996082" cy="3461745"/>
            <a:chOff x="620911" y="1848820"/>
            <a:chExt cx="6996082" cy="3461745"/>
          </a:xfrm>
        </p:grpSpPr>
        <p:grpSp>
          <p:nvGrpSpPr>
            <p:cNvPr id="6" name="Grupper 5"/>
            <p:cNvGrpSpPr/>
            <p:nvPr/>
          </p:nvGrpSpPr>
          <p:grpSpPr>
            <a:xfrm>
              <a:off x="620911" y="1848820"/>
              <a:ext cx="6743699" cy="2901951"/>
              <a:chOff x="620911" y="2935063"/>
              <a:chExt cx="6743699" cy="2901951"/>
            </a:xfrm>
          </p:grpSpPr>
          <p:sp>
            <p:nvSpPr>
              <p:cNvPr id="13" name="Freeform 6"/>
              <p:cNvSpPr>
                <a:spLocks noChangeAspect="1"/>
              </p:cNvSpPr>
              <p:nvPr/>
            </p:nvSpPr>
            <p:spPr bwMode="auto">
              <a:xfrm>
                <a:off x="5144636" y="3476570"/>
                <a:ext cx="1149847" cy="713262"/>
              </a:xfrm>
              <a:custGeom>
                <a:avLst/>
                <a:gdLst/>
                <a:ahLst/>
                <a:cxnLst>
                  <a:cxn ang="0">
                    <a:pos x="434" y="466"/>
                  </a:cxn>
                  <a:cxn ang="0">
                    <a:pos x="440" y="504"/>
                  </a:cxn>
                  <a:cxn ang="0">
                    <a:pos x="448" y="534"/>
                  </a:cxn>
                  <a:cxn ang="0">
                    <a:pos x="468" y="554"/>
                  </a:cxn>
                  <a:cxn ang="0">
                    <a:pos x="492" y="582"/>
                  </a:cxn>
                  <a:cxn ang="0">
                    <a:pos x="500" y="566"/>
                  </a:cxn>
                  <a:cxn ang="0">
                    <a:pos x="550" y="548"/>
                  </a:cxn>
                  <a:cxn ang="0">
                    <a:pos x="582" y="562"/>
                  </a:cxn>
                  <a:cxn ang="0">
                    <a:pos x="638" y="582"/>
                  </a:cxn>
                  <a:cxn ang="0">
                    <a:pos x="648" y="590"/>
                  </a:cxn>
                  <a:cxn ang="0">
                    <a:pos x="712" y="562"/>
                  </a:cxn>
                  <a:cxn ang="0">
                    <a:pos x="746" y="540"/>
                  </a:cxn>
                  <a:cxn ang="0">
                    <a:pos x="778" y="478"/>
                  </a:cxn>
                  <a:cxn ang="0">
                    <a:pos x="782" y="420"/>
                  </a:cxn>
                  <a:cxn ang="0">
                    <a:pos x="776" y="392"/>
                  </a:cxn>
                  <a:cxn ang="0">
                    <a:pos x="718" y="332"/>
                  </a:cxn>
                  <a:cxn ang="0">
                    <a:pos x="734" y="286"/>
                  </a:cxn>
                  <a:cxn ang="0">
                    <a:pos x="662" y="266"/>
                  </a:cxn>
                  <a:cxn ang="0">
                    <a:pos x="694" y="228"/>
                  </a:cxn>
                  <a:cxn ang="0">
                    <a:pos x="718" y="262"/>
                  </a:cxn>
                  <a:cxn ang="0">
                    <a:pos x="760" y="222"/>
                  </a:cxn>
                  <a:cxn ang="0">
                    <a:pos x="796" y="198"/>
                  </a:cxn>
                  <a:cxn ang="0">
                    <a:pos x="820" y="188"/>
                  </a:cxn>
                  <a:cxn ang="0">
                    <a:pos x="820" y="142"/>
                  </a:cxn>
                  <a:cxn ang="0">
                    <a:pos x="792" y="98"/>
                  </a:cxn>
                  <a:cxn ang="0">
                    <a:pos x="744" y="80"/>
                  </a:cxn>
                  <a:cxn ang="0">
                    <a:pos x="646" y="24"/>
                  </a:cxn>
                  <a:cxn ang="0">
                    <a:pos x="556" y="4"/>
                  </a:cxn>
                  <a:cxn ang="0">
                    <a:pos x="564" y="40"/>
                  </a:cxn>
                  <a:cxn ang="0">
                    <a:pos x="536" y="66"/>
                  </a:cxn>
                  <a:cxn ang="0">
                    <a:pos x="576" y="100"/>
                  </a:cxn>
                  <a:cxn ang="0">
                    <a:pos x="578" y="124"/>
                  </a:cxn>
                  <a:cxn ang="0">
                    <a:pos x="556" y="144"/>
                  </a:cxn>
                  <a:cxn ang="0">
                    <a:pos x="524" y="150"/>
                  </a:cxn>
                  <a:cxn ang="0">
                    <a:pos x="528" y="166"/>
                  </a:cxn>
                  <a:cxn ang="0">
                    <a:pos x="496" y="198"/>
                  </a:cxn>
                  <a:cxn ang="0">
                    <a:pos x="402" y="200"/>
                  </a:cxn>
                  <a:cxn ang="0">
                    <a:pos x="290" y="172"/>
                  </a:cxn>
                  <a:cxn ang="0">
                    <a:pos x="210" y="146"/>
                  </a:cxn>
                  <a:cxn ang="0">
                    <a:pos x="168" y="98"/>
                  </a:cxn>
                  <a:cxn ang="0">
                    <a:pos x="122" y="86"/>
                  </a:cxn>
                  <a:cxn ang="0">
                    <a:pos x="92" y="130"/>
                  </a:cxn>
                  <a:cxn ang="0">
                    <a:pos x="70" y="156"/>
                  </a:cxn>
                  <a:cxn ang="0">
                    <a:pos x="50" y="228"/>
                  </a:cxn>
                  <a:cxn ang="0">
                    <a:pos x="0" y="254"/>
                  </a:cxn>
                  <a:cxn ang="0">
                    <a:pos x="20" y="288"/>
                  </a:cxn>
                  <a:cxn ang="0">
                    <a:pos x="44" y="302"/>
                  </a:cxn>
                  <a:cxn ang="0">
                    <a:pos x="78" y="324"/>
                  </a:cxn>
                  <a:cxn ang="0">
                    <a:pos x="108" y="320"/>
                  </a:cxn>
                  <a:cxn ang="0">
                    <a:pos x="112" y="352"/>
                  </a:cxn>
                  <a:cxn ang="0">
                    <a:pos x="112" y="380"/>
                  </a:cxn>
                  <a:cxn ang="0">
                    <a:pos x="144" y="416"/>
                  </a:cxn>
                  <a:cxn ang="0">
                    <a:pos x="180" y="428"/>
                  </a:cxn>
                  <a:cxn ang="0">
                    <a:pos x="230" y="458"/>
                  </a:cxn>
                  <a:cxn ang="0">
                    <a:pos x="274" y="466"/>
                  </a:cxn>
                  <a:cxn ang="0">
                    <a:pos x="294" y="462"/>
                  </a:cxn>
                  <a:cxn ang="0">
                    <a:pos x="336" y="480"/>
                  </a:cxn>
                  <a:cxn ang="0">
                    <a:pos x="372" y="438"/>
                  </a:cxn>
                  <a:cxn ang="0">
                    <a:pos x="392" y="436"/>
                  </a:cxn>
                  <a:cxn ang="0">
                    <a:pos x="414" y="452"/>
                  </a:cxn>
                </a:cxnLst>
                <a:rect l="0" t="0" r="r" b="b"/>
                <a:pathLst>
                  <a:path w="820" h="600">
                    <a:moveTo>
                      <a:pt x="414" y="452"/>
                    </a:moveTo>
                    <a:lnTo>
                      <a:pt x="420" y="452"/>
                    </a:lnTo>
                    <a:lnTo>
                      <a:pt x="424" y="454"/>
                    </a:lnTo>
                    <a:lnTo>
                      <a:pt x="426" y="456"/>
                    </a:lnTo>
                    <a:lnTo>
                      <a:pt x="430" y="462"/>
                    </a:lnTo>
                    <a:lnTo>
                      <a:pt x="430" y="464"/>
                    </a:lnTo>
                    <a:lnTo>
                      <a:pt x="434" y="466"/>
                    </a:lnTo>
                    <a:lnTo>
                      <a:pt x="438" y="466"/>
                    </a:lnTo>
                    <a:lnTo>
                      <a:pt x="440" y="470"/>
                    </a:lnTo>
                    <a:lnTo>
                      <a:pt x="442" y="480"/>
                    </a:lnTo>
                    <a:lnTo>
                      <a:pt x="446" y="496"/>
                    </a:lnTo>
                    <a:lnTo>
                      <a:pt x="444" y="500"/>
                    </a:lnTo>
                    <a:lnTo>
                      <a:pt x="446" y="502"/>
                    </a:lnTo>
                    <a:lnTo>
                      <a:pt x="440" y="504"/>
                    </a:lnTo>
                    <a:lnTo>
                      <a:pt x="436" y="510"/>
                    </a:lnTo>
                    <a:lnTo>
                      <a:pt x="434" y="516"/>
                    </a:lnTo>
                    <a:lnTo>
                      <a:pt x="434" y="520"/>
                    </a:lnTo>
                    <a:lnTo>
                      <a:pt x="436" y="528"/>
                    </a:lnTo>
                    <a:lnTo>
                      <a:pt x="438" y="532"/>
                    </a:lnTo>
                    <a:lnTo>
                      <a:pt x="442" y="534"/>
                    </a:lnTo>
                    <a:lnTo>
                      <a:pt x="448" y="534"/>
                    </a:lnTo>
                    <a:lnTo>
                      <a:pt x="452" y="534"/>
                    </a:lnTo>
                    <a:lnTo>
                      <a:pt x="454" y="536"/>
                    </a:lnTo>
                    <a:lnTo>
                      <a:pt x="456" y="542"/>
                    </a:lnTo>
                    <a:lnTo>
                      <a:pt x="458" y="546"/>
                    </a:lnTo>
                    <a:lnTo>
                      <a:pt x="462" y="548"/>
                    </a:lnTo>
                    <a:lnTo>
                      <a:pt x="466" y="550"/>
                    </a:lnTo>
                    <a:lnTo>
                      <a:pt x="468" y="554"/>
                    </a:lnTo>
                    <a:lnTo>
                      <a:pt x="468" y="558"/>
                    </a:lnTo>
                    <a:lnTo>
                      <a:pt x="466" y="568"/>
                    </a:lnTo>
                    <a:lnTo>
                      <a:pt x="472" y="570"/>
                    </a:lnTo>
                    <a:lnTo>
                      <a:pt x="478" y="574"/>
                    </a:lnTo>
                    <a:lnTo>
                      <a:pt x="484" y="578"/>
                    </a:lnTo>
                    <a:lnTo>
                      <a:pt x="490" y="580"/>
                    </a:lnTo>
                    <a:lnTo>
                      <a:pt x="492" y="582"/>
                    </a:lnTo>
                    <a:lnTo>
                      <a:pt x="496" y="578"/>
                    </a:lnTo>
                    <a:lnTo>
                      <a:pt x="500" y="582"/>
                    </a:lnTo>
                    <a:lnTo>
                      <a:pt x="502" y="582"/>
                    </a:lnTo>
                    <a:lnTo>
                      <a:pt x="506" y="580"/>
                    </a:lnTo>
                    <a:lnTo>
                      <a:pt x="502" y="574"/>
                    </a:lnTo>
                    <a:lnTo>
                      <a:pt x="500" y="568"/>
                    </a:lnTo>
                    <a:lnTo>
                      <a:pt x="500" y="566"/>
                    </a:lnTo>
                    <a:lnTo>
                      <a:pt x="502" y="562"/>
                    </a:lnTo>
                    <a:lnTo>
                      <a:pt x="506" y="560"/>
                    </a:lnTo>
                    <a:lnTo>
                      <a:pt x="518" y="560"/>
                    </a:lnTo>
                    <a:lnTo>
                      <a:pt x="524" y="560"/>
                    </a:lnTo>
                    <a:lnTo>
                      <a:pt x="534" y="558"/>
                    </a:lnTo>
                    <a:lnTo>
                      <a:pt x="542" y="552"/>
                    </a:lnTo>
                    <a:lnTo>
                      <a:pt x="550" y="548"/>
                    </a:lnTo>
                    <a:lnTo>
                      <a:pt x="558" y="546"/>
                    </a:lnTo>
                    <a:lnTo>
                      <a:pt x="564" y="548"/>
                    </a:lnTo>
                    <a:lnTo>
                      <a:pt x="568" y="550"/>
                    </a:lnTo>
                    <a:lnTo>
                      <a:pt x="574" y="552"/>
                    </a:lnTo>
                    <a:lnTo>
                      <a:pt x="578" y="552"/>
                    </a:lnTo>
                    <a:lnTo>
                      <a:pt x="580" y="558"/>
                    </a:lnTo>
                    <a:lnTo>
                      <a:pt x="582" y="562"/>
                    </a:lnTo>
                    <a:lnTo>
                      <a:pt x="590" y="570"/>
                    </a:lnTo>
                    <a:lnTo>
                      <a:pt x="598" y="574"/>
                    </a:lnTo>
                    <a:lnTo>
                      <a:pt x="606" y="576"/>
                    </a:lnTo>
                    <a:lnTo>
                      <a:pt x="620" y="576"/>
                    </a:lnTo>
                    <a:lnTo>
                      <a:pt x="626" y="576"/>
                    </a:lnTo>
                    <a:lnTo>
                      <a:pt x="630" y="578"/>
                    </a:lnTo>
                    <a:lnTo>
                      <a:pt x="638" y="582"/>
                    </a:lnTo>
                    <a:lnTo>
                      <a:pt x="638" y="588"/>
                    </a:lnTo>
                    <a:lnTo>
                      <a:pt x="638" y="594"/>
                    </a:lnTo>
                    <a:lnTo>
                      <a:pt x="640" y="598"/>
                    </a:lnTo>
                    <a:lnTo>
                      <a:pt x="646" y="600"/>
                    </a:lnTo>
                    <a:lnTo>
                      <a:pt x="650" y="596"/>
                    </a:lnTo>
                    <a:lnTo>
                      <a:pt x="648" y="594"/>
                    </a:lnTo>
                    <a:lnTo>
                      <a:pt x="648" y="590"/>
                    </a:lnTo>
                    <a:lnTo>
                      <a:pt x="646" y="584"/>
                    </a:lnTo>
                    <a:lnTo>
                      <a:pt x="662" y="580"/>
                    </a:lnTo>
                    <a:lnTo>
                      <a:pt x="674" y="572"/>
                    </a:lnTo>
                    <a:lnTo>
                      <a:pt x="696" y="558"/>
                    </a:lnTo>
                    <a:lnTo>
                      <a:pt x="696" y="568"/>
                    </a:lnTo>
                    <a:lnTo>
                      <a:pt x="708" y="568"/>
                    </a:lnTo>
                    <a:lnTo>
                      <a:pt x="712" y="562"/>
                    </a:lnTo>
                    <a:lnTo>
                      <a:pt x="714" y="560"/>
                    </a:lnTo>
                    <a:lnTo>
                      <a:pt x="724" y="556"/>
                    </a:lnTo>
                    <a:lnTo>
                      <a:pt x="734" y="554"/>
                    </a:lnTo>
                    <a:lnTo>
                      <a:pt x="738" y="552"/>
                    </a:lnTo>
                    <a:lnTo>
                      <a:pt x="742" y="548"/>
                    </a:lnTo>
                    <a:lnTo>
                      <a:pt x="742" y="550"/>
                    </a:lnTo>
                    <a:lnTo>
                      <a:pt x="746" y="540"/>
                    </a:lnTo>
                    <a:lnTo>
                      <a:pt x="752" y="532"/>
                    </a:lnTo>
                    <a:lnTo>
                      <a:pt x="770" y="518"/>
                    </a:lnTo>
                    <a:lnTo>
                      <a:pt x="772" y="514"/>
                    </a:lnTo>
                    <a:lnTo>
                      <a:pt x="774" y="508"/>
                    </a:lnTo>
                    <a:lnTo>
                      <a:pt x="774" y="498"/>
                    </a:lnTo>
                    <a:lnTo>
                      <a:pt x="774" y="488"/>
                    </a:lnTo>
                    <a:lnTo>
                      <a:pt x="778" y="478"/>
                    </a:lnTo>
                    <a:lnTo>
                      <a:pt x="786" y="466"/>
                    </a:lnTo>
                    <a:lnTo>
                      <a:pt x="792" y="454"/>
                    </a:lnTo>
                    <a:lnTo>
                      <a:pt x="794" y="448"/>
                    </a:lnTo>
                    <a:lnTo>
                      <a:pt x="794" y="442"/>
                    </a:lnTo>
                    <a:lnTo>
                      <a:pt x="792" y="432"/>
                    </a:lnTo>
                    <a:lnTo>
                      <a:pt x="790" y="426"/>
                    </a:lnTo>
                    <a:lnTo>
                      <a:pt x="782" y="420"/>
                    </a:lnTo>
                    <a:lnTo>
                      <a:pt x="772" y="418"/>
                    </a:lnTo>
                    <a:lnTo>
                      <a:pt x="778" y="410"/>
                    </a:lnTo>
                    <a:lnTo>
                      <a:pt x="786" y="406"/>
                    </a:lnTo>
                    <a:lnTo>
                      <a:pt x="778" y="400"/>
                    </a:lnTo>
                    <a:lnTo>
                      <a:pt x="774" y="396"/>
                    </a:lnTo>
                    <a:lnTo>
                      <a:pt x="772" y="392"/>
                    </a:lnTo>
                    <a:lnTo>
                      <a:pt x="776" y="392"/>
                    </a:lnTo>
                    <a:lnTo>
                      <a:pt x="768" y="378"/>
                    </a:lnTo>
                    <a:lnTo>
                      <a:pt x="760" y="366"/>
                    </a:lnTo>
                    <a:lnTo>
                      <a:pt x="750" y="352"/>
                    </a:lnTo>
                    <a:lnTo>
                      <a:pt x="738" y="342"/>
                    </a:lnTo>
                    <a:lnTo>
                      <a:pt x="726" y="338"/>
                    </a:lnTo>
                    <a:lnTo>
                      <a:pt x="720" y="334"/>
                    </a:lnTo>
                    <a:lnTo>
                      <a:pt x="718" y="332"/>
                    </a:lnTo>
                    <a:lnTo>
                      <a:pt x="718" y="328"/>
                    </a:lnTo>
                    <a:lnTo>
                      <a:pt x="718" y="324"/>
                    </a:lnTo>
                    <a:lnTo>
                      <a:pt x="720" y="316"/>
                    </a:lnTo>
                    <a:lnTo>
                      <a:pt x="724" y="312"/>
                    </a:lnTo>
                    <a:lnTo>
                      <a:pt x="728" y="308"/>
                    </a:lnTo>
                    <a:lnTo>
                      <a:pt x="748" y="294"/>
                    </a:lnTo>
                    <a:lnTo>
                      <a:pt x="734" y="286"/>
                    </a:lnTo>
                    <a:lnTo>
                      <a:pt x="726" y="282"/>
                    </a:lnTo>
                    <a:lnTo>
                      <a:pt x="718" y="280"/>
                    </a:lnTo>
                    <a:lnTo>
                      <a:pt x="714" y="282"/>
                    </a:lnTo>
                    <a:lnTo>
                      <a:pt x="710" y="286"/>
                    </a:lnTo>
                    <a:lnTo>
                      <a:pt x="706" y="290"/>
                    </a:lnTo>
                    <a:lnTo>
                      <a:pt x="702" y="290"/>
                    </a:lnTo>
                    <a:lnTo>
                      <a:pt x="662" y="266"/>
                    </a:lnTo>
                    <a:lnTo>
                      <a:pt x="662" y="262"/>
                    </a:lnTo>
                    <a:lnTo>
                      <a:pt x="666" y="260"/>
                    </a:lnTo>
                    <a:lnTo>
                      <a:pt x="670" y="256"/>
                    </a:lnTo>
                    <a:lnTo>
                      <a:pt x="676" y="254"/>
                    </a:lnTo>
                    <a:lnTo>
                      <a:pt x="682" y="250"/>
                    </a:lnTo>
                    <a:lnTo>
                      <a:pt x="686" y="240"/>
                    </a:lnTo>
                    <a:lnTo>
                      <a:pt x="694" y="228"/>
                    </a:lnTo>
                    <a:lnTo>
                      <a:pt x="698" y="224"/>
                    </a:lnTo>
                    <a:lnTo>
                      <a:pt x="704" y="224"/>
                    </a:lnTo>
                    <a:lnTo>
                      <a:pt x="708" y="224"/>
                    </a:lnTo>
                    <a:lnTo>
                      <a:pt x="712" y="228"/>
                    </a:lnTo>
                    <a:lnTo>
                      <a:pt x="714" y="236"/>
                    </a:lnTo>
                    <a:lnTo>
                      <a:pt x="714" y="262"/>
                    </a:lnTo>
                    <a:lnTo>
                      <a:pt x="718" y="262"/>
                    </a:lnTo>
                    <a:lnTo>
                      <a:pt x="724" y="258"/>
                    </a:lnTo>
                    <a:lnTo>
                      <a:pt x="732" y="250"/>
                    </a:lnTo>
                    <a:lnTo>
                      <a:pt x="740" y="242"/>
                    </a:lnTo>
                    <a:lnTo>
                      <a:pt x="742" y="242"/>
                    </a:lnTo>
                    <a:lnTo>
                      <a:pt x="748" y="242"/>
                    </a:lnTo>
                    <a:lnTo>
                      <a:pt x="752" y="234"/>
                    </a:lnTo>
                    <a:lnTo>
                      <a:pt x="760" y="222"/>
                    </a:lnTo>
                    <a:lnTo>
                      <a:pt x="770" y="210"/>
                    </a:lnTo>
                    <a:lnTo>
                      <a:pt x="774" y="212"/>
                    </a:lnTo>
                    <a:lnTo>
                      <a:pt x="780" y="214"/>
                    </a:lnTo>
                    <a:lnTo>
                      <a:pt x="792" y="214"/>
                    </a:lnTo>
                    <a:lnTo>
                      <a:pt x="790" y="208"/>
                    </a:lnTo>
                    <a:lnTo>
                      <a:pt x="792" y="204"/>
                    </a:lnTo>
                    <a:lnTo>
                      <a:pt x="796" y="198"/>
                    </a:lnTo>
                    <a:lnTo>
                      <a:pt x="802" y="188"/>
                    </a:lnTo>
                    <a:lnTo>
                      <a:pt x="806" y="190"/>
                    </a:lnTo>
                    <a:lnTo>
                      <a:pt x="810" y="192"/>
                    </a:lnTo>
                    <a:lnTo>
                      <a:pt x="814" y="190"/>
                    </a:lnTo>
                    <a:lnTo>
                      <a:pt x="818" y="188"/>
                    </a:lnTo>
                    <a:lnTo>
                      <a:pt x="818" y="186"/>
                    </a:lnTo>
                    <a:lnTo>
                      <a:pt x="820" y="188"/>
                    </a:lnTo>
                    <a:lnTo>
                      <a:pt x="814" y="172"/>
                    </a:lnTo>
                    <a:lnTo>
                      <a:pt x="808" y="164"/>
                    </a:lnTo>
                    <a:lnTo>
                      <a:pt x="800" y="158"/>
                    </a:lnTo>
                    <a:lnTo>
                      <a:pt x="800" y="142"/>
                    </a:lnTo>
                    <a:lnTo>
                      <a:pt x="812" y="146"/>
                    </a:lnTo>
                    <a:lnTo>
                      <a:pt x="820" y="152"/>
                    </a:lnTo>
                    <a:lnTo>
                      <a:pt x="820" y="142"/>
                    </a:lnTo>
                    <a:lnTo>
                      <a:pt x="820" y="136"/>
                    </a:lnTo>
                    <a:lnTo>
                      <a:pt x="820" y="124"/>
                    </a:lnTo>
                    <a:lnTo>
                      <a:pt x="818" y="110"/>
                    </a:lnTo>
                    <a:lnTo>
                      <a:pt x="814" y="100"/>
                    </a:lnTo>
                    <a:lnTo>
                      <a:pt x="806" y="86"/>
                    </a:lnTo>
                    <a:lnTo>
                      <a:pt x="798" y="92"/>
                    </a:lnTo>
                    <a:lnTo>
                      <a:pt x="792" y="98"/>
                    </a:lnTo>
                    <a:lnTo>
                      <a:pt x="786" y="102"/>
                    </a:lnTo>
                    <a:lnTo>
                      <a:pt x="774" y="104"/>
                    </a:lnTo>
                    <a:lnTo>
                      <a:pt x="770" y="104"/>
                    </a:lnTo>
                    <a:lnTo>
                      <a:pt x="764" y="102"/>
                    </a:lnTo>
                    <a:lnTo>
                      <a:pt x="756" y="96"/>
                    </a:lnTo>
                    <a:lnTo>
                      <a:pt x="750" y="88"/>
                    </a:lnTo>
                    <a:lnTo>
                      <a:pt x="744" y="80"/>
                    </a:lnTo>
                    <a:lnTo>
                      <a:pt x="732" y="76"/>
                    </a:lnTo>
                    <a:lnTo>
                      <a:pt x="718" y="72"/>
                    </a:lnTo>
                    <a:lnTo>
                      <a:pt x="704" y="68"/>
                    </a:lnTo>
                    <a:lnTo>
                      <a:pt x="690" y="62"/>
                    </a:lnTo>
                    <a:lnTo>
                      <a:pt x="680" y="54"/>
                    </a:lnTo>
                    <a:lnTo>
                      <a:pt x="668" y="46"/>
                    </a:lnTo>
                    <a:lnTo>
                      <a:pt x="646" y="24"/>
                    </a:lnTo>
                    <a:lnTo>
                      <a:pt x="634" y="16"/>
                    </a:lnTo>
                    <a:lnTo>
                      <a:pt x="622" y="8"/>
                    </a:lnTo>
                    <a:lnTo>
                      <a:pt x="606" y="2"/>
                    </a:lnTo>
                    <a:lnTo>
                      <a:pt x="584" y="0"/>
                    </a:lnTo>
                    <a:lnTo>
                      <a:pt x="572" y="0"/>
                    </a:lnTo>
                    <a:lnTo>
                      <a:pt x="562" y="2"/>
                    </a:lnTo>
                    <a:lnTo>
                      <a:pt x="556" y="4"/>
                    </a:lnTo>
                    <a:lnTo>
                      <a:pt x="552" y="8"/>
                    </a:lnTo>
                    <a:lnTo>
                      <a:pt x="550" y="12"/>
                    </a:lnTo>
                    <a:lnTo>
                      <a:pt x="550" y="18"/>
                    </a:lnTo>
                    <a:lnTo>
                      <a:pt x="552" y="20"/>
                    </a:lnTo>
                    <a:lnTo>
                      <a:pt x="556" y="24"/>
                    </a:lnTo>
                    <a:lnTo>
                      <a:pt x="562" y="30"/>
                    </a:lnTo>
                    <a:lnTo>
                      <a:pt x="564" y="40"/>
                    </a:lnTo>
                    <a:lnTo>
                      <a:pt x="566" y="50"/>
                    </a:lnTo>
                    <a:lnTo>
                      <a:pt x="566" y="56"/>
                    </a:lnTo>
                    <a:lnTo>
                      <a:pt x="566" y="62"/>
                    </a:lnTo>
                    <a:lnTo>
                      <a:pt x="562" y="66"/>
                    </a:lnTo>
                    <a:lnTo>
                      <a:pt x="560" y="68"/>
                    </a:lnTo>
                    <a:lnTo>
                      <a:pt x="550" y="68"/>
                    </a:lnTo>
                    <a:lnTo>
                      <a:pt x="536" y="66"/>
                    </a:lnTo>
                    <a:lnTo>
                      <a:pt x="538" y="88"/>
                    </a:lnTo>
                    <a:lnTo>
                      <a:pt x="538" y="94"/>
                    </a:lnTo>
                    <a:lnTo>
                      <a:pt x="542" y="98"/>
                    </a:lnTo>
                    <a:lnTo>
                      <a:pt x="544" y="102"/>
                    </a:lnTo>
                    <a:lnTo>
                      <a:pt x="550" y="102"/>
                    </a:lnTo>
                    <a:lnTo>
                      <a:pt x="568" y="102"/>
                    </a:lnTo>
                    <a:lnTo>
                      <a:pt x="576" y="100"/>
                    </a:lnTo>
                    <a:lnTo>
                      <a:pt x="582" y="98"/>
                    </a:lnTo>
                    <a:lnTo>
                      <a:pt x="592" y="100"/>
                    </a:lnTo>
                    <a:lnTo>
                      <a:pt x="602" y="106"/>
                    </a:lnTo>
                    <a:lnTo>
                      <a:pt x="610" y="112"/>
                    </a:lnTo>
                    <a:lnTo>
                      <a:pt x="616" y="120"/>
                    </a:lnTo>
                    <a:lnTo>
                      <a:pt x="596" y="122"/>
                    </a:lnTo>
                    <a:lnTo>
                      <a:pt x="578" y="124"/>
                    </a:lnTo>
                    <a:lnTo>
                      <a:pt x="576" y="128"/>
                    </a:lnTo>
                    <a:lnTo>
                      <a:pt x="576" y="132"/>
                    </a:lnTo>
                    <a:lnTo>
                      <a:pt x="574" y="134"/>
                    </a:lnTo>
                    <a:lnTo>
                      <a:pt x="574" y="140"/>
                    </a:lnTo>
                    <a:lnTo>
                      <a:pt x="570" y="142"/>
                    </a:lnTo>
                    <a:lnTo>
                      <a:pt x="566" y="142"/>
                    </a:lnTo>
                    <a:lnTo>
                      <a:pt x="556" y="144"/>
                    </a:lnTo>
                    <a:lnTo>
                      <a:pt x="552" y="146"/>
                    </a:lnTo>
                    <a:lnTo>
                      <a:pt x="550" y="150"/>
                    </a:lnTo>
                    <a:lnTo>
                      <a:pt x="544" y="152"/>
                    </a:lnTo>
                    <a:lnTo>
                      <a:pt x="538" y="154"/>
                    </a:lnTo>
                    <a:lnTo>
                      <a:pt x="532" y="154"/>
                    </a:lnTo>
                    <a:lnTo>
                      <a:pt x="528" y="152"/>
                    </a:lnTo>
                    <a:lnTo>
                      <a:pt x="524" y="150"/>
                    </a:lnTo>
                    <a:lnTo>
                      <a:pt x="522" y="150"/>
                    </a:lnTo>
                    <a:lnTo>
                      <a:pt x="518" y="152"/>
                    </a:lnTo>
                    <a:lnTo>
                      <a:pt x="516" y="156"/>
                    </a:lnTo>
                    <a:lnTo>
                      <a:pt x="516" y="160"/>
                    </a:lnTo>
                    <a:lnTo>
                      <a:pt x="518" y="160"/>
                    </a:lnTo>
                    <a:lnTo>
                      <a:pt x="524" y="164"/>
                    </a:lnTo>
                    <a:lnTo>
                      <a:pt x="528" y="166"/>
                    </a:lnTo>
                    <a:lnTo>
                      <a:pt x="530" y="168"/>
                    </a:lnTo>
                    <a:lnTo>
                      <a:pt x="530" y="172"/>
                    </a:lnTo>
                    <a:lnTo>
                      <a:pt x="530" y="176"/>
                    </a:lnTo>
                    <a:lnTo>
                      <a:pt x="526" y="182"/>
                    </a:lnTo>
                    <a:lnTo>
                      <a:pt x="518" y="188"/>
                    </a:lnTo>
                    <a:lnTo>
                      <a:pt x="508" y="194"/>
                    </a:lnTo>
                    <a:lnTo>
                      <a:pt x="496" y="198"/>
                    </a:lnTo>
                    <a:lnTo>
                      <a:pt x="468" y="198"/>
                    </a:lnTo>
                    <a:lnTo>
                      <a:pt x="458" y="206"/>
                    </a:lnTo>
                    <a:lnTo>
                      <a:pt x="452" y="210"/>
                    </a:lnTo>
                    <a:lnTo>
                      <a:pt x="444" y="212"/>
                    </a:lnTo>
                    <a:lnTo>
                      <a:pt x="430" y="210"/>
                    </a:lnTo>
                    <a:lnTo>
                      <a:pt x="414" y="206"/>
                    </a:lnTo>
                    <a:lnTo>
                      <a:pt x="402" y="200"/>
                    </a:lnTo>
                    <a:lnTo>
                      <a:pt x="392" y="194"/>
                    </a:lnTo>
                    <a:lnTo>
                      <a:pt x="348" y="194"/>
                    </a:lnTo>
                    <a:lnTo>
                      <a:pt x="348" y="192"/>
                    </a:lnTo>
                    <a:lnTo>
                      <a:pt x="314" y="192"/>
                    </a:lnTo>
                    <a:lnTo>
                      <a:pt x="306" y="188"/>
                    </a:lnTo>
                    <a:lnTo>
                      <a:pt x="298" y="180"/>
                    </a:lnTo>
                    <a:lnTo>
                      <a:pt x="290" y="172"/>
                    </a:lnTo>
                    <a:lnTo>
                      <a:pt x="280" y="166"/>
                    </a:lnTo>
                    <a:lnTo>
                      <a:pt x="272" y="160"/>
                    </a:lnTo>
                    <a:lnTo>
                      <a:pt x="262" y="160"/>
                    </a:lnTo>
                    <a:lnTo>
                      <a:pt x="252" y="156"/>
                    </a:lnTo>
                    <a:lnTo>
                      <a:pt x="244" y="152"/>
                    </a:lnTo>
                    <a:lnTo>
                      <a:pt x="214" y="152"/>
                    </a:lnTo>
                    <a:lnTo>
                      <a:pt x="210" y="146"/>
                    </a:lnTo>
                    <a:lnTo>
                      <a:pt x="206" y="140"/>
                    </a:lnTo>
                    <a:lnTo>
                      <a:pt x="202" y="126"/>
                    </a:lnTo>
                    <a:lnTo>
                      <a:pt x="198" y="118"/>
                    </a:lnTo>
                    <a:lnTo>
                      <a:pt x="194" y="112"/>
                    </a:lnTo>
                    <a:lnTo>
                      <a:pt x="182" y="104"/>
                    </a:lnTo>
                    <a:lnTo>
                      <a:pt x="174" y="100"/>
                    </a:lnTo>
                    <a:lnTo>
                      <a:pt x="168" y="98"/>
                    </a:lnTo>
                    <a:lnTo>
                      <a:pt x="154" y="92"/>
                    </a:lnTo>
                    <a:lnTo>
                      <a:pt x="146" y="90"/>
                    </a:lnTo>
                    <a:lnTo>
                      <a:pt x="140" y="86"/>
                    </a:lnTo>
                    <a:lnTo>
                      <a:pt x="138" y="82"/>
                    </a:lnTo>
                    <a:lnTo>
                      <a:pt x="134" y="76"/>
                    </a:lnTo>
                    <a:lnTo>
                      <a:pt x="134" y="78"/>
                    </a:lnTo>
                    <a:lnTo>
                      <a:pt x="122" y="86"/>
                    </a:lnTo>
                    <a:lnTo>
                      <a:pt x="114" y="94"/>
                    </a:lnTo>
                    <a:lnTo>
                      <a:pt x="126" y="108"/>
                    </a:lnTo>
                    <a:lnTo>
                      <a:pt x="116" y="116"/>
                    </a:lnTo>
                    <a:lnTo>
                      <a:pt x="110" y="118"/>
                    </a:lnTo>
                    <a:lnTo>
                      <a:pt x="100" y="116"/>
                    </a:lnTo>
                    <a:lnTo>
                      <a:pt x="88" y="112"/>
                    </a:lnTo>
                    <a:lnTo>
                      <a:pt x="92" y="130"/>
                    </a:lnTo>
                    <a:lnTo>
                      <a:pt x="92" y="140"/>
                    </a:lnTo>
                    <a:lnTo>
                      <a:pt x="90" y="148"/>
                    </a:lnTo>
                    <a:lnTo>
                      <a:pt x="86" y="150"/>
                    </a:lnTo>
                    <a:lnTo>
                      <a:pt x="84" y="150"/>
                    </a:lnTo>
                    <a:lnTo>
                      <a:pt x="78" y="150"/>
                    </a:lnTo>
                    <a:lnTo>
                      <a:pt x="68" y="146"/>
                    </a:lnTo>
                    <a:lnTo>
                      <a:pt x="70" y="156"/>
                    </a:lnTo>
                    <a:lnTo>
                      <a:pt x="76" y="164"/>
                    </a:lnTo>
                    <a:lnTo>
                      <a:pt x="80" y="176"/>
                    </a:lnTo>
                    <a:lnTo>
                      <a:pt x="82" y="188"/>
                    </a:lnTo>
                    <a:lnTo>
                      <a:pt x="78" y="194"/>
                    </a:lnTo>
                    <a:lnTo>
                      <a:pt x="74" y="200"/>
                    </a:lnTo>
                    <a:lnTo>
                      <a:pt x="64" y="214"/>
                    </a:lnTo>
                    <a:lnTo>
                      <a:pt x="50" y="228"/>
                    </a:lnTo>
                    <a:lnTo>
                      <a:pt x="38" y="236"/>
                    </a:lnTo>
                    <a:lnTo>
                      <a:pt x="28" y="238"/>
                    </a:lnTo>
                    <a:lnTo>
                      <a:pt x="14" y="240"/>
                    </a:lnTo>
                    <a:lnTo>
                      <a:pt x="8" y="242"/>
                    </a:lnTo>
                    <a:lnTo>
                      <a:pt x="4" y="244"/>
                    </a:lnTo>
                    <a:lnTo>
                      <a:pt x="2" y="248"/>
                    </a:lnTo>
                    <a:lnTo>
                      <a:pt x="0" y="254"/>
                    </a:lnTo>
                    <a:lnTo>
                      <a:pt x="2" y="258"/>
                    </a:lnTo>
                    <a:lnTo>
                      <a:pt x="4" y="262"/>
                    </a:lnTo>
                    <a:lnTo>
                      <a:pt x="14" y="268"/>
                    </a:lnTo>
                    <a:lnTo>
                      <a:pt x="24" y="276"/>
                    </a:lnTo>
                    <a:lnTo>
                      <a:pt x="26" y="280"/>
                    </a:lnTo>
                    <a:lnTo>
                      <a:pt x="26" y="286"/>
                    </a:lnTo>
                    <a:lnTo>
                      <a:pt x="20" y="288"/>
                    </a:lnTo>
                    <a:lnTo>
                      <a:pt x="14" y="290"/>
                    </a:lnTo>
                    <a:lnTo>
                      <a:pt x="18" y="292"/>
                    </a:lnTo>
                    <a:lnTo>
                      <a:pt x="20" y="294"/>
                    </a:lnTo>
                    <a:lnTo>
                      <a:pt x="28" y="296"/>
                    </a:lnTo>
                    <a:lnTo>
                      <a:pt x="28" y="298"/>
                    </a:lnTo>
                    <a:lnTo>
                      <a:pt x="36" y="298"/>
                    </a:lnTo>
                    <a:lnTo>
                      <a:pt x="44" y="302"/>
                    </a:lnTo>
                    <a:lnTo>
                      <a:pt x="50" y="308"/>
                    </a:lnTo>
                    <a:lnTo>
                      <a:pt x="54" y="316"/>
                    </a:lnTo>
                    <a:lnTo>
                      <a:pt x="58" y="320"/>
                    </a:lnTo>
                    <a:lnTo>
                      <a:pt x="62" y="322"/>
                    </a:lnTo>
                    <a:lnTo>
                      <a:pt x="68" y="322"/>
                    </a:lnTo>
                    <a:lnTo>
                      <a:pt x="74" y="324"/>
                    </a:lnTo>
                    <a:lnTo>
                      <a:pt x="78" y="324"/>
                    </a:lnTo>
                    <a:lnTo>
                      <a:pt x="82" y="326"/>
                    </a:lnTo>
                    <a:lnTo>
                      <a:pt x="84" y="326"/>
                    </a:lnTo>
                    <a:lnTo>
                      <a:pt x="86" y="324"/>
                    </a:lnTo>
                    <a:lnTo>
                      <a:pt x="90" y="322"/>
                    </a:lnTo>
                    <a:lnTo>
                      <a:pt x="94" y="320"/>
                    </a:lnTo>
                    <a:lnTo>
                      <a:pt x="100" y="320"/>
                    </a:lnTo>
                    <a:lnTo>
                      <a:pt x="108" y="320"/>
                    </a:lnTo>
                    <a:lnTo>
                      <a:pt x="114" y="324"/>
                    </a:lnTo>
                    <a:lnTo>
                      <a:pt x="116" y="324"/>
                    </a:lnTo>
                    <a:lnTo>
                      <a:pt x="122" y="326"/>
                    </a:lnTo>
                    <a:lnTo>
                      <a:pt x="122" y="332"/>
                    </a:lnTo>
                    <a:lnTo>
                      <a:pt x="120" y="336"/>
                    </a:lnTo>
                    <a:lnTo>
                      <a:pt x="114" y="344"/>
                    </a:lnTo>
                    <a:lnTo>
                      <a:pt x="112" y="352"/>
                    </a:lnTo>
                    <a:lnTo>
                      <a:pt x="110" y="358"/>
                    </a:lnTo>
                    <a:lnTo>
                      <a:pt x="112" y="362"/>
                    </a:lnTo>
                    <a:lnTo>
                      <a:pt x="114" y="368"/>
                    </a:lnTo>
                    <a:lnTo>
                      <a:pt x="122" y="376"/>
                    </a:lnTo>
                    <a:lnTo>
                      <a:pt x="120" y="378"/>
                    </a:lnTo>
                    <a:lnTo>
                      <a:pt x="118" y="378"/>
                    </a:lnTo>
                    <a:lnTo>
                      <a:pt x="112" y="380"/>
                    </a:lnTo>
                    <a:lnTo>
                      <a:pt x="114" y="388"/>
                    </a:lnTo>
                    <a:lnTo>
                      <a:pt x="114" y="392"/>
                    </a:lnTo>
                    <a:lnTo>
                      <a:pt x="116" y="396"/>
                    </a:lnTo>
                    <a:lnTo>
                      <a:pt x="118" y="400"/>
                    </a:lnTo>
                    <a:lnTo>
                      <a:pt x="126" y="404"/>
                    </a:lnTo>
                    <a:lnTo>
                      <a:pt x="136" y="408"/>
                    </a:lnTo>
                    <a:lnTo>
                      <a:pt x="144" y="416"/>
                    </a:lnTo>
                    <a:lnTo>
                      <a:pt x="152" y="424"/>
                    </a:lnTo>
                    <a:lnTo>
                      <a:pt x="158" y="424"/>
                    </a:lnTo>
                    <a:lnTo>
                      <a:pt x="162" y="424"/>
                    </a:lnTo>
                    <a:lnTo>
                      <a:pt x="164" y="422"/>
                    </a:lnTo>
                    <a:lnTo>
                      <a:pt x="166" y="420"/>
                    </a:lnTo>
                    <a:lnTo>
                      <a:pt x="168" y="420"/>
                    </a:lnTo>
                    <a:lnTo>
                      <a:pt x="180" y="428"/>
                    </a:lnTo>
                    <a:lnTo>
                      <a:pt x="190" y="436"/>
                    </a:lnTo>
                    <a:lnTo>
                      <a:pt x="198" y="442"/>
                    </a:lnTo>
                    <a:lnTo>
                      <a:pt x="208" y="446"/>
                    </a:lnTo>
                    <a:lnTo>
                      <a:pt x="220" y="450"/>
                    </a:lnTo>
                    <a:lnTo>
                      <a:pt x="222" y="452"/>
                    </a:lnTo>
                    <a:lnTo>
                      <a:pt x="226" y="456"/>
                    </a:lnTo>
                    <a:lnTo>
                      <a:pt x="230" y="458"/>
                    </a:lnTo>
                    <a:lnTo>
                      <a:pt x="236" y="460"/>
                    </a:lnTo>
                    <a:lnTo>
                      <a:pt x="240" y="460"/>
                    </a:lnTo>
                    <a:lnTo>
                      <a:pt x="242" y="460"/>
                    </a:lnTo>
                    <a:lnTo>
                      <a:pt x="244" y="460"/>
                    </a:lnTo>
                    <a:lnTo>
                      <a:pt x="250" y="464"/>
                    </a:lnTo>
                    <a:lnTo>
                      <a:pt x="256" y="466"/>
                    </a:lnTo>
                    <a:lnTo>
                      <a:pt x="274" y="466"/>
                    </a:lnTo>
                    <a:lnTo>
                      <a:pt x="274" y="468"/>
                    </a:lnTo>
                    <a:lnTo>
                      <a:pt x="274" y="464"/>
                    </a:lnTo>
                    <a:lnTo>
                      <a:pt x="278" y="462"/>
                    </a:lnTo>
                    <a:lnTo>
                      <a:pt x="284" y="460"/>
                    </a:lnTo>
                    <a:lnTo>
                      <a:pt x="288" y="472"/>
                    </a:lnTo>
                    <a:lnTo>
                      <a:pt x="290" y="468"/>
                    </a:lnTo>
                    <a:lnTo>
                      <a:pt x="294" y="462"/>
                    </a:lnTo>
                    <a:lnTo>
                      <a:pt x="298" y="460"/>
                    </a:lnTo>
                    <a:lnTo>
                      <a:pt x="302" y="458"/>
                    </a:lnTo>
                    <a:lnTo>
                      <a:pt x="312" y="460"/>
                    </a:lnTo>
                    <a:lnTo>
                      <a:pt x="322" y="464"/>
                    </a:lnTo>
                    <a:lnTo>
                      <a:pt x="332" y="472"/>
                    </a:lnTo>
                    <a:lnTo>
                      <a:pt x="336" y="478"/>
                    </a:lnTo>
                    <a:lnTo>
                      <a:pt x="336" y="480"/>
                    </a:lnTo>
                    <a:lnTo>
                      <a:pt x="338" y="478"/>
                    </a:lnTo>
                    <a:lnTo>
                      <a:pt x="340" y="470"/>
                    </a:lnTo>
                    <a:lnTo>
                      <a:pt x="344" y="460"/>
                    </a:lnTo>
                    <a:lnTo>
                      <a:pt x="348" y="454"/>
                    </a:lnTo>
                    <a:lnTo>
                      <a:pt x="356" y="446"/>
                    </a:lnTo>
                    <a:lnTo>
                      <a:pt x="362" y="442"/>
                    </a:lnTo>
                    <a:lnTo>
                      <a:pt x="372" y="438"/>
                    </a:lnTo>
                    <a:lnTo>
                      <a:pt x="374" y="440"/>
                    </a:lnTo>
                    <a:lnTo>
                      <a:pt x="376" y="440"/>
                    </a:lnTo>
                    <a:lnTo>
                      <a:pt x="380" y="442"/>
                    </a:lnTo>
                    <a:lnTo>
                      <a:pt x="382" y="440"/>
                    </a:lnTo>
                    <a:lnTo>
                      <a:pt x="386" y="438"/>
                    </a:lnTo>
                    <a:lnTo>
                      <a:pt x="386" y="436"/>
                    </a:lnTo>
                    <a:lnTo>
                      <a:pt x="392" y="436"/>
                    </a:lnTo>
                    <a:lnTo>
                      <a:pt x="400" y="444"/>
                    </a:lnTo>
                    <a:lnTo>
                      <a:pt x="400" y="448"/>
                    </a:lnTo>
                    <a:lnTo>
                      <a:pt x="400" y="450"/>
                    </a:lnTo>
                    <a:lnTo>
                      <a:pt x="404" y="454"/>
                    </a:lnTo>
                    <a:lnTo>
                      <a:pt x="410" y="456"/>
                    </a:lnTo>
                    <a:lnTo>
                      <a:pt x="414" y="456"/>
                    </a:lnTo>
                    <a:lnTo>
                      <a:pt x="414" y="45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 name="Freeform 7"/>
              <p:cNvSpPr>
                <a:spLocks noChangeAspect="1"/>
              </p:cNvSpPr>
              <p:nvPr/>
            </p:nvSpPr>
            <p:spPr bwMode="auto">
              <a:xfrm>
                <a:off x="6471487" y="3648325"/>
                <a:ext cx="114849" cy="85878"/>
              </a:xfrm>
              <a:custGeom>
                <a:avLst/>
                <a:gdLst/>
                <a:ahLst/>
                <a:cxnLst>
                  <a:cxn ang="0">
                    <a:pos x="28" y="52"/>
                  </a:cxn>
                  <a:cxn ang="0">
                    <a:pos x="20" y="54"/>
                  </a:cxn>
                  <a:cxn ang="0">
                    <a:pos x="14" y="56"/>
                  </a:cxn>
                  <a:cxn ang="0">
                    <a:pos x="26" y="62"/>
                  </a:cxn>
                  <a:cxn ang="0">
                    <a:pos x="30" y="64"/>
                  </a:cxn>
                  <a:cxn ang="0">
                    <a:pos x="36" y="70"/>
                  </a:cxn>
                  <a:cxn ang="0">
                    <a:pos x="20" y="70"/>
                  </a:cxn>
                  <a:cxn ang="0">
                    <a:pos x="14" y="62"/>
                  </a:cxn>
                  <a:cxn ang="0">
                    <a:pos x="12" y="58"/>
                  </a:cxn>
                  <a:cxn ang="0">
                    <a:pos x="8" y="56"/>
                  </a:cxn>
                  <a:cxn ang="0">
                    <a:pos x="10" y="50"/>
                  </a:cxn>
                  <a:cxn ang="0">
                    <a:pos x="14" y="46"/>
                  </a:cxn>
                  <a:cxn ang="0">
                    <a:pos x="12" y="44"/>
                  </a:cxn>
                  <a:cxn ang="0">
                    <a:pos x="10" y="40"/>
                  </a:cxn>
                  <a:cxn ang="0">
                    <a:pos x="18" y="40"/>
                  </a:cxn>
                  <a:cxn ang="0">
                    <a:pos x="16" y="34"/>
                  </a:cxn>
                  <a:cxn ang="0">
                    <a:pos x="14" y="28"/>
                  </a:cxn>
                  <a:cxn ang="0">
                    <a:pos x="14" y="16"/>
                  </a:cxn>
                  <a:cxn ang="0">
                    <a:pos x="10" y="12"/>
                  </a:cxn>
                  <a:cxn ang="0">
                    <a:pos x="6" y="8"/>
                  </a:cxn>
                  <a:cxn ang="0">
                    <a:pos x="2" y="4"/>
                  </a:cxn>
                  <a:cxn ang="0">
                    <a:pos x="0" y="0"/>
                  </a:cxn>
                  <a:cxn ang="0">
                    <a:pos x="4" y="0"/>
                  </a:cxn>
                  <a:cxn ang="0">
                    <a:pos x="12" y="4"/>
                  </a:cxn>
                  <a:cxn ang="0">
                    <a:pos x="24" y="14"/>
                  </a:cxn>
                  <a:cxn ang="0">
                    <a:pos x="40" y="22"/>
                  </a:cxn>
                  <a:cxn ang="0">
                    <a:pos x="46" y="24"/>
                  </a:cxn>
                  <a:cxn ang="0">
                    <a:pos x="54" y="26"/>
                  </a:cxn>
                  <a:cxn ang="0">
                    <a:pos x="60" y="26"/>
                  </a:cxn>
                  <a:cxn ang="0">
                    <a:pos x="66" y="24"/>
                  </a:cxn>
                  <a:cxn ang="0">
                    <a:pos x="74" y="20"/>
                  </a:cxn>
                  <a:cxn ang="0">
                    <a:pos x="74" y="30"/>
                  </a:cxn>
                  <a:cxn ang="0">
                    <a:pos x="74" y="34"/>
                  </a:cxn>
                  <a:cxn ang="0">
                    <a:pos x="76" y="36"/>
                  </a:cxn>
                  <a:cxn ang="0">
                    <a:pos x="82" y="42"/>
                  </a:cxn>
                  <a:cxn ang="0">
                    <a:pos x="78" y="44"/>
                  </a:cxn>
                  <a:cxn ang="0">
                    <a:pos x="72" y="44"/>
                  </a:cxn>
                  <a:cxn ang="0">
                    <a:pos x="60" y="46"/>
                  </a:cxn>
                  <a:cxn ang="0">
                    <a:pos x="60" y="62"/>
                  </a:cxn>
                  <a:cxn ang="0">
                    <a:pos x="52" y="60"/>
                  </a:cxn>
                  <a:cxn ang="0">
                    <a:pos x="44" y="56"/>
                  </a:cxn>
                  <a:cxn ang="0">
                    <a:pos x="38" y="54"/>
                  </a:cxn>
                  <a:cxn ang="0">
                    <a:pos x="28" y="52"/>
                  </a:cxn>
                </a:cxnLst>
                <a:rect l="0" t="0" r="r" b="b"/>
                <a:pathLst>
                  <a:path w="82" h="70">
                    <a:moveTo>
                      <a:pt x="28" y="52"/>
                    </a:moveTo>
                    <a:lnTo>
                      <a:pt x="20" y="54"/>
                    </a:lnTo>
                    <a:lnTo>
                      <a:pt x="14" y="56"/>
                    </a:lnTo>
                    <a:lnTo>
                      <a:pt x="26" y="62"/>
                    </a:lnTo>
                    <a:lnTo>
                      <a:pt x="30" y="64"/>
                    </a:lnTo>
                    <a:lnTo>
                      <a:pt x="36" y="70"/>
                    </a:lnTo>
                    <a:lnTo>
                      <a:pt x="20" y="70"/>
                    </a:lnTo>
                    <a:lnTo>
                      <a:pt x="14" y="62"/>
                    </a:lnTo>
                    <a:lnTo>
                      <a:pt x="12" y="58"/>
                    </a:lnTo>
                    <a:lnTo>
                      <a:pt x="8" y="56"/>
                    </a:lnTo>
                    <a:lnTo>
                      <a:pt x="10" y="50"/>
                    </a:lnTo>
                    <a:lnTo>
                      <a:pt x="14" y="46"/>
                    </a:lnTo>
                    <a:lnTo>
                      <a:pt x="12" y="44"/>
                    </a:lnTo>
                    <a:lnTo>
                      <a:pt x="10" y="40"/>
                    </a:lnTo>
                    <a:lnTo>
                      <a:pt x="18" y="40"/>
                    </a:lnTo>
                    <a:lnTo>
                      <a:pt x="16" y="34"/>
                    </a:lnTo>
                    <a:lnTo>
                      <a:pt x="14" y="28"/>
                    </a:lnTo>
                    <a:lnTo>
                      <a:pt x="14" y="16"/>
                    </a:lnTo>
                    <a:lnTo>
                      <a:pt x="10" y="12"/>
                    </a:lnTo>
                    <a:lnTo>
                      <a:pt x="6" y="8"/>
                    </a:lnTo>
                    <a:lnTo>
                      <a:pt x="2" y="4"/>
                    </a:lnTo>
                    <a:lnTo>
                      <a:pt x="0" y="0"/>
                    </a:lnTo>
                    <a:lnTo>
                      <a:pt x="4" y="0"/>
                    </a:lnTo>
                    <a:lnTo>
                      <a:pt x="12" y="4"/>
                    </a:lnTo>
                    <a:lnTo>
                      <a:pt x="24" y="14"/>
                    </a:lnTo>
                    <a:lnTo>
                      <a:pt x="40" y="22"/>
                    </a:lnTo>
                    <a:lnTo>
                      <a:pt x="46" y="24"/>
                    </a:lnTo>
                    <a:lnTo>
                      <a:pt x="54" y="26"/>
                    </a:lnTo>
                    <a:lnTo>
                      <a:pt x="60" y="26"/>
                    </a:lnTo>
                    <a:lnTo>
                      <a:pt x="66" y="24"/>
                    </a:lnTo>
                    <a:lnTo>
                      <a:pt x="74" y="20"/>
                    </a:lnTo>
                    <a:lnTo>
                      <a:pt x="74" y="30"/>
                    </a:lnTo>
                    <a:lnTo>
                      <a:pt x="74" y="34"/>
                    </a:lnTo>
                    <a:lnTo>
                      <a:pt x="76" y="36"/>
                    </a:lnTo>
                    <a:lnTo>
                      <a:pt x="82" y="42"/>
                    </a:lnTo>
                    <a:lnTo>
                      <a:pt x="78" y="44"/>
                    </a:lnTo>
                    <a:lnTo>
                      <a:pt x="72" y="44"/>
                    </a:lnTo>
                    <a:lnTo>
                      <a:pt x="60" y="46"/>
                    </a:lnTo>
                    <a:lnTo>
                      <a:pt x="60" y="62"/>
                    </a:lnTo>
                    <a:lnTo>
                      <a:pt x="52" y="60"/>
                    </a:lnTo>
                    <a:lnTo>
                      <a:pt x="44" y="56"/>
                    </a:lnTo>
                    <a:lnTo>
                      <a:pt x="38" y="54"/>
                    </a:lnTo>
                    <a:lnTo>
                      <a:pt x="28" y="5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 name="Freeform 8"/>
              <p:cNvSpPr>
                <a:spLocks noChangeAspect="1"/>
              </p:cNvSpPr>
              <p:nvPr/>
            </p:nvSpPr>
            <p:spPr bwMode="auto">
              <a:xfrm>
                <a:off x="6403927" y="3737782"/>
                <a:ext cx="191866" cy="177719"/>
              </a:xfrm>
              <a:custGeom>
                <a:avLst/>
                <a:gdLst/>
                <a:ahLst/>
                <a:cxnLst>
                  <a:cxn ang="0">
                    <a:pos x="78" y="6"/>
                  </a:cxn>
                  <a:cxn ang="0">
                    <a:pos x="86" y="0"/>
                  </a:cxn>
                  <a:cxn ang="0">
                    <a:pos x="110" y="24"/>
                  </a:cxn>
                  <a:cxn ang="0">
                    <a:pos x="118" y="38"/>
                  </a:cxn>
                  <a:cxn ang="0">
                    <a:pos x="122" y="52"/>
                  </a:cxn>
                  <a:cxn ang="0">
                    <a:pos x="118" y="60"/>
                  </a:cxn>
                  <a:cxn ang="0">
                    <a:pos x="136" y="102"/>
                  </a:cxn>
                  <a:cxn ang="0">
                    <a:pos x="132" y="114"/>
                  </a:cxn>
                  <a:cxn ang="0">
                    <a:pos x="126" y="114"/>
                  </a:cxn>
                  <a:cxn ang="0">
                    <a:pos x="130" y="106"/>
                  </a:cxn>
                  <a:cxn ang="0">
                    <a:pos x="118" y="110"/>
                  </a:cxn>
                  <a:cxn ang="0">
                    <a:pos x="116" y="116"/>
                  </a:cxn>
                  <a:cxn ang="0">
                    <a:pos x="108" y="120"/>
                  </a:cxn>
                  <a:cxn ang="0">
                    <a:pos x="100" y="122"/>
                  </a:cxn>
                  <a:cxn ang="0">
                    <a:pos x="88" y="120"/>
                  </a:cxn>
                  <a:cxn ang="0">
                    <a:pos x="82" y="120"/>
                  </a:cxn>
                  <a:cxn ang="0">
                    <a:pos x="86" y="128"/>
                  </a:cxn>
                  <a:cxn ang="0">
                    <a:pos x="86" y="138"/>
                  </a:cxn>
                  <a:cxn ang="0">
                    <a:pos x="74" y="144"/>
                  </a:cxn>
                  <a:cxn ang="0">
                    <a:pos x="66" y="132"/>
                  </a:cxn>
                  <a:cxn ang="0">
                    <a:pos x="54" y="122"/>
                  </a:cxn>
                  <a:cxn ang="0">
                    <a:pos x="38" y="126"/>
                  </a:cxn>
                  <a:cxn ang="0">
                    <a:pos x="20" y="130"/>
                  </a:cxn>
                  <a:cxn ang="0">
                    <a:pos x="8" y="134"/>
                  </a:cxn>
                  <a:cxn ang="0">
                    <a:pos x="0" y="132"/>
                  </a:cxn>
                  <a:cxn ang="0">
                    <a:pos x="6" y="126"/>
                  </a:cxn>
                  <a:cxn ang="0">
                    <a:pos x="14" y="116"/>
                  </a:cxn>
                  <a:cxn ang="0">
                    <a:pos x="24" y="106"/>
                  </a:cxn>
                  <a:cxn ang="0">
                    <a:pos x="34" y="106"/>
                  </a:cxn>
                  <a:cxn ang="0">
                    <a:pos x="42" y="102"/>
                  </a:cxn>
                  <a:cxn ang="0">
                    <a:pos x="52" y="102"/>
                  </a:cxn>
                  <a:cxn ang="0">
                    <a:pos x="60" y="108"/>
                  </a:cxn>
                  <a:cxn ang="0">
                    <a:pos x="62" y="102"/>
                  </a:cxn>
                  <a:cxn ang="0">
                    <a:pos x="60" y="94"/>
                  </a:cxn>
                  <a:cxn ang="0">
                    <a:pos x="64" y="86"/>
                  </a:cxn>
                  <a:cxn ang="0">
                    <a:pos x="68" y="80"/>
                  </a:cxn>
                  <a:cxn ang="0">
                    <a:pos x="68" y="74"/>
                  </a:cxn>
                  <a:cxn ang="0">
                    <a:pos x="68" y="82"/>
                  </a:cxn>
                  <a:cxn ang="0">
                    <a:pos x="82" y="78"/>
                  </a:cxn>
                  <a:cxn ang="0">
                    <a:pos x="90" y="72"/>
                  </a:cxn>
                  <a:cxn ang="0">
                    <a:pos x="94" y="50"/>
                  </a:cxn>
                  <a:cxn ang="0">
                    <a:pos x="92" y="40"/>
                  </a:cxn>
                  <a:cxn ang="0">
                    <a:pos x="84" y="26"/>
                  </a:cxn>
                  <a:cxn ang="0">
                    <a:pos x="80" y="20"/>
                  </a:cxn>
                  <a:cxn ang="0">
                    <a:pos x="76" y="12"/>
                  </a:cxn>
                </a:cxnLst>
                <a:rect l="0" t="0" r="r" b="b"/>
                <a:pathLst>
                  <a:path w="136" h="148">
                    <a:moveTo>
                      <a:pt x="76" y="12"/>
                    </a:moveTo>
                    <a:lnTo>
                      <a:pt x="78" y="6"/>
                    </a:lnTo>
                    <a:lnTo>
                      <a:pt x="80" y="4"/>
                    </a:lnTo>
                    <a:lnTo>
                      <a:pt x="86" y="0"/>
                    </a:lnTo>
                    <a:lnTo>
                      <a:pt x="98" y="10"/>
                    </a:lnTo>
                    <a:lnTo>
                      <a:pt x="110" y="24"/>
                    </a:lnTo>
                    <a:lnTo>
                      <a:pt x="116" y="30"/>
                    </a:lnTo>
                    <a:lnTo>
                      <a:pt x="118" y="38"/>
                    </a:lnTo>
                    <a:lnTo>
                      <a:pt x="122" y="46"/>
                    </a:lnTo>
                    <a:lnTo>
                      <a:pt x="122" y="52"/>
                    </a:lnTo>
                    <a:lnTo>
                      <a:pt x="120" y="56"/>
                    </a:lnTo>
                    <a:lnTo>
                      <a:pt x="118" y="60"/>
                    </a:lnTo>
                    <a:lnTo>
                      <a:pt x="126" y="78"/>
                    </a:lnTo>
                    <a:lnTo>
                      <a:pt x="136" y="102"/>
                    </a:lnTo>
                    <a:lnTo>
                      <a:pt x="134" y="110"/>
                    </a:lnTo>
                    <a:lnTo>
                      <a:pt x="132" y="114"/>
                    </a:lnTo>
                    <a:lnTo>
                      <a:pt x="130" y="114"/>
                    </a:lnTo>
                    <a:lnTo>
                      <a:pt x="126" y="114"/>
                    </a:lnTo>
                    <a:lnTo>
                      <a:pt x="126" y="110"/>
                    </a:lnTo>
                    <a:lnTo>
                      <a:pt x="130" y="106"/>
                    </a:lnTo>
                    <a:lnTo>
                      <a:pt x="122" y="108"/>
                    </a:lnTo>
                    <a:lnTo>
                      <a:pt x="118" y="110"/>
                    </a:lnTo>
                    <a:lnTo>
                      <a:pt x="116" y="120"/>
                    </a:lnTo>
                    <a:lnTo>
                      <a:pt x="116" y="116"/>
                    </a:lnTo>
                    <a:lnTo>
                      <a:pt x="114" y="114"/>
                    </a:lnTo>
                    <a:lnTo>
                      <a:pt x="108" y="120"/>
                    </a:lnTo>
                    <a:lnTo>
                      <a:pt x="104" y="122"/>
                    </a:lnTo>
                    <a:lnTo>
                      <a:pt x="100" y="122"/>
                    </a:lnTo>
                    <a:lnTo>
                      <a:pt x="92" y="122"/>
                    </a:lnTo>
                    <a:lnTo>
                      <a:pt x="88" y="120"/>
                    </a:lnTo>
                    <a:lnTo>
                      <a:pt x="84" y="120"/>
                    </a:lnTo>
                    <a:lnTo>
                      <a:pt x="82" y="120"/>
                    </a:lnTo>
                    <a:lnTo>
                      <a:pt x="82" y="122"/>
                    </a:lnTo>
                    <a:lnTo>
                      <a:pt x="86" y="128"/>
                    </a:lnTo>
                    <a:lnTo>
                      <a:pt x="90" y="132"/>
                    </a:lnTo>
                    <a:lnTo>
                      <a:pt x="86" y="138"/>
                    </a:lnTo>
                    <a:lnTo>
                      <a:pt x="82" y="148"/>
                    </a:lnTo>
                    <a:lnTo>
                      <a:pt x="74" y="144"/>
                    </a:lnTo>
                    <a:lnTo>
                      <a:pt x="70" y="138"/>
                    </a:lnTo>
                    <a:lnTo>
                      <a:pt x="66" y="132"/>
                    </a:lnTo>
                    <a:lnTo>
                      <a:pt x="64" y="122"/>
                    </a:lnTo>
                    <a:lnTo>
                      <a:pt x="54" y="122"/>
                    </a:lnTo>
                    <a:lnTo>
                      <a:pt x="46" y="124"/>
                    </a:lnTo>
                    <a:lnTo>
                      <a:pt x="38" y="126"/>
                    </a:lnTo>
                    <a:lnTo>
                      <a:pt x="30" y="130"/>
                    </a:lnTo>
                    <a:lnTo>
                      <a:pt x="20" y="130"/>
                    </a:lnTo>
                    <a:lnTo>
                      <a:pt x="20" y="136"/>
                    </a:lnTo>
                    <a:lnTo>
                      <a:pt x="8" y="134"/>
                    </a:lnTo>
                    <a:lnTo>
                      <a:pt x="2" y="134"/>
                    </a:lnTo>
                    <a:lnTo>
                      <a:pt x="0" y="132"/>
                    </a:lnTo>
                    <a:lnTo>
                      <a:pt x="0" y="128"/>
                    </a:lnTo>
                    <a:lnTo>
                      <a:pt x="6" y="126"/>
                    </a:lnTo>
                    <a:lnTo>
                      <a:pt x="8" y="124"/>
                    </a:lnTo>
                    <a:lnTo>
                      <a:pt x="14" y="116"/>
                    </a:lnTo>
                    <a:lnTo>
                      <a:pt x="20" y="108"/>
                    </a:lnTo>
                    <a:lnTo>
                      <a:pt x="24" y="106"/>
                    </a:lnTo>
                    <a:lnTo>
                      <a:pt x="28" y="106"/>
                    </a:lnTo>
                    <a:lnTo>
                      <a:pt x="34" y="106"/>
                    </a:lnTo>
                    <a:lnTo>
                      <a:pt x="36" y="104"/>
                    </a:lnTo>
                    <a:lnTo>
                      <a:pt x="42" y="102"/>
                    </a:lnTo>
                    <a:lnTo>
                      <a:pt x="46" y="102"/>
                    </a:lnTo>
                    <a:lnTo>
                      <a:pt x="52" y="102"/>
                    </a:lnTo>
                    <a:lnTo>
                      <a:pt x="54" y="104"/>
                    </a:lnTo>
                    <a:lnTo>
                      <a:pt x="60" y="108"/>
                    </a:lnTo>
                    <a:lnTo>
                      <a:pt x="62" y="106"/>
                    </a:lnTo>
                    <a:lnTo>
                      <a:pt x="62" y="102"/>
                    </a:lnTo>
                    <a:lnTo>
                      <a:pt x="62" y="96"/>
                    </a:lnTo>
                    <a:lnTo>
                      <a:pt x="60" y="94"/>
                    </a:lnTo>
                    <a:lnTo>
                      <a:pt x="62" y="90"/>
                    </a:lnTo>
                    <a:lnTo>
                      <a:pt x="64" y="86"/>
                    </a:lnTo>
                    <a:lnTo>
                      <a:pt x="68" y="84"/>
                    </a:lnTo>
                    <a:lnTo>
                      <a:pt x="68" y="80"/>
                    </a:lnTo>
                    <a:lnTo>
                      <a:pt x="68" y="78"/>
                    </a:lnTo>
                    <a:lnTo>
                      <a:pt x="68" y="74"/>
                    </a:lnTo>
                    <a:lnTo>
                      <a:pt x="70" y="78"/>
                    </a:lnTo>
                    <a:lnTo>
                      <a:pt x="68" y="82"/>
                    </a:lnTo>
                    <a:lnTo>
                      <a:pt x="76" y="80"/>
                    </a:lnTo>
                    <a:lnTo>
                      <a:pt x="82" y="78"/>
                    </a:lnTo>
                    <a:lnTo>
                      <a:pt x="86" y="76"/>
                    </a:lnTo>
                    <a:lnTo>
                      <a:pt x="90" y="72"/>
                    </a:lnTo>
                    <a:lnTo>
                      <a:pt x="92" y="60"/>
                    </a:lnTo>
                    <a:lnTo>
                      <a:pt x="94" y="50"/>
                    </a:lnTo>
                    <a:lnTo>
                      <a:pt x="94" y="44"/>
                    </a:lnTo>
                    <a:lnTo>
                      <a:pt x="92" y="40"/>
                    </a:lnTo>
                    <a:lnTo>
                      <a:pt x="88" y="32"/>
                    </a:lnTo>
                    <a:lnTo>
                      <a:pt x="84" y="26"/>
                    </a:lnTo>
                    <a:lnTo>
                      <a:pt x="82" y="24"/>
                    </a:lnTo>
                    <a:lnTo>
                      <a:pt x="80" y="20"/>
                    </a:lnTo>
                    <a:lnTo>
                      <a:pt x="78" y="16"/>
                    </a:lnTo>
                    <a:lnTo>
                      <a:pt x="76"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 name="Freeform 9"/>
              <p:cNvSpPr>
                <a:spLocks noChangeAspect="1"/>
              </p:cNvSpPr>
              <p:nvPr/>
            </p:nvSpPr>
            <p:spPr bwMode="auto">
              <a:xfrm>
                <a:off x="6447165" y="3890453"/>
                <a:ext cx="41886" cy="32205"/>
              </a:xfrm>
              <a:custGeom>
                <a:avLst/>
                <a:gdLst/>
                <a:ahLst/>
                <a:cxnLst>
                  <a:cxn ang="0">
                    <a:pos x="14" y="4"/>
                  </a:cxn>
                  <a:cxn ang="0">
                    <a:pos x="16" y="4"/>
                  </a:cxn>
                  <a:cxn ang="0">
                    <a:pos x="14" y="0"/>
                  </a:cxn>
                  <a:cxn ang="0">
                    <a:pos x="22" y="0"/>
                  </a:cxn>
                  <a:cxn ang="0">
                    <a:pos x="26" y="2"/>
                  </a:cxn>
                  <a:cxn ang="0">
                    <a:pos x="32" y="8"/>
                  </a:cxn>
                  <a:cxn ang="0">
                    <a:pos x="30" y="12"/>
                  </a:cxn>
                  <a:cxn ang="0">
                    <a:pos x="24" y="14"/>
                  </a:cxn>
                  <a:cxn ang="0">
                    <a:pos x="14" y="16"/>
                  </a:cxn>
                  <a:cxn ang="0">
                    <a:pos x="14" y="24"/>
                  </a:cxn>
                  <a:cxn ang="0">
                    <a:pos x="12" y="26"/>
                  </a:cxn>
                  <a:cxn ang="0">
                    <a:pos x="10" y="26"/>
                  </a:cxn>
                  <a:cxn ang="0">
                    <a:pos x="6" y="24"/>
                  </a:cxn>
                  <a:cxn ang="0">
                    <a:pos x="4" y="20"/>
                  </a:cxn>
                  <a:cxn ang="0">
                    <a:pos x="0" y="14"/>
                  </a:cxn>
                  <a:cxn ang="0">
                    <a:pos x="0" y="8"/>
                  </a:cxn>
                  <a:cxn ang="0">
                    <a:pos x="2" y="6"/>
                  </a:cxn>
                  <a:cxn ang="0">
                    <a:pos x="4" y="4"/>
                  </a:cxn>
                  <a:cxn ang="0">
                    <a:pos x="8" y="4"/>
                  </a:cxn>
                  <a:cxn ang="0">
                    <a:pos x="14" y="4"/>
                  </a:cxn>
                </a:cxnLst>
                <a:rect l="0" t="0" r="r" b="b"/>
                <a:pathLst>
                  <a:path w="32" h="26">
                    <a:moveTo>
                      <a:pt x="14" y="4"/>
                    </a:moveTo>
                    <a:lnTo>
                      <a:pt x="16" y="4"/>
                    </a:lnTo>
                    <a:lnTo>
                      <a:pt x="14" y="0"/>
                    </a:lnTo>
                    <a:lnTo>
                      <a:pt x="22" y="0"/>
                    </a:lnTo>
                    <a:lnTo>
                      <a:pt x="26" y="2"/>
                    </a:lnTo>
                    <a:lnTo>
                      <a:pt x="32" y="8"/>
                    </a:lnTo>
                    <a:lnTo>
                      <a:pt x="30" y="12"/>
                    </a:lnTo>
                    <a:lnTo>
                      <a:pt x="24" y="14"/>
                    </a:lnTo>
                    <a:lnTo>
                      <a:pt x="14" y="16"/>
                    </a:lnTo>
                    <a:lnTo>
                      <a:pt x="14" y="24"/>
                    </a:lnTo>
                    <a:lnTo>
                      <a:pt x="12" y="26"/>
                    </a:lnTo>
                    <a:lnTo>
                      <a:pt x="10" y="26"/>
                    </a:lnTo>
                    <a:lnTo>
                      <a:pt x="6" y="24"/>
                    </a:lnTo>
                    <a:lnTo>
                      <a:pt x="4" y="20"/>
                    </a:lnTo>
                    <a:lnTo>
                      <a:pt x="0" y="14"/>
                    </a:lnTo>
                    <a:lnTo>
                      <a:pt x="0" y="8"/>
                    </a:lnTo>
                    <a:lnTo>
                      <a:pt x="2" y="6"/>
                    </a:lnTo>
                    <a:lnTo>
                      <a:pt x="4" y="4"/>
                    </a:lnTo>
                    <a:lnTo>
                      <a:pt x="8" y="4"/>
                    </a:lnTo>
                    <a:lnTo>
                      <a:pt x="14"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 name="Freeform 10"/>
              <p:cNvSpPr>
                <a:spLocks noChangeAspect="1"/>
              </p:cNvSpPr>
              <p:nvPr/>
            </p:nvSpPr>
            <p:spPr bwMode="auto">
              <a:xfrm>
                <a:off x="6389065" y="3898803"/>
                <a:ext cx="58101" cy="62023"/>
              </a:xfrm>
              <a:custGeom>
                <a:avLst/>
                <a:gdLst/>
                <a:ahLst/>
                <a:cxnLst>
                  <a:cxn ang="0">
                    <a:pos x="12" y="24"/>
                  </a:cxn>
                  <a:cxn ang="0">
                    <a:pos x="4" y="20"/>
                  </a:cxn>
                  <a:cxn ang="0">
                    <a:pos x="2" y="16"/>
                  </a:cxn>
                  <a:cxn ang="0">
                    <a:pos x="0" y="12"/>
                  </a:cxn>
                  <a:cxn ang="0">
                    <a:pos x="2" y="8"/>
                  </a:cxn>
                  <a:cxn ang="0">
                    <a:pos x="6" y="4"/>
                  </a:cxn>
                  <a:cxn ang="0">
                    <a:pos x="14" y="0"/>
                  </a:cxn>
                  <a:cxn ang="0">
                    <a:pos x="18" y="4"/>
                  </a:cxn>
                  <a:cxn ang="0">
                    <a:pos x="18" y="6"/>
                  </a:cxn>
                  <a:cxn ang="0">
                    <a:pos x="28" y="6"/>
                  </a:cxn>
                  <a:cxn ang="0">
                    <a:pos x="30" y="12"/>
                  </a:cxn>
                  <a:cxn ang="0">
                    <a:pos x="32" y="16"/>
                  </a:cxn>
                  <a:cxn ang="0">
                    <a:pos x="40" y="22"/>
                  </a:cxn>
                  <a:cxn ang="0">
                    <a:pos x="36" y="24"/>
                  </a:cxn>
                  <a:cxn ang="0">
                    <a:pos x="34" y="28"/>
                  </a:cxn>
                  <a:cxn ang="0">
                    <a:pos x="36" y="32"/>
                  </a:cxn>
                  <a:cxn ang="0">
                    <a:pos x="38" y="36"/>
                  </a:cxn>
                  <a:cxn ang="0">
                    <a:pos x="38" y="40"/>
                  </a:cxn>
                  <a:cxn ang="0">
                    <a:pos x="40" y="42"/>
                  </a:cxn>
                  <a:cxn ang="0">
                    <a:pos x="38" y="48"/>
                  </a:cxn>
                  <a:cxn ang="0">
                    <a:pos x="38" y="52"/>
                  </a:cxn>
                  <a:cxn ang="0">
                    <a:pos x="32" y="50"/>
                  </a:cxn>
                  <a:cxn ang="0">
                    <a:pos x="24" y="46"/>
                  </a:cxn>
                  <a:cxn ang="0">
                    <a:pos x="18" y="42"/>
                  </a:cxn>
                  <a:cxn ang="0">
                    <a:pos x="18" y="36"/>
                  </a:cxn>
                  <a:cxn ang="0">
                    <a:pos x="18" y="30"/>
                  </a:cxn>
                  <a:cxn ang="0">
                    <a:pos x="12" y="24"/>
                  </a:cxn>
                </a:cxnLst>
                <a:rect l="0" t="0" r="r" b="b"/>
                <a:pathLst>
                  <a:path w="40" h="52">
                    <a:moveTo>
                      <a:pt x="12" y="24"/>
                    </a:moveTo>
                    <a:lnTo>
                      <a:pt x="4" y="20"/>
                    </a:lnTo>
                    <a:lnTo>
                      <a:pt x="2" y="16"/>
                    </a:lnTo>
                    <a:lnTo>
                      <a:pt x="0" y="12"/>
                    </a:lnTo>
                    <a:lnTo>
                      <a:pt x="2" y="8"/>
                    </a:lnTo>
                    <a:lnTo>
                      <a:pt x="6" y="4"/>
                    </a:lnTo>
                    <a:lnTo>
                      <a:pt x="14" y="0"/>
                    </a:lnTo>
                    <a:lnTo>
                      <a:pt x="18" y="4"/>
                    </a:lnTo>
                    <a:lnTo>
                      <a:pt x="18" y="6"/>
                    </a:lnTo>
                    <a:lnTo>
                      <a:pt x="28" y="6"/>
                    </a:lnTo>
                    <a:lnTo>
                      <a:pt x="30" y="12"/>
                    </a:lnTo>
                    <a:lnTo>
                      <a:pt x="32" y="16"/>
                    </a:lnTo>
                    <a:lnTo>
                      <a:pt x="40" y="22"/>
                    </a:lnTo>
                    <a:lnTo>
                      <a:pt x="36" y="24"/>
                    </a:lnTo>
                    <a:lnTo>
                      <a:pt x="34" y="28"/>
                    </a:lnTo>
                    <a:lnTo>
                      <a:pt x="36" y="32"/>
                    </a:lnTo>
                    <a:lnTo>
                      <a:pt x="38" y="36"/>
                    </a:lnTo>
                    <a:lnTo>
                      <a:pt x="38" y="40"/>
                    </a:lnTo>
                    <a:lnTo>
                      <a:pt x="40" y="42"/>
                    </a:lnTo>
                    <a:lnTo>
                      <a:pt x="38" y="48"/>
                    </a:lnTo>
                    <a:lnTo>
                      <a:pt x="38" y="52"/>
                    </a:lnTo>
                    <a:lnTo>
                      <a:pt x="32" y="50"/>
                    </a:lnTo>
                    <a:lnTo>
                      <a:pt x="24" y="46"/>
                    </a:lnTo>
                    <a:lnTo>
                      <a:pt x="18" y="42"/>
                    </a:lnTo>
                    <a:lnTo>
                      <a:pt x="18" y="36"/>
                    </a:lnTo>
                    <a:lnTo>
                      <a:pt x="18" y="30"/>
                    </a:lnTo>
                    <a:lnTo>
                      <a:pt x="12" y="2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 name="Freeform 11"/>
              <p:cNvSpPr>
                <a:spLocks noChangeAspect="1"/>
              </p:cNvSpPr>
              <p:nvPr/>
            </p:nvSpPr>
            <p:spPr bwMode="auto">
              <a:xfrm>
                <a:off x="6253946" y="4084870"/>
                <a:ext cx="33780" cy="66794"/>
              </a:xfrm>
              <a:custGeom>
                <a:avLst/>
                <a:gdLst/>
                <a:ahLst/>
                <a:cxnLst>
                  <a:cxn ang="0">
                    <a:pos x="24" y="0"/>
                  </a:cxn>
                  <a:cxn ang="0">
                    <a:pos x="24" y="12"/>
                  </a:cxn>
                  <a:cxn ang="0">
                    <a:pos x="22" y="32"/>
                  </a:cxn>
                  <a:cxn ang="0">
                    <a:pos x="16" y="56"/>
                  </a:cxn>
                  <a:cxn ang="0">
                    <a:pos x="4" y="44"/>
                  </a:cxn>
                  <a:cxn ang="0">
                    <a:pos x="2" y="38"/>
                  </a:cxn>
                  <a:cxn ang="0">
                    <a:pos x="0" y="32"/>
                  </a:cxn>
                  <a:cxn ang="0">
                    <a:pos x="0" y="20"/>
                  </a:cxn>
                  <a:cxn ang="0">
                    <a:pos x="4" y="10"/>
                  </a:cxn>
                  <a:cxn ang="0">
                    <a:pos x="8" y="4"/>
                  </a:cxn>
                  <a:cxn ang="0">
                    <a:pos x="12" y="4"/>
                  </a:cxn>
                  <a:cxn ang="0">
                    <a:pos x="18" y="2"/>
                  </a:cxn>
                  <a:cxn ang="0">
                    <a:pos x="24" y="0"/>
                  </a:cxn>
                </a:cxnLst>
                <a:rect l="0" t="0" r="r" b="b"/>
                <a:pathLst>
                  <a:path w="24" h="56">
                    <a:moveTo>
                      <a:pt x="24" y="0"/>
                    </a:moveTo>
                    <a:lnTo>
                      <a:pt x="24" y="12"/>
                    </a:lnTo>
                    <a:lnTo>
                      <a:pt x="22" y="32"/>
                    </a:lnTo>
                    <a:lnTo>
                      <a:pt x="16" y="56"/>
                    </a:lnTo>
                    <a:lnTo>
                      <a:pt x="4" y="44"/>
                    </a:lnTo>
                    <a:lnTo>
                      <a:pt x="2" y="38"/>
                    </a:lnTo>
                    <a:lnTo>
                      <a:pt x="0" y="32"/>
                    </a:lnTo>
                    <a:lnTo>
                      <a:pt x="0" y="20"/>
                    </a:lnTo>
                    <a:lnTo>
                      <a:pt x="4" y="10"/>
                    </a:lnTo>
                    <a:lnTo>
                      <a:pt x="8" y="4"/>
                    </a:lnTo>
                    <a:lnTo>
                      <a:pt x="12" y="4"/>
                    </a:lnTo>
                    <a:lnTo>
                      <a:pt x="18" y="2"/>
                    </a:lnTo>
                    <a:lnTo>
                      <a:pt x="24"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 name="Freeform 12"/>
              <p:cNvSpPr>
                <a:spLocks noChangeAspect="1"/>
              </p:cNvSpPr>
              <p:nvPr/>
            </p:nvSpPr>
            <p:spPr bwMode="auto">
              <a:xfrm>
                <a:off x="6020194" y="4194603"/>
                <a:ext cx="48642" cy="42939"/>
              </a:xfrm>
              <a:custGeom>
                <a:avLst/>
                <a:gdLst/>
                <a:ahLst/>
                <a:cxnLst>
                  <a:cxn ang="0">
                    <a:pos x="18" y="36"/>
                  </a:cxn>
                  <a:cxn ang="0">
                    <a:pos x="12" y="34"/>
                  </a:cxn>
                  <a:cxn ang="0">
                    <a:pos x="6" y="30"/>
                  </a:cxn>
                  <a:cxn ang="0">
                    <a:pos x="2" y="24"/>
                  </a:cxn>
                  <a:cxn ang="0">
                    <a:pos x="0" y="20"/>
                  </a:cxn>
                  <a:cxn ang="0">
                    <a:pos x="2" y="16"/>
                  </a:cxn>
                  <a:cxn ang="0">
                    <a:pos x="4" y="12"/>
                  </a:cxn>
                  <a:cxn ang="0">
                    <a:pos x="12" y="6"/>
                  </a:cxn>
                  <a:cxn ang="0">
                    <a:pos x="26" y="2"/>
                  </a:cxn>
                  <a:cxn ang="0">
                    <a:pos x="34" y="0"/>
                  </a:cxn>
                  <a:cxn ang="0">
                    <a:pos x="34" y="10"/>
                  </a:cxn>
                  <a:cxn ang="0">
                    <a:pos x="30" y="20"/>
                  </a:cxn>
                  <a:cxn ang="0">
                    <a:pos x="24" y="32"/>
                  </a:cxn>
                  <a:cxn ang="0">
                    <a:pos x="22" y="34"/>
                  </a:cxn>
                  <a:cxn ang="0">
                    <a:pos x="18" y="36"/>
                  </a:cxn>
                </a:cxnLst>
                <a:rect l="0" t="0" r="r" b="b"/>
                <a:pathLst>
                  <a:path w="34" h="36">
                    <a:moveTo>
                      <a:pt x="18" y="36"/>
                    </a:moveTo>
                    <a:lnTo>
                      <a:pt x="12" y="34"/>
                    </a:lnTo>
                    <a:lnTo>
                      <a:pt x="6" y="30"/>
                    </a:lnTo>
                    <a:lnTo>
                      <a:pt x="2" y="24"/>
                    </a:lnTo>
                    <a:lnTo>
                      <a:pt x="0" y="20"/>
                    </a:lnTo>
                    <a:lnTo>
                      <a:pt x="2" y="16"/>
                    </a:lnTo>
                    <a:lnTo>
                      <a:pt x="4" y="12"/>
                    </a:lnTo>
                    <a:lnTo>
                      <a:pt x="12" y="6"/>
                    </a:lnTo>
                    <a:lnTo>
                      <a:pt x="26" y="2"/>
                    </a:lnTo>
                    <a:lnTo>
                      <a:pt x="34" y="0"/>
                    </a:lnTo>
                    <a:lnTo>
                      <a:pt x="34" y="10"/>
                    </a:lnTo>
                    <a:lnTo>
                      <a:pt x="30" y="20"/>
                    </a:lnTo>
                    <a:lnTo>
                      <a:pt x="24" y="32"/>
                    </a:lnTo>
                    <a:lnTo>
                      <a:pt x="22" y="34"/>
                    </a:lnTo>
                    <a:lnTo>
                      <a:pt x="18" y="3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 name="Freeform 13"/>
              <p:cNvSpPr>
                <a:spLocks noChangeAspect="1"/>
              </p:cNvSpPr>
              <p:nvPr/>
            </p:nvSpPr>
            <p:spPr bwMode="auto">
              <a:xfrm>
                <a:off x="5400006" y="4421224"/>
                <a:ext cx="48642" cy="83492"/>
              </a:xfrm>
              <a:custGeom>
                <a:avLst/>
                <a:gdLst/>
                <a:ahLst/>
                <a:cxnLst>
                  <a:cxn ang="0">
                    <a:pos x="36" y="52"/>
                  </a:cxn>
                  <a:cxn ang="0">
                    <a:pos x="34" y="58"/>
                  </a:cxn>
                  <a:cxn ang="0">
                    <a:pos x="30" y="64"/>
                  </a:cxn>
                  <a:cxn ang="0">
                    <a:pos x="22" y="68"/>
                  </a:cxn>
                  <a:cxn ang="0">
                    <a:pos x="16" y="70"/>
                  </a:cxn>
                  <a:cxn ang="0">
                    <a:pos x="12" y="68"/>
                  </a:cxn>
                  <a:cxn ang="0">
                    <a:pos x="8" y="64"/>
                  </a:cxn>
                  <a:cxn ang="0">
                    <a:pos x="6" y="60"/>
                  </a:cxn>
                  <a:cxn ang="0">
                    <a:pos x="4" y="54"/>
                  </a:cxn>
                  <a:cxn ang="0">
                    <a:pos x="2" y="44"/>
                  </a:cxn>
                  <a:cxn ang="0">
                    <a:pos x="0" y="34"/>
                  </a:cxn>
                  <a:cxn ang="0">
                    <a:pos x="2" y="24"/>
                  </a:cxn>
                  <a:cxn ang="0">
                    <a:pos x="4" y="18"/>
                  </a:cxn>
                  <a:cxn ang="0">
                    <a:pos x="6" y="10"/>
                  </a:cxn>
                  <a:cxn ang="0">
                    <a:pos x="8" y="0"/>
                  </a:cxn>
                  <a:cxn ang="0">
                    <a:pos x="14" y="2"/>
                  </a:cxn>
                  <a:cxn ang="0">
                    <a:pos x="16" y="8"/>
                  </a:cxn>
                  <a:cxn ang="0">
                    <a:pos x="26" y="20"/>
                  </a:cxn>
                  <a:cxn ang="0">
                    <a:pos x="34" y="36"/>
                  </a:cxn>
                  <a:cxn ang="0">
                    <a:pos x="36" y="44"/>
                  </a:cxn>
                  <a:cxn ang="0">
                    <a:pos x="36" y="52"/>
                  </a:cxn>
                </a:cxnLst>
                <a:rect l="0" t="0" r="r" b="b"/>
                <a:pathLst>
                  <a:path w="36" h="70">
                    <a:moveTo>
                      <a:pt x="36" y="52"/>
                    </a:moveTo>
                    <a:lnTo>
                      <a:pt x="34" y="58"/>
                    </a:lnTo>
                    <a:lnTo>
                      <a:pt x="30" y="64"/>
                    </a:lnTo>
                    <a:lnTo>
                      <a:pt x="22" y="68"/>
                    </a:lnTo>
                    <a:lnTo>
                      <a:pt x="16" y="70"/>
                    </a:lnTo>
                    <a:lnTo>
                      <a:pt x="12" y="68"/>
                    </a:lnTo>
                    <a:lnTo>
                      <a:pt x="8" y="64"/>
                    </a:lnTo>
                    <a:lnTo>
                      <a:pt x="6" y="60"/>
                    </a:lnTo>
                    <a:lnTo>
                      <a:pt x="4" y="54"/>
                    </a:lnTo>
                    <a:lnTo>
                      <a:pt x="2" y="44"/>
                    </a:lnTo>
                    <a:lnTo>
                      <a:pt x="0" y="34"/>
                    </a:lnTo>
                    <a:lnTo>
                      <a:pt x="2" y="24"/>
                    </a:lnTo>
                    <a:lnTo>
                      <a:pt x="4" y="18"/>
                    </a:lnTo>
                    <a:lnTo>
                      <a:pt x="6" y="10"/>
                    </a:lnTo>
                    <a:lnTo>
                      <a:pt x="8" y="0"/>
                    </a:lnTo>
                    <a:lnTo>
                      <a:pt x="14" y="2"/>
                    </a:lnTo>
                    <a:lnTo>
                      <a:pt x="16" y="8"/>
                    </a:lnTo>
                    <a:lnTo>
                      <a:pt x="26" y="20"/>
                    </a:lnTo>
                    <a:lnTo>
                      <a:pt x="34" y="36"/>
                    </a:lnTo>
                    <a:lnTo>
                      <a:pt x="36" y="44"/>
                    </a:lnTo>
                    <a:lnTo>
                      <a:pt x="36" y="5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 name="Freeform 14"/>
              <p:cNvSpPr>
                <a:spLocks noChangeAspect="1"/>
              </p:cNvSpPr>
              <p:nvPr/>
            </p:nvSpPr>
            <p:spPr bwMode="auto">
              <a:xfrm>
                <a:off x="5855352" y="4125423"/>
                <a:ext cx="213485" cy="319656"/>
              </a:xfrm>
              <a:custGeom>
                <a:avLst/>
                <a:gdLst/>
                <a:ahLst/>
                <a:cxnLst>
                  <a:cxn ang="0">
                    <a:pos x="70" y="228"/>
                  </a:cxn>
                  <a:cxn ang="0">
                    <a:pos x="96" y="220"/>
                  </a:cxn>
                  <a:cxn ang="0">
                    <a:pos x="90" y="216"/>
                  </a:cxn>
                  <a:cxn ang="0">
                    <a:pos x="112" y="200"/>
                  </a:cxn>
                  <a:cxn ang="0">
                    <a:pos x="116" y="194"/>
                  </a:cxn>
                  <a:cxn ang="0">
                    <a:pos x="114" y="186"/>
                  </a:cxn>
                  <a:cxn ang="0">
                    <a:pos x="112" y="176"/>
                  </a:cxn>
                  <a:cxn ang="0">
                    <a:pos x="106" y="146"/>
                  </a:cxn>
                  <a:cxn ang="0">
                    <a:pos x="86" y="118"/>
                  </a:cxn>
                  <a:cxn ang="0">
                    <a:pos x="76" y="106"/>
                  </a:cxn>
                  <a:cxn ang="0">
                    <a:pos x="68" y="102"/>
                  </a:cxn>
                  <a:cxn ang="0">
                    <a:pos x="60" y="92"/>
                  </a:cxn>
                  <a:cxn ang="0">
                    <a:pos x="42" y="78"/>
                  </a:cxn>
                  <a:cxn ang="0">
                    <a:pos x="32" y="64"/>
                  </a:cxn>
                  <a:cxn ang="0">
                    <a:pos x="38" y="58"/>
                  </a:cxn>
                  <a:cxn ang="0">
                    <a:pos x="42" y="48"/>
                  </a:cxn>
                  <a:cxn ang="0">
                    <a:pos x="14" y="38"/>
                  </a:cxn>
                  <a:cxn ang="0">
                    <a:pos x="4" y="30"/>
                  </a:cxn>
                  <a:cxn ang="0">
                    <a:pos x="0" y="18"/>
                  </a:cxn>
                  <a:cxn ang="0">
                    <a:pos x="10" y="14"/>
                  </a:cxn>
                  <a:cxn ang="0">
                    <a:pos x="26" y="12"/>
                  </a:cxn>
                  <a:cxn ang="0">
                    <a:pos x="42" y="2"/>
                  </a:cxn>
                  <a:cxn ang="0">
                    <a:pos x="56" y="2"/>
                  </a:cxn>
                  <a:cxn ang="0">
                    <a:pos x="66" y="6"/>
                  </a:cxn>
                  <a:cxn ang="0">
                    <a:pos x="72" y="12"/>
                  </a:cxn>
                  <a:cxn ang="0">
                    <a:pos x="82" y="24"/>
                  </a:cxn>
                  <a:cxn ang="0">
                    <a:pos x="98" y="30"/>
                  </a:cxn>
                  <a:cxn ang="0">
                    <a:pos x="94" y="42"/>
                  </a:cxn>
                  <a:cxn ang="0">
                    <a:pos x="84" y="42"/>
                  </a:cxn>
                  <a:cxn ang="0">
                    <a:pos x="82" y="48"/>
                  </a:cxn>
                  <a:cxn ang="0">
                    <a:pos x="76" y="56"/>
                  </a:cxn>
                  <a:cxn ang="0">
                    <a:pos x="70" y="70"/>
                  </a:cxn>
                  <a:cxn ang="0">
                    <a:pos x="76" y="88"/>
                  </a:cxn>
                  <a:cxn ang="0">
                    <a:pos x="86" y="96"/>
                  </a:cxn>
                  <a:cxn ang="0">
                    <a:pos x="110" y="124"/>
                  </a:cxn>
                  <a:cxn ang="0">
                    <a:pos x="138" y="148"/>
                  </a:cxn>
                  <a:cxn ang="0">
                    <a:pos x="142" y="170"/>
                  </a:cxn>
                  <a:cxn ang="0">
                    <a:pos x="146" y="198"/>
                  </a:cxn>
                  <a:cxn ang="0">
                    <a:pos x="146" y="210"/>
                  </a:cxn>
                  <a:cxn ang="0">
                    <a:pos x="138" y="220"/>
                  </a:cxn>
                  <a:cxn ang="0">
                    <a:pos x="120" y="232"/>
                  </a:cxn>
                  <a:cxn ang="0">
                    <a:pos x="104" y="242"/>
                  </a:cxn>
                  <a:cxn ang="0">
                    <a:pos x="88" y="266"/>
                  </a:cxn>
                  <a:cxn ang="0">
                    <a:pos x="78" y="270"/>
                  </a:cxn>
                  <a:cxn ang="0">
                    <a:pos x="74" y="268"/>
                  </a:cxn>
                  <a:cxn ang="0">
                    <a:pos x="74" y="252"/>
                  </a:cxn>
                  <a:cxn ang="0">
                    <a:pos x="76" y="242"/>
                  </a:cxn>
                  <a:cxn ang="0">
                    <a:pos x="70" y="236"/>
                  </a:cxn>
                  <a:cxn ang="0">
                    <a:pos x="62" y="234"/>
                  </a:cxn>
                  <a:cxn ang="0">
                    <a:pos x="64" y="232"/>
                  </a:cxn>
                </a:cxnLst>
                <a:rect l="0" t="0" r="r" b="b"/>
                <a:pathLst>
                  <a:path w="150" h="270">
                    <a:moveTo>
                      <a:pt x="64" y="232"/>
                    </a:moveTo>
                    <a:lnTo>
                      <a:pt x="70" y="228"/>
                    </a:lnTo>
                    <a:lnTo>
                      <a:pt x="78" y="226"/>
                    </a:lnTo>
                    <a:lnTo>
                      <a:pt x="96" y="220"/>
                    </a:lnTo>
                    <a:lnTo>
                      <a:pt x="92" y="216"/>
                    </a:lnTo>
                    <a:lnTo>
                      <a:pt x="90" y="216"/>
                    </a:lnTo>
                    <a:lnTo>
                      <a:pt x="88" y="214"/>
                    </a:lnTo>
                    <a:lnTo>
                      <a:pt x="112" y="200"/>
                    </a:lnTo>
                    <a:lnTo>
                      <a:pt x="114" y="198"/>
                    </a:lnTo>
                    <a:lnTo>
                      <a:pt x="116" y="194"/>
                    </a:lnTo>
                    <a:lnTo>
                      <a:pt x="114" y="190"/>
                    </a:lnTo>
                    <a:lnTo>
                      <a:pt x="114" y="186"/>
                    </a:lnTo>
                    <a:lnTo>
                      <a:pt x="114" y="182"/>
                    </a:lnTo>
                    <a:lnTo>
                      <a:pt x="112" y="176"/>
                    </a:lnTo>
                    <a:lnTo>
                      <a:pt x="112" y="160"/>
                    </a:lnTo>
                    <a:lnTo>
                      <a:pt x="106" y="146"/>
                    </a:lnTo>
                    <a:lnTo>
                      <a:pt x="100" y="136"/>
                    </a:lnTo>
                    <a:lnTo>
                      <a:pt x="86" y="118"/>
                    </a:lnTo>
                    <a:lnTo>
                      <a:pt x="82" y="112"/>
                    </a:lnTo>
                    <a:lnTo>
                      <a:pt x="76" y="106"/>
                    </a:lnTo>
                    <a:lnTo>
                      <a:pt x="70" y="106"/>
                    </a:lnTo>
                    <a:lnTo>
                      <a:pt x="68" y="102"/>
                    </a:lnTo>
                    <a:lnTo>
                      <a:pt x="66" y="96"/>
                    </a:lnTo>
                    <a:lnTo>
                      <a:pt x="60" y="92"/>
                    </a:lnTo>
                    <a:lnTo>
                      <a:pt x="52" y="86"/>
                    </a:lnTo>
                    <a:lnTo>
                      <a:pt x="42" y="78"/>
                    </a:lnTo>
                    <a:lnTo>
                      <a:pt x="34" y="70"/>
                    </a:lnTo>
                    <a:lnTo>
                      <a:pt x="32" y="64"/>
                    </a:lnTo>
                    <a:lnTo>
                      <a:pt x="30" y="60"/>
                    </a:lnTo>
                    <a:lnTo>
                      <a:pt x="38" y="58"/>
                    </a:lnTo>
                    <a:lnTo>
                      <a:pt x="42" y="54"/>
                    </a:lnTo>
                    <a:lnTo>
                      <a:pt x="42" y="48"/>
                    </a:lnTo>
                    <a:lnTo>
                      <a:pt x="26" y="44"/>
                    </a:lnTo>
                    <a:lnTo>
                      <a:pt x="14" y="38"/>
                    </a:lnTo>
                    <a:lnTo>
                      <a:pt x="8" y="34"/>
                    </a:lnTo>
                    <a:lnTo>
                      <a:pt x="4" y="30"/>
                    </a:lnTo>
                    <a:lnTo>
                      <a:pt x="0" y="24"/>
                    </a:lnTo>
                    <a:lnTo>
                      <a:pt x="0" y="18"/>
                    </a:lnTo>
                    <a:lnTo>
                      <a:pt x="0" y="14"/>
                    </a:lnTo>
                    <a:lnTo>
                      <a:pt x="10" y="14"/>
                    </a:lnTo>
                    <a:lnTo>
                      <a:pt x="16" y="14"/>
                    </a:lnTo>
                    <a:lnTo>
                      <a:pt x="26" y="12"/>
                    </a:lnTo>
                    <a:lnTo>
                      <a:pt x="34" y="6"/>
                    </a:lnTo>
                    <a:lnTo>
                      <a:pt x="42" y="2"/>
                    </a:lnTo>
                    <a:lnTo>
                      <a:pt x="50" y="0"/>
                    </a:lnTo>
                    <a:lnTo>
                      <a:pt x="56" y="2"/>
                    </a:lnTo>
                    <a:lnTo>
                      <a:pt x="60" y="4"/>
                    </a:lnTo>
                    <a:lnTo>
                      <a:pt x="66" y="6"/>
                    </a:lnTo>
                    <a:lnTo>
                      <a:pt x="70" y="6"/>
                    </a:lnTo>
                    <a:lnTo>
                      <a:pt x="72" y="12"/>
                    </a:lnTo>
                    <a:lnTo>
                      <a:pt x="74" y="16"/>
                    </a:lnTo>
                    <a:lnTo>
                      <a:pt x="82" y="24"/>
                    </a:lnTo>
                    <a:lnTo>
                      <a:pt x="90" y="28"/>
                    </a:lnTo>
                    <a:lnTo>
                      <a:pt x="98" y="30"/>
                    </a:lnTo>
                    <a:lnTo>
                      <a:pt x="96" y="36"/>
                    </a:lnTo>
                    <a:lnTo>
                      <a:pt x="94" y="42"/>
                    </a:lnTo>
                    <a:lnTo>
                      <a:pt x="90" y="42"/>
                    </a:lnTo>
                    <a:lnTo>
                      <a:pt x="84" y="42"/>
                    </a:lnTo>
                    <a:lnTo>
                      <a:pt x="82" y="42"/>
                    </a:lnTo>
                    <a:lnTo>
                      <a:pt x="82" y="48"/>
                    </a:lnTo>
                    <a:lnTo>
                      <a:pt x="80" y="52"/>
                    </a:lnTo>
                    <a:lnTo>
                      <a:pt x="76" y="56"/>
                    </a:lnTo>
                    <a:lnTo>
                      <a:pt x="72" y="64"/>
                    </a:lnTo>
                    <a:lnTo>
                      <a:pt x="70" y="70"/>
                    </a:lnTo>
                    <a:lnTo>
                      <a:pt x="72" y="84"/>
                    </a:lnTo>
                    <a:lnTo>
                      <a:pt x="76" y="88"/>
                    </a:lnTo>
                    <a:lnTo>
                      <a:pt x="78" y="92"/>
                    </a:lnTo>
                    <a:lnTo>
                      <a:pt x="86" y="96"/>
                    </a:lnTo>
                    <a:lnTo>
                      <a:pt x="98" y="110"/>
                    </a:lnTo>
                    <a:lnTo>
                      <a:pt x="110" y="124"/>
                    </a:lnTo>
                    <a:lnTo>
                      <a:pt x="122" y="136"/>
                    </a:lnTo>
                    <a:lnTo>
                      <a:pt x="138" y="148"/>
                    </a:lnTo>
                    <a:lnTo>
                      <a:pt x="138" y="156"/>
                    </a:lnTo>
                    <a:lnTo>
                      <a:pt x="142" y="170"/>
                    </a:lnTo>
                    <a:lnTo>
                      <a:pt x="150" y="192"/>
                    </a:lnTo>
                    <a:lnTo>
                      <a:pt x="146" y="198"/>
                    </a:lnTo>
                    <a:lnTo>
                      <a:pt x="146" y="204"/>
                    </a:lnTo>
                    <a:lnTo>
                      <a:pt x="146" y="210"/>
                    </a:lnTo>
                    <a:lnTo>
                      <a:pt x="144" y="214"/>
                    </a:lnTo>
                    <a:lnTo>
                      <a:pt x="138" y="220"/>
                    </a:lnTo>
                    <a:lnTo>
                      <a:pt x="128" y="228"/>
                    </a:lnTo>
                    <a:lnTo>
                      <a:pt x="120" y="232"/>
                    </a:lnTo>
                    <a:lnTo>
                      <a:pt x="112" y="234"/>
                    </a:lnTo>
                    <a:lnTo>
                      <a:pt x="104" y="242"/>
                    </a:lnTo>
                    <a:lnTo>
                      <a:pt x="98" y="254"/>
                    </a:lnTo>
                    <a:lnTo>
                      <a:pt x="88" y="266"/>
                    </a:lnTo>
                    <a:lnTo>
                      <a:pt x="84" y="270"/>
                    </a:lnTo>
                    <a:lnTo>
                      <a:pt x="78" y="270"/>
                    </a:lnTo>
                    <a:lnTo>
                      <a:pt x="76" y="270"/>
                    </a:lnTo>
                    <a:lnTo>
                      <a:pt x="74" y="268"/>
                    </a:lnTo>
                    <a:lnTo>
                      <a:pt x="74" y="260"/>
                    </a:lnTo>
                    <a:lnTo>
                      <a:pt x="74" y="252"/>
                    </a:lnTo>
                    <a:lnTo>
                      <a:pt x="76" y="246"/>
                    </a:lnTo>
                    <a:lnTo>
                      <a:pt x="76" y="242"/>
                    </a:lnTo>
                    <a:lnTo>
                      <a:pt x="74" y="236"/>
                    </a:lnTo>
                    <a:lnTo>
                      <a:pt x="70" y="236"/>
                    </a:lnTo>
                    <a:lnTo>
                      <a:pt x="66" y="234"/>
                    </a:lnTo>
                    <a:lnTo>
                      <a:pt x="62" y="234"/>
                    </a:lnTo>
                    <a:lnTo>
                      <a:pt x="60" y="234"/>
                    </a:lnTo>
                    <a:lnTo>
                      <a:pt x="64" y="23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 name="Freeform 15"/>
              <p:cNvSpPr>
                <a:spLocks noChangeAspect="1"/>
              </p:cNvSpPr>
              <p:nvPr/>
            </p:nvSpPr>
            <p:spPr bwMode="auto">
              <a:xfrm>
                <a:off x="5897238" y="4316264"/>
                <a:ext cx="122957" cy="91841"/>
              </a:xfrm>
              <a:custGeom>
                <a:avLst/>
                <a:gdLst/>
                <a:ahLst/>
                <a:cxnLst>
                  <a:cxn ang="0">
                    <a:pos x="80" y="0"/>
                  </a:cxn>
                  <a:cxn ang="0">
                    <a:pos x="78" y="0"/>
                  </a:cxn>
                  <a:cxn ang="0">
                    <a:pos x="74" y="2"/>
                  </a:cxn>
                  <a:cxn ang="0">
                    <a:pos x="70" y="0"/>
                  </a:cxn>
                  <a:cxn ang="0">
                    <a:pos x="66" y="0"/>
                  </a:cxn>
                  <a:cxn ang="0">
                    <a:pos x="62" y="0"/>
                  </a:cxn>
                  <a:cxn ang="0">
                    <a:pos x="60" y="4"/>
                  </a:cxn>
                  <a:cxn ang="0">
                    <a:pos x="58" y="10"/>
                  </a:cxn>
                  <a:cxn ang="0">
                    <a:pos x="52" y="8"/>
                  </a:cxn>
                  <a:cxn ang="0">
                    <a:pos x="46" y="4"/>
                  </a:cxn>
                  <a:cxn ang="0">
                    <a:pos x="40" y="2"/>
                  </a:cxn>
                  <a:cxn ang="0">
                    <a:pos x="30" y="2"/>
                  </a:cxn>
                  <a:cxn ang="0">
                    <a:pos x="18" y="2"/>
                  </a:cxn>
                  <a:cxn ang="0">
                    <a:pos x="10" y="6"/>
                  </a:cxn>
                  <a:cxn ang="0">
                    <a:pos x="6" y="10"/>
                  </a:cxn>
                  <a:cxn ang="0">
                    <a:pos x="2" y="14"/>
                  </a:cxn>
                  <a:cxn ang="0">
                    <a:pos x="2" y="20"/>
                  </a:cxn>
                  <a:cxn ang="0">
                    <a:pos x="0" y="26"/>
                  </a:cxn>
                  <a:cxn ang="0">
                    <a:pos x="2" y="30"/>
                  </a:cxn>
                  <a:cxn ang="0">
                    <a:pos x="4" y="36"/>
                  </a:cxn>
                  <a:cxn ang="0">
                    <a:pos x="6" y="40"/>
                  </a:cxn>
                  <a:cxn ang="0">
                    <a:pos x="8" y="46"/>
                  </a:cxn>
                  <a:cxn ang="0">
                    <a:pos x="10" y="52"/>
                  </a:cxn>
                  <a:cxn ang="0">
                    <a:pos x="10" y="54"/>
                  </a:cxn>
                  <a:cxn ang="0">
                    <a:pos x="12" y="58"/>
                  </a:cxn>
                  <a:cxn ang="0">
                    <a:pos x="14" y="62"/>
                  </a:cxn>
                  <a:cxn ang="0">
                    <a:pos x="18" y="66"/>
                  </a:cxn>
                  <a:cxn ang="0">
                    <a:pos x="24" y="66"/>
                  </a:cxn>
                  <a:cxn ang="0">
                    <a:pos x="24" y="76"/>
                  </a:cxn>
                  <a:cxn ang="0">
                    <a:pos x="30" y="74"/>
                  </a:cxn>
                  <a:cxn ang="0">
                    <a:pos x="34" y="72"/>
                  </a:cxn>
                  <a:cxn ang="0">
                    <a:pos x="40" y="68"/>
                  </a:cxn>
                  <a:cxn ang="0">
                    <a:pos x="48" y="66"/>
                  </a:cxn>
                  <a:cxn ang="0">
                    <a:pos x="66" y="60"/>
                  </a:cxn>
                  <a:cxn ang="0">
                    <a:pos x="62" y="56"/>
                  </a:cxn>
                  <a:cxn ang="0">
                    <a:pos x="60" y="56"/>
                  </a:cxn>
                  <a:cxn ang="0">
                    <a:pos x="58" y="54"/>
                  </a:cxn>
                  <a:cxn ang="0">
                    <a:pos x="82" y="40"/>
                  </a:cxn>
                  <a:cxn ang="0">
                    <a:pos x="84" y="38"/>
                  </a:cxn>
                  <a:cxn ang="0">
                    <a:pos x="86" y="34"/>
                  </a:cxn>
                  <a:cxn ang="0">
                    <a:pos x="84" y="30"/>
                  </a:cxn>
                  <a:cxn ang="0">
                    <a:pos x="84" y="26"/>
                  </a:cxn>
                  <a:cxn ang="0">
                    <a:pos x="84" y="22"/>
                  </a:cxn>
                  <a:cxn ang="0">
                    <a:pos x="82" y="16"/>
                  </a:cxn>
                  <a:cxn ang="0">
                    <a:pos x="82" y="0"/>
                  </a:cxn>
                  <a:cxn ang="0">
                    <a:pos x="80" y="0"/>
                  </a:cxn>
                </a:cxnLst>
                <a:rect l="0" t="0" r="r" b="b"/>
                <a:pathLst>
                  <a:path w="86" h="76">
                    <a:moveTo>
                      <a:pt x="80" y="0"/>
                    </a:moveTo>
                    <a:lnTo>
                      <a:pt x="78" y="0"/>
                    </a:lnTo>
                    <a:lnTo>
                      <a:pt x="74" y="2"/>
                    </a:lnTo>
                    <a:lnTo>
                      <a:pt x="70" y="0"/>
                    </a:lnTo>
                    <a:lnTo>
                      <a:pt x="66" y="0"/>
                    </a:lnTo>
                    <a:lnTo>
                      <a:pt x="62" y="0"/>
                    </a:lnTo>
                    <a:lnTo>
                      <a:pt x="60" y="4"/>
                    </a:lnTo>
                    <a:lnTo>
                      <a:pt x="58" y="10"/>
                    </a:lnTo>
                    <a:lnTo>
                      <a:pt x="52" y="8"/>
                    </a:lnTo>
                    <a:lnTo>
                      <a:pt x="46" y="4"/>
                    </a:lnTo>
                    <a:lnTo>
                      <a:pt x="40" y="2"/>
                    </a:lnTo>
                    <a:lnTo>
                      <a:pt x="30" y="2"/>
                    </a:lnTo>
                    <a:lnTo>
                      <a:pt x="18" y="2"/>
                    </a:lnTo>
                    <a:lnTo>
                      <a:pt x="10" y="6"/>
                    </a:lnTo>
                    <a:lnTo>
                      <a:pt x="6" y="10"/>
                    </a:lnTo>
                    <a:lnTo>
                      <a:pt x="2" y="14"/>
                    </a:lnTo>
                    <a:lnTo>
                      <a:pt x="2" y="20"/>
                    </a:lnTo>
                    <a:lnTo>
                      <a:pt x="0" y="26"/>
                    </a:lnTo>
                    <a:lnTo>
                      <a:pt x="2" y="30"/>
                    </a:lnTo>
                    <a:lnTo>
                      <a:pt x="4" y="36"/>
                    </a:lnTo>
                    <a:lnTo>
                      <a:pt x="6" y="40"/>
                    </a:lnTo>
                    <a:lnTo>
                      <a:pt x="8" y="46"/>
                    </a:lnTo>
                    <a:lnTo>
                      <a:pt x="10" y="52"/>
                    </a:lnTo>
                    <a:lnTo>
                      <a:pt x="10" y="54"/>
                    </a:lnTo>
                    <a:lnTo>
                      <a:pt x="12" y="58"/>
                    </a:lnTo>
                    <a:lnTo>
                      <a:pt x="14" y="62"/>
                    </a:lnTo>
                    <a:lnTo>
                      <a:pt x="18" y="66"/>
                    </a:lnTo>
                    <a:lnTo>
                      <a:pt x="24" y="66"/>
                    </a:lnTo>
                    <a:lnTo>
                      <a:pt x="24" y="76"/>
                    </a:lnTo>
                    <a:lnTo>
                      <a:pt x="30" y="74"/>
                    </a:lnTo>
                    <a:lnTo>
                      <a:pt x="34" y="72"/>
                    </a:lnTo>
                    <a:lnTo>
                      <a:pt x="40" y="68"/>
                    </a:lnTo>
                    <a:lnTo>
                      <a:pt x="48" y="66"/>
                    </a:lnTo>
                    <a:lnTo>
                      <a:pt x="66" y="60"/>
                    </a:lnTo>
                    <a:lnTo>
                      <a:pt x="62" y="56"/>
                    </a:lnTo>
                    <a:lnTo>
                      <a:pt x="60" y="56"/>
                    </a:lnTo>
                    <a:lnTo>
                      <a:pt x="58" y="54"/>
                    </a:lnTo>
                    <a:lnTo>
                      <a:pt x="82" y="40"/>
                    </a:lnTo>
                    <a:lnTo>
                      <a:pt x="84" y="38"/>
                    </a:lnTo>
                    <a:lnTo>
                      <a:pt x="86" y="34"/>
                    </a:lnTo>
                    <a:lnTo>
                      <a:pt x="84" y="30"/>
                    </a:lnTo>
                    <a:lnTo>
                      <a:pt x="84" y="26"/>
                    </a:lnTo>
                    <a:lnTo>
                      <a:pt x="84" y="22"/>
                    </a:lnTo>
                    <a:lnTo>
                      <a:pt x="82" y="16"/>
                    </a:lnTo>
                    <a:lnTo>
                      <a:pt x="82" y="0"/>
                    </a:lnTo>
                    <a:lnTo>
                      <a:pt x="80"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 name="Freeform 16"/>
              <p:cNvSpPr>
                <a:spLocks noChangeAspect="1"/>
              </p:cNvSpPr>
              <p:nvPr/>
            </p:nvSpPr>
            <p:spPr bwMode="auto">
              <a:xfrm>
                <a:off x="5818870" y="4143314"/>
                <a:ext cx="194569" cy="186068"/>
              </a:xfrm>
              <a:custGeom>
                <a:avLst/>
                <a:gdLst/>
                <a:ahLst/>
                <a:cxnLst>
                  <a:cxn ang="0">
                    <a:pos x="102" y="124"/>
                  </a:cxn>
                  <a:cxn ang="0">
                    <a:pos x="94" y="116"/>
                  </a:cxn>
                  <a:cxn ang="0">
                    <a:pos x="88" y="102"/>
                  </a:cxn>
                  <a:cxn ang="0">
                    <a:pos x="86" y="94"/>
                  </a:cxn>
                  <a:cxn ang="0">
                    <a:pos x="74" y="84"/>
                  </a:cxn>
                  <a:cxn ang="0">
                    <a:pos x="66" y="76"/>
                  </a:cxn>
                  <a:cxn ang="0">
                    <a:pos x="58" y="82"/>
                  </a:cxn>
                  <a:cxn ang="0">
                    <a:pos x="52" y="88"/>
                  </a:cxn>
                  <a:cxn ang="0">
                    <a:pos x="48" y="84"/>
                  </a:cxn>
                  <a:cxn ang="0">
                    <a:pos x="44" y="80"/>
                  </a:cxn>
                  <a:cxn ang="0">
                    <a:pos x="36" y="84"/>
                  </a:cxn>
                  <a:cxn ang="0">
                    <a:pos x="26" y="70"/>
                  </a:cxn>
                  <a:cxn ang="0">
                    <a:pos x="26" y="58"/>
                  </a:cxn>
                  <a:cxn ang="0">
                    <a:pos x="18" y="56"/>
                  </a:cxn>
                  <a:cxn ang="0">
                    <a:pos x="12" y="56"/>
                  </a:cxn>
                  <a:cxn ang="0">
                    <a:pos x="6" y="44"/>
                  </a:cxn>
                  <a:cxn ang="0">
                    <a:pos x="0" y="38"/>
                  </a:cxn>
                  <a:cxn ang="0">
                    <a:pos x="10" y="28"/>
                  </a:cxn>
                  <a:cxn ang="0">
                    <a:pos x="12" y="22"/>
                  </a:cxn>
                  <a:cxn ang="0">
                    <a:pos x="20" y="22"/>
                  </a:cxn>
                  <a:cxn ang="0">
                    <a:pos x="26" y="20"/>
                  </a:cxn>
                  <a:cxn ang="0">
                    <a:pos x="20" y="8"/>
                  </a:cxn>
                  <a:cxn ang="0">
                    <a:pos x="22" y="2"/>
                  </a:cxn>
                  <a:cxn ang="0">
                    <a:pos x="28" y="4"/>
                  </a:cxn>
                  <a:cxn ang="0">
                    <a:pos x="32" y="16"/>
                  </a:cxn>
                  <a:cxn ang="0">
                    <a:pos x="42" y="24"/>
                  </a:cxn>
                  <a:cxn ang="0">
                    <a:pos x="70" y="34"/>
                  </a:cxn>
                  <a:cxn ang="0">
                    <a:pos x="66" y="44"/>
                  </a:cxn>
                  <a:cxn ang="0">
                    <a:pos x="60" y="50"/>
                  </a:cxn>
                  <a:cxn ang="0">
                    <a:pos x="70" y="64"/>
                  </a:cxn>
                  <a:cxn ang="0">
                    <a:pos x="88" y="78"/>
                  </a:cxn>
                  <a:cxn ang="0">
                    <a:pos x="96" y="88"/>
                  </a:cxn>
                  <a:cxn ang="0">
                    <a:pos x="104" y="92"/>
                  </a:cxn>
                  <a:cxn ang="0">
                    <a:pos x="114" y="104"/>
                  </a:cxn>
                  <a:cxn ang="0">
                    <a:pos x="134" y="132"/>
                  </a:cxn>
                  <a:cxn ang="0">
                    <a:pos x="138" y="146"/>
                  </a:cxn>
                  <a:cxn ang="0">
                    <a:pos x="132" y="148"/>
                  </a:cxn>
                  <a:cxn ang="0">
                    <a:pos x="124" y="146"/>
                  </a:cxn>
                  <a:cxn ang="0">
                    <a:pos x="118" y="150"/>
                  </a:cxn>
                  <a:cxn ang="0">
                    <a:pos x="110" y="154"/>
                  </a:cxn>
                </a:cxnLst>
                <a:rect l="0" t="0" r="r" b="b"/>
                <a:pathLst>
                  <a:path w="140" h="156">
                    <a:moveTo>
                      <a:pt x="104" y="150"/>
                    </a:moveTo>
                    <a:lnTo>
                      <a:pt x="102" y="124"/>
                    </a:lnTo>
                    <a:lnTo>
                      <a:pt x="98" y="120"/>
                    </a:lnTo>
                    <a:lnTo>
                      <a:pt x="94" y="116"/>
                    </a:lnTo>
                    <a:lnTo>
                      <a:pt x="90" y="108"/>
                    </a:lnTo>
                    <a:lnTo>
                      <a:pt x="88" y="102"/>
                    </a:lnTo>
                    <a:lnTo>
                      <a:pt x="88" y="98"/>
                    </a:lnTo>
                    <a:lnTo>
                      <a:pt x="86" y="94"/>
                    </a:lnTo>
                    <a:lnTo>
                      <a:pt x="80" y="90"/>
                    </a:lnTo>
                    <a:lnTo>
                      <a:pt x="74" y="84"/>
                    </a:lnTo>
                    <a:lnTo>
                      <a:pt x="70" y="76"/>
                    </a:lnTo>
                    <a:lnTo>
                      <a:pt x="66" y="76"/>
                    </a:lnTo>
                    <a:lnTo>
                      <a:pt x="62" y="78"/>
                    </a:lnTo>
                    <a:lnTo>
                      <a:pt x="58" y="82"/>
                    </a:lnTo>
                    <a:lnTo>
                      <a:pt x="56" y="86"/>
                    </a:lnTo>
                    <a:lnTo>
                      <a:pt x="52" y="88"/>
                    </a:lnTo>
                    <a:lnTo>
                      <a:pt x="50" y="86"/>
                    </a:lnTo>
                    <a:lnTo>
                      <a:pt x="48" y="84"/>
                    </a:lnTo>
                    <a:lnTo>
                      <a:pt x="46" y="82"/>
                    </a:lnTo>
                    <a:lnTo>
                      <a:pt x="44" y="80"/>
                    </a:lnTo>
                    <a:lnTo>
                      <a:pt x="40" y="80"/>
                    </a:lnTo>
                    <a:lnTo>
                      <a:pt x="36" y="84"/>
                    </a:lnTo>
                    <a:lnTo>
                      <a:pt x="28" y="90"/>
                    </a:lnTo>
                    <a:lnTo>
                      <a:pt x="26" y="70"/>
                    </a:lnTo>
                    <a:lnTo>
                      <a:pt x="26" y="64"/>
                    </a:lnTo>
                    <a:lnTo>
                      <a:pt x="26" y="58"/>
                    </a:lnTo>
                    <a:lnTo>
                      <a:pt x="22" y="56"/>
                    </a:lnTo>
                    <a:lnTo>
                      <a:pt x="18" y="56"/>
                    </a:lnTo>
                    <a:lnTo>
                      <a:pt x="16" y="56"/>
                    </a:lnTo>
                    <a:lnTo>
                      <a:pt x="12" y="56"/>
                    </a:lnTo>
                    <a:lnTo>
                      <a:pt x="8" y="52"/>
                    </a:lnTo>
                    <a:lnTo>
                      <a:pt x="6" y="44"/>
                    </a:lnTo>
                    <a:lnTo>
                      <a:pt x="4" y="40"/>
                    </a:lnTo>
                    <a:lnTo>
                      <a:pt x="0" y="38"/>
                    </a:lnTo>
                    <a:lnTo>
                      <a:pt x="8" y="32"/>
                    </a:lnTo>
                    <a:lnTo>
                      <a:pt x="10" y="28"/>
                    </a:lnTo>
                    <a:lnTo>
                      <a:pt x="10" y="24"/>
                    </a:lnTo>
                    <a:lnTo>
                      <a:pt x="12" y="22"/>
                    </a:lnTo>
                    <a:lnTo>
                      <a:pt x="16" y="18"/>
                    </a:lnTo>
                    <a:lnTo>
                      <a:pt x="20" y="22"/>
                    </a:lnTo>
                    <a:lnTo>
                      <a:pt x="22" y="22"/>
                    </a:lnTo>
                    <a:lnTo>
                      <a:pt x="26" y="20"/>
                    </a:lnTo>
                    <a:lnTo>
                      <a:pt x="22" y="14"/>
                    </a:lnTo>
                    <a:lnTo>
                      <a:pt x="20" y="8"/>
                    </a:lnTo>
                    <a:lnTo>
                      <a:pt x="20" y="4"/>
                    </a:lnTo>
                    <a:lnTo>
                      <a:pt x="22" y="2"/>
                    </a:lnTo>
                    <a:lnTo>
                      <a:pt x="28" y="0"/>
                    </a:lnTo>
                    <a:lnTo>
                      <a:pt x="28" y="4"/>
                    </a:lnTo>
                    <a:lnTo>
                      <a:pt x="28" y="10"/>
                    </a:lnTo>
                    <a:lnTo>
                      <a:pt x="32" y="16"/>
                    </a:lnTo>
                    <a:lnTo>
                      <a:pt x="36" y="20"/>
                    </a:lnTo>
                    <a:lnTo>
                      <a:pt x="42" y="24"/>
                    </a:lnTo>
                    <a:lnTo>
                      <a:pt x="54" y="30"/>
                    </a:lnTo>
                    <a:lnTo>
                      <a:pt x="70" y="34"/>
                    </a:lnTo>
                    <a:lnTo>
                      <a:pt x="70" y="40"/>
                    </a:lnTo>
                    <a:lnTo>
                      <a:pt x="66" y="44"/>
                    </a:lnTo>
                    <a:lnTo>
                      <a:pt x="58" y="46"/>
                    </a:lnTo>
                    <a:lnTo>
                      <a:pt x="60" y="50"/>
                    </a:lnTo>
                    <a:lnTo>
                      <a:pt x="62" y="56"/>
                    </a:lnTo>
                    <a:lnTo>
                      <a:pt x="70" y="64"/>
                    </a:lnTo>
                    <a:lnTo>
                      <a:pt x="80" y="72"/>
                    </a:lnTo>
                    <a:lnTo>
                      <a:pt x="88" y="78"/>
                    </a:lnTo>
                    <a:lnTo>
                      <a:pt x="94" y="82"/>
                    </a:lnTo>
                    <a:lnTo>
                      <a:pt x="96" y="88"/>
                    </a:lnTo>
                    <a:lnTo>
                      <a:pt x="98" y="92"/>
                    </a:lnTo>
                    <a:lnTo>
                      <a:pt x="104" y="92"/>
                    </a:lnTo>
                    <a:lnTo>
                      <a:pt x="110" y="98"/>
                    </a:lnTo>
                    <a:lnTo>
                      <a:pt x="114" y="104"/>
                    </a:lnTo>
                    <a:lnTo>
                      <a:pt x="128" y="122"/>
                    </a:lnTo>
                    <a:lnTo>
                      <a:pt x="134" y="132"/>
                    </a:lnTo>
                    <a:lnTo>
                      <a:pt x="140" y="146"/>
                    </a:lnTo>
                    <a:lnTo>
                      <a:pt x="138" y="146"/>
                    </a:lnTo>
                    <a:lnTo>
                      <a:pt x="136" y="146"/>
                    </a:lnTo>
                    <a:lnTo>
                      <a:pt x="132" y="148"/>
                    </a:lnTo>
                    <a:lnTo>
                      <a:pt x="128" y="146"/>
                    </a:lnTo>
                    <a:lnTo>
                      <a:pt x="124" y="146"/>
                    </a:lnTo>
                    <a:lnTo>
                      <a:pt x="120" y="146"/>
                    </a:lnTo>
                    <a:lnTo>
                      <a:pt x="118" y="150"/>
                    </a:lnTo>
                    <a:lnTo>
                      <a:pt x="116" y="156"/>
                    </a:lnTo>
                    <a:lnTo>
                      <a:pt x="110" y="154"/>
                    </a:lnTo>
                    <a:lnTo>
                      <a:pt x="104" y="15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 name="Freeform 17"/>
              <p:cNvSpPr>
                <a:spLocks noChangeAspect="1"/>
              </p:cNvSpPr>
              <p:nvPr/>
            </p:nvSpPr>
            <p:spPr bwMode="auto">
              <a:xfrm>
                <a:off x="5772929" y="4186253"/>
                <a:ext cx="189164" cy="323234"/>
              </a:xfrm>
              <a:custGeom>
                <a:avLst/>
                <a:gdLst/>
                <a:ahLst/>
                <a:cxnLst>
                  <a:cxn ang="0">
                    <a:pos x="96" y="266"/>
                  </a:cxn>
                  <a:cxn ang="0">
                    <a:pos x="92" y="272"/>
                  </a:cxn>
                  <a:cxn ang="0">
                    <a:pos x="84" y="272"/>
                  </a:cxn>
                  <a:cxn ang="0">
                    <a:pos x="76" y="264"/>
                  </a:cxn>
                  <a:cxn ang="0">
                    <a:pos x="68" y="254"/>
                  </a:cxn>
                  <a:cxn ang="0">
                    <a:pos x="56" y="242"/>
                  </a:cxn>
                  <a:cxn ang="0">
                    <a:pos x="44" y="230"/>
                  </a:cxn>
                  <a:cxn ang="0">
                    <a:pos x="34" y="232"/>
                  </a:cxn>
                  <a:cxn ang="0">
                    <a:pos x="30" y="220"/>
                  </a:cxn>
                  <a:cxn ang="0">
                    <a:pos x="32" y="172"/>
                  </a:cxn>
                  <a:cxn ang="0">
                    <a:pos x="42" y="166"/>
                  </a:cxn>
                  <a:cxn ang="0">
                    <a:pos x="44" y="156"/>
                  </a:cxn>
                  <a:cxn ang="0">
                    <a:pos x="40" y="134"/>
                  </a:cxn>
                  <a:cxn ang="0">
                    <a:pos x="30" y="116"/>
                  </a:cxn>
                  <a:cxn ang="0">
                    <a:pos x="20" y="100"/>
                  </a:cxn>
                  <a:cxn ang="0">
                    <a:pos x="22" y="88"/>
                  </a:cxn>
                  <a:cxn ang="0">
                    <a:pos x="22" y="74"/>
                  </a:cxn>
                  <a:cxn ang="0">
                    <a:pos x="12" y="58"/>
                  </a:cxn>
                  <a:cxn ang="0">
                    <a:pos x="2" y="44"/>
                  </a:cxn>
                  <a:cxn ang="0">
                    <a:pos x="2" y="26"/>
                  </a:cxn>
                  <a:cxn ang="0">
                    <a:pos x="8" y="16"/>
                  </a:cxn>
                  <a:cxn ang="0">
                    <a:pos x="22" y="6"/>
                  </a:cxn>
                  <a:cxn ang="0">
                    <a:pos x="36" y="2"/>
                  </a:cxn>
                  <a:cxn ang="0">
                    <a:pos x="40" y="14"/>
                  </a:cxn>
                  <a:cxn ang="0">
                    <a:pos x="48" y="18"/>
                  </a:cxn>
                  <a:cxn ang="0">
                    <a:pos x="54" y="18"/>
                  </a:cxn>
                  <a:cxn ang="0">
                    <a:pos x="58" y="26"/>
                  </a:cxn>
                  <a:cxn ang="0">
                    <a:pos x="60" y="52"/>
                  </a:cxn>
                  <a:cxn ang="0">
                    <a:pos x="72" y="42"/>
                  </a:cxn>
                  <a:cxn ang="0">
                    <a:pos x="78" y="44"/>
                  </a:cxn>
                  <a:cxn ang="0">
                    <a:pos x="82" y="48"/>
                  </a:cxn>
                  <a:cxn ang="0">
                    <a:pos x="88" y="48"/>
                  </a:cxn>
                  <a:cxn ang="0">
                    <a:pos x="94" y="40"/>
                  </a:cxn>
                  <a:cxn ang="0">
                    <a:pos x="102" y="38"/>
                  </a:cxn>
                  <a:cxn ang="0">
                    <a:pos x="112" y="52"/>
                  </a:cxn>
                  <a:cxn ang="0">
                    <a:pos x="120" y="60"/>
                  </a:cxn>
                  <a:cxn ang="0">
                    <a:pos x="122" y="70"/>
                  </a:cxn>
                  <a:cxn ang="0">
                    <a:pos x="130" y="82"/>
                  </a:cxn>
                  <a:cxn ang="0">
                    <a:pos x="136" y="112"/>
                  </a:cxn>
                  <a:cxn ang="0">
                    <a:pos x="120" y="110"/>
                  </a:cxn>
                  <a:cxn ang="0">
                    <a:pos x="100" y="114"/>
                  </a:cxn>
                  <a:cxn ang="0">
                    <a:pos x="92" y="122"/>
                  </a:cxn>
                  <a:cxn ang="0">
                    <a:pos x="90" y="134"/>
                  </a:cxn>
                  <a:cxn ang="0">
                    <a:pos x="94" y="144"/>
                  </a:cxn>
                  <a:cxn ang="0">
                    <a:pos x="98" y="154"/>
                  </a:cxn>
                  <a:cxn ang="0">
                    <a:pos x="86" y="150"/>
                  </a:cxn>
                  <a:cxn ang="0">
                    <a:pos x="68" y="136"/>
                  </a:cxn>
                  <a:cxn ang="0">
                    <a:pos x="52" y="128"/>
                  </a:cxn>
                  <a:cxn ang="0">
                    <a:pos x="50" y="158"/>
                  </a:cxn>
                  <a:cxn ang="0">
                    <a:pos x="48" y="176"/>
                  </a:cxn>
                  <a:cxn ang="0">
                    <a:pos x="48" y="192"/>
                  </a:cxn>
                  <a:cxn ang="0">
                    <a:pos x="52" y="204"/>
                  </a:cxn>
                  <a:cxn ang="0">
                    <a:pos x="60" y="216"/>
                  </a:cxn>
                  <a:cxn ang="0">
                    <a:pos x="66" y="224"/>
                  </a:cxn>
                  <a:cxn ang="0">
                    <a:pos x="68" y="238"/>
                  </a:cxn>
                  <a:cxn ang="0">
                    <a:pos x="74" y="244"/>
                  </a:cxn>
                  <a:cxn ang="0">
                    <a:pos x="104" y="266"/>
                  </a:cxn>
                </a:cxnLst>
                <a:rect l="0" t="0" r="r" b="b"/>
                <a:pathLst>
                  <a:path w="136" h="272">
                    <a:moveTo>
                      <a:pt x="104" y="266"/>
                    </a:moveTo>
                    <a:lnTo>
                      <a:pt x="96" y="266"/>
                    </a:lnTo>
                    <a:lnTo>
                      <a:pt x="94" y="272"/>
                    </a:lnTo>
                    <a:lnTo>
                      <a:pt x="92" y="272"/>
                    </a:lnTo>
                    <a:lnTo>
                      <a:pt x="88" y="272"/>
                    </a:lnTo>
                    <a:lnTo>
                      <a:pt x="84" y="272"/>
                    </a:lnTo>
                    <a:lnTo>
                      <a:pt x="82" y="272"/>
                    </a:lnTo>
                    <a:lnTo>
                      <a:pt x="76" y="264"/>
                    </a:lnTo>
                    <a:lnTo>
                      <a:pt x="72" y="258"/>
                    </a:lnTo>
                    <a:lnTo>
                      <a:pt x="68" y="254"/>
                    </a:lnTo>
                    <a:lnTo>
                      <a:pt x="62" y="254"/>
                    </a:lnTo>
                    <a:lnTo>
                      <a:pt x="56" y="242"/>
                    </a:lnTo>
                    <a:lnTo>
                      <a:pt x="50" y="236"/>
                    </a:lnTo>
                    <a:lnTo>
                      <a:pt x="44" y="230"/>
                    </a:lnTo>
                    <a:lnTo>
                      <a:pt x="38" y="226"/>
                    </a:lnTo>
                    <a:lnTo>
                      <a:pt x="34" y="232"/>
                    </a:lnTo>
                    <a:lnTo>
                      <a:pt x="32" y="228"/>
                    </a:lnTo>
                    <a:lnTo>
                      <a:pt x="30" y="220"/>
                    </a:lnTo>
                    <a:lnTo>
                      <a:pt x="30" y="206"/>
                    </a:lnTo>
                    <a:lnTo>
                      <a:pt x="32" y="172"/>
                    </a:lnTo>
                    <a:lnTo>
                      <a:pt x="38" y="172"/>
                    </a:lnTo>
                    <a:lnTo>
                      <a:pt x="42" y="166"/>
                    </a:lnTo>
                    <a:lnTo>
                      <a:pt x="44" y="162"/>
                    </a:lnTo>
                    <a:lnTo>
                      <a:pt x="44" y="156"/>
                    </a:lnTo>
                    <a:lnTo>
                      <a:pt x="44" y="146"/>
                    </a:lnTo>
                    <a:lnTo>
                      <a:pt x="40" y="134"/>
                    </a:lnTo>
                    <a:lnTo>
                      <a:pt x="34" y="124"/>
                    </a:lnTo>
                    <a:lnTo>
                      <a:pt x="30" y="116"/>
                    </a:lnTo>
                    <a:lnTo>
                      <a:pt x="18" y="106"/>
                    </a:lnTo>
                    <a:lnTo>
                      <a:pt x="20" y="100"/>
                    </a:lnTo>
                    <a:lnTo>
                      <a:pt x="20" y="94"/>
                    </a:lnTo>
                    <a:lnTo>
                      <a:pt x="22" y="88"/>
                    </a:lnTo>
                    <a:lnTo>
                      <a:pt x="22" y="82"/>
                    </a:lnTo>
                    <a:lnTo>
                      <a:pt x="22" y="74"/>
                    </a:lnTo>
                    <a:lnTo>
                      <a:pt x="20" y="68"/>
                    </a:lnTo>
                    <a:lnTo>
                      <a:pt x="12" y="58"/>
                    </a:lnTo>
                    <a:lnTo>
                      <a:pt x="4" y="50"/>
                    </a:lnTo>
                    <a:lnTo>
                      <a:pt x="2" y="44"/>
                    </a:lnTo>
                    <a:lnTo>
                      <a:pt x="0" y="34"/>
                    </a:lnTo>
                    <a:lnTo>
                      <a:pt x="2" y="26"/>
                    </a:lnTo>
                    <a:lnTo>
                      <a:pt x="4" y="22"/>
                    </a:lnTo>
                    <a:lnTo>
                      <a:pt x="8" y="16"/>
                    </a:lnTo>
                    <a:lnTo>
                      <a:pt x="10" y="14"/>
                    </a:lnTo>
                    <a:lnTo>
                      <a:pt x="22" y="6"/>
                    </a:lnTo>
                    <a:lnTo>
                      <a:pt x="32" y="0"/>
                    </a:lnTo>
                    <a:lnTo>
                      <a:pt x="36" y="2"/>
                    </a:lnTo>
                    <a:lnTo>
                      <a:pt x="38" y="6"/>
                    </a:lnTo>
                    <a:lnTo>
                      <a:pt x="40" y="14"/>
                    </a:lnTo>
                    <a:lnTo>
                      <a:pt x="44" y="18"/>
                    </a:lnTo>
                    <a:lnTo>
                      <a:pt x="48" y="18"/>
                    </a:lnTo>
                    <a:lnTo>
                      <a:pt x="50" y="18"/>
                    </a:lnTo>
                    <a:lnTo>
                      <a:pt x="54" y="18"/>
                    </a:lnTo>
                    <a:lnTo>
                      <a:pt x="58" y="20"/>
                    </a:lnTo>
                    <a:lnTo>
                      <a:pt x="58" y="26"/>
                    </a:lnTo>
                    <a:lnTo>
                      <a:pt x="58" y="32"/>
                    </a:lnTo>
                    <a:lnTo>
                      <a:pt x="60" y="52"/>
                    </a:lnTo>
                    <a:lnTo>
                      <a:pt x="68" y="46"/>
                    </a:lnTo>
                    <a:lnTo>
                      <a:pt x="72" y="42"/>
                    </a:lnTo>
                    <a:lnTo>
                      <a:pt x="76" y="42"/>
                    </a:lnTo>
                    <a:lnTo>
                      <a:pt x="78" y="44"/>
                    </a:lnTo>
                    <a:lnTo>
                      <a:pt x="80" y="46"/>
                    </a:lnTo>
                    <a:lnTo>
                      <a:pt x="82" y="48"/>
                    </a:lnTo>
                    <a:lnTo>
                      <a:pt x="84" y="50"/>
                    </a:lnTo>
                    <a:lnTo>
                      <a:pt x="88" y="48"/>
                    </a:lnTo>
                    <a:lnTo>
                      <a:pt x="90" y="44"/>
                    </a:lnTo>
                    <a:lnTo>
                      <a:pt x="94" y="40"/>
                    </a:lnTo>
                    <a:lnTo>
                      <a:pt x="98" y="38"/>
                    </a:lnTo>
                    <a:lnTo>
                      <a:pt x="102" y="38"/>
                    </a:lnTo>
                    <a:lnTo>
                      <a:pt x="106" y="46"/>
                    </a:lnTo>
                    <a:lnTo>
                      <a:pt x="112" y="52"/>
                    </a:lnTo>
                    <a:lnTo>
                      <a:pt x="118" y="56"/>
                    </a:lnTo>
                    <a:lnTo>
                      <a:pt x="120" y="60"/>
                    </a:lnTo>
                    <a:lnTo>
                      <a:pt x="120" y="64"/>
                    </a:lnTo>
                    <a:lnTo>
                      <a:pt x="122" y="70"/>
                    </a:lnTo>
                    <a:lnTo>
                      <a:pt x="126" y="78"/>
                    </a:lnTo>
                    <a:lnTo>
                      <a:pt x="130" y="82"/>
                    </a:lnTo>
                    <a:lnTo>
                      <a:pt x="134" y="86"/>
                    </a:lnTo>
                    <a:lnTo>
                      <a:pt x="136" y="112"/>
                    </a:lnTo>
                    <a:lnTo>
                      <a:pt x="130" y="110"/>
                    </a:lnTo>
                    <a:lnTo>
                      <a:pt x="120" y="110"/>
                    </a:lnTo>
                    <a:lnTo>
                      <a:pt x="108" y="110"/>
                    </a:lnTo>
                    <a:lnTo>
                      <a:pt x="100" y="114"/>
                    </a:lnTo>
                    <a:lnTo>
                      <a:pt x="96" y="118"/>
                    </a:lnTo>
                    <a:lnTo>
                      <a:pt x="92" y="122"/>
                    </a:lnTo>
                    <a:lnTo>
                      <a:pt x="92" y="128"/>
                    </a:lnTo>
                    <a:lnTo>
                      <a:pt x="90" y="134"/>
                    </a:lnTo>
                    <a:lnTo>
                      <a:pt x="92" y="138"/>
                    </a:lnTo>
                    <a:lnTo>
                      <a:pt x="94" y="144"/>
                    </a:lnTo>
                    <a:lnTo>
                      <a:pt x="96" y="148"/>
                    </a:lnTo>
                    <a:lnTo>
                      <a:pt x="98" y="154"/>
                    </a:lnTo>
                    <a:lnTo>
                      <a:pt x="92" y="152"/>
                    </a:lnTo>
                    <a:lnTo>
                      <a:pt x="86" y="150"/>
                    </a:lnTo>
                    <a:lnTo>
                      <a:pt x="76" y="144"/>
                    </a:lnTo>
                    <a:lnTo>
                      <a:pt x="68" y="136"/>
                    </a:lnTo>
                    <a:lnTo>
                      <a:pt x="60" y="128"/>
                    </a:lnTo>
                    <a:lnTo>
                      <a:pt x="52" y="128"/>
                    </a:lnTo>
                    <a:lnTo>
                      <a:pt x="52" y="150"/>
                    </a:lnTo>
                    <a:lnTo>
                      <a:pt x="50" y="158"/>
                    </a:lnTo>
                    <a:lnTo>
                      <a:pt x="48" y="166"/>
                    </a:lnTo>
                    <a:lnTo>
                      <a:pt x="48" y="176"/>
                    </a:lnTo>
                    <a:lnTo>
                      <a:pt x="46" y="188"/>
                    </a:lnTo>
                    <a:lnTo>
                      <a:pt x="48" y="192"/>
                    </a:lnTo>
                    <a:lnTo>
                      <a:pt x="48" y="200"/>
                    </a:lnTo>
                    <a:lnTo>
                      <a:pt x="52" y="204"/>
                    </a:lnTo>
                    <a:lnTo>
                      <a:pt x="60" y="206"/>
                    </a:lnTo>
                    <a:lnTo>
                      <a:pt x="60" y="216"/>
                    </a:lnTo>
                    <a:lnTo>
                      <a:pt x="62" y="220"/>
                    </a:lnTo>
                    <a:lnTo>
                      <a:pt x="66" y="224"/>
                    </a:lnTo>
                    <a:lnTo>
                      <a:pt x="66" y="234"/>
                    </a:lnTo>
                    <a:lnTo>
                      <a:pt x="68" y="238"/>
                    </a:lnTo>
                    <a:lnTo>
                      <a:pt x="70" y="240"/>
                    </a:lnTo>
                    <a:lnTo>
                      <a:pt x="74" y="244"/>
                    </a:lnTo>
                    <a:lnTo>
                      <a:pt x="84" y="248"/>
                    </a:lnTo>
                    <a:lnTo>
                      <a:pt x="104" y="26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5" name="Freeform 18"/>
              <p:cNvSpPr>
                <a:spLocks noChangeAspect="1"/>
              </p:cNvSpPr>
              <p:nvPr/>
            </p:nvSpPr>
            <p:spPr bwMode="auto">
              <a:xfrm>
                <a:off x="5860757" y="4488018"/>
                <a:ext cx="101337" cy="121660"/>
              </a:xfrm>
              <a:custGeom>
                <a:avLst/>
                <a:gdLst/>
                <a:ahLst/>
                <a:cxnLst>
                  <a:cxn ang="0">
                    <a:pos x="42" y="12"/>
                  </a:cxn>
                  <a:cxn ang="0">
                    <a:pos x="34" y="12"/>
                  </a:cxn>
                  <a:cxn ang="0">
                    <a:pos x="32" y="18"/>
                  </a:cxn>
                  <a:cxn ang="0">
                    <a:pos x="30" y="18"/>
                  </a:cxn>
                  <a:cxn ang="0">
                    <a:pos x="26" y="18"/>
                  </a:cxn>
                  <a:cxn ang="0">
                    <a:pos x="22" y="18"/>
                  </a:cxn>
                  <a:cxn ang="0">
                    <a:pos x="20" y="18"/>
                  </a:cxn>
                  <a:cxn ang="0">
                    <a:pos x="14" y="10"/>
                  </a:cxn>
                  <a:cxn ang="0">
                    <a:pos x="10" y="4"/>
                  </a:cxn>
                  <a:cxn ang="0">
                    <a:pos x="6" y="0"/>
                  </a:cxn>
                  <a:cxn ang="0">
                    <a:pos x="0" y="0"/>
                  </a:cxn>
                  <a:cxn ang="0">
                    <a:pos x="2" y="8"/>
                  </a:cxn>
                  <a:cxn ang="0">
                    <a:pos x="4" y="14"/>
                  </a:cxn>
                  <a:cxn ang="0">
                    <a:pos x="6" y="24"/>
                  </a:cxn>
                  <a:cxn ang="0">
                    <a:pos x="10" y="36"/>
                  </a:cxn>
                  <a:cxn ang="0">
                    <a:pos x="14" y="46"/>
                  </a:cxn>
                  <a:cxn ang="0">
                    <a:pos x="18" y="54"/>
                  </a:cxn>
                  <a:cxn ang="0">
                    <a:pos x="34" y="72"/>
                  </a:cxn>
                  <a:cxn ang="0">
                    <a:pos x="50" y="86"/>
                  </a:cxn>
                  <a:cxn ang="0">
                    <a:pos x="58" y="96"/>
                  </a:cxn>
                  <a:cxn ang="0">
                    <a:pos x="66" y="102"/>
                  </a:cxn>
                  <a:cxn ang="0">
                    <a:pos x="68" y="100"/>
                  </a:cxn>
                  <a:cxn ang="0">
                    <a:pos x="70" y="100"/>
                  </a:cxn>
                  <a:cxn ang="0">
                    <a:pos x="72" y="96"/>
                  </a:cxn>
                  <a:cxn ang="0">
                    <a:pos x="72" y="90"/>
                  </a:cxn>
                  <a:cxn ang="0">
                    <a:pos x="70" y="84"/>
                  </a:cxn>
                  <a:cxn ang="0">
                    <a:pos x="66" y="74"/>
                  </a:cxn>
                  <a:cxn ang="0">
                    <a:pos x="62" y="68"/>
                  </a:cxn>
                  <a:cxn ang="0">
                    <a:pos x="60" y="64"/>
                  </a:cxn>
                  <a:cxn ang="0">
                    <a:pos x="58" y="60"/>
                  </a:cxn>
                  <a:cxn ang="0">
                    <a:pos x="58" y="40"/>
                  </a:cxn>
                  <a:cxn ang="0">
                    <a:pos x="58" y="32"/>
                  </a:cxn>
                  <a:cxn ang="0">
                    <a:pos x="52" y="24"/>
                  </a:cxn>
                  <a:cxn ang="0">
                    <a:pos x="42" y="12"/>
                  </a:cxn>
                </a:cxnLst>
                <a:rect l="0" t="0" r="r" b="b"/>
                <a:pathLst>
                  <a:path w="72" h="102">
                    <a:moveTo>
                      <a:pt x="42" y="12"/>
                    </a:moveTo>
                    <a:lnTo>
                      <a:pt x="34" y="12"/>
                    </a:lnTo>
                    <a:lnTo>
                      <a:pt x="32" y="18"/>
                    </a:lnTo>
                    <a:lnTo>
                      <a:pt x="30" y="18"/>
                    </a:lnTo>
                    <a:lnTo>
                      <a:pt x="26" y="18"/>
                    </a:lnTo>
                    <a:lnTo>
                      <a:pt x="22" y="18"/>
                    </a:lnTo>
                    <a:lnTo>
                      <a:pt x="20" y="18"/>
                    </a:lnTo>
                    <a:lnTo>
                      <a:pt x="14" y="10"/>
                    </a:lnTo>
                    <a:lnTo>
                      <a:pt x="10" y="4"/>
                    </a:lnTo>
                    <a:lnTo>
                      <a:pt x="6" y="0"/>
                    </a:lnTo>
                    <a:lnTo>
                      <a:pt x="0" y="0"/>
                    </a:lnTo>
                    <a:lnTo>
                      <a:pt x="2" y="8"/>
                    </a:lnTo>
                    <a:lnTo>
                      <a:pt x="4" y="14"/>
                    </a:lnTo>
                    <a:lnTo>
                      <a:pt x="6" y="24"/>
                    </a:lnTo>
                    <a:lnTo>
                      <a:pt x="10" y="36"/>
                    </a:lnTo>
                    <a:lnTo>
                      <a:pt x="14" y="46"/>
                    </a:lnTo>
                    <a:lnTo>
                      <a:pt x="18" y="54"/>
                    </a:lnTo>
                    <a:lnTo>
                      <a:pt x="34" y="72"/>
                    </a:lnTo>
                    <a:lnTo>
                      <a:pt x="50" y="86"/>
                    </a:lnTo>
                    <a:lnTo>
                      <a:pt x="58" y="96"/>
                    </a:lnTo>
                    <a:lnTo>
                      <a:pt x="66" y="102"/>
                    </a:lnTo>
                    <a:lnTo>
                      <a:pt x="68" y="100"/>
                    </a:lnTo>
                    <a:lnTo>
                      <a:pt x="70" y="100"/>
                    </a:lnTo>
                    <a:lnTo>
                      <a:pt x="72" y="96"/>
                    </a:lnTo>
                    <a:lnTo>
                      <a:pt x="72" y="90"/>
                    </a:lnTo>
                    <a:lnTo>
                      <a:pt x="70" y="84"/>
                    </a:lnTo>
                    <a:lnTo>
                      <a:pt x="66" y="74"/>
                    </a:lnTo>
                    <a:lnTo>
                      <a:pt x="62" y="68"/>
                    </a:lnTo>
                    <a:lnTo>
                      <a:pt x="60" y="64"/>
                    </a:lnTo>
                    <a:lnTo>
                      <a:pt x="58" y="60"/>
                    </a:lnTo>
                    <a:lnTo>
                      <a:pt x="58" y="40"/>
                    </a:lnTo>
                    <a:lnTo>
                      <a:pt x="58" y="32"/>
                    </a:lnTo>
                    <a:lnTo>
                      <a:pt x="52" y="24"/>
                    </a:lnTo>
                    <a:lnTo>
                      <a:pt x="42"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6" name="Freeform 19"/>
              <p:cNvSpPr>
                <a:spLocks noChangeAspect="1"/>
              </p:cNvSpPr>
              <p:nvPr/>
            </p:nvSpPr>
            <p:spPr bwMode="auto">
              <a:xfrm>
                <a:off x="5647271" y="4014498"/>
                <a:ext cx="186462" cy="376908"/>
              </a:xfrm>
              <a:custGeom>
                <a:avLst/>
                <a:gdLst/>
                <a:ahLst/>
                <a:cxnLst>
                  <a:cxn ang="0">
                    <a:pos x="0" y="140"/>
                  </a:cxn>
                  <a:cxn ang="0">
                    <a:pos x="28" y="166"/>
                  </a:cxn>
                  <a:cxn ang="0">
                    <a:pos x="42" y="180"/>
                  </a:cxn>
                  <a:cxn ang="0">
                    <a:pos x="48" y="198"/>
                  </a:cxn>
                  <a:cxn ang="0">
                    <a:pos x="46" y="212"/>
                  </a:cxn>
                  <a:cxn ang="0">
                    <a:pos x="44" y="224"/>
                  </a:cxn>
                  <a:cxn ang="0">
                    <a:pos x="48" y="226"/>
                  </a:cxn>
                  <a:cxn ang="0">
                    <a:pos x="58" y="228"/>
                  </a:cxn>
                  <a:cxn ang="0">
                    <a:pos x="66" y="228"/>
                  </a:cxn>
                  <a:cxn ang="0">
                    <a:pos x="80" y="224"/>
                  </a:cxn>
                  <a:cxn ang="0">
                    <a:pos x="84" y="206"/>
                  </a:cxn>
                  <a:cxn ang="0">
                    <a:pos x="96" y="220"/>
                  </a:cxn>
                  <a:cxn ang="0">
                    <a:pos x="106" y="252"/>
                  </a:cxn>
                  <a:cxn ang="0">
                    <a:pos x="118" y="276"/>
                  </a:cxn>
                  <a:cxn ang="0">
                    <a:pos x="122" y="286"/>
                  </a:cxn>
                  <a:cxn ang="0">
                    <a:pos x="124" y="310"/>
                  </a:cxn>
                  <a:cxn ang="0">
                    <a:pos x="128" y="318"/>
                  </a:cxn>
                  <a:cxn ang="0">
                    <a:pos x="134" y="308"/>
                  </a:cxn>
                  <a:cxn ang="0">
                    <a:pos x="134" y="292"/>
                  </a:cxn>
                  <a:cxn ang="0">
                    <a:pos x="124" y="270"/>
                  </a:cxn>
                  <a:cxn ang="0">
                    <a:pos x="108" y="252"/>
                  </a:cxn>
                  <a:cxn ang="0">
                    <a:pos x="110" y="240"/>
                  </a:cxn>
                  <a:cxn ang="0">
                    <a:pos x="112" y="228"/>
                  </a:cxn>
                  <a:cxn ang="0">
                    <a:pos x="110" y="214"/>
                  </a:cxn>
                  <a:cxn ang="0">
                    <a:pos x="94" y="196"/>
                  </a:cxn>
                  <a:cxn ang="0">
                    <a:pos x="90" y="180"/>
                  </a:cxn>
                  <a:cxn ang="0">
                    <a:pos x="94" y="168"/>
                  </a:cxn>
                  <a:cxn ang="0">
                    <a:pos x="106" y="156"/>
                  </a:cxn>
                  <a:cxn ang="0">
                    <a:pos x="124" y="144"/>
                  </a:cxn>
                  <a:cxn ang="0">
                    <a:pos x="132" y="134"/>
                  </a:cxn>
                  <a:cxn ang="0">
                    <a:pos x="132" y="128"/>
                  </a:cxn>
                  <a:cxn ang="0">
                    <a:pos x="120" y="122"/>
                  </a:cxn>
                  <a:cxn ang="0">
                    <a:pos x="108" y="116"/>
                  </a:cxn>
                  <a:cxn ang="0">
                    <a:pos x="110" y="102"/>
                  </a:cxn>
                  <a:cxn ang="0">
                    <a:pos x="104" y="96"/>
                  </a:cxn>
                  <a:cxn ang="0">
                    <a:pos x="98" y="90"/>
                  </a:cxn>
                  <a:cxn ang="0">
                    <a:pos x="94" y="82"/>
                  </a:cxn>
                  <a:cxn ang="0">
                    <a:pos x="84" y="82"/>
                  </a:cxn>
                  <a:cxn ang="0">
                    <a:pos x="78" y="76"/>
                  </a:cxn>
                  <a:cxn ang="0">
                    <a:pos x="76" y="64"/>
                  </a:cxn>
                  <a:cxn ang="0">
                    <a:pos x="82" y="52"/>
                  </a:cxn>
                  <a:cxn ang="0">
                    <a:pos x="86" y="48"/>
                  </a:cxn>
                  <a:cxn ang="0">
                    <a:pos x="84" y="28"/>
                  </a:cxn>
                  <a:cxn ang="0">
                    <a:pos x="80" y="14"/>
                  </a:cxn>
                  <a:cxn ang="0">
                    <a:pos x="72" y="12"/>
                  </a:cxn>
                  <a:cxn ang="0">
                    <a:pos x="68" y="4"/>
                  </a:cxn>
                  <a:cxn ang="0">
                    <a:pos x="62" y="0"/>
                  </a:cxn>
                  <a:cxn ang="0">
                    <a:pos x="56" y="8"/>
                  </a:cxn>
                  <a:cxn ang="0">
                    <a:pos x="56" y="20"/>
                  </a:cxn>
                  <a:cxn ang="0">
                    <a:pos x="44" y="22"/>
                  </a:cxn>
                  <a:cxn ang="0">
                    <a:pos x="30" y="34"/>
                  </a:cxn>
                  <a:cxn ang="0">
                    <a:pos x="30" y="40"/>
                  </a:cxn>
                  <a:cxn ang="0">
                    <a:pos x="26" y="60"/>
                  </a:cxn>
                  <a:cxn ang="0">
                    <a:pos x="28" y="64"/>
                  </a:cxn>
                  <a:cxn ang="0">
                    <a:pos x="28" y="70"/>
                  </a:cxn>
                  <a:cxn ang="0">
                    <a:pos x="20" y="84"/>
                  </a:cxn>
                  <a:cxn ang="0">
                    <a:pos x="16" y="82"/>
                  </a:cxn>
                  <a:cxn ang="0">
                    <a:pos x="10" y="86"/>
                  </a:cxn>
                  <a:cxn ang="0">
                    <a:pos x="12" y="100"/>
                  </a:cxn>
                  <a:cxn ang="0">
                    <a:pos x="10" y="118"/>
                  </a:cxn>
                  <a:cxn ang="0">
                    <a:pos x="2" y="124"/>
                  </a:cxn>
                  <a:cxn ang="0">
                    <a:pos x="0" y="136"/>
                  </a:cxn>
                </a:cxnLst>
                <a:rect l="0" t="0" r="r" b="b"/>
                <a:pathLst>
                  <a:path w="134" h="318">
                    <a:moveTo>
                      <a:pt x="0" y="136"/>
                    </a:moveTo>
                    <a:lnTo>
                      <a:pt x="0" y="140"/>
                    </a:lnTo>
                    <a:lnTo>
                      <a:pt x="14" y="152"/>
                    </a:lnTo>
                    <a:lnTo>
                      <a:pt x="28" y="166"/>
                    </a:lnTo>
                    <a:lnTo>
                      <a:pt x="36" y="172"/>
                    </a:lnTo>
                    <a:lnTo>
                      <a:pt x="42" y="180"/>
                    </a:lnTo>
                    <a:lnTo>
                      <a:pt x="46" y="190"/>
                    </a:lnTo>
                    <a:lnTo>
                      <a:pt x="48" y="198"/>
                    </a:lnTo>
                    <a:lnTo>
                      <a:pt x="48" y="204"/>
                    </a:lnTo>
                    <a:lnTo>
                      <a:pt x="46" y="212"/>
                    </a:lnTo>
                    <a:lnTo>
                      <a:pt x="44" y="218"/>
                    </a:lnTo>
                    <a:lnTo>
                      <a:pt x="44" y="224"/>
                    </a:lnTo>
                    <a:lnTo>
                      <a:pt x="44" y="226"/>
                    </a:lnTo>
                    <a:lnTo>
                      <a:pt x="48" y="226"/>
                    </a:lnTo>
                    <a:lnTo>
                      <a:pt x="56" y="224"/>
                    </a:lnTo>
                    <a:lnTo>
                      <a:pt x="58" y="228"/>
                    </a:lnTo>
                    <a:lnTo>
                      <a:pt x="62" y="228"/>
                    </a:lnTo>
                    <a:lnTo>
                      <a:pt x="66" y="228"/>
                    </a:lnTo>
                    <a:lnTo>
                      <a:pt x="72" y="228"/>
                    </a:lnTo>
                    <a:lnTo>
                      <a:pt x="80" y="224"/>
                    </a:lnTo>
                    <a:lnTo>
                      <a:pt x="84" y="216"/>
                    </a:lnTo>
                    <a:lnTo>
                      <a:pt x="84" y="206"/>
                    </a:lnTo>
                    <a:lnTo>
                      <a:pt x="90" y="212"/>
                    </a:lnTo>
                    <a:lnTo>
                      <a:pt x="96" y="220"/>
                    </a:lnTo>
                    <a:lnTo>
                      <a:pt x="102" y="234"/>
                    </a:lnTo>
                    <a:lnTo>
                      <a:pt x="106" y="252"/>
                    </a:lnTo>
                    <a:lnTo>
                      <a:pt x="110" y="268"/>
                    </a:lnTo>
                    <a:lnTo>
                      <a:pt x="118" y="276"/>
                    </a:lnTo>
                    <a:lnTo>
                      <a:pt x="122" y="282"/>
                    </a:lnTo>
                    <a:lnTo>
                      <a:pt x="122" y="286"/>
                    </a:lnTo>
                    <a:lnTo>
                      <a:pt x="124" y="304"/>
                    </a:lnTo>
                    <a:lnTo>
                      <a:pt x="124" y="310"/>
                    </a:lnTo>
                    <a:lnTo>
                      <a:pt x="122" y="318"/>
                    </a:lnTo>
                    <a:lnTo>
                      <a:pt x="128" y="318"/>
                    </a:lnTo>
                    <a:lnTo>
                      <a:pt x="132" y="312"/>
                    </a:lnTo>
                    <a:lnTo>
                      <a:pt x="134" y="308"/>
                    </a:lnTo>
                    <a:lnTo>
                      <a:pt x="134" y="302"/>
                    </a:lnTo>
                    <a:lnTo>
                      <a:pt x="134" y="292"/>
                    </a:lnTo>
                    <a:lnTo>
                      <a:pt x="130" y="280"/>
                    </a:lnTo>
                    <a:lnTo>
                      <a:pt x="124" y="270"/>
                    </a:lnTo>
                    <a:lnTo>
                      <a:pt x="120" y="262"/>
                    </a:lnTo>
                    <a:lnTo>
                      <a:pt x="108" y="252"/>
                    </a:lnTo>
                    <a:lnTo>
                      <a:pt x="110" y="246"/>
                    </a:lnTo>
                    <a:lnTo>
                      <a:pt x="110" y="240"/>
                    </a:lnTo>
                    <a:lnTo>
                      <a:pt x="112" y="234"/>
                    </a:lnTo>
                    <a:lnTo>
                      <a:pt x="112" y="228"/>
                    </a:lnTo>
                    <a:lnTo>
                      <a:pt x="112" y="220"/>
                    </a:lnTo>
                    <a:lnTo>
                      <a:pt x="110" y="214"/>
                    </a:lnTo>
                    <a:lnTo>
                      <a:pt x="102" y="204"/>
                    </a:lnTo>
                    <a:lnTo>
                      <a:pt x="94" y="196"/>
                    </a:lnTo>
                    <a:lnTo>
                      <a:pt x="92" y="190"/>
                    </a:lnTo>
                    <a:lnTo>
                      <a:pt x="90" y="180"/>
                    </a:lnTo>
                    <a:lnTo>
                      <a:pt x="92" y="172"/>
                    </a:lnTo>
                    <a:lnTo>
                      <a:pt x="94" y="168"/>
                    </a:lnTo>
                    <a:lnTo>
                      <a:pt x="98" y="162"/>
                    </a:lnTo>
                    <a:lnTo>
                      <a:pt x="106" y="156"/>
                    </a:lnTo>
                    <a:lnTo>
                      <a:pt x="118" y="148"/>
                    </a:lnTo>
                    <a:lnTo>
                      <a:pt x="124" y="144"/>
                    </a:lnTo>
                    <a:lnTo>
                      <a:pt x="130" y="140"/>
                    </a:lnTo>
                    <a:lnTo>
                      <a:pt x="132" y="134"/>
                    </a:lnTo>
                    <a:lnTo>
                      <a:pt x="134" y="130"/>
                    </a:lnTo>
                    <a:lnTo>
                      <a:pt x="132" y="128"/>
                    </a:lnTo>
                    <a:lnTo>
                      <a:pt x="126" y="126"/>
                    </a:lnTo>
                    <a:lnTo>
                      <a:pt x="120" y="122"/>
                    </a:lnTo>
                    <a:lnTo>
                      <a:pt x="114" y="118"/>
                    </a:lnTo>
                    <a:lnTo>
                      <a:pt x="108" y="116"/>
                    </a:lnTo>
                    <a:lnTo>
                      <a:pt x="110" y="106"/>
                    </a:lnTo>
                    <a:lnTo>
                      <a:pt x="110" y="102"/>
                    </a:lnTo>
                    <a:lnTo>
                      <a:pt x="108" y="98"/>
                    </a:lnTo>
                    <a:lnTo>
                      <a:pt x="104" y="96"/>
                    </a:lnTo>
                    <a:lnTo>
                      <a:pt x="100" y="94"/>
                    </a:lnTo>
                    <a:lnTo>
                      <a:pt x="98" y="90"/>
                    </a:lnTo>
                    <a:lnTo>
                      <a:pt x="96" y="84"/>
                    </a:lnTo>
                    <a:lnTo>
                      <a:pt x="94" y="82"/>
                    </a:lnTo>
                    <a:lnTo>
                      <a:pt x="90" y="82"/>
                    </a:lnTo>
                    <a:lnTo>
                      <a:pt x="84" y="82"/>
                    </a:lnTo>
                    <a:lnTo>
                      <a:pt x="80" y="80"/>
                    </a:lnTo>
                    <a:lnTo>
                      <a:pt x="78" y="76"/>
                    </a:lnTo>
                    <a:lnTo>
                      <a:pt x="76" y="68"/>
                    </a:lnTo>
                    <a:lnTo>
                      <a:pt x="76" y="64"/>
                    </a:lnTo>
                    <a:lnTo>
                      <a:pt x="78" y="58"/>
                    </a:lnTo>
                    <a:lnTo>
                      <a:pt x="82" y="52"/>
                    </a:lnTo>
                    <a:lnTo>
                      <a:pt x="88" y="50"/>
                    </a:lnTo>
                    <a:lnTo>
                      <a:pt x="86" y="48"/>
                    </a:lnTo>
                    <a:lnTo>
                      <a:pt x="88" y="44"/>
                    </a:lnTo>
                    <a:lnTo>
                      <a:pt x="84" y="28"/>
                    </a:lnTo>
                    <a:lnTo>
                      <a:pt x="82" y="18"/>
                    </a:lnTo>
                    <a:lnTo>
                      <a:pt x="80" y="14"/>
                    </a:lnTo>
                    <a:lnTo>
                      <a:pt x="76" y="14"/>
                    </a:lnTo>
                    <a:lnTo>
                      <a:pt x="72" y="12"/>
                    </a:lnTo>
                    <a:lnTo>
                      <a:pt x="72" y="10"/>
                    </a:lnTo>
                    <a:lnTo>
                      <a:pt x="68" y="4"/>
                    </a:lnTo>
                    <a:lnTo>
                      <a:pt x="66" y="2"/>
                    </a:lnTo>
                    <a:lnTo>
                      <a:pt x="62" y="0"/>
                    </a:lnTo>
                    <a:lnTo>
                      <a:pt x="56" y="0"/>
                    </a:lnTo>
                    <a:lnTo>
                      <a:pt x="56" y="8"/>
                    </a:lnTo>
                    <a:lnTo>
                      <a:pt x="54" y="14"/>
                    </a:lnTo>
                    <a:lnTo>
                      <a:pt x="56" y="20"/>
                    </a:lnTo>
                    <a:lnTo>
                      <a:pt x="50" y="20"/>
                    </a:lnTo>
                    <a:lnTo>
                      <a:pt x="44" y="22"/>
                    </a:lnTo>
                    <a:lnTo>
                      <a:pt x="36" y="28"/>
                    </a:lnTo>
                    <a:lnTo>
                      <a:pt x="30" y="34"/>
                    </a:lnTo>
                    <a:lnTo>
                      <a:pt x="28" y="36"/>
                    </a:lnTo>
                    <a:lnTo>
                      <a:pt x="30" y="40"/>
                    </a:lnTo>
                    <a:lnTo>
                      <a:pt x="32" y="42"/>
                    </a:lnTo>
                    <a:lnTo>
                      <a:pt x="26" y="60"/>
                    </a:lnTo>
                    <a:lnTo>
                      <a:pt x="26" y="62"/>
                    </a:lnTo>
                    <a:lnTo>
                      <a:pt x="28" y="64"/>
                    </a:lnTo>
                    <a:lnTo>
                      <a:pt x="30" y="64"/>
                    </a:lnTo>
                    <a:lnTo>
                      <a:pt x="28" y="70"/>
                    </a:lnTo>
                    <a:lnTo>
                      <a:pt x="26" y="74"/>
                    </a:lnTo>
                    <a:lnTo>
                      <a:pt x="20" y="84"/>
                    </a:lnTo>
                    <a:lnTo>
                      <a:pt x="18" y="84"/>
                    </a:lnTo>
                    <a:lnTo>
                      <a:pt x="16" y="82"/>
                    </a:lnTo>
                    <a:lnTo>
                      <a:pt x="12" y="86"/>
                    </a:lnTo>
                    <a:lnTo>
                      <a:pt x="10" y="86"/>
                    </a:lnTo>
                    <a:lnTo>
                      <a:pt x="12" y="92"/>
                    </a:lnTo>
                    <a:lnTo>
                      <a:pt x="12" y="100"/>
                    </a:lnTo>
                    <a:lnTo>
                      <a:pt x="10" y="110"/>
                    </a:lnTo>
                    <a:lnTo>
                      <a:pt x="10" y="118"/>
                    </a:lnTo>
                    <a:lnTo>
                      <a:pt x="4" y="118"/>
                    </a:lnTo>
                    <a:lnTo>
                      <a:pt x="2" y="124"/>
                    </a:lnTo>
                    <a:lnTo>
                      <a:pt x="0" y="130"/>
                    </a:lnTo>
                    <a:lnTo>
                      <a:pt x="0" y="13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7" name="Freeform 20"/>
              <p:cNvSpPr>
                <a:spLocks noChangeAspect="1"/>
              </p:cNvSpPr>
              <p:nvPr/>
            </p:nvSpPr>
            <p:spPr bwMode="auto">
              <a:xfrm>
                <a:off x="5535124" y="4059823"/>
                <a:ext cx="118903" cy="113311"/>
              </a:xfrm>
              <a:custGeom>
                <a:avLst/>
                <a:gdLst/>
                <a:ahLst/>
                <a:cxnLst>
                  <a:cxn ang="0">
                    <a:pos x="80" y="86"/>
                  </a:cxn>
                  <a:cxn ang="0">
                    <a:pos x="74" y="88"/>
                  </a:cxn>
                  <a:cxn ang="0">
                    <a:pos x="70" y="76"/>
                  </a:cxn>
                  <a:cxn ang="0">
                    <a:pos x="58" y="72"/>
                  </a:cxn>
                  <a:cxn ang="0">
                    <a:pos x="50" y="70"/>
                  </a:cxn>
                  <a:cxn ang="0">
                    <a:pos x="46" y="66"/>
                  </a:cxn>
                  <a:cxn ang="0">
                    <a:pos x="40" y="80"/>
                  </a:cxn>
                  <a:cxn ang="0">
                    <a:pos x="26" y="86"/>
                  </a:cxn>
                  <a:cxn ang="0">
                    <a:pos x="22" y="70"/>
                  </a:cxn>
                  <a:cxn ang="0">
                    <a:pos x="20" y="58"/>
                  </a:cxn>
                  <a:cxn ang="0">
                    <a:pos x="14" y="52"/>
                  </a:cxn>
                  <a:cxn ang="0">
                    <a:pos x="16" y="40"/>
                  </a:cxn>
                  <a:cxn ang="0">
                    <a:pos x="8" y="34"/>
                  </a:cxn>
                  <a:cxn ang="0">
                    <a:pos x="6" y="28"/>
                  </a:cxn>
                  <a:cxn ang="0">
                    <a:pos x="10" y="26"/>
                  </a:cxn>
                  <a:cxn ang="0">
                    <a:pos x="10" y="18"/>
                  </a:cxn>
                  <a:cxn ang="0">
                    <a:pos x="2" y="10"/>
                  </a:cxn>
                  <a:cxn ang="0">
                    <a:pos x="0" y="4"/>
                  </a:cxn>
                  <a:cxn ang="0">
                    <a:pos x="6" y="0"/>
                  </a:cxn>
                  <a:cxn ang="0">
                    <a:pos x="24" y="10"/>
                  </a:cxn>
                  <a:cxn ang="0">
                    <a:pos x="28" y="16"/>
                  </a:cxn>
                  <a:cxn ang="0">
                    <a:pos x="28" y="22"/>
                  </a:cxn>
                  <a:cxn ang="0">
                    <a:pos x="34" y="26"/>
                  </a:cxn>
                  <a:cxn ang="0">
                    <a:pos x="46" y="26"/>
                  </a:cxn>
                  <a:cxn ang="0">
                    <a:pos x="70" y="30"/>
                  </a:cxn>
                  <a:cxn ang="0">
                    <a:pos x="56" y="56"/>
                  </a:cxn>
                  <a:cxn ang="0">
                    <a:pos x="62" y="62"/>
                  </a:cxn>
                  <a:cxn ang="0">
                    <a:pos x="68" y="56"/>
                  </a:cxn>
                  <a:cxn ang="0">
                    <a:pos x="70" y="50"/>
                  </a:cxn>
                  <a:cxn ang="0">
                    <a:pos x="78" y="66"/>
                  </a:cxn>
                  <a:cxn ang="0">
                    <a:pos x="82" y="78"/>
                  </a:cxn>
                  <a:cxn ang="0">
                    <a:pos x="82" y="82"/>
                  </a:cxn>
                </a:cxnLst>
                <a:rect l="0" t="0" r="r" b="b"/>
                <a:pathLst>
                  <a:path w="84" h="96">
                    <a:moveTo>
                      <a:pt x="82" y="82"/>
                    </a:moveTo>
                    <a:lnTo>
                      <a:pt x="80" y="86"/>
                    </a:lnTo>
                    <a:lnTo>
                      <a:pt x="78" y="96"/>
                    </a:lnTo>
                    <a:lnTo>
                      <a:pt x="74" y="88"/>
                    </a:lnTo>
                    <a:lnTo>
                      <a:pt x="72" y="84"/>
                    </a:lnTo>
                    <a:lnTo>
                      <a:pt x="70" y="76"/>
                    </a:lnTo>
                    <a:lnTo>
                      <a:pt x="64" y="70"/>
                    </a:lnTo>
                    <a:lnTo>
                      <a:pt x="58" y="72"/>
                    </a:lnTo>
                    <a:lnTo>
                      <a:pt x="52" y="72"/>
                    </a:lnTo>
                    <a:lnTo>
                      <a:pt x="50" y="70"/>
                    </a:lnTo>
                    <a:lnTo>
                      <a:pt x="48" y="68"/>
                    </a:lnTo>
                    <a:lnTo>
                      <a:pt x="46" y="66"/>
                    </a:lnTo>
                    <a:lnTo>
                      <a:pt x="46" y="72"/>
                    </a:lnTo>
                    <a:lnTo>
                      <a:pt x="40" y="80"/>
                    </a:lnTo>
                    <a:lnTo>
                      <a:pt x="32" y="84"/>
                    </a:lnTo>
                    <a:lnTo>
                      <a:pt x="26" y="86"/>
                    </a:lnTo>
                    <a:lnTo>
                      <a:pt x="24" y="76"/>
                    </a:lnTo>
                    <a:lnTo>
                      <a:pt x="22" y="70"/>
                    </a:lnTo>
                    <a:lnTo>
                      <a:pt x="22" y="62"/>
                    </a:lnTo>
                    <a:lnTo>
                      <a:pt x="20" y="58"/>
                    </a:lnTo>
                    <a:lnTo>
                      <a:pt x="18" y="54"/>
                    </a:lnTo>
                    <a:lnTo>
                      <a:pt x="14" y="52"/>
                    </a:lnTo>
                    <a:lnTo>
                      <a:pt x="14" y="50"/>
                    </a:lnTo>
                    <a:lnTo>
                      <a:pt x="16" y="40"/>
                    </a:lnTo>
                    <a:lnTo>
                      <a:pt x="10" y="36"/>
                    </a:lnTo>
                    <a:lnTo>
                      <a:pt x="8" y="34"/>
                    </a:lnTo>
                    <a:lnTo>
                      <a:pt x="6" y="30"/>
                    </a:lnTo>
                    <a:lnTo>
                      <a:pt x="6" y="28"/>
                    </a:lnTo>
                    <a:lnTo>
                      <a:pt x="8" y="26"/>
                    </a:lnTo>
                    <a:lnTo>
                      <a:pt x="10" y="26"/>
                    </a:lnTo>
                    <a:lnTo>
                      <a:pt x="12" y="22"/>
                    </a:lnTo>
                    <a:lnTo>
                      <a:pt x="10" y="18"/>
                    </a:lnTo>
                    <a:lnTo>
                      <a:pt x="6" y="14"/>
                    </a:lnTo>
                    <a:lnTo>
                      <a:pt x="2" y="10"/>
                    </a:lnTo>
                    <a:lnTo>
                      <a:pt x="0" y="6"/>
                    </a:lnTo>
                    <a:lnTo>
                      <a:pt x="0" y="4"/>
                    </a:lnTo>
                    <a:lnTo>
                      <a:pt x="2" y="2"/>
                    </a:lnTo>
                    <a:lnTo>
                      <a:pt x="6" y="0"/>
                    </a:lnTo>
                    <a:lnTo>
                      <a:pt x="20" y="6"/>
                    </a:lnTo>
                    <a:lnTo>
                      <a:pt x="24" y="10"/>
                    </a:lnTo>
                    <a:lnTo>
                      <a:pt x="28" y="12"/>
                    </a:lnTo>
                    <a:lnTo>
                      <a:pt x="28" y="16"/>
                    </a:lnTo>
                    <a:lnTo>
                      <a:pt x="28" y="20"/>
                    </a:lnTo>
                    <a:lnTo>
                      <a:pt x="28" y="22"/>
                    </a:lnTo>
                    <a:lnTo>
                      <a:pt x="30" y="24"/>
                    </a:lnTo>
                    <a:lnTo>
                      <a:pt x="34" y="26"/>
                    </a:lnTo>
                    <a:lnTo>
                      <a:pt x="38" y="26"/>
                    </a:lnTo>
                    <a:lnTo>
                      <a:pt x="46" y="26"/>
                    </a:lnTo>
                    <a:lnTo>
                      <a:pt x="70" y="26"/>
                    </a:lnTo>
                    <a:lnTo>
                      <a:pt x="70" y="30"/>
                    </a:lnTo>
                    <a:lnTo>
                      <a:pt x="52" y="50"/>
                    </a:lnTo>
                    <a:lnTo>
                      <a:pt x="56" y="56"/>
                    </a:lnTo>
                    <a:lnTo>
                      <a:pt x="60" y="60"/>
                    </a:lnTo>
                    <a:lnTo>
                      <a:pt x="62" y="62"/>
                    </a:lnTo>
                    <a:lnTo>
                      <a:pt x="66" y="60"/>
                    </a:lnTo>
                    <a:lnTo>
                      <a:pt x="68" y="56"/>
                    </a:lnTo>
                    <a:lnTo>
                      <a:pt x="68" y="52"/>
                    </a:lnTo>
                    <a:lnTo>
                      <a:pt x="70" y="50"/>
                    </a:lnTo>
                    <a:lnTo>
                      <a:pt x="74" y="56"/>
                    </a:lnTo>
                    <a:lnTo>
                      <a:pt x="78" y="66"/>
                    </a:lnTo>
                    <a:lnTo>
                      <a:pt x="78" y="76"/>
                    </a:lnTo>
                    <a:lnTo>
                      <a:pt x="82" y="78"/>
                    </a:lnTo>
                    <a:lnTo>
                      <a:pt x="84" y="80"/>
                    </a:lnTo>
                    <a:lnTo>
                      <a:pt x="82" y="8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8" name="Freeform 21"/>
              <p:cNvSpPr>
                <a:spLocks noChangeAspect="1"/>
              </p:cNvSpPr>
              <p:nvPr/>
            </p:nvSpPr>
            <p:spPr bwMode="auto">
              <a:xfrm>
                <a:off x="5113557" y="3858248"/>
                <a:ext cx="610730" cy="595180"/>
              </a:xfrm>
              <a:custGeom>
                <a:avLst/>
                <a:gdLst/>
                <a:ahLst/>
                <a:cxnLst>
                  <a:cxn ang="0">
                    <a:pos x="428" y="152"/>
                  </a:cxn>
                  <a:cxn ang="0">
                    <a:pos x="408" y="172"/>
                  </a:cxn>
                  <a:cxn ang="0">
                    <a:pos x="408" y="196"/>
                  </a:cxn>
                  <a:cxn ang="0">
                    <a:pos x="394" y="214"/>
                  </a:cxn>
                  <a:cxn ang="0">
                    <a:pos x="388" y="250"/>
                  </a:cxn>
                  <a:cxn ang="0">
                    <a:pos x="374" y="226"/>
                  </a:cxn>
                  <a:cxn ang="0">
                    <a:pos x="362" y="232"/>
                  </a:cxn>
                  <a:cxn ang="0">
                    <a:pos x="370" y="196"/>
                  </a:cxn>
                  <a:cxn ang="0">
                    <a:pos x="328" y="192"/>
                  </a:cxn>
                  <a:cxn ang="0">
                    <a:pos x="320" y="176"/>
                  </a:cxn>
                  <a:cxn ang="0">
                    <a:pos x="302" y="180"/>
                  </a:cxn>
                  <a:cxn ang="0">
                    <a:pos x="308" y="196"/>
                  </a:cxn>
                  <a:cxn ang="0">
                    <a:pos x="316" y="210"/>
                  </a:cxn>
                  <a:cxn ang="0">
                    <a:pos x="322" y="232"/>
                  </a:cxn>
                  <a:cxn ang="0">
                    <a:pos x="310" y="256"/>
                  </a:cxn>
                  <a:cxn ang="0">
                    <a:pos x="292" y="288"/>
                  </a:cxn>
                  <a:cxn ang="0">
                    <a:pos x="266" y="306"/>
                  </a:cxn>
                  <a:cxn ang="0">
                    <a:pos x="222" y="360"/>
                  </a:cxn>
                  <a:cxn ang="0">
                    <a:pos x="198" y="382"/>
                  </a:cxn>
                  <a:cxn ang="0">
                    <a:pos x="206" y="426"/>
                  </a:cxn>
                  <a:cxn ang="0">
                    <a:pos x="204" y="450"/>
                  </a:cxn>
                  <a:cxn ang="0">
                    <a:pos x="194" y="472"/>
                  </a:cxn>
                  <a:cxn ang="0">
                    <a:pos x="186" y="490"/>
                  </a:cxn>
                  <a:cxn ang="0">
                    <a:pos x="170" y="502"/>
                  </a:cxn>
                  <a:cxn ang="0">
                    <a:pos x="142" y="466"/>
                  </a:cxn>
                  <a:cxn ang="0">
                    <a:pos x="110" y="388"/>
                  </a:cxn>
                  <a:cxn ang="0">
                    <a:pos x="76" y="284"/>
                  </a:cxn>
                  <a:cxn ang="0">
                    <a:pos x="66" y="258"/>
                  </a:cxn>
                  <a:cxn ang="0">
                    <a:pos x="44" y="276"/>
                  </a:cxn>
                  <a:cxn ang="0">
                    <a:pos x="20" y="246"/>
                  </a:cxn>
                  <a:cxn ang="0">
                    <a:pos x="24" y="240"/>
                  </a:cxn>
                  <a:cxn ang="0">
                    <a:pos x="0" y="220"/>
                  </a:cxn>
                  <a:cxn ang="0">
                    <a:pos x="12" y="210"/>
                  </a:cxn>
                  <a:cxn ang="0">
                    <a:pos x="38" y="204"/>
                  </a:cxn>
                  <a:cxn ang="0">
                    <a:pos x="20" y="178"/>
                  </a:cxn>
                  <a:cxn ang="0">
                    <a:pos x="8" y="160"/>
                  </a:cxn>
                  <a:cxn ang="0">
                    <a:pos x="26" y="144"/>
                  </a:cxn>
                  <a:cxn ang="0">
                    <a:pos x="52" y="124"/>
                  </a:cxn>
                  <a:cxn ang="0">
                    <a:pos x="68" y="92"/>
                  </a:cxn>
                  <a:cxn ang="0">
                    <a:pos x="78" y="66"/>
                  </a:cxn>
                  <a:cxn ang="0">
                    <a:pos x="52" y="34"/>
                  </a:cxn>
                  <a:cxn ang="0">
                    <a:pos x="62" y="20"/>
                  </a:cxn>
                  <a:cxn ang="0">
                    <a:pos x="88" y="18"/>
                  </a:cxn>
                  <a:cxn ang="0">
                    <a:pos x="128" y="0"/>
                  </a:cxn>
                  <a:cxn ang="0">
                    <a:pos x="140" y="16"/>
                  </a:cxn>
                  <a:cxn ang="0">
                    <a:pos x="134" y="48"/>
                  </a:cxn>
                  <a:cxn ang="0">
                    <a:pos x="134" y="68"/>
                  </a:cxn>
                  <a:cxn ang="0">
                    <a:pos x="156" y="88"/>
                  </a:cxn>
                  <a:cxn ang="0">
                    <a:pos x="168" y="126"/>
                  </a:cxn>
                  <a:cxn ang="0">
                    <a:pos x="220" y="154"/>
                  </a:cxn>
                  <a:cxn ang="0">
                    <a:pos x="248" y="164"/>
                  </a:cxn>
                  <a:cxn ang="0">
                    <a:pos x="298" y="168"/>
                  </a:cxn>
                  <a:cxn ang="0">
                    <a:pos x="294" y="148"/>
                  </a:cxn>
                  <a:cxn ang="0">
                    <a:pos x="308" y="158"/>
                  </a:cxn>
                  <a:cxn ang="0">
                    <a:pos x="348" y="166"/>
                  </a:cxn>
                  <a:cxn ang="0">
                    <a:pos x="364" y="140"/>
                  </a:cxn>
                  <a:cxn ang="0">
                    <a:pos x="394" y="120"/>
                  </a:cxn>
                  <a:cxn ang="0">
                    <a:pos x="406" y="116"/>
                  </a:cxn>
                  <a:cxn ang="0">
                    <a:pos x="424" y="134"/>
                  </a:cxn>
                </a:cxnLst>
                <a:rect l="0" t="0" r="r" b="b"/>
                <a:pathLst>
                  <a:path w="434" h="502">
                    <a:moveTo>
                      <a:pt x="434" y="132"/>
                    </a:moveTo>
                    <a:lnTo>
                      <a:pt x="434" y="140"/>
                    </a:lnTo>
                    <a:lnTo>
                      <a:pt x="432" y="146"/>
                    </a:lnTo>
                    <a:lnTo>
                      <a:pt x="434" y="152"/>
                    </a:lnTo>
                    <a:lnTo>
                      <a:pt x="428" y="152"/>
                    </a:lnTo>
                    <a:lnTo>
                      <a:pt x="422" y="154"/>
                    </a:lnTo>
                    <a:lnTo>
                      <a:pt x="414" y="160"/>
                    </a:lnTo>
                    <a:lnTo>
                      <a:pt x="408" y="166"/>
                    </a:lnTo>
                    <a:lnTo>
                      <a:pt x="406" y="168"/>
                    </a:lnTo>
                    <a:lnTo>
                      <a:pt x="408" y="172"/>
                    </a:lnTo>
                    <a:lnTo>
                      <a:pt x="410" y="174"/>
                    </a:lnTo>
                    <a:lnTo>
                      <a:pt x="404" y="192"/>
                    </a:lnTo>
                    <a:lnTo>
                      <a:pt x="404" y="194"/>
                    </a:lnTo>
                    <a:lnTo>
                      <a:pt x="406" y="196"/>
                    </a:lnTo>
                    <a:lnTo>
                      <a:pt x="408" y="196"/>
                    </a:lnTo>
                    <a:lnTo>
                      <a:pt x="406" y="202"/>
                    </a:lnTo>
                    <a:lnTo>
                      <a:pt x="404" y="206"/>
                    </a:lnTo>
                    <a:lnTo>
                      <a:pt x="398" y="216"/>
                    </a:lnTo>
                    <a:lnTo>
                      <a:pt x="396" y="216"/>
                    </a:lnTo>
                    <a:lnTo>
                      <a:pt x="394" y="214"/>
                    </a:lnTo>
                    <a:lnTo>
                      <a:pt x="390" y="218"/>
                    </a:lnTo>
                    <a:lnTo>
                      <a:pt x="388" y="218"/>
                    </a:lnTo>
                    <a:lnTo>
                      <a:pt x="390" y="222"/>
                    </a:lnTo>
                    <a:lnTo>
                      <a:pt x="390" y="226"/>
                    </a:lnTo>
                    <a:lnTo>
                      <a:pt x="388" y="250"/>
                    </a:lnTo>
                    <a:lnTo>
                      <a:pt x="384" y="250"/>
                    </a:lnTo>
                    <a:lnTo>
                      <a:pt x="382" y="248"/>
                    </a:lnTo>
                    <a:lnTo>
                      <a:pt x="380" y="246"/>
                    </a:lnTo>
                    <a:lnTo>
                      <a:pt x="378" y="236"/>
                    </a:lnTo>
                    <a:lnTo>
                      <a:pt x="374" y="226"/>
                    </a:lnTo>
                    <a:lnTo>
                      <a:pt x="370" y="220"/>
                    </a:lnTo>
                    <a:lnTo>
                      <a:pt x="368" y="222"/>
                    </a:lnTo>
                    <a:lnTo>
                      <a:pt x="368" y="226"/>
                    </a:lnTo>
                    <a:lnTo>
                      <a:pt x="366" y="230"/>
                    </a:lnTo>
                    <a:lnTo>
                      <a:pt x="362" y="232"/>
                    </a:lnTo>
                    <a:lnTo>
                      <a:pt x="360" y="230"/>
                    </a:lnTo>
                    <a:lnTo>
                      <a:pt x="356" y="226"/>
                    </a:lnTo>
                    <a:lnTo>
                      <a:pt x="352" y="220"/>
                    </a:lnTo>
                    <a:lnTo>
                      <a:pt x="370" y="200"/>
                    </a:lnTo>
                    <a:lnTo>
                      <a:pt x="370" y="196"/>
                    </a:lnTo>
                    <a:lnTo>
                      <a:pt x="346" y="196"/>
                    </a:lnTo>
                    <a:lnTo>
                      <a:pt x="338" y="196"/>
                    </a:lnTo>
                    <a:lnTo>
                      <a:pt x="334" y="196"/>
                    </a:lnTo>
                    <a:lnTo>
                      <a:pt x="330" y="194"/>
                    </a:lnTo>
                    <a:lnTo>
                      <a:pt x="328" y="192"/>
                    </a:lnTo>
                    <a:lnTo>
                      <a:pt x="328" y="190"/>
                    </a:lnTo>
                    <a:lnTo>
                      <a:pt x="328" y="186"/>
                    </a:lnTo>
                    <a:lnTo>
                      <a:pt x="328" y="182"/>
                    </a:lnTo>
                    <a:lnTo>
                      <a:pt x="324" y="180"/>
                    </a:lnTo>
                    <a:lnTo>
                      <a:pt x="320" y="176"/>
                    </a:lnTo>
                    <a:lnTo>
                      <a:pt x="306" y="170"/>
                    </a:lnTo>
                    <a:lnTo>
                      <a:pt x="302" y="172"/>
                    </a:lnTo>
                    <a:lnTo>
                      <a:pt x="300" y="174"/>
                    </a:lnTo>
                    <a:lnTo>
                      <a:pt x="300" y="176"/>
                    </a:lnTo>
                    <a:lnTo>
                      <a:pt x="302" y="180"/>
                    </a:lnTo>
                    <a:lnTo>
                      <a:pt x="306" y="184"/>
                    </a:lnTo>
                    <a:lnTo>
                      <a:pt x="310" y="188"/>
                    </a:lnTo>
                    <a:lnTo>
                      <a:pt x="312" y="192"/>
                    </a:lnTo>
                    <a:lnTo>
                      <a:pt x="310" y="196"/>
                    </a:lnTo>
                    <a:lnTo>
                      <a:pt x="308" y="196"/>
                    </a:lnTo>
                    <a:lnTo>
                      <a:pt x="306" y="198"/>
                    </a:lnTo>
                    <a:lnTo>
                      <a:pt x="306" y="200"/>
                    </a:lnTo>
                    <a:lnTo>
                      <a:pt x="308" y="204"/>
                    </a:lnTo>
                    <a:lnTo>
                      <a:pt x="310" y="206"/>
                    </a:lnTo>
                    <a:lnTo>
                      <a:pt x="316" y="210"/>
                    </a:lnTo>
                    <a:lnTo>
                      <a:pt x="314" y="220"/>
                    </a:lnTo>
                    <a:lnTo>
                      <a:pt x="314" y="222"/>
                    </a:lnTo>
                    <a:lnTo>
                      <a:pt x="318" y="224"/>
                    </a:lnTo>
                    <a:lnTo>
                      <a:pt x="320" y="228"/>
                    </a:lnTo>
                    <a:lnTo>
                      <a:pt x="322" y="232"/>
                    </a:lnTo>
                    <a:lnTo>
                      <a:pt x="322" y="240"/>
                    </a:lnTo>
                    <a:lnTo>
                      <a:pt x="324" y="246"/>
                    </a:lnTo>
                    <a:lnTo>
                      <a:pt x="326" y="256"/>
                    </a:lnTo>
                    <a:lnTo>
                      <a:pt x="318" y="256"/>
                    </a:lnTo>
                    <a:lnTo>
                      <a:pt x="310" y="256"/>
                    </a:lnTo>
                    <a:lnTo>
                      <a:pt x="312" y="256"/>
                    </a:lnTo>
                    <a:lnTo>
                      <a:pt x="302" y="260"/>
                    </a:lnTo>
                    <a:lnTo>
                      <a:pt x="298" y="266"/>
                    </a:lnTo>
                    <a:lnTo>
                      <a:pt x="296" y="282"/>
                    </a:lnTo>
                    <a:lnTo>
                      <a:pt x="292" y="288"/>
                    </a:lnTo>
                    <a:lnTo>
                      <a:pt x="286" y="290"/>
                    </a:lnTo>
                    <a:lnTo>
                      <a:pt x="280" y="292"/>
                    </a:lnTo>
                    <a:lnTo>
                      <a:pt x="272" y="296"/>
                    </a:lnTo>
                    <a:lnTo>
                      <a:pt x="270" y="300"/>
                    </a:lnTo>
                    <a:lnTo>
                      <a:pt x="266" y="306"/>
                    </a:lnTo>
                    <a:lnTo>
                      <a:pt x="260" y="318"/>
                    </a:lnTo>
                    <a:lnTo>
                      <a:pt x="246" y="334"/>
                    </a:lnTo>
                    <a:lnTo>
                      <a:pt x="232" y="352"/>
                    </a:lnTo>
                    <a:lnTo>
                      <a:pt x="226" y="358"/>
                    </a:lnTo>
                    <a:lnTo>
                      <a:pt x="222" y="360"/>
                    </a:lnTo>
                    <a:lnTo>
                      <a:pt x="212" y="364"/>
                    </a:lnTo>
                    <a:lnTo>
                      <a:pt x="206" y="366"/>
                    </a:lnTo>
                    <a:lnTo>
                      <a:pt x="202" y="370"/>
                    </a:lnTo>
                    <a:lnTo>
                      <a:pt x="200" y="376"/>
                    </a:lnTo>
                    <a:lnTo>
                      <a:pt x="198" y="382"/>
                    </a:lnTo>
                    <a:lnTo>
                      <a:pt x="200" y="388"/>
                    </a:lnTo>
                    <a:lnTo>
                      <a:pt x="202" y="398"/>
                    </a:lnTo>
                    <a:lnTo>
                      <a:pt x="206" y="406"/>
                    </a:lnTo>
                    <a:lnTo>
                      <a:pt x="208" y="416"/>
                    </a:lnTo>
                    <a:lnTo>
                      <a:pt x="206" y="426"/>
                    </a:lnTo>
                    <a:lnTo>
                      <a:pt x="204" y="432"/>
                    </a:lnTo>
                    <a:lnTo>
                      <a:pt x="202" y="436"/>
                    </a:lnTo>
                    <a:lnTo>
                      <a:pt x="202" y="442"/>
                    </a:lnTo>
                    <a:lnTo>
                      <a:pt x="202" y="446"/>
                    </a:lnTo>
                    <a:lnTo>
                      <a:pt x="204" y="450"/>
                    </a:lnTo>
                    <a:lnTo>
                      <a:pt x="206" y="452"/>
                    </a:lnTo>
                    <a:lnTo>
                      <a:pt x="206" y="456"/>
                    </a:lnTo>
                    <a:lnTo>
                      <a:pt x="204" y="464"/>
                    </a:lnTo>
                    <a:lnTo>
                      <a:pt x="198" y="468"/>
                    </a:lnTo>
                    <a:lnTo>
                      <a:pt x="194" y="472"/>
                    </a:lnTo>
                    <a:lnTo>
                      <a:pt x="192" y="478"/>
                    </a:lnTo>
                    <a:lnTo>
                      <a:pt x="194" y="484"/>
                    </a:lnTo>
                    <a:lnTo>
                      <a:pt x="196" y="486"/>
                    </a:lnTo>
                    <a:lnTo>
                      <a:pt x="188" y="488"/>
                    </a:lnTo>
                    <a:lnTo>
                      <a:pt x="186" y="490"/>
                    </a:lnTo>
                    <a:lnTo>
                      <a:pt x="184" y="492"/>
                    </a:lnTo>
                    <a:lnTo>
                      <a:pt x="182" y="496"/>
                    </a:lnTo>
                    <a:lnTo>
                      <a:pt x="178" y="500"/>
                    </a:lnTo>
                    <a:lnTo>
                      <a:pt x="174" y="502"/>
                    </a:lnTo>
                    <a:lnTo>
                      <a:pt x="170" y="502"/>
                    </a:lnTo>
                    <a:lnTo>
                      <a:pt x="164" y="500"/>
                    </a:lnTo>
                    <a:lnTo>
                      <a:pt x="160" y="496"/>
                    </a:lnTo>
                    <a:lnTo>
                      <a:pt x="154" y="490"/>
                    </a:lnTo>
                    <a:lnTo>
                      <a:pt x="150" y="482"/>
                    </a:lnTo>
                    <a:lnTo>
                      <a:pt x="142" y="466"/>
                    </a:lnTo>
                    <a:lnTo>
                      <a:pt x="138" y="450"/>
                    </a:lnTo>
                    <a:lnTo>
                      <a:pt x="134" y="438"/>
                    </a:lnTo>
                    <a:lnTo>
                      <a:pt x="126" y="420"/>
                    </a:lnTo>
                    <a:lnTo>
                      <a:pt x="118" y="404"/>
                    </a:lnTo>
                    <a:lnTo>
                      <a:pt x="110" y="388"/>
                    </a:lnTo>
                    <a:lnTo>
                      <a:pt x="100" y="360"/>
                    </a:lnTo>
                    <a:lnTo>
                      <a:pt x="86" y="332"/>
                    </a:lnTo>
                    <a:lnTo>
                      <a:pt x="82" y="316"/>
                    </a:lnTo>
                    <a:lnTo>
                      <a:pt x="78" y="302"/>
                    </a:lnTo>
                    <a:lnTo>
                      <a:pt x="76" y="284"/>
                    </a:lnTo>
                    <a:lnTo>
                      <a:pt x="76" y="268"/>
                    </a:lnTo>
                    <a:lnTo>
                      <a:pt x="74" y="260"/>
                    </a:lnTo>
                    <a:lnTo>
                      <a:pt x="72" y="256"/>
                    </a:lnTo>
                    <a:lnTo>
                      <a:pt x="68" y="248"/>
                    </a:lnTo>
                    <a:lnTo>
                      <a:pt x="66" y="258"/>
                    </a:lnTo>
                    <a:lnTo>
                      <a:pt x="62" y="268"/>
                    </a:lnTo>
                    <a:lnTo>
                      <a:pt x="58" y="276"/>
                    </a:lnTo>
                    <a:lnTo>
                      <a:pt x="54" y="278"/>
                    </a:lnTo>
                    <a:lnTo>
                      <a:pt x="50" y="278"/>
                    </a:lnTo>
                    <a:lnTo>
                      <a:pt x="44" y="276"/>
                    </a:lnTo>
                    <a:lnTo>
                      <a:pt x="38" y="274"/>
                    </a:lnTo>
                    <a:lnTo>
                      <a:pt x="28" y="266"/>
                    </a:lnTo>
                    <a:lnTo>
                      <a:pt x="20" y="256"/>
                    </a:lnTo>
                    <a:lnTo>
                      <a:pt x="14" y="248"/>
                    </a:lnTo>
                    <a:lnTo>
                      <a:pt x="20" y="246"/>
                    </a:lnTo>
                    <a:lnTo>
                      <a:pt x="24" y="244"/>
                    </a:lnTo>
                    <a:lnTo>
                      <a:pt x="30" y="240"/>
                    </a:lnTo>
                    <a:lnTo>
                      <a:pt x="32" y="234"/>
                    </a:lnTo>
                    <a:lnTo>
                      <a:pt x="24" y="238"/>
                    </a:lnTo>
                    <a:lnTo>
                      <a:pt x="24" y="240"/>
                    </a:lnTo>
                    <a:lnTo>
                      <a:pt x="20" y="242"/>
                    </a:lnTo>
                    <a:lnTo>
                      <a:pt x="14" y="238"/>
                    </a:lnTo>
                    <a:lnTo>
                      <a:pt x="8" y="232"/>
                    </a:lnTo>
                    <a:lnTo>
                      <a:pt x="2" y="224"/>
                    </a:lnTo>
                    <a:lnTo>
                      <a:pt x="0" y="220"/>
                    </a:lnTo>
                    <a:lnTo>
                      <a:pt x="0" y="214"/>
                    </a:lnTo>
                    <a:lnTo>
                      <a:pt x="2" y="212"/>
                    </a:lnTo>
                    <a:lnTo>
                      <a:pt x="4" y="210"/>
                    </a:lnTo>
                    <a:lnTo>
                      <a:pt x="8" y="210"/>
                    </a:lnTo>
                    <a:lnTo>
                      <a:pt x="12" y="210"/>
                    </a:lnTo>
                    <a:lnTo>
                      <a:pt x="16" y="212"/>
                    </a:lnTo>
                    <a:lnTo>
                      <a:pt x="20" y="214"/>
                    </a:lnTo>
                    <a:lnTo>
                      <a:pt x="30" y="212"/>
                    </a:lnTo>
                    <a:lnTo>
                      <a:pt x="36" y="208"/>
                    </a:lnTo>
                    <a:lnTo>
                      <a:pt x="38" y="204"/>
                    </a:lnTo>
                    <a:lnTo>
                      <a:pt x="36" y="196"/>
                    </a:lnTo>
                    <a:lnTo>
                      <a:pt x="32" y="192"/>
                    </a:lnTo>
                    <a:lnTo>
                      <a:pt x="24" y="184"/>
                    </a:lnTo>
                    <a:lnTo>
                      <a:pt x="22" y="182"/>
                    </a:lnTo>
                    <a:lnTo>
                      <a:pt x="20" y="178"/>
                    </a:lnTo>
                    <a:lnTo>
                      <a:pt x="20" y="170"/>
                    </a:lnTo>
                    <a:lnTo>
                      <a:pt x="18" y="168"/>
                    </a:lnTo>
                    <a:lnTo>
                      <a:pt x="14" y="168"/>
                    </a:lnTo>
                    <a:lnTo>
                      <a:pt x="10" y="164"/>
                    </a:lnTo>
                    <a:lnTo>
                      <a:pt x="8" y="160"/>
                    </a:lnTo>
                    <a:lnTo>
                      <a:pt x="10" y="156"/>
                    </a:lnTo>
                    <a:lnTo>
                      <a:pt x="14" y="150"/>
                    </a:lnTo>
                    <a:lnTo>
                      <a:pt x="18" y="144"/>
                    </a:lnTo>
                    <a:lnTo>
                      <a:pt x="22" y="142"/>
                    </a:lnTo>
                    <a:lnTo>
                      <a:pt x="26" y="144"/>
                    </a:lnTo>
                    <a:lnTo>
                      <a:pt x="30" y="146"/>
                    </a:lnTo>
                    <a:lnTo>
                      <a:pt x="34" y="146"/>
                    </a:lnTo>
                    <a:lnTo>
                      <a:pt x="38" y="142"/>
                    </a:lnTo>
                    <a:lnTo>
                      <a:pt x="44" y="136"/>
                    </a:lnTo>
                    <a:lnTo>
                      <a:pt x="52" y="124"/>
                    </a:lnTo>
                    <a:lnTo>
                      <a:pt x="56" y="118"/>
                    </a:lnTo>
                    <a:lnTo>
                      <a:pt x="58" y="110"/>
                    </a:lnTo>
                    <a:lnTo>
                      <a:pt x="62" y="104"/>
                    </a:lnTo>
                    <a:lnTo>
                      <a:pt x="66" y="98"/>
                    </a:lnTo>
                    <a:lnTo>
                      <a:pt x="68" y="92"/>
                    </a:lnTo>
                    <a:lnTo>
                      <a:pt x="72" y="88"/>
                    </a:lnTo>
                    <a:lnTo>
                      <a:pt x="72" y="74"/>
                    </a:lnTo>
                    <a:lnTo>
                      <a:pt x="74" y="70"/>
                    </a:lnTo>
                    <a:lnTo>
                      <a:pt x="78" y="68"/>
                    </a:lnTo>
                    <a:lnTo>
                      <a:pt x="78" y="66"/>
                    </a:lnTo>
                    <a:lnTo>
                      <a:pt x="80" y="62"/>
                    </a:lnTo>
                    <a:lnTo>
                      <a:pt x="72" y="58"/>
                    </a:lnTo>
                    <a:lnTo>
                      <a:pt x="62" y="50"/>
                    </a:lnTo>
                    <a:lnTo>
                      <a:pt x="54" y="38"/>
                    </a:lnTo>
                    <a:lnTo>
                      <a:pt x="52" y="34"/>
                    </a:lnTo>
                    <a:lnTo>
                      <a:pt x="52" y="30"/>
                    </a:lnTo>
                    <a:lnTo>
                      <a:pt x="50" y="28"/>
                    </a:lnTo>
                    <a:lnTo>
                      <a:pt x="54" y="22"/>
                    </a:lnTo>
                    <a:lnTo>
                      <a:pt x="58" y="18"/>
                    </a:lnTo>
                    <a:lnTo>
                      <a:pt x="62" y="20"/>
                    </a:lnTo>
                    <a:lnTo>
                      <a:pt x="66" y="22"/>
                    </a:lnTo>
                    <a:lnTo>
                      <a:pt x="68" y="22"/>
                    </a:lnTo>
                    <a:lnTo>
                      <a:pt x="72" y="24"/>
                    </a:lnTo>
                    <a:lnTo>
                      <a:pt x="80" y="22"/>
                    </a:lnTo>
                    <a:lnTo>
                      <a:pt x="88" y="18"/>
                    </a:lnTo>
                    <a:lnTo>
                      <a:pt x="98" y="10"/>
                    </a:lnTo>
                    <a:lnTo>
                      <a:pt x="108" y="4"/>
                    </a:lnTo>
                    <a:lnTo>
                      <a:pt x="114" y="0"/>
                    </a:lnTo>
                    <a:lnTo>
                      <a:pt x="120" y="0"/>
                    </a:lnTo>
                    <a:lnTo>
                      <a:pt x="128" y="0"/>
                    </a:lnTo>
                    <a:lnTo>
                      <a:pt x="134" y="4"/>
                    </a:lnTo>
                    <a:lnTo>
                      <a:pt x="136" y="4"/>
                    </a:lnTo>
                    <a:lnTo>
                      <a:pt x="142" y="6"/>
                    </a:lnTo>
                    <a:lnTo>
                      <a:pt x="142" y="12"/>
                    </a:lnTo>
                    <a:lnTo>
                      <a:pt x="140" y="16"/>
                    </a:lnTo>
                    <a:lnTo>
                      <a:pt x="134" y="24"/>
                    </a:lnTo>
                    <a:lnTo>
                      <a:pt x="132" y="32"/>
                    </a:lnTo>
                    <a:lnTo>
                      <a:pt x="130" y="38"/>
                    </a:lnTo>
                    <a:lnTo>
                      <a:pt x="132" y="42"/>
                    </a:lnTo>
                    <a:lnTo>
                      <a:pt x="134" y="48"/>
                    </a:lnTo>
                    <a:lnTo>
                      <a:pt x="142" y="56"/>
                    </a:lnTo>
                    <a:lnTo>
                      <a:pt x="140" y="58"/>
                    </a:lnTo>
                    <a:lnTo>
                      <a:pt x="138" y="58"/>
                    </a:lnTo>
                    <a:lnTo>
                      <a:pt x="132" y="60"/>
                    </a:lnTo>
                    <a:lnTo>
                      <a:pt x="134" y="68"/>
                    </a:lnTo>
                    <a:lnTo>
                      <a:pt x="134" y="72"/>
                    </a:lnTo>
                    <a:lnTo>
                      <a:pt x="136" y="76"/>
                    </a:lnTo>
                    <a:lnTo>
                      <a:pt x="138" y="80"/>
                    </a:lnTo>
                    <a:lnTo>
                      <a:pt x="146" y="84"/>
                    </a:lnTo>
                    <a:lnTo>
                      <a:pt x="156" y="88"/>
                    </a:lnTo>
                    <a:lnTo>
                      <a:pt x="164" y="96"/>
                    </a:lnTo>
                    <a:lnTo>
                      <a:pt x="172" y="104"/>
                    </a:lnTo>
                    <a:lnTo>
                      <a:pt x="168" y="112"/>
                    </a:lnTo>
                    <a:lnTo>
                      <a:pt x="166" y="122"/>
                    </a:lnTo>
                    <a:lnTo>
                      <a:pt x="168" y="126"/>
                    </a:lnTo>
                    <a:lnTo>
                      <a:pt x="170" y="128"/>
                    </a:lnTo>
                    <a:lnTo>
                      <a:pt x="176" y="132"/>
                    </a:lnTo>
                    <a:lnTo>
                      <a:pt x="198" y="142"/>
                    </a:lnTo>
                    <a:lnTo>
                      <a:pt x="210" y="150"/>
                    </a:lnTo>
                    <a:lnTo>
                      <a:pt x="220" y="154"/>
                    </a:lnTo>
                    <a:lnTo>
                      <a:pt x="230" y="150"/>
                    </a:lnTo>
                    <a:lnTo>
                      <a:pt x="234" y="152"/>
                    </a:lnTo>
                    <a:lnTo>
                      <a:pt x="238" y="152"/>
                    </a:lnTo>
                    <a:lnTo>
                      <a:pt x="244" y="158"/>
                    </a:lnTo>
                    <a:lnTo>
                      <a:pt x="248" y="164"/>
                    </a:lnTo>
                    <a:lnTo>
                      <a:pt x="264" y="168"/>
                    </a:lnTo>
                    <a:lnTo>
                      <a:pt x="278" y="170"/>
                    </a:lnTo>
                    <a:lnTo>
                      <a:pt x="288" y="170"/>
                    </a:lnTo>
                    <a:lnTo>
                      <a:pt x="296" y="170"/>
                    </a:lnTo>
                    <a:lnTo>
                      <a:pt x="298" y="168"/>
                    </a:lnTo>
                    <a:lnTo>
                      <a:pt x="298" y="166"/>
                    </a:lnTo>
                    <a:lnTo>
                      <a:pt x="298" y="162"/>
                    </a:lnTo>
                    <a:lnTo>
                      <a:pt x="296" y="158"/>
                    </a:lnTo>
                    <a:lnTo>
                      <a:pt x="294" y="154"/>
                    </a:lnTo>
                    <a:lnTo>
                      <a:pt x="294" y="148"/>
                    </a:lnTo>
                    <a:lnTo>
                      <a:pt x="294" y="144"/>
                    </a:lnTo>
                    <a:lnTo>
                      <a:pt x="298" y="142"/>
                    </a:lnTo>
                    <a:lnTo>
                      <a:pt x="304" y="140"/>
                    </a:lnTo>
                    <a:lnTo>
                      <a:pt x="306" y="148"/>
                    </a:lnTo>
                    <a:lnTo>
                      <a:pt x="308" y="158"/>
                    </a:lnTo>
                    <a:lnTo>
                      <a:pt x="314" y="164"/>
                    </a:lnTo>
                    <a:lnTo>
                      <a:pt x="318" y="166"/>
                    </a:lnTo>
                    <a:lnTo>
                      <a:pt x="322" y="166"/>
                    </a:lnTo>
                    <a:lnTo>
                      <a:pt x="342" y="166"/>
                    </a:lnTo>
                    <a:lnTo>
                      <a:pt x="348" y="166"/>
                    </a:lnTo>
                    <a:lnTo>
                      <a:pt x="352" y="164"/>
                    </a:lnTo>
                    <a:lnTo>
                      <a:pt x="354" y="162"/>
                    </a:lnTo>
                    <a:lnTo>
                      <a:pt x="358" y="158"/>
                    </a:lnTo>
                    <a:lnTo>
                      <a:pt x="360" y="150"/>
                    </a:lnTo>
                    <a:lnTo>
                      <a:pt x="364" y="140"/>
                    </a:lnTo>
                    <a:lnTo>
                      <a:pt x="368" y="134"/>
                    </a:lnTo>
                    <a:lnTo>
                      <a:pt x="376" y="126"/>
                    </a:lnTo>
                    <a:lnTo>
                      <a:pt x="382" y="122"/>
                    </a:lnTo>
                    <a:lnTo>
                      <a:pt x="392" y="118"/>
                    </a:lnTo>
                    <a:lnTo>
                      <a:pt x="394" y="120"/>
                    </a:lnTo>
                    <a:lnTo>
                      <a:pt x="396" y="120"/>
                    </a:lnTo>
                    <a:lnTo>
                      <a:pt x="400" y="122"/>
                    </a:lnTo>
                    <a:lnTo>
                      <a:pt x="402" y="120"/>
                    </a:lnTo>
                    <a:lnTo>
                      <a:pt x="406" y="118"/>
                    </a:lnTo>
                    <a:lnTo>
                      <a:pt x="406" y="116"/>
                    </a:lnTo>
                    <a:lnTo>
                      <a:pt x="412" y="116"/>
                    </a:lnTo>
                    <a:lnTo>
                      <a:pt x="420" y="124"/>
                    </a:lnTo>
                    <a:lnTo>
                      <a:pt x="420" y="128"/>
                    </a:lnTo>
                    <a:lnTo>
                      <a:pt x="420" y="130"/>
                    </a:lnTo>
                    <a:lnTo>
                      <a:pt x="424" y="134"/>
                    </a:lnTo>
                    <a:lnTo>
                      <a:pt x="430" y="136"/>
                    </a:lnTo>
                    <a:lnTo>
                      <a:pt x="434" y="136"/>
                    </a:lnTo>
                    <a:lnTo>
                      <a:pt x="434" y="13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9" name="Freeform 22"/>
              <p:cNvSpPr>
                <a:spLocks noChangeAspect="1"/>
              </p:cNvSpPr>
              <p:nvPr/>
            </p:nvSpPr>
            <p:spPr bwMode="auto">
              <a:xfrm>
                <a:off x="5543231" y="4022847"/>
                <a:ext cx="70261" cy="32204"/>
              </a:xfrm>
              <a:custGeom>
                <a:avLst/>
                <a:gdLst/>
                <a:ahLst/>
                <a:cxnLst>
                  <a:cxn ang="0">
                    <a:pos x="50" y="20"/>
                  </a:cxn>
                  <a:cxn ang="0">
                    <a:pos x="46" y="14"/>
                  </a:cxn>
                  <a:cxn ang="0">
                    <a:pos x="36" y="6"/>
                  </a:cxn>
                  <a:cxn ang="0">
                    <a:pos x="26" y="2"/>
                  </a:cxn>
                  <a:cxn ang="0">
                    <a:pos x="16" y="0"/>
                  </a:cxn>
                  <a:cxn ang="0">
                    <a:pos x="12" y="2"/>
                  </a:cxn>
                  <a:cxn ang="0">
                    <a:pos x="8" y="4"/>
                  </a:cxn>
                  <a:cxn ang="0">
                    <a:pos x="4" y="10"/>
                  </a:cxn>
                  <a:cxn ang="0">
                    <a:pos x="0" y="14"/>
                  </a:cxn>
                  <a:cxn ang="0">
                    <a:pos x="2" y="18"/>
                  </a:cxn>
                  <a:cxn ang="0">
                    <a:pos x="2" y="20"/>
                  </a:cxn>
                  <a:cxn ang="0">
                    <a:pos x="10" y="28"/>
                  </a:cxn>
                  <a:cxn ang="0">
                    <a:pos x="16" y="28"/>
                  </a:cxn>
                  <a:cxn ang="0">
                    <a:pos x="36" y="28"/>
                  </a:cxn>
                  <a:cxn ang="0">
                    <a:pos x="42" y="28"/>
                  </a:cxn>
                  <a:cxn ang="0">
                    <a:pos x="46" y="26"/>
                  </a:cxn>
                  <a:cxn ang="0">
                    <a:pos x="50" y="22"/>
                  </a:cxn>
                  <a:cxn ang="0">
                    <a:pos x="50" y="20"/>
                  </a:cxn>
                </a:cxnLst>
                <a:rect l="0" t="0" r="r" b="b"/>
                <a:pathLst>
                  <a:path w="50" h="28">
                    <a:moveTo>
                      <a:pt x="50" y="20"/>
                    </a:moveTo>
                    <a:lnTo>
                      <a:pt x="46" y="14"/>
                    </a:lnTo>
                    <a:lnTo>
                      <a:pt x="36" y="6"/>
                    </a:lnTo>
                    <a:lnTo>
                      <a:pt x="26" y="2"/>
                    </a:lnTo>
                    <a:lnTo>
                      <a:pt x="16" y="0"/>
                    </a:lnTo>
                    <a:lnTo>
                      <a:pt x="12" y="2"/>
                    </a:lnTo>
                    <a:lnTo>
                      <a:pt x="8" y="4"/>
                    </a:lnTo>
                    <a:lnTo>
                      <a:pt x="4" y="10"/>
                    </a:lnTo>
                    <a:lnTo>
                      <a:pt x="0" y="14"/>
                    </a:lnTo>
                    <a:lnTo>
                      <a:pt x="2" y="18"/>
                    </a:lnTo>
                    <a:lnTo>
                      <a:pt x="2" y="20"/>
                    </a:lnTo>
                    <a:lnTo>
                      <a:pt x="10" y="28"/>
                    </a:lnTo>
                    <a:lnTo>
                      <a:pt x="16" y="28"/>
                    </a:lnTo>
                    <a:lnTo>
                      <a:pt x="36" y="28"/>
                    </a:lnTo>
                    <a:lnTo>
                      <a:pt x="42" y="28"/>
                    </a:lnTo>
                    <a:lnTo>
                      <a:pt x="46" y="26"/>
                    </a:lnTo>
                    <a:lnTo>
                      <a:pt x="50" y="22"/>
                    </a:lnTo>
                    <a:lnTo>
                      <a:pt x="50" y="2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0" name="Freeform 23"/>
              <p:cNvSpPr>
                <a:spLocks noChangeAspect="1"/>
              </p:cNvSpPr>
              <p:nvPr/>
            </p:nvSpPr>
            <p:spPr bwMode="auto">
              <a:xfrm>
                <a:off x="5348661" y="3976330"/>
                <a:ext cx="186462" cy="83492"/>
              </a:xfrm>
              <a:custGeom>
                <a:avLst/>
                <a:gdLst/>
                <a:ahLst/>
                <a:cxnLst>
                  <a:cxn ang="0">
                    <a:pos x="128" y="46"/>
                  </a:cxn>
                  <a:cxn ang="0">
                    <a:pos x="110" y="46"/>
                  </a:cxn>
                  <a:cxn ang="0">
                    <a:pos x="104" y="44"/>
                  </a:cxn>
                  <a:cxn ang="0">
                    <a:pos x="98" y="40"/>
                  </a:cxn>
                  <a:cxn ang="0">
                    <a:pos x="96" y="40"/>
                  </a:cxn>
                  <a:cxn ang="0">
                    <a:pos x="94" y="40"/>
                  </a:cxn>
                  <a:cxn ang="0">
                    <a:pos x="90" y="40"/>
                  </a:cxn>
                  <a:cxn ang="0">
                    <a:pos x="84" y="38"/>
                  </a:cxn>
                  <a:cxn ang="0">
                    <a:pos x="80" y="36"/>
                  </a:cxn>
                  <a:cxn ang="0">
                    <a:pos x="76" y="32"/>
                  </a:cxn>
                  <a:cxn ang="0">
                    <a:pos x="74" y="30"/>
                  </a:cxn>
                  <a:cxn ang="0">
                    <a:pos x="62" y="26"/>
                  </a:cxn>
                  <a:cxn ang="0">
                    <a:pos x="52" y="22"/>
                  </a:cxn>
                  <a:cxn ang="0">
                    <a:pos x="44" y="16"/>
                  </a:cxn>
                  <a:cxn ang="0">
                    <a:pos x="34" y="8"/>
                  </a:cxn>
                  <a:cxn ang="0">
                    <a:pos x="22" y="0"/>
                  </a:cxn>
                  <a:cxn ang="0">
                    <a:pos x="20" y="0"/>
                  </a:cxn>
                  <a:cxn ang="0">
                    <a:pos x="18" y="2"/>
                  </a:cxn>
                  <a:cxn ang="0">
                    <a:pos x="16" y="4"/>
                  </a:cxn>
                  <a:cxn ang="0">
                    <a:pos x="12" y="4"/>
                  </a:cxn>
                  <a:cxn ang="0">
                    <a:pos x="6" y="4"/>
                  </a:cxn>
                  <a:cxn ang="0">
                    <a:pos x="2" y="12"/>
                  </a:cxn>
                  <a:cxn ang="0">
                    <a:pos x="0" y="22"/>
                  </a:cxn>
                  <a:cxn ang="0">
                    <a:pos x="2" y="26"/>
                  </a:cxn>
                  <a:cxn ang="0">
                    <a:pos x="4" y="28"/>
                  </a:cxn>
                  <a:cxn ang="0">
                    <a:pos x="10" y="32"/>
                  </a:cxn>
                  <a:cxn ang="0">
                    <a:pos x="32" y="42"/>
                  </a:cxn>
                  <a:cxn ang="0">
                    <a:pos x="44" y="50"/>
                  </a:cxn>
                  <a:cxn ang="0">
                    <a:pos x="54" y="54"/>
                  </a:cxn>
                  <a:cxn ang="0">
                    <a:pos x="64" y="50"/>
                  </a:cxn>
                  <a:cxn ang="0">
                    <a:pos x="68" y="52"/>
                  </a:cxn>
                  <a:cxn ang="0">
                    <a:pos x="72" y="52"/>
                  </a:cxn>
                  <a:cxn ang="0">
                    <a:pos x="78" y="58"/>
                  </a:cxn>
                  <a:cxn ang="0">
                    <a:pos x="82" y="64"/>
                  </a:cxn>
                  <a:cxn ang="0">
                    <a:pos x="98" y="68"/>
                  </a:cxn>
                  <a:cxn ang="0">
                    <a:pos x="112" y="70"/>
                  </a:cxn>
                  <a:cxn ang="0">
                    <a:pos x="122" y="70"/>
                  </a:cxn>
                  <a:cxn ang="0">
                    <a:pos x="130" y="70"/>
                  </a:cxn>
                  <a:cxn ang="0">
                    <a:pos x="132" y="68"/>
                  </a:cxn>
                  <a:cxn ang="0">
                    <a:pos x="132" y="66"/>
                  </a:cxn>
                  <a:cxn ang="0">
                    <a:pos x="132" y="62"/>
                  </a:cxn>
                  <a:cxn ang="0">
                    <a:pos x="130" y="58"/>
                  </a:cxn>
                  <a:cxn ang="0">
                    <a:pos x="128" y="54"/>
                  </a:cxn>
                  <a:cxn ang="0">
                    <a:pos x="128" y="48"/>
                  </a:cxn>
                  <a:cxn ang="0">
                    <a:pos x="128" y="46"/>
                  </a:cxn>
                </a:cxnLst>
                <a:rect l="0" t="0" r="r" b="b"/>
                <a:pathLst>
                  <a:path w="132" h="70">
                    <a:moveTo>
                      <a:pt x="128" y="46"/>
                    </a:moveTo>
                    <a:lnTo>
                      <a:pt x="110" y="46"/>
                    </a:lnTo>
                    <a:lnTo>
                      <a:pt x="104" y="44"/>
                    </a:lnTo>
                    <a:lnTo>
                      <a:pt x="98" y="40"/>
                    </a:lnTo>
                    <a:lnTo>
                      <a:pt x="96" y="40"/>
                    </a:lnTo>
                    <a:lnTo>
                      <a:pt x="94" y="40"/>
                    </a:lnTo>
                    <a:lnTo>
                      <a:pt x="90" y="40"/>
                    </a:lnTo>
                    <a:lnTo>
                      <a:pt x="84" y="38"/>
                    </a:lnTo>
                    <a:lnTo>
                      <a:pt x="80" y="36"/>
                    </a:lnTo>
                    <a:lnTo>
                      <a:pt x="76" y="32"/>
                    </a:lnTo>
                    <a:lnTo>
                      <a:pt x="74" y="30"/>
                    </a:lnTo>
                    <a:lnTo>
                      <a:pt x="62" y="26"/>
                    </a:lnTo>
                    <a:lnTo>
                      <a:pt x="52" y="22"/>
                    </a:lnTo>
                    <a:lnTo>
                      <a:pt x="44" y="16"/>
                    </a:lnTo>
                    <a:lnTo>
                      <a:pt x="34" y="8"/>
                    </a:lnTo>
                    <a:lnTo>
                      <a:pt x="22" y="0"/>
                    </a:lnTo>
                    <a:lnTo>
                      <a:pt x="20" y="0"/>
                    </a:lnTo>
                    <a:lnTo>
                      <a:pt x="18" y="2"/>
                    </a:lnTo>
                    <a:lnTo>
                      <a:pt x="16" y="4"/>
                    </a:lnTo>
                    <a:lnTo>
                      <a:pt x="12" y="4"/>
                    </a:lnTo>
                    <a:lnTo>
                      <a:pt x="6" y="4"/>
                    </a:lnTo>
                    <a:lnTo>
                      <a:pt x="2" y="12"/>
                    </a:lnTo>
                    <a:lnTo>
                      <a:pt x="0" y="22"/>
                    </a:lnTo>
                    <a:lnTo>
                      <a:pt x="2" y="26"/>
                    </a:lnTo>
                    <a:lnTo>
                      <a:pt x="4" y="28"/>
                    </a:lnTo>
                    <a:lnTo>
                      <a:pt x="10" y="32"/>
                    </a:lnTo>
                    <a:lnTo>
                      <a:pt x="32" y="42"/>
                    </a:lnTo>
                    <a:lnTo>
                      <a:pt x="44" y="50"/>
                    </a:lnTo>
                    <a:lnTo>
                      <a:pt x="54" y="54"/>
                    </a:lnTo>
                    <a:lnTo>
                      <a:pt x="64" y="50"/>
                    </a:lnTo>
                    <a:lnTo>
                      <a:pt x="68" y="52"/>
                    </a:lnTo>
                    <a:lnTo>
                      <a:pt x="72" y="52"/>
                    </a:lnTo>
                    <a:lnTo>
                      <a:pt x="78" y="58"/>
                    </a:lnTo>
                    <a:lnTo>
                      <a:pt x="82" y="64"/>
                    </a:lnTo>
                    <a:lnTo>
                      <a:pt x="98" y="68"/>
                    </a:lnTo>
                    <a:lnTo>
                      <a:pt x="112" y="70"/>
                    </a:lnTo>
                    <a:lnTo>
                      <a:pt x="122" y="70"/>
                    </a:lnTo>
                    <a:lnTo>
                      <a:pt x="130" y="70"/>
                    </a:lnTo>
                    <a:lnTo>
                      <a:pt x="132" y="68"/>
                    </a:lnTo>
                    <a:lnTo>
                      <a:pt x="132" y="66"/>
                    </a:lnTo>
                    <a:lnTo>
                      <a:pt x="132" y="62"/>
                    </a:lnTo>
                    <a:lnTo>
                      <a:pt x="130" y="58"/>
                    </a:lnTo>
                    <a:lnTo>
                      <a:pt x="128" y="54"/>
                    </a:lnTo>
                    <a:lnTo>
                      <a:pt x="128" y="48"/>
                    </a:lnTo>
                    <a:lnTo>
                      <a:pt x="128" y="4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1" name="Freeform 24"/>
              <p:cNvSpPr>
                <a:spLocks noChangeAspect="1"/>
              </p:cNvSpPr>
              <p:nvPr/>
            </p:nvSpPr>
            <p:spPr bwMode="auto">
              <a:xfrm>
                <a:off x="4921692" y="3832009"/>
                <a:ext cx="337793" cy="287451"/>
              </a:xfrm>
              <a:custGeom>
                <a:avLst/>
                <a:gdLst/>
                <a:ahLst/>
                <a:cxnLst>
                  <a:cxn ang="0">
                    <a:pos x="230" y="26"/>
                  </a:cxn>
                  <a:cxn ang="0">
                    <a:pos x="214" y="22"/>
                  </a:cxn>
                  <a:cxn ang="0">
                    <a:pos x="200" y="4"/>
                  </a:cxn>
                  <a:cxn ang="0">
                    <a:pos x="174" y="2"/>
                  </a:cxn>
                  <a:cxn ang="0">
                    <a:pos x="148" y="6"/>
                  </a:cxn>
                  <a:cxn ang="0">
                    <a:pos x="138" y="16"/>
                  </a:cxn>
                  <a:cxn ang="0">
                    <a:pos x="146" y="28"/>
                  </a:cxn>
                  <a:cxn ang="0">
                    <a:pos x="140" y="48"/>
                  </a:cxn>
                  <a:cxn ang="0">
                    <a:pos x="132" y="64"/>
                  </a:cxn>
                  <a:cxn ang="0">
                    <a:pos x="126" y="76"/>
                  </a:cxn>
                  <a:cxn ang="0">
                    <a:pos x="122" y="88"/>
                  </a:cxn>
                  <a:cxn ang="0">
                    <a:pos x="120" y="96"/>
                  </a:cxn>
                  <a:cxn ang="0">
                    <a:pos x="104" y="100"/>
                  </a:cxn>
                  <a:cxn ang="0">
                    <a:pos x="96" y="108"/>
                  </a:cxn>
                  <a:cxn ang="0">
                    <a:pos x="82" y="112"/>
                  </a:cxn>
                  <a:cxn ang="0">
                    <a:pos x="84" y="126"/>
                  </a:cxn>
                  <a:cxn ang="0">
                    <a:pos x="68" y="136"/>
                  </a:cxn>
                  <a:cxn ang="0">
                    <a:pos x="34" y="138"/>
                  </a:cxn>
                  <a:cxn ang="0">
                    <a:pos x="0" y="134"/>
                  </a:cxn>
                  <a:cxn ang="0">
                    <a:pos x="18" y="148"/>
                  </a:cxn>
                  <a:cxn ang="0">
                    <a:pos x="32" y="156"/>
                  </a:cxn>
                  <a:cxn ang="0">
                    <a:pos x="42" y="174"/>
                  </a:cxn>
                  <a:cxn ang="0">
                    <a:pos x="40" y="184"/>
                  </a:cxn>
                  <a:cxn ang="0">
                    <a:pos x="24" y="198"/>
                  </a:cxn>
                  <a:cxn ang="0">
                    <a:pos x="30" y="216"/>
                  </a:cxn>
                  <a:cxn ang="0">
                    <a:pos x="72" y="218"/>
                  </a:cxn>
                  <a:cxn ang="0">
                    <a:pos x="104" y="208"/>
                  </a:cxn>
                  <a:cxn ang="0">
                    <a:pos x="118" y="234"/>
                  </a:cxn>
                  <a:cxn ang="0">
                    <a:pos x="136" y="242"/>
                  </a:cxn>
                  <a:cxn ang="0">
                    <a:pos x="140" y="232"/>
                  </a:cxn>
                  <a:cxn ang="0">
                    <a:pos x="152" y="234"/>
                  </a:cxn>
                  <a:cxn ang="0">
                    <a:pos x="172" y="230"/>
                  </a:cxn>
                  <a:cxn ang="0">
                    <a:pos x="168" y="214"/>
                  </a:cxn>
                  <a:cxn ang="0">
                    <a:pos x="156" y="200"/>
                  </a:cxn>
                  <a:cxn ang="0">
                    <a:pos x="150" y="190"/>
                  </a:cxn>
                  <a:cxn ang="0">
                    <a:pos x="146" y="178"/>
                  </a:cxn>
                  <a:cxn ang="0">
                    <a:pos x="158" y="164"/>
                  </a:cxn>
                  <a:cxn ang="0">
                    <a:pos x="170" y="168"/>
                  </a:cxn>
                  <a:cxn ang="0">
                    <a:pos x="188" y="146"/>
                  </a:cxn>
                  <a:cxn ang="0">
                    <a:pos x="198" y="126"/>
                  </a:cxn>
                  <a:cxn ang="0">
                    <a:pos x="208" y="110"/>
                  </a:cxn>
                  <a:cxn ang="0">
                    <a:pos x="214" y="90"/>
                  </a:cxn>
                  <a:cxn ang="0">
                    <a:pos x="208" y="80"/>
                  </a:cxn>
                  <a:cxn ang="0">
                    <a:pos x="188" y="56"/>
                  </a:cxn>
                  <a:cxn ang="0">
                    <a:pos x="190" y="44"/>
                  </a:cxn>
                  <a:cxn ang="0">
                    <a:pos x="202" y="44"/>
                  </a:cxn>
                  <a:cxn ang="0">
                    <a:pos x="216" y="44"/>
                  </a:cxn>
                  <a:cxn ang="0">
                    <a:pos x="238" y="28"/>
                  </a:cxn>
                </a:cxnLst>
                <a:rect l="0" t="0" r="r" b="b"/>
                <a:pathLst>
                  <a:path w="240" h="242">
                    <a:moveTo>
                      <a:pt x="238" y="28"/>
                    </a:moveTo>
                    <a:lnTo>
                      <a:pt x="234" y="26"/>
                    </a:lnTo>
                    <a:lnTo>
                      <a:pt x="230" y="26"/>
                    </a:lnTo>
                    <a:lnTo>
                      <a:pt x="224" y="24"/>
                    </a:lnTo>
                    <a:lnTo>
                      <a:pt x="218" y="24"/>
                    </a:lnTo>
                    <a:lnTo>
                      <a:pt x="214" y="22"/>
                    </a:lnTo>
                    <a:lnTo>
                      <a:pt x="210" y="18"/>
                    </a:lnTo>
                    <a:lnTo>
                      <a:pt x="206" y="10"/>
                    </a:lnTo>
                    <a:lnTo>
                      <a:pt x="200" y="4"/>
                    </a:lnTo>
                    <a:lnTo>
                      <a:pt x="192" y="0"/>
                    </a:lnTo>
                    <a:lnTo>
                      <a:pt x="184" y="0"/>
                    </a:lnTo>
                    <a:lnTo>
                      <a:pt x="174" y="2"/>
                    </a:lnTo>
                    <a:lnTo>
                      <a:pt x="164" y="2"/>
                    </a:lnTo>
                    <a:lnTo>
                      <a:pt x="154" y="4"/>
                    </a:lnTo>
                    <a:lnTo>
                      <a:pt x="148" y="6"/>
                    </a:lnTo>
                    <a:lnTo>
                      <a:pt x="142" y="8"/>
                    </a:lnTo>
                    <a:lnTo>
                      <a:pt x="140" y="12"/>
                    </a:lnTo>
                    <a:lnTo>
                      <a:pt x="138" y="16"/>
                    </a:lnTo>
                    <a:lnTo>
                      <a:pt x="140" y="20"/>
                    </a:lnTo>
                    <a:lnTo>
                      <a:pt x="142" y="24"/>
                    </a:lnTo>
                    <a:lnTo>
                      <a:pt x="146" y="28"/>
                    </a:lnTo>
                    <a:lnTo>
                      <a:pt x="148" y="34"/>
                    </a:lnTo>
                    <a:lnTo>
                      <a:pt x="146" y="40"/>
                    </a:lnTo>
                    <a:lnTo>
                      <a:pt x="140" y="48"/>
                    </a:lnTo>
                    <a:lnTo>
                      <a:pt x="136" y="54"/>
                    </a:lnTo>
                    <a:lnTo>
                      <a:pt x="132" y="60"/>
                    </a:lnTo>
                    <a:lnTo>
                      <a:pt x="132" y="64"/>
                    </a:lnTo>
                    <a:lnTo>
                      <a:pt x="132" y="68"/>
                    </a:lnTo>
                    <a:lnTo>
                      <a:pt x="132" y="70"/>
                    </a:lnTo>
                    <a:lnTo>
                      <a:pt x="126" y="76"/>
                    </a:lnTo>
                    <a:lnTo>
                      <a:pt x="124" y="80"/>
                    </a:lnTo>
                    <a:lnTo>
                      <a:pt x="122" y="84"/>
                    </a:lnTo>
                    <a:lnTo>
                      <a:pt x="122" y="88"/>
                    </a:lnTo>
                    <a:lnTo>
                      <a:pt x="126" y="90"/>
                    </a:lnTo>
                    <a:lnTo>
                      <a:pt x="124" y="94"/>
                    </a:lnTo>
                    <a:lnTo>
                      <a:pt x="120" y="96"/>
                    </a:lnTo>
                    <a:lnTo>
                      <a:pt x="114" y="96"/>
                    </a:lnTo>
                    <a:lnTo>
                      <a:pt x="106" y="96"/>
                    </a:lnTo>
                    <a:lnTo>
                      <a:pt x="104" y="100"/>
                    </a:lnTo>
                    <a:lnTo>
                      <a:pt x="100" y="104"/>
                    </a:lnTo>
                    <a:lnTo>
                      <a:pt x="98" y="106"/>
                    </a:lnTo>
                    <a:lnTo>
                      <a:pt x="96" y="108"/>
                    </a:lnTo>
                    <a:lnTo>
                      <a:pt x="90" y="108"/>
                    </a:lnTo>
                    <a:lnTo>
                      <a:pt x="86" y="108"/>
                    </a:lnTo>
                    <a:lnTo>
                      <a:pt x="82" y="112"/>
                    </a:lnTo>
                    <a:lnTo>
                      <a:pt x="80" y="116"/>
                    </a:lnTo>
                    <a:lnTo>
                      <a:pt x="82" y="120"/>
                    </a:lnTo>
                    <a:lnTo>
                      <a:pt x="84" y="126"/>
                    </a:lnTo>
                    <a:lnTo>
                      <a:pt x="84" y="128"/>
                    </a:lnTo>
                    <a:lnTo>
                      <a:pt x="80" y="132"/>
                    </a:lnTo>
                    <a:lnTo>
                      <a:pt x="68" y="136"/>
                    </a:lnTo>
                    <a:lnTo>
                      <a:pt x="54" y="138"/>
                    </a:lnTo>
                    <a:lnTo>
                      <a:pt x="44" y="138"/>
                    </a:lnTo>
                    <a:lnTo>
                      <a:pt x="34" y="138"/>
                    </a:lnTo>
                    <a:lnTo>
                      <a:pt x="24" y="136"/>
                    </a:lnTo>
                    <a:lnTo>
                      <a:pt x="12" y="136"/>
                    </a:lnTo>
                    <a:lnTo>
                      <a:pt x="0" y="134"/>
                    </a:lnTo>
                    <a:lnTo>
                      <a:pt x="6" y="136"/>
                    </a:lnTo>
                    <a:lnTo>
                      <a:pt x="12" y="140"/>
                    </a:lnTo>
                    <a:lnTo>
                      <a:pt x="18" y="148"/>
                    </a:lnTo>
                    <a:lnTo>
                      <a:pt x="24" y="154"/>
                    </a:lnTo>
                    <a:lnTo>
                      <a:pt x="28" y="154"/>
                    </a:lnTo>
                    <a:lnTo>
                      <a:pt x="32" y="156"/>
                    </a:lnTo>
                    <a:lnTo>
                      <a:pt x="34" y="162"/>
                    </a:lnTo>
                    <a:lnTo>
                      <a:pt x="36" y="170"/>
                    </a:lnTo>
                    <a:lnTo>
                      <a:pt x="42" y="174"/>
                    </a:lnTo>
                    <a:lnTo>
                      <a:pt x="46" y="178"/>
                    </a:lnTo>
                    <a:lnTo>
                      <a:pt x="44" y="182"/>
                    </a:lnTo>
                    <a:lnTo>
                      <a:pt x="40" y="184"/>
                    </a:lnTo>
                    <a:lnTo>
                      <a:pt x="30" y="190"/>
                    </a:lnTo>
                    <a:lnTo>
                      <a:pt x="26" y="192"/>
                    </a:lnTo>
                    <a:lnTo>
                      <a:pt x="24" y="198"/>
                    </a:lnTo>
                    <a:lnTo>
                      <a:pt x="22" y="202"/>
                    </a:lnTo>
                    <a:lnTo>
                      <a:pt x="22" y="210"/>
                    </a:lnTo>
                    <a:lnTo>
                      <a:pt x="30" y="216"/>
                    </a:lnTo>
                    <a:lnTo>
                      <a:pt x="34" y="216"/>
                    </a:lnTo>
                    <a:lnTo>
                      <a:pt x="42" y="218"/>
                    </a:lnTo>
                    <a:lnTo>
                      <a:pt x="72" y="218"/>
                    </a:lnTo>
                    <a:lnTo>
                      <a:pt x="80" y="216"/>
                    </a:lnTo>
                    <a:lnTo>
                      <a:pt x="88" y="214"/>
                    </a:lnTo>
                    <a:lnTo>
                      <a:pt x="104" y="208"/>
                    </a:lnTo>
                    <a:lnTo>
                      <a:pt x="108" y="220"/>
                    </a:lnTo>
                    <a:lnTo>
                      <a:pt x="114" y="230"/>
                    </a:lnTo>
                    <a:lnTo>
                      <a:pt x="118" y="234"/>
                    </a:lnTo>
                    <a:lnTo>
                      <a:pt x="122" y="238"/>
                    </a:lnTo>
                    <a:lnTo>
                      <a:pt x="128" y="240"/>
                    </a:lnTo>
                    <a:lnTo>
                      <a:pt x="136" y="242"/>
                    </a:lnTo>
                    <a:lnTo>
                      <a:pt x="136" y="236"/>
                    </a:lnTo>
                    <a:lnTo>
                      <a:pt x="138" y="234"/>
                    </a:lnTo>
                    <a:lnTo>
                      <a:pt x="140" y="232"/>
                    </a:lnTo>
                    <a:lnTo>
                      <a:pt x="144" y="232"/>
                    </a:lnTo>
                    <a:lnTo>
                      <a:pt x="148" y="232"/>
                    </a:lnTo>
                    <a:lnTo>
                      <a:pt x="152" y="234"/>
                    </a:lnTo>
                    <a:lnTo>
                      <a:pt x="156" y="236"/>
                    </a:lnTo>
                    <a:lnTo>
                      <a:pt x="166" y="234"/>
                    </a:lnTo>
                    <a:lnTo>
                      <a:pt x="172" y="230"/>
                    </a:lnTo>
                    <a:lnTo>
                      <a:pt x="174" y="226"/>
                    </a:lnTo>
                    <a:lnTo>
                      <a:pt x="172" y="218"/>
                    </a:lnTo>
                    <a:lnTo>
                      <a:pt x="168" y="214"/>
                    </a:lnTo>
                    <a:lnTo>
                      <a:pt x="160" y="206"/>
                    </a:lnTo>
                    <a:lnTo>
                      <a:pt x="158" y="204"/>
                    </a:lnTo>
                    <a:lnTo>
                      <a:pt x="156" y="200"/>
                    </a:lnTo>
                    <a:lnTo>
                      <a:pt x="156" y="192"/>
                    </a:lnTo>
                    <a:lnTo>
                      <a:pt x="154" y="190"/>
                    </a:lnTo>
                    <a:lnTo>
                      <a:pt x="150" y="190"/>
                    </a:lnTo>
                    <a:lnTo>
                      <a:pt x="146" y="186"/>
                    </a:lnTo>
                    <a:lnTo>
                      <a:pt x="144" y="182"/>
                    </a:lnTo>
                    <a:lnTo>
                      <a:pt x="146" y="178"/>
                    </a:lnTo>
                    <a:lnTo>
                      <a:pt x="150" y="172"/>
                    </a:lnTo>
                    <a:lnTo>
                      <a:pt x="154" y="166"/>
                    </a:lnTo>
                    <a:lnTo>
                      <a:pt x="158" y="164"/>
                    </a:lnTo>
                    <a:lnTo>
                      <a:pt x="162" y="166"/>
                    </a:lnTo>
                    <a:lnTo>
                      <a:pt x="166" y="168"/>
                    </a:lnTo>
                    <a:lnTo>
                      <a:pt x="170" y="168"/>
                    </a:lnTo>
                    <a:lnTo>
                      <a:pt x="174" y="164"/>
                    </a:lnTo>
                    <a:lnTo>
                      <a:pt x="180" y="158"/>
                    </a:lnTo>
                    <a:lnTo>
                      <a:pt x="188" y="146"/>
                    </a:lnTo>
                    <a:lnTo>
                      <a:pt x="192" y="140"/>
                    </a:lnTo>
                    <a:lnTo>
                      <a:pt x="194" y="132"/>
                    </a:lnTo>
                    <a:lnTo>
                      <a:pt x="198" y="126"/>
                    </a:lnTo>
                    <a:lnTo>
                      <a:pt x="202" y="120"/>
                    </a:lnTo>
                    <a:lnTo>
                      <a:pt x="204" y="114"/>
                    </a:lnTo>
                    <a:lnTo>
                      <a:pt x="208" y="110"/>
                    </a:lnTo>
                    <a:lnTo>
                      <a:pt x="208" y="96"/>
                    </a:lnTo>
                    <a:lnTo>
                      <a:pt x="210" y="92"/>
                    </a:lnTo>
                    <a:lnTo>
                      <a:pt x="214" y="90"/>
                    </a:lnTo>
                    <a:lnTo>
                      <a:pt x="214" y="88"/>
                    </a:lnTo>
                    <a:lnTo>
                      <a:pt x="216" y="84"/>
                    </a:lnTo>
                    <a:lnTo>
                      <a:pt x="208" y="80"/>
                    </a:lnTo>
                    <a:lnTo>
                      <a:pt x="198" y="72"/>
                    </a:lnTo>
                    <a:lnTo>
                      <a:pt x="190" y="60"/>
                    </a:lnTo>
                    <a:lnTo>
                      <a:pt x="188" y="56"/>
                    </a:lnTo>
                    <a:lnTo>
                      <a:pt x="188" y="52"/>
                    </a:lnTo>
                    <a:lnTo>
                      <a:pt x="186" y="50"/>
                    </a:lnTo>
                    <a:lnTo>
                      <a:pt x="190" y="44"/>
                    </a:lnTo>
                    <a:lnTo>
                      <a:pt x="194" y="40"/>
                    </a:lnTo>
                    <a:lnTo>
                      <a:pt x="198" y="42"/>
                    </a:lnTo>
                    <a:lnTo>
                      <a:pt x="202" y="44"/>
                    </a:lnTo>
                    <a:lnTo>
                      <a:pt x="204" y="44"/>
                    </a:lnTo>
                    <a:lnTo>
                      <a:pt x="208" y="46"/>
                    </a:lnTo>
                    <a:lnTo>
                      <a:pt x="216" y="44"/>
                    </a:lnTo>
                    <a:lnTo>
                      <a:pt x="224" y="40"/>
                    </a:lnTo>
                    <a:lnTo>
                      <a:pt x="240" y="28"/>
                    </a:lnTo>
                    <a:lnTo>
                      <a:pt x="238" y="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2" name="Freeform 25"/>
              <p:cNvSpPr>
                <a:spLocks noChangeAspect="1"/>
              </p:cNvSpPr>
              <p:nvPr/>
            </p:nvSpPr>
            <p:spPr bwMode="auto">
              <a:xfrm>
                <a:off x="4900072" y="3796225"/>
                <a:ext cx="281044" cy="199188"/>
              </a:xfrm>
              <a:custGeom>
                <a:avLst/>
                <a:gdLst/>
                <a:ahLst/>
                <a:cxnLst>
                  <a:cxn ang="0">
                    <a:pos x="174" y="26"/>
                  </a:cxn>
                  <a:cxn ang="0">
                    <a:pos x="160" y="28"/>
                  </a:cxn>
                  <a:cxn ang="0">
                    <a:pos x="152" y="24"/>
                  </a:cxn>
                  <a:cxn ang="0">
                    <a:pos x="144" y="8"/>
                  </a:cxn>
                  <a:cxn ang="0">
                    <a:pos x="136" y="0"/>
                  </a:cxn>
                  <a:cxn ang="0">
                    <a:pos x="122" y="16"/>
                  </a:cxn>
                  <a:cxn ang="0">
                    <a:pos x="108" y="26"/>
                  </a:cxn>
                  <a:cxn ang="0">
                    <a:pos x="74" y="28"/>
                  </a:cxn>
                  <a:cxn ang="0">
                    <a:pos x="46" y="42"/>
                  </a:cxn>
                  <a:cxn ang="0">
                    <a:pos x="36" y="54"/>
                  </a:cxn>
                  <a:cxn ang="0">
                    <a:pos x="24" y="58"/>
                  </a:cxn>
                  <a:cxn ang="0">
                    <a:pos x="12" y="56"/>
                  </a:cxn>
                  <a:cxn ang="0">
                    <a:pos x="4" y="58"/>
                  </a:cxn>
                  <a:cxn ang="0">
                    <a:pos x="4" y="56"/>
                  </a:cxn>
                  <a:cxn ang="0">
                    <a:pos x="0" y="84"/>
                  </a:cxn>
                  <a:cxn ang="0">
                    <a:pos x="4" y="104"/>
                  </a:cxn>
                  <a:cxn ang="0">
                    <a:pos x="10" y="122"/>
                  </a:cxn>
                  <a:cxn ang="0">
                    <a:pos x="18" y="130"/>
                  </a:cxn>
                  <a:cxn ang="0">
                    <a:pos x="26" y="136"/>
                  </a:cxn>
                  <a:cxn ang="0">
                    <a:pos x="18" y="146"/>
                  </a:cxn>
                  <a:cxn ang="0">
                    <a:pos x="12" y="156"/>
                  </a:cxn>
                  <a:cxn ang="0">
                    <a:pos x="12" y="162"/>
                  </a:cxn>
                  <a:cxn ang="0">
                    <a:pos x="28" y="166"/>
                  </a:cxn>
                  <a:cxn ang="0">
                    <a:pos x="50" y="168"/>
                  </a:cxn>
                  <a:cxn ang="0">
                    <a:pos x="70" y="168"/>
                  </a:cxn>
                  <a:cxn ang="0">
                    <a:pos x="96" y="162"/>
                  </a:cxn>
                  <a:cxn ang="0">
                    <a:pos x="100" y="156"/>
                  </a:cxn>
                  <a:cxn ang="0">
                    <a:pos x="96" y="146"/>
                  </a:cxn>
                  <a:cxn ang="0">
                    <a:pos x="102" y="138"/>
                  </a:cxn>
                  <a:cxn ang="0">
                    <a:pos x="112" y="138"/>
                  </a:cxn>
                  <a:cxn ang="0">
                    <a:pos x="116" y="134"/>
                  </a:cxn>
                  <a:cxn ang="0">
                    <a:pos x="122" y="126"/>
                  </a:cxn>
                  <a:cxn ang="0">
                    <a:pos x="136" y="126"/>
                  </a:cxn>
                  <a:cxn ang="0">
                    <a:pos x="142" y="120"/>
                  </a:cxn>
                  <a:cxn ang="0">
                    <a:pos x="138" y="114"/>
                  </a:cxn>
                  <a:cxn ang="0">
                    <a:pos x="142" y="106"/>
                  </a:cxn>
                  <a:cxn ang="0">
                    <a:pos x="148" y="98"/>
                  </a:cxn>
                  <a:cxn ang="0">
                    <a:pos x="148" y="90"/>
                  </a:cxn>
                  <a:cxn ang="0">
                    <a:pos x="156" y="78"/>
                  </a:cxn>
                  <a:cxn ang="0">
                    <a:pos x="164" y="64"/>
                  </a:cxn>
                  <a:cxn ang="0">
                    <a:pos x="158" y="54"/>
                  </a:cxn>
                  <a:cxn ang="0">
                    <a:pos x="154" y="46"/>
                  </a:cxn>
                  <a:cxn ang="0">
                    <a:pos x="158" y="38"/>
                  </a:cxn>
                  <a:cxn ang="0">
                    <a:pos x="170" y="34"/>
                  </a:cxn>
                  <a:cxn ang="0">
                    <a:pos x="190" y="32"/>
                  </a:cxn>
                  <a:cxn ang="0">
                    <a:pos x="200" y="28"/>
                  </a:cxn>
                  <a:cxn ang="0">
                    <a:pos x="184" y="22"/>
                  </a:cxn>
                </a:cxnLst>
                <a:rect l="0" t="0" r="r" b="b"/>
                <a:pathLst>
                  <a:path w="200" h="168">
                    <a:moveTo>
                      <a:pt x="184" y="22"/>
                    </a:moveTo>
                    <a:lnTo>
                      <a:pt x="174" y="26"/>
                    </a:lnTo>
                    <a:lnTo>
                      <a:pt x="168" y="26"/>
                    </a:lnTo>
                    <a:lnTo>
                      <a:pt x="160" y="28"/>
                    </a:lnTo>
                    <a:lnTo>
                      <a:pt x="156" y="26"/>
                    </a:lnTo>
                    <a:lnTo>
                      <a:pt x="152" y="24"/>
                    </a:lnTo>
                    <a:lnTo>
                      <a:pt x="148" y="18"/>
                    </a:lnTo>
                    <a:lnTo>
                      <a:pt x="144" y="8"/>
                    </a:lnTo>
                    <a:lnTo>
                      <a:pt x="142" y="0"/>
                    </a:lnTo>
                    <a:lnTo>
                      <a:pt x="136" y="0"/>
                    </a:lnTo>
                    <a:lnTo>
                      <a:pt x="130" y="6"/>
                    </a:lnTo>
                    <a:lnTo>
                      <a:pt x="122" y="16"/>
                    </a:lnTo>
                    <a:lnTo>
                      <a:pt x="114" y="24"/>
                    </a:lnTo>
                    <a:lnTo>
                      <a:pt x="108" y="26"/>
                    </a:lnTo>
                    <a:lnTo>
                      <a:pt x="102" y="28"/>
                    </a:lnTo>
                    <a:lnTo>
                      <a:pt x="74" y="28"/>
                    </a:lnTo>
                    <a:lnTo>
                      <a:pt x="60" y="20"/>
                    </a:lnTo>
                    <a:lnTo>
                      <a:pt x="46" y="42"/>
                    </a:lnTo>
                    <a:lnTo>
                      <a:pt x="40" y="50"/>
                    </a:lnTo>
                    <a:lnTo>
                      <a:pt x="36" y="54"/>
                    </a:lnTo>
                    <a:lnTo>
                      <a:pt x="30" y="56"/>
                    </a:lnTo>
                    <a:lnTo>
                      <a:pt x="24" y="58"/>
                    </a:lnTo>
                    <a:lnTo>
                      <a:pt x="16" y="56"/>
                    </a:lnTo>
                    <a:lnTo>
                      <a:pt x="12" y="56"/>
                    </a:lnTo>
                    <a:lnTo>
                      <a:pt x="10" y="56"/>
                    </a:lnTo>
                    <a:lnTo>
                      <a:pt x="4" y="58"/>
                    </a:lnTo>
                    <a:lnTo>
                      <a:pt x="4" y="50"/>
                    </a:lnTo>
                    <a:lnTo>
                      <a:pt x="4" y="56"/>
                    </a:lnTo>
                    <a:lnTo>
                      <a:pt x="0" y="72"/>
                    </a:lnTo>
                    <a:lnTo>
                      <a:pt x="0" y="84"/>
                    </a:lnTo>
                    <a:lnTo>
                      <a:pt x="0" y="92"/>
                    </a:lnTo>
                    <a:lnTo>
                      <a:pt x="4" y="104"/>
                    </a:lnTo>
                    <a:lnTo>
                      <a:pt x="8" y="116"/>
                    </a:lnTo>
                    <a:lnTo>
                      <a:pt x="10" y="122"/>
                    </a:lnTo>
                    <a:lnTo>
                      <a:pt x="12" y="126"/>
                    </a:lnTo>
                    <a:lnTo>
                      <a:pt x="18" y="130"/>
                    </a:lnTo>
                    <a:lnTo>
                      <a:pt x="26" y="132"/>
                    </a:lnTo>
                    <a:lnTo>
                      <a:pt x="26" y="136"/>
                    </a:lnTo>
                    <a:lnTo>
                      <a:pt x="24" y="138"/>
                    </a:lnTo>
                    <a:lnTo>
                      <a:pt x="18" y="146"/>
                    </a:lnTo>
                    <a:lnTo>
                      <a:pt x="14" y="152"/>
                    </a:lnTo>
                    <a:lnTo>
                      <a:pt x="12" y="156"/>
                    </a:lnTo>
                    <a:lnTo>
                      <a:pt x="12" y="160"/>
                    </a:lnTo>
                    <a:lnTo>
                      <a:pt x="12" y="162"/>
                    </a:lnTo>
                    <a:lnTo>
                      <a:pt x="16" y="164"/>
                    </a:lnTo>
                    <a:lnTo>
                      <a:pt x="28" y="166"/>
                    </a:lnTo>
                    <a:lnTo>
                      <a:pt x="40" y="166"/>
                    </a:lnTo>
                    <a:lnTo>
                      <a:pt x="50" y="168"/>
                    </a:lnTo>
                    <a:lnTo>
                      <a:pt x="60" y="168"/>
                    </a:lnTo>
                    <a:lnTo>
                      <a:pt x="70" y="168"/>
                    </a:lnTo>
                    <a:lnTo>
                      <a:pt x="84" y="166"/>
                    </a:lnTo>
                    <a:lnTo>
                      <a:pt x="96" y="162"/>
                    </a:lnTo>
                    <a:lnTo>
                      <a:pt x="100" y="158"/>
                    </a:lnTo>
                    <a:lnTo>
                      <a:pt x="100" y="156"/>
                    </a:lnTo>
                    <a:lnTo>
                      <a:pt x="98" y="150"/>
                    </a:lnTo>
                    <a:lnTo>
                      <a:pt x="96" y="146"/>
                    </a:lnTo>
                    <a:lnTo>
                      <a:pt x="98" y="142"/>
                    </a:lnTo>
                    <a:lnTo>
                      <a:pt x="102" y="138"/>
                    </a:lnTo>
                    <a:lnTo>
                      <a:pt x="106" y="138"/>
                    </a:lnTo>
                    <a:lnTo>
                      <a:pt x="112" y="138"/>
                    </a:lnTo>
                    <a:lnTo>
                      <a:pt x="114" y="136"/>
                    </a:lnTo>
                    <a:lnTo>
                      <a:pt x="116" y="134"/>
                    </a:lnTo>
                    <a:lnTo>
                      <a:pt x="120" y="130"/>
                    </a:lnTo>
                    <a:lnTo>
                      <a:pt x="122" y="126"/>
                    </a:lnTo>
                    <a:lnTo>
                      <a:pt x="130" y="126"/>
                    </a:lnTo>
                    <a:lnTo>
                      <a:pt x="136" y="126"/>
                    </a:lnTo>
                    <a:lnTo>
                      <a:pt x="140" y="124"/>
                    </a:lnTo>
                    <a:lnTo>
                      <a:pt x="142" y="120"/>
                    </a:lnTo>
                    <a:lnTo>
                      <a:pt x="138" y="118"/>
                    </a:lnTo>
                    <a:lnTo>
                      <a:pt x="138" y="114"/>
                    </a:lnTo>
                    <a:lnTo>
                      <a:pt x="140" y="110"/>
                    </a:lnTo>
                    <a:lnTo>
                      <a:pt x="142" y="106"/>
                    </a:lnTo>
                    <a:lnTo>
                      <a:pt x="148" y="100"/>
                    </a:lnTo>
                    <a:lnTo>
                      <a:pt x="148" y="98"/>
                    </a:lnTo>
                    <a:lnTo>
                      <a:pt x="148" y="94"/>
                    </a:lnTo>
                    <a:lnTo>
                      <a:pt x="148" y="90"/>
                    </a:lnTo>
                    <a:lnTo>
                      <a:pt x="152" y="84"/>
                    </a:lnTo>
                    <a:lnTo>
                      <a:pt x="156" y="78"/>
                    </a:lnTo>
                    <a:lnTo>
                      <a:pt x="162" y="70"/>
                    </a:lnTo>
                    <a:lnTo>
                      <a:pt x="164" y="64"/>
                    </a:lnTo>
                    <a:lnTo>
                      <a:pt x="162" y="58"/>
                    </a:lnTo>
                    <a:lnTo>
                      <a:pt x="158" y="54"/>
                    </a:lnTo>
                    <a:lnTo>
                      <a:pt x="156" y="50"/>
                    </a:lnTo>
                    <a:lnTo>
                      <a:pt x="154" y="46"/>
                    </a:lnTo>
                    <a:lnTo>
                      <a:pt x="156" y="42"/>
                    </a:lnTo>
                    <a:lnTo>
                      <a:pt x="158" y="38"/>
                    </a:lnTo>
                    <a:lnTo>
                      <a:pt x="164" y="36"/>
                    </a:lnTo>
                    <a:lnTo>
                      <a:pt x="170" y="34"/>
                    </a:lnTo>
                    <a:lnTo>
                      <a:pt x="180" y="32"/>
                    </a:lnTo>
                    <a:lnTo>
                      <a:pt x="190" y="32"/>
                    </a:lnTo>
                    <a:lnTo>
                      <a:pt x="200" y="30"/>
                    </a:lnTo>
                    <a:lnTo>
                      <a:pt x="200" y="28"/>
                    </a:lnTo>
                    <a:lnTo>
                      <a:pt x="192" y="26"/>
                    </a:lnTo>
                    <a:lnTo>
                      <a:pt x="184" y="2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3" name="Freeform 26"/>
              <p:cNvSpPr>
                <a:spLocks noChangeAspect="1"/>
              </p:cNvSpPr>
              <p:nvPr/>
            </p:nvSpPr>
            <p:spPr bwMode="auto">
              <a:xfrm>
                <a:off x="5329745" y="3508773"/>
                <a:ext cx="676938" cy="220658"/>
              </a:xfrm>
              <a:custGeom>
                <a:avLst/>
                <a:gdLst/>
                <a:ahLst/>
                <a:cxnLst>
                  <a:cxn ang="0">
                    <a:pos x="4" y="56"/>
                  </a:cxn>
                  <a:cxn ang="0">
                    <a:pos x="12" y="64"/>
                  </a:cxn>
                  <a:cxn ang="0">
                    <a:pos x="34" y="72"/>
                  </a:cxn>
                  <a:cxn ang="0">
                    <a:pos x="48" y="78"/>
                  </a:cxn>
                  <a:cxn ang="0">
                    <a:pos x="64" y="92"/>
                  </a:cxn>
                  <a:cxn ang="0">
                    <a:pos x="72" y="114"/>
                  </a:cxn>
                  <a:cxn ang="0">
                    <a:pos x="80" y="126"/>
                  </a:cxn>
                  <a:cxn ang="0">
                    <a:pos x="118" y="130"/>
                  </a:cxn>
                  <a:cxn ang="0">
                    <a:pos x="138" y="134"/>
                  </a:cxn>
                  <a:cxn ang="0">
                    <a:pos x="156" y="146"/>
                  </a:cxn>
                  <a:cxn ang="0">
                    <a:pos x="172" y="162"/>
                  </a:cxn>
                  <a:cxn ang="0">
                    <a:pos x="214" y="166"/>
                  </a:cxn>
                  <a:cxn ang="0">
                    <a:pos x="258" y="168"/>
                  </a:cxn>
                  <a:cxn ang="0">
                    <a:pos x="280" y="180"/>
                  </a:cxn>
                  <a:cxn ang="0">
                    <a:pos x="310" y="186"/>
                  </a:cxn>
                  <a:cxn ang="0">
                    <a:pos x="324" y="180"/>
                  </a:cxn>
                  <a:cxn ang="0">
                    <a:pos x="362" y="172"/>
                  </a:cxn>
                  <a:cxn ang="0">
                    <a:pos x="384" y="162"/>
                  </a:cxn>
                  <a:cxn ang="0">
                    <a:pos x="396" y="150"/>
                  </a:cxn>
                  <a:cxn ang="0">
                    <a:pos x="396" y="142"/>
                  </a:cxn>
                  <a:cxn ang="0">
                    <a:pos x="390" y="138"/>
                  </a:cxn>
                  <a:cxn ang="0">
                    <a:pos x="382" y="134"/>
                  </a:cxn>
                  <a:cxn ang="0">
                    <a:pos x="384" y="126"/>
                  </a:cxn>
                  <a:cxn ang="0">
                    <a:pos x="390" y="124"/>
                  </a:cxn>
                  <a:cxn ang="0">
                    <a:pos x="398" y="128"/>
                  </a:cxn>
                  <a:cxn ang="0">
                    <a:pos x="410" y="126"/>
                  </a:cxn>
                  <a:cxn ang="0">
                    <a:pos x="418" y="120"/>
                  </a:cxn>
                  <a:cxn ang="0">
                    <a:pos x="432" y="116"/>
                  </a:cxn>
                  <a:cxn ang="0">
                    <a:pos x="440" y="114"/>
                  </a:cxn>
                  <a:cxn ang="0">
                    <a:pos x="442" y="106"/>
                  </a:cxn>
                  <a:cxn ang="0">
                    <a:pos x="444" y="98"/>
                  </a:cxn>
                  <a:cxn ang="0">
                    <a:pos x="482" y="94"/>
                  </a:cxn>
                  <a:cxn ang="0">
                    <a:pos x="468" y="80"/>
                  </a:cxn>
                  <a:cxn ang="0">
                    <a:pos x="448" y="72"/>
                  </a:cxn>
                  <a:cxn ang="0">
                    <a:pos x="434" y="76"/>
                  </a:cxn>
                  <a:cxn ang="0">
                    <a:pos x="410" y="76"/>
                  </a:cxn>
                  <a:cxn ang="0">
                    <a:pos x="404" y="68"/>
                  </a:cxn>
                  <a:cxn ang="0">
                    <a:pos x="402" y="40"/>
                  </a:cxn>
                  <a:cxn ang="0">
                    <a:pos x="374" y="30"/>
                  </a:cxn>
                  <a:cxn ang="0">
                    <a:pos x="362" y="30"/>
                  </a:cxn>
                  <a:cxn ang="0">
                    <a:pos x="344" y="40"/>
                  </a:cxn>
                  <a:cxn ang="0">
                    <a:pos x="326" y="50"/>
                  </a:cxn>
                  <a:cxn ang="0">
                    <a:pos x="304" y="48"/>
                  </a:cxn>
                  <a:cxn ang="0">
                    <a:pos x="264" y="34"/>
                  </a:cxn>
                  <a:cxn ang="0">
                    <a:pos x="240" y="26"/>
                  </a:cxn>
                  <a:cxn ang="0">
                    <a:pos x="212" y="26"/>
                  </a:cxn>
                  <a:cxn ang="0">
                    <a:pos x="198" y="26"/>
                  </a:cxn>
                  <a:cxn ang="0">
                    <a:pos x="192" y="22"/>
                  </a:cxn>
                  <a:cxn ang="0">
                    <a:pos x="180" y="8"/>
                  </a:cxn>
                  <a:cxn ang="0">
                    <a:pos x="152" y="0"/>
                  </a:cxn>
                  <a:cxn ang="0">
                    <a:pos x="128" y="2"/>
                  </a:cxn>
                  <a:cxn ang="0">
                    <a:pos x="124" y="4"/>
                  </a:cxn>
                  <a:cxn ang="0">
                    <a:pos x="128" y="12"/>
                  </a:cxn>
                  <a:cxn ang="0">
                    <a:pos x="138" y="24"/>
                  </a:cxn>
                  <a:cxn ang="0">
                    <a:pos x="140" y="30"/>
                  </a:cxn>
                  <a:cxn ang="0">
                    <a:pos x="134" y="36"/>
                  </a:cxn>
                  <a:cxn ang="0">
                    <a:pos x="124" y="38"/>
                  </a:cxn>
                  <a:cxn ang="0">
                    <a:pos x="104" y="36"/>
                  </a:cxn>
                  <a:cxn ang="0">
                    <a:pos x="68" y="24"/>
                  </a:cxn>
                  <a:cxn ang="0">
                    <a:pos x="54" y="22"/>
                  </a:cxn>
                  <a:cxn ang="0">
                    <a:pos x="38" y="24"/>
                  </a:cxn>
                  <a:cxn ang="0">
                    <a:pos x="10" y="42"/>
                  </a:cxn>
                  <a:cxn ang="0">
                    <a:pos x="0" y="50"/>
                  </a:cxn>
                </a:cxnLst>
                <a:rect l="0" t="0" r="r" b="b"/>
                <a:pathLst>
                  <a:path w="482" h="186">
                    <a:moveTo>
                      <a:pt x="0" y="50"/>
                    </a:moveTo>
                    <a:lnTo>
                      <a:pt x="4" y="56"/>
                    </a:lnTo>
                    <a:lnTo>
                      <a:pt x="6" y="60"/>
                    </a:lnTo>
                    <a:lnTo>
                      <a:pt x="12" y="64"/>
                    </a:lnTo>
                    <a:lnTo>
                      <a:pt x="20" y="66"/>
                    </a:lnTo>
                    <a:lnTo>
                      <a:pt x="34" y="72"/>
                    </a:lnTo>
                    <a:lnTo>
                      <a:pt x="40" y="74"/>
                    </a:lnTo>
                    <a:lnTo>
                      <a:pt x="48" y="78"/>
                    </a:lnTo>
                    <a:lnTo>
                      <a:pt x="60" y="86"/>
                    </a:lnTo>
                    <a:lnTo>
                      <a:pt x="64" y="92"/>
                    </a:lnTo>
                    <a:lnTo>
                      <a:pt x="68" y="100"/>
                    </a:lnTo>
                    <a:lnTo>
                      <a:pt x="72" y="114"/>
                    </a:lnTo>
                    <a:lnTo>
                      <a:pt x="76" y="120"/>
                    </a:lnTo>
                    <a:lnTo>
                      <a:pt x="80" y="126"/>
                    </a:lnTo>
                    <a:lnTo>
                      <a:pt x="110" y="126"/>
                    </a:lnTo>
                    <a:lnTo>
                      <a:pt x="118" y="130"/>
                    </a:lnTo>
                    <a:lnTo>
                      <a:pt x="128" y="134"/>
                    </a:lnTo>
                    <a:lnTo>
                      <a:pt x="138" y="134"/>
                    </a:lnTo>
                    <a:lnTo>
                      <a:pt x="146" y="140"/>
                    </a:lnTo>
                    <a:lnTo>
                      <a:pt x="156" y="146"/>
                    </a:lnTo>
                    <a:lnTo>
                      <a:pt x="164" y="154"/>
                    </a:lnTo>
                    <a:lnTo>
                      <a:pt x="172" y="162"/>
                    </a:lnTo>
                    <a:lnTo>
                      <a:pt x="180" y="166"/>
                    </a:lnTo>
                    <a:lnTo>
                      <a:pt x="214" y="166"/>
                    </a:lnTo>
                    <a:lnTo>
                      <a:pt x="214" y="168"/>
                    </a:lnTo>
                    <a:lnTo>
                      <a:pt x="258" y="168"/>
                    </a:lnTo>
                    <a:lnTo>
                      <a:pt x="268" y="174"/>
                    </a:lnTo>
                    <a:lnTo>
                      <a:pt x="280" y="180"/>
                    </a:lnTo>
                    <a:lnTo>
                      <a:pt x="296" y="184"/>
                    </a:lnTo>
                    <a:lnTo>
                      <a:pt x="310" y="186"/>
                    </a:lnTo>
                    <a:lnTo>
                      <a:pt x="318" y="184"/>
                    </a:lnTo>
                    <a:lnTo>
                      <a:pt x="324" y="180"/>
                    </a:lnTo>
                    <a:lnTo>
                      <a:pt x="334" y="172"/>
                    </a:lnTo>
                    <a:lnTo>
                      <a:pt x="362" y="172"/>
                    </a:lnTo>
                    <a:lnTo>
                      <a:pt x="374" y="168"/>
                    </a:lnTo>
                    <a:lnTo>
                      <a:pt x="384" y="162"/>
                    </a:lnTo>
                    <a:lnTo>
                      <a:pt x="392" y="156"/>
                    </a:lnTo>
                    <a:lnTo>
                      <a:pt x="396" y="150"/>
                    </a:lnTo>
                    <a:lnTo>
                      <a:pt x="396" y="146"/>
                    </a:lnTo>
                    <a:lnTo>
                      <a:pt x="396" y="142"/>
                    </a:lnTo>
                    <a:lnTo>
                      <a:pt x="394" y="140"/>
                    </a:lnTo>
                    <a:lnTo>
                      <a:pt x="390" y="138"/>
                    </a:lnTo>
                    <a:lnTo>
                      <a:pt x="384" y="134"/>
                    </a:lnTo>
                    <a:lnTo>
                      <a:pt x="382" y="134"/>
                    </a:lnTo>
                    <a:lnTo>
                      <a:pt x="382" y="130"/>
                    </a:lnTo>
                    <a:lnTo>
                      <a:pt x="384" y="126"/>
                    </a:lnTo>
                    <a:lnTo>
                      <a:pt x="388" y="124"/>
                    </a:lnTo>
                    <a:lnTo>
                      <a:pt x="390" y="124"/>
                    </a:lnTo>
                    <a:lnTo>
                      <a:pt x="394" y="126"/>
                    </a:lnTo>
                    <a:lnTo>
                      <a:pt x="398" y="128"/>
                    </a:lnTo>
                    <a:lnTo>
                      <a:pt x="404" y="128"/>
                    </a:lnTo>
                    <a:lnTo>
                      <a:pt x="410" y="126"/>
                    </a:lnTo>
                    <a:lnTo>
                      <a:pt x="416" y="124"/>
                    </a:lnTo>
                    <a:lnTo>
                      <a:pt x="418" y="120"/>
                    </a:lnTo>
                    <a:lnTo>
                      <a:pt x="422" y="118"/>
                    </a:lnTo>
                    <a:lnTo>
                      <a:pt x="432" y="116"/>
                    </a:lnTo>
                    <a:lnTo>
                      <a:pt x="436" y="116"/>
                    </a:lnTo>
                    <a:lnTo>
                      <a:pt x="440" y="114"/>
                    </a:lnTo>
                    <a:lnTo>
                      <a:pt x="440" y="108"/>
                    </a:lnTo>
                    <a:lnTo>
                      <a:pt x="442" y="106"/>
                    </a:lnTo>
                    <a:lnTo>
                      <a:pt x="442" y="102"/>
                    </a:lnTo>
                    <a:lnTo>
                      <a:pt x="444" y="98"/>
                    </a:lnTo>
                    <a:lnTo>
                      <a:pt x="462" y="96"/>
                    </a:lnTo>
                    <a:lnTo>
                      <a:pt x="482" y="94"/>
                    </a:lnTo>
                    <a:lnTo>
                      <a:pt x="476" y="86"/>
                    </a:lnTo>
                    <a:lnTo>
                      <a:pt x="468" y="80"/>
                    </a:lnTo>
                    <a:lnTo>
                      <a:pt x="458" y="74"/>
                    </a:lnTo>
                    <a:lnTo>
                      <a:pt x="448" y="72"/>
                    </a:lnTo>
                    <a:lnTo>
                      <a:pt x="442" y="74"/>
                    </a:lnTo>
                    <a:lnTo>
                      <a:pt x="434" y="76"/>
                    </a:lnTo>
                    <a:lnTo>
                      <a:pt x="416" y="76"/>
                    </a:lnTo>
                    <a:lnTo>
                      <a:pt x="410" y="76"/>
                    </a:lnTo>
                    <a:lnTo>
                      <a:pt x="408" y="72"/>
                    </a:lnTo>
                    <a:lnTo>
                      <a:pt x="404" y="68"/>
                    </a:lnTo>
                    <a:lnTo>
                      <a:pt x="404" y="62"/>
                    </a:lnTo>
                    <a:lnTo>
                      <a:pt x="402" y="40"/>
                    </a:lnTo>
                    <a:lnTo>
                      <a:pt x="384" y="32"/>
                    </a:lnTo>
                    <a:lnTo>
                      <a:pt x="374" y="30"/>
                    </a:lnTo>
                    <a:lnTo>
                      <a:pt x="368" y="30"/>
                    </a:lnTo>
                    <a:lnTo>
                      <a:pt x="362" y="30"/>
                    </a:lnTo>
                    <a:lnTo>
                      <a:pt x="356" y="32"/>
                    </a:lnTo>
                    <a:lnTo>
                      <a:pt x="344" y="40"/>
                    </a:lnTo>
                    <a:lnTo>
                      <a:pt x="334" y="48"/>
                    </a:lnTo>
                    <a:lnTo>
                      <a:pt x="326" y="50"/>
                    </a:lnTo>
                    <a:lnTo>
                      <a:pt x="318" y="50"/>
                    </a:lnTo>
                    <a:lnTo>
                      <a:pt x="304" y="48"/>
                    </a:lnTo>
                    <a:lnTo>
                      <a:pt x="290" y="46"/>
                    </a:lnTo>
                    <a:lnTo>
                      <a:pt x="264" y="34"/>
                    </a:lnTo>
                    <a:lnTo>
                      <a:pt x="252" y="28"/>
                    </a:lnTo>
                    <a:lnTo>
                      <a:pt x="240" y="26"/>
                    </a:lnTo>
                    <a:lnTo>
                      <a:pt x="226" y="24"/>
                    </a:lnTo>
                    <a:lnTo>
                      <a:pt x="212" y="26"/>
                    </a:lnTo>
                    <a:lnTo>
                      <a:pt x="204" y="28"/>
                    </a:lnTo>
                    <a:lnTo>
                      <a:pt x="198" y="26"/>
                    </a:lnTo>
                    <a:lnTo>
                      <a:pt x="196" y="24"/>
                    </a:lnTo>
                    <a:lnTo>
                      <a:pt x="192" y="22"/>
                    </a:lnTo>
                    <a:lnTo>
                      <a:pt x="186" y="14"/>
                    </a:lnTo>
                    <a:lnTo>
                      <a:pt x="180" y="8"/>
                    </a:lnTo>
                    <a:lnTo>
                      <a:pt x="170" y="4"/>
                    </a:lnTo>
                    <a:lnTo>
                      <a:pt x="152" y="0"/>
                    </a:lnTo>
                    <a:lnTo>
                      <a:pt x="134" y="0"/>
                    </a:lnTo>
                    <a:lnTo>
                      <a:pt x="128" y="2"/>
                    </a:lnTo>
                    <a:lnTo>
                      <a:pt x="126" y="2"/>
                    </a:lnTo>
                    <a:lnTo>
                      <a:pt x="124" y="4"/>
                    </a:lnTo>
                    <a:lnTo>
                      <a:pt x="126" y="8"/>
                    </a:lnTo>
                    <a:lnTo>
                      <a:pt x="128" y="12"/>
                    </a:lnTo>
                    <a:lnTo>
                      <a:pt x="132" y="18"/>
                    </a:lnTo>
                    <a:lnTo>
                      <a:pt x="138" y="24"/>
                    </a:lnTo>
                    <a:lnTo>
                      <a:pt x="140" y="26"/>
                    </a:lnTo>
                    <a:lnTo>
                      <a:pt x="140" y="30"/>
                    </a:lnTo>
                    <a:lnTo>
                      <a:pt x="138" y="34"/>
                    </a:lnTo>
                    <a:lnTo>
                      <a:pt x="134" y="36"/>
                    </a:lnTo>
                    <a:lnTo>
                      <a:pt x="130" y="38"/>
                    </a:lnTo>
                    <a:lnTo>
                      <a:pt x="124" y="38"/>
                    </a:lnTo>
                    <a:lnTo>
                      <a:pt x="114" y="38"/>
                    </a:lnTo>
                    <a:lnTo>
                      <a:pt x="104" y="36"/>
                    </a:lnTo>
                    <a:lnTo>
                      <a:pt x="86" y="30"/>
                    </a:lnTo>
                    <a:lnTo>
                      <a:pt x="68" y="24"/>
                    </a:lnTo>
                    <a:lnTo>
                      <a:pt x="62" y="24"/>
                    </a:lnTo>
                    <a:lnTo>
                      <a:pt x="54" y="22"/>
                    </a:lnTo>
                    <a:lnTo>
                      <a:pt x="46" y="24"/>
                    </a:lnTo>
                    <a:lnTo>
                      <a:pt x="38" y="24"/>
                    </a:lnTo>
                    <a:lnTo>
                      <a:pt x="24" y="30"/>
                    </a:lnTo>
                    <a:lnTo>
                      <a:pt x="10" y="42"/>
                    </a:lnTo>
                    <a:lnTo>
                      <a:pt x="0" y="52"/>
                    </a:lnTo>
                    <a:lnTo>
                      <a:pt x="0" y="5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4" name="Freeform 27"/>
              <p:cNvSpPr>
                <a:spLocks noChangeAspect="1"/>
              </p:cNvSpPr>
              <p:nvPr/>
            </p:nvSpPr>
            <p:spPr bwMode="auto">
              <a:xfrm>
                <a:off x="6193144" y="3699614"/>
                <a:ext cx="106742" cy="107347"/>
              </a:xfrm>
              <a:custGeom>
                <a:avLst/>
                <a:gdLst/>
                <a:ahLst/>
                <a:cxnLst>
                  <a:cxn ang="0">
                    <a:pos x="70" y="78"/>
                  </a:cxn>
                  <a:cxn ang="0">
                    <a:pos x="62" y="70"/>
                  </a:cxn>
                  <a:cxn ang="0">
                    <a:pos x="54" y="64"/>
                  </a:cxn>
                  <a:cxn ang="0">
                    <a:pos x="56" y="60"/>
                  </a:cxn>
                  <a:cxn ang="0">
                    <a:pos x="58" y="58"/>
                  </a:cxn>
                  <a:cxn ang="0">
                    <a:pos x="66" y="54"/>
                  </a:cxn>
                  <a:cxn ang="0">
                    <a:pos x="74" y="50"/>
                  </a:cxn>
                  <a:cxn ang="0">
                    <a:pos x="76" y="46"/>
                  </a:cxn>
                  <a:cxn ang="0">
                    <a:pos x="76" y="42"/>
                  </a:cxn>
                  <a:cxn ang="0">
                    <a:pos x="76" y="36"/>
                  </a:cxn>
                  <a:cxn ang="0">
                    <a:pos x="74" y="32"/>
                  </a:cxn>
                  <a:cxn ang="0">
                    <a:pos x="70" y="28"/>
                  </a:cxn>
                  <a:cxn ang="0">
                    <a:pos x="70" y="24"/>
                  </a:cxn>
                  <a:cxn ang="0">
                    <a:pos x="70" y="16"/>
                  </a:cxn>
                  <a:cxn ang="0">
                    <a:pos x="74" y="8"/>
                  </a:cxn>
                  <a:cxn ang="0">
                    <a:pos x="70" y="0"/>
                  </a:cxn>
                  <a:cxn ang="0">
                    <a:pos x="70" y="2"/>
                  </a:cxn>
                  <a:cxn ang="0">
                    <a:pos x="66" y="4"/>
                  </a:cxn>
                  <a:cxn ang="0">
                    <a:pos x="62" y="6"/>
                  </a:cxn>
                  <a:cxn ang="0">
                    <a:pos x="58" y="4"/>
                  </a:cxn>
                  <a:cxn ang="0">
                    <a:pos x="54" y="2"/>
                  </a:cxn>
                  <a:cxn ang="0">
                    <a:pos x="48" y="12"/>
                  </a:cxn>
                  <a:cxn ang="0">
                    <a:pos x="44" y="18"/>
                  </a:cxn>
                  <a:cxn ang="0">
                    <a:pos x="42" y="22"/>
                  </a:cxn>
                  <a:cxn ang="0">
                    <a:pos x="44" y="28"/>
                  </a:cxn>
                  <a:cxn ang="0">
                    <a:pos x="32" y="28"/>
                  </a:cxn>
                  <a:cxn ang="0">
                    <a:pos x="26" y="26"/>
                  </a:cxn>
                  <a:cxn ang="0">
                    <a:pos x="22" y="24"/>
                  </a:cxn>
                  <a:cxn ang="0">
                    <a:pos x="12" y="36"/>
                  </a:cxn>
                  <a:cxn ang="0">
                    <a:pos x="4" y="48"/>
                  </a:cxn>
                  <a:cxn ang="0">
                    <a:pos x="0" y="56"/>
                  </a:cxn>
                  <a:cxn ang="0">
                    <a:pos x="10" y="56"/>
                  </a:cxn>
                  <a:cxn ang="0">
                    <a:pos x="18" y="60"/>
                  </a:cxn>
                  <a:cxn ang="0">
                    <a:pos x="24" y="70"/>
                  </a:cxn>
                  <a:cxn ang="0">
                    <a:pos x="28" y="80"/>
                  </a:cxn>
                  <a:cxn ang="0">
                    <a:pos x="24" y="84"/>
                  </a:cxn>
                  <a:cxn ang="0">
                    <a:pos x="24" y="86"/>
                  </a:cxn>
                  <a:cxn ang="0">
                    <a:pos x="26" y="88"/>
                  </a:cxn>
                  <a:cxn ang="0">
                    <a:pos x="32" y="90"/>
                  </a:cxn>
                  <a:cxn ang="0">
                    <a:pos x="46" y="90"/>
                  </a:cxn>
                  <a:cxn ang="0">
                    <a:pos x="56" y="92"/>
                  </a:cxn>
                  <a:cxn ang="0">
                    <a:pos x="56" y="88"/>
                  </a:cxn>
                  <a:cxn ang="0">
                    <a:pos x="68" y="88"/>
                  </a:cxn>
                  <a:cxn ang="0">
                    <a:pos x="72" y="86"/>
                  </a:cxn>
                  <a:cxn ang="0">
                    <a:pos x="74" y="84"/>
                  </a:cxn>
                  <a:cxn ang="0">
                    <a:pos x="74" y="80"/>
                  </a:cxn>
                  <a:cxn ang="0">
                    <a:pos x="70" y="78"/>
                  </a:cxn>
                </a:cxnLst>
                <a:rect l="0" t="0" r="r" b="b"/>
                <a:pathLst>
                  <a:path w="76" h="92">
                    <a:moveTo>
                      <a:pt x="70" y="78"/>
                    </a:moveTo>
                    <a:lnTo>
                      <a:pt x="62" y="70"/>
                    </a:lnTo>
                    <a:lnTo>
                      <a:pt x="54" y="64"/>
                    </a:lnTo>
                    <a:lnTo>
                      <a:pt x="56" y="60"/>
                    </a:lnTo>
                    <a:lnTo>
                      <a:pt x="58" y="58"/>
                    </a:lnTo>
                    <a:lnTo>
                      <a:pt x="66" y="54"/>
                    </a:lnTo>
                    <a:lnTo>
                      <a:pt x="74" y="50"/>
                    </a:lnTo>
                    <a:lnTo>
                      <a:pt x="76" y="46"/>
                    </a:lnTo>
                    <a:lnTo>
                      <a:pt x="76" y="42"/>
                    </a:lnTo>
                    <a:lnTo>
                      <a:pt x="76" y="36"/>
                    </a:lnTo>
                    <a:lnTo>
                      <a:pt x="74" y="32"/>
                    </a:lnTo>
                    <a:lnTo>
                      <a:pt x="70" y="28"/>
                    </a:lnTo>
                    <a:lnTo>
                      <a:pt x="70" y="24"/>
                    </a:lnTo>
                    <a:lnTo>
                      <a:pt x="70" y="16"/>
                    </a:lnTo>
                    <a:lnTo>
                      <a:pt x="74" y="8"/>
                    </a:lnTo>
                    <a:lnTo>
                      <a:pt x="70" y="0"/>
                    </a:lnTo>
                    <a:lnTo>
                      <a:pt x="70" y="2"/>
                    </a:lnTo>
                    <a:lnTo>
                      <a:pt x="66" y="4"/>
                    </a:lnTo>
                    <a:lnTo>
                      <a:pt x="62" y="6"/>
                    </a:lnTo>
                    <a:lnTo>
                      <a:pt x="58" y="4"/>
                    </a:lnTo>
                    <a:lnTo>
                      <a:pt x="54" y="2"/>
                    </a:lnTo>
                    <a:lnTo>
                      <a:pt x="48" y="12"/>
                    </a:lnTo>
                    <a:lnTo>
                      <a:pt x="44" y="18"/>
                    </a:lnTo>
                    <a:lnTo>
                      <a:pt x="42" y="22"/>
                    </a:lnTo>
                    <a:lnTo>
                      <a:pt x="44" y="28"/>
                    </a:lnTo>
                    <a:lnTo>
                      <a:pt x="32" y="28"/>
                    </a:lnTo>
                    <a:lnTo>
                      <a:pt x="26" y="26"/>
                    </a:lnTo>
                    <a:lnTo>
                      <a:pt x="22" y="24"/>
                    </a:lnTo>
                    <a:lnTo>
                      <a:pt x="12" y="36"/>
                    </a:lnTo>
                    <a:lnTo>
                      <a:pt x="4" y="48"/>
                    </a:lnTo>
                    <a:lnTo>
                      <a:pt x="0" y="56"/>
                    </a:lnTo>
                    <a:lnTo>
                      <a:pt x="10" y="56"/>
                    </a:lnTo>
                    <a:lnTo>
                      <a:pt x="18" y="60"/>
                    </a:lnTo>
                    <a:lnTo>
                      <a:pt x="24" y="70"/>
                    </a:lnTo>
                    <a:lnTo>
                      <a:pt x="28" y="80"/>
                    </a:lnTo>
                    <a:lnTo>
                      <a:pt x="24" y="84"/>
                    </a:lnTo>
                    <a:lnTo>
                      <a:pt x="24" y="86"/>
                    </a:lnTo>
                    <a:lnTo>
                      <a:pt x="26" y="88"/>
                    </a:lnTo>
                    <a:lnTo>
                      <a:pt x="32" y="90"/>
                    </a:lnTo>
                    <a:lnTo>
                      <a:pt x="46" y="90"/>
                    </a:lnTo>
                    <a:lnTo>
                      <a:pt x="56" y="92"/>
                    </a:lnTo>
                    <a:lnTo>
                      <a:pt x="56" y="88"/>
                    </a:lnTo>
                    <a:lnTo>
                      <a:pt x="68" y="88"/>
                    </a:lnTo>
                    <a:lnTo>
                      <a:pt x="72" y="86"/>
                    </a:lnTo>
                    <a:lnTo>
                      <a:pt x="74" y="84"/>
                    </a:lnTo>
                    <a:lnTo>
                      <a:pt x="74" y="80"/>
                    </a:lnTo>
                    <a:lnTo>
                      <a:pt x="70" y="7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5" name="Freeform 28"/>
              <p:cNvSpPr>
                <a:spLocks noChangeAspect="1"/>
              </p:cNvSpPr>
              <p:nvPr/>
            </p:nvSpPr>
            <p:spPr bwMode="auto">
              <a:xfrm>
                <a:off x="6270162" y="3793841"/>
                <a:ext cx="90529" cy="91841"/>
              </a:xfrm>
              <a:custGeom>
                <a:avLst/>
                <a:gdLst/>
                <a:ahLst/>
                <a:cxnLst>
                  <a:cxn ang="0">
                    <a:pos x="18" y="0"/>
                  </a:cxn>
                  <a:cxn ang="0">
                    <a:pos x="18" y="2"/>
                  </a:cxn>
                  <a:cxn ang="0">
                    <a:pos x="18" y="4"/>
                  </a:cxn>
                  <a:cxn ang="0">
                    <a:pos x="16" y="6"/>
                  </a:cxn>
                  <a:cxn ang="0">
                    <a:pos x="12" y="8"/>
                  </a:cxn>
                  <a:cxn ang="0">
                    <a:pos x="0" y="8"/>
                  </a:cxn>
                  <a:cxn ang="0">
                    <a:pos x="0" y="12"/>
                  </a:cxn>
                  <a:cxn ang="0">
                    <a:pos x="2" y="16"/>
                  </a:cxn>
                  <a:cxn ang="0">
                    <a:pos x="4" y="20"/>
                  </a:cxn>
                  <a:cxn ang="0">
                    <a:pos x="6" y="28"/>
                  </a:cxn>
                  <a:cxn ang="0">
                    <a:pos x="8" y="40"/>
                  </a:cxn>
                  <a:cxn ang="0">
                    <a:pos x="14" y="56"/>
                  </a:cxn>
                  <a:cxn ang="0">
                    <a:pos x="20" y="70"/>
                  </a:cxn>
                  <a:cxn ang="0">
                    <a:pos x="24" y="74"/>
                  </a:cxn>
                  <a:cxn ang="0">
                    <a:pos x="30" y="76"/>
                  </a:cxn>
                  <a:cxn ang="0">
                    <a:pos x="40" y="74"/>
                  </a:cxn>
                  <a:cxn ang="0">
                    <a:pos x="50" y="70"/>
                  </a:cxn>
                  <a:cxn ang="0">
                    <a:pos x="60" y="64"/>
                  </a:cxn>
                  <a:cxn ang="0">
                    <a:pos x="64" y="60"/>
                  </a:cxn>
                  <a:cxn ang="0">
                    <a:pos x="64" y="58"/>
                  </a:cxn>
                  <a:cxn ang="0">
                    <a:pos x="64" y="50"/>
                  </a:cxn>
                  <a:cxn ang="0">
                    <a:pos x="58" y="42"/>
                  </a:cxn>
                  <a:cxn ang="0">
                    <a:pos x="52" y="32"/>
                  </a:cxn>
                  <a:cxn ang="0">
                    <a:pos x="46" y="26"/>
                  </a:cxn>
                  <a:cxn ang="0">
                    <a:pos x="18" y="0"/>
                  </a:cxn>
                </a:cxnLst>
                <a:rect l="0" t="0" r="r" b="b"/>
                <a:pathLst>
                  <a:path w="64" h="76">
                    <a:moveTo>
                      <a:pt x="18" y="0"/>
                    </a:moveTo>
                    <a:lnTo>
                      <a:pt x="18" y="2"/>
                    </a:lnTo>
                    <a:lnTo>
                      <a:pt x="18" y="4"/>
                    </a:lnTo>
                    <a:lnTo>
                      <a:pt x="16" y="6"/>
                    </a:lnTo>
                    <a:lnTo>
                      <a:pt x="12" y="8"/>
                    </a:lnTo>
                    <a:lnTo>
                      <a:pt x="0" y="8"/>
                    </a:lnTo>
                    <a:lnTo>
                      <a:pt x="0" y="12"/>
                    </a:lnTo>
                    <a:lnTo>
                      <a:pt x="2" y="16"/>
                    </a:lnTo>
                    <a:lnTo>
                      <a:pt x="4" y="20"/>
                    </a:lnTo>
                    <a:lnTo>
                      <a:pt x="6" y="28"/>
                    </a:lnTo>
                    <a:lnTo>
                      <a:pt x="8" y="40"/>
                    </a:lnTo>
                    <a:lnTo>
                      <a:pt x="14" y="56"/>
                    </a:lnTo>
                    <a:lnTo>
                      <a:pt x="20" y="70"/>
                    </a:lnTo>
                    <a:lnTo>
                      <a:pt x="24" y="74"/>
                    </a:lnTo>
                    <a:lnTo>
                      <a:pt x="30" y="76"/>
                    </a:lnTo>
                    <a:lnTo>
                      <a:pt x="40" y="74"/>
                    </a:lnTo>
                    <a:lnTo>
                      <a:pt x="50" y="70"/>
                    </a:lnTo>
                    <a:lnTo>
                      <a:pt x="60" y="64"/>
                    </a:lnTo>
                    <a:lnTo>
                      <a:pt x="64" y="60"/>
                    </a:lnTo>
                    <a:lnTo>
                      <a:pt x="64" y="58"/>
                    </a:lnTo>
                    <a:lnTo>
                      <a:pt x="64" y="50"/>
                    </a:lnTo>
                    <a:lnTo>
                      <a:pt x="58" y="42"/>
                    </a:lnTo>
                    <a:lnTo>
                      <a:pt x="52" y="32"/>
                    </a:lnTo>
                    <a:lnTo>
                      <a:pt x="46" y="26"/>
                    </a:lnTo>
                    <a:lnTo>
                      <a:pt x="18"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grpSp>
            <p:nvGrpSpPr>
              <p:cNvPr id="2" name="Group 29"/>
              <p:cNvGrpSpPr>
                <a:grpSpLocks noChangeAspect="1"/>
              </p:cNvGrpSpPr>
              <p:nvPr/>
            </p:nvGrpSpPr>
            <p:grpSpPr bwMode="auto">
              <a:xfrm>
                <a:off x="1066220" y="2945831"/>
                <a:ext cx="1729388" cy="775289"/>
                <a:chOff x="881" y="712"/>
                <a:chExt cx="1232" cy="654"/>
              </a:xfrm>
              <a:solidFill>
                <a:schemeClr val="accent5"/>
              </a:solidFill>
            </p:grpSpPr>
            <p:sp>
              <p:nvSpPr>
                <p:cNvPr id="254" name="Freeform 30"/>
                <p:cNvSpPr>
                  <a:spLocks noChangeAspect="1"/>
                </p:cNvSpPr>
                <p:nvPr/>
              </p:nvSpPr>
              <p:spPr bwMode="auto">
                <a:xfrm>
                  <a:off x="881" y="826"/>
                  <a:ext cx="1056" cy="540"/>
                </a:xfrm>
                <a:custGeom>
                  <a:avLst/>
                  <a:gdLst/>
                  <a:ahLst/>
                  <a:cxnLst>
                    <a:cxn ang="0">
                      <a:pos x="840" y="184"/>
                    </a:cxn>
                    <a:cxn ang="0">
                      <a:pos x="898" y="186"/>
                    </a:cxn>
                    <a:cxn ang="0">
                      <a:pos x="932" y="218"/>
                    </a:cxn>
                    <a:cxn ang="0">
                      <a:pos x="936" y="254"/>
                    </a:cxn>
                    <a:cxn ang="0">
                      <a:pos x="984" y="220"/>
                    </a:cxn>
                    <a:cxn ang="0">
                      <a:pos x="1006" y="266"/>
                    </a:cxn>
                    <a:cxn ang="0">
                      <a:pos x="1010" y="300"/>
                    </a:cxn>
                    <a:cxn ang="0">
                      <a:pos x="1040" y="324"/>
                    </a:cxn>
                    <a:cxn ang="0">
                      <a:pos x="1044" y="368"/>
                    </a:cxn>
                    <a:cxn ang="0">
                      <a:pos x="934" y="390"/>
                    </a:cxn>
                    <a:cxn ang="0">
                      <a:pos x="856" y="422"/>
                    </a:cxn>
                    <a:cxn ang="0">
                      <a:pos x="910" y="430"/>
                    </a:cxn>
                    <a:cxn ang="0">
                      <a:pos x="894" y="468"/>
                    </a:cxn>
                    <a:cxn ang="0">
                      <a:pos x="954" y="454"/>
                    </a:cxn>
                    <a:cxn ang="0">
                      <a:pos x="946" y="478"/>
                    </a:cxn>
                    <a:cxn ang="0">
                      <a:pos x="870" y="514"/>
                    </a:cxn>
                    <a:cxn ang="0">
                      <a:pos x="880" y="488"/>
                    </a:cxn>
                    <a:cxn ang="0">
                      <a:pos x="806" y="468"/>
                    </a:cxn>
                    <a:cxn ang="0">
                      <a:pos x="718" y="502"/>
                    </a:cxn>
                    <a:cxn ang="0">
                      <a:pos x="646" y="530"/>
                    </a:cxn>
                    <a:cxn ang="0">
                      <a:pos x="600" y="540"/>
                    </a:cxn>
                    <a:cxn ang="0">
                      <a:pos x="644" y="486"/>
                    </a:cxn>
                    <a:cxn ang="0">
                      <a:pos x="650" y="466"/>
                    </a:cxn>
                    <a:cxn ang="0">
                      <a:pos x="612" y="442"/>
                    </a:cxn>
                    <a:cxn ang="0">
                      <a:pos x="588" y="414"/>
                    </a:cxn>
                    <a:cxn ang="0">
                      <a:pos x="498" y="430"/>
                    </a:cxn>
                    <a:cxn ang="0">
                      <a:pos x="80" y="402"/>
                    </a:cxn>
                    <a:cxn ang="0">
                      <a:pos x="54" y="354"/>
                    </a:cxn>
                    <a:cxn ang="0">
                      <a:pos x="48" y="326"/>
                    </a:cxn>
                    <a:cxn ang="0">
                      <a:pos x="36" y="290"/>
                    </a:cxn>
                    <a:cxn ang="0">
                      <a:pos x="28" y="236"/>
                    </a:cxn>
                    <a:cxn ang="0">
                      <a:pos x="186" y="68"/>
                    </a:cxn>
                    <a:cxn ang="0">
                      <a:pos x="252" y="70"/>
                    </a:cxn>
                    <a:cxn ang="0">
                      <a:pos x="352" y="64"/>
                    </a:cxn>
                    <a:cxn ang="0">
                      <a:pos x="382" y="72"/>
                    </a:cxn>
                    <a:cxn ang="0">
                      <a:pos x="458" y="80"/>
                    </a:cxn>
                    <a:cxn ang="0">
                      <a:pos x="460" y="98"/>
                    </a:cxn>
                    <a:cxn ang="0">
                      <a:pos x="526" y="102"/>
                    </a:cxn>
                    <a:cxn ang="0">
                      <a:pos x="582" y="84"/>
                    </a:cxn>
                    <a:cxn ang="0">
                      <a:pos x="662" y="86"/>
                    </a:cxn>
                    <a:cxn ang="0">
                      <a:pos x="694" y="88"/>
                    </a:cxn>
                    <a:cxn ang="0">
                      <a:pos x="706" y="62"/>
                    </a:cxn>
                    <a:cxn ang="0">
                      <a:pos x="760" y="8"/>
                    </a:cxn>
                    <a:cxn ang="0">
                      <a:pos x="790" y="20"/>
                    </a:cxn>
                    <a:cxn ang="0">
                      <a:pos x="750" y="66"/>
                    </a:cxn>
                    <a:cxn ang="0">
                      <a:pos x="776" y="76"/>
                    </a:cxn>
                    <a:cxn ang="0">
                      <a:pos x="780" y="104"/>
                    </a:cxn>
                    <a:cxn ang="0">
                      <a:pos x="828" y="66"/>
                    </a:cxn>
                    <a:cxn ang="0">
                      <a:pos x="846" y="90"/>
                    </a:cxn>
                    <a:cxn ang="0">
                      <a:pos x="790" y="122"/>
                    </a:cxn>
                    <a:cxn ang="0">
                      <a:pos x="704" y="168"/>
                    </a:cxn>
                    <a:cxn ang="0">
                      <a:pos x="612" y="214"/>
                    </a:cxn>
                    <a:cxn ang="0">
                      <a:pos x="604" y="274"/>
                    </a:cxn>
                    <a:cxn ang="0">
                      <a:pos x="656" y="294"/>
                    </a:cxn>
                    <a:cxn ang="0">
                      <a:pos x="712" y="314"/>
                    </a:cxn>
                    <a:cxn ang="0">
                      <a:pos x="718" y="370"/>
                    </a:cxn>
                    <a:cxn ang="0">
                      <a:pos x="772" y="304"/>
                    </a:cxn>
                    <a:cxn ang="0">
                      <a:pos x="794" y="254"/>
                    </a:cxn>
                  </a:cxnLst>
                  <a:rect l="0" t="0" r="r" b="b"/>
                  <a:pathLst>
                    <a:path w="1056" h="540">
                      <a:moveTo>
                        <a:pt x="806" y="236"/>
                      </a:moveTo>
                      <a:lnTo>
                        <a:pt x="812" y="232"/>
                      </a:lnTo>
                      <a:lnTo>
                        <a:pt x="818" y="226"/>
                      </a:lnTo>
                      <a:lnTo>
                        <a:pt x="824" y="220"/>
                      </a:lnTo>
                      <a:lnTo>
                        <a:pt x="826" y="212"/>
                      </a:lnTo>
                      <a:lnTo>
                        <a:pt x="826" y="202"/>
                      </a:lnTo>
                      <a:lnTo>
                        <a:pt x="828" y="194"/>
                      </a:lnTo>
                      <a:lnTo>
                        <a:pt x="830" y="190"/>
                      </a:lnTo>
                      <a:lnTo>
                        <a:pt x="834" y="186"/>
                      </a:lnTo>
                      <a:lnTo>
                        <a:pt x="840" y="184"/>
                      </a:lnTo>
                      <a:lnTo>
                        <a:pt x="848" y="184"/>
                      </a:lnTo>
                      <a:lnTo>
                        <a:pt x="856" y="186"/>
                      </a:lnTo>
                      <a:lnTo>
                        <a:pt x="864" y="186"/>
                      </a:lnTo>
                      <a:lnTo>
                        <a:pt x="880" y="186"/>
                      </a:lnTo>
                      <a:lnTo>
                        <a:pt x="882" y="186"/>
                      </a:lnTo>
                      <a:lnTo>
                        <a:pt x="882" y="184"/>
                      </a:lnTo>
                      <a:lnTo>
                        <a:pt x="884" y="184"/>
                      </a:lnTo>
                      <a:lnTo>
                        <a:pt x="888" y="182"/>
                      </a:lnTo>
                      <a:lnTo>
                        <a:pt x="892" y="184"/>
                      </a:lnTo>
                      <a:lnTo>
                        <a:pt x="898" y="186"/>
                      </a:lnTo>
                      <a:lnTo>
                        <a:pt x="902" y="190"/>
                      </a:lnTo>
                      <a:lnTo>
                        <a:pt x="904" y="196"/>
                      </a:lnTo>
                      <a:lnTo>
                        <a:pt x="906" y="200"/>
                      </a:lnTo>
                      <a:lnTo>
                        <a:pt x="908" y="202"/>
                      </a:lnTo>
                      <a:lnTo>
                        <a:pt x="910" y="204"/>
                      </a:lnTo>
                      <a:lnTo>
                        <a:pt x="914" y="204"/>
                      </a:lnTo>
                      <a:lnTo>
                        <a:pt x="922" y="206"/>
                      </a:lnTo>
                      <a:lnTo>
                        <a:pt x="928" y="210"/>
                      </a:lnTo>
                      <a:lnTo>
                        <a:pt x="930" y="214"/>
                      </a:lnTo>
                      <a:lnTo>
                        <a:pt x="932" y="218"/>
                      </a:lnTo>
                      <a:lnTo>
                        <a:pt x="930" y="222"/>
                      </a:lnTo>
                      <a:lnTo>
                        <a:pt x="926" y="228"/>
                      </a:lnTo>
                      <a:lnTo>
                        <a:pt x="922" y="236"/>
                      </a:lnTo>
                      <a:lnTo>
                        <a:pt x="920" y="244"/>
                      </a:lnTo>
                      <a:lnTo>
                        <a:pt x="920" y="246"/>
                      </a:lnTo>
                      <a:lnTo>
                        <a:pt x="922" y="248"/>
                      </a:lnTo>
                      <a:lnTo>
                        <a:pt x="926" y="250"/>
                      </a:lnTo>
                      <a:lnTo>
                        <a:pt x="932" y="250"/>
                      </a:lnTo>
                      <a:lnTo>
                        <a:pt x="934" y="250"/>
                      </a:lnTo>
                      <a:lnTo>
                        <a:pt x="936" y="254"/>
                      </a:lnTo>
                      <a:lnTo>
                        <a:pt x="936" y="256"/>
                      </a:lnTo>
                      <a:lnTo>
                        <a:pt x="936" y="258"/>
                      </a:lnTo>
                      <a:lnTo>
                        <a:pt x="942" y="256"/>
                      </a:lnTo>
                      <a:lnTo>
                        <a:pt x="948" y="252"/>
                      </a:lnTo>
                      <a:lnTo>
                        <a:pt x="954" y="246"/>
                      </a:lnTo>
                      <a:lnTo>
                        <a:pt x="960" y="244"/>
                      </a:lnTo>
                      <a:lnTo>
                        <a:pt x="964" y="242"/>
                      </a:lnTo>
                      <a:lnTo>
                        <a:pt x="972" y="234"/>
                      </a:lnTo>
                      <a:lnTo>
                        <a:pt x="978" y="226"/>
                      </a:lnTo>
                      <a:lnTo>
                        <a:pt x="984" y="220"/>
                      </a:lnTo>
                      <a:lnTo>
                        <a:pt x="988" y="218"/>
                      </a:lnTo>
                      <a:lnTo>
                        <a:pt x="992" y="218"/>
                      </a:lnTo>
                      <a:lnTo>
                        <a:pt x="992" y="224"/>
                      </a:lnTo>
                      <a:lnTo>
                        <a:pt x="994" y="230"/>
                      </a:lnTo>
                      <a:lnTo>
                        <a:pt x="1000" y="246"/>
                      </a:lnTo>
                      <a:lnTo>
                        <a:pt x="1002" y="250"/>
                      </a:lnTo>
                      <a:lnTo>
                        <a:pt x="1000" y="252"/>
                      </a:lnTo>
                      <a:lnTo>
                        <a:pt x="1000" y="256"/>
                      </a:lnTo>
                      <a:lnTo>
                        <a:pt x="1002" y="260"/>
                      </a:lnTo>
                      <a:lnTo>
                        <a:pt x="1006" y="266"/>
                      </a:lnTo>
                      <a:lnTo>
                        <a:pt x="1008" y="272"/>
                      </a:lnTo>
                      <a:lnTo>
                        <a:pt x="1006" y="278"/>
                      </a:lnTo>
                      <a:lnTo>
                        <a:pt x="1004" y="280"/>
                      </a:lnTo>
                      <a:lnTo>
                        <a:pt x="1002" y="284"/>
                      </a:lnTo>
                      <a:lnTo>
                        <a:pt x="1000" y="286"/>
                      </a:lnTo>
                      <a:lnTo>
                        <a:pt x="998" y="288"/>
                      </a:lnTo>
                      <a:lnTo>
                        <a:pt x="1000" y="292"/>
                      </a:lnTo>
                      <a:lnTo>
                        <a:pt x="1004" y="294"/>
                      </a:lnTo>
                      <a:lnTo>
                        <a:pt x="1008" y="296"/>
                      </a:lnTo>
                      <a:lnTo>
                        <a:pt x="1010" y="300"/>
                      </a:lnTo>
                      <a:lnTo>
                        <a:pt x="1010" y="302"/>
                      </a:lnTo>
                      <a:lnTo>
                        <a:pt x="1010" y="304"/>
                      </a:lnTo>
                      <a:lnTo>
                        <a:pt x="1016" y="308"/>
                      </a:lnTo>
                      <a:lnTo>
                        <a:pt x="1020" y="308"/>
                      </a:lnTo>
                      <a:lnTo>
                        <a:pt x="1028" y="310"/>
                      </a:lnTo>
                      <a:lnTo>
                        <a:pt x="1036" y="314"/>
                      </a:lnTo>
                      <a:lnTo>
                        <a:pt x="1040" y="316"/>
                      </a:lnTo>
                      <a:lnTo>
                        <a:pt x="1042" y="318"/>
                      </a:lnTo>
                      <a:lnTo>
                        <a:pt x="1042" y="320"/>
                      </a:lnTo>
                      <a:lnTo>
                        <a:pt x="1040" y="324"/>
                      </a:lnTo>
                      <a:lnTo>
                        <a:pt x="1038" y="328"/>
                      </a:lnTo>
                      <a:lnTo>
                        <a:pt x="1040" y="332"/>
                      </a:lnTo>
                      <a:lnTo>
                        <a:pt x="1044" y="332"/>
                      </a:lnTo>
                      <a:lnTo>
                        <a:pt x="1044" y="336"/>
                      </a:lnTo>
                      <a:lnTo>
                        <a:pt x="1056" y="336"/>
                      </a:lnTo>
                      <a:lnTo>
                        <a:pt x="1056" y="342"/>
                      </a:lnTo>
                      <a:lnTo>
                        <a:pt x="1054" y="352"/>
                      </a:lnTo>
                      <a:lnTo>
                        <a:pt x="1050" y="360"/>
                      </a:lnTo>
                      <a:lnTo>
                        <a:pt x="1048" y="366"/>
                      </a:lnTo>
                      <a:lnTo>
                        <a:pt x="1044" y="368"/>
                      </a:lnTo>
                      <a:lnTo>
                        <a:pt x="1032" y="370"/>
                      </a:lnTo>
                      <a:lnTo>
                        <a:pt x="1024" y="370"/>
                      </a:lnTo>
                      <a:lnTo>
                        <a:pt x="1016" y="372"/>
                      </a:lnTo>
                      <a:lnTo>
                        <a:pt x="1008" y="376"/>
                      </a:lnTo>
                      <a:lnTo>
                        <a:pt x="994" y="386"/>
                      </a:lnTo>
                      <a:lnTo>
                        <a:pt x="988" y="388"/>
                      </a:lnTo>
                      <a:lnTo>
                        <a:pt x="980" y="394"/>
                      </a:lnTo>
                      <a:lnTo>
                        <a:pt x="970" y="396"/>
                      </a:lnTo>
                      <a:lnTo>
                        <a:pt x="960" y="398"/>
                      </a:lnTo>
                      <a:lnTo>
                        <a:pt x="934" y="390"/>
                      </a:lnTo>
                      <a:lnTo>
                        <a:pt x="908" y="388"/>
                      </a:lnTo>
                      <a:lnTo>
                        <a:pt x="894" y="390"/>
                      </a:lnTo>
                      <a:lnTo>
                        <a:pt x="886" y="396"/>
                      </a:lnTo>
                      <a:lnTo>
                        <a:pt x="876" y="402"/>
                      </a:lnTo>
                      <a:lnTo>
                        <a:pt x="862" y="410"/>
                      </a:lnTo>
                      <a:lnTo>
                        <a:pt x="852" y="418"/>
                      </a:lnTo>
                      <a:lnTo>
                        <a:pt x="842" y="430"/>
                      </a:lnTo>
                      <a:lnTo>
                        <a:pt x="828" y="440"/>
                      </a:lnTo>
                      <a:lnTo>
                        <a:pt x="840" y="432"/>
                      </a:lnTo>
                      <a:lnTo>
                        <a:pt x="856" y="422"/>
                      </a:lnTo>
                      <a:lnTo>
                        <a:pt x="876" y="414"/>
                      </a:lnTo>
                      <a:lnTo>
                        <a:pt x="884" y="414"/>
                      </a:lnTo>
                      <a:lnTo>
                        <a:pt x="892" y="414"/>
                      </a:lnTo>
                      <a:lnTo>
                        <a:pt x="898" y="414"/>
                      </a:lnTo>
                      <a:lnTo>
                        <a:pt x="906" y="414"/>
                      </a:lnTo>
                      <a:lnTo>
                        <a:pt x="910" y="418"/>
                      </a:lnTo>
                      <a:lnTo>
                        <a:pt x="910" y="420"/>
                      </a:lnTo>
                      <a:lnTo>
                        <a:pt x="912" y="422"/>
                      </a:lnTo>
                      <a:lnTo>
                        <a:pt x="910" y="426"/>
                      </a:lnTo>
                      <a:lnTo>
                        <a:pt x="910" y="430"/>
                      </a:lnTo>
                      <a:lnTo>
                        <a:pt x="904" y="432"/>
                      </a:lnTo>
                      <a:lnTo>
                        <a:pt x="896" y="436"/>
                      </a:lnTo>
                      <a:lnTo>
                        <a:pt x="892" y="438"/>
                      </a:lnTo>
                      <a:lnTo>
                        <a:pt x="890" y="442"/>
                      </a:lnTo>
                      <a:lnTo>
                        <a:pt x="904" y="442"/>
                      </a:lnTo>
                      <a:lnTo>
                        <a:pt x="898" y="448"/>
                      </a:lnTo>
                      <a:lnTo>
                        <a:pt x="894" y="454"/>
                      </a:lnTo>
                      <a:lnTo>
                        <a:pt x="892" y="460"/>
                      </a:lnTo>
                      <a:lnTo>
                        <a:pt x="892" y="464"/>
                      </a:lnTo>
                      <a:lnTo>
                        <a:pt x="894" y="468"/>
                      </a:lnTo>
                      <a:lnTo>
                        <a:pt x="902" y="472"/>
                      </a:lnTo>
                      <a:lnTo>
                        <a:pt x="910" y="476"/>
                      </a:lnTo>
                      <a:lnTo>
                        <a:pt x="920" y="476"/>
                      </a:lnTo>
                      <a:lnTo>
                        <a:pt x="928" y="476"/>
                      </a:lnTo>
                      <a:lnTo>
                        <a:pt x="936" y="472"/>
                      </a:lnTo>
                      <a:lnTo>
                        <a:pt x="940" y="468"/>
                      </a:lnTo>
                      <a:lnTo>
                        <a:pt x="944" y="462"/>
                      </a:lnTo>
                      <a:lnTo>
                        <a:pt x="948" y="458"/>
                      </a:lnTo>
                      <a:lnTo>
                        <a:pt x="950" y="454"/>
                      </a:lnTo>
                      <a:lnTo>
                        <a:pt x="954" y="454"/>
                      </a:lnTo>
                      <a:lnTo>
                        <a:pt x="958" y="454"/>
                      </a:lnTo>
                      <a:lnTo>
                        <a:pt x="958" y="456"/>
                      </a:lnTo>
                      <a:lnTo>
                        <a:pt x="956" y="460"/>
                      </a:lnTo>
                      <a:lnTo>
                        <a:pt x="954" y="464"/>
                      </a:lnTo>
                      <a:lnTo>
                        <a:pt x="958" y="464"/>
                      </a:lnTo>
                      <a:lnTo>
                        <a:pt x="960" y="466"/>
                      </a:lnTo>
                      <a:lnTo>
                        <a:pt x="960" y="468"/>
                      </a:lnTo>
                      <a:lnTo>
                        <a:pt x="958" y="470"/>
                      </a:lnTo>
                      <a:lnTo>
                        <a:pt x="954" y="474"/>
                      </a:lnTo>
                      <a:lnTo>
                        <a:pt x="946" y="478"/>
                      </a:lnTo>
                      <a:lnTo>
                        <a:pt x="938" y="486"/>
                      </a:lnTo>
                      <a:lnTo>
                        <a:pt x="930" y="490"/>
                      </a:lnTo>
                      <a:lnTo>
                        <a:pt x="910" y="496"/>
                      </a:lnTo>
                      <a:lnTo>
                        <a:pt x="904" y="496"/>
                      </a:lnTo>
                      <a:lnTo>
                        <a:pt x="898" y="496"/>
                      </a:lnTo>
                      <a:lnTo>
                        <a:pt x="890" y="496"/>
                      </a:lnTo>
                      <a:lnTo>
                        <a:pt x="884" y="498"/>
                      </a:lnTo>
                      <a:lnTo>
                        <a:pt x="880" y="504"/>
                      </a:lnTo>
                      <a:lnTo>
                        <a:pt x="876" y="510"/>
                      </a:lnTo>
                      <a:lnTo>
                        <a:pt x="870" y="514"/>
                      </a:lnTo>
                      <a:lnTo>
                        <a:pt x="866" y="516"/>
                      </a:lnTo>
                      <a:lnTo>
                        <a:pt x="862" y="516"/>
                      </a:lnTo>
                      <a:lnTo>
                        <a:pt x="856" y="516"/>
                      </a:lnTo>
                      <a:lnTo>
                        <a:pt x="854" y="512"/>
                      </a:lnTo>
                      <a:lnTo>
                        <a:pt x="854" y="510"/>
                      </a:lnTo>
                      <a:lnTo>
                        <a:pt x="854" y="504"/>
                      </a:lnTo>
                      <a:lnTo>
                        <a:pt x="858" y="500"/>
                      </a:lnTo>
                      <a:lnTo>
                        <a:pt x="866" y="496"/>
                      </a:lnTo>
                      <a:lnTo>
                        <a:pt x="876" y="492"/>
                      </a:lnTo>
                      <a:lnTo>
                        <a:pt x="880" y="488"/>
                      </a:lnTo>
                      <a:lnTo>
                        <a:pt x="882" y="484"/>
                      </a:lnTo>
                      <a:lnTo>
                        <a:pt x="846" y="490"/>
                      </a:lnTo>
                      <a:lnTo>
                        <a:pt x="840" y="470"/>
                      </a:lnTo>
                      <a:lnTo>
                        <a:pt x="840" y="466"/>
                      </a:lnTo>
                      <a:lnTo>
                        <a:pt x="842" y="462"/>
                      </a:lnTo>
                      <a:lnTo>
                        <a:pt x="848" y="454"/>
                      </a:lnTo>
                      <a:lnTo>
                        <a:pt x="828" y="448"/>
                      </a:lnTo>
                      <a:lnTo>
                        <a:pt x="822" y="450"/>
                      </a:lnTo>
                      <a:lnTo>
                        <a:pt x="816" y="454"/>
                      </a:lnTo>
                      <a:lnTo>
                        <a:pt x="806" y="468"/>
                      </a:lnTo>
                      <a:lnTo>
                        <a:pt x="800" y="474"/>
                      </a:lnTo>
                      <a:lnTo>
                        <a:pt x="796" y="482"/>
                      </a:lnTo>
                      <a:lnTo>
                        <a:pt x="790" y="486"/>
                      </a:lnTo>
                      <a:lnTo>
                        <a:pt x="780" y="488"/>
                      </a:lnTo>
                      <a:lnTo>
                        <a:pt x="774" y="490"/>
                      </a:lnTo>
                      <a:lnTo>
                        <a:pt x="742" y="490"/>
                      </a:lnTo>
                      <a:lnTo>
                        <a:pt x="734" y="494"/>
                      </a:lnTo>
                      <a:lnTo>
                        <a:pt x="726" y="496"/>
                      </a:lnTo>
                      <a:lnTo>
                        <a:pt x="722" y="500"/>
                      </a:lnTo>
                      <a:lnTo>
                        <a:pt x="718" y="502"/>
                      </a:lnTo>
                      <a:lnTo>
                        <a:pt x="706" y="504"/>
                      </a:lnTo>
                      <a:lnTo>
                        <a:pt x="690" y="504"/>
                      </a:lnTo>
                      <a:lnTo>
                        <a:pt x="682" y="504"/>
                      </a:lnTo>
                      <a:lnTo>
                        <a:pt x="672" y="506"/>
                      </a:lnTo>
                      <a:lnTo>
                        <a:pt x="664" y="512"/>
                      </a:lnTo>
                      <a:lnTo>
                        <a:pt x="664" y="514"/>
                      </a:lnTo>
                      <a:lnTo>
                        <a:pt x="664" y="520"/>
                      </a:lnTo>
                      <a:lnTo>
                        <a:pt x="654" y="524"/>
                      </a:lnTo>
                      <a:lnTo>
                        <a:pt x="648" y="526"/>
                      </a:lnTo>
                      <a:lnTo>
                        <a:pt x="646" y="530"/>
                      </a:lnTo>
                      <a:lnTo>
                        <a:pt x="642" y="530"/>
                      </a:lnTo>
                      <a:lnTo>
                        <a:pt x="642" y="526"/>
                      </a:lnTo>
                      <a:lnTo>
                        <a:pt x="636" y="528"/>
                      </a:lnTo>
                      <a:lnTo>
                        <a:pt x="634" y="526"/>
                      </a:lnTo>
                      <a:lnTo>
                        <a:pt x="630" y="526"/>
                      </a:lnTo>
                      <a:lnTo>
                        <a:pt x="624" y="528"/>
                      </a:lnTo>
                      <a:lnTo>
                        <a:pt x="616" y="534"/>
                      </a:lnTo>
                      <a:lnTo>
                        <a:pt x="608" y="538"/>
                      </a:lnTo>
                      <a:lnTo>
                        <a:pt x="606" y="540"/>
                      </a:lnTo>
                      <a:lnTo>
                        <a:pt x="600" y="540"/>
                      </a:lnTo>
                      <a:lnTo>
                        <a:pt x="596" y="540"/>
                      </a:lnTo>
                      <a:lnTo>
                        <a:pt x="602" y="536"/>
                      </a:lnTo>
                      <a:lnTo>
                        <a:pt x="608" y="532"/>
                      </a:lnTo>
                      <a:lnTo>
                        <a:pt x="614" y="528"/>
                      </a:lnTo>
                      <a:lnTo>
                        <a:pt x="616" y="524"/>
                      </a:lnTo>
                      <a:lnTo>
                        <a:pt x="616" y="522"/>
                      </a:lnTo>
                      <a:lnTo>
                        <a:pt x="616" y="524"/>
                      </a:lnTo>
                      <a:lnTo>
                        <a:pt x="626" y="518"/>
                      </a:lnTo>
                      <a:lnTo>
                        <a:pt x="632" y="508"/>
                      </a:lnTo>
                      <a:lnTo>
                        <a:pt x="644" y="486"/>
                      </a:lnTo>
                      <a:lnTo>
                        <a:pt x="644" y="492"/>
                      </a:lnTo>
                      <a:lnTo>
                        <a:pt x="648" y="496"/>
                      </a:lnTo>
                      <a:lnTo>
                        <a:pt x="652" y="496"/>
                      </a:lnTo>
                      <a:lnTo>
                        <a:pt x="658" y="496"/>
                      </a:lnTo>
                      <a:lnTo>
                        <a:pt x="664" y="496"/>
                      </a:lnTo>
                      <a:lnTo>
                        <a:pt x="664" y="494"/>
                      </a:lnTo>
                      <a:lnTo>
                        <a:pt x="664" y="490"/>
                      </a:lnTo>
                      <a:lnTo>
                        <a:pt x="664" y="482"/>
                      </a:lnTo>
                      <a:lnTo>
                        <a:pt x="658" y="472"/>
                      </a:lnTo>
                      <a:lnTo>
                        <a:pt x="650" y="466"/>
                      </a:lnTo>
                      <a:lnTo>
                        <a:pt x="648" y="464"/>
                      </a:lnTo>
                      <a:lnTo>
                        <a:pt x="644" y="464"/>
                      </a:lnTo>
                      <a:lnTo>
                        <a:pt x="630" y="464"/>
                      </a:lnTo>
                      <a:lnTo>
                        <a:pt x="612" y="462"/>
                      </a:lnTo>
                      <a:lnTo>
                        <a:pt x="616" y="458"/>
                      </a:lnTo>
                      <a:lnTo>
                        <a:pt x="618" y="452"/>
                      </a:lnTo>
                      <a:lnTo>
                        <a:pt x="618" y="450"/>
                      </a:lnTo>
                      <a:lnTo>
                        <a:pt x="616" y="448"/>
                      </a:lnTo>
                      <a:lnTo>
                        <a:pt x="614" y="446"/>
                      </a:lnTo>
                      <a:lnTo>
                        <a:pt x="612" y="442"/>
                      </a:lnTo>
                      <a:lnTo>
                        <a:pt x="614" y="438"/>
                      </a:lnTo>
                      <a:lnTo>
                        <a:pt x="610" y="436"/>
                      </a:lnTo>
                      <a:lnTo>
                        <a:pt x="608" y="432"/>
                      </a:lnTo>
                      <a:lnTo>
                        <a:pt x="606" y="428"/>
                      </a:lnTo>
                      <a:lnTo>
                        <a:pt x="606" y="424"/>
                      </a:lnTo>
                      <a:lnTo>
                        <a:pt x="604" y="422"/>
                      </a:lnTo>
                      <a:lnTo>
                        <a:pt x="606" y="418"/>
                      </a:lnTo>
                      <a:lnTo>
                        <a:pt x="602" y="416"/>
                      </a:lnTo>
                      <a:lnTo>
                        <a:pt x="598" y="414"/>
                      </a:lnTo>
                      <a:lnTo>
                        <a:pt x="588" y="414"/>
                      </a:lnTo>
                      <a:lnTo>
                        <a:pt x="580" y="416"/>
                      </a:lnTo>
                      <a:lnTo>
                        <a:pt x="566" y="422"/>
                      </a:lnTo>
                      <a:lnTo>
                        <a:pt x="554" y="430"/>
                      </a:lnTo>
                      <a:lnTo>
                        <a:pt x="538" y="438"/>
                      </a:lnTo>
                      <a:lnTo>
                        <a:pt x="526" y="436"/>
                      </a:lnTo>
                      <a:lnTo>
                        <a:pt x="516" y="432"/>
                      </a:lnTo>
                      <a:lnTo>
                        <a:pt x="516" y="434"/>
                      </a:lnTo>
                      <a:lnTo>
                        <a:pt x="510" y="432"/>
                      </a:lnTo>
                      <a:lnTo>
                        <a:pt x="504" y="430"/>
                      </a:lnTo>
                      <a:lnTo>
                        <a:pt x="498" y="430"/>
                      </a:lnTo>
                      <a:lnTo>
                        <a:pt x="492" y="428"/>
                      </a:lnTo>
                      <a:lnTo>
                        <a:pt x="486" y="426"/>
                      </a:lnTo>
                      <a:lnTo>
                        <a:pt x="482" y="422"/>
                      </a:lnTo>
                      <a:lnTo>
                        <a:pt x="482" y="416"/>
                      </a:lnTo>
                      <a:lnTo>
                        <a:pt x="88" y="416"/>
                      </a:lnTo>
                      <a:lnTo>
                        <a:pt x="88" y="414"/>
                      </a:lnTo>
                      <a:lnTo>
                        <a:pt x="86" y="414"/>
                      </a:lnTo>
                      <a:lnTo>
                        <a:pt x="88" y="412"/>
                      </a:lnTo>
                      <a:lnTo>
                        <a:pt x="90" y="410"/>
                      </a:lnTo>
                      <a:lnTo>
                        <a:pt x="80" y="402"/>
                      </a:lnTo>
                      <a:lnTo>
                        <a:pt x="72" y="394"/>
                      </a:lnTo>
                      <a:lnTo>
                        <a:pt x="62" y="386"/>
                      </a:lnTo>
                      <a:lnTo>
                        <a:pt x="58" y="386"/>
                      </a:lnTo>
                      <a:lnTo>
                        <a:pt x="54" y="384"/>
                      </a:lnTo>
                      <a:lnTo>
                        <a:pt x="52" y="378"/>
                      </a:lnTo>
                      <a:lnTo>
                        <a:pt x="50" y="372"/>
                      </a:lnTo>
                      <a:lnTo>
                        <a:pt x="52" y="366"/>
                      </a:lnTo>
                      <a:lnTo>
                        <a:pt x="56" y="360"/>
                      </a:lnTo>
                      <a:lnTo>
                        <a:pt x="56" y="358"/>
                      </a:lnTo>
                      <a:lnTo>
                        <a:pt x="54" y="354"/>
                      </a:lnTo>
                      <a:lnTo>
                        <a:pt x="48" y="352"/>
                      </a:lnTo>
                      <a:lnTo>
                        <a:pt x="48" y="350"/>
                      </a:lnTo>
                      <a:lnTo>
                        <a:pt x="50" y="348"/>
                      </a:lnTo>
                      <a:lnTo>
                        <a:pt x="52" y="346"/>
                      </a:lnTo>
                      <a:lnTo>
                        <a:pt x="50" y="342"/>
                      </a:lnTo>
                      <a:lnTo>
                        <a:pt x="48" y="340"/>
                      </a:lnTo>
                      <a:lnTo>
                        <a:pt x="42" y="336"/>
                      </a:lnTo>
                      <a:lnTo>
                        <a:pt x="42" y="334"/>
                      </a:lnTo>
                      <a:lnTo>
                        <a:pt x="44" y="330"/>
                      </a:lnTo>
                      <a:lnTo>
                        <a:pt x="48" y="326"/>
                      </a:lnTo>
                      <a:lnTo>
                        <a:pt x="52" y="320"/>
                      </a:lnTo>
                      <a:lnTo>
                        <a:pt x="50" y="316"/>
                      </a:lnTo>
                      <a:lnTo>
                        <a:pt x="44" y="316"/>
                      </a:lnTo>
                      <a:lnTo>
                        <a:pt x="34" y="314"/>
                      </a:lnTo>
                      <a:lnTo>
                        <a:pt x="34" y="310"/>
                      </a:lnTo>
                      <a:lnTo>
                        <a:pt x="38" y="308"/>
                      </a:lnTo>
                      <a:lnTo>
                        <a:pt x="40" y="308"/>
                      </a:lnTo>
                      <a:lnTo>
                        <a:pt x="38" y="304"/>
                      </a:lnTo>
                      <a:lnTo>
                        <a:pt x="38" y="300"/>
                      </a:lnTo>
                      <a:lnTo>
                        <a:pt x="36" y="290"/>
                      </a:lnTo>
                      <a:lnTo>
                        <a:pt x="34" y="284"/>
                      </a:lnTo>
                      <a:lnTo>
                        <a:pt x="26" y="276"/>
                      </a:lnTo>
                      <a:lnTo>
                        <a:pt x="24" y="272"/>
                      </a:lnTo>
                      <a:lnTo>
                        <a:pt x="24" y="268"/>
                      </a:lnTo>
                      <a:lnTo>
                        <a:pt x="26" y="262"/>
                      </a:lnTo>
                      <a:lnTo>
                        <a:pt x="30" y="254"/>
                      </a:lnTo>
                      <a:lnTo>
                        <a:pt x="34" y="248"/>
                      </a:lnTo>
                      <a:lnTo>
                        <a:pt x="30" y="246"/>
                      </a:lnTo>
                      <a:lnTo>
                        <a:pt x="30" y="242"/>
                      </a:lnTo>
                      <a:lnTo>
                        <a:pt x="28" y="236"/>
                      </a:lnTo>
                      <a:lnTo>
                        <a:pt x="26" y="232"/>
                      </a:lnTo>
                      <a:lnTo>
                        <a:pt x="20" y="230"/>
                      </a:lnTo>
                      <a:lnTo>
                        <a:pt x="14" y="230"/>
                      </a:lnTo>
                      <a:lnTo>
                        <a:pt x="8" y="230"/>
                      </a:lnTo>
                      <a:lnTo>
                        <a:pt x="8" y="228"/>
                      </a:lnTo>
                      <a:lnTo>
                        <a:pt x="2" y="226"/>
                      </a:lnTo>
                      <a:lnTo>
                        <a:pt x="0" y="222"/>
                      </a:lnTo>
                      <a:lnTo>
                        <a:pt x="172" y="64"/>
                      </a:lnTo>
                      <a:lnTo>
                        <a:pt x="178" y="68"/>
                      </a:lnTo>
                      <a:lnTo>
                        <a:pt x="186" y="68"/>
                      </a:lnTo>
                      <a:lnTo>
                        <a:pt x="196" y="70"/>
                      </a:lnTo>
                      <a:lnTo>
                        <a:pt x="204" y="72"/>
                      </a:lnTo>
                      <a:lnTo>
                        <a:pt x="206" y="74"/>
                      </a:lnTo>
                      <a:lnTo>
                        <a:pt x="210" y="76"/>
                      </a:lnTo>
                      <a:lnTo>
                        <a:pt x="212" y="78"/>
                      </a:lnTo>
                      <a:lnTo>
                        <a:pt x="216" y="78"/>
                      </a:lnTo>
                      <a:lnTo>
                        <a:pt x="226" y="78"/>
                      </a:lnTo>
                      <a:lnTo>
                        <a:pt x="234" y="74"/>
                      </a:lnTo>
                      <a:lnTo>
                        <a:pt x="242" y="72"/>
                      </a:lnTo>
                      <a:lnTo>
                        <a:pt x="252" y="70"/>
                      </a:lnTo>
                      <a:lnTo>
                        <a:pt x="258" y="70"/>
                      </a:lnTo>
                      <a:lnTo>
                        <a:pt x="268" y="70"/>
                      </a:lnTo>
                      <a:lnTo>
                        <a:pt x="280" y="66"/>
                      </a:lnTo>
                      <a:lnTo>
                        <a:pt x="288" y="62"/>
                      </a:lnTo>
                      <a:lnTo>
                        <a:pt x="296" y="60"/>
                      </a:lnTo>
                      <a:lnTo>
                        <a:pt x="316" y="60"/>
                      </a:lnTo>
                      <a:lnTo>
                        <a:pt x="334" y="58"/>
                      </a:lnTo>
                      <a:lnTo>
                        <a:pt x="346" y="58"/>
                      </a:lnTo>
                      <a:lnTo>
                        <a:pt x="352" y="58"/>
                      </a:lnTo>
                      <a:lnTo>
                        <a:pt x="352" y="64"/>
                      </a:lnTo>
                      <a:lnTo>
                        <a:pt x="354" y="68"/>
                      </a:lnTo>
                      <a:lnTo>
                        <a:pt x="358" y="68"/>
                      </a:lnTo>
                      <a:lnTo>
                        <a:pt x="362" y="68"/>
                      </a:lnTo>
                      <a:lnTo>
                        <a:pt x="366" y="64"/>
                      </a:lnTo>
                      <a:lnTo>
                        <a:pt x="374" y="58"/>
                      </a:lnTo>
                      <a:lnTo>
                        <a:pt x="378" y="60"/>
                      </a:lnTo>
                      <a:lnTo>
                        <a:pt x="380" y="64"/>
                      </a:lnTo>
                      <a:lnTo>
                        <a:pt x="380" y="70"/>
                      </a:lnTo>
                      <a:lnTo>
                        <a:pt x="380" y="72"/>
                      </a:lnTo>
                      <a:lnTo>
                        <a:pt x="382" y="72"/>
                      </a:lnTo>
                      <a:lnTo>
                        <a:pt x="386" y="70"/>
                      </a:lnTo>
                      <a:lnTo>
                        <a:pt x="392" y="66"/>
                      </a:lnTo>
                      <a:lnTo>
                        <a:pt x="398" y="64"/>
                      </a:lnTo>
                      <a:lnTo>
                        <a:pt x="410" y="66"/>
                      </a:lnTo>
                      <a:lnTo>
                        <a:pt x="418" y="68"/>
                      </a:lnTo>
                      <a:lnTo>
                        <a:pt x="426" y="72"/>
                      </a:lnTo>
                      <a:lnTo>
                        <a:pt x="436" y="74"/>
                      </a:lnTo>
                      <a:lnTo>
                        <a:pt x="444" y="78"/>
                      </a:lnTo>
                      <a:lnTo>
                        <a:pt x="454" y="82"/>
                      </a:lnTo>
                      <a:lnTo>
                        <a:pt x="458" y="80"/>
                      </a:lnTo>
                      <a:lnTo>
                        <a:pt x="466" y="78"/>
                      </a:lnTo>
                      <a:lnTo>
                        <a:pt x="470" y="80"/>
                      </a:lnTo>
                      <a:lnTo>
                        <a:pt x="472" y="80"/>
                      </a:lnTo>
                      <a:lnTo>
                        <a:pt x="474" y="82"/>
                      </a:lnTo>
                      <a:lnTo>
                        <a:pt x="474" y="86"/>
                      </a:lnTo>
                      <a:lnTo>
                        <a:pt x="472" y="88"/>
                      </a:lnTo>
                      <a:lnTo>
                        <a:pt x="466" y="90"/>
                      </a:lnTo>
                      <a:lnTo>
                        <a:pt x="462" y="94"/>
                      </a:lnTo>
                      <a:lnTo>
                        <a:pt x="460" y="94"/>
                      </a:lnTo>
                      <a:lnTo>
                        <a:pt x="460" y="98"/>
                      </a:lnTo>
                      <a:lnTo>
                        <a:pt x="460" y="100"/>
                      </a:lnTo>
                      <a:lnTo>
                        <a:pt x="462" y="100"/>
                      </a:lnTo>
                      <a:lnTo>
                        <a:pt x="470" y="102"/>
                      </a:lnTo>
                      <a:lnTo>
                        <a:pt x="482" y="100"/>
                      </a:lnTo>
                      <a:lnTo>
                        <a:pt x="492" y="98"/>
                      </a:lnTo>
                      <a:lnTo>
                        <a:pt x="502" y="96"/>
                      </a:lnTo>
                      <a:lnTo>
                        <a:pt x="514" y="94"/>
                      </a:lnTo>
                      <a:lnTo>
                        <a:pt x="518" y="96"/>
                      </a:lnTo>
                      <a:lnTo>
                        <a:pt x="522" y="98"/>
                      </a:lnTo>
                      <a:lnTo>
                        <a:pt x="526" y="102"/>
                      </a:lnTo>
                      <a:lnTo>
                        <a:pt x="528" y="104"/>
                      </a:lnTo>
                      <a:lnTo>
                        <a:pt x="532" y="102"/>
                      </a:lnTo>
                      <a:lnTo>
                        <a:pt x="536" y="100"/>
                      </a:lnTo>
                      <a:lnTo>
                        <a:pt x="538" y="92"/>
                      </a:lnTo>
                      <a:lnTo>
                        <a:pt x="538" y="88"/>
                      </a:lnTo>
                      <a:lnTo>
                        <a:pt x="554" y="84"/>
                      </a:lnTo>
                      <a:lnTo>
                        <a:pt x="562" y="82"/>
                      </a:lnTo>
                      <a:lnTo>
                        <a:pt x="572" y="80"/>
                      </a:lnTo>
                      <a:lnTo>
                        <a:pt x="578" y="82"/>
                      </a:lnTo>
                      <a:lnTo>
                        <a:pt x="582" y="84"/>
                      </a:lnTo>
                      <a:lnTo>
                        <a:pt x="582" y="86"/>
                      </a:lnTo>
                      <a:lnTo>
                        <a:pt x="586" y="88"/>
                      </a:lnTo>
                      <a:lnTo>
                        <a:pt x="594" y="92"/>
                      </a:lnTo>
                      <a:lnTo>
                        <a:pt x="606" y="96"/>
                      </a:lnTo>
                      <a:lnTo>
                        <a:pt x="638" y="96"/>
                      </a:lnTo>
                      <a:lnTo>
                        <a:pt x="642" y="96"/>
                      </a:lnTo>
                      <a:lnTo>
                        <a:pt x="646" y="96"/>
                      </a:lnTo>
                      <a:lnTo>
                        <a:pt x="652" y="92"/>
                      </a:lnTo>
                      <a:lnTo>
                        <a:pt x="656" y="88"/>
                      </a:lnTo>
                      <a:lnTo>
                        <a:pt x="662" y="86"/>
                      </a:lnTo>
                      <a:lnTo>
                        <a:pt x="670" y="88"/>
                      </a:lnTo>
                      <a:lnTo>
                        <a:pt x="682" y="88"/>
                      </a:lnTo>
                      <a:lnTo>
                        <a:pt x="678" y="94"/>
                      </a:lnTo>
                      <a:lnTo>
                        <a:pt x="676" y="98"/>
                      </a:lnTo>
                      <a:lnTo>
                        <a:pt x="674" y="102"/>
                      </a:lnTo>
                      <a:lnTo>
                        <a:pt x="674" y="104"/>
                      </a:lnTo>
                      <a:lnTo>
                        <a:pt x="676" y="106"/>
                      </a:lnTo>
                      <a:lnTo>
                        <a:pt x="680" y="104"/>
                      </a:lnTo>
                      <a:lnTo>
                        <a:pt x="690" y="92"/>
                      </a:lnTo>
                      <a:lnTo>
                        <a:pt x="694" y="88"/>
                      </a:lnTo>
                      <a:lnTo>
                        <a:pt x="702" y="86"/>
                      </a:lnTo>
                      <a:lnTo>
                        <a:pt x="708" y="82"/>
                      </a:lnTo>
                      <a:lnTo>
                        <a:pt x="714" y="78"/>
                      </a:lnTo>
                      <a:lnTo>
                        <a:pt x="716" y="72"/>
                      </a:lnTo>
                      <a:lnTo>
                        <a:pt x="716" y="70"/>
                      </a:lnTo>
                      <a:lnTo>
                        <a:pt x="716" y="68"/>
                      </a:lnTo>
                      <a:lnTo>
                        <a:pt x="714" y="66"/>
                      </a:lnTo>
                      <a:lnTo>
                        <a:pt x="708" y="64"/>
                      </a:lnTo>
                      <a:lnTo>
                        <a:pt x="706" y="64"/>
                      </a:lnTo>
                      <a:lnTo>
                        <a:pt x="706" y="62"/>
                      </a:lnTo>
                      <a:lnTo>
                        <a:pt x="706" y="58"/>
                      </a:lnTo>
                      <a:lnTo>
                        <a:pt x="710" y="54"/>
                      </a:lnTo>
                      <a:lnTo>
                        <a:pt x="718" y="44"/>
                      </a:lnTo>
                      <a:lnTo>
                        <a:pt x="732" y="36"/>
                      </a:lnTo>
                      <a:lnTo>
                        <a:pt x="742" y="32"/>
                      </a:lnTo>
                      <a:lnTo>
                        <a:pt x="746" y="30"/>
                      </a:lnTo>
                      <a:lnTo>
                        <a:pt x="746" y="26"/>
                      </a:lnTo>
                      <a:lnTo>
                        <a:pt x="748" y="20"/>
                      </a:lnTo>
                      <a:lnTo>
                        <a:pt x="752" y="14"/>
                      </a:lnTo>
                      <a:lnTo>
                        <a:pt x="760" y="8"/>
                      </a:lnTo>
                      <a:lnTo>
                        <a:pt x="768" y="4"/>
                      </a:lnTo>
                      <a:lnTo>
                        <a:pt x="776" y="2"/>
                      </a:lnTo>
                      <a:lnTo>
                        <a:pt x="790" y="0"/>
                      </a:lnTo>
                      <a:lnTo>
                        <a:pt x="806" y="0"/>
                      </a:lnTo>
                      <a:lnTo>
                        <a:pt x="816" y="2"/>
                      </a:lnTo>
                      <a:lnTo>
                        <a:pt x="820" y="4"/>
                      </a:lnTo>
                      <a:lnTo>
                        <a:pt x="820" y="6"/>
                      </a:lnTo>
                      <a:lnTo>
                        <a:pt x="810" y="10"/>
                      </a:lnTo>
                      <a:lnTo>
                        <a:pt x="800" y="16"/>
                      </a:lnTo>
                      <a:lnTo>
                        <a:pt x="790" y="20"/>
                      </a:lnTo>
                      <a:lnTo>
                        <a:pt x="778" y="22"/>
                      </a:lnTo>
                      <a:lnTo>
                        <a:pt x="772" y="22"/>
                      </a:lnTo>
                      <a:lnTo>
                        <a:pt x="764" y="26"/>
                      </a:lnTo>
                      <a:lnTo>
                        <a:pt x="758" y="30"/>
                      </a:lnTo>
                      <a:lnTo>
                        <a:pt x="756" y="34"/>
                      </a:lnTo>
                      <a:lnTo>
                        <a:pt x="756" y="52"/>
                      </a:lnTo>
                      <a:lnTo>
                        <a:pt x="754" y="58"/>
                      </a:lnTo>
                      <a:lnTo>
                        <a:pt x="752" y="60"/>
                      </a:lnTo>
                      <a:lnTo>
                        <a:pt x="748" y="64"/>
                      </a:lnTo>
                      <a:lnTo>
                        <a:pt x="750" y="66"/>
                      </a:lnTo>
                      <a:lnTo>
                        <a:pt x="752" y="68"/>
                      </a:lnTo>
                      <a:lnTo>
                        <a:pt x="756" y="70"/>
                      </a:lnTo>
                      <a:lnTo>
                        <a:pt x="758" y="72"/>
                      </a:lnTo>
                      <a:lnTo>
                        <a:pt x="758" y="78"/>
                      </a:lnTo>
                      <a:lnTo>
                        <a:pt x="758" y="80"/>
                      </a:lnTo>
                      <a:lnTo>
                        <a:pt x="762" y="82"/>
                      </a:lnTo>
                      <a:lnTo>
                        <a:pt x="766" y="80"/>
                      </a:lnTo>
                      <a:lnTo>
                        <a:pt x="770" y="78"/>
                      </a:lnTo>
                      <a:lnTo>
                        <a:pt x="772" y="76"/>
                      </a:lnTo>
                      <a:lnTo>
                        <a:pt x="776" y="76"/>
                      </a:lnTo>
                      <a:lnTo>
                        <a:pt x="782" y="76"/>
                      </a:lnTo>
                      <a:lnTo>
                        <a:pt x="784" y="78"/>
                      </a:lnTo>
                      <a:lnTo>
                        <a:pt x="784" y="82"/>
                      </a:lnTo>
                      <a:lnTo>
                        <a:pt x="780" y="86"/>
                      </a:lnTo>
                      <a:lnTo>
                        <a:pt x="774" y="88"/>
                      </a:lnTo>
                      <a:lnTo>
                        <a:pt x="772" y="92"/>
                      </a:lnTo>
                      <a:lnTo>
                        <a:pt x="770" y="98"/>
                      </a:lnTo>
                      <a:lnTo>
                        <a:pt x="772" y="102"/>
                      </a:lnTo>
                      <a:lnTo>
                        <a:pt x="774" y="106"/>
                      </a:lnTo>
                      <a:lnTo>
                        <a:pt x="780" y="104"/>
                      </a:lnTo>
                      <a:lnTo>
                        <a:pt x="786" y="100"/>
                      </a:lnTo>
                      <a:lnTo>
                        <a:pt x="794" y="88"/>
                      </a:lnTo>
                      <a:lnTo>
                        <a:pt x="798" y="92"/>
                      </a:lnTo>
                      <a:lnTo>
                        <a:pt x="808" y="86"/>
                      </a:lnTo>
                      <a:lnTo>
                        <a:pt x="816" y="82"/>
                      </a:lnTo>
                      <a:lnTo>
                        <a:pt x="822" y="80"/>
                      </a:lnTo>
                      <a:lnTo>
                        <a:pt x="822" y="74"/>
                      </a:lnTo>
                      <a:lnTo>
                        <a:pt x="822" y="70"/>
                      </a:lnTo>
                      <a:lnTo>
                        <a:pt x="824" y="68"/>
                      </a:lnTo>
                      <a:lnTo>
                        <a:pt x="828" y="66"/>
                      </a:lnTo>
                      <a:lnTo>
                        <a:pt x="850" y="66"/>
                      </a:lnTo>
                      <a:lnTo>
                        <a:pt x="858" y="70"/>
                      </a:lnTo>
                      <a:lnTo>
                        <a:pt x="862" y="72"/>
                      </a:lnTo>
                      <a:lnTo>
                        <a:pt x="864" y="78"/>
                      </a:lnTo>
                      <a:lnTo>
                        <a:pt x="862" y="80"/>
                      </a:lnTo>
                      <a:lnTo>
                        <a:pt x="860" y="82"/>
                      </a:lnTo>
                      <a:lnTo>
                        <a:pt x="854" y="84"/>
                      </a:lnTo>
                      <a:lnTo>
                        <a:pt x="848" y="86"/>
                      </a:lnTo>
                      <a:lnTo>
                        <a:pt x="846" y="86"/>
                      </a:lnTo>
                      <a:lnTo>
                        <a:pt x="846" y="90"/>
                      </a:lnTo>
                      <a:lnTo>
                        <a:pt x="846" y="94"/>
                      </a:lnTo>
                      <a:lnTo>
                        <a:pt x="848" y="100"/>
                      </a:lnTo>
                      <a:lnTo>
                        <a:pt x="846" y="104"/>
                      </a:lnTo>
                      <a:lnTo>
                        <a:pt x="842" y="108"/>
                      </a:lnTo>
                      <a:lnTo>
                        <a:pt x="830" y="112"/>
                      </a:lnTo>
                      <a:lnTo>
                        <a:pt x="816" y="116"/>
                      </a:lnTo>
                      <a:lnTo>
                        <a:pt x="808" y="122"/>
                      </a:lnTo>
                      <a:lnTo>
                        <a:pt x="802" y="126"/>
                      </a:lnTo>
                      <a:lnTo>
                        <a:pt x="798" y="124"/>
                      </a:lnTo>
                      <a:lnTo>
                        <a:pt x="790" y="122"/>
                      </a:lnTo>
                      <a:lnTo>
                        <a:pt x="780" y="122"/>
                      </a:lnTo>
                      <a:lnTo>
                        <a:pt x="772" y="132"/>
                      </a:lnTo>
                      <a:lnTo>
                        <a:pt x="758" y="140"/>
                      </a:lnTo>
                      <a:lnTo>
                        <a:pt x="732" y="156"/>
                      </a:lnTo>
                      <a:lnTo>
                        <a:pt x="726" y="160"/>
                      </a:lnTo>
                      <a:lnTo>
                        <a:pt x="722" y="164"/>
                      </a:lnTo>
                      <a:lnTo>
                        <a:pt x="718" y="164"/>
                      </a:lnTo>
                      <a:lnTo>
                        <a:pt x="712" y="164"/>
                      </a:lnTo>
                      <a:lnTo>
                        <a:pt x="708" y="166"/>
                      </a:lnTo>
                      <a:lnTo>
                        <a:pt x="704" y="168"/>
                      </a:lnTo>
                      <a:lnTo>
                        <a:pt x="698" y="172"/>
                      </a:lnTo>
                      <a:lnTo>
                        <a:pt x="690" y="176"/>
                      </a:lnTo>
                      <a:lnTo>
                        <a:pt x="684" y="178"/>
                      </a:lnTo>
                      <a:lnTo>
                        <a:pt x="674" y="180"/>
                      </a:lnTo>
                      <a:lnTo>
                        <a:pt x="656" y="184"/>
                      </a:lnTo>
                      <a:lnTo>
                        <a:pt x="648" y="188"/>
                      </a:lnTo>
                      <a:lnTo>
                        <a:pt x="640" y="192"/>
                      </a:lnTo>
                      <a:lnTo>
                        <a:pt x="632" y="198"/>
                      </a:lnTo>
                      <a:lnTo>
                        <a:pt x="622" y="206"/>
                      </a:lnTo>
                      <a:lnTo>
                        <a:pt x="612" y="214"/>
                      </a:lnTo>
                      <a:lnTo>
                        <a:pt x="606" y="222"/>
                      </a:lnTo>
                      <a:lnTo>
                        <a:pt x="600" y="234"/>
                      </a:lnTo>
                      <a:lnTo>
                        <a:pt x="594" y="244"/>
                      </a:lnTo>
                      <a:lnTo>
                        <a:pt x="602" y="244"/>
                      </a:lnTo>
                      <a:lnTo>
                        <a:pt x="606" y="246"/>
                      </a:lnTo>
                      <a:lnTo>
                        <a:pt x="606" y="248"/>
                      </a:lnTo>
                      <a:lnTo>
                        <a:pt x="604" y="260"/>
                      </a:lnTo>
                      <a:lnTo>
                        <a:pt x="602" y="266"/>
                      </a:lnTo>
                      <a:lnTo>
                        <a:pt x="602" y="274"/>
                      </a:lnTo>
                      <a:lnTo>
                        <a:pt x="604" y="274"/>
                      </a:lnTo>
                      <a:lnTo>
                        <a:pt x="606" y="276"/>
                      </a:lnTo>
                      <a:lnTo>
                        <a:pt x="608" y="276"/>
                      </a:lnTo>
                      <a:lnTo>
                        <a:pt x="614" y="272"/>
                      </a:lnTo>
                      <a:lnTo>
                        <a:pt x="622" y="272"/>
                      </a:lnTo>
                      <a:lnTo>
                        <a:pt x="630" y="274"/>
                      </a:lnTo>
                      <a:lnTo>
                        <a:pt x="636" y="276"/>
                      </a:lnTo>
                      <a:lnTo>
                        <a:pt x="642" y="280"/>
                      </a:lnTo>
                      <a:lnTo>
                        <a:pt x="648" y="288"/>
                      </a:lnTo>
                      <a:lnTo>
                        <a:pt x="652" y="292"/>
                      </a:lnTo>
                      <a:lnTo>
                        <a:pt x="656" y="294"/>
                      </a:lnTo>
                      <a:lnTo>
                        <a:pt x="662" y="294"/>
                      </a:lnTo>
                      <a:lnTo>
                        <a:pt x="666" y="296"/>
                      </a:lnTo>
                      <a:lnTo>
                        <a:pt x="670" y="300"/>
                      </a:lnTo>
                      <a:lnTo>
                        <a:pt x="674" y="304"/>
                      </a:lnTo>
                      <a:lnTo>
                        <a:pt x="680" y="306"/>
                      </a:lnTo>
                      <a:lnTo>
                        <a:pt x="688" y="308"/>
                      </a:lnTo>
                      <a:lnTo>
                        <a:pt x="698" y="306"/>
                      </a:lnTo>
                      <a:lnTo>
                        <a:pt x="712" y="308"/>
                      </a:lnTo>
                      <a:lnTo>
                        <a:pt x="712" y="310"/>
                      </a:lnTo>
                      <a:lnTo>
                        <a:pt x="712" y="314"/>
                      </a:lnTo>
                      <a:lnTo>
                        <a:pt x="710" y="322"/>
                      </a:lnTo>
                      <a:lnTo>
                        <a:pt x="704" y="332"/>
                      </a:lnTo>
                      <a:lnTo>
                        <a:pt x="700" y="344"/>
                      </a:lnTo>
                      <a:lnTo>
                        <a:pt x="698" y="350"/>
                      </a:lnTo>
                      <a:lnTo>
                        <a:pt x="698" y="356"/>
                      </a:lnTo>
                      <a:lnTo>
                        <a:pt x="700" y="360"/>
                      </a:lnTo>
                      <a:lnTo>
                        <a:pt x="704" y="366"/>
                      </a:lnTo>
                      <a:lnTo>
                        <a:pt x="712" y="376"/>
                      </a:lnTo>
                      <a:lnTo>
                        <a:pt x="714" y="374"/>
                      </a:lnTo>
                      <a:lnTo>
                        <a:pt x="718" y="370"/>
                      </a:lnTo>
                      <a:lnTo>
                        <a:pt x="724" y="366"/>
                      </a:lnTo>
                      <a:lnTo>
                        <a:pt x="730" y="362"/>
                      </a:lnTo>
                      <a:lnTo>
                        <a:pt x="734" y="356"/>
                      </a:lnTo>
                      <a:lnTo>
                        <a:pt x="738" y="350"/>
                      </a:lnTo>
                      <a:lnTo>
                        <a:pt x="742" y="332"/>
                      </a:lnTo>
                      <a:lnTo>
                        <a:pt x="746" y="314"/>
                      </a:lnTo>
                      <a:lnTo>
                        <a:pt x="748" y="312"/>
                      </a:lnTo>
                      <a:lnTo>
                        <a:pt x="754" y="308"/>
                      </a:lnTo>
                      <a:lnTo>
                        <a:pt x="766" y="306"/>
                      </a:lnTo>
                      <a:lnTo>
                        <a:pt x="772" y="304"/>
                      </a:lnTo>
                      <a:lnTo>
                        <a:pt x="788" y="296"/>
                      </a:lnTo>
                      <a:lnTo>
                        <a:pt x="796" y="290"/>
                      </a:lnTo>
                      <a:lnTo>
                        <a:pt x="800" y="284"/>
                      </a:lnTo>
                      <a:lnTo>
                        <a:pt x="804" y="276"/>
                      </a:lnTo>
                      <a:lnTo>
                        <a:pt x="806" y="266"/>
                      </a:lnTo>
                      <a:lnTo>
                        <a:pt x="804" y="264"/>
                      </a:lnTo>
                      <a:lnTo>
                        <a:pt x="802" y="262"/>
                      </a:lnTo>
                      <a:lnTo>
                        <a:pt x="800" y="258"/>
                      </a:lnTo>
                      <a:lnTo>
                        <a:pt x="794" y="256"/>
                      </a:lnTo>
                      <a:lnTo>
                        <a:pt x="794" y="254"/>
                      </a:lnTo>
                      <a:lnTo>
                        <a:pt x="792" y="250"/>
                      </a:lnTo>
                      <a:lnTo>
                        <a:pt x="794" y="246"/>
                      </a:lnTo>
                      <a:lnTo>
                        <a:pt x="798" y="244"/>
                      </a:lnTo>
                      <a:lnTo>
                        <a:pt x="804" y="238"/>
                      </a:lnTo>
                      <a:lnTo>
                        <a:pt x="806" y="236"/>
                      </a:lnTo>
                      <a:close/>
                    </a:path>
                  </a:pathLst>
                </a:custGeom>
                <a:grpFill/>
                <a:ln w="6350" cmpd="sng">
                  <a:solidFill>
                    <a:schemeClr val="bg1"/>
                  </a:solidFill>
                  <a:prstDash val="solid"/>
                  <a:round/>
                  <a:headEnd/>
                  <a:tailEnd/>
                </a:ln>
              </p:spPr>
              <p:txBody>
                <a:bodyPr/>
                <a:lstStyle/>
                <a:p>
                  <a:pPr>
                    <a:defRPr/>
                  </a:pPr>
                  <a:endParaRPr lang="en-US" dirty="0"/>
                </a:p>
              </p:txBody>
            </p:sp>
            <p:sp>
              <p:nvSpPr>
                <p:cNvPr id="255" name="Freeform 31"/>
                <p:cNvSpPr>
                  <a:spLocks noChangeAspect="1"/>
                </p:cNvSpPr>
                <p:nvPr/>
              </p:nvSpPr>
              <p:spPr bwMode="auto">
                <a:xfrm>
                  <a:off x="1795" y="1226"/>
                  <a:ext cx="38" cy="18"/>
                </a:xfrm>
                <a:custGeom>
                  <a:avLst/>
                  <a:gdLst/>
                  <a:ahLst/>
                  <a:cxnLst>
                    <a:cxn ang="0">
                      <a:pos x="38" y="18"/>
                    </a:cxn>
                    <a:cxn ang="0">
                      <a:pos x="24" y="16"/>
                    </a:cxn>
                    <a:cxn ang="0">
                      <a:pos x="18" y="16"/>
                    </a:cxn>
                    <a:cxn ang="0">
                      <a:pos x="10" y="14"/>
                    </a:cxn>
                    <a:cxn ang="0">
                      <a:pos x="2" y="8"/>
                    </a:cxn>
                    <a:cxn ang="0">
                      <a:pos x="0" y="4"/>
                    </a:cxn>
                    <a:cxn ang="0">
                      <a:pos x="2" y="0"/>
                    </a:cxn>
                    <a:cxn ang="0">
                      <a:pos x="4" y="0"/>
                    </a:cxn>
                    <a:cxn ang="0">
                      <a:pos x="12" y="0"/>
                    </a:cxn>
                    <a:cxn ang="0">
                      <a:pos x="22" y="2"/>
                    </a:cxn>
                    <a:cxn ang="0">
                      <a:pos x="28" y="6"/>
                    </a:cxn>
                    <a:cxn ang="0">
                      <a:pos x="34" y="12"/>
                    </a:cxn>
                    <a:cxn ang="0">
                      <a:pos x="36" y="14"/>
                    </a:cxn>
                    <a:cxn ang="0">
                      <a:pos x="38" y="18"/>
                    </a:cxn>
                  </a:cxnLst>
                  <a:rect l="0" t="0" r="r" b="b"/>
                  <a:pathLst>
                    <a:path w="38" h="18">
                      <a:moveTo>
                        <a:pt x="38" y="18"/>
                      </a:moveTo>
                      <a:lnTo>
                        <a:pt x="24" y="16"/>
                      </a:lnTo>
                      <a:lnTo>
                        <a:pt x="18" y="16"/>
                      </a:lnTo>
                      <a:lnTo>
                        <a:pt x="10" y="14"/>
                      </a:lnTo>
                      <a:lnTo>
                        <a:pt x="2" y="8"/>
                      </a:lnTo>
                      <a:lnTo>
                        <a:pt x="0" y="4"/>
                      </a:lnTo>
                      <a:lnTo>
                        <a:pt x="2" y="0"/>
                      </a:lnTo>
                      <a:lnTo>
                        <a:pt x="4" y="0"/>
                      </a:lnTo>
                      <a:lnTo>
                        <a:pt x="12" y="0"/>
                      </a:lnTo>
                      <a:lnTo>
                        <a:pt x="22" y="2"/>
                      </a:lnTo>
                      <a:lnTo>
                        <a:pt x="28" y="6"/>
                      </a:lnTo>
                      <a:lnTo>
                        <a:pt x="34" y="12"/>
                      </a:lnTo>
                      <a:lnTo>
                        <a:pt x="36" y="14"/>
                      </a:lnTo>
                      <a:lnTo>
                        <a:pt x="38" y="18"/>
                      </a:lnTo>
                      <a:close/>
                    </a:path>
                  </a:pathLst>
                </a:custGeom>
                <a:grpFill/>
                <a:ln w="6350" cmpd="sng">
                  <a:solidFill>
                    <a:schemeClr val="bg1"/>
                  </a:solidFill>
                  <a:prstDash val="solid"/>
                  <a:round/>
                  <a:headEnd/>
                  <a:tailEnd/>
                </a:ln>
              </p:spPr>
              <p:txBody>
                <a:bodyPr/>
                <a:lstStyle/>
                <a:p>
                  <a:pPr>
                    <a:defRPr/>
                  </a:pPr>
                  <a:endParaRPr lang="en-US" dirty="0"/>
                </a:p>
              </p:txBody>
            </p:sp>
            <p:sp>
              <p:nvSpPr>
                <p:cNvPr id="256" name="Freeform 32"/>
                <p:cNvSpPr>
                  <a:spLocks noChangeAspect="1"/>
                </p:cNvSpPr>
                <p:nvPr/>
              </p:nvSpPr>
              <p:spPr bwMode="auto">
                <a:xfrm>
                  <a:off x="1857" y="1198"/>
                  <a:ext cx="96" cy="90"/>
                </a:xfrm>
                <a:custGeom>
                  <a:avLst/>
                  <a:gdLst/>
                  <a:ahLst/>
                  <a:cxnLst>
                    <a:cxn ang="0">
                      <a:pos x="70" y="74"/>
                    </a:cxn>
                    <a:cxn ang="0">
                      <a:pos x="58" y="80"/>
                    </a:cxn>
                    <a:cxn ang="0">
                      <a:pos x="48" y="84"/>
                    </a:cxn>
                    <a:cxn ang="0">
                      <a:pos x="50" y="76"/>
                    </a:cxn>
                    <a:cxn ang="0">
                      <a:pos x="42" y="70"/>
                    </a:cxn>
                    <a:cxn ang="0">
                      <a:pos x="6" y="70"/>
                    </a:cxn>
                    <a:cxn ang="0">
                      <a:pos x="0" y="68"/>
                    </a:cxn>
                    <a:cxn ang="0">
                      <a:pos x="4" y="64"/>
                    </a:cxn>
                    <a:cxn ang="0">
                      <a:pos x="10" y="54"/>
                    </a:cxn>
                    <a:cxn ang="0">
                      <a:pos x="22" y="48"/>
                    </a:cxn>
                    <a:cxn ang="0">
                      <a:pos x="24" y="42"/>
                    </a:cxn>
                    <a:cxn ang="0">
                      <a:pos x="34" y="30"/>
                    </a:cxn>
                    <a:cxn ang="0">
                      <a:pos x="44" y="20"/>
                    </a:cxn>
                    <a:cxn ang="0">
                      <a:pos x="62" y="6"/>
                    </a:cxn>
                    <a:cxn ang="0">
                      <a:pos x="70" y="0"/>
                    </a:cxn>
                    <a:cxn ang="0">
                      <a:pos x="74" y="4"/>
                    </a:cxn>
                    <a:cxn ang="0">
                      <a:pos x="72" y="8"/>
                    </a:cxn>
                    <a:cxn ang="0">
                      <a:pos x="56" y="24"/>
                    </a:cxn>
                    <a:cxn ang="0">
                      <a:pos x="56" y="30"/>
                    </a:cxn>
                    <a:cxn ang="0">
                      <a:pos x="64" y="24"/>
                    </a:cxn>
                    <a:cxn ang="0">
                      <a:pos x="66" y="32"/>
                    </a:cxn>
                    <a:cxn ang="0">
                      <a:pos x="70" y="40"/>
                    </a:cxn>
                    <a:cxn ang="0">
                      <a:pos x="72" y="42"/>
                    </a:cxn>
                    <a:cxn ang="0">
                      <a:pos x="78" y="38"/>
                    </a:cxn>
                    <a:cxn ang="0">
                      <a:pos x="88" y="40"/>
                    </a:cxn>
                    <a:cxn ang="0">
                      <a:pos x="94" y="42"/>
                    </a:cxn>
                    <a:cxn ang="0">
                      <a:pos x="88" y="48"/>
                    </a:cxn>
                    <a:cxn ang="0">
                      <a:pos x="84" y="52"/>
                    </a:cxn>
                    <a:cxn ang="0">
                      <a:pos x="92" y="50"/>
                    </a:cxn>
                    <a:cxn ang="0">
                      <a:pos x="90" y="56"/>
                    </a:cxn>
                    <a:cxn ang="0">
                      <a:pos x="96" y="58"/>
                    </a:cxn>
                    <a:cxn ang="0">
                      <a:pos x="88" y="68"/>
                    </a:cxn>
                    <a:cxn ang="0">
                      <a:pos x="88" y="70"/>
                    </a:cxn>
                    <a:cxn ang="0">
                      <a:pos x="96" y="70"/>
                    </a:cxn>
                    <a:cxn ang="0">
                      <a:pos x="90" y="82"/>
                    </a:cxn>
                    <a:cxn ang="0">
                      <a:pos x="80" y="90"/>
                    </a:cxn>
                    <a:cxn ang="0">
                      <a:pos x="76" y="86"/>
                    </a:cxn>
                    <a:cxn ang="0">
                      <a:pos x="80" y="80"/>
                    </a:cxn>
                    <a:cxn ang="0">
                      <a:pos x="70" y="82"/>
                    </a:cxn>
                  </a:cxnLst>
                  <a:rect l="0" t="0" r="r" b="b"/>
                  <a:pathLst>
                    <a:path w="96" h="90">
                      <a:moveTo>
                        <a:pt x="76" y="74"/>
                      </a:moveTo>
                      <a:lnTo>
                        <a:pt x="70" y="74"/>
                      </a:lnTo>
                      <a:lnTo>
                        <a:pt x="66" y="76"/>
                      </a:lnTo>
                      <a:lnTo>
                        <a:pt x="58" y="80"/>
                      </a:lnTo>
                      <a:lnTo>
                        <a:pt x="52" y="84"/>
                      </a:lnTo>
                      <a:lnTo>
                        <a:pt x="48" y="84"/>
                      </a:lnTo>
                      <a:lnTo>
                        <a:pt x="44" y="84"/>
                      </a:lnTo>
                      <a:lnTo>
                        <a:pt x="50" y="76"/>
                      </a:lnTo>
                      <a:lnTo>
                        <a:pt x="46" y="72"/>
                      </a:lnTo>
                      <a:lnTo>
                        <a:pt x="42" y="70"/>
                      </a:lnTo>
                      <a:lnTo>
                        <a:pt x="14" y="70"/>
                      </a:lnTo>
                      <a:lnTo>
                        <a:pt x="6" y="70"/>
                      </a:lnTo>
                      <a:lnTo>
                        <a:pt x="2" y="70"/>
                      </a:lnTo>
                      <a:lnTo>
                        <a:pt x="0" y="68"/>
                      </a:lnTo>
                      <a:lnTo>
                        <a:pt x="2" y="66"/>
                      </a:lnTo>
                      <a:lnTo>
                        <a:pt x="4" y="64"/>
                      </a:lnTo>
                      <a:lnTo>
                        <a:pt x="8" y="64"/>
                      </a:lnTo>
                      <a:lnTo>
                        <a:pt x="10" y="54"/>
                      </a:lnTo>
                      <a:lnTo>
                        <a:pt x="16" y="50"/>
                      </a:lnTo>
                      <a:lnTo>
                        <a:pt x="22" y="48"/>
                      </a:lnTo>
                      <a:lnTo>
                        <a:pt x="22" y="46"/>
                      </a:lnTo>
                      <a:lnTo>
                        <a:pt x="24" y="42"/>
                      </a:lnTo>
                      <a:lnTo>
                        <a:pt x="28" y="32"/>
                      </a:lnTo>
                      <a:lnTo>
                        <a:pt x="34" y="30"/>
                      </a:lnTo>
                      <a:lnTo>
                        <a:pt x="38" y="28"/>
                      </a:lnTo>
                      <a:lnTo>
                        <a:pt x="44" y="20"/>
                      </a:lnTo>
                      <a:lnTo>
                        <a:pt x="52" y="14"/>
                      </a:lnTo>
                      <a:lnTo>
                        <a:pt x="62" y="6"/>
                      </a:lnTo>
                      <a:lnTo>
                        <a:pt x="66" y="2"/>
                      </a:lnTo>
                      <a:lnTo>
                        <a:pt x="70" y="0"/>
                      </a:lnTo>
                      <a:lnTo>
                        <a:pt x="74" y="0"/>
                      </a:lnTo>
                      <a:lnTo>
                        <a:pt x="74" y="4"/>
                      </a:lnTo>
                      <a:lnTo>
                        <a:pt x="70" y="4"/>
                      </a:lnTo>
                      <a:lnTo>
                        <a:pt x="72" y="8"/>
                      </a:lnTo>
                      <a:lnTo>
                        <a:pt x="62" y="16"/>
                      </a:lnTo>
                      <a:lnTo>
                        <a:pt x="56" y="24"/>
                      </a:lnTo>
                      <a:lnTo>
                        <a:pt x="54" y="30"/>
                      </a:lnTo>
                      <a:lnTo>
                        <a:pt x="56" y="30"/>
                      </a:lnTo>
                      <a:lnTo>
                        <a:pt x="60" y="24"/>
                      </a:lnTo>
                      <a:lnTo>
                        <a:pt x="64" y="24"/>
                      </a:lnTo>
                      <a:lnTo>
                        <a:pt x="64" y="30"/>
                      </a:lnTo>
                      <a:lnTo>
                        <a:pt x="66" y="32"/>
                      </a:lnTo>
                      <a:lnTo>
                        <a:pt x="68" y="34"/>
                      </a:lnTo>
                      <a:lnTo>
                        <a:pt x="70" y="40"/>
                      </a:lnTo>
                      <a:lnTo>
                        <a:pt x="70" y="42"/>
                      </a:lnTo>
                      <a:lnTo>
                        <a:pt x="72" y="42"/>
                      </a:lnTo>
                      <a:lnTo>
                        <a:pt x="74" y="40"/>
                      </a:lnTo>
                      <a:lnTo>
                        <a:pt x="78" y="38"/>
                      </a:lnTo>
                      <a:lnTo>
                        <a:pt x="80" y="38"/>
                      </a:lnTo>
                      <a:lnTo>
                        <a:pt x="88" y="40"/>
                      </a:lnTo>
                      <a:lnTo>
                        <a:pt x="92" y="42"/>
                      </a:lnTo>
                      <a:lnTo>
                        <a:pt x="94" y="42"/>
                      </a:lnTo>
                      <a:lnTo>
                        <a:pt x="92" y="46"/>
                      </a:lnTo>
                      <a:lnTo>
                        <a:pt x="88" y="48"/>
                      </a:lnTo>
                      <a:lnTo>
                        <a:pt x="82" y="50"/>
                      </a:lnTo>
                      <a:lnTo>
                        <a:pt x="84" y="52"/>
                      </a:lnTo>
                      <a:lnTo>
                        <a:pt x="86" y="52"/>
                      </a:lnTo>
                      <a:lnTo>
                        <a:pt x="92" y="50"/>
                      </a:lnTo>
                      <a:lnTo>
                        <a:pt x="94" y="54"/>
                      </a:lnTo>
                      <a:lnTo>
                        <a:pt x="90" y="56"/>
                      </a:lnTo>
                      <a:lnTo>
                        <a:pt x="90" y="58"/>
                      </a:lnTo>
                      <a:lnTo>
                        <a:pt x="96" y="58"/>
                      </a:lnTo>
                      <a:lnTo>
                        <a:pt x="92" y="64"/>
                      </a:lnTo>
                      <a:lnTo>
                        <a:pt x="88" y="68"/>
                      </a:lnTo>
                      <a:lnTo>
                        <a:pt x="84" y="70"/>
                      </a:lnTo>
                      <a:lnTo>
                        <a:pt x="88" y="70"/>
                      </a:lnTo>
                      <a:lnTo>
                        <a:pt x="92" y="70"/>
                      </a:lnTo>
                      <a:lnTo>
                        <a:pt x="96" y="70"/>
                      </a:lnTo>
                      <a:lnTo>
                        <a:pt x="94" y="74"/>
                      </a:lnTo>
                      <a:lnTo>
                        <a:pt x="90" y="82"/>
                      </a:lnTo>
                      <a:lnTo>
                        <a:pt x="84" y="88"/>
                      </a:lnTo>
                      <a:lnTo>
                        <a:pt x="80" y="90"/>
                      </a:lnTo>
                      <a:lnTo>
                        <a:pt x="76" y="88"/>
                      </a:lnTo>
                      <a:lnTo>
                        <a:pt x="76" y="86"/>
                      </a:lnTo>
                      <a:lnTo>
                        <a:pt x="78" y="82"/>
                      </a:lnTo>
                      <a:lnTo>
                        <a:pt x="80" y="80"/>
                      </a:lnTo>
                      <a:lnTo>
                        <a:pt x="74" y="82"/>
                      </a:lnTo>
                      <a:lnTo>
                        <a:pt x="70" y="82"/>
                      </a:lnTo>
                      <a:lnTo>
                        <a:pt x="76" y="74"/>
                      </a:lnTo>
                      <a:close/>
                    </a:path>
                  </a:pathLst>
                </a:custGeom>
                <a:grpFill/>
                <a:ln w="6350" cmpd="sng">
                  <a:solidFill>
                    <a:schemeClr val="bg1"/>
                  </a:solidFill>
                  <a:prstDash val="solid"/>
                  <a:round/>
                  <a:headEnd/>
                  <a:tailEnd/>
                </a:ln>
              </p:spPr>
              <p:txBody>
                <a:bodyPr/>
                <a:lstStyle/>
                <a:p>
                  <a:pPr>
                    <a:defRPr/>
                  </a:pPr>
                  <a:endParaRPr lang="en-US" dirty="0"/>
                </a:p>
              </p:txBody>
            </p:sp>
            <p:sp>
              <p:nvSpPr>
                <p:cNvPr id="257" name="Freeform 33"/>
                <p:cNvSpPr>
                  <a:spLocks noChangeAspect="1"/>
                </p:cNvSpPr>
                <p:nvPr/>
              </p:nvSpPr>
              <p:spPr bwMode="auto">
                <a:xfrm>
                  <a:off x="1279" y="822"/>
                  <a:ext cx="142" cy="58"/>
                </a:xfrm>
                <a:custGeom>
                  <a:avLst/>
                  <a:gdLst/>
                  <a:ahLst/>
                  <a:cxnLst>
                    <a:cxn ang="0">
                      <a:pos x="0" y="40"/>
                    </a:cxn>
                    <a:cxn ang="0">
                      <a:pos x="4" y="40"/>
                    </a:cxn>
                    <a:cxn ang="0">
                      <a:pos x="10" y="40"/>
                    </a:cxn>
                    <a:cxn ang="0">
                      <a:pos x="14" y="40"/>
                    </a:cxn>
                    <a:cxn ang="0">
                      <a:pos x="18" y="44"/>
                    </a:cxn>
                    <a:cxn ang="0">
                      <a:pos x="20" y="48"/>
                    </a:cxn>
                    <a:cxn ang="0">
                      <a:pos x="18" y="56"/>
                    </a:cxn>
                    <a:cxn ang="0">
                      <a:pos x="20" y="58"/>
                    </a:cxn>
                    <a:cxn ang="0">
                      <a:pos x="24" y="54"/>
                    </a:cxn>
                    <a:cxn ang="0">
                      <a:pos x="32" y="48"/>
                    </a:cxn>
                    <a:cxn ang="0">
                      <a:pos x="38" y="44"/>
                    </a:cxn>
                    <a:cxn ang="0">
                      <a:pos x="48" y="44"/>
                    </a:cxn>
                    <a:cxn ang="0">
                      <a:pos x="54" y="44"/>
                    </a:cxn>
                    <a:cxn ang="0">
                      <a:pos x="60" y="42"/>
                    </a:cxn>
                    <a:cxn ang="0">
                      <a:pos x="70" y="36"/>
                    </a:cxn>
                    <a:cxn ang="0">
                      <a:pos x="78" y="34"/>
                    </a:cxn>
                    <a:cxn ang="0">
                      <a:pos x="100" y="30"/>
                    </a:cxn>
                    <a:cxn ang="0">
                      <a:pos x="122" y="24"/>
                    </a:cxn>
                    <a:cxn ang="0">
                      <a:pos x="132" y="20"/>
                    </a:cxn>
                    <a:cxn ang="0">
                      <a:pos x="142" y="14"/>
                    </a:cxn>
                    <a:cxn ang="0">
                      <a:pos x="134" y="8"/>
                    </a:cxn>
                    <a:cxn ang="0">
                      <a:pos x="128" y="4"/>
                    </a:cxn>
                    <a:cxn ang="0">
                      <a:pos x="124" y="4"/>
                    </a:cxn>
                    <a:cxn ang="0">
                      <a:pos x="118" y="4"/>
                    </a:cxn>
                    <a:cxn ang="0">
                      <a:pos x="118" y="8"/>
                    </a:cxn>
                    <a:cxn ang="0">
                      <a:pos x="112" y="8"/>
                    </a:cxn>
                    <a:cxn ang="0">
                      <a:pos x="106" y="6"/>
                    </a:cxn>
                    <a:cxn ang="0">
                      <a:pos x="102" y="2"/>
                    </a:cxn>
                    <a:cxn ang="0">
                      <a:pos x="96" y="0"/>
                    </a:cxn>
                    <a:cxn ang="0">
                      <a:pos x="76" y="2"/>
                    </a:cxn>
                    <a:cxn ang="0">
                      <a:pos x="60" y="4"/>
                    </a:cxn>
                    <a:cxn ang="0">
                      <a:pos x="48" y="14"/>
                    </a:cxn>
                    <a:cxn ang="0">
                      <a:pos x="44" y="18"/>
                    </a:cxn>
                    <a:cxn ang="0">
                      <a:pos x="38" y="22"/>
                    </a:cxn>
                    <a:cxn ang="0">
                      <a:pos x="24" y="28"/>
                    </a:cxn>
                    <a:cxn ang="0">
                      <a:pos x="12" y="34"/>
                    </a:cxn>
                    <a:cxn ang="0">
                      <a:pos x="6" y="36"/>
                    </a:cxn>
                    <a:cxn ang="0">
                      <a:pos x="0" y="40"/>
                    </a:cxn>
                  </a:cxnLst>
                  <a:rect l="0" t="0" r="r" b="b"/>
                  <a:pathLst>
                    <a:path w="142" h="58">
                      <a:moveTo>
                        <a:pt x="0" y="40"/>
                      </a:moveTo>
                      <a:lnTo>
                        <a:pt x="4" y="40"/>
                      </a:lnTo>
                      <a:lnTo>
                        <a:pt x="10" y="40"/>
                      </a:lnTo>
                      <a:lnTo>
                        <a:pt x="14" y="40"/>
                      </a:lnTo>
                      <a:lnTo>
                        <a:pt x="18" y="44"/>
                      </a:lnTo>
                      <a:lnTo>
                        <a:pt x="20" y="48"/>
                      </a:lnTo>
                      <a:lnTo>
                        <a:pt x="18" y="56"/>
                      </a:lnTo>
                      <a:lnTo>
                        <a:pt x="20" y="58"/>
                      </a:lnTo>
                      <a:lnTo>
                        <a:pt x="24" y="54"/>
                      </a:lnTo>
                      <a:lnTo>
                        <a:pt x="32" y="48"/>
                      </a:lnTo>
                      <a:lnTo>
                        <a:pt x="38" y="44"/>
                      </a:lnTo>
                      <a:lnTo>
                        <a:pt x="48" y="44"/>
                      </a:lnTo>
                      <a:lnTo>
                        <a:pt x="54" y="44"/>
                      </a:lnTo>
                      <a:lnTo>
                        <a:pt x="60" y="42"/>
                      </a:lnTo>
                      <a:lnTo>
                        <a:pt x="70" y="36"/>
                      </a:lnTo>
                      <a:lnTo>
                        <a:pt x="78" y="34"/>
                      </a:lnTo>
                      <a:lnTo>
                        <a:pt x="100" y="30"/>
                      </a:lnTo>
                      <a:lnTo>
                        <a:pt x="122" y="24"/>
                      </a:lnTo>
                      <a:lnTo>
                        <a:pt x="132" y="20"/>
                      </a:lnTo>
                      <a:lnTo>
                        <a:pt x="142" y="14"/>
                      </a:lnTo>
                      <a:lnTo>
                        <a:pt x="134" y="8"/>
                      </a:lnTo>
                      <a:lnTo>
                        <a:pt x="128" y="4"/>
                      </a:lnTo>
                      <a:lnTo>
                        <a:pt x="124" y="4"/>
                      </a:lnTo>
                      <a:lnTo>
                        <a:pt x="118" y="4"/>
                      </a:lnTo>
                      <a:lnTo>
                        <a:pt x="118" y="8"/>
                      </a:lnTo>
                      <a:lnTo>
                        <a:pt x="112" y="8"/>
                      </a:lnTo>
                      <a:lnTo>
                        <a:pt x="106" y="6"/>
                      </a:lnTo>
                      <a:lnTo>
                        <a:pt x="102" y="2"/>
                      </a:lnTo>
                      <a:lnTo>
                        <a:pt x="96" y="0"/>
                      </a:lnTo>
                      <a:lnTo>
                        <a:pt x="76" y="2"/>
                      </a:lnTo>
                      <a:lnTo>
                        <a:pt x="60" y="4"/>
                      </a:lnTo>
                      <a:lnTo>
                        <a:pt x="48" y="14"/>
                      </a:lnTo>
                      <a:lnTo>
                        <a:pt x="44" y="18"/>
                      </a:lnTo>
                      <a:lnTo>
                        <a:pt x="38" y="22"/>
                      </a:lnTo>
                      <a:lnTo>
                        <a:pt x="24" y="28"/>
                      </a:lnTo>
                      <a:lnTo>
                        <a:pt x="12" y="34"/>
                      </a:lnTo>
                      <a:lnTo>
                        <a:pt x="6" y="36"/>
                      </a:lnTo>
                      <a:lnTo>
                        <a:pt x="0" y="40"/>
                      </a:lnTo>
                      <a:close/>
                    </a:path>
                  </a:pathLst>
                </a:custGeom>
                <a:grpFill/>
                <a:ln w="6350" cmpd="sng">
                  <a:solidFill>
                    <a:schemeClr val="bg1"/>
                  </a:solidFill>
                  <a:prstDash val="solid"/>
                  <a:round/>
                  <a:headEnd/>
                  <a:tailEnd/>
                </a:ln>
              </p:spPr>
              <p:txBody>
                <a:bodyPr/>
                <a:lstStyle/>
                <a:p>
                  <a:pPr>
                    <a:defRPr/>
                  </a:pPr>
                  <a:endParaRPr lang="en-US" dirty="0"/>
                </a:p>
              </p:txBody>
            </p:sp>
            <p:sp>
              <p:nvSpPr>
                <p:cNvPr id="258" name="Freeform 34"/>
                <p:cNvSpPr>
                  <a:spLocks noChangeAspect="1"/>
                </p:cNvSpPr>
                <p:nvPr/>
              </p:nvSpPr>
              <p:spPr bwMode="auto">
                <a:xfrm>
                  <a:off x="1621" y="754"/>
                  <a:ext cx="52" cy="26"/>
                </a:xfrm>
                <a:custGeom>
                  <a:avLst/>
                  <a:gdLst/>
                  <a:ahLst/>
                  <a:cxnLst>
                    <a:cxn ang="0">
                      <a:pos x="34" y="26"/>
                    </a:cxn>
                    <a:cxn ang="0">
                      <a:pos x="32" y="24"/>
                    </a:cxn>
                    <a:cxn ang="0">
                      <a:pos x="30" y="22"/>
                    </a:cxn>
                    <a:cxn ang="0">
                      <a:pos x="26" y="18"/>
                    </a:cxn>
                    <a:cxn ang="0">
                      <a:pos x="20" y="18"/>
                    </a:cxn>
                    <a:cxn ang="0">
                      <a:pos x="12" y="18"/>
                    </a:cxn>
                    <a:cxn ang="0">
                      <a:pos x="6" y="18"/>
                    </a:cxn>
                    <a:cxn ang="0">
                      <a:pos x="0" y="16"/>
                    </a:cxn>
                    <a:cxn ang="0">
                      <a:pos x="8" y="6"/>
                    </a:cxn>
                    <a:cxn ang="0">
                      <a:pos x="14" y="2"/>
                    </a:cxn>
                    <a:cxn ang="0">
                      <a:pos x="24" y="0"/>
                    </a:cxn>
                    <a:cxn ang="0">
                      <a:pos x="28" y="2"/>
                    </a:cxn>
                    <a:cxn ang="0">
                      <a:pos x="30" y="4"/>
                    </a:cxn>
                    <a:cxn ang="0">
                      <a:pos x="32" y="6"/>
                    </a:cxn>
                    <a:cxn ang="0">
                      <a:pos x="34" y="8"/>
                    </a:cxn>
                    <a:cxn ang="0">
                      <a:pos x="40" y="8"/>
                    </a:cxn>
                    <a:cxn ang="0">
                      <a:pos x="48" y="10"/>
                    </a:cxn>
                    <a:cxn ang="0">
                      <a:pos x="52" y="12"/>
                    </a:cxn>
                    <a:cxn ang="0">
                      <a:pos x="52" y="16"/>
                    </a:cxn>
                    <a:cxn ang="0">
                      <a:pos x="52" y="22"/>
                    </a:cxn>
                    <a:cxn ang="0">
                      <a:pos x="48" y="24"/>
                    </a:cxn>
                    <a:cxn ang="0">
                      <a:pos x="42" y="26"/>
                    </a:cxn>
                    <a:cxn ang="0">
                      <a:pos x="34" y="26"/>
                    </a:cxn>
                  </a:cxnLst>
                  <a:rect l="0" t="0" r="r" b="b"/>
                  <a:pathLst>
                    <a:path w="52" h="26">
                      <a:moveTo>
                        <a:pt x="34" y="26"/>
                      </a:moveTo>
                      <a:lnTo>
                        <a:pt x="32" y="24"/>
                      </a:lnTo>
                      <a:lnTo>
                        <a:pt x="30" y="22"/>
                      </a:lnTo>
                      <a:lnTo>
                        <a:pt x="26" y="18"/>
                      </a:lnTo>
                      <a:lnTo>
                        <a:pt x="20" y="18"/>
                      </a:lnTo>
                      <a:lnTo>
                        <a:pt x="12" y="18"/>
                      </a:lnTo>
                      <a:lnTo>
                        <a:pt x="6" y="18"/>
                      </a:lnTo>
                      <a:lnTo>
                        <a:pt x="0" y="16"/>
                      </a:lnTo>
                      <a:lnTo>
                        <a:pt x="8" y="6"/>
                      </a:lnTo>
                      <a:lnTo>
                        <a:pt x="14" y="2"/>
                      </a:lnTo>
                      <a:lnTo>
                        <a:pt x="24" y="0"/>
                      </a:lnTo>
                      <a:lnTo>
                        <a:pt x="28" y="2"/>
                      </a:lnTo>
                      <a:lnTo>
                        <a:pt x="30" y="4"/>
                      </a:lnTo>
                      <a:lnTo>
                        <a:pt x="32" y="6"/>
                      </a:lnTo>
                      <a:lnTo>
                        <a:pt x="34" y="8"/>
                      </a:lnTo>
                      <a:lnTo>
                        <a:pt x="40" y="8"/>
                      </a:lnTo>
                      <a:lnTo>
                        <a:pt x="48" y="10"/>
                      </a:lnTo>
                      <a:lnTo>
                        <a:pt x="52" y="12"/>
                      </a:lnTo>
                      <a:lnTo>
                        <a:pt x="52" y="16"/>
                      </a:lnTo>
                      <a:lnTo>
                        <a:pt x="52" y="22"/>
                      </a:lnTo>
                      <a:lnTo>
                        <a:pt x="48" y="24"/>
                      </a:lnTo>
                      <a:lnTo>
                        <a:pt x="42" y="26"/>
                      </a:lnTo>
                      <a:lnTo>
                        <a:pt x="34" y="26"/>
                      </a:lnTo>
                      <a:close/>
                    </a:path>
                  </a:pathLst>
                </a:custGeom>
                <a:grpFill/>
                <a:ln w="6350" cmpd="sng">
                  <a:solidFill>
                    <a:schemeClr val="bg1"/>
                  </a:solidFill>
                  <a:prstDash val="solid"/>
                  <a:round/>
                  <a:headEnd/>
                  <a:tailEnd/>
                </a:ln>
              </p:spPr>
              <p:txBody>
                <a:bodyPr/>
                <a:lstStyle/>
                <a:p>
                  <a:pPr>
                    <a:defRPr/>
                  </a:pPr>
                  <a:endParaRPr lang="en-US" dirty="0"/>
                </a:p>
              </p:txBody>
            </p:sp>
            <p:sp>
              <p:nvSpPr>
                <p:cNvPr id="259" name="Freeform 35"/>
                <p:cNvSpPr>
                  <a:spLocks noChangeAspect="1"/>
                </p:cNvSpPr>
                <p:nvPr/>
              </p:nvSpPr>
              <p:spPr bwMode="auto">
                <a:xfrm>
                  <a:off x="1339" y="830"/>
                  <a:ext cx="204" cy="82"/>
                </a:xfrm>
                <a:custGeom>
                  <a:avLst/>
                  <a:gdLst/>
                  <a:ahLst/>
                  <a:cxnLst>
                    <a:cxn ang="0">
                      <a:pos x="172" y="62"/>
                    </a:cxn>
                    <a:cxn ang="0">
                      <a:pos x="166" y="70"/>
                    </a:cxn>
                    <a:cxn ang="0">
                      <a:pos x="158" y="78"/>
                    </a:cxn>
                    <a:cxn ang="0">
                      <a:pos x="146" y="78"/>
                    </a:cxn>
                    <a:cxn ang="0">
                      <a:pos x="124" y="70"/>
                    </a:cxn>
                    <a:cxn ang="0">
                      <a:pos x="120" y="64"/>
                    </a:cxn>
                    <a:cxn ang="0">
                      <a:pos x="94" y="66"/>
                    </a:cxn>
                    <a:cxn ang="0">
                      <a:pos x="78" y="74"/>
                    </a:cxn>
                    <a:cxn ang="0">
                      <a:pos x="60" y="82"/>
                    </a:cxn>
                    <a:cxn ang="0">
                      <a:pos x="40" y="80"/>
                    </a:cxn>
                    <a:cxn ang="0">
                      <a:pos x="28" y="82"/>
                    </a:cxn>
                    <a:cxn ang="0">
                      <a:pos x="32" y="72"/>
                    </a:cxn>
                    <a:cxn ang="0">
                      <a:pos x="22" y="70"/>
                    </a:cxn>
                    <a:cxn ang="0">
                      <a:pos x="6" y="64"/>
                    </a:cxn>
                    <a:cxn ang="0">
                      <a:pos x="14" y="56"/>
                    </a:cxn>
                    <a:cxn ang="0">
                      <a:pos x="70" y="54"/>
                    </a:cxn>
                    <a:cxn ang="0">
                      <a:pos x="72" y="50"/>
                    </a:cxn>
                    <a:cxn ang="0">
                      <a:pos x="12" y="44"/>
                    </a:cxn>
                    <a:cxn ang="0">
                      <a:pos x="18" y="36"/>
                    </a:cxn>
                    <a:cxn ang="0">
                      <a:pos x="20" y="30"/>
                    </a:cxn>
                    <a:cxn ang="0">
                      <a:pos x="42" y="26"/>
                    </a:cxn>
                    <a:cxn ang="0">
                      <a:pos x="68" y="20"/>
                    </a:cxn>
                    <a:cxn ang="0">
                      <a:pos x="90" y="6"/>
                    </a:cxn>
                    <a:cxn ang="0">
                      <a:pos x="94" y="18"/>
                    </a:cxn>
                    <a:cxn ang="0">
                      <a:pos x="102" y="16"/>
                    </a:cxn>
                    <a:cxn ang="0">
                      <a:pos x="120" y="20"/>
                    </a:cxn>
                    <a:cxn ang="0">
                      <a:pos x="124" y="16"/>
                    </a:cxn>
                    <a:cxn ang="0">
                      <a:pos x="130" y="12"/>
                    </a:cxn>
                    <a:cxn ang="0">
                      <a:pos x="142" y="16"/>
                    </a:cxn>
                    <a:cxn ang="0">
                      <a:pos x="138" y="28"/>
                    </a:cxn>
                    <a:cxn ang="0">
                      <a:pos x="144" y="28"/>
                    </a:cxn>
                    <a:cxn ang="0">
                      <a:pos x="150" y="24"/>
                    </a:cxn>
                    <a:cxn ang="0">
                      <a:pos x="152" y="12"/>
                    </a:cxn>
                    <a:cxn ang="0">
                      <a:pos x="174" y="4"/>
                    </a:cxn>
                    <a:cxn ang="0">
                      <a:pos x="204" y="0"/>
                    </a:cxn>
                    <a:cxn ang="0">
                      <a:pos x="196" y="10"/>
                    </a:cxn>
                    <a:cxn ang="0">
                      <a:pos x="172" y="30"/>
                    </a:cxn>
                    <a:cxn ang="0">
                      <a:pos x="166" y="44"/>
                    </a:cxn>
                    <a:cxn ang="0">
                      <a:pos x="170" y="50"/>
                    </a:cxn>
                    <a:cxn ang="0">
                      <a:pos x="186" y="54"/>
                    </a:cxn>
                    <a:cxn ang="0">
                      <a:pos x="190" y="58"/>
                    </a:cxn>
                    <a:cxn ang="0">
                      <a:pos x="182" y="64"/>
                    </a:cxn>
                  </a:cxnLst>
                  <a:rect l="0" t="0" r="r" b="b"/>
                  <a:pathLst>
                    <a:path w="204" h="82">
                      <a:moveTo>
                        <a:pt x="176" y="62"/>
                      </a:moveTo>
                      <a:lnTo>
                        <a:pt x="172" y="62"/>
                      </a:lnTo>
                      <a:lnTo>
                        <a:pt x="170" y="64"/>
                      </a:lnTo>
                      <a:lnTo>
                        <a:pt x="166" y="70"/>
                      </a:lnTo>
                      <a:lnTo>
                        <a:pt x="160" y="76"/>
                      </a:lnTo>
                      <a:lnTo>
                        <a:pt x="158" y="78"/>
                      </a:lnTo>
                      <a:lnTo>
                        <a:pt x="154" y="80"/>
                      </a:lnTo>
                      <a:lnTo>
                        <a:pt x="146" y="78"/>
                      </a:lnTo>
                      <a:lnTo>
                        <a:pt x="132" y="76"/>
                      </a:lnTo>
                      <a:lnTo>
                        <a:pt x="124" y="70"/>
                      </a:lnTo>
                      <a:lnTo>
                        <a:pt x="120" y="68"/>
                      </a:lnTo>
                      <a:lnTo>
                        <a:pt x="120" y="64"/>
                      </a:lnTo>
                      <a:lnTo>
                        <a:pt x="98" y="64"/>
                      </a:lnTo>
                      <a:lnTo>
                        <a:pt x="94" y="66"/>
                      </a:lnTo>
                      <a:lnTo>
                        <a:pt x="90" y="68"/>
                      </a:lnTo>
                      <a:lnTo>
                        <a:pt x="78" y="74"/>
                      </a:lnTo>
                      <a:lnTo>
                        <a:pt x="68" y="80"/>
                      </a:lnTo>
                      <a:lnTo>
                        <a:pt x="60" y="82"/>
                      </a:lnTo>
                      <a:lnTo>
                        <a:pt x="52" y="82"/>
                      </a:lnTo>
                      <a:lnTo>
                        <a:pt x="40" y="80"/>
                      </a:lnTo>
                      <a:lnTo>
                        <a:pt x="34" y="80"/>
                      </a:lnTo>
                      <a:lnTo>
                        <a:pt x="28" y="82"/>
                      </a:lnTo>
                      <a:lnTo>
                        <a:pt x="28" y="74"/>
                      </a:lnTo>
                      <a:lnTo>
                        <a:pt x="32" y="72"/>
                      </a:lnTo>
                      <a:lnTo>
                        <a:pt x="34" y="68"/>
                      </a:lnTo>
                      <a:lnTo>
                        <a:pt x="22" y="70"/>
                      </a:lnTo>
                      <a:lnTo>
                        <a:pt x="14" y="68"/>
                      </a:lnTo>
                      <a:lnTo>
                        <a:pt x="6" y="64"/>
                      </a:lnTo>
                      <a:lnTo>
                        <a:pt x="0" y="60"/>
                      </a:lnTo>
                      <a:lnTo>
                        <a:pt x="14" y="56"/>
                      </a:lnTo>
                      <a:lnTo>
                        <a:pt x="26" y="54"/>
                      </a:lnTo>
                      <a:lnTo>
                        <a:pt x="70" y="54"/>
                      </a:lnTo>
                      <a:lnTo>
                        <a:pt x="70" y="52"/>
                      </a:lnTo>
                      <a:lnTo>
                        <a:pt x="72" y="50"/>
                      </a:lnTo>
                      <a:lnTo>
                        <a:pt x="12" y="50"/>
                      </a:lnTo>
                      <a:lnTo>
                        <a:pt x="12" y="44"/>
                      </a:lnTo>
                      <a:lnTo>
                        <a:pt x="14" y="42"/>
                      </a:lnTo>
                      <a:lnTo>
                        <a:pt x="18" y="36"/>
                      </a:lnTo>
                      <a:lnTo>
                        <a:pt x="18" y="34"/>
                      </a:lnTo>
                      <a:lnTo>
                        <a:pt x="20" y="30"/>
                      </a:lnTo>
                      <a:lnTo>
                        <a:pt x="26" y="28"/>
                      </a:lnTo>
                      <a:lnTo>
                        <a:pt x="42" y="26"/>
                      </a:lnTo>
                      <a:lnTo>
                        <a:pt x="54" y="24"/>
                      </a:lnTo>
                      <a:lnTo>
                        <a:pt x="68" y="20"/>
                      </a:lnTo>
                      <a:lnTo>
                        <a:pt x="78" y="14"/>
                      </a:lnTo>
                      <a:lnTo>
                        <a:pt x="90" y="6"/>
                      </a:lnTo>
                      <a:lnTo>
                        <a:pt x="90" y="16"/>
                      </a:lnTo>
                      <a:lnTo>
                        <a:pt x="94" y="18"/>
                      </a:lnTo>
                      <a:lnTo>
                        <a:pt x="96" y="18"/>
                      </a:lnTo>
                      <a:lnTo>
                        <a:pt x="102" y="16"/>
                      </a:lnTo>
                      <a:lnTo>
                        <a:pt x="110" y="18"/>
                      </a:lnTo>
                      <a:lnTo>
                        <a:pt x="120" y="20"/>
                      </a:lnTo>
                      <a:lnTo>
                        <a:pt x="124" y="20"/>
                      </a:lnTo>
                      <a:lnTo>
                        <a:pt x="124" y="16"/>
                      </a:lnTo>
                      <a:lnTo>
                        <a:pt x="128" y="14"/>
                      </a:lnTo>
                      <a:lnTo>
                        <a:pt x="130" y="12"/>
                      </a:lnTo>
                      <a:lnTo>
                        <a:pt x="136" y="14"/>
                      </a:lnTo>
                      <a:lnTo>
                        <a:pt x="142" y="16"/>
                      </a:lnTo>
                      <a:lnTo>
                        <a:pt x="138" y="26"/>
                      </a:lnTo>
                      <a:lnTo>
                        <a:pt x="138" y="28"/>
                      </a:lnTo>
                      <a:lnTo>
                        <a:pt x="142" y="28"/>
                      </a:lnTo>
                      <a:lnTo>
                        <a:pt x="144" y="28"/>
                      </a:lnTo>
                      <a:lnTo>
                        <a:pt x="146" y="28"/>
                      </a:lnTo>
                      <a:lnTo>
                        <a:pt x="150" y="24"/>
                      </a:lnTo>
                      <a:lnTo>
                        <a:pt x="150" y="18"/>
                      </a:lnTo>
                      <a:lnTo>
                        <a:pt x="152" y="12"/>
                      </a:lnTo>
                      <a:lnTo>
                        <a:pt x="160" y="8"/>
                      </a:lnTo>
                      <a:lnTo>
                        <a:pt x="174" y="4"/>
                      </a:lnTo>
                      <a:lnTo>
                        <a:pt x="194" y="0"/>
                      </a:lnTo>
                      <a:lnTo>
                        <a:pt x="204" y="0"/>
                      </a:lnTo>
                      <a:lnTo>
                        <a:pt x="200" y="4"/>
                      </a:lnTo>
                      <a:lnTo>
                        <a:pt x="196" y="10"/>
                      </a:lnTo>
                      <a:lnTo>
                        <a:pt x="182" y="20"/>
                      </a:lnTo>
                      <a:lnTo>
                        <a:pt x="172" y="30"/>
                      </a:lnTo>
                      <a:lnTo>
                        <a:pt x="168" y="38"/>
                      </a:lnTo>
                      <a:lnTo>
                        <a:pt x="166" y="44"/>
                      </a:lnTo>
                      <a:lnTo>
                        <a:pt x="168" y="46"/>
                      </a:lnTo>
                      <a:lnTo>
                        <a:pt x="170" y="50"/>
                      </a:lnTo>
                      <a:lnTo>
                        <a:pt x="178" y="52"/>
                      </a:lnTo>
                      <a:lnTo>
                        <a:pt x="186" y="54"/>
                      </a:lnTo>
                      <a:lnTo>
                        <a:pt x="188" y="56"/>
                      </a:lnTo>
                      <a:lnTo>
                        <a:pt x="190" y="58"/>
                      </a:lnTo>
                      <a:lnTo>
                        <a:pt x="188" y="62"/>
                      </a:lnTo>
                      <a:lnTo>
                        <a:pt x="182" y="64"/>
                      </a:lnTo>
                      <a:lnTo>
                        <a:pt x="176" y="62"/>
                      </a:lnTo>
                      <a:close/>
                    </a:path>
                  </a:pathLst>
                </a:custGeom>
                <a:grpFill/>
                <a:ln w="6350" cmpd="sng">
                  <a:solidFill>
                    <a:schemeClr val="bg1"/>
                  </a:solidFill>
                  <a:prstDash val="solid"/>
                  <a:round/>
                  <a:headEnd/>
                  <a:tailEnd/>
                </a:ln>
              </p:spPr>
              <p:txBody>
                <a:bodyPr/>
                <a:lstStyle/>
                <a:p>
                  <a:pPr>
                    <a:defRPr/>
                  </a:pPr>
                  <a:endParaRPr lang="en-US" dirty="0"/>
                </a:p>
              </p:txBody>
            </p:sp>
            <p:sp>
              <p:nvSpPr>
                <p:cNvPr id="260" name="Freeform 36"/>
                <p:cNvSpPr>
                  <a:spLocks noChangeAspect="1"/>
                </p:cNvSpPr>
                <p:nvPr/>
              </p:nvSpPr>
              <p:spPr bwMode="auto">
                <a:xfrm>
                  <a:off x="1391" y="776"/>
                  <a:ext cx="96" cy="26"/>
                </a:xfrm>
                <a:custGeom>
                  <a:avLst/>
                  <a:gdLst/>
                  <a:ahLst/>
                  <a:cxnLst>
                    <a:cxn ang="0">
                      <a:pos x="0" y="24"/>
                    </a:cxn>
                    <a:cxn ang="0">
                      <a:pos x="6" y="24"/>
                    </a:cxn>
                    <a:cxn ang="0">
                      <a:pos x="12" y="24"/>
                    </a:cxn>
                    <a:cxn ang="0">
                      <a:pos x="16" y="24"/>
                    </a:cxn>
                    <a:cxn ang="0">
                      <a:pos x="18" y="26"/>
                    </a:cxn>
                    <a:cxn ang="0">
                      <a:pos x="26" y="26"/>
                    </a:cxn>
                    <a:cxn ang="0">
                      <a:pos x="42" y="20"/>
                    </a:cxn>
                    <a:cxn ang="0">
                      <a:pos x="52" y="16"/>
                    </a:cxn>
                    <a:cxn ang="0">
                      <a:pos x="58" y="22"/>
                    </a:cxn>
                    <a:cxn ang="0">
                      <a:pos x="68" y="16"/>
                    </a:cxn>
                    <a:cxn ang="0">
                      <a:pos x="76" y="12"/>
                    </a:cxn>
                    <a:cxn ang="0">
                      <a:pos x="86" y="8"/>
                    </a:cxn>
                    <a:cxn ang="0">
                      <a:pos x="96" y="4"/>
                    </a:cxn>
                    <a:cxn ang="0">
                      <a:pos x="90" y="0"/>
                    </a:cxn>
                    <a:cxn ang="0">
                      <a:pos x="78" y="2"/>
                    </a:cxn>
                    <a:cxn ang="0">
                      <a:pos x="70" y="4"/>
                    </a:cxn>
                    <a:cxn ang="0">
                      <a:pos x="46" y="10"/>
                    </a:cxn>
                    <a:cxn ang="0">
                      <a:pos x="24" y="16"/>
                    </a:cxn>
                    <a:cxn ang="0">
                      <a:pos x="16" y="18"/>
                    </a:cxn>
                    <a:cxn ang="0">
                      <a:pos x="4" y="18"/>
                    </a:cxn>
                    <a:cxn ang="0">
                      <a:pos x="4" y="24"/>
                    </a:cxn>
                    <a:cxn ang="0">
                      <a:pos x="0" y="24"/>
                    </a:cxn>
                  </a:cxnLst>
                  <a:rect l="0" t="0" r="r" b="b"/>
                  <a:pathLst>
                    <a:path w="96" h="26">
                      <a:moveTo>
                        <a:pt x="0" y="24"/>
                      </a:moveTo>
                      <a:lnTo>
                        <a:pt x="6" y="24"/>
                      </a:lnTo>
                      <a:lnTo>
                        <a:pt x="12" y="24"/>
                      </a:lnTo>
                      <a:lnTo>
                        <a:pt x="16" y="24"/>
                      </a:lnTo>
                      <a:lnTo>
                        <a:pt x="18" y="26"/>
                      </a:lnTo>
                      <a:lnTo>
                        <a:pt x="26" y="26"/>
                      </a:lnTo>
                      <a:lnTo>
                        <a:pt x="42" y="20"/>
                      </a:lnTo>
                      <a:lnTo>
                        <a:pt x="52" y="16"/>
                      </a:lnTo>
                      <a:lnTo>
                        <a:pt x="58" y="22"/>
                      </a:lnTo>
                      <a:lnTo>
                        <a:pt x="68" y="16"/>
                      </a:lnTo>
                      <a:lnTo>
                        <a:pt x="76" y="12"/>
                      </a:lnTo>
                      <a:lnTo>
                        <a:pt x="86" y="8"/>
                      </a:lnTo>
                      <a:lnTo>
                        <a:pt x="96" y="4"/>
                      </a:lnTo>
                      <a:lnTo>
                        <a:pt x="90" y="0"/>
                      </a:lnTo>
                      <a:lnTo>
                        <a:pt x="78" y="2"/>
                      </a:lnTo>
                      <a:lnTo>
                        <a:pt x="70" y="4"/>
                      </a:lnTo>
                      <a:lnTo>
                        <a:pt x="46" y="10"/>
                      </a:lnTo>
                      <a:lnTo>
                        <a:pt x="24" y="16"/>
                      </a:lnTo>
                      <a:lnTo>
                        <a:pt x="16" y="18"/>
                      </a:lnTo>
                      <a:lnTo>
                        <a:pt x="4" y="18"/>
                      </a:lnTo>
                      <a:lnTo>
                        <a:pt x="4" y="24"/>
                      </a:lnTo>
                      <a:lnTo>
                        <a:pt x="0" y="24"/>
                      </a:lnTo>
                      <a:close/>
                    </a:path>
                  </a:pathLst>
                </a:custGeom>
                <a:grpFill/>
                <a:ln w="6350" cmpd="sng">
                  <a:solidFill>
                    <a:schemeClr val="bg1"/>
                  </a:solidFill>
                  <a:prstDash val="solid"/>
                  <a:round/>
                  <a:headEnd/>
                  <a:tailEnd/>
                </a:ln>
              </p:spPr>
              <p:txBody>
                <a:bodyPr/>
                <a:lstStyle/>
                <a:p>
                  <a:pPr>
                    <a:defRPr/>
                  </a:pPr>
                  <a:endParaRPr lang="en-US" dirty="0"/>
                </a:p>
              </p:txBody>
            </p:sp>
            <p:sp>
              <p:nvSpPr>
                <p:cNvPr id="261" name="Freeform 37"/>
                <p:cNvSpPr>
                  <a:spLocks noChangeAspect="1"/>
                </p:cNvSpPr>
                <p:nvPr/>
              </p:nvSpPr>
              <p:spPr bwMode="auto">
                <a:xfrm>
                  <a:off x="1435" y="788"/>
                  <a:ext cx="132" cy="32"/>
                </a:xfrm>
                <a:custGeom>
                  <a:avLst/>
                  <a:gdLst/>
                  <a:ahLst/>
                  <a:cxnLst>
                    <a:cxn ang="0">
                      <a:pos x="34" y="32"/>
                    </a:cxn>
                    <a:cxn ang="0">
                      <a:pos x="30" y="30"/>
                    </a:cxn>
                    <a:cxn ang="0">
                      <a:pos x="28" y="30"/>
                    </a:cxn>
                    <a:cxn ang="0">
                      <a:pos x="30" y="26"/>
                    </a:cxn>
                    <a:cxn ang="0">
                      <a:pos x="36" y="24"/>
                    </a:cxn>
                    <a:cxn ang="0">
                      <a:pos x="18" y="22"/>
                    </a:cxn>
                    <a:cxn ang="0">
                      <a:pos x="0" y="20"/>
                    </a:cxn>
                    <a:cxn ang="0">
                      <a:pos x="0" y="18"/>
                    </a:cxn>
                    <a:cxn ang="0">
                      <a:pos x="6" y="16"/>
                    </a:cxn>
                    <a:cxn ang="0">
                      <a:pos x="24" y="10"/>
                    </a:cxn>
                    <a:cxn ang="0">
                      <a:pos x="40" y="4"/>
                    </a:cxn>
                    <a:cxn ang="0">
                      <a:pos x="54" y="0"/>
                    </a:cxn>
                    <a:cxn ang="0">
                      <a:pos x="54" y="6"/>
                    </a:cxn>
                    <a:cxn ang="0">
                      <a:pos x="56" y="6"/>
                    </a:cxn>
                    <a:cxn ang="0">
                      <a:pos x="64" y="6"/>
                    </a:cxn>
                    <a:cxn ang="0">
                      <a:pos x="64" y="14"/>
                    </a:cxn>
                    <a:cxn ang="0">
                      <a:pos x="66" y="16"/>
                    </a:cxn>
                    <a:cxn ang="0">
                      <a:pos x="68" y="18"/>
                    </a:cxn>
                    <a:cxn ang="0">
                      <a:pos x="74" y="18"/>
                    </a:cxn>
                    <a:cxn ang="0">
                      <a:pos x="84" y="16"/>
                    </a:cxn>
                    <a:cxn ang="0">
                      <a:pos x="92" y="14"/>
                    </a:cxn>
                    <a:cxn ang="0">
                      <a:pos x="100" y="6"/>
                    </a:cxn>
                    <a:cxn ang="0">
                      <a:pos x="108" y="0"/>
                    </a:cxn>
                    <a:cxn ang="0">
                      <a:pos x="114" y="0"/>
                    </a:cxn>
                    <a:cxn ang="0">
                      <a:pos x="114" y="8"/>
                    </a:cxn>
                    <a:cxn ang="0">
                      <a:pos x="110" y="12"/>
                    </a:cxn>
                    <a:cxn ang="0">
                      <a:pos x="120" y="14"/>
                    </a:cxn>
                    <a:cxn ang="0">
                      <a:pos x="132" y="14"/>
                    </a:cxn>
                    <a:cxn ang="0">
                      <a:pos x="118" y="22"/>
                    </a:cxn>
                    <a:cxn ang="0">
                      <a:pos x="110" y="28"/>
                    </a:cxn>
                    <a:cxn ang="0">
                      <a:pos x="104" y="28"/>
                    </a:cxn>
                    <a:cxn ang="0">
                      <a:pos x="98" y="28"/>
                    </a:cxn>
                    <a:cxn ang="0">
                      <a:pos x="94" y="26"/>
                    </a:cxn>
                    <a:cxn ang="0">
                      <a:pos x="90" y="24"/>
                    </a:cxn>
                    <a:cxn ang="0">
                      <a:pos x="84" y="22"/>
                    </a:cxn>
                    <a:cxn ang="0">
                      <a:pos x="72" y="24"/>
                    </a:cxn>
                    <a:cxn ang="0">
                      <a:pos x="60" y="28"/>
                    </a:cxn>
                    <a:cxn ang="0">
                      <a:pos x="48" y="30"/>
                    </a:cxn>
                    <a:cxn ang="0">
                      <a:pos x="34" y="32"/>
                    </a:cxn>
                  </a:cxnLst>
                  <a:rect l="0" t="0" r="r" b="b"/>
                  <a:pathLst>
                    <a:path w="132" h="32">
                      <a:moveTo>
                        <a:pt x="34" y="32"/>
                      </a:moveTo>
                      <a:lnTo>
                        <a:pt x="30" y="30"/>
                      </a:lnTo>
                      <a:lnTo>
                        <a:pt x="28" y="30"/>
                      </a:lnTo>
                      <a:lnTo>
                        <a:pt x="30" y="26"/>
                      </a:lnTo>
                      <a:lnTo>
                        <a:pt x="36" y="24"/>
                      </a:lnTo>
                      <a:lnTo>
                        <a:pt x="18" y="22"/>
                      </a:lnTo>
                      <a:lnTo>
                        <a:pt x="0" y="20"/>
                      </a:lnTo>
                      <a:lnTo>
                        <a:pt x="0" y="18"/>
                      </a:lnTo>
                      <a:lnTo>
                        <a:pt x="6" y="16"/>
                      </a:lnTo>
                      <a:lnTo>
                        <a:pt x="24" y="10"/>
                      </a:lnTo>
                      <a:lnTo>
                        <a:pt x="40" y="4"/>
                      </a:lnTo>
                      <a:lnTo>
                        <a:pt x="54" y="0"/>
                      </a:lnTo>
                      <a:lnTo>
                        <a:pt x="54" y="6"/>
                      </a:lnTo>
                      <a:lnTo>
                        <a:pt x="56" y="6"/>
                      </a:lnTo>
                      <a:lnTo>
                        <a:pt x="64" y="6"/>
                      </a:lnTo>
                      <a:lnTo>
                        <a:pt x="64" y="14"/>
                      </a:lnTo>
                      <a:lnTo>
                        <a:pt x="66" y="16"/>
                      </a:lnTo>
                      <a:lnTo>
                        <a:pt x="68" y="18"/>
                      </a:lnTo>
                      <a:lnTo>
                        <a:pt x="74" y="18"/>
                      </a:lnTo>
                      <a:lnTo>
                        <a:pt x="84" y="16"/>
                      </a:lnTo>
                      <a:lnTo>
                        <a:pt x="92" y="14"/>
                      </a:lnTo>
                      <a:lnTo>
                        <a:pt x="100" y="6"/>
                      </a:lnTo>
                      <a:lnTo>
                        <a:pt x="108" y="0"/>
                      </a:lnTo>
                      <a:lnTo>
                        <a:pt x="114" y="0"/>
                      </a:lnTo>
                      <a:lnTo>
                        <a:pt x="114" y="8"/>
                      </a:lnTo>
                      <a:lnTo>
                        <a:pt x="110" y="12"/>
                      </a:lnTo>
                      <a:lnTo>
                        <a:pt x="120" y="14"/>
                      </a:lnTo>
                      <a:lnTo>
                        <a:pt x="132" y="14"/>
                      </a:lnTo>
                      <a:lnTo>
                        <a:pt x="118" y="22"/>
                      </a:lnTo>
                      <a:lnTo>
                        <a:pt x="110" y="28"/>
                      </a:lnTo>
                      <a:lnTo>
                        <a:pt x="104" y="28"/>
                      </a:lnTo>
                      <a:lnTo>
                        <a:pt x="98" y="28"/>
                      </a:lnTo>
                      <a:lnTo>
                        <a:pt x="94" y="26"/>
                      </a:lnTo>
                      <a:lnTo>
                        <a:pt x="90" y="24"/>
                      </a:lnTo>
                      <a:lnTo>
                        <a:pt x="84" y="22"/>
                      </a:lnTo>
                      <a:lnTo>
                        <a:pt x="72" y="24"/>
                      </a:lnTo>
                      <a:lnTo>
                        <a:pt x="60" y="28"/>
                      </a:lnTo>
                      <a:lnTo>
                        <a:pt x="48" y="30"/>
                      </a:lnTo>
                      <a:lnTo>
                        <a:pt x="34" y="32"/>
                      </a:lnTo>
                      <a:close/>
                    </a:path>
                  </a:pathLst>
                </a:custGeom>
                <a:grpFill/>
                <a:ln w="6350" cmpd="sng">
                  <a:solidFill>
                    <a:schemeClr val="bg1"/>
                  </a:solidFill>
                  <a:prstDash val="solid"/>
                  <a:round/>
                  <a:headEnd/>
                  <a:tailEnd/>
                </a:ln>
              </p:spPr>
              <p:txBody>
                <a:bodyPr/>
                <a:lstStyle/>
                <a:p>
                  <a:pPr>
                    <a:defRPr/>
                  </a:pPr>
                  <a:endParaRPr lang="en-US" dirty="0"/>
                </a:p>
              </p:txBody>
            </p:sp>
            <p:sp>
              <p:nvSpPr>
                <p:cNvPr id="262" name="Freeform 38"/>
                <p:cNvSpPr>
                  <a:spLocks noChangeAspect="1"/>
                </p:cNvSpPr>
                <p:nvPr/>
              </p:nvSpPr>
              <p:spPr bwMode="auto">
                <a:xfrm>
                  <a:off x="1509" y="760"/>
                  <a:ext cx="64" cy="18"/>
                </a:xfrm>
                <a:custGeom>
                  <a:avLst/>
                  <a:gdLst/>
                  <a:ahLst/>
                  <a:cxnLst>
                    <a:cxn ang="0">
                      <a:pos x="12" y="18"/>
                    </a:cxn>
                    <a:cxn ang="0">
                      <a:pos x="6" y="16"/>
                    </a:cxn>
                    <a:cxn ang="0">
                      <a:pos x="0" y="14"/>
                    </a:cxn>
                    <a:cxn ang="0">
                      <a:pos x="8" y="12"/>
                    </a:cxn>
                    <a:cxn ang="0">
                      <a:pos x="18" y="12"/>
                    </a:cxn>
                    <a:cxn ang="0">
                      <a:pos x="26" y="10"/>
                    </a:cxn>
                    <a:cxn ang="0">
                      <a:pos x="28" y="10"/>
                    </a:cxn>
                    <a:cxn ang="0">
                      <a:pos x="30" y="8"/>
                    </a:cxn>
                    <a:cxn ang="0">
                      <a:pos x="48" y="0"/>
                    </a:cxn>
                    <a:cxn ang="0">
                      <a:pos x="58" y="2"/>
                    </a:cxn>
                    <a:cxn ang="0">
                      <a:pos x="64" y="4"/>
                    </a:cxn>
                    <a:cxn ang="0">
                      <a:pos x="58" y="10"/>
                    </a:cxn>
                    <a:cxn ang="0">
                      <a:pos x="48" y="16"/>
                    </a:cxn>
                    <a:cxn ang="0">
                      <a:pos x="30" y="18"/>
                    </a:cxn>
                    <a:cxn ang="0">
                      <a:pos x="30" y="16"/>
                    </a:cxn>
                    <a:cxn ang="0">
                      <a:pos x="28" y="16"/>
                    </a:cxn>
                    <a:cxn ang="0">
                      <a:pos x="22" y="16"/>
                    </a:cxn>
                    <a:cxn ang="0">
                      <a:pos x="12" y="18"/>
                    </a:cxn>
                  </a:cxnLst>
                  <a:rect l="0" t="0" r="r" b="b"/>
                  <a:pathLst>
                    <a:path w="64" h="18">
                      <a:moveTo>
                        <a:pt x="12" y="18"/>
                      </a:moveTo>
                      <a:lnTo>
                        <a:pt x="6" y="16"/>
                      </a:lnTo>
                      <a:lnTo>
                        <a:pt x="0" y="14"/>
                      </a:lnTo>
                      <a:lnTo>
                        <a:pt x="8" y="12"/>
                      </a:lnTo>
                      <a:lnTo>
                        <a:pt x="18" y="12"/>
                      </a:lnTo>
                      <a:lnTo>
                        <a:pt x="26" y="10"/>
                      </a:lnTo>
                      <a:lnTo>
                        <a:pt x="28" y="10"/>
                      </a:lnTo>
                      <a:lnTo>
                        <a:pt x="30" y="8"/>
                      </a:lnTo>
                      <a:lnTo>
                        <a:pt x="48" y="0"/>
                      </a:lnTo>
                      <a:lnTo>
                        <a:pt x="58" y="2"/>
                      </a:lnTo>
                      <a:lnTo>
                        <a:pt x="64" y="4"/>
                      </a:lnTo>
                      <a:lnTo>
                        <a:pt x="58" y="10"/>
                      </a:lnTo>
                      <a:lnTo>
                        <a:pt x="48" y="16"/>
                      </a:lnTo>
                      <a:lnTo>
                        <a:pt x="30" y="18"/>
                      </a:lnTo>
                      <a:lnTo>
                        <a:pt x="30" y="16"/>
                      </a:lnTo>
                      <a:lnTo>
                        <a:pt x="28" y="16"/>
                      </a:lnTo>
                      <a:lnTo>
                        <a:pt x="22" y="16"/>
                      </a:lnTo>
                      <a:lnTo>
                        <a:pt x="12" y="18"/>
                      </a:lnTo>
                      <a:close/>
                    </a:path>
                  </a:pathLst>
                </a:custGeom>
                <a:grpFill/>
                <a:ln w="6350" cmpd="sng">
                  <a:solidFill>
                    <a:schemeClr val="bg1"/>
                  </a:solidFill>
                  <a:prstDash val="solid"/>
                  <a:round/>
                  <a:headEnd/>
                  <a:tailEnd/>
                </a:ln>
              </p:spPr>
              <p:txBody>
                <a:bodyPr/>
                <a:lstStyle/>
                <a:p>
                  <a:pPr>
                    <a:defRPr/>
                  </a:pPr>
                  <a:endParaRPr lang="en-US" dirty="0"/>
                </a:p>
              </p:txBody>
            </p:sp>
            <p:sp>
              <p:nvSpPr>
                <p:cNvPr id="263" name="Freeform 39"/>
                <p:cNvSpPr>
                  <a:spLocks noChangeAspect="1"/>
                </p:cNvSpPr>
                <p:nvPr/>
              </p:nvSpPr>
              <p:spPr bwMode="auto">
                <a:xfrm>
                  <a:off x="1551" y="826"/>
                  <a:ext cx="74" cy="42"/>
                </a:xfrm>
                <a:custGeom>
                  <a:avLst/>
                  <a:gdLst/>
                  <a:ahLst/>
                  <a:cxnLst>
                    <a:cxn ang="0">
                      <a:pos x="74" y="4"/>
                    </a:cxn>
                    <a:cxn ang="0">
                      <a:pos x="70" y="6"/>
                    </a:cxn>
                    <a:cxn ang="0">
                      <a:pos x="66" y="8"/>
                    </a:cxn>
                    <a:cxn ang="0">
                      <a:pos x="58" y="14"/>
                    </a:cxn>
                    <a:cxn ang="0">
                      <a:pos x="66" y="22"/>
                    </a:cxn>
                    <a:cxn ang="0">
                      <a:pos x="56" y="28"/>
                    </a:cxn>
                    <a:cxn ang="0">
                      <a:pos x="52" y="30"/>
                    </a:cxn>
                    <a:cxn ang="0">
                      <a:pos x="48" y="28"/>
                    </a:cxn>
                    <a:cxn ang="0">
                      <a:pos x="48" y="32"/>
                    </a:cxn>
                    <a:cxn ang="0">
                      <a:pos x="44" y="34"/>
                    </a:cxn>
                    <a:cxn ang="0">
                      <a:pos x="38" y="36"/>
                    </a:cxn>
                    <a:cxn ang="0">
                      <a:pos x="32" y="38"/>
                    </a:cxn>
                    <a:cxn ang="0">
                      <a:pos x="26" y="42"/>
                    </a:cxn>
                    <a:cxn ang="0">
                      <a:pos x="18" y="42"/>
                    </a:cxn>
                    <a:cxn ang="0">
                      <a:pos x="18" y="36"/>
                    </a:cxn>
                    <a:cxn ang="0">
                      <a:pos x="16" y="34"/>
                    </a:cxn>
                    <a:cxn ang="0">
                      <a:pos x="10" y="32"/>
                    </a:cxn>
                    <a:cxn ang="0">
                      <a:pos x="4" y="28"/>
                    </a:cxn>
                    <a:cxn ang="0">
                      <a:pos x="2" y="26"/>
                    </a:cxn>
                    <a:cxn ang="0">
                      <a:pos x="0" y="22"/>
                    </a:cxn>
                    <a:cxn ang="0">
                      <a:pos x="2" y="20"/>
                    </a:cxn>
                    <a:cxn ang="0">
                      <a:pos x="4" y="18"/>
                    </a:cxn>
                    <a:cxn ang="0">
                      <a:pos x="8" y="16"/>
                    </a:cxn>
                    <a:cxn ang="0">
                      <a:pos x="14" y="16"/>
                    </a:cxn>
                    <a:cxn ang="0">
                      <a:pos x="16" y="18"/>
                    </a:cxn>
                    <a:cxn ang="0">
                      <a:pos x="20" y="20"/>
                    </a:cxn>
                    <a:cxn ang="0">
                      <a:pos x="22" y="20"/>
                    </a:cxn>
                    <a:cxn ang="0">
                      <a:pos x="30" y="18"/>
                    </a:cxn>
                    <a:cxn ang="0">
                      <a:pos x="32" y="16"/>
                    </a:cxn>
                    <a:cxn ang="0">
                      <a:pos x="32" y="14"/>
                    </a:cxn>
                    <a:cxn ang="0">
                      <a:pos x="32" y="8"/>
                    </a:cxn>
                    <a:cxn ang="0">
                      <a:pos x="38" y="4"/>
                    </a:cxn>
                    <a:cxn ang="0">
                      <a:pos x="50" y="4"/>
                    </a:cxn>
                    <a:cxn ang="0">
                      <a:pos x="74" y="0"/>
                    </a:cxn>
                    <a:cxn ang="0">
                      <a:pos x="74" y="4"/>
                    </a:cxn>
                  </a:cxnLst>
                  <a:rect l="0" t="0" r="r" b="b"/>
                  <a:pathLst>
                    <a:path w="74" h="42">
                      <a:moveTo>
                        <a:pt x="74" y="4"/>
                      </a:moveTo>
                      <a:lnTo>
                        <a:pt x="70" y="6"/>
                      </a:lnTo>
                      <a:lnTo>
                        <a:pt x="66" y="8"/>
                      </a:lnTo>
                      <a:lnTo>
                        <a:pt x="58" y="14"/>
                      </a:lnTo>
                      <a:lnTo>
                        <a:pt x="66" y="22"/>
                      </a:lnTo>
                      <a:lnTo>
                        <a:pt x="56" y="28"/>
                      </a:lnTo>
                      <a:lnTo>
                        <a:pt x="52" y="30"/>
                      </a:lnTo>
                      <a:lnTo>
                        <a:pt x="48" y="28"/>
                      </a:lnTo>
                      <a:lnTo>
                        <a:pt x="48" y="32"/>
                      </a:lnTo>
                      <a:lnTo>
                        <a:pt x="44" y="34"/>
                      </a:lnTo>
                      <a:lnTo>
                        <a:pt x="38" y="36"/>
                      </a:lnTo>
                      <a:lnTo>
                        <a:pt x="32" y="38"/>
                      </a:lnTo>
                      <a:lnTo>
                        <a:pt x="26" y="42"/>
                      </a:lnTo>
                      <a:lnTo>
                        <a:pt x="18" y="42"/>
                      </a:lnTo>
                      <a:lnTo>
                        <a:pt x="18" y="36"/>
                      </a:lnTo>
                      <a:lnTo>
                        <a:pt x="16" y="34"/>
                      </a:lnTo>
                      <a:lnTo>
                        <a:pt x="10" y="32"/>
                      </a:lnTo>
                      <a:lnTo>
                        <a:pt x="4" y="28"/>
                      </a:lnTo>
                      <a:lnTo>
                        <a:pt x="2" y="26"/>
                      </a:lnTo>
                      <a:lnTo>
                        <a:pt x="0" y="22"/>
                      </a:lnTo>
                      <a:lnTo>
                        <a:pt x="2" y="20"/>
                      </a:lnTo>
                      <a:lnTo>
                        <a:pt x="4" y="18"/>
                      </a:lnTo>
                      <a:lnTo>
                        <a:pt x="8" y="16"/>
                      </a:lnTo>
                      <a:lnTo>
                        <a:pt x="14" y="16"/>
                      </a:lnTo>
                      <a:lnTo>
                        <a:pt x="16" y="18"/>
                      </a:lnTo>
                      <a:lnTo>
                        <a:pt x="20" y="20"/>
                      </a:lnTo>
                      <a:lnTo>
                        <a:pt x="22" y="20"/>
                      </a:lnTo>
                      <a:lnTo>
                        <a:pt x="30" y="18"/>
                      </a:lnTo>
                      <a:lnTo>
                        <a:pt x="32" y="16"/>
                      </a:lnTo>
                      <a:lnTo>
                        <a:pt x="32" y="14"/>
                      </a:lnTo>
                      <a:lnTo>
                        <a:pt x="32" y="8"/>
                      </a:lnTo>
                      <a:lnTo>
                        <a:pt x="38" y="4"/>
                      </a:lnTo>
                      <a:lnTo>
                        <a:pt x="50" y="4"/>
                      </a:lnTo>
                      <a:lnTo>
                        <a:pt x="74" y="0"/>
                      </a:lnTo>
                      <a:lnTo>
                        <a:pt x="74" y="4"/>
                      </a:lnTo>
                      <a:close/>
                    </a:path>
                  </a:pathLst>
                </a:custGeom>
                <a:grpFill/>
                <a:ln w="6350" cmpd="sng">
                  <a:solidFill>
                    <a:schemeClr val="bg1"/>
                  </a:solidFill>
                  <a:prstDash val="solid"/>
                  <a:round/>
                  <a:headEnd/>
                  <a:tailEnd/>
                </a:ln>
              </p:spPr>
              <p:txBody>
                <a:bodyPr/>
                <a:lstStyle/>
                <a:p>
                  <a:pPr>
                    <a:defRPr/>
                  </a:pPr>
                  <a:endParaRPr lang="en-US" dirty="0"/>
                </a:p>
              </p:txBody>
            </p:sp>
            <p:sp>
              <p:nvSpPr>
                <p:cNvPr id="264" name="Freeform 40"/>
                <p:cNvSpPr>
                  <a:spLocks noChangeAspect="1"/>
                </p:cNvSpPr>
                <p:nvPr/>
              </p:nvSpPr>
              <p:spPr bwMode="auto">
                <a:xfrm>
                  <a:off x="1537" y="888"/>
                  <a:ext cx="40" cy="22"/>
                </a:xfrm>
                <a:custGeom>
                  <a:avLst/>
                  <a:gdLst/>
                  <a:ahLst/>
                  <a:cxnLst>
                    <a:cxn ang="0">
                      <a:pos x="22" y="22"/>
                    </a:cxn>
                    <a:cxn ang="0">
                      <a:pos x="16" y="22"/>
                    </a:cxn>
                    <a:cxn ang="0">
                      <a:pos x="8" y="20"/>
                    </a:cxn>
                    <a:cxn ang="0">
                      <a:pos x="0" y="14"/>
                    </a:cxn>
                    <a:cxn ang="0">
                      <a:pos x="6" y="10"/>
                    </a:cxn>
                    <a:cxn ang="0">
                      <a:pos x="12" y="6"/>
                    </a:cxn>
                    <a:cxn ang="0">
                      <a:pos x="30" y="0"/>
                    </a:cxn>
                    <a:cxn ang="0">
                      <a:pos x="32" y="4"/>
                    </a:cxn>
                    <a:cxn ang="0">
                      <a:pos x="34" y="6"/>
                    </a:cxn>
                    <a:cxn ang="0">
                      <a:pos x="40" y="6"/>
                    </a:cxn>
                    <a:cxn ang="0">
                      <a:pos x="40" y="18"/>
                    </a:cxn>
                    <a:cxn ang="0">
                      <a:pos x="32" y="22"/>
                    </a:cxn>
                    <a:cxn ang="0">
                      <a:pos x="22" y="22"/>
                    </a:cxn>
                  </a:cxnLst>
                  <a:rect l="0" t="0" r="r" b="b"/>
                  <a:pathLst>
                    <a:path w="40" h="22">
                      <a:moveTo>
                        <a:pt x="22" y="22"/>
                      </a:moveTo>
                      <a:lnTo>
                        <a:pt x="16" y="22"/>
                      </a:lnTo>
                      <a:lnTo>
                        <a:pt x="8" y="20"/>
                      </a:lnTo>
                      <a:lnTo>
                        <a:pt x="0" y="14"/>
                      </a:lnTo>
                      <a:lnTo>
                        <a:pt x="6" y="10"/>
                      </a:lnTo>
                      <a:lnTo>
                        <a:pt x="12" y="6"/>
                      </a:lnTo>
                      <a:lnTo>
                        <a:pt x="30" y="0"/>
                      </a:lnTo>
                      <a:lnTo>
                        <a:pt x="32" y="4"/>
                      </a:lnTo>
                      <a:lnTo>
                        <a:pt x="34" y="6"/>
                      </a:lnTo>
                      <a:lnTo>
                        <a:pt x="40" y="6"/>
                      </a:lnTo>
                      <a:lnTo>
                        <a:pt x="40" y="18"/>
                      </a:lnTo>
                      <a:lnTo>
                        <a:pt x="32" y="22"/>
                      </a:lnTo>
                      <a:lnTo>
                        <a:pt x="22" y="22"/>
                      </a:lnTo>
                      <a:close/>
                    </a:path>
                  </a:pathLst>
                </a:custGeom>
                <a:grpFill/>
                <a:ln w="6350" cmpd="sng">
                  <a:solidFill>
                    <a:schemeClr val="bg1"/>
                  </a:solidFill>
                  <a:prstDash val="solid"/>
                  <a:round/>
                  <a:headEnd/>
                  <a:tailEnd/>
                </a:ln>
              </p:spPr>
              <p:txBody>
                <a:bodyPr/>
                <a:lstStyle/>
                <a:p>
                  <a:pPr>
                    <a:defRPr/>
                  </a:pPr>
                  <a:endParaRPr lang="en-US" dirty="0"/>
                </a:p>
              </p:txBody>
            </p:sp>
            <p:sp>
              <p:nvSpPr>
                <p:cNvPr id="265" name="Freeform 41"/>
                <p:cNvSpPr>
                  <a:spLocks noChangeAspect="1"/>
                </p:cNvSpPr>
                <p:nvPr/>
              </p:nvSpPr>
              <p:spPr bwMode="auto">
                <a:xfrm>
                  <a:off x="1621" y="954"/>
                  <a:ext cx="80" cy="42"/>
                </a:xfrm>
                <a:custGeom>
                  <a:avLst/>
                  <a:gdLst/>
                  <a:ahLst/>
                  <a:cxnLst>
                    <a:cxn ang="0">
                      <a:pos x="58" y="40"/>
                    </a:cxn>
                    <a:cxn ang="0">
                      <a:pos x="56" y="30"/>
                    </a:cxn>
                    <a:cxn ang="0">
                      <a:pos x="52" y="26"/>
                    </a:cxn>
                    <a:cxn ang="0">
                      <a:pos x="48" y="26"/>
                    </a:cxn>
                    <a:cxn ang="0">
                      <a:pos x="42" y="26"/>
                    </a:cxn>
                    <a:cxn ang="0">
                      <a:pos x="38" y="30"/>
                    </a:cxn>
                    <a:cxn ang="0">
                      <a:pos x="30" y="36"/>
                    </a:cxn>
                    <a:cxn ang="0">
                      <a:pos x="22" y="40"/>
                    </a:cxn>
                    <a:cxn ang="0">
                      <a:pos x="16" y="42"/>
                    </a:cxn>
                    <a:cxn ang="0">
                      <a:pos x="10" y="40"/>
                    </a:cxn>
                    <a:cxn ang="0">
                      <a:pos x="14" y="38"/>
                    </a:cxn>
                    <a:cxn ang="0">
                      <a:pos x="10" y="36"/>
                    </a:cxn>
                    <a:cxn ang="0">
                      <a:pos x="6" y="36"/>
                    </a:cxn>
                    <a:cxn ang="0">
                      <a:pos x="4" y="36"/>
                    </a:cxn>
                    <a:cxn ang="0">
                      <a:pos x="0" y="34"/>
                    </a:cxn>
                    <a:cxn ang="0">
                      <a:pos x="8" y="24"/>
                    </a:cxn>
                    <a:cxn ang="0">
                      <a:pos x="22" y="14"/>
                    </a:cxn>
                    <a:cxn ang="0">
                      <a:pos x="46" y="0"/>
                    </a:cxn>
                    <a:cxn ang="0">
                      <a:pos x="52" y="6"/>
                    </a:cxn>
                    <a:cxn ang="0">
                      <a:pos x="58" y="12"/>
                    </a:cxn>
                    <a:cxn ang="0">
                      <a:pos x="70" y="22"/>
                    </a:cxn>
                    <a:cxn ang="0">
                      <a:pos x="68" y="28"/>
                    </a:cxn>
                    <a:cxn ang="0">
                      <a:pos x="74" y="28"/>
                    </a:cxn>
                    <a:cxn ang="0">
                      <a:pos x="80" y="30"/>
                    </a:cxn>
                    <a:cxn ang="0">
                      <a:pos x="74" y="36"/>
                    </a:cxn>
                    <a:cxn ang="0">
                      <a:pos x="70" y="38"/>
                    </a:cxn>
                    <a:cxn ang="0">
                      <a:pos x="64" y="40"/>
                    </a:cxn>
                    <a:cxn ang="0">
                      <a:pos x="60" y="38"/>
                    </a:cxn>
                    <a:cxn ang="0">
                      <a:pos x="60" y="36"/>
                    </a:cxn>
                    <a:cxn ang="0">
                      <a:pos x="58" y="40"/>
                    </a:cxn>
                  </a:cxnLst>
                  <a:rect l="0" t="0" r="r" b="b"/>
                  <a:pathLst>
                    <a:path w="80" h="42">
                      <a:moveTo>
                        <a:pt x="58" y="40"/>
                      </a:moveTo>
                      <a:lnTo>
                        <a:pt x="56" y="30"/>
                      </a:lnTo>
                      <a:lnTo>
                        <a:pt x="52" y="26"/>
                      </a:lnTo>
                      <a:lnTo>
                        <a:pt x="48" y="26"/>
                      </a:lnTo>
                      <a:lnTo>
                        <a:pt x="42" y="26"/>
                      </a:lnTo>
                      <a:lnTo>
                        <a:pt x="38" y="30"/>
                      </a:lnTo>
                      <a:lnTo>
                        <a:pt x="30" y="36"/>
                      </a:lnTo>
                      <a:lnTo>
                        <a:pt x="22" y="40"/>
                      </a:lnTo>
                      <a:lnTo>
                        <a:pt x="16" y="42"/>
                      </a:lnTo>
                      <a:lnTo>
                        <a:pt x="10" y="40"/>
                      </a:lnTo>
                      <a:lnTo>
                        <a:pt x="14" y="38"/>
                      </a:lnTo>
                      <a:lnTo>
                        <a:pt x="10" y="36"/>
                      </a:lnTo>
                      <a:lnTo>
                        <a:pt x="6" y="36"/>
                      </a:lnTo>
                      <a:lnTo>
                        <a:pt x="4" y="36"/>
                      </a:lnTo>
                      <a:lnTo>
                        <a:pt x="0" y="34"/>
                      </a:lnTo>
                      <a:lnTo>
                        <a:pt x="8" y="24"/>
                      </a:lnTo>
                      <a:lnTo>
                        <a:pt x="22" y="14"/>
                      </a:lnTo>
                      <a:lnTo>
                        <a:pt x="46" y="0"/>
                      </a:lnTo>
                      <a:lnTo>
                        <a:pt x="52" y="6"/>
                      </a:lnTo>
                      <a:lnTo>
                        <a:pt x="58" y="12"/>
                      </a:lnTo>
                      <a:lnTo>
                        <a:pt x="70" y="22"/>
                      </a:lnTo>
                      <a:lnTo>
                        <a:pt x="68" y="28"/>
                      </a:lnTo>
                      <a:lnTo>
                        <a:pt x="74" y="28"/>
                      </a:lnTo>
                      <a:lnTo>
                        <a:pt x="80" y="30"/>
                      </a:lnTo>
                      <a:lnTo>
                        <a:pt x="74" y="36"/>
                      </a:lnTo>
                      <a:lnTo>
                        <a:pt x="70" y="38"/>
                      </a:lnTo>
                      <a:lnTo>
                        <a:pt x="64" y="40"/>
                      </a:lnTo>
                      <a:lnTo>
                        <a:pt x="60" y="38"/>
                      </a:lnTo>
                      <a:lnTo>
                        <a:pt x="60" y="36"/>
                      </a:lnTo>
                      <a:lnTo>
                        <a:pt x="58" y="40"/>
                      </a:lnTo>
                      <a:close/>
                    </a:path>
                  </a:pathLst>
                </a:custGeom>
                <a:grpFill/>
                <a:ln w="6350" cmpd="sng">
                  <a:solidFill>
                    <a:schemeClr val="bg1"/>
                  </a:solidFill>
                  <a:prstDash val="solid"/>
                  <a:round/>
                  <a:headEnd/>
                  <a:tailEnd/>
                </a:ln>
              </p:spPr>
              <p:txBody>
                <a:bodyPr/>
                <a:lstStyle/>
                <a:p>
                  <a:pPr>
                    <a:defRPr/>
                  </a:pPr>
                  <a:endParaRPr lang="en-US" dirty="0"/>
                </a:p>
              </p:txBody>
            </p:sp>
            <p:sp>
              <p:nvSpPr>
                <p:cNvPr id="266" name="Freeform 42"/>
                <p:cNvSpPr>
                  <a:spLocks noChangeAspect="1"/>
                </p:cNvSpPr>
                <p:nvPr/>
              </p:nvSpPr>
              <p:spPr bwMode="auto">
                <a:xfrm>
                  <a:off x="1591" y="788"/>
                  <a:ext cx="66" cy="24"/>
                </a:xfrm>
                <a:custGeom>
                  <a:avLst/>
                  <a:gdLst/>
                  <a:ahLst/>
                  <a:cxnLst>
                    <a:cxn ang="0">
                      <a:pos x="10" y="6"/>
                    </a:cxn>
                    <a:cxn ang="0">
                      <a:pos x="16" y="10"/>
                    </a:cxn>
                    <a:cxn ang="0">
                      <a:pos x="22" y="12"/>
                    </a:cxn>
                    <a:cxn ang="0">
                      <a:pos x="24" y="8"/>
                    </a:cxn>
                    <a:cxn ang="0">
                      <a:pos x="24" y="6"/>
                    </a:cxn>
                    <a:cxn ang="0">
                      <a:pos x="26" y="6"/>
                    </a:cxn>
                    <a:cxn ang="0">
                      <a:pos x="30" y="6"/>
                    </a:cxn>
                    <a:cxn ang="0">
                      <a:pos x="34" y="8"/>
                    </a:cxn>
                    <a:cxn ang="0">
                      <a:pos x="38" y="12"/>
                    </a:cxn>
                    <a:cxn ang="0">
                      <a:pos x="40" y="4"/>
                    </a:cxn>
                    <a:cxn ang="0">
                      <a:pos x="42" y="0"/>
                    </a:cxn>
                    <a:cxn ang="0">
                      <a:pos x="46" y="0"/>
                    </a:cxn>
                    <a:cxn ang="0">
                      <a:pos x="56" y="2"/>
                    </a:cxn>
                    <a:cxn ang="0">
                      <a:pos x="62" y="2"/>
                    </a:cxn>
                    <a:cxn ang="0">
                      <a:pos x="64" y="0"/>
                    </a:cxn>
                    <a:cxn ang="0">
                      <a:pos x="66" y="6"/>
                    </a:cxn>
                    <a:cxn ang="0">
                      <a:pos x="62" y="12"/>
                    </a:cxn>
                    <a:cxn ang="0">
                      <a:pos x="56" y="16"/>
                    </a:cxn>
                    <a:cxn ang="0">
                      <a:pos x="46" y="20"/>
                    </a:cxn>
                    <a:cxn ang="0">
                      <a:pos x="42" y="20"/>
                    </a:cxn>
                    <a:cxn ang="0">
                      <a:pos x="36" y="20"/>
                    </a:cxn>
                    <a:cxn ang="0">
                      <a:pos x="34" y="24"/>
                    </a:cxn>
                    <a:cxn ang="0">
                      <a:pos x="28" y="24"/>
                    </a:cxn>
                    <a:cxn ang="0">
                      <a:pos x="24" y="24"/>
                    </a:cxn>
                    <a:cxn ang="0">
                      <a:pos x="20" y="22"/>
                    </a:cxn>
                    <a:cxn ang="0">
                      <a:pos x="18" y="20"/>
                    </a:cxn>
                    <a:cxn ang="0">
                      <a:pos x="18" y="14"/>
                    </a:cxn>
                    <a:cxn ang="0">
                      <a:pos x="6" y="14"/>
                    </a:cxn>
                    <a:cxn ang="0">
                      <a:pos x="2" y="14"/>
                    </a:cxn>
                    <a:cxn ang="0">
                      <a:pos x="0" y="10"/>
                    </a:cxn>
                    <a:cxn ang="0">
                      <a:pos x="0" y="6"/>
                    </a:cxn>
                    <a:cxn ang="0">
                      <a:pos x="0" y="4"/>
                    </a:cxn>
                    <a:cxn ang="0">
                      <a:pos x="2" y="2"/>
                    </a:cxn>
                    <a:cxn ang="0">
                      <a:pos x="8" y="0"/>
                    </a:cxn>
                    <a:cxn ang="0">
                      <a:pos x="10" y="2"/>
                    </a:cxn>
                    <a:cxn ang="0">
                      <a:pos x="12" y="4"/>
                    </a:cxn>
                    <a:cxn ang="0">
                      <a:pos x="16" y="10"/>
                    </a:cxn>
                    <a:cxn ang="0">
                      <a:pos x="16" y="8"/>
                    </a:cxn>
                    <a:cxn ang="0">
                      <a:pos x="10" y="6"/>
                    </a:cxn>
                  </a:cxnLst>
                  <a:rect l="0" t="0" r="r" b="b"/>
                  <a:pathLst>
                    <a:path w="66" h="24">
                      <a:moveTo>
                        <a:pt x="10" y="6"/>
                      </a:moveTo>
                      <a:lnTo>
                        <a:pt x="16" y="10"/>
                      </a:lnTo>
                      <a:lnTo>
                        <a:pt x="22" y="12"/>
                      </a:lnTo>
                      <a:lnTo>
                        <a:pt x="24" y="8"/>
                      </a:lnTo>
                      <a:lnTo>
                        <a:pt x="24" y="6"/>
                      </a:lnTo>
                      <a:lnTo>
                        <a:pt x="26" y="6"/>
                      </a:lnTo>
                      <a:lnTo>
                        <a:pt x="30" y="6"/>
                      </a:lnTo>
                      <a:lnTo>
                        <a:pt x="34" y="8"/>
                      </a:lnTo>
                      <a:lnTo>
                        <a:pt x="38" y="12"/>
                      </a:lnTo>
                      <a:lnTo>
                        <a:pt x="40" y="4"/>
                      </a:lnTo>
                      <a:lnTo>
                        <a:pt x="42" y="0"/>
                      </a:lnTo>
                      <a:lnTo>
                        <a:pt x="46" y="0"/>
                      </a:lnTo>
                      <a:lnTo>
                        <a:pt x="56" y="2"/>
                      </a:lnTo>
                      <a:lnTo>
                        <a:pt x="62" y="2"/>
                      </a:lnTo>
                      <a:lnTo>
                        <a:pt x="64" y="0"/>
                      </a:lnTo>
                      <a:lnTo>
                        <a:pt x="66" y="6"/>
                      </a:lnTo>
                      <a:lnTo>
                        <a:pt x="62" y="12"/>
                      </a:lnTo>
                      <a:lnTo>
                        <a:pt x="56" y="16"/>
                      </a:lnTo>
                      <a:lnTo>
                        <a:pt x="46" y="20"/>
                      </a:lnTo>
                      <a:lnTo>
                        <a:pt x="42" y="20"/>
                      </a:lnTo>
                      <a:lnTo>
                        <a:pt x="36" y="20"/>
                      </a:lnTo>
                      <a:lnTo>
                        <a:pt x="34" y="24"/>
                      </a:lnTo>
                      <a:lnTo>
                        <a:pt x="28" y="24"/>
                      </a:lnTo>
                      <a:lnTo>
                        <a:pt x="24" y="24"/>
                      </a:lnTo>
                      <a:lnTo>
                        <a:pt x="20" y="22"/>
                      </a:lnTo>
                      <a:lnTo>
                        <a:pt x="18" y="20"/>
                      </a:lnTo>
                      <a:lnTo>
                        <a:pt x="18" y="14"/>
                      </a:lnTo>
                      <a:lnTo>
                        <a:pt x="6" y="14"/>
                      </a:lnTo>
                      <a:lnTo>
                        <a:pt x="2" y="14"/>
                      </a:lnTo>
                      <a:lnTo>
                        <a:pt x="0" y="10"/>
                      </a:lnTo>
                      <a:lnTo>
                        <a:pt x="0" y="6"/>
                      </a:lnTo>
                      <a:lnTo>
                        <a:pt x="0" y="4"/>
                      </a:lnTo>
                      <a:lnTo>
                        <a:pt x="2" y="2"/>
                      </a:lnTo>
                      <a:lnTo>
                        <a:pt x="8" y="0"/>
                      </a:lnTo>
                      <a:lnTo>
                        <a:pt x="10" y="2"/>
                      </a:lnTo>
                      <a:lnTo>
                        <a:pt x="12" y="4"/>
                      </a:lnTo>
                      <a:lnTo>
                        <a:pt x="16" y="10"/>
                      </a:lnTo>
                      <a:lnTo>
                        <a:pt x="16" y="8"/>
                      </a:lnTo>
                      <a:lnTo>
                        <a:pt x="10" y="6"/>
                      </a:lnTo>
                      <a:close/>
                    </a:path>
                  </a:pathLst>
                </a:custGeom>
                <a:grpFill/>
                <a:ln w="6350" cmpd="sng">
                  <a:solidFill>
                    <a:schemeClr val="bg1"/>
                  </a:solidFill>
                  <a:prstDash val="solid"/>
                  <a:round/>
                  <a:headEnd/>
                  <a:tailEnd/>
                </a:ln>
              </p:spPr>
              <p:txBody>
                <a:bodyPr/>
                <a:lstStyle/>
                <a:p>
                  <a:pPr>
                    <a:defRPr/>
                  </a:pPr>
                  <a:endParaRPr lang="en-US" dirty="0"/>
                </a:p>
              </p:txBody>
            </p:sp>
            <p:sp>
              <p:nvSpPr>
                <p:cNvPr id="267" name="Freeform 43"/>
                <p:cNvSpPr>
                  <a:spLocks noChangeAspect="1"/>
                </p:cNvSpPr>
                <p:nvPr/>
              </p:nvSpPr>
              <p:spPr bwMode="auto">
                <a:xfrm>
                  <a:off x="1677" y="782"/>
                  <a:ext cx="164" cy="38"/>
                </a:xfrm>
                <a:custGeom>
                  <a:avLst/>
                  <a:gdLst/>
                  <a:ahLst/>
                  <a:cxnLst>
                    <a:cxn ang="0">
                      <a:pos x="30" y="22"/>
                    </a:cxn>
                    <a:cxn ang="0">
                      <a:pos x="36" y="18"/>
                    </a:cxn>
                    <a:cxn ang="0">
                      <a:pos x="32" y="16"/>
                    </a:cxn>
                    <a:cxn ang="0">
                      <a:pos x="28" y="16"/>
                    </a:cxn>
                    <a:cxn ang="0">
                      <a:pos x="22" y="16"/>
                    </a:cxn>
                    <a:cxn ang="0">
                      <a:pos x="12" y="18"/>
                    </a:cxn>
                    <a:cxn ang="0">
                      <a:pos x="8" y="16"/>
                    </a:cxn>
                    <a:cxn ang="0">
                      <a:pos x="4" y="14"/>
                    </a:cxn>
                    <a:cxn ang="0">
                      <a:pos x="0" y="6"/>
                    </a:cxn>
                    <a:cxn ang="0">
                      <a:pos x="8" y="2"/>
                    </a:cxn>
                    <a:cxn ang="0">
                      <a:pos x="20" y="0"/>
                    </a:cxn>
                    <a:cxn ang="0">
                      <a:pos x="28" y="2"/>
                    </a:cxn>
                    <a:cxn ang="0">
                      <a:pos x="32" y="6"/>
                    </a:cxn>
                    <a:cxn ang="0">
                      <a:pos x="38" y="8"/>
                    </a:cxn>
                    <a:cxn ang="0">
                      <a:pos x="44" y="10"/>
                    </a:cxn>
                    <a:cxn ang="0">
                      <a:pos x="58" y="10"/>
                    </a:cxn>
                    <a:cxn ang="0">
                      <a:pos x="60" y="8"/>
                    </a:cxn>
                    <a:cxn ang="0">
                      <a:pos x="64" y="6"/>
                    </a:cxn>
                    <a:cxn ang="0">
                      <a:pos x="68" y="6"/>
                    </a:cxn>
                    <a:cxn ang="0">
                      <a:pos x="62" y="10"/>
                    </a:cxn>
                    <a:cxn ang="0">
                      <a:pos x="60" y="12"/>
                    </a:cxn>
                    <a:cxn ang="0">
                      <a:pos x="58" y="16"/>
                    </a:cxn>
                    <a:cxn ang="0">
                      <a:pos x="60" y="18"/>
                    </a:cxn>
                    <a:cxn ang="0">
                      <a:pos x="60" y="20"/>
                    </a:cxn>
                    <a:cxn ang="0">
                      <a:pos x="66" y="20"/>
                    </a:cxn>
                    <a:cxn ang="0">
                      <a:pos x="80" y="20"/>
                    </a:cxn>
                    <a:cxn ang="0">
                      <a:pos x="94" y="20"/>
                    </a:cxn>
                    <a:cxn ang="0">
                      <a:pos x="108" y="20"/>
                    </a:cxn>
                    <a:cxn ang="0">
                      <a:pos x="120" y="18"/>
                    </a:cxn>
                    <a:cxn ang="0">
                      <a:pos x="136" y="18"/>
                    </a:cxn>
                    <a:cxn ang="0">
                      <a:pos x="144" y="18"/>
                    </a:cxn>
                    <a:cxn ang="0">
                      <a:pos x="152" y="20"/>
                    </a:cxn>
                    <a:cxn ang="0">
                      <a:pos x="164" y="22"/>
                    </a:cxn>
                    <a:cxn ang="0">
                      <a:pos x="160" y="30"/>
                    </a:cxn>
                    <a:cxn ang="0">
                      <a:pos x="156" y="36"/>
                    </a:cxn>
                    <a:cxn ang="0">
                      <a:pos x="148" y="38"/>
                    </a:cxn>
                    <a:cxn ang="0">
                      <a:pos x="140" y="38"/>
                    </a:cxn>
                    <a:cxn ang="0">
                      <a:pos x="132" y="38"/>
                    </a:cxn>
                    <a:cxn ang="0">
                      <a:pos x="124" y="36"/>
                    </a:cxn>
                    <a:cxn ang="0">
                      <a:pos x="118" y="36"/>
                    </a:cxn>
                    <a:cxn ang="0">
                      <a:pos x="110" y="34"/>
                    </a:cxn>
                    <a:cxn ang="0">
                      <a:pos x="104" y="34"/>
                    </a:cxn>
                    <a:cxn ang="0">
                      <a:pos x="96" y="32"/>
                    </a:cxn>
                    <a:cxn ang="0">
                      <a:pos x="90" y="30"/>
                    </a:cxn>
                    <a:cxn ang="0">
                      <a:pos x="86" y="30"/>
                    </a:cxn>
                    <a:cxn ang="0">
                      <a:pos x="78" y="32"/>
                    </a:cxn>
                    <a:cxn ang="0">
                      <a:pos x="72" y="34"/>
                    </a:cxn>
                    <a:cxn ang="0">
                      <a:pos x="68" y="38"/>
                    </a:cxn>
                    <a:cxn ang="0">
                      <a:pos x="62" y="38"/>
                    </a:cxn>
                    <a:cxn ang="0">
                      <a:pos x="42" y="36"/>
                    </a:cxn>
                    <a:cxn ang="0">
                      <a:pos x="32" y="36"/>
                    </a:cxn>
                    <a:cxn ang="0">
                      <a:pos x="28" y="36"/>
                    </a:cxn>
                    <a:cxn ang="0">
                      <a:pos x="24" y="38"/>
                    </a:cxn>
                    <a:cxn ang="0">
                      <a:pos x="24" y="30"/>
                    </a:cxn>
                    <a:cxn ang="0">
                      <a:pos x="28" y="24"/>
                    </a:cxn>
                    <a:cxn ang="0">
                      <a:pos x="32" y="20"/>
                    </a:cxn>
                    <a:cxn ang="0">
                      <a:pos x="36" y="20"/>
                    </a:cxn>
                    <a:cxn ang="0">
                      <a:pos x="30" y="22"/>
                    </a:cxn>
                  </a:cxnLst>
                  <a:rect l="0" t="0" r="r" b="b"/>
                  <a:pathLst>
                    <a:path w="164" h="38">
                      <a:moveTo>
                        <a:pt x="30" y="22"/>
                      </a:moveTo>
                      <a:lnTo>
                        <a:pt x="36" y="18"/>
                      </a:lnTo>
                      <a:lnTo>
                        <a:pt x="32" y="16"/>
                      </a:lnTo>
                      <a:lnTo>
                        <a:pt x="28" y="16"/>
                      </a:lnTo>
                      <a:lnTo>
                        <a:pt x="22" y="16"/>
                      </a:lnTo>
                      <a:lnTo>
                        <a:pt x="12" y="18"/>
                      </a:lnTo>
                      <a:lnTo>
                        <a:pt x="8" y="16"/>
                      </a:lnTo>
                      <a:lnTo>
                        <a:pt x="4" y="14"/>
                      </a:lnTo>
                      <a:lnTo>
                        <a:pt x="0" y="6"/>
                      </a:lnTo>
                      <a:lnTo>
                        <a:pt x="8" y="2"/>
                      </a:lnTo>
                      <a:lnTo>
                        <a:pt x="20" y="0"/>
                      </a:lnTo>
                      <a:lnTo>
                        <a:pt x="28" y="2"/>
                      </a:lnTo>
                      <a:lnTo>
                        <a:pt x="32" y="6"/>
                      </a:lnTo>
                      <a:lnTo>
                        <a:pt x="38" y="8"/>
                      </a:lnTo>
                      <a:lnTo>
                        <a:pt x="44" y="10"/>
                      </a:lnTo>
                      <a:lnTo>
                        <a:pt x="58" y="10"/>
                      </a:lnTo>
                      <a:lnTo>
                        <a:pt x="60" y="8"/>
                      </a:lnTo>
                      <a:lnTo>
                        <a:pt x="64" y="6"/>
                      </a:lnTo>
                      <a:lnTo>
                        <a:pt x="68" y="6"/>
                      </a:lnTo>
                      <a:lnTo>
                        <a:pt x="62" y="10"/>
                      </a:lnTo>
                      <a:lnTo>
                        <a:pt x="60" y="12"/>
                      </a:lnTo>
                      <a:lnTo>
                        <a:pt x="58" y="16"/>
                      </a:lnTo>
                      <a:lnTo>
                        <a:pt x="60" y="18"/>
                      </a:lnTo>
                      <a:lnTo>
                        <a:pt x="60" y="20"/>
                      </a:lnTo>
                      <a:lnTo>
                        <a:pt x="66" y="20"/>
                      </a:lnTo>
                      <a:lnTo>
                        <a:pt x="80" y="20"/>
                      </a:lnTo>
                      <a:lnTo>
                        <a:pt x="94" y="20"/>
                      </a:lnTo>
                      <a:lnTo>
                        <a:pt x="108" y="20"/>
                      </a:lnTo>
                      <a:lnTo>
                        <a:pt x="120" y="18"/>
                      </a:lnTo>
                      <a:lnTo>
                        <a:pt x="136" y="18"/>
                      </a:lnTo>
                      <a:lnTo>
                        <a:pt x="144" y="18"/>
                      </a:lnTo>
                      <a:lnTo>
                        <a:pt x="152" y="20"/>
                      </a:lnTo>
                      <a:lnTo>
                        <a:pt x="164" y="22"/>
                      </a:lnTo>
                      <a:lnTo>
                        <a:pt x="160" y="30"/>
                      </a:lnTo>
                      <a:lnTo>
                        <a:pt x="156" y="36"/>
                      </a:lnTo>
                      <a:lnTo>
                        <a:pt x="148" y="38"/>
                      </a:lnTo>
                      <a:lnTo>
                        <a:pt x="140" y="38"/>
                      </a:lnTo>
                      <a:lnTo>
                        <a:pt x="132" y="38"/>
                      </a:lnTo>
                      <a:lnTo>
                        <a:pt x="124" y="36"/>
                      </a:lnTo>
                      <a:lnTo>
                        <a:pt x="118" y="36"/>
                      </a:lnTo>
                      <a:lnTo>
                        <a:pt x="110" y="34"/>
                      </a:lnTo>
                      <a:lnTo>
                        <a:pt x="104" y="34"/>
                      </a:lnTo>
                      <a:lnTo>
                        <a:pt x="96" y="32"/>
                      </a:lnTo>
                      <a:lnTo>
                        <a:pt x="90" y="30"/>
                      </a:lnTo>
                      <a:lnTo>
                        <a:pt x="86" y="30"/>
                      </a:lnTo>
                      <a:lnTo>
                        <a:pt x="78" y="32"/>
                      </a:lnTo>
                      <a:lnTo>
                        <a:pt x="72" y="34"/>
                      </a:lnTo>
                      <a:lnTo>
                        <a:pt x="68" y="38"/>
                      </a:lnTo>
                      <a:lnTo>
                        <a:pt x="62" y="38"/>
                      </a:lnTo>
                      <a:lnTo>
                        <a:pt x="42" y="36"/>
                      </a:lnTo>
                      <a:lnTo>
                        <a:pt x="32" y="36"/>
                      </a:lnTo>
                      <a:lnTo>
                        <a:pt x="28" y="36"/>
                      </a:lnTo>
                      <a:lnTo>
                        <a:pt x="24" y="38"/>
                      </a:lnTo>
                      <a:lnTo>
                        <a:pt x="24" y="30"/>
                      </a:lnTo>
                      <a:lnTo>
                        <a:pt x="28" y="24"/>
                      </a:lnTo>
                      <a:lnTo>
                        <a:pt x="32" y="20"/>
                      </a:lnTo>
                      <a:lnTo>
                        <a:pt x="36" y="20"/>
                      </a:lnTo>
                      <a:lnTo>
                        <a:pt x="30" y="22"/>
                      </a:lnTo>
                      <a:close/>
                    </a:path>
                  </a:pathLst>
                </a:custGeom>
                <a:grpFill/>
                <a:ln w="6350" cmpd="sng">
                  <a:solidFill>
                    <a:schemeClr val="bg1"/>
                  </a:solidFill>
                  <a:prstDash val="solid"/>
                  <a:round/>
                  <a:headEnd/>
                  <a:tailEnd/>
                </a:ln>
              </p:spPr>
              <p:txBody>
                <a:bodyPr/>
                <a:lstStyle/>
                <a:p>
                  <a:pPr>
                    <a:defRPr/>
                  </a:pPr>
                  <a:endParaRPr lang="en-US" dirty="0"/>
                </a:p>
              </p:txBody>
            </p:sp>
            <p:sp>
              <p:nvSpPr>
                <p:cNvPr id="268" name="Freeform 44"/>
                <p:cNvSpPr>
                  <a:spLocks noChangeAspect="1"/>
                </p:cNvSpPr>
                <p:nvPr/>
              </p:nvSpPr>
              <p:spPr bwMode="auto">
                <a:xfrm>
                  <a:off x="1653" y="804"/>
                  <a:ext cx="30" cy="14"/>
                </a:xfrm>
                <a:custGeom>
                  <a:avLst/>
                  <a:gdLst/>
                  <a:ahLst/>
                  <a:cxnLst>
                    <a:cxn ang="0">
                      <a:pos x="30" y="8"/>
                    </a:cxn>
                    <a:cxn ang="0">
                      <a:pos x="28" y="12"/>
                    </a:cxn>
                    <a:cxn ang="0">
                      <a:pos x="24" y="14"/>
                    </a:cxn>
                    <a:cxn ang="0">
                      <a:pos x="20" y="14"/>
                    </a:cxn>
                    <a:cxn ang="0">
                      <a:pos x="10" y="12"/>
                    </a:cxn>
                    <a:cxn ang="0">
                      <a:pos x="0" y="10"/>
                    </a:cxn>
                    <a:cxn ang="0">
                      <a:pos x="6" y="4"/>
                    </a:cxn>
                    <a:cxn ang="0">
                      <a:pos x="16" y="0"/>
                    </a:cxn>
                    <a:cxn ang="0">
                      <a:pos x="22" y="0"/>
                    </a:cxn>
                    <a:cxn ang="0">
                      <a:pos x="26" y="2"/>
                    </a:cxn>
                    <a:cxn ang="0">
                      <a:pos x="28" y="4"/>
                    </a:cxn>
                    <a:cxn ang="0">
                      <a:pos x="30" y="8"/>
                    </a:cxn>
                  </a:cxnLst>
                  <a:rect l="0" t="0" r="r" b="b"/>
                  <a:pathLst>
                    <a:path w="30" h="14">
                      <a:moveTo>
                        <a:pt x="30" y="8"/>
                      </a:moveTo>
                      <a:lnTo>
                        <a:pt x="28" y="12"/>
                      </a:lnTo>
                      <a:lnTo>
                        <a:pt x="24" y="14"/>
                      </a:lnTo>
                      <a:lnTo>
                        <a:pt x="20" y="14"/>
                      </a:lnTo>
                      <a:lnTo>
                        <a:pt x="10" y="12"/>
                      </a:lnTo>
                      <a:lnTo>
                        <a:pt x="0" y="10"/>
                      </a:lnTo>
                      <a:lnTo>
                        <a:pt x="6" y="4"/>
                      </a:lnTo>
                      <a:lnTo>
                        <a:pt x="16" y="0"/>
                      </a:lnTo>
                      <a:lnTo>
                        <a:pt x="22" y="0"/>
                      </a:lnTo>
                      <a:lnTo>
                        <a:pt x="26" y="2"/>
                      </a:lnTo>
                      <a:lnTo>
                        <a:pt x="28" y="4"/>
                      </a:lnTo>
                      <a:lnTo>
                        <a:pt x="30" y="8"/>
                      </a:lnTo>
                      <a:close/>
                    </a:path>
                  </a:pathLst>
                </a:custGeom>
                <a:grpFill/>
                <a:ln w="6350" cmpd="sng">
                  <a:solidFill>
                    <a:schemeClr val="bg1"/>
                  </a:solidFill>
                  <a:prstDash val="solid"/>
                  <a:round/>
                  <a:headEnd/>
                  <a:tailEnd/>
                </a:ln>
              </p:spPr>
              <p:txBody>
                <a:bodyPr/>
                <a:lstStyle/>
                <a:p>
                  <a:pPr>
                    <a:defRPr/>
                  </a:pPr>
                  <a:endParaRPr lang="en-US" dirty="0"/>
                </a:p>
              </p:txBody>
            </p:sp>
            <p:sp>
              <p:nvSpPr>
                <p:cNvPr id="269" name="Freeform 45"/>
                <p:cNvSpPr>
                  <a:spLocks noChangeAspect="1"/>
                </p:cNvSpPr>
                <p:nvPr/>
              </p:nvSpPr>
              <p:spPr bwMode="auto">
                <a:xfrm>
                  <a:off x="1685" y="760"/>
                  <a:ext cx="36" cy="18"/>
                </a:xfrm>
                <a:custGeom>
                  <a:avLst/>
                  <a:gdLst/>
                  <a:ahLst/>
                  <a:cxnLst>
                    <a:cxn ang="0">
                      <a:pos x="32" y="6"/>
                    </a:cxn>
                    <a:cxn ang="0">
                      <a:pos x="26" y="10"/>
                    </a:cxn>
                    <a:cxn ang="0">
                      <a:pos x="30" y="12"/>
                    </a:cxn>
                    <a:cxn ang="0">
                      <a:pos x="36" y="12"/>
                    </a:cxn>
                    <a:cxn ang="0">
                      <a:pos x="34" y="16"/>
                    </a:cxn>
                    <a:cxn ang="0">
                      <a:pos x="36" y="18"/>
                    </a:cxn>
                    <a:cxn ang="0">
                      <a:pos x="16" y="18"/>
                    </a:cxn>
                    <a:cxn ang="0">
                      <a:pos x="8" y="14"/>
                    </a:cxn>
                    <a:cxn ang="0">
                      <a:pos x="2" y="12"/>
                    </a:cxn>
                    <a:cxn ang="0">
                      <a:pos x="0" y="6"/>
                    </a:cxn>
                    <a:cxn ang="0">
                      <a:pos x="2" y="2"/>
                    </a:cxn>
                    <a:cxn ang="0">
                      <a:pos x="4" y="0"/>
                    </a:cxn>
                    <a:cxn ang="0">
                      <a:pos x="8" y="0"/>
                    </a:cxn>
                    <a:cxn ang="0">
                      <a:pos x="14" y="0"/>
                    </a:cxn>
                    <a:cxn ang="0">
                      <a:pos x="24" y="4"/>
                    </a:cxn>
                    <a:cxn ang="0">
                      <a:pos x="32" y="6"/>
                    </a:cxn>
                  </a:cxnLst>
                  <a:rect l="0" t="0" r="r" b="b"/>
                  <a:pathLst>
                    <a:path w="36" h="18">
                      <a:moveTo>
                        <a:pt x="32" y="6"/>
                      </a:moveTo>
                      <a:lnTo>
                        <a:pt x="26" y="10"/>
                      </a:lnTo>
                      <a:lnTo>
                        <a:pt x="30" y="12"/>
                      </a:lnTo>
                      <a:lnTo>
                        <a:pt x="36" y="12"/>
                      </a:lnTo>
                      <a:lnTo>
                        <a:pt x="34" y="16"/>
                      </a:lnTo>
                      <a:lnTo>
                        <a:pt x="36" y="18"/>
                      </a:lnTo>
                      <a:lnTo>
                        <a:pt x="16" y="18"/>
                      </a:lnTo>
                      <a:lnTo>
                        <a:pt x="8" y="14"/>
                      </a:lnTo>
                      <a:lnTo>
                        <a:pt x="2" y="12"/>
                      </a:lnTo>
                      <a:lnTo>
                        <a:pt x="0" y="6"/>
                      </a:lnTo>
                      <a:lnTo>
                        <a:pt x="2" y="2"/>
                      </a:lnTo>
                      <a:lnTo>
                        <a:pt x="4" y="0"/>
                      </a:lnTo>
                      <a:lnTo>
                        <a:pt x="8" y="0"/>
                      </a:lnTo>
                      <a:lnTo>
                        <a:pt x="14" y="0"/>
                      </a:lnTo>
                      <a:lnTo>
                        <a:pt x="24" y="4"/>
                      </a:lnTo>
                      <a:lnTo>
                        <a:pt x="32" y="6"/>
                      </a:lnTo>
                      <a:close/>
                    </a:path>
                  </a:pathLst>
                </a:custGeom>
                <a:grpFill/>
                <a:ln w="6350" cmpd="sng">
                  <a:solidFill>
                    <a:schemeClr val="bg1"/>
                  </a:solidFill>
                  <a:prstDash val="solid"/>
                  <a:round/>
                  <a:headEnd/>
                  <a:tailEnd/>
                </a:ln>
              </p:spPr>
              <p:txBody>
                <a:bodyPr/>
                <a:lstStyle/>
                <a:p>
                  <a:pPr>
                    <a:defRPr/>
                  </a:pPr>
                  <a:endParaRPr lang="en-US" dirty="0"/>
                </a:p>
              </p:txBody>
            </p:sp>
            <p:sp>
              <p:nvSpPr>
                <p:cNvPr id="270" name="Freeform 46"/>
                <p:cNvSpPr>
                  <a:spLocks noChangeAspect="1"/>
                </p:cNvSpPr>
                <p:nvPr/>
              </p:nvSpPr>
              <p:spPr bwMode="auto">
                <a:xfrm>
                  <a:off x="1731" y="712"/>
                  <a:ext cx="382" cy="86"/>
                </a:xfrm>
                <a:custGeom>
                  <a:avLst/>
                  <a:gdLst/>
                  <a:ahLst/>
                  <a:cxnLst>
                    <a:cxn ang="0">
                      <a:pos x="168" y="58"/>
                    </a:cxn>
                    <a:cxn ang="0">
                      <a:pos x="158" y="50"/>
                    </a:cxn>
                    <a:cxn ang="0">
                      <a:pos x="154" y="64"/>
                    </a:cxn>
                    <a:cxn ang="0">
                      <a:pos x="146" y="72"/>
                    </a:cxn>
                    <a:cxn ang="0">
                      <a:pos x="140" y="72"/>
                    </a:cxn>
                    <a:cxn ang="0">
                      <a:pos x="132" y="66"/>
                    </a:cxn>
                    <a:cxn ang="0">
                      <a:pos x="136" y="70"/>
                    </a:cxn>
                    <a:cxn ang="0">
                      <a:pos x="132" y="82"/>
                    </a:cxn>
                    <a:cxn ang="0">
                      <a:pos x="114" y="86"/>
                    </a:cxn>
                    <a:cxn ang="0">
                      <a:pos x="106" y="82"/>
                    </a:cxn>
                    <a:cxn ang="0">
                      <a:pos x="46" y="80"/>
                    </a:cxn>
                    <a:cxn ang="0">
                      <a:pos x="28" y="82"/>
                    </a:cxn>
                    <a:cxn ang="0">
                      <a:pos x="24" y="80"/>
                    </a:cxn>
                    <a:cxn ang="0">
                      <a:pos x="24" y="72"/>
                    </a:cxn>
                    <a:cxn ang="0">
                      <a:pos x="34" y="72"/>
                    </a:cxn>
                    <a:cxn ang="0">
                      <a:pos x="52" y="68"/>
                    </a:cxn>
                    <a:cxn ang="0">
                      <a:pos x="58" y="62"/>
                    </a:cxn>
                    <a:cxn ang="0">
                      <a:pos x="68" y="64"/>
                    </a:cxn>
                    <a:cxn ang="0">
                      <a:pos x="76" y="66"/>
                    </a:cxn>
                    <a:cxn ang="0">
                      <a:pos x="76" y="60"/>
                    </a:cxn>
                    <a:cxn ang="0">
                      <a:pos x="72" y="50"/>
                    </a:cxn>
                    <a:cxn ang="0">
                      <a:pos x="64" y="50"/>
                    </a:cxn>
                    <a:cxn ang="0">
                      <a:pos x="50" y="52"/>
                    </a:cxn>
                    <a:cxn ang="0">
                      <a:pos x="34" y="54"/>
                    </a:cxn>
                    <a:cxn ang="0">
                      <a:pos x="10" y="52"/>
                    </a:cxn>
                    <a:cxn ang="0">
                      <a:pos x="4" y="46"/>
                    </a:cxn>
                    <a:cxn ang="0">
                      <a:pos x="0" y="38"/>
                    </a:cxn>
                    <a:cxn ang="0">
                      <a:pos x="6" y="32"/>
                    </a:cxn>
                    <a:cxn ang="0">
                      <a:pos x="42" y="24"/>
                    </a:cxn>
                    <a:cxn ang="0">
                      <a:pos x="78" y="26"/>
                    </a:cxn>
                    <a:cxn ang="0">
                      <a:pos x="96" y="36"/>
                    </a:cxn>
                    <a:cxn ang="0">
                      <a:pos x="104" y="36"/>
                    </a:cxn>
                    <a:cxn ang="0">
                      <a:pos x="108" y="30"/>
                    </a:cxn>
                    <a:cxn ang="0">
                      <a:pos x="116" y="26"/>
                    </a:cxn>
                    <a:cxn ang="0">
                      <a:pos x="132" y="32"/>
                    </a:cxn>
                    <a:cxn ang="0">
                      <a:pos x="142" y="36"/>
                    </a:cxn>
                    <a:cxn ang="0">
                      <a:pos x="140" y="30"/>
                    </a:cxn>
                    <a:cxn ang="0">
                      <a:pos x="120" y="24"/>
                    </a:cxn>
                    <a:cxn ang="0">
                      <a:pos x="98" y="24"/>
                    </a:cxn>
                    <a:cxn ang="0">
                      <a:pos x="82" y="24"/>
                    </a:cxn>
                    <a:cxn ang="0">
                      <a:pos x="78" y="20"/>
                    </a:cxn>
                    <a:cxn ang="0">
                      <a:pos x="84" y="12"/>
                    </a:cxn>
                    <a:cxn ang="0">
                      <a:pos x="126" y="12"/>
                    </a:cxn>
                    <a:cxn ang="0">
                      <a:pos x="142" y="8"/>
                    </a:cxn>
                    <a:cxn ang="0">
                      <a:pos x="158" y="8"/>
                    </a:cxn>
                    <a:cxn ang="0">
                      <a:pos x="168" y="8"/>
                    </a:cxn>
                    <a:cxn ang="0">
                      <a:pos x="172" y="10"/>
                    </a:cxn>
                    <a:cxn ang="0">
                      <a:pos x="202" y="4"/>
                    </a:cxn>
                    <a:cxn ang="0">
                      <a:pos x="252" y="0"/>
                    </a:cxn>
                    <a:cxn ang="0">
                      <a:pos x="328" y="2"/>
                    </a:cxn>
                    <a:cxn ang="0">
                      <a:pos x="364" y="6"/>
                    </a:cxn>
                    <a:cxn ang="0">
                      <a:pos x="368" y="16"/>
                    </a:cxn>
                    <a:cxn ang="0">
                      <a:pos x="332" y="24"/>
                    </a:cxn>
                    <a:cxn ang="0">
                      <a:pos x="316" y="24"/>
                    </a:cxn>
                    <a:cxn ang="0">
                      <a:pos x="310" y="24"/>
                    </a:cxn>
                    <a:cxn ang="0">
                      <a:pos x="310" y="26"/>
                    </a:cxn>
                    <a:cxn ang="0">
                      <a:pos x="282" y="26"/>
                    </a:cxn>
                    <a:cxn ang="0">
                      <a:pos x="262" y="32"/>
                    </a:cxn>
                    <a:cxn ang="0">
                      <a:pos x="240" y="36"/>
                    </a:cxn>
                    <a:cxn ang="0">
                      <a:pos x="216" y="36"/>
                    </a:cxn>
                    <a:cxn ang="0">
                      <a:pos x="208" y="40"/>
                    </a:cxn>
                    <a:cxn ang="0">
                      <a:pos x="196" y="52"/>
                    </a:cxn>
                    <a:cxn ang="0">
                      <a:pos x="174" y="60"/>
                    </a:cxn>
                  </a:cxnLst>
                  <a:rect l="0" t="0" r="r" b="b"/>
                  <a:pathLst>
                    <a:path w="382" h="86">
                      <a:moveTo>
                        <a:pt x="174" y="60"/>
                      </a:moveTo>
                      <a:lnTo>
                        <a:pt x="168" y="58"/>
                      </a:lnTo>
                      <a:lnTo>
                        <a:pt x="164" y="50"/>
                      </a:lnTo>
                      <a:lnTo>
                        <a:pt x="158" y="50"/>
                      </a:lnTo>
                      <a:lnTo>
                        <a:pt x="156" y="58"/>
                      </a:lnTo>
                      <a:lnTo>
                        <a:pt x="154" y="64"/>
                      </a:lnTo>
                      <a:lnTo>
                        <a:pt x="150" y="70"/>
                      </a:lnTo>
                      <a:lnTo>
                        <a:pt x="146" y="72"/>
                      </a:lnTo>
                      <a:lnTo>
                        <a:pt x="142" y="72"/>
                      </a:lnTo>
                      <a:lnTo>
                        <a:pt x="140" y="72"/>
                      </a:lnTo>
                      <a:lnTo>
                        <a:pt x="136" y="68"/>
                      </a:lnTo>
                      <a:lnTo>
                        <a:pt x="132" y="66"/>
                      </a:lnTo>
                      <a:lnTo>
                        <a:pt x="126" y="66"/>
                      </a:lnTo>
                      <a:lnTo>
                        <a:pt x="136" y="70"/>
                      </a:lnTo>
                      <a:lnTo>
                        <a:pt x="142" y="74"/>
                      </a:lnTo>
                      <a:lnTo>
                        <a:pt x="132" y="82"/>
                      </a:lnTo>
                      <a:lnTo>
                        <a:pt x="120" y="86"/>
                      </a:lnTo>
                      <a:lnTo>
                        <a:pt x="114" y="86"/>
                      </a:lnTo>
                      <a:lnTo>
                        <a:pt x="112" y="84"/>
                      </a:lnTo>
                      <a:lnTo>
                        <a:pt x="106" y="82"/>
                      </a:lnTo>
                      <a:lnTo>
                        <a:pt x="102" y="80"/>
                      </a:lnTo>
                      <a:lnTo>
                        <a:pt x="46" y="80"/>
                      </a:lnTo>
                      <a:lnTo>
                        <a:pt x="32" y="82"/>
                      </a:lnTo>
                      <a:lnTo>
                        <a:pt x="28" y="82"/>
                      </a:lnTo>
                      <a:lnTo>
                        <a:pt x="26" y="82"/>
                      </a:lnTo>
                      <a:lnTo>
                        <a:pt x="24" y="80"/>
                      </a:lnTo>
                      <a:lnTo>
                        <a:pt x="22" y="76"/>
                      </a:lnTo>
                      <a:lnTo>
                        <a:pt x="24" y="72"/>
                      </a:lnTo>
                      <a:lnTo>
                        <a:pt x="26" y="70"/>
                      </a:lnTo>
                      <a:lnTo>
                        <a:pt x="34" y="72"/>
                      </a:lnTo>
                      <a:lnTo>
                        <a:pt x="50" y="76"/>
                      </a:lnTo>
                      <a:lnTo>
                        <a:pt x="52" y="68"/>
                      </a:lnTo>
                      <a:lnTo>
                        <a:pt x="54" y="64"/>
                      </a:lnTo>
                      <a:lnTo>
                        <a:pt x="58" y="62"/>
                      </a:lnTo>
                      <a:lnTo>
                        <a:pt x="64" y="62"/>
                      </a:lnTo>
                      <a:lnTo>
                        <a:pt x="68" y="64"/>
                      </a:lnTo>
                      <a:lnTo>
                        <a:pt x="72" y="64"/>
                      </a:lnTo>
                      <a:lnTo>
                        <a:pt x="76" y="66"/>
                      </a:lnTo>
                      <a:lnTo>
                        <a:pt x="80" y="66"/>
                      </a:lnTo>
                      <a:lnTo>
                        <a:pt x="76" y="60"/>
                      </a:lnTo>
                      <a:lnTo>
                        <a:pt x="74" y="54"/>
                      </a:lnTo>
                      <a:lnTo>
                        <a:pt x="72" y="50"/>
                      </a:lnTo>
                      <a:lnTo>
                        <a:pt x="64" y="52"/>
                      </a:lnTo>
                      <a:lnTo>
                        <a:pt x="64" y="50"/>
                      </a:lnTo>
                      <a:lnTo>
                        <a:pt x="62" y="48"/>
                      </a:lnTo>
                      <a:lnTo>
                        <a:pt x="50" y="52"/>
                      </a:lnTo>
                      <a:lnTo>
                        <a:pt x="42" y="54"/>
                      </a:lnTo>
                      <a:lnTo>
                        <a:pt x="34" y="54"/>
                      </a:lnTo>
                      <a:lnTo>
                        <a:pt x="22" y="54"/>
                      </a:lnTo>
                      <a:lnTo>
                        <a:pt x="10" y="52"/>
                      </a:lnTo>
                      <a:lnTo>
                        <a:pt x="6" y="50"/>
                      </a:lnTo>
                      <a:lnTo>
                        <a:pt x="4" y="46"/>
                      </a:lnTo>
                      <a:lnTo>
                        <a:pt x="2" y="42"/>
                      </a:lnTo>
                      <a:lnTo>
                        <a:pt x="0" y="38"/>
                      </a:lnTo>
                      <a:lnTo>
                        <a:pt x="2" y="36"/>
                      </a:lnTo>
                      <a:lnTo>
                        <a:pt x="6" y="32"/>
                      </a:lnTo>
                      <a:lnTo>
                        <a:pt x="24" y="26"/>
                      </a:lnTo>
                      <a:lnTo>
                        <a:pt x="42" y="24"/>
                      </a:lnTo>
                      <a:lnTo>
                        <a:pt x="58" y="22"/>
                      </a:lnTo>
                      <a:lnTo>
                        <a:pt x="78" y="26"/>
                      </a:lnTo>
                      <a:lnTo>
                        <a:pt x="88" y="32"/>
                      </a:lnTo>
                      <a:lnTo>
                        <a:pt x="96" y="36"/>
                      </a:lnTo>
                      <a:lnTo>
                        <a:pt x="98" y="36"/>
                      </a:lnTo>
                      <a:lnTo>
                        <a:pt x="104" y="36"/>
                      </a:lnTo>
                      <a:lnTo>
                        <a:pt x="104" y="34"/>
                      </a:lnTo>
                      <a:lnTo>
                        <a:pt x="108" y="30"/>
                      </a:lnTo>
                      <a:lnTo>
                        <a:pt x="112" y="28"/>
                      </a:lnTo>
                      <a:lnTo>
                        <a:pt x="116" y="26"/>
                      </a:lnTo>
                      <a:lnTo>
                        <a:pt x="126" y="28"/>
                      </a:lnTo>
                      <a:lnTo>
                        <a:pt x="132" y="32"/>
                      </a:lnTo>
                      <a:lnTo>
                        <a:pt x="136" y="36"/>
                      </a:lnTo>
                      <a:lnTo>
                        <a:pt x="142" y="36"/>
                      </a:lnTo>
                      <a:lnTo>
                        <a:pt x="142" y="32"/>
                      </a:lnTo>
                      <a:lnTo>
                        <a:pt x="140" y="30"/>
                      </a:lnTo>
                      <a:lnTo>
                        <a:pt x="130" y="24"/>
                      </a:lnTo>
                      <a:lnTo>
                        <a:pt x="120" y="24"/>
                      </a:lnTo>
                      <a:lnTo>
                        <a:pt x="114" y="24"/>
                      </a:lnTo>
                      <a:lnTo>
                        <a:pt x="98" y="24"/>
                      </a:lnTo>
                      <a:lnTo>
                        <a:pt x="86" y="24"/>
                      </a:lnTo>
                      <a:lnTo>
                        <a:pt x="82" y="24"/>
                      </a:lnTo>
                      <a:lnTo>
                        <a:pt x="80" y="22"/>
                      </a:lnTo>
                      <a:lnTo>
                        <a:pt x="78" y="20"/>
                      </a:lnTo>
                      <a:lnTo>
                        <a:pt x="80" y="14"/>
                      </a:lnTo>
                      <a:lnTo>
                        <a:pt x="84" y="12"/>
                      </a:lnTo>
                      <a:lnTo>
                        <a:pt x="92" y="12"/>
                      </a:lnTo>
                      <a:lnTo>
                        <a:pt x="126" y="12"/>
                      </a:lnTo>
                      <a:lnTo>
                        <a:pt x="134" y="10"/>
                      </a:lnTo>
                      <a:lnTo>
                        <a:pt x="142" y="8"/>
                      </a:lnTo>
                      <a:lnTo>
                        <a:pt x="148" y="8"/>
                      </a:lnTo>
                      <a:lnTo>
                        <a:pt x="158" y="8"/>
                      </a:lnTo>
                      <a:lnTo>
                        <a:pt x="164" y="8"/>
                      </a:lnTo>
                      <a:lnTo>
                        <a:pt x="168" y="8"/>
                      </a:lnTo>
                      <a:lnTo>
                        <a:pt x="168" y="10"/>
                      </a:lnTo>
                      <a:lnTo>
                        <a:pt x="172" y="10"/>
                      </a:lnTo>
                      <a:lnTo>
                        <a:pt x="188" y="8"/>
                      </a:lnTo>
                      <a:lnTo>
                        <a:pt x="202" y="4"/>
                      </a:lnTo>
                      <a:lnTo>
                        <a:pt x="226" y="2"/>
                      </a:lnTo>
                      <a:lnTo>
                        <a:pt x="252" y="0"/>
                      </a:lnTo>
                      <a:lnTo>
                        <a:pt x="306" y="2"/>
                      </a:lnTo>
                      <a:lnTo>
                        <a:pt x="328" y="2"/>
                      </a:lnTo>
                      <a:lnTo>
                        <a:pt x="346" y="2"/>
                      </a:lnTo>
                      <a:lnTo>
                        <a:pt x="364" y="6"/>
                      </a:lnTo>
                      <a:lnTo>
                        <a:pt x="382" y="10"/>
                      </a:lnTo>
                      <a:lnTo>
                        <a:pt x="368" y="16"/>
                      </a:lnTo>
                      <a:lnTo>
                        <a:pt x="352" y="22"/>
                      </a:lnTo>
                      <a:lnTo>
                        <a:pt x="332" y="24"/>
                      </a:lnTo>
                      <a:lnTo>
                        <a:pt x="324" y="24"/>
                      </a:lnTo>
                      <a:lnTo>
                        <a:pt x="316" y="24"/>
                      </a:lnTo>
                      <a:lnTo>
                        <a:pt x="304" y="24"/>
                      </a:lnTo>
                      <a:lnTo>
                        <a:pt x="310" y="24"/>
                      </a:lnTo>
                      <a:lnTo>
                        <a:pt x="318" y="24"/>
                      </a:lnTo>
                      <a:lnTo>
                        <a:pt x="310" y="26"/>
                      </a:lnTo>
                      <a:lnTo>
                        <a:pt x="302" y="26"/>
                      </a:lnTo>
                      <a:lnTo>
                        <a:pt x="282" y="26"/>
                      </a:lnTo>
                      <a:lnTo>
                        <a:pt x="272" y="28"/>
                      </a:lnTo>
                      <a:lnTo>
                        <a:pt x="262" y="32"/>
                      </a:lnTo>
                      <a:lnTo>
                        <a:pt x="250" y="36"/>
                      </a:lnTo>
                      <a:lnTo>
                        <a:pt x="240" y="36"/>
                      </a:lnTo>
                      <a:lnTo>
                        <a:pt x="222" y="36"/>
                      </a:lnTo>
                      <a:lnTo>
                        <a:pt x="216" y="36"/>
                      </a:lnTo>
                      <a:lnTo>
                        <a:pt x="210" y="36"/>
                      </a:lnTo>
                      <a:lnTo>
                        <a:pt x="208" y="40"/>
                      </a:lnTo>
                      <a:lnTo>
                        <a:pt x="206" y="44"/>
                      </a:lnTo>
                      <a:lnTo>
                        <a:pt x="196" y="52"/>
                      </a:lnTo>
                      <a:lnTo>
                        <a:pt x="184" y="58"/>
                      </a:lnTo>
                      <a:lnTo>
                        <a:pt x="174" y="60"/>
                      </a:lnTo>
                      <a:close/>
                    </a:path>
                  </a:pathLst>
                </a:custGeom>
                <a:grpFill/>
                <a:ln w="6350" cmpd="sng">
                  <a:solidFill>
                    <a:schemeClr val="bg1"/>
                  </a:solidFill>
                  <a:prstDash val="solid"/>
                  <a:round/>
                  <a:headEnd/>
                  <a:tailEnd/>
                </a:ln>
              </p:spPr>
              <p:txBody>
                <a:bodyPr/>
                <a:lstStyle/>
                <a:p>
                  <a:pPr>
                    <a:defRPr/>
                  </a:pPr>
                  <a:endParaRPr lang="en-US" dirty="0"/>
                </a:p>
              </p:txBody>
            </p:sp>
            <p:sp>
              <p:nvSpPr>
                <p:cNvPr id="271" name="Freeform 47"/>
                <p:cNvSpPr>
                  <a:spLocks noChangeAspect="1"/>
                </p:cNvSpPr>
                <p:nvPr/>
              </p:nvSpPr>
              <p:spPr bwMode="auto">
                <a:xfrm>
                  <a:off x="1675" y="830"/>
                  <a:ext cx="284" cy="190"/>
                </a:xfrm>
                <a:custGeom>
                  <a:avLst/>
                  <a:gdLst/>
                  <a:ahLst/>
                  <a:cxnLst>
                    <a:cxn ang="0">
                      <a:pos x="122" y="10"/>
                    </a:cxn>
                    <a:cxn ang="0">
                      <a:pos x="132" y="2"/>
                    </a:cxn>
                    <a:cxn ang="0">
                      <a:pos x="158" y="4"/>
                    </a:cxn>
                    <a:cxn ang="0">
                      <a:pos x="172" y="14"/>
                    </a:cxn>
                    <a:cxn ang="0">
                      <a:pos x="172" y="20"/>
                    </a:cxn>
                    <a:cxn ang="0">
                      <a:pos x="184" y="28"/>
                    </a:cxn>
                    <a:cxn ang="0">
                      <a:pos x="196" y="34"/>
                    </a:cxn>
                    <a:cxn ang="0">
                      <a:pos x="212" y="36"/>
                    </a:cxn>
                    <a:cxn ang="0">
                      <a:pos x="236" y="64"/>
                    </a:cxn>
                    <a:cxn ang="0">
                      <a:pos x="218" y="74"/>
                    </a:cxn>
                    <a:cxn ang="0">
                      <a:pos x="234" y="82"/>
                    </a:cxn>
                    <a:cxn ang="0">
                      <a:pos x="258" y="98"/>
                    </a:cxn>
                    <a:cxn ang="0">
                      <a:pos x="268" y="106"/>
                    </a:cxn>
                    <a:cxn ang="0">
                      <a:pos x="280" y="108"/>
                    </a:cxn>
                    <a:cxn ang="0">
                      <a:pos x="276" y="114"/>
                    </a:cxn>
                    <a:cxn ang="0">
                      <a:pos x="262" y="124"/>
                    </a:cxn>
                    <a:cxn ang="0">
                      <a:pos x="246" y="134"/>
                    </a:cxn>
                    <a:cxn ang="0">
                      <a:pos x="232" y="134"/>
                    </a:cxn>
                    <a:cxn ang="0">
                      <a:pos x="228" y="120"/>
                    </a:cxn>
                    <a:cxn ang="0">
                      <a:pos x="212" y="118"/>
                    </a:cxn>
                    <a:cxn ang="0">
                      <a:pos x="198" y="122"/>
                    </a:cxn>
                    <a:cxn ang="0">
                      <a:pos x="206" y="130"/>
                    </a:cxn>
                    <a:cxn ang="0">
                      <a:pos x="220" y="144"/>
                    </a:cxn>
                    <a:cxn ang="0">
                      <a:pos x="218" y="164"/>
                    </a:cxn>
                    <a:cxn ang="0">
                      <a:pos x="220" y="178"/>
                    </a:cxn>
                    <a:cxn ang="0">
                      <a:pos x="196" y="166"/>
                    </a:cxn>
                    <a:cxn ang="0">
                      <a:pos x="188" y="160"/>
                    </a:cxn>
                    <a:cxn ang="0">
                      <a:pos x="172" y="160"/>
                    </a:cxn>
                    <a:cxn ang="0">
                      <a:pos x="194" y="188"/>
                    </a:cxn>
                    <a:cxn ang="0">
                      <a:pos x="174" y="184"/>
                    </a:cxn>
                    <a:cxn ang="0">
                      <a:pos x="132" y="172"/>
                    </a:cxn>
                    <a:cxn ang="0">
                      <a:pos x="134" y="164"/>
                    </a:cxn>
                    <a:cxn ang="0">
                      <a:pos x="132" y="158"/>
                    </a:cxn>
                    <a:cxn ang="0">
                      <a:pos x="120" y="144"/>
                    </a:cxn>
                    <a:cxn ang="0">
                      <a:pos x="88" y="146"/>
                    </a:cxn>
                    <a:cxn ang="0">
                      <a:pos x="62" y="148"/>
                    </a:cxn>
                    <a:cxn ang="0">
                      <a:pos x="60" y="142"/>
                    </a:cxn>
                    <a:cxn ang="0">
                      <a:pos x="86" y="128"/>
                    </a:cxn>
                    <a:cxn ang="0">
                      <a:pos x="104" y="134"/>
                    </a:cxn>
                    <a:cxn ang="0">
                      <a:pos x="120" y="128"/>
                    </a:cxn>
                    <a:cxn ang="0">
                      <a:pos x="134" y="116"/>
                    </a:cxn>
                    <a:cxn ang="0">
                      <a:pos x="152" y="84"/>
                    </a:cxn>
                    <a:cxn ang="0">
                      <a:pos x="142" y="76"/>
                    </a:cxn>
                    <a:cxn ang="0">
                      <a:pos x="134" y="74"/>
                    </a:cxn>
                    <a:cxn ang="0">
                      <a:pos x="126" y="62"/>
                    </a:cxn>
                    <a:cxn ang="0">
                      <a:pos x="112" y="54"/>
                    </a:cxn>
                    <a:cxn ang="0">
                      <a:pos x="100" y="62"/>
                    </a:cxn>
                    <a:cxn ang="0">
                      <a:pos x="88" y="66"/>
                    </a:cxn>
                    <a:cxn ang="0">
                      <a:pos x="76" y="58"/>
                    </a:cxn>
                    <a:cxn ang="0">
                      <a:pos x="32" y="56"/>
                    </a:cxn>
                    <a:cxn ang="0">
                      <a:pos x="22" y="46"/>
                    </a:cxn>
                    <a:cxn ang="0">
                      <a:pos x="10" y="52"/>
                    </a:cxn>
                    <a:cxn ang="0">
                      <a:pos x="2" y="48"/>
                    </a:cxn>
                    <a:cxn ang="0">
                      <a:pos x="14" y="40"/>
                    </a:cxn>
                    <a:cxn ang="0">
                      <a:pos x="4" y="30"/>
                    </a:cxn>
                    <a:cxn ang="0">
                      <a:pos x="12" y="18"/>
                    </a:cxn>
                    <a:cxn ang="0">
                      <a:pos x="56" y="6"/>
                    </a:cxn>
                    <a:cxn ang="0">
                      <a:pos x="82" y="0"/>
                    </a:cxn>
                    <a:cxn ang="0">
                      <a:pos x="62" y="12"/>
                    </a:cxn>
                    <a:cxn ang="0">
                      <a:pos x="50" y="22"/>
                    </a:cxn>
                    <a:cxn ang="0">
                      <a:pos x="60" y="24"/>
                    </a:cxn>
                    <a:cxn ang="0">
                      <a:pos x="76" y="12"/>
                    </a:cxn>
                  </a:cxnLst>
                  <a:rect l="0" t="0" r="r" b="b"/>
                  <a:pathLst>
                    <a:path w="284" h="190">
                      <a:moveTo>
                        <a:pt x="114" y="0"/>
                      </a:moveTo>
                      <a:lnTo>
                        <a:pt x="124" y="0"/>
                      </a:lnTo>
                      <a:lnTo>
                        <a:pt x="122" y="10"/>
                      </a:lnTo>
                      <a:lnTo>
                        <a:pt x="126" y="8"/>
                      </a:lnTo>
                      <a:lnTo>
                        <a:pt x="130" y="4"/>
                      </a:lnTo>
                      <a:lnTo>
                        <a:pt x="132" y="2"/>
                      </a:lnTo>
                      <a:lnTo>
                        <a:pt x="138" y="0"/>
                      </a:lnTo>
                      <a:lnTo>
                        <a:pt x="146" y="0"/>
                      </a:lnTo>
                      <a:lnTo>
                        <a:pt x="158" y="4"/>
                      </a:lnTo>
                      <a:lnTo>
                        <a:pt x="168" y="8"/>
                      </a:lnTo>
                      <a:lnTo>
                        <a:pt x="170" y="12"/>
                      </a:lnTo>
                      <a:lnTo>
                        <a:pt x="172" y="14"/>
                      </a:lnTo>
                      <a:lnTo>
                        <a:pt x="142" y="20"/>
                      </a:lnTo>
                      <a:lnTo>
                        <a:pt x="158" y="22"/>
                      </a:lnTo>
                      <a:lnTo>
                        <a:pt x="172" y="20"/>
                      </a:lnTo>
                      <a:lnTo>
                        <a:pt x="176" y="22"/>
                      </a:lnTo>
                      <a:lnTo>
                        <a:pt x="180" y="24"/>
                      </a:lnTo>
                      <a:lnTo>
                        <a:pt x="184" y="28"/>
                      </a:lnTo>
                      <a:lnTo>
                        <a:pt x="186" y="34"/>
                      </a:lnTo>
                      <a:lnTo>
                        <a:pt x="190" y="40"/>
                      </a:lnTo>
                      <a:lnTo>
                        <a:pt x="196" y="34"/>
                      </a:lnTo>
                      <a:lnTo>
                        <a:pt x="198" y="32"/>
                      </a:lnTo>
                      <a:lnTo>
                        <a:pt x="202" y="32"/>
                      </a:lnTo>
                      <a:lnTo>
                        <a:pt x="212" y="36"/>
                      </a:lnTo>
                      <a:lnTo>
                        <a:pt x="224" y="44"/>
                      </a:lnTo>
                      <a:lnTo>
                        <a:pt x="246" y="58"/>
                      </a:lnTo>
                      <a:lnTo>
                        <a:pt x="236" y="64"/>
                      </a:lnTo>
                      <a:lnTo>
                        <a:pt x="230" y="68"/>
                      </a:lnTo>
                      <a:lnTo>
                        <a:pt x="228" y="74"/>
                      </a:lnTo>
                      <a:lnTo>
                        <a:pt x="218" y="74"/>
                      </a:lnTo>
                      <a:lnTo>
                        <a:pt x="218" y="80"/>
                      </a:lnTo>
                      <a:lnTo>
                        <a:pt x="224" y="80"/>
                      </a:lnTo>
                      <a:lnTo>
                        <a:pt x="234" y="82"/>
                      </a:lnTo>
                      <a:lnTo>
                        <a:pt x="246" y="86"/>
                      </a:lnTo>
                      <a:lnTo>
                        <a:pt x="256" y="94"/>
                      </a:lnTo>
                      <a:lnTo>
                        <a:pt x="258" y="98"/>
                      </a:lnTo>
                      <a:lnTo>
                        <a:pt x="258" y="102"/>
                      </a:lnTo>
                      <a:lnTo>
                        <a:pt x="264" y="104"/>
                      </a:lnTo>
                      <a:lnTo>
                        <a:pt x="268" y="106"/>
                      </a:lnTo>
                      <a:lnTo>
                        <a:pt x="272" y="108"/>
                      </a:lnTo>
                      <a:lnTo>
                        <a:pt x="276" y="108"/>
                      </a:lnTo>
                      <a:lnTo>
                        <a:pt x="280" y="108"/>
                      </a:lnTo>
                      <a:lnTo>
                        <a:pt x="284" y="106"/>
                      </a:lnTo>
                      <a:lnTo>
                        <a:pt x="284" y="112"/>
                      </a:lnTo>
                      <a:lnTo>
                        <a:pt x="276" y="114"/>
                      </a:lnTo>
                      <a:lnTo>
                        <a:pt x="268" y="116"/>
                      </a:lnTo>
                      <a:lnTo>
                        <a:pt x="268" y="126"/>
                      </a:lnTo>
                      <a:lnTo>
                        <a:pt x="262" y="124"/>
                      </a:lnTo>
                      <a:lnTo>
                        <a:pt x="258" y="122"/>
                      </a:lnTo>
                      <a:lnTo>
                        <a:pt x="252" y="130"/>
                      </a:lnTo>
                      <a:lnTo>
                        <a:pt x="246" y="134"/>
                      </a:lnTo>
                      <a:lnTo>
                        <a:pt x="242" y="136"/>
                      </a:lnTo>
                      <a:lnTo>
                        <a:pt x="236" y="136"/>
                      </a:lnTo>
                      <a:lnTo>
                        <a:pt x="232" y="134"/>
                      </a:lnTo>
                      <a:lnTo>
                        <a:pt x="230" y="130"/>
                      </a:lnTo>
                      <a:lnTo>
                        <a:pt x="228" y="128"/>
                      </a:lnTo>
                      <a:lnTo>
                        <a:pt x="228" y="120"/>
                      </a:lnTo>
                      <a:lnTo>
                        <a:pt x="224" y="112"/>
                      </a:lnTo>
                      <a:lnTo>
                        <a:pt x="210" y="112"/>
                      </a:lnTo>
                      <a:lnTo>
                        <a:pt x="212" y="118"/>
                      </a:lnTo>
                      <a:lnTo>
                        <a:pt x="208" y="120"/>
                      </a:lnTo>
                      <a:lnTo>
                        <a:pt x="204" y="120"/>
                      </a:lnTo>
                      <a:lnTo>
                        <a:pt x="198" y="122"/>
                      </a:lnTo>
                      <a:lnTo>
                        <a:pt x="198" y="124"/>
                      </a:lnTo>
                      <a:lnTo>
                        <a:pt x="200" y="128"/>
                      </a:lnTo>
                      <a:lnTo>
                        <a:pt x="206" y="130"/>
                      </a:lnTo>
                      <a:lnTo>
                        <a:pt x="206" y="138"/>
                      </a:lnTo>
                      <a:lnTo>
                        <a:pt x="214" y="140"/>
                      </a:lnTo>
                      <a:lnTo>
                        <a:pt x="220" y="144"/>
                      </a:lnTo>
                      <a:lnTo>
                        <a:pt x="222" y="152"/>
                      </a:lnTo>
                      <a:lnTo>
                        <a:pt x="220" y="158"/>
                      </a:lnTo>
                      <a:lnTo>
                        <a:pt x="218" y="164"/>
                      </a:lnTo>
                      <a:lnTo>
                        <a:pt x="218" y="168"/>
                      </a:lnTo>
                      <a:lnTo>
                        <a:pt x="216" y="172"/>
                      </a:lnTo>
                      <a:lnTo>
                        <a:pt x="220" y="178"/>
                      </a:lnTo>
                      <a:lnTo>
                        <a:pt x="212" y="176"/>
                      </a:lnTo>
                      <a:lnTo>
                        <a:pt x="202" y="172"/>
                      </a:lnTo>
                      <a:lnTo>
                        <a:pt x="196" y="166"/>
                      </a:lnTo>
                      <a:lnTo>
                        <a:pt x="192" y="164"/>
                      </a:lnTo>
                      <a:lnTo>
                        <a:pt x="192" y="162"/>
                      </a:lnTo>
                      <a:lnTo>
                        <a:pt x="188" y="160"/>
                      </a:lnTo>
                      <a:lnTo>
                        <a:pt x="182" y="158"/>
                      </a:lnTo>
                      <a:lnTo>
                        <a:pt x="170" y="158"/>
                      </a:lnTo>
                      <a:lnTo>
                        <a:pt x="172" y="160"/>
                      </a:lnTo>
                      <a:lnTo>
                        <a:pt x="180" y="168"/>
                      </a:lnTo>
                      <a:lnTo>
                        <a:pt x="196" y="182"/>
                      </a:lnTo>
                      <a:lnTo>
                        <a:pt x="194" y="188"/>
                      </a:lnTo>
                      <a:lnTo>
                        <a:pt x="190" y="190"/>
                      </a:lnTo>
                      <a:lnTo>
                        <a:pt x="184" y="188"/>
                      </a:lnTo>
                      <a:lnTo>
                        <a:pt x="174" y="184"/>
                      </a:lnTo>
                      <a:lnTo>
                        <a:pt x="160" y="176"/>
                      </a:lnTo>
                      <a:lnTo>
                        <a:pt x="134" y="176"/>
                      </a:lnTo>
                      <a:lnTo>
                        <a:pt x="132" y="172"/>
                      </a:lnTo>
                      <a:lnTo>
                        <a:pt x="134" y="170"/>
                      </a:lnTo>
                      <a:lnTo>
                        <a:pt x="134" y="168"/>
                      </a:lnTo>
                      <a:lnTo>
                        <a:pt x="134" y="164"/>
                      </a:lnTo>
                      <a:lnTo>
                        <a:pt x="134" y="160"/>
                      </a:lnTo>
                      <a:lnTo>
                        <a:pt x="134" y="158"/>
                      </a:lnTo>
                      <a:lnTo>
                        <a:pt x="132" y="158"/>
                      </a:lnTo>
                      <a:lnTo>
                        <a:pt x="124" y="152"/>
                      </a:lnTo>
                      <a:lnTo>
                        <a:pt x="120" y="148"/>
                      </a:lnTo>
                      <a:lnTo>
                        <a:pt x="120" y="144"/>
                      </a:lnTo>
                      <a:lnTo>
                        <a:pt x="102" y="144"/>
                      </a:lnTo>
                      <a:lnTo>
                        <a:pt x="94" y="144"/>
                      </a:lnTo>
                      <a:lnTo>
                        <a:pt x="88" y="146"/>
                      </a:lnTo>
                      <a:lnTo>
                        <a:pt x="78" y="148"/>
                      </a:lnTo>
                      <a:lnTo>
                        <a:pt x="70" y="150"/>
                      </a:lnTo>
                      <a:lnTo>
                        <a:pt x="62" y="148"/>
                      </a:lnTo>
                      <a:lnTo>
                        <a:pt x="60" y="146"/>
                      </a:lnTo>
                      <a:lnTo>
                        <a:pt x="60" y="144"/>
                      </a:lnTo>
                      <a:lnTo>
                        <a:pt x="60" y="142"/>
                      </a:lnTo>
                      <a:lnTo>
                        <a:pt x="62" y="138"/>
                      </a:lnTo>
                      <a:lnTo>
                        <a:pt x="70" y="136"/>
                      </a:lnTo>
                      <a:lnTo>
                        <a:pt x="86" y="128"/>
                      </a:lnTo>
                      <a:lnTo>
                        <a:pt x="88" y="132"/>
                      </a:lnTo>
                      <a:lnTo>
                        <a:pt x="92" y="134"/>
                      </a:lnTo>
                      <a:lnTo>
                        <a:pt x="104" y="134"/>
                      </a:lnTo>
                      <a:lnTo>
                        <a:pt x="114" y="132"/>
                      </a:lnTo>
                      <a:lnTo>
                        <a:pt x="116" y="130"/>
                      </a:lnTo>
                      <a:lnTo>
                        <a:pt x="120" y="128"/>
                      </a:lnTo>
                      <a:lnTo>
                        <a:pt x="122" y="126"/>
                      </a:lnTo>
                      <a:lnTo>
                        <a:pt x="122" y="120"/>
                      </a:lnTo>
                      <a:lnTo>
                        <a:pt x="134" y="116"/>
                      </a:lnTo>
                      <a:lnTo>
                        <a:pt x="142" y="112"/>
                      </a:lnTo>
                      <a:lnTo>
                        <a:pt x="162" y="98"/>
                      </a:lnTo>
                      <a:lnTo>
                        <a:pt x="152" y="84"/>
                      </a:lnTo>
                      <a:lnTo>
                        <a:pt x="148" y="82"/>
                      </a:lnTo>
                      <a:lnTo>
                        <a:pt x="142" y="80"/>
                      </a:lnTo>
                      <a:lnTo>
                        <a:pt x="142" y="76"/>
                      </a:lnTo>
                      <a:lnTo>
                        <a:pt x="128" y="76"/>
                      </a:lnTo>
                      <a:lnTo>
                        <a:pt x="130" y="74"/>
                      </a:lnTo>
                      <a:lnTo>
                        <a:pt x="134" y="74"/>
                      </a:lnTo>
                      <a:lnTo>
                        <a:pt x="134" y="66"/>
                      </a:lnTo>
                      <a:lnTo>
                        <a:pt x="130" y="64"/>
                      </a:lnTo>
                      <a:lnTo>
                        <a:pt x="126" y="62"/>
                      </a:lnTo>
                      <a:lnTo>
                        <a:pt x="118" y="56"/>
                      </a:lnTo>
                      <a:lnTo>
                        <a:pt x="114" y="54"/>
                      </a:lnTo>
                      <a:lnTo>
                        <a:pt x="112" y="54"/>
                      </a:lnTo>
                      <a:lnTo>
                        <a:pt x="110" y="56"/>
                      </a:lnTo>
                      <a:lnTo>
                        <a:pt x="104" y="58"/>
                      </a:lnTo>
                      <a:lnTo>
                        <a:pt x="100" y="62"/>
                      </a:lnTo>
                      <a:lnTo>
                        <a:pt x="96" y="64"/>
                      </a:lnTo>
                      <a:lnTo>
                        <a:pt x="92" y="66"/>
                      </a:lnTo>
                      <a:lnTo>
                        <a:pt x="88" y="66"/>
                      </a:lnTo>
                      <a:lnTo>
                        <a:pt x="88" y="64"/>
                      </a:lnTo>
                      <a:lnTo>
                        <a:pt x="88" y="56"/>
                      </a:lnTo>
                      <a:lnTo>
                        <a:pt x="76" y="58"/>
                      </a:lnTo>
                      <a:lnTo>
                        <a:pt x="64" y="58"/>
                      </a:lnTo>
                      <a:lnTo>
                        <a:pt x="36" y="56"/>
                      </a:lnTo>
                      <a:lnTo>
                        <a:pt x="32" y="56"/>
                      </a:lnTo>
                      <a:lnTo>
                        <a:pt x="26" y="54"/>
                      </a:lnTo>
                      <a:lnTo>
                        <a:pt x="24" y="52"/>
                      </a:lnTo>
                      <a:lnTo>
                        <a:pt x="22" y="46"/>
                      </a:lnTo>
                      <a:lnTo>
                        <a:pt x="18" y="48"/>
                      </a:lnTo>
                      <a:lnTo>
                        <a:pt x="14" y="50"/>
                      </a:lnTo>
                      <a:lnTo>
                        <a:pt x="10" y="52"/>
                      </a:lnTo>
                      <a:lnTo>
                        <a:pt x="6" y="52"/>
                      </a:lnTo>
                      <a:lnTo>
                        <a:pt x="4" y="52"/>
                      </a:lnTo>
                      <a:lnTo>
                        <a:pt x="2" y="48"/>
                      </a:lnTo>
                      <a:lnTo>
                        <a:pt x="0" y="44"/>
                      </a:lnTo>
                      <a:lnTo>
                        <a:pt x="6" y="40"/>
                      </a:lnTo>
                      <a:lnTo>
                        <a:pt x="14" y="40"/>
                      </a:lnTo>
                      <a:lnTo>
                        <a:pt x="6" y="36"/>
                      </a:lnTo>
                      <a:lnTo>
                        <a:pt x="4" y="34"/>
                      </a:lnTo>
                      <a:lnTo>
                        <a:pt x="4" y="30"/>
                      </a:lnTo>
                      <a:lnTo>
                        <a:pt x="4" y="28"/>
                      </a:lnTo>
                      <a:lnTo>
                        <a:pt x="6" y="24"/>
                      </a:lnTo>
                      <a:lnTo>
                        <a:pt x="12" y="18"/>
                      </a:lnTo>
                      <a:lnTo>
                        <a:pt x="22" y="14"/>
                      </a:lnTo>
                      <a:lnTo>
                        <a:pt x="32" y="10"/>
                      </a:lnTo>
                      <a:lnTo>
                        <a:pt x="56" y="6"/>
                      </a:lnTo>
                      <a:lnTo>
                        <a:pt x="64" y="4"/>
                      </a:lnTo>
                      <a:lnTo>
                        <a:pt x="72" y="0"/>
                      </a:lnTo>
                      <a:lnTo>
                        <a:pt x="82" y="0"/>
                      </a:lnTo>
                      <a:lnTo>
                        <a:pt x="78" y="6"/>
                      </a:lnTo>
                      <a:lnTo>
                        <a:pt x="72" y="8"/>
                      </a:lnTo>
                      <a:lnTo>
                        <a:pt x="62" y="12"/>
                      </a:lnTo>
                      <a:lnTo>
                        <a:pt x="58" y="16"/>
                      </a:lnTo>
                      <a:lnTo>
                        <a:pt x="54" y="18"/>
                      </a:lnTo>
                      <a:lnTo>
                        <a:pt x="50" y="22"/>
                      </a:lnTo>
                      <a:lnTo>
                        <a:pt x="48" y="28"/>
                      </a:lnTo>
                      <a:lnTo>
                        <a:pt x="56" y="28"/>
                      </a:lnTo>
                      <a:lnTo>
                        <a:pt x="60" y="24"/>
                      </a:lnTo>
                      <a:lnTo>
                        <a:pt x="64" y="18"/>
                      </a:lnTo>
                      <a:lnTo>
                        <a:pt x="70" y="14"/>
                      </a:lnTo>
                      <a:lnTo>
                        <a:pt x="76" y="12"/>
                      </a:lnTo>
                      <a:lnTo>
                        <a:pt x="94" y="6"/>
                      </a:lnTo>
                      <a:lnTo>
                        <a:pt x="114" y="0"/>
                      </a:lnTo>
                      <a:close/>
                    </a:path>
                  </a:pathLst>
                </a:custGeom>
                <a:grpFill/>
                <a:ln w="6350" cmpd="sng">
                  <a:solidFill>
                    <a:schemeClr val="bg1"/>
                  </a:solidFill>
                  <a:prstDash val="solid"/>
                  <a:round/>
                  <a:headEnd/>
                  <a:tailEnd/>
                </a:ln>
              </p:spPr>
              <p:txBody>
                <a:bodyPr/>
                <a:lstStyle/>
                <a:p>
                  <a:pPr>
                    <a:defRPr/>
                  </a:pPr>
                  <a:endParaRPr lang="en-US" dirty="0"/>
                </a:p>
              </p:txBody>
            </p:sp>
            <p:sp>
              <p:nvSpPr>
                <p:cNvPr id="272" name="Freeform 48"/>
                <p:cNvSpPr>
                  <a:spLocks noChangeAspect="1"/>
                </p:cNvSpPr>
                <p:nvPr/>
              </p:nvSpPr>
              <p:spPr bwMode="auto">
                <a:xfrm>
                  <a:off x="1779" y="912"/>
                  <a:ext cx="32" cy="18"/>
                </a:xfrm>
                <a:custGeom>
                  <a:avLst/>
                  <a:gdLst/>
                  <a:ahLst/>
                  <a:cxnLst>
                    <a:cxn ang="0">
                      <a:pos x="16" y="2"/>
                    </a:cxn>
                    <a:cxn ang="0">
                      <a:pos x="28" y="0"/>
                    </a:cxn>
                    <a:cxn ang="0">
                      <a:pos x="30" y="0"/>
                    </a:cxn>
                    <a:cxn ang="0">
                      <a:pos x="32" y="2"/>
                    </a:cxn>
                    <a:cxn ang="0">
                      <a:pos x="30" y="6"/>
                    </a:cxn>
                    <a:cxn ang="0">
                      <a:pos x="28" y="10"/>
                    </a:cxn>
                    <a:cxn ang="0">
                      <a:pos x="22" y="14"/>
                    </a:cxn>
                    <a:cxn ang="0">
                      <a:pos x="14" y="18"/>
                    </a:cxn>
                    <a:cxn ang="0">
                      <a:pos x="6" y="18"/>
                    </a:cxn>
                    <a:cxn ang="0">
                      <a:pos x="2" y="16"/>
                    </a:cxn>
                    <a:cxn ang="0">
                      <a:pos x="0" y="14"/>
                    </a:cxn>
                    <a:cxn ang="0">
                      <a:pos x="2" y="10"/>
                    </a:cxn>
                    <a:cxn ang="0">
                      <a:pos x="8" y="6"/>
                    </a:cxn>
                    <a:cxn ang="0">
                      <a:pos x="12" y="2"/>
                    </a:cxn>
                    <a:cxn ang="0">
                      <a:pos x="18" y="2"/>
                    </a:cxn>
                    <a:cxn ang="0">
                      <a:pos x="18" y="0"/>
                    </a:cxn>
                    <a:cxn ang="0">
                      <a:pos x="16" y="2"/>
                    </a:cxn>
                  </a:cxnLst>
                  <a:rect l="0" t="0" r="r" b="b"/>
                  <a:pathLst>
                    <a:path w="32" h="18">
                      <a:moveTo>
                        <a:pt x="16" y="2"/>
                      </a:moveTo>
                      <a:lnTo>
                        <a:pt x="28" y="0"/>
                      </a:lnTo>
                      <a:lnTo>
                        <a:pt x="30" y="0"/>
                      </a:lnTo>
                      <a:lnTo>
                        <a:pt x="32" y="2"/>
                      </a:lnTo>
                      <a:lnTo>
                        <a:pt x="30" y="6"/>
                      </a:lnTo>
                      <a:lnTo>
                        <a:pt x="28" y="10"/>
                      </a:lnTo>
                      <a:lnTo>
                        <a:pt x="22" y="14"/>
                      </a:lnTo>
                      <a:lnTo>
                        <a:pt x="14" y="18"/>
                      </a:lnTo>
                      <a:lnTo>
                        <a:pt x="6" y="18"/>
                      </a:lnTo>
                      <a:lnTo>
                        <a:pt x="2" y="16"/>
                      </a:lnTo>
                      <a:lnTo>
                        <a:pt x="0" y="14"/>
                      </a:lnTo>
                      <a:lnTo>
                        <a:pt x="2" y="10"/>
                      </a:lnTo>
                      <a:lnTo>
                        <a:pt x="8" y="6"/>
                      </a:lnTo>
                      <a:lnTo>
                        <a:pt x="12" y="2"/>
                      </a:lnTo>
                      <a:lnTo>
                        <a:pt x="18" y="2"/>
                      </a:lnTo>
                      <a:lnTo>
                        <a:pt x="18" y="0"/>
                      </a:lnTo>
                      <a:lnTo>
                        <a:pt x="16" y="2"/>
                      </a:lnTo>
                      <a:close/>
                    </a:path>
                  </a:pathLst>
                </a:custGeom>
                <a:grpFill/>
                <a:ln w="6350" cmpd="sng">
                  <a:solidFill>
                    <a:schemeClr val="bg1"/>
                  </a:solidFill>
                  <a:prstDash val="solid"/>
                  <a:round/>
                  <a:headEnd/>
                  <a:tailEnd/>
                </a:ln>
              </p:spPr>
              <p:txBody>
                <a:bodyPr/>
                <a:lstStyle/>
                <a:p>
                  <a:pPr>
                    <a:defRPr/>
                  </a:pPr>
                  <a:endParaRPr lang="en-US" dirty="0"/>
                </a:p>
              </p:txBody>
            </p:sp>
          </p:grpSp>
          <p:sp>
            <p:nvSpPr>
              <p:cNvPr id="37" name="Freeform 49"/>
              <p:cNvSpPr>
                <a:spLocks noChangeAspect="1"/>
              </p:cNvSpPr>
              <p:nvPr/>
            </p:nvSpPr>
            <p:spPr bwMode="auto">
              <a:xfrm>
                <a:off x="1033017" y="3573183"/>
                <a:ext cx="1225514" cy="516459"/>
              </a:xfrm>
              <a:custGeom>
                <a:avLst/>
                <a:gdLst/>
                <a:ahLst/>
                <a:cxnLst>
                  <a:cxn ang="0">
                    <a:pos x="14" y="260"/>
                  </a:cxn>
                  <a:cxn ang="0">
                    <a:pos x="66" y="298"/>
                  </a:cxn>
                  <a:cxn ang="0">
                    <a:pos x="198" y="318"/>
                  </a:cxn>
                  <a:cxn ang="0">
                    <a:pos x="226" y="360"/>
                  </a:cxn>
                  <a:cxn ang="0">
                    <a:pos x="256" y="354"/>
                  </a:cxn>
                  <a:cxn ang="0">
                    <a:pos x="288" y="408"/>
                  </a:cxn>
                  <a:cxn ang="0">
                    <a:pos x="322" y="402"/>
                  </a:cxn>
                  <a:cxn ang="0">
                    <a:pos x="350" y="370"/>
                  </a:cxn>
                  <a:cxn ang="0">
                    <a:pos x="384" y="354"/>
                  </a:cxn>
                  <a:cxn ang="0">
                    <a:pos x="408" y="352"/>
                  </a:cxn>
                  <a:cxn ang="0">
                    <a:pos x="444" y="358"/>
                  </a:cxn>
                  <a:cxn ang="0">
                    <a:pos x="462" y="358"/>
                  </a:cxn>
                  <a:cxn ang="0">
                    <a:pos x="490" y="338"/>
                  </a:cxn>
                  <a:cxn ang="0">
                    <a:pos x="524" y="348"/>
                  </a:cxn>
                  <a:cxn ang="0">
                    <a:pos x="552" y="354"/>
                  </a:cxn>
                  <a:cxn ang="0">
                    <a:pos x="556" y="376"/>
                  </a:cxn>
                  <a:cxn ang="0">
                    <a:pos x="564" y="408"/>
                  </a:cxn>
                  <a:cxn ang="0">
                    <a:pos x="584" y="428"/>
                  </a:cxn>
                  <a:cxn ang="0">
                    <a:pos x="588" y="370"/>
                  </a:cxn>
                  <a:cxn ang="0">
                    <a:pos x="608" y="300"/>
                  </a:cxn>
                  <a:cxn ang="0">
                    <a:pos x="634" y="276"/>
                  </a:cxn>
                  <a:cxn ang="0">
                    <a:pos x="658" y="264"/>
                  </a:cxn>
                  <a:cxn ang="0">
                    <a:pos x="688" y="244"/>
                  </a:cxn>
                  <a:cxn ang="0">
                    <a:pos x="694" y="222"/>
                  </a:cxn>
                  <a:cxn ang="0">
                    <a:pos x="694" y="208"/>
                  </a:cxn>
                  <a:cxn ang="0">
                    <a:pos x="706" y="192"/>
                  </a:cxn>
                  <a:cxn ang="0">
                    <a:pos x="718" y="174"/>
                  </a:cxn>
                  <a:cxn ang="0">
                    <a:pos x="740" y="164"/>
                  </a:cxn>
                  <a:cxn ang="0">
                    <a:pos x="770" y="142"/>
                  </a:cxn>
                  <a:cxn ang="0">
                    <a:pos x="792" y="130"/>
                  </a:cxn>
                  <a:cxn ang="0">
                    <a:pos x="800" y="128"/>
                  </a:cxn>
                  <a:cxn ang="0">
                    <a:pos x="808" y="98"/>
                  </a:cxn>
                  <a:cxn ang="0">
                    <a:pos x="864" y="50"/>
                  </a:cxn>
                  <a:cxn ang="0">
                    <a:pos x="824" y="58"/>
                  </a:cxn>
                  <a:cxn ang="0">
                    <a:pos x="750" y="80"/>
                  </a:cxn>
                  <a:cxn ang="0">
                    <a:pos x="694" y="100"/>
                  </a:cxn>
                  <a:cxn ang="0">
                    <a:pos x="642" y="134"/>
                  </a:cxn>
                  <a:cxn ang="0">
                    <a:pos x="630" y="118"/>
                  </a:cxn>
                  <a:cxn ang="0">
                    <a:pos x="636" y="94"/>
                  </a:cxn>
                  <a:cxn ang="0">
                    <a:pos x="634" y="80"/>
                  </a:cxn>
                  <a:cxn ang="0">
                    <a:pos x="610" y="72"/>
                  </a:cxn>
                  <a:cxn ang="0">
                    <a:pos x="576" y="122"/>
                  </a:cxn>
                  <a:cxn ang="0">
                    <a:pos x="552" y="122"/>
                  </a:cxn>
                  <a:cxn ang="0">
                    <a:pos x="584" y="66"/>
                  </a:cxn>
                  <a:cxn ang="0">
                    <a:pos x="626" y="50"/>
                  </a:cxn>
                  <a:cxn ang="0">
                    <a:pos x="590" y="36"/>
                  </a:cxn>
                  <a:cxn ang="0">
                    <a:pos x="540" y="42"/>
                  </a:cxn>
                  <a:cxn ang="0">
                    <a:pos x="562" y="22"/>
                  </a:cxn>
                  <a:cxn ang="0">
                    <a:pos x="516" y="12"/>
                  </a:cxn>
                  <a:cxn ang="0">
                    <a:pos x="104" y="22"/>
                  </a:cxn>
                  <a:cxn ang="0">
                    <a:pos x="64" y="52"/>
                  </a:cxn>
                  <a:cxn ang="0">
                    <a:pos x="12" y="136"/>
                  </a:cxn>
                  <a:cxn ang="0">
                    <a:pos x="0" y="174"/>
                  </a:cxn>
                  <a:cxn ang="0">
                    <a:pos x="10" y="196"/>
                  </a:cxn>
                  <a:cxn ang="0">
                    <a:pos x="4" y="216"/>
                  </a:cxn>
                </a:cxnLst>
                <a:rect l="0" t="0" r="r" b="b"/>
                <a:pathLst>
                  <a:path w="872" h="434">
                    <a:moveTo>
                      <a:pt x="4" y="226"/>
                    </a:moveTo>
                    <a:lnTo>
                      <a:pt x="4" y="228"/>
                    </a:lnTo>
                    <a:lnTo>
                      <a:pt x="4" y="230"/>
                    </a:lnTo>
                    <a:lnTo>
                      <a:pt x="2" y="236"/>
                    </a:lnTo>
                    <a:lnTo>
                      <a:pt x="4" y="244"/>
                    </a:lnTo>
                    <a:lnTo>
                      <a:pt x="6" y="254"/>
                    </a:lnTo>
                    <a:lnTo>
                      <a:pt x="14" y="260"/>
                    </a:lnTo>
                    <a:lnTo>
                      <a:pt x="26" y="264"/>
                    </a:lnTo>
                    <a:lnTo>
                      <a:pt x="30" y="266"/>
                    </a:lnTo>
                    <a:lnTo>
                      <a:pt x="32" y="268"/>
                    </a:lnTo>
                    <a:lnTo>
                      <a:pt x="40" y="278"/>
                    </a:lnTo>
                    <a:lnTo>
                      <a:pt x="44" y="290"/>
                    </a:lnTo>
                    <a:lnTo>
                      <a:pt x="46" y="300"/>
                    </a:lnTo>
                    <a:lnTo>
                      <a:pt x="66" y="298"/>
                    </a:lnTo>
                    <a:lnTo>
                      <a:pt x="74" y="298"/>
                    </a:lnTo>
                    <a:lnTo>
                      <a:pt x="80" y="300"/>
                    </a:lnTo>
                    <a:lnTo>
                      <a:pt x="124" y="326"/>
                    </a:lnTo>
                    <a:lnTo>
                      <a:pt x="174" y="326"/>
                    </a:lnTo>
                    <a:lnTo>
                      <a:pt x="178" y="316"/>
                    </a:lnTo>
                    <a:lnTo>
                      <a:pt x="194" y="318"/>
                    </a:lnTo>
                    <a:lnTo>
                      <a:pt x="198" y="318"/>
                    </a:lnTo>
                    <a:lnTo>
                      <a:pt x="204" y="316"/>
                    </a:lnTo>
                    <a:lnTo>
                      <a:pt x="206" y="324"/>
                    </a:lnTo>
                    <a:lnTo>
                      <a:pt x="212" y="328"/>
                    </a:lnTo>
                    <a:lnTo>
                      <a:pt x="216" y="332"/>
                    </a:lnTo>
                    <a:lnTo>
                      <a:pt x="220" y="336"/>
                    </a:lnTo>
                    <a:lnTo>
                      <a:pt x="224" y="356"/>
                    </a:lnTo>
                    <a:lnTo>
                      <a:pt x="226" y="360"/>
                    </a:lnTo>
                    <a:lnTo>
                      <a:pt x="230" y="364"/>
                    </a:lnTo>
                    <a:lnTo>
                      <a:pt x="234" y="366"/>
                    </a:lnTo>
                    <a:lnTo>
                      <a:pt x="238" y="366"/>
                    </a:lnTo>
                    <a:lnTo>
                      <a:pt x="244" y="364"/>
                    </a:lnTo>
                    <a:lnTo>
                      <a:pt x="250" y="360"/>
                    </a:lnTo>
                    <a:lnTo>
                      <a:pt x="254" y="354"/>
                    </a:lnTo>
                    <a:lnTo>
                      <a:pt x="256" y="354"/>
                    </a:lnTo>
                    <a:lnTo>
                      <a:pt x="262" y="354"/>
                    </a:lnTo>
                    <a:lnTo>
                      <a:pt x="270" y="354"/>
                    </a:lnTo>
                    <a:lnTo>
                      <a:pt x="276" y="358"/>
                    </a:lnTo>
                    <a:lnTo>
                      <a:pt x="278" y="366"/>
                    </a:lnTo>
                    <a:lnTo>
                      <a:pt x="282" y="374"/>
                    </a:lnTo>
                    <a:lnTo>
                      <a:pt x="286" y="392"/>
                    </a:lnTo>
                    <a:lnTo>
                      <a:pt x="288" y="408"/>
                    </a:lnTo>
                    <a:lnTo>
                      <a:pt x="290" y="412"/>
                    </a:lnTo>
                    <a:lnTo>
                      <a:pt x="294" y="414"/>
                    </a:lnTo>
                    <a:lnTo>
                      <a:pt x="302" y="420"/>
                    </a:lnTo>
                    <a:lnTo>
                      <a:pt x="320" y="426"/>
                    </a:lnTo>
                    <a:lnTo>
                      <a:pt x="322" y="426"/>
                    </a:lnTo>
                    <a:lnTo>
                      <a:pt x="322" y="408"/>
                    </a:lnTo>
                    <a:lnTo>
                      <a:pt x="322" y="402"/>
                    </a:lnTo>
                    <a:lnTo>
                      <a:pt x="324" y="394"/>
                    </a:lnTo>
                    <a:lnTo>
                      <a:pt x="328" y="388"/>
                    </a:lnTo>
                    <a:lnTo>
                      <a:pt x="332" y="382"/>
                    </a:lnTo>
                    <a:lnTo>
                      <a:pt x="338" y="378"/>
                    </a:lnTo>
                    <a:lnTo>
                      <a:pt x="340" y="374"/>
                    </a:lnTo>
                    <a:lnTo>
                      <a:pt x="342" y="370"/>
                    </a:lnTo>
                    <a:lnTo>
                      <a:pt x="350" y="370"/>
                    </a:lnTo>
                    <a:lnTo>
                      <a:pt x="358" y="368"/>
                    </a:lnTo>
                    <a:lnTo>
                      <a:pt x="370" y="360"/>
                    </a:lnTo>
                    <a:lnTo>
                      <a:pt x="372" y="358"/>
                    </a:lnTo>
                    <a:lnTo>
                      <a:pt x="374" y="356"/>
                    </a:lnTo>
                    <a:lnTo>
                      <a:pt x="374" y="354"/>
                    </a:lnTo>
                    <a:lnTo>
                      <a:pt x="378" y="352"/>
                    </a:lnTo>
                    <a:lnTo>
                      <a:pt x="384" y="354"/>
                    </a:lnTo>
                    <a:lnTo>
                      <a:pt x="386" y="352"/>
                    </a:lnTo>
                    <a:lnTo>
                      <a:pt x="386" y="350"/>
                    </a:lnTo>
                    <a:lnTo>
                      <a:pt x="388" y="348"/>
                    </a:lnTo>
                    <a:lnTo>
                      <a:pt x="392" y="348"/>
                    </a:lnTo>
                    <a:lnTo>
                      <a:pt x="398" y="348"/>
                    </a:lnTo>
                    <a:lnTo>
                      <a:pt x="404" y="350"/>
                    </a:lnTo>
                    <a:lnTo>
                      <a:pt x="408" y="352"/>
                    </a:lnTo>
                    <a:lnTo>
                      <a:pt x="414" y="354"/>
                    </a:lnTo>
                    <a:lnTo>
                      <a:pt x="418" y="352"/>
                    </a:lnTo>
                    <a:lnTo>
                      <a:pt x="424" y="352"/>
                    </a:lnTo>
                    <a:lnTo>
                      <a:pt x="430" y="356"/>
                    </a:lnTo>
                    <a:lnTo>
                      <a:pt x="434" y="358"/>
                    </a:lnTo>
                    <a:lnTo>
                      <a:pt x="440" y="360"/>
                    </a:lnTo>
                    <a:lnTo>
                      <a:pt x="444" y="358"/>
                    </a:lnTo>
                    <a:lnTo>
                      <a:pt x="450" y="356"/>
                    </a:lnTo>
                    <a:lnTo>
                      <a:pt x="452" y="358"/>
                    </a:lnTo>
                    <a:lnTo>
                      <a:pt x="454" y="360"/>
                    </a:lnTo>
                    <a:lnTo>
                      <a:pt x="456" y="362"/>
                    </a:lnTo>
                    <a:lnTo>
                      <a:pt x="460" y="362"/>
                    </a:lnTo>
                    <a:lnTo>
                      <a:pt x="462" y="362"/>
                    </a:lnTo>
                    <a:lnTo>
                      <a:pt x="462" y="358"/>
                    </a:lnTo>
                    <a:lnTo>
                      <a:pt x="458" y="356"/>
                    </a:lnTo>
                    <a:lnTo>
                      <a:pt x="456" y="354"/>
                    </a:lnTo>
                    <a:lnTo>
                      <a:pt x="456" y="340"/>
                    </a:lnTo>
                    <a:lnTo>
                      <a:pt x="466" y="338"/>
                    </a:lnTo>
                    <a:lnTo>
                      <a:pt x="474" y="336"/>
                    </a:lnTo>
                    <a:lnTo>
                      <a:pt x="486" y="340"/>
                    </a:lnTo>
                    <a:lnTo>
                      <a:pt x="490" y="338"/>
                    </a:lnTo>
                    <a:lnTo>
                      <a:pt x="494" y="336"/>
                    </a:lnTo>
                    <a:lnTo>
                      <a:pt x="510" y="336"/>
                    </a:lnTo>
                    <a:lnTo>
                      <a:pt x="512" y="338"/>
                    </a:lnTo>
                    <a:lnTo>
                      <a:pt x="516" y="340"/>
                    </a:lnTo>
                    <a:lnTo>
                      <a:pt x="522" y="342"/>
                    </a:lnTo>
                    <a:lnTo>
                      <a:pt x="524" y="346"/>
                    </a:lnTo>
                    <a:lnTo>
                      <a:pt x="524" y="348"/>
                    </a:lnTo>
                    <a:lnTo>
                      <a:pt x="524" y="352"/>
                    </a:lnTo>
                    <a:lnTo>
                      <a:pt x="530" y="350"/>
                    </a:lnTo>
                    <a:lnTo>
                      <a:pt x="532" y="348"/>
                    </a:lnTo>
                    <a:lnTo>
                      <a:pt x="542" y="344"/>
                    </a:lnTo>
                    <a:lnTo>
                      <a:pt x="550" y="346"/>
                    </a:lnTo>
                    <a:lnTo>
                      <a:pt x="552" y="350"/>
                    </a:lnTo>
                    <a:lnTo>
                      <a:pt x="552" y="354"/>
                    </a:lnTo>
                    <a:lnTo>
                      <a:pt x="554" y="356"/>
                    </a:lnTo>
                    <a:lnTo>
                      <a:pt x="556" y="360"/>
                    </a:lnTo>
                    <a:lnTo>
                      <a:pt x="558" y="362"/>
                    </a:lnTo>
                    <a:lnTo>
                      <a:pt x="562" y="364"/>
                    </a:lnTo>
                    <a:lnTo>
                      <a:pt x="560" y="370"/>
                    </a:lnTo>
                    <a:lnTo>
                      <a:pt x="558" y="372"/>
                    </a:lnTo>
                    <a:lnTo>
                      <a:pt x="556" y="376"/>
                    </a:lnTo>
                    <a:lnTo>
                      <a:pt x="556" y="380"/>
                    </a:lnTo>
                    <a:lnTo>
                      <a:pt x="558" y="382"/>
                    </a:lnTo>
                    <a:lnTo>
                      <a:pt x="560" y="386"/>
                    </a:lnTo>
                    <a:lnTo>
                      <a:pt x="558" y="388"/>
                    </a:lnTo>
                    <a:lnTo>
                      <a:pt x="558" y="390"/>
                    </a:lnTo>
                    <a:lnTo>
                      <a:pt x="558" y="400"/>
                    </a:lnTo>
                    <a:lnTo>
                      <a:pt x="564" y="408"/>
                    </a:lnTo>
                    <a:lnTo>
                      <a:pt x="564" y="416"/>
                    </a:lnTo>
                    <a:lnTo>
                      <a:pt x="566" y="422"/>
                    </a:lnTo>
                    <a:lnTo>
                      <a:pt x="570" y="428"/>
                    </a:lnTo>
                    <a:lnTo>
                      <a:pt x="574" y="432"/>
                    </a:lnTo>
                    <a:lnTo>
                      <a:pt x="578" y="434"/>
                    </a:lnTo>
                    <a:lnTo>
                      <a:pt x="584" y="434"/>
                    </a:lnTo>
                    <a:lnTo>
                      <a:pt x="584" y="428"/>
                    </a:lnTo>
                    <a:lnTo>
                      <a:pt x="588" y="420"/>
                    </a:lnTo>
                    <a:lnTo>
                      <a:pt x="590" y="414"/>
                    </a:lnTo>
                    <a:lnTo>
                      <a:pt x="592" y="408"/>
                    </a:lnTo>
                    <a:lnTo>
                      <a:pt x="592" y="398"/>
                    </a:lnTo>
                    <a:lnTo>
                      <a:pt x="594" y="388"/>
                    </a:lnTo>
                    <a:lnTo>
                      <a:pt x="592" y="380"/>
                    </a:lnTo>
                    <a:lnTo>
                      <a:pt x="588" y="370"/>
                    </a:lnTo>
                    <a:lnTo>
                      <a:pt x="586" y="358"/>
                    </a:lnTo>
                    <a:lnTo>
                      <a:pt x="584" y="348"/>
                    </a:lnTo>
                    <a:lnTo>
                      <a:pt x="586" y="332"/>
                    </a:lnTo>
                    <a:lnTo>
                      <a:pt x="590" y="322"/>
                    </a:lnTo>
                    <a:lnTo>
                      <a:pt x="598" y="310"/>
                    </a:lnTo>
                    <a:lnTo>
                      <a:pt x="606" y="300"/>
                    </a:lnTo>
                    <a:lnTo>
                      <a:pt x="608" y="300"/>
                    </a:lnTo>
                    <a:lnTo>
                      <a:pt x="612" y="298"/>
                    </a:lnTo>
                    <a:lnTo>
                      <a:pt x="616" y="296"/>
                    </a:lnTo>
                    <a:lnTo>
                      <a:pt x="618" y="294"/>
                    </a:lnTo>
                    <a:lnTo>
                      <a:pt x="624" y="292"/>
                    </a:lnTo>
                    <a:lnTo>
                      <a:pt x="626" y="290"/>
                    </a:lnTo>
                    <a:lnTo>
                      <a:pt x="632" y="282"/>
                    </a:lnTo>
                    <a:lnTo>
                      <a:pt x="634" y="276"/>
                    </a:lnTo>
                    <a:lnTo>
                      <a:pt x="638" y="274"/>
                    </a:lnTo>
                    <a:lnTo>
                      <a:pt x="644" y="274"/>
                    </a:lnTo>
                    <a:lnTo>
                      <a:pt x="644" y="272"/>
                    </a:lnTo>
                    <a:lnTo>
                      <a:pt x="646" y="272"/>
                    </a:lnTo>
                    <a:lnTo>
                      <a:pt x="650" y="272"/>
                    </a:lnTo>
                    <a:lnTo>
                      <a:pt x="654" y="268"/>
                    </a:lnTo>
                    <a:lnTo>
                      <a:pt x="658" y="264"/>
                    </a:lnTo>
                    <a:lnTo>
                      <a:pt x="660" y="260"/>
                    </a:lnTo>
                    <a:lnTo>
                      <a:pt x="668" y="258"/>
                    </a:lnTo>
                    <a:lnTo>
                      <a:pt x="672" y="258"/>
                    </a:lnTo>
                    <a:lnTo>
                      <a:pt x="678" y="254"/>
                    </a:lnTo>
                    <a:lnTo>
                      <a:pt x="676" y="250"/>
                    </a:lnTo>
                    <a:lnTo>
                      <a:pt x="678" y="246"/>
                    </a:lnTo>
                    <a:lnTo>
                      <a:pt x="688" y="244"/>
                    </a:lnTo>
                    <a:lnTo>
                      <a:pt x="690" y="242"/>
                    </a:lnTo>
                    <a:lnTo>
                      <a:pt x="692" y="240"/>
                    </a:lnTo>
                    <a:lnTo>
                      <a:pt x="696" y="238"/>
                    </a:lnTo>
                    <a:lnTo>
                      <a:pt x="698" y="234"/>
                    </a:lnTo>
                    <a:lnTo>
                      <a:pt x="696" y="230"/>
                    </a:lnTo>
                    <a:lnTo>
                      <a:pt x="696" y="226"/>
                    </a:lnTo>
                    <a:lnTo>
                      <a:pt x="694" y="222"/>
                    </a:lnTo>
                    <a:lnTo>
                      <a:pt x="692" y="218"/>
                    </a:lnTo>
                    <a:lnTo>
                      <a:pt x="690" y="216"/>
                    </a:lnTo>
                    <a:lnTo>
                      <a:pt x="688" y="214"/>
                    </a:lnTo>
                    <a:lnTo>
                      <a:pt x="694" y="214"/>
                    </a:lnTo>
                    <a:lnTo>
                      <a:pt x="692" y="214"/>
                    </a:lnTo>
                    <a:lnTo>
                      <a:pt x="692" y="212"/>
                    </a:lnTo>
                    <a:lnTo>
                      <a:pt x="694" y="208"/>
                    </a:lnTo>
                    <a:lnTo>
                      <a:pt x="700" y="210"/>
                    </a:lnTo>
                    <a:lnTo>
                      <a:pt x="704" y="208"/>
                    </a:lnTo>
                    <a:lnTo>
                      <a:pt x="706" y="206"/>
                    </a:lnTo>
                    <a:lnTo>
                      <a:pt x="706" y="198"/>
                    </a:lnTo>
                    <a:lnTo>
                      <a:pt x="702" y="190"/>
                    </a:lnTo>
                    <a:lnTo>
                      <a:pt x="702" y="188"/>
                    </a:lnTo>
                    <a:lnTo>
                      <a:pt x="706" y="192"/>
                    </a:lnTo>
                    <a:lnTo>
                      <a:pt x="708" y="196"/>
                    </a:lnTo>
                    <a:lnTo>
                      <a:pt x="714" y="196"/>
                    </a:lnTo>
                    <a:lnTo>
                      <a:pt x="716" y="194"/>
                    </a:lnTo>
                    <a:lnTo>
                      <a:pt x="718" y="188"/>
                    </a:lnTo>
                    <a:lnTo>
                      <a:pt x="718" y="168"/>
                    </a:lnTo>
                    <a:lnTo>
                      <a:pt x="718" y="172"/>
                    </a:lnTo>
                    <a:lnTo>
                      <a:pt x="718" y="174"/>
                    </a:lnTo>
                    <a:lnTo>
                      <a:pt x="720" y="174"/>
                    </a:lnTo>
                    <a:lnTo>
                      <a:pt x="720" y="178"/>
                    </a:lnTo>
                    <a:lnTo>
                      <a:pt x="722" y="182"/>
                    </a:lnTo>
                    <a:lnTo>
                      <a:pt x="726" y="176"/>
                    </a:lnTo>
                    <a:lnTo>
                      <a:pt x="732" y="172"/>
                    </a:lnTo>
                    <a:lnTo>
                      <a:pt x="734" y="172"/>
                    </a:lnTo>
                    <a:lnTo>
                      <a:pt x="740" y="164"/>
                    </a:lnTo>
                    <a:lnTo>
                      <a:pt x="744" y="158"/>
                    </a:lnTo>
                    <a:lnTo>
                      <a:pt x="742" y="150"/>
                    </a:lnTo>
                    <a:lnTo>
                      <a:pt x="744" y="148"/>
                    </a:lnTo>
                    <a:lnTo>
                      <a:pt x="746" y="146"/>
                    </a:lnTo>
                    <a:lnTo>
                      <a:pt x="756" y="146"/>
                    </a:lnTo>
                    <a:lnTo>
                      <a:pt x="766" y="146"/>
                    </a:lnTo>
                    <a:lnTo>
                      <a:pt x="770" y="142"/>
                    </a:lnTo>
                    <a:lnTo>
                      <a:pt x="752" y="142"/>
                    </a:lnTo>
                    <a:lnTo>
                      <a:pt x="760" y="140"/>
                    </a:lnTo>
                    <a:lnTo>
                      <a:pt x="770" y="140"/>
                    </a:lnTo>
                    <a:lnTo>
                      <a:pt x="776" y="138"/>
                    </a:lnTo>
                    <a:lnTo>
                      <a:pt x="786" y="134"/>
                    </a:lnTo>
                    <a:lnTo>
                      <a:pt x="790" y="132"/>
                    </a:lnTo>
                    <a:lnTo>
                      <a:pt x="792" y="130"/>
                    </a:lnTo>
                    <a:lnTo>
                      <a:pt x="802" y="132"/>
                    </a:lnTo>
                    <a:lnTo>
                      <a:pt x="808" y="130"/>
                    </a:lnTo>
                    <a:lnTo>
                      <a:pt x="812" y="128"/>
                    </a:lnTo>
                    <a:lnTo>
                      <a:pt x="810" y="124"/>
                    </a:lnTo>
                    <a:lnTo>
                      <a:pt x="808" y="126"/>
                    </a:lnTo>
                    <a:lnTo>
                      <a:pt x="806" y="128"/>
                    </a:lnTo>
                    <a:lnTo>
                      <a:pt x="800" y="128"/>
                    </a:lnTo>
                    <a:lnTo>
                      <a:pt x="802" y="126"/>
                    </a:lnTo>
                    <a:lnTo>
                      <a:pt x="802" y="122"/>
                    </a:lnTo>
                    <a:lnTo>
                      <a:pt x="800" y="118"/>
                    </a:lnTo>
                    <a:lnTo>
                      <a:pt x="802" y="112"/>
                    </a:lnTo>
                    <a:lnTo>
                      <a:pt x="804" y="108"/>
                    </a:lnTo>
                    <a:lnTo>
                      <a:pt x="806" y="104"/>
                    </a:lnTo>
                    <a:lnTo>
                      <a:pt x="808" y="98"/>
                    </a:lnTo>
                    <a:lnTo>
                      <a:pt x="814" y="94"/>
                    </a:lnTo>
                    <a:lnTo>
                      <a:pt x="822" y="90"/>
                    </a:lnTo>
                    <a:lnTo>
                      <a:pt x="838" y="84"/>
                    </a:lnTo>
                    <a:lnTo>
                      <a:pt x="854" y="80"/>
                    </a:lnTo>
                    <a:lnTo>
                      <a:pt x="870" y="74"/>
                    </a:lnTo>
                    <a:lnTo>
                      <a:pt x="864" y="54"/>
                    </a:lnTo>
                    <a:lnTo>
                      <a:pt x="864" y="50"/>
                    </a:lnTo>
                    <a:lnTo>
                      <a:pt x="866" y="46"/>
                    </a:lnTo>
                    <a:lnTo>
                      <a:pt x="872" y="38"/>
                    </a:lnTo>
                    <a:lnTo>
                      <a:pt x="852" y="32"/>
                    </a:lnTo>
                    <a:lnTo>
                      <a:pt x="846" y="34"/>
                    </a:lnTo>
                    <a:lnTo>
                      <a:pt x="840" y="38"/>
                    </a:lnTo>
                    <a:lnTo>
                      <a:pt x="830" y="52"/>
                    </a:lnTo>
                    <a:lnTo>
                      <a:pt x="824" y="58"/>
                    </a:lnTo>
                    <a:lnTo>
                      <a:pt x="820" y="66"/>
                    </a:lnTo>
                    <a:lnTo>
                      <a:pt x="814" y="70"/>
                    </a:lnTo>
                    <a:lnTo>
                      <a:pt x="804" y="72"/>
                    </a:lnTo>
                    <a:lnTo>
                      <a:pt x="798" y="74"/>
                    </a:lnTo>
                    <a:lnTo>
                      <a:pt x="766" y="74"/>
                    </a:lnTo>
                    <a:lnTo>
                      <a:pt x="758" y="78"/>
                    </a:lnTo>
                    <a:lnTo>
                      <a:pt x="750" y="80"/>
                    </a:lnTo>
                    <a:lnTo>
                      <a:pt x="738" y="90"/>
                    </a:lnTo>
                    <a:lnTo>
                      <a:pt x="724" y="100"/>
                    </a:lnTo>
                    <a:lnTo>
                      <a:pt x="718" y="102"/>
                    </a:lnTo>
                    <a:lnTo>
                      <a:pt x="712" y="104"/>
                    </a:lnTo>
                    <a:lnTo>
                      <a:pt x="706" y="102"/>
                    </a:lnTo>
                    <a:lnTo>
                      <a:pt x="700" y="100"/>
                    </a:lnTo>
                    <a:lnTo>
                      <a:pt x="694" y="100"/>
                    </a:lnTo>
                    <a:lnTo>
                      <a:pt x="692" y="102"/>
                    </a:lnTo>
                    <a:lnTo>
                      <a:pt x="688" y="106"/>
                    </a:lnTo>
                    <a:lnTo>
                      <a:pt x="686" y="110"/>
                    </a:lnTo>
                    <a:lnTo>
                      <a:pt x="684" y="116"/>
                    </a:lnTo>
                    <a:lnTo>
                      <a:pt x="672" y="122"/>
                    </a:lnTo>
                    <a:lnTo>
                      <a:pt x="658" y="128"/>
                    </a:lnTo>
                    <a:lnTo>
                      <a:pt x="642" y="134"/>
                    </a:lnTo>
                    <a:lnTo>
                      <a:pt x="632" y="136"/>
                    </a:lnTo>
                    <a:lnTo>
                      <a:pt x="622" y="134"/>
                    </a:lnTo>
                    <a:lnTo>
                      <a:pt x="618" y="134"/>
                    </a:lnTo>
                    <a:lnTo>
                      <a:pt x="618" y="132"/>
                    </a:lnTo>
                    <a:lnTo>
                      <a:pt x="618" y="126"/>
                    </a:lnTo>
                    <a:lnTo>
                      <a:pt x="622" y="122"/>
                    </a:lnTo>
                    <a:lnTo>
                      <a:pt x="630" y="118"/>
                    </a:lnTo>
                    <a:lnTo>
                      <a:pt x="636" y="112"/>
                    </a:lnTo>
                    <a:lnTo>
                      <a:pt x="640" y="108"/>
                    </a:lnTo>
                    <a:lnTo>
                      <a:pt x="640" y="106"/>
                    </a:lnTo>
                    <a:lnTo>
                      <a:pt x="638" y="104"/>
                    </a:lnTo>
                    <a:lnTo>
                      <a:pt x="636" y="102"/>
                    </a:lnTo>
                    <a:lnTo>
                      <a:pt x="638" y="96"/>
                    </a:lnTo>
                    <a:lnTo>
                      <a:pt x="636" y="94"/>
                    </a:lnTo>
                    <a:lnTo>
                      <a:pt x="634" y="88"/>
                    </a:lnTo>
                    <a:lnTo>
                      <a:pt x="632" y="92"/>
                    </a:lnTo>
                    <a:lnTo>
                      <a:pt x="630" y="96"/>
                    </a:lnTo>
                    <a:lnTo>
                      <a:pt x="622" y="96"/>
                    </a:lnTo>
                    <a:lnTo>
                      <a:pt x="626" y="90"/>
                    </a:lnTo>
                    <a:lnTo>
                      <a:pt x="632" y="86"/>
                    </a:lnTo>
                    <a:lnTo>
                      <a:pt x="634" y="80"/>
                    </a:lnTo>
                    <a:lnTo>
                      <a:pt x="636" y="72"/>
                    </a:lnTo>
                    <a:lnTo>
                      <a:pt x="636" y="68"/>
                    </a:lnTo>
                    <a:lnTo>
                      <a:pt x="632" y="66"/>
                    </a:lnTo>
                    <a:lnTo>
                      <a:pt x="630" y="64"/>
                    </a:lnTo>
                    <a:lnTo>
                      <a:pt x="622" y="64"/>
                    </a:lnTo>
                    <a:lnTo>
                      <a:pt x="618" y="64"/>
                    </a:lnTo>
                    <a:lnTo>
                      <a:pt x="610" y="72"/>
                    </a:lnTo>
                    <a:lnTo>
                      <a:pt x="602" y="78"/>
                    </a:lnTo>
                    <a:lnTo>
                      <a:pt x="592" y="82"/>
                    </a:lnTo>
                    <a:lnTo>
                      <a:pt x="584" y="92"/>
                    </a:lnTo>
                    <a:lnTo>
                      <a:pt x="582" y="96"/>
                    </a:lnTo>
                    <a:lnTo>
                      <a:pt x="580" y="104"/>
                    </a:lnTo>
                    <a:lnTo>
                      <a:pt x="578" y="116"/>
                    </a:lnTo>
                    <a:lnTo>
                      <a:pt x="576" y="122"/>
                    </a:lnTo>
                    <a:lnTo>
                      <a:pt x="572" y="128"/>
                    </a:lnTo>
                    <a:lnTo>
                      <a:pt x="566" y="132"/>
                    </a:lnTo>
                    <a:lnTo>
                      <a:pt x="558" y="134"/>
                    </a:lnTo>
                    <a:lnTo>
                      <a:pt x="554" y="132"/>
                    </a:lnTo>
                    <a:lnTo>
                      <a:pt x="552" y="130"/>
                    </a:lnTo>
                    <a:lnTo>
                      <a:pt x="550" y="128"/>
                    </a:lnTo>
                    <a:lnTo>
                      <a:pt x="552" y="122"/>
                    </a:lnTo>
                    <a:lnTo>
                      <a:pt x="554" y="114"/>
                    </a:lnTo>
                    <a:lnTo>
                      <a:pt x="560" y="102"/>
                    </a:lnTo>
                    <a:lnTo>
                      <a:pt x="568" y="90"/>
                    </a:lnTo>
                    <a:lnTo>
                      <a:pt x="576" y="80"/>
                    </a:lnTo>
                    <a:lnTo>
                      <a:pt x="576" y="78"/>
                    </a:lnTo>
                    <a:lnTo>
                      <a:pt x="578" y="74"/>
                    </a:lnTo>
                    <a:lnTo>
                      <a:pt x="584" y="66"/>
                    </a:lnTo>
                    <a:lnTo>
                      <a:pt x="594" y="60"/>
                    </a:lnTo>
                    <a:lnTo>
                      <a:pt x="602" y="58"/>
                    </a:lnTo>
                    <a:lnTo>
                      <a:pt x="620" y="58"/>
                    </a:lnTo>
                    <a:lnTo>
                      <a:pt x="624" y="56"/>
                    </a:lnTo>
                    <a:lnTo>
                      <a:pt x="628" y="56"/>
                    </a:lnTo>
                    <a:lnTo>
                      <a:pt x="634" y="52"/>
                    </a:lnTo>
                    <a:lnTo>
                      <a:pt x="626" y="50"/>
                    </a:lnTo>
                    <a:lnTo>
                      <a:pt x="618" y="50"/>
                    </a:lnTo>
                    <a:lnTo>
                      <a:pt x="612" y="50"/>
                    </a:lnTo>
                    <a:lnTo>
                      <a:pt x="606" y="48"/>
                    </a:lnTo>
                    <a:lnTo>
                      <a:pt x="596" y="46"/>
                    </a:lnTo>
                    <a:lnTo>
                      <a:pt x="592" y="44"/>
                    </a:lnTo>
                    <a:lnTo>
                      <a:pt x="590" y="40"/>
                    </a:lnTo>
                    <a:lnTo>
                      <a:pt x="590" y="36"/>
                    </a:lnTo>
                    <a:lnTo>
                      <a:pt x="584" y="36"/>
                    </a:lnTo>
                    <a:lnTo>
                      <a:pt x="582" y="36"/>
                    </a:lnTo>
                    <a:lnTo>
                      <a:pt x="580" y="34"/>
                    </a:lnTo>
                    <a:lnTo>
                      <a:pt x="586" y="30"/>
                    </a:lnTo>
                    <a:lnTo>
                      <a:pt x="564" y="38"/>
                    </a:lnTo>
                    <a:lnTo>
                      <a:pt x="550" y="40"/>
                    </a:lnTo>
                    <a:lnTo>
                      <a:pt x="540" y="42"/>
                    </a:lnTo>
                    <a:lnTo>
                      <a:pt x="536" y="42"/>
                    </a:lnTo>
                    <a:lnTo>
                      <a:pt x="532" y="42"/>
                    </a:lnTo>
                    <a:lnTo>
                      <a:pt x="528" y="40"/>
                    </a:lnTo>
                    <a:lnTo>
                      <a:pt x="536" y="34"/>
                    </a:lnTo>
                    <a:lnTo>
                      <a:pt x="544" y="30"/>
                    </a:lnTo>
                    <a:lnTo>
                      <a:pt x="552" y="26"/>
                    </a:lnTo>
                    <a:lnTo>
                      <a:pt x="562" y="22"/>
                    </a:lnTo>
                    <a:lnTo>
                      <a:pt x="550" y="20"/>
                    </a:lnTo>
                    <a:lnTo>
                      <a:pt x="540" y="16"/>
                    </a:lnTo>
                    <a:lnTo>
                      <a:pt x="540" y="18"/>
                    </a:lnTo>
                    <a:lnTo>
                      <a:pt x="534" y="16"/>
                    </a:lnTo>
                    <a:lnTo>
                      <a:pt x="528" y="14"/>
                    </a:lnTo>
                    <a:lnTo>
                      <a:pt x="522" y="14"/>
                    </a:lnTo>
                    <a:lnTo>
                      <a:pt x="516" y="12"/>
                    </a:lnTo>
                    <a:lnTo>
                      <a:pt x="510" y="10"/>
                    </a:lnTo>
                    <a:lnTo>
                      <a:pt x="506" y="6"/>
                    </a:lnTo>
                    <a:lnTo>
                      <a:pt x="506" y="0"/>
                    </a:lnTo>
                    <a:lnTo>
                      <a:pt x="112" y="0"/>
                    </a:lnTo>
                    <a:lnTo>
                      <a:pt x="110" y="6"/>
                    </a:lnTo>
                    <a:lnTo>
                      <a:pt x="106" y="14"/>
                    </a:lnTo>
                    <a:lnTo>
                      <a:pt x="104" y="22"/>
                    </a:lnTo>
                    <a:lnTo>
                      <a:pt x="100" y="24"/>
                    </a:lnTo>
                    <a:lnTo>
                      <a:pt x="96" y="26"/>
                    </a:lnTo>
                    <a:lnTo>
                      <a:pt x="94" y="22"/>
                    </a:lnTo>
                    <a:lnTo>
                      <a:pt x="92" y="20"/>
                    </a:lnTo>
                    <a:lnTo>
                      <a:pt x="82" y="16"/>
                    </a:lnTo>
                    <a:lnTo>
                      <a:pt x="78" y="26"/>
                    </a:lnTo>
                    <a:lnTo>
                      <a:pt x="64" y="52"/>
                    </a:lnTo>
                    <a:lnTo>
                      <a:pt x="48" y="80"/>
                    </a:lnTo>
                    <a:lnTo>
                      <a:pt x="40" y="90"/>
                    </a:lnTo>
                    <a:lnTo>
                      <a:pt x="32" y="98"/>
                    </a:lnTo>
                    <a:lnTo>
                      <a:pt x="26" y="106"/>
                    </a:lnTo>
                    <a:lnTo>
                      <a:pt x="20" y="114"/>
                    </a:lnTo>
                    <a:lnTo>
                      <a:pt x="14" y="126"/>
                    </a:lnTo>
                    <a:lnTo>
                      <a:pt x="12" y="136"/>
                    </a:lnTo>
                    <a:lnTo>
                      <a:pt x="8" y="146"/>
                    </a:lnTo>
                    <a:lnTo>
                      <a:pt x="2" y="158"/>
                    </a:lnTo>
                    <a:lnTo>
                      <a:pt x="2" y="162"/>
                    </a:lnTo>
                    <a:lnTo>
                      <a:pt x="2" y="166"/>
                    </a:lnTo>
                    <a:lnTo>
                      <a:pt x="2" y="170"/>
                    </a:lnTo>
                    <a:lnTo>
                      <a:pt x="0" y="172"/>
                    </a:lnTo>
                    <a:lnTo>
                      <a:pt x="0" y="174"/>
                    </a:lnTo>
                    <a:lnTo>
                      <a:pt x="0" y="178"/>
                    </a:lnTo>
                    <a:lnTo>
                      <a:pt x="2" y="190"/>
                    </a:lnTo>
                    <a:lnTo>
                      <a:pt x="4" y="198"/>
                    </a:lnTo>
                    <a:lnTo>
                      <a:pt x="6" y="196"/>
                    </a:lnTo>
                    <a:lnTo>
                      <a:pt x="10" y="194"/>
                    </a:lnTo>
                    <a:lnTo>
                      <a:pt x="18" y="196"/>
                    </a:lnTo>
                    <a:lnTo>
                      <a:pt x="10" y="196"/>
                    </a:lnTo>
                    <a:lnTo>
                      <a:pt x="8" y="198"/>
                    </a:lnTo>
                    <a:lnTo>
                      <a:pt x="6" y="200"/>
                    </a:lnTo>
                    <a:lnTo>
                      <a:pt x="8" y="204"/>
                    </a:lnTo>
                    <a:lnTo>
                      <a:pt x="4" y="202"/>
                    </a:lnTo>
                    <a:lnTo>
                      <a:pt x="2" y="206"/>
                    </a:lnTo>
                    <a:lnTo>
                      <a:pt x="4" y="214"/>
                    </a:lnTo>
                    <a:lnTo>
                      <a:pt x="4" y="216"/>
                    </a:lnTo>
                    <a:lnTo>
                      <a:pt x="6" y="216"/>
                    </a:lnTo>
                    <a:lnTo>
                      <a:pt x="6" y="220"/>
                    </a:lnTo>
                    <a:lnTo>
                      <a:pt x="6" y="222"/>
                    </a:lnTo>
                    <a:lnTo>
                      <a:pt x="4" y="22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8" name="Freeform 50"/>
              <p:cNvSpPr>
                <a:spLocks noChangeAspect="1"/>
              </p:cNvSpPr>
              <p:nvPr/>
            </p:nvSpPr>
            <p:spPr bwMode="auto">
              <a:xfrm>
                <a:off x="1096524" y="3928620"/>
                <a:ext cx="601271" cy="395992"/>
              </a:xfrm>
              <a:custGeom>
                <a:avLst/>
                <a:gdLst/>
                <a:ahLst/>
                <a:cxnLst>
                  <a:cxn ang="0">
                    <a:pos x="410" y="250"/>
                  </a:cxn>
                  <a:cxn ang="0">
                    <a:pos x="428" y="210"/>
                  </a:cxn>
                  <a:cxn ang="0">
                    <a:pos x="410" y="202"/>
                  </a:cxn>
                  <a:cxn ang="0">
                    <a:pos x="368" y="216"/>
                  </a:cxn>
                  <a:cxn ang="0">
                    <a:pos x="346" y="254"/>
                  </a:cxn>
                  <a:cxn ang="0">
                    <a:pos x="298" y="264"/>
                  </a:cxn>
                  <a:cxn ang="0">
                    <a:pos x="266" y="238"/>
                  </a:cxn>
                  <a:cxn ang="0">
                    <a:pos x="256" y="194"/>
                  </a:cxn>
                  <a:cxn ang="0">
                    <a:pos x="276" y="128"/>
                  </a:cxn>
                  <a:cxn ang="0">
                    <a:pos x="242" y="110"/>
                  </a:cxn>
                  <a:cxn ang="0">
                    <a:pos x="230" y="60"/>
                  </a:cxn>
                  <a:cxn ang="0">
                    <a:pos x="208" y="56"/>
                  </a:cxn>
                  <a:cxn ang="0">
                    <a:pos x="188" y="68"/>
                  </a:cxn>
                  <a:cxn ang="0">
                    <a:pos x="174" y="38"/>
                  </a:cxn>
                  <a:cxn ang="0">
                    <a:pos x="158" y="18"/>
                  </a:cxn>
                  <a:cxn ang="0">
                    <a:pos x="128" y="28"/>
                  </a:cxn>
                  <a:cxn ang="0">
                    <a:pos x="20" y="0"/>
                  </a:cxn>
                  <a:cxn ang="0">
                    <a:pos x="2" y="14"/>
                  </a:cxn>
                  <a:cxn ang="0">
                    <a:pos x="4" y="48"/>
                  </a:cxn>
                  <a:cxn ang="0">
                    <a:pos x="20" y="70"/>
                  </a:cxn>
                  <a:cxn ang="0">
                    <a:pos x="14" y="84"/>
                  </a:cxn>
                  <a:cxn ang="0">
                    <a:pos x="12" y="102"/>
                  </a:cxn>
                  <a:cxn ang="0">
                    <a:pos x="34" y="118"/>
                  </a:cxn>
                  <a:cxn ang="0">
                    <a:pos x="40" y="134"/>
                  </a:cxn>
                  <a:cxn ang="0">
                    <a:pos x="38" y="148"/>
                  </a:cxn>
                  <a:cxn ang="0">
                    <a:pos x="54" y="164"/>
                  </a:cxn>
                  <a:cxn ang="0">
                    <a:pos x="74" y="176"/>
                  </a:cxn>
                  <a:cxn ang="0">
                    <a:pos x="66" y="152"/>
                  </a:cxn>
                  <a:cxn ang="0">
                    <a:pos x="56" y="128"/>
                  </a:cxn>
                  <a:cxn ang="0">
                    <a:pos x="46" y="104"/>
                  </a:cxn>
                  <a:cxn ang="0">
                    <a:pos x="36" y="62"/>
                  </a:cxn>
                  <a:cxn ang="0">
                    <a:pos x="30" y="56"/>
                  </a:cxn>
                  <a:cxn ang="0">
                    <a:pos x="30" y="24"/>
                  </a:cxn>
                  <a:cxn ang="0">
                    <a:pos x="42" y="24"/>
                  </a:cxn>
                  <a:cxn ang="0">
                    <a:pos x="54" y="56"/>
                  </a:cxn>
                  <a:cxn ang="0">
                    <a:pos x="50" y="72"/>
                  </a:cxn>
                  <a:cxn ang="0">
                    <a:pos x="62" y="84"/>
                  </a:cxn>
                  <a:cxn ang="0">
                    <a:pos x="76" y="106"/>
                  </a:cxn>
                  <a:cxn ang="0">
                    <a:pos x="88" y="116"/>
                  </a:cxn>
                  <a:cxn ang="0">
                    <a:pos x="92" y="140"/>
                  </a:cxn>
                  <a:cxn ang="0">
                    <a:pos x="122" y="178"/>
                  </a:cxn>
                  <a:cxn ang="0">
                    <a:pos x="132" y="210"/>
                  </a:cxn>
                  <a:cxn ang="0">
                    <a:pos x="128" y="226"/>
                  </a:cxn>
                  <a:cxn ang="0">
                    <a:pos x="130" y="244"/>
                  </a:cxn>
                  <a:cxn ang="0">
                    <a:pos x="154" y="266"/>
                  </a:cxn>
                  <a:cxn ang="0">
                    <a:pos x="178" y="274"/>
                  </a:cxn>
                  <a:cxn ang="0">
                    <a:pos x="218" y="300"/>
                  </a:cxn>
                  <a:cxn ang="0">
                    <a:pos x="260" y="314"/>
                  </a:cxn>
                  <a:cxn ang="0">
                    <a:pos x="286" y="302"/>
                  </a:cxn>
                  <a:cxn ang="0">
                    <a:pos x="314" y="320"/>
                  </a:cxn>
                  <a:cxn ang="0">
                    <a:pos x="330" y="318"/>
                  </a:cxn>
                  <a:cxn ang="0">
                    <a:pos x="352" y="302"/>
                  </a:cxn>
                  <a:cxn ang="0">
                    <a:pos x="348" y="284"/>
                  </a:cxn>
                  <a:cxn ang="0">
                    <a:pos x="384" y="278"/>
                  </a:cxn>
                  <a:cxn ang="0">
                    <a:pos x="392" y="268"/>
                  </a:cxn>
                  <a:cxn ang="0">
                    <a:pos x="400" y="274"/>
                  </a:cxn>
                </a:cxnLst>
                <a:rect l="0" t="0" r="r" b="b"/>
                <a:pathLst>
                  <a:path w="428" h="336">
                    <a:moveTo>
                      <a:pt x="400" y="274"/>
                    </a:moveTo>
                    <a:lnTo>
                      <a:pt x="402" y="270"/>
                    </a:lnTo>
                    <a:lnTo>
                      <a:pt x="408" y="260"/>
                    </a:lnTo>
                    <a:lnTo>
                      <a:pt x="410" y="250"/>
                    </a:lnTo>
                    <a:lnTo>
                      <a:pt x="416" y="234"/>
                    </a:lnTo>
                    <a:lnTo>
                      <a:pt x="418" y="228"/>
                    </a:lnTo>
                    <a:lnTo>
                      <a:pt x="422" y="222"/>
                    </a:lnTo>
                    <a:lnTo>
                      <a:pt x="428" y="210"/>
                    </a:lnTo>
                    <a:lnTo>
                      <a:pt x="426" y="206"/>
                    </a:lnTo>
                    <a:lnTo>
                      <a:pt x="426" y="202"/>
                    </a:lnTo>
                    <a:lnTo>
                      <a:pt x="422" y="202"/>
                    </a:lnTo>
                    <a:lnTo>
                      <a:pt x="410" y="202"/>
                    </a:lnTo>
                    <a:lnTo>
                      <a:pt x="394" y="204"/>
                    </a:lnTo>
                    <a:lnTo>
                      <a:pt x="378" y="208"/>
                    </a:lnTo>
                    <a:lnTo>
                      <a:pt x="372" y="212"/>
                    </a:lnTo>
                    <a:lnTo>
                      <a:pt x="368" y="216"/>
                    </a:lnTo>
                    <a:lnTo>
                      <a:pt x="364" y="224"/>
                    </a:lnTo>
                    <a:lnTo>
                      <a:pt x="358" y="234"/>
                    </a:lnTo>
                    <a:lnTo>
                      <a:pt x="352" y="246"/>
                    </a:lnTo>
                    <a:lnTo>
                      <a:pt x="346" y="254"/>
                    </a:lnTo>
                    <a:lnTo>
                      <a:pt x="334" y="256"/>
                    </a:lnTo>
                    <a:lnTo>
                      <a:pt x="320" y="260"/>
                    </a:lnTo>
                    <a:lnTo>
                      <a:pt x="310" y="262"/>
                    </a:lnTo>
                    <a:lnTo>
                      <a:pt x="298" y="264"/>
                    </a:lnTo>
                    <a:lnTo>
                      <a:pt x="288" y="262"/>
                    </a:lnTo>
                    <a:lnTo>
                      <a:pt x="280" y="256"/>
                    </a:lnTo>
                    <a:lnTo>
                      <a:pt x="272" y="248"/>
                    </a:lnTo>
                    <a:lnTo>
                      <a:pt x="266" y="238"/>
                    </a:lnTo>
                    <a:lnTo>
                      <a:pt x="260" y="226"/>
                    </a:lnTo>
                    <a:lnTo>
                      <a:pt x="258" y="216"/>
                    </a:lnTo>
                    <a:lnTo>
                      <a:pt x="256" y="204"/>
                    </a:lnTo>
                    <a:lnTo>
                      <a:pt x="256" y="194"/>
                    </a:lnTo>
                    <a:lnTo>
                      <a:pt x="258" y="178"/>
                    </a:lnTo>
                    <a:lnTo>
                      <a:pt x="260" y="160"/>
                    </a:lnTo>
                    <a:lnTo>
                      <a:pt x="268" y="142"/>
                    </a:lnTo>
                    <a:lnTo>
                      <a:pt x="276" y="128"/>
                    </a:lnTo>
                    <a:lnTo>
                      <a:pt x="256" y="122"/>
                    </a:lnTo>
                    <a:lnTo>
                      <a:pt x="248" y="116"/>
                    </a:lnTo>
                    <a:lnTo>
                      <a:pt x="244" y="114"/>
                    </a:lnTo>
                    <a:lnTo>
                      <a:pt x="242" y="110"/>
                    </a:lnTo>
                    <a:lnTo>
                      <a:pt x="240" y="94"/>
                    </a:lnTo>
                    <a:lnTo>
                      <a:pt x="236" y="76"/>
                    </a:lnTo>
                    <a:lnTo>
                      <a:pt x="232" y="68"/>
                    </a:lnTo>
                    <a:lnTo>
                      <a:pt x="230" y="60"/>
                    </a:lnTo>
                    <a:lnTo>
                      <a:pt x="224" y="56"/>
                    </a:lnTo>
                    <a:lnTo>
                      <a:pt x="216" y="56"/>
                    </a:lnTo>
                    <a:lnTo>
                      <a:pt x="210" y="56"/>
                    </a:lnTo>
                    <a:lnTo>
                      <a:pt x="208" y="56"/>
                    </a:lnTo>
                    <a:lnTo>
                      <a:pt x="204" y="62"/>
                    </a:lnTo>
                    <a:lnTo>
                      <a:pt x="198" y="66"/>
                    </a:lnTo>
                    <a:lnTo>
                      <a:pt x="192" y="68"/>
                    </a:lnTo>
                    <a:lnTo>
                      <a:pt x="188" y="68"/>
                    </a:lnTo>
                    <a:lnTo>
                      <a:pt x="184" y="66"/>
                    </a:lnTo>
                    <a:lnTo>
                      <a:pt x="180" y="62"/>
                    </a:lnTo>
                    <a:lnTo>
                      <a:pt x="178" y="58"/>
                    </a:lnTo>
                    <a:lnTo>
                      <a:pt x="174" y="38"/>
                    </a:lnTo>
                    <a:lnTo>
                      <a:pt x="170" y="34"/>
                    </a:lnTo>
                    <a:lnTo>
                      <a:pt x="166" y="30"/>
                    </a:lnTo>
                    <a:lnTo>
                      <a:pt x="160" y="26"/>
                    </a:lnTo>
                    <a:lnTo>
                      <a:pt x="158" y="18"/>
                    </a:lnTo>
                    <a:lnTo>
                      <a:pt x="152" y="20"/>
                    </a:lnTo>
                    <a:lnTo>
                      <a:pt x="148" y="20"/>
                    </a:lnTo>
                    <a:lnTo>
                      <a:pt x="132" y="18"/>
                    </a:lnTo>
                    <a:lnTo>
                      <a:pt x="128" y="28"/>
                    </a:lnTo>
                    <a:lnTo>
                      <a:pt x="78" y="28"/>
                    </a:lnTo>
                    <a:lnTo>
                      <a:pt x="34" y="2"/>
                    </a:lnTo>
                    <a:lnTo>
                      <a:pt x="28" y="0"/>
                    </a:lnTo>
                    <a:lnTo>
                      <a:pt x="20" y="0"/>
                    </a:lnTo>
                    <a:lnTo>
                      <a:pt x="0" y="2"/>
                    </a:lnTo>
                    <a:lnTo>
                      <a:pt x="0" y="8"/>
                    </a:lnTo>
                    <a:lnTo>
                      <a:pt x="0" y="12"/>
                    </a:lnTo>
                    <a:lnTo>
                      <a:pt x="2" y="14"/>
                    </a:lnTo>
                    <a:lnTo>
                      <a:pt x="2" y="36"/>
                    </a:lnTo>
                    <a:lnTo>
                      <a:pt x="2" y="38"/>
                    </a:lnTo>
                    <a:lnTo>
                      <a:pt x="2" y="42"/>
                    </a:lnTo>
                    <a:lnTo>
                      <a:pt x="4" y="48"/>
                    </a:lnTo>
                    <a:lnTo>
                      <a:pt x="4" y="54"/>
                    </a:lnTo>
                    <a:lnTo>
                      <a:pt x="8" y="56"/>
                    </a:lnTo>
                    <a:lnTo>
                      <a:pt x="12" y="62"/>
                    </a:lnTo>
                    <a:lnTo>
                      <a:pt x="20" y="70"/>
                    </a:lnTo>
                    <a:lnTo>
                      <a:pt x="22" y="74"/>
                    </a:lnTo>
                    <a:lnTo>
                      <a:pt x="22" y="78"/>
                    </a:lnTo>
                    <a:lnTo>
                      <a:pt x="20" y="82"/>
                    </a:lnTo>
                    <a:lnTo>
                      <a:pt x="14" y="84"/>
                    </a:lnTo>
                    <a:lnTo>
                      <a:pt x="12" y="88"/>
                    </a:lnTo>
                    <a:lnTo>
                      <a:pt x="8" y="92"/>
                    </a:lnTo>
                    <a:lnTo>
                      <a:pt x="8" y="96"/>
                    </a:lnTo>
                    <a:lnTo>
                      <a:pt x="12" y="102"/>
                    </a:lnTo>
                    <a:lnTo>
                      <a:pt x="16" y="108"/>
                    </a:lnTo>
                    <a:lnTo>
                      <a:pt x="24" y="110"/>
                    </a:lnTo>
                    <a:lnTo>
                      <a:pt x="32" y="112"/>
                    </a:lnTo>
                    <a:lnTo>
                      <a:pt x="34" y="118"/>
                    </a:lnTo>
                    <a:lnTo>
                      <a:pt x="38" y="120"/>
                    </a:lnTo>
                    <a:lnTo>
                      <a:pt x="40" y="124"/>
                    </a:lnTo>
                    <a:lnTo>
                      <a:pt x="40" y="130"/>
                    </a:lnTo>
                    <a:lnTo>
                      <a:pt x="40" y="134"/>
                    </a:lnTo>
                    <a:lnTo>
                      <a:pt x="40" y="138"/>
                    </a:lnTo>
                    <a:lnTo>
                      <a:pt x="38" y="140"/>
                    </a:lnTo>
                    <a:lnTo>
                      <a:pt x="38" y="144"/>
                    </a:lnTo>
                    <a:lnTo>
                      <a:pt x="38" y="148"/>
                    </a:lnTo>
                    <a:lnTo>
                      <a:pt x="40" y="150"/>
                    </a:lnTo>
                    <a:lnTo>
                      <a:pt x="42" y="154"/>
                    </a:lnTo>
                    <a:lnTo>
                      <a:pt x="48" y="158"/>
                    </a:lnTo>
                    <a:lnTo>
                      <a:pt x="54" y="164"/>
                    </a:lnTo>
                    <a:lnTo>
                      <a:pt x="66" y="182"/>
                    </a:lnTo>
                    <a:lnTo>
                      <a:pt x="68" y="180"/>
                    </a:lnTo>
                    <a:lnTo>
                      <a:pt x="72" y="178"/>
                    </a:lnTo>
                    <a:lnTo>
                      <a:pt x="74" y="176"/>
                    </a:lnTo>
                    <a:lnTo>
                      <a:pt x="76" y="172"/>
                    </a:lnTo>
                    <a:lnTo>
                      <a:pt x="74" y="164"/>
                    </a:lnTo>
                    <a:lnTo>
                      <a:pt x="68" y="158"/>
                    </a:lnTo>
                    <a:lnTo>
                      <a:pt x="66" y="152"/>
                    </a:lnTo>
                    <a:lnTo>
                      <a:pt x="60" y="146"/>
                    </a:lnTo>
                    <a:lnTo>
                      <a:pt x="62" y="142"/>
                    </a:lnTo>
                    <a:lnTo>
                      <a:pt x="60" y="138"/>
                    </a:lnTo>
                    <a:lnTo>
                      <a:pt x="56" y="128"/>
                    </a:lnTo>
                    <a:lnTo>
                      <a:pt x="54" y="116"/>
                    </a:lnTo>
                    <a:lnTo>
                      <a:pt x="50" y="108"/>
                    </a:lnTo>
                    <a:lnTo>
                      <a:pt x="48" y="106"/>
                    </a:lnTo>
                    <a:lnTo>
                      <a:pt x="46" y="104"/>
                    </a:lnTo>
                    <a:lnTo>
                      <a:pt x="46" y="102"/>
                    </a:lnTo>
                    <a:lnTo>
                      <a:pt x="44" y="90"/>
                    </a:lnTo>
                    <a:lnTo>
                      <a:pt x="42" y="82"/>
                    </a:lnTo>
                    <a:lnTo>
                      <a:pt x="36" y="62"/>
                    </a:lnTo>
                    <a:lnTo>
                      <a:pt x="34" y="60"/>
                    </a:lnTo>
                    <a:lnTo>
                      <a:pt x="34" y="58"/>
                    </a:lnTo>
                    <a:lnTo>
                      <a:pt x="32" y="56"/>
                    </a:lnTo>
                    <a:lnTo>
                      <a:pt x="30" y="56"/>
                    </a:lnTo>
                    <a:lnTo>
                      <a:pt x="28" y="56"/>
                    </a:lnTo>
                    <a:lnTo>
                      <a:pt x="26" y="48"/>
                    </a:lnTo>
                    <a:lnTo>
                      <a:pt x="28" y="30"/>
                    </a:lnTo>
                    <a:lnTo>
                      <a:pt x="30" y="24"/>
                    </a:lnTo>
                    <a:lnTo>
                      <a:pt x="30" y="22"/>
                    </a:lnTo>
                    <a:lnTo>
                      <a:pt x="32" y="20"/>
                    </a:lnTo>
                    <a:lnTo>
                      <a:pt x="38" y="22"/>
                    </a:lnTo>
                    <a:lnTo>
                      <a:pt x="42" y="24"/>
                    </a:lnTo>
                    <a:lnTo>
                      <a:pt x="46" y="28"/>
                    </a:lnTo>
                    <a:lnTo>
                      <a:pt x="48" y="32"/>
                    </a:lnTo>
                    <a:lnTo>
                      <a:pt x="52" y="44"/>
                    </a:lnTo>
                    <a:lnTo>
                      <a:pt x="54" y="56"/>
                    </a:lnTo>
                    <a:lnTo>
                      <a:pt x="54" y="58"/>
                    </a:lnTo>
                    <a:lnTo>
                      <a:pt x="52" y="64"/>
                    </a:lnTo>
                    <a:lnTo>
                      <a:pt x="50" y="70"/>
                    </a:lnTo>
                    <a:lnTo>
                      <a:pt x="50" y="72"/>
                    </a:lnTo>
                    <a:lnTo>
                      <a:pt x="52" y="74"/>
                    </a:lnTo>
                    <a:lnTo>
                      <a:pt x="58" y="74"/>
                    </a:lnTo>
                    <a:lnTo>
                      <a:pt x="58" y="80"/>
                    </a:lnTo>
                    <a:lnTo>
                      <a:pt x="62" y="84"/>
                    </a:lnTo>
                    <a:lnTo>
                      <a:pt x="66" y="88"/>
                    </a:lnTo>
                    <a:lnTo>
                      <a:pt x="68" y="88"/>
                    </a:lnTo>
                    <a:lnTo>
                      <a:pt x="72" y="100"/>
                    </a:lnTo>
                    <a:lnTo>
                      <a:pt x="76" y="106"/>
                    </a:lnTo>
                    <a:lnTo>
                      <a:pt x="80" y="110"/>
                    </a:lnTo>
                    <a:lnTo>
                      <a:pt x="84" y="112"/>
                    </a:lnTo>
                    <a:lnTo>
                      <a:pt x="86" y="114"/>
                    </a:lnTo>
                    <a:lnTo>
                      <a:pt x="88" y="116"/>
                    </a:lnTo>
                    <a:lnTo>
                      <a:pt x="86" y="120"/>
                    </a:lnTo>
                    <a:lnTo>
                      <a:pt x="84" y="126"/>
                    </a:lnTo>
                    <a:lnTo>
                      <a:pt x="86" y="132"/>
                    </a:lnTo>
                    <a:lnTo>
                      <a:pt x="92" y="140"/>
                    </a:lnTo>
                    <a:lnTo>
                      <a:pt x="104" y="154"/>
                    </a:lnTo>
                    <a:lnTo>
                      <a:pt x="112" y="162"/>
                    </a:lnTo>
                    <a:lnTo>
                      <a:pt x="118" y="168"/>
                    </a:lnTo>
                    <a:lnTo>
                      <a:pt x="122" y="178"/>
                    </a:lnTo>
                    <a:lnTo>
                      <a:pt x="130" y="188"/>
                    </a:lnTo>
                    <a:lnTo>
                      <a:pt x="130" y="202"/>
                    </a:lnTo>
                    <a:lnTo>
                      <a:pt x="132" y="206"/>
                    </a:lnTo>
                    <a:lnTo>
                      <a:pt x="132" y="210"/>
                    </a:lnTo>
                    <a:lnTo>
                      <a:pt x="132" y="216"/>
                    </a:lnTo>
                    <a:lnTo>
                      <a:pt x="130" y="220"/>
                    </a:lnTo>
                    <a:lnTo>
                      <a:pt x="128" y="220"/>
                    </a:lnTo>
                    <a:lnTo>
                      <a:pt x="128" y="226"/>
                    </a:lnTo>
                    <a:lnTo>
                      <a:pt x="124" y="226"/>
                    </a:lnTo>
                    <a:lnTo>
                      <a:pt x="124" y="232"/>
                    </a:lnTo>
                    <a:lnTo>
                      <a:pt x="126" y="238"/>
                    </a:lnTo>
                    <a:lnTo>
                      <a:pt x="130" y="244"/>
                    </a:lnTo>
                    <a:lnTo>
                      <a:pt x="138" y="250"/>
                    </a:lnTo>
                    <a:lnTo>
                      <a:pt x="148" y="256"/>
                    </a:lnTo>
                    <a:lnTo>
                      <a:pt x="150" y="262"/>
                    </a:lnTo>
                    <a:lnTo>
                      <a:pt x="154" y="266"/>
                    </a:lnTo>
                    <a:lnTo>
                      <a:pt x="158" y="270"/>
                    </a:lnTo>
                    <a:lnTo>
                      <a:pt x="166" y="270"/>
                    </a:lnTo>
                    <a:lnTo>
                      <a:pt x="174" y="272"/>
                    </a:lnTo>
                    <a:lnTo>
                      <a:pt x="178" y="274"/>
                    </a:lnTo>
                    <a:lnTo>
                      <a:pt x="190" y="284"/>
                    </a:lnTo>
                    <a:lnTo>
                      <a:pt x="198" y="290"/>
                    </a:lnTo>
                    <a:lnTo>
                      <a:pt x="204" y="294"/>
                    </a:lnTo>
                    <a:lnTo>
                      <a:pt x="218" y="300"/>
                    </a:lnTo>
                    <a:lnTo>
                      <a:pt x="232" y="306"/>
                    </a:lnTo>
                    <a:lnTo>
                      <a:pt x="246" y="312"/>
                    </a:lnTo>
                    <a:lnTo>
                      <a:pt x="254" y="314"/>
                    </a:lnTo>
                    <a:lnTo>
                      <a:pt x="260" y="314"/>
                    </a:lnTo>
                    <a:lnTo>
                      <a:pt x="266" y="314"/>
                    </a:lnTo>
                    <a:lnTo>
                      <a:pt x="274" y="308"/>
                    </a:lnTo>
                    <a:lnTo>
                      <a:pt x="280" y="304"/>
                    </a:lnTo>
                    <a:lnTo>
                      <a:pt x="286" y="302"/>
                    </a:lnTo>
                    <a:lnTo>
                      <a:pt x="290" y="304"/>
                    </a:lnTo>
                    <a:lnTo>
                      <a:pt x="296" y="306"/>
                    </a:lnTo>
                    <a:lnTo>
                      <a:pt x="306" y="312"/>
                    </a:lnTo>
                    <a:lnTo>
                      <a:pt x="314" y="320"/>
                    </a:lnTo>
                    <a:lnTo>
                      <a:pt x="318" y="328"/>
                    </a:lnTo>
                    <a:lnTo>
                      <a:pt x="324" y="336"/>
                    </a:lnTo>
                    <a:lnTo>
                      <a:pt x="328" y="324"/>
                    </a:lnTo>
                    <a:lnTo>
                      <a:pt x="330" y="318"/>
                    </a:lnTo>
                    <a:lnTo>
                      <a:pt x="334" y="312"/>
                    </a:lnTo>
                    <a:lnTo>
                      <a:pt x="354" y="312"/>
                    </a:lnTo>
                    <a:lnTo>
                      <a:pt x="354" y="306"/>
                    </a:lnTo>
                    <a:lnTo>
                      <a:pt x="352" y="302"/>
                    </a:lnTo>
                    <a:lnTo>
                      <a:pt x="348" y="300"/>
                    </a:lnTo>
                    <a:lnTo>
                      <a:pt x="346" y="296"/>
                    </a:lnTo>
                    <a:lnTo>
                      <a:pt x="344" y="292"/>
                    </a:lnTo>
                    <a:lnTo>
                      <a:pt x="348" y="284"/>
                    </a:lnTo>
                    <a:lnTo>
                      <a:pt x="352" y="280"/>
                    </a:lnTo>
                    <a:lnTo>
                      <a:pt x="356" y="278"/>
                    </a:lnTo>
                    <a:lnTo>
                      <a:pt x="380" y="278"/>
                    </a:lnTo>
                    <a:lnTo>
                      <a:pt x="384" y="278"/>
                    </a:lnTo>
                    <a:lnTo>
                      <a:pt x="386" y="276"/>
                    </a:lnTo>
                    <a:lnTo>
                      <a:pt x="388" y="274"/>
                    </a:lnTo>
                    <a:lnTo>
                      <a:pt x="390" y="270"/>
                    </a:lnTo>
                    <a:lnTo>
                      <a:pt x="392" y="268"/>
                    </a:lnTo>
                    <a:lnTo>
                      <a:pt x="396" y="268"/>
                    </a:lnTo>
                    <a:lnTo>
                      <a:pt x="398" y="270"/>
                    </a:lnTo>
                    <a:lnTo>
                      <a:pt x="398" y="274"/>
                    </a:lnTo>
                    <a:lnTo>
                      <a:pt x="400" y="27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39" name="Freeform 51"/>
              <p:cNvSpPr>
                <a:spLocks noChangeAspect="1"/>
              </p:cNvSpPr>
              <p:nvPr/>
            </p:nvSpPr>
            <p:spPr bwMode="auto">
              <a:xfrm>
                <a:off x="1743735" y="4136159"/>
                <a:ext cx="228349" cy="75143"/>
              </a:xfrm>
              <a:custGeom>
                <a:avLst/>
                <a:gdLst/>
                <a:ahLst/>
                <a:cxnLst>
                  <a:cxn ang="0">
                    <a:pos x="44" y="18"/>
                  </a:cxn>
                  <a:cxn ang="0">
                    <a:pos x="44" y="16"/>
                  </a:cxn>
                  <a:cxn ang="0">
                    <a:pos x="48" y="16"/>
                  </a:cxn>
                  <a:cxn ang="0">
                    <a:pos x="48" y="12"/>
                  </a:cxn>
                  <a:cxn ang="0">
                    <a:pos x="44" y="10"/>
                  </a:cxn>
                  <a:cxn ang="0">
                    <a:pos x="44" y="12"/>
                  </a:cxn>
                  <a:cxn ang="0">
                    <a:pos x="36" y="12"/>
                  </a:cxn>
                  <a:cxn ang="0">
                    <a:pos x="30" y="16"/>
                  </a:cxn>
                  <a:cxn ang="0">
                    <a:pos x="22" y="18"/>
                  </a:cxn>
                  <a:cxn ang="0">
                    <a:pos x="16" y="20"/>
                  </a:cxn>
                  <a:cxn ang="0">
                    <a:pos x="14" y="22"/>
                  </a:cxn>
                  <a:cxn ang="0">
                    <a:pos x="12" y="24"/>
                  </a:cxn>
                  <a:cxn ang="0">
                    <a:pos x="6" y="26"/>
                  </a:cxn>
                  <a:cxn ang="0">
                    <a:pos x="0" y="26"/>
                  </a:cxn>
                  <a:cxn ang="0">
                    <a:pos x="4" y="24"/>
                  </a:cxn>
                  <a:cxn ang="0">
                    <a:pos x="6" y="24"/>
                  </a:cxn>
                  <a:cxn ang="0">
                    <a:pos x="8" y="18"/>
                  </a:cxn>
                  <a:cxn ang="0">
                    <a:pos x="12" y="14"/>
                  </a:cxn>
                  <a:cxn ang="0">
                    <a:pos x="18" y="10"/>
                  </a:cxn>
                  <a:cxn ang="0">
                    <a:pos x="24" y="6"/>
                  </a:cxn>
                  <a:cxn ang="0">
                    <a:pos x="42" y="0"/>
                  </a:cxn>
                  <a:cxn ang="0">
                    <a:pos x="56" y="0"/>
                  </a:cxn>
                  <a:cxn ang="0">
                    <a:pos x="60" y="0"/>
                  </a:cxn>
                  <a:cxn ang="0">
                    <a:pos x="62" y="2"/>
                  </a:cxn>
                  <a:cxn ang="0">
                    <a:pos x="66" y="4"/>
                  </a:cxn>
                  <a:cxn ang="0">
                    <a:pos x="78" y="8"/>
                  </a:cxn>
                  <a:cxn ang="0">
                    <a:pos x="86" y="16"/>
                  </a:cxn>
                  <a:cxn ang="0">
                    <a:pos x="90" y="16"/>
                  </a:cxn>
                  <a:cxn ang="0">
                    <a:pos x="96" y="16"/>
                  </a:cxn>
                  <a:cxn ang="0">
                    <a:pos x="102" y="18"/>
                  </a:cxn>
                  <a:cxn ang="0">
                    <a:pos x="114" y="24"/>
                  </a:cxn>
                  <a:cxn ang="0">
                    <a:pos x="122" y="32"/>
                  </a:cxn>
                  <a:cxn ang="0">
                    <a:pos x="130" y="38"/>
                  </a:cxn>
                  <a:cxn ang="0">
                    <a:pos x="142" y="42"/>
                  </a:cxn>
                  <a:cxn ang="0">
                    <a:pos x="140" y="44"/>
                  </a:cxn>
                  <a:cxn ang="0">
                    <a:pos x="154" y="48"/>
                  </a:cxn>
                  <a:cxn ang="0">
                    <a:pos x="160" y="52"/>
                  </a:cxn>
                  <a:cxn ang="0">
                    <a:pos x="162" y="58"/>
                  </a:cxn>
                  <a:cxn ang="0">
                    <a:pos x="154" y="60"/>
                  </a:cxn>
                  <a:cxn ang="0">
                    <a:pos x="152" y="60"/>
                  </a:cxn>
                  <a:cxn ang="0">
                    <a:pos x="152" y="62"/>
                  </a:cxn>
                  <a:cxn ang="0">
                    <a:pos x="142" y="64"/>
                  </a:cxn>
                  <a:cxn ang="0">
                    <a:pos x="130" y="64"/>
                  </a:cxn>
                  <a:cxn ang="0">
                    <a:pos x="108" y="62"/>
                  </a:cxn>
                  <a:cxn ang="0">
                    <a:pos x="112" y="58"/>
                  </a:cxn>
                  <a:cxn ang="0">
                    <a:pos x="118" y="52"/>
                  </a:cxn>
                  <a:cxn ang="0">
                    <a:pos x="118" y="48"/>
                  </a:cxn>
                  <a:cxn ang="0">
                    <a:pos x="110" y="48"/>
                  </a:cxn>
                  <a:cxn ang="0">
                    <a:pos x="102" y="46"/>
                  </a:cxn>
                  <a:cxn ang="0">
                    <a:pos x="100" y="44"/>
                  </a:cxn>
                  <a:cxn ang="0">
                    <a:pos x="98" y="38"/>
                  </a:cxn>
                  <a:cxn ang="0">
                    <a:pos x="98" y="34"/>
                  </a:cxn>
                  <a:cxn ang="0">
                    <a:pos x="96" y="32"/>
                  </a:cxn>
                  <a:cxn ang="0">
                    <a:pos x="92" y="30"/>
                  </a:cxn>
                  <a:cxn ang="0">
                    <a:pos x="78" y="30"/>
                  </a:cxn>
                  <a:cxn ang="0">
                    <a:pos x="76" y="28"/>
                  </a:cxn>
                  <a:cxn ang="0">
                    <a:pos x="72" y="26"/>
                  </a:cxn>
                  <a:cxn ang="0">
                    <a:pos x="60" y="22"/>
                  </a:cxn>
                  <a:cxn ang="0">
                    <a:pos x="50" y="18"/>
                  </a:cxn>
                  <a:cxn ang="0">
                    <a:pos x="44" y="16"/>
                  </a:cxn>
                  <a:cxn ang="0">
                    <a:pos x="44" y="18"/>
                  </a:cxn>
                </a:cxnLst>
                <a:rect l="0" t="0" r="r" b="b"/>
                <a:pathLst>
                  <a:path w="162" h="64">
                    <a:moveTo>
                      <a:pt x="44" y="18"/>
                    </a:moveTo>
                    <a:lnTo>
                      <a:pt x="44" y="16"/>
                    </a:lnTo>
                    <a:lnTo>
                      <a:pt x="48" y="16"/>
                    </a:lnTo>
                    <a:lnTo>
                      <a:pt x="48" y="12"/>
                    </a:lnTo>
                    <a:lnTo>
                      <a:pt x="44" y="10"/>
                    </a:lnTo>
                    <a:lnTo>
                      <a:pt x="44" y="12"/>
                    </a:lnTo>
                    <a:lnTo>
                      <a:pt x="36" y="12"/>
                    </a:lnTo>
                    <a:lnTo>
                      <a:pt x="30" y="16"/>
                    </a:lnTo>
                    <a:lnTo>
                      <a:pt x="22" y="18"/>
                    </a:lnTo>
                    <a:lnTo>
                      <a:pt x="16" y="20"/>
                    </a:lnTo>
                    <a:lnTo>
                      <a:pt x="14" y="22"/>
                    </a:lnTo>
                    <a:lnTo>
                      <a:pt x="12" y="24"/>
                    </a:lnTo>
                    <a:lnTo>
                      <a:pt x="6" y="26"/>
                    </a:lnTo>
                    <a:lnTo>
                      <a:pt x="0" y="26"/>
                    </a:lnTo>
                    <a:lnTo>
                      <a:pt x="4" y="24"/>
                    </a:lnTo>
                    <a:lnTo>
                      <a:pt x="6" y="24"/>
                    </a:lnTo>
                    <a:lnTo>
                      <a:pt x="8" y="18"/>
                    </a:lnTo>
                    <a:lnTo>
                      <a:pt x="12" y="14"/>
                    </a:lnTo>
                    <a:lnTo>
                      <a:pt x="18" y="10"/>
                    </a:lnTo>
                    <a:lnTo>
                      <a:pt x="24" y="6"/>
                    </a:lnTo>
                    <a:lnTo>
                      <a:pt x="42" y="0"/>
                    </a:lnTo>
                    <a:lnTo>
                      <a:pt x="56" y="0"/>
                    </a:lnTo>
                    <a:lnTo>
                      <a:pt x="60" y="0"/>
                    </a:lnTo>
                    <a:lnTo>
                      <a:pt x="62" y="2"/>
                    </a:lnTo>
                    <a:lnTo>
                      <a:pt x="66" y="4"/>
                    </a:lnTo>
                    <a:lnTo>
                      <a:pt x="78" y="8"/>
                    </a:lnTo>
                    <a:lnTo>
                      <a:pt x="86" y="16"/>
                    </a:lnTo>
                    <a:lnTo>
                      <a:pt x="90" y="16"/>
                    </a:lnTo>
                    <a:lnTo>
                      <a:pt x="96" y="16"/>
                    </a:lnTo>
                    <a:lnTo>
                      <a:pt x="102" y="18"/>
                    </a:lnTo>
                    <a:lnTo>
                      <a:pt x="114" y="24"/>
                    </a:lnTo>
                    <a:lnTo>
                      <a:pt x="122" y="32"/>
                    </a:lnTo>
                    <a:lnTo>
                      <a:pt x="130" y="38"/>
                    </a:lnTo>
                    <a:lnTo>
                      <a:pt x="142" y="42"/>
                    </a:lnTo>
                    <a:lnTo>
                      <a:pt x="140" y="44"/>
                    </a:lnTo>
                    <a:lnTo>
                      <a:pt x="154" y="48"/>
                    </a:lnTo>
                    <a:lnTo>
                      <a:pt x="160" y="52"/>
                    </a:lnTo>
                    <a:lnTo>
                      <a:pt x="162" y="58"/>
                    </a:lnTo>
                    <a:lnTo>
                      <a:pt x="154" y="60"/>
                    </a:lnTo>
                    <a:lnTo>
                      <a:pt x="152" y="60"/>
                    </a:lnTo>
                    <a:lnTo>
                      <a:pt x="152" y="62"/>
                    </a:lnTo>
                    <a:lnTo>
                      <a:pt x="142" y="64"/>
                    </a:lnTo>
                    <a:lnTo>
                      <a:pt x="130" y="64"/>
                    </a:lnTo>
                    <a:lnTo>
                      <a:pt x="108" y="62"/>
                    </a:lnTo>
                    <a:lnTo>
                      <a:pt x="112" y="58"/>
                    </a:lnTo>
                    <a:lnTo>
                      <a:pt x="118" y="52"/>
                    </a:lnTo>
                    <a:lnTo>
                      <a:pt x="118" y="48"/>
                    </a:lnTo>
                    <a:lnTo>
                      <a:pt x="110" y="48"/>
                    </a:lnTo>
                    <a:lnTo>
                      <a:pt x="102" y="46"/>
                    </a:lnTo>
                    <a:lnTo>
                      <a:pt x="100" y="44"/>
                    </a:lnTo>
                    <a:lnTo>
                      <a:pt x="98" y="38"/>
                    </a:lnTo>
                    <a:lnTo>
                      <a:pt x="98" y="34"/>
                    </a:lnTo>
                    <a:lnTo>
                      <a:pt x="96" y="32"/>
                    </a:lnTo>
                    <a:lnTo>
                      <a:pt x="92" y="30"/>
                    </a:lnTo>
                    <a:lnTo>
                      <a:pt x="78" y="30"/>
                    </a:lnTo>
                    <a:lnTo>
                      <a:pt x="76" y="28"/>
                    </a:lnTo>
                    <a:lnTo>
                      <a:pt x="72" y="26"/>
                    </a:lnTo>
                    <a:lnTo>
                      <a:pt x="60" y="22"/>
                    </a:lnTo>
                    <a:lnTo>
                      <a:pt x="50" y="18"/>
                    </a:lnTo>
                    <a:lnTo>
                      <a:pt x="44" y="16"/>
                    </a:lnTo>
                    <a:lnTo>
                      <a:pt x="44" y="1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0" name="Freeform 52"/>
              <p:cNvSpPr>
                <a:spLocks noChangeAspect="1"/>
              </p:cNvSpPr>
              <p:nvPr/>
            </p:nvSpPr>
            <p:spPr bwMode="auto">
              <a:xfrm>
                <a:off x="1877500" y="4237541"/>
                <a:ext cx="43238" cy="16698"/>
              </a:xfrm>
              <a:custGeom>
                <a:avLst/>
                <a:gdLst/>
                <a:ahLst/>
                <a:cxnLst>
                  <a:cxn ang="0">
                    <a:pos x="0" y="8"/>
                  </a:cxn>
                  <a:cxn ang="0">
                    <a:pos x="0" y="4"/>
                  </a:cxn>
                  <a:cxn ang="0">
                    <a:pos x="2" y="2"/>
                  </a:cxn>
                  <a:cxn ang="0">
                    <a:pos x="6" y="0"/>
                  </a:cxn>
                  <a:cxn ang="0">
                    <a:pos x="12" y="0"/>
                  </a:cxn>
                  <a:cxn ang="0">
                    <a:pos x="20" y="4"/>
                  </a:cxn>
                  <a:cxn ang="0">
                    <a:pos x="30" y="12"/>
                  </a:cxn>
                  <a:cxn ang="0">
                    <a:pos x="26" y="12"/>
                  </a:cxn>
                  <a:cxn ang="0">
                    <a:pos x="20" y="14"/>
                  </a:cxn>
                  <a:cxn ang="0">
                    <a:pos x="8" y="12"/>
                  </a:cxn>
                  <a:cxn ang="0">
                    <a:pos x="4" y="10"/>
                  </a:cxn>
                  <a:cxn ang="0">
                    <a:pos x="0" y="6"/>
                  </a:cxn>
                  <a:cxn ang="0">
                    <a:pos x="0" y="8"/>
                  </a:cxn>
                </a:cxnLst>
                <a:rect l="0" t="0" r="r" b="b"/>
                <a:pathLst>
                  <a:path w="30" h="14">
                    <a:moveTo>
                      <a:pt x="0" y="8"/>
                    </a:moveTo>
                    <a:lnTo>
                      <a:pt x="0" y="4"/>
                    </a:lnTo>
                    <a:lnTo>
                      <a:pt x="2" y="2"/>
                    </a:lnTo>
                    <a:lnTo>
                      <a:pt x="6" y="0"/>
                    </a:lnTo>
                    <a:lnTo>
                      <a:pt x="12" y="0"/>
                    </a:lnTo>
                    <a:lnTo>
                      <a:pt x="20" y="4"/>
                    </a:lnTo>
                    <a:lnTo>
                      <a:pt x="30" y="12"/>
                    </a:lnTo>
                    <a:lnTo>
                      <a:pt x="26" y="12"/>
                    </a:lnTo>
                    <a:lnTo>
                      <a:pt x="20" y="14"/>
                    </a:lnTo>
                    <a:lnTo>
                      <a:pt x="8" y="12"/>
                    </a:lnTo>
                    <a:lnTo>
                      <a:pt x="4" y="10"/>
                    </a:lnTo>
                    <a:lnTo>
                      <a:pt x="0" y="6"/>
                    </a:lnTo>
                    <a:lnTo>
                      <a:pt x="0"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1" name="Freeform 53"/>
              <p:cNvSpPr>
                <a:spLocks noChangeAspect="1"/>
              </p:cNvSpPr>
              <p:nvPr/>
            </p:nvSpPr>
            <p:spPr bwMode="auto">
              <a:xfrm>
                <a:off x="2118010" y="4237542"/>
                <a:ext cx="36481" cy="14313"/>
              </a:xfrm>
              <a:custGeom>
                <a:avLst/>
                <a:gdLst/>
                <a:ahLst/>
                <a:cxnLst>
                  <a:cxn ang="0">
                    <a:pos x="10" y="2"/>
                  </a:cxn>
                  <a:cxn ang="0">
                    <a:pos x="24" y="0"/>
                  </a:cxn>
                  <a:cxn ang="0">
                    <a:pos x="24" y="2"/>
                  </a:cxn>
                  <a:cxn ang="0">
                    <a:pos x="26" y="6"/>
                  </a:cxn>
                  <a:cxn ang="0">
                    <a:pos x="24" y="8"/>
                  </a:cxn>
                  <a:cxn ang="0">
                    <a:pos x="22" y="10"/>
                  </a:cxn>
                  <a:cxn ang="0">
                    <a:pos x="12" y="12"/>
                  </a:cxn>
                  <a:cxn ang="0">
                    <a:pos x="4" y="10"/>
                  </a:cxn>
                  <a:cxn ang="0">
                    <a:pos x="0" y="8"/>
                  </a:cxn>
                  <a:cxn ang="0">
                    <a:pos x="0" y="2"/>
                  </a:cxn>
                  <a:cxn ang="0">
                    <a:pos x="10" y="2"/>
                  </a:cxn>
                </a:cxnLst>
                <a:rect l="0" t="0" r="r" b="b"/>
                <a:pathLst>
                  <a:path w="26" h="12">
                    <a:moveTo>
                      <a:pt x="10" y="2"/>
                    </a:moveTo>
                    <a:lnTo>
                      <a:pt x="24" y="0"/>
                    </a:lnTo>
                    <a:lnTo>
                      <a:pt x="24" y="2"/>
                    </a:lnTo>
                    <a:lnTo>
                      <a:pt x="26" y="6"/>
                    </a:lnTo>
                    <a:lnTo>
                      <a:pt x="24" y="8"/>
                    </a:lnTo>
                    <a:lnTo>
                      <a:pt x="22" y="10"/>
                    </a:lnTo>
                    <a:lnTo>
                      <a:pt x="12" y="12"/>
                    </a:lnTo>
                    <a:lnTo>
                      <a:pt x="4" y="10"/>
                    </a:lnTo>
                    <a:lnTo>
                      <a:pt x="0" y="8"/>
                    </a:lnTo>
                    <a:lnTo>
                      <a:pt x="0" y="2"/>
                    </a:lnTo>
                    <a:lnTo>
                      <a:pt x="10"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2" name="Freeform 54"/>
              <p:cNvSpPr>
                <a:spLocks noChangeAspect="1"/>
              </p:cNvSpPr>
              <p:nvPr/>
            </p:nvSpPr>
            <p:spPr bwMode="auto">
              <a:xfrm>
                <a:off x="1896417" y="4097990"/>
                <a:ext cx="14862" cy="16698"/>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3" name="Freeform 55"/>
              <p:cNvSpPr>
                <a:spLocks noChangeAspect="1"/>
              </p:cNvSpPr>
              <p:nvPr/>
            </p:nvSpPr>
            <p:spPr bwMode="auto">
              <a:xfrm>
                <a:off x="1751842" y="4429574"/>
                <a:ext cx="125659" cy="50095"/>
              </a:xfrm>
              <a:custGeom>
                <a:avLst/>
                <a:gdLst/>
                <a:ahLst/>
                <a:cxnLst>
                  <a:cxn ang="0">
                    <a:pos x="0" y="22"/>
                  </a:cxn>
                  <a:cxn ang="0">
                    <a:pos x="0" y="18"/>
                  </a:cxn>
                  <a:cxn ang="0">
                    <a:pos x="0" y="14"/>
                  </a:cxn>
                  <a:cxn ang="0">
                    <a:pos x="0" y="6"/>
                  </a:cxn>
                  <a:cxn ang="0">
                    <a:pos x="2" y="6"/>
                  </a:cxn>
                  <a:cxn ang="0">
                    <a:pos x="8" y="6"/>
                  </a:cxn>
                  <a:cxn ang="0">
                    <a:pos x="12" y="10"/>
                  </a:cxn>
                  <a:cxn ang="0">
                    <a:pos x="16" y="10"/>
                  </a:cxn>
                  <a:cxn ang="0">
                    <a:pos x="20" y="14"/>
                  </a:cxn>
                  <a:cxn ang="0">
                    <a:pos x="26" y="14"/>
                  </a:cxn>
                  <a:cxn ang="0">
                    <a:pos x="30" y="14"/>
                  </a:cxn>
                  <a:cxn ang="0">
                    <a:pos x="36" y="12"/>
                  </a:cxn>
                  <a:cxn ang="0">
                    <a:pos x="38" y="8"/>
                  </a:cxn>
                  <a:cxn ang="0">
                    <a:pos x="44" y="2"/>
                  </a:cxn>
                  <a:cxn ang="0">
                    <a:pos x="48" y="0"/>
                  </a:cxn>
                  <a:cxn ang="0">
                    <a:pos x="52" y="0"/>
                  </a:cxn>
                  <a:cxn ang="0">
                    <a:pos x="62" y="2"/>
                  </a:cxn>
                  <a:cxn ang="0">
                    <a:pos x="70" y="8"/>
                  </a:cxn>
                  <a:cxn ang="0">
                    <a:pos x="80" y="14"/>
                  </a:cxn>
                  <a:cxn ang="0">
                    <a:pos x="86" y="18"/>
                  </a:cxn>
                  <a:cxn ang="0">
                    <a:pos x="88" y="18"/>
                  </a:cxn>
                  <a:cxn ang="0">
                    <a:pos x="86" y="20"/>
                  </a:cxn>
                  <a:cxn ang="0">
                    <a:pos x="86" y="26"/>
                  </a:cxn>
                  <a:cxn ang="0">
                    <a:pos x="88" y="32"/>
                  </a:cxn>
                  <a:cxn ang="0">
                    <a:pos x="86" y="34"/>
                  </a:cxn>
                  <a:cxn ang="0">
                    <a:pos x="82" y="38"/>
                  </a:cxn>
                  <a:cxn ang="0">
                    <a:pos x="76" y="42"/>
                  </a:cxn>
                  <a:cxn ang="0">
                    <a:pos x="70" y="30"/>
                  </a:cxn>
                  <a:cxn ang="0">
                    <a:pos x="70" y="26"/>
                  </a:cxn>
                  <a:cxn ang="0">
                    <a:pos x="76" y="26"/>
                  </a:cxn>
                  <a:cxn ang="0">
                    <a:pos x="68" y="16"/>
                  </a:cxn>
                  <a:cxn ang="0">
                    <a:pos x="64" y="14"/>
                  </a:cxn>
                  <a:cxn ang="0">
                    <a:pos x="56" y="14"/>
                  </a:cxn>
                  <a:cxn ang="0">
                    <a:pos x="52" y="14"/>
                  </a:cxn>
                  <a:cxn ang="0">
                    <a:pos x="46" y="20"/>
                  </a:cxn>
                  <a:cxn ang="0">
                    <a:pos x="38" y="30"/>
                  </a:cxn>
                  <a:cxn ang="0">
                    <a:pos x="40" y="32"/>
                  </a:cxn>
                  <a:cxn ang="0">
                    <a:pos x="44" y="32"/>
                  </a:cxn>
                  <a:cxn ang="0">
                    <a:pos x="44" y="38"/>
                  </a:cxn>
                  <a:cxn ang="0">
                    <a:pos x="42" y="42"/>
                  </a:cxn>
                  <a:cxn ang="0">
                    <a:pos x="38" y="42"/>
                  </a:cxn>
                  <a:cxn ang="0">
                    <a:pos x="36" y="42"/>
                  </a:cxn>
                  <a:cxn ang="0">
                    <a:pos x="32" y="42"/>
                  </a:cxn>
                  <a:cxn ang="0">
                    <a:pos x="30" y="42"/>
                  </a:cxn>
                  <a:cxn ang="0">
                    <a:pos x="30" y="36"/>
                  </a:cxn>
                  <a:cxn ang="0">
                    <a:pos x="24" y="34"/>
                  </a:cxn>
                  <a:cxn ang="0">
                    <a:pos x="20" y="32"/>
                  </a:cxn>
                  <a:cxn ang="0">
                    <a:pos x="16" y="30"/>
                  </a:cxn>
                  <a:cxn ang="0">
                    <a:pos x="12" y="26"/>
                  </a:cxn>
                  <a:cxn ang="0">
                    <a:pos x="0" y="22"/>
                  </a:cxn>
                </a:cxnLst>
                <a:rect l="0" t="0" r="r" b="b"/>
                <a:pathLst>
                  <a:path w="88" h="42">
                    <a:moveTo>
                      <a:pt x="0" y="22"/>
                    </a:moveTo>
                    <a:lnTo>
                      <a:pt x="0" y="18"/>
                    </a:lnTo>
                    <a:lnTo>
                      <a:pt x="0" y="14"/>
                    </a:lnTo>
                    <a:lnTo>
                      <a:pt x="0" y="6"/>
                    </a:lnTo>
                    <a:lnTo>
                      <a:pt x="2" y="6"/>
                    </a:lnTo>
                    <a:lnTo>
                      <a:pt x="8" y="6"/>
                    </a:lnTo>
                    <a:lnTo>
                      <a:pt x="12" y="10"/>
                    </a:lnTo>
                    <a:lnTo>
                      <a:pt x="16" y="10"/>
                    </a:lnTo>
                    <a:lnTo>
                      <a:pt x="20" y="14"/>
                    </a:lnTo>
                    <a:lnTo>
                      <a:pt x="26" y="14"/>
                    </a:lnTo>
                    <a:lnTo>
                      <a:pt x="30" y="14"/>
                    </a:lnTo>
                    <a:lnTo>
                      <a:pt x="36" y="12"/>
                    </a:lnTo>
                    <a:lnTo>
                      <a:pt x="38" y="8"/>
                    </a:lnTo>
                    <a:lnTo>
                      <a:pt x="44" y="2"/>
                    </a:lnTo>
                    <a:lnTo>
                      <a:pt x="48" y="0"/>
                    </a:lnTo>
                    <a:lnTo>
                      <a:pt x="52" y="0"/>
                    </a:lnTo>
                    <a:lnTo>
                      <a:pt x="62" y="2"/>
                    </a:lnTo>
                    <a:lnTo>
                      <a:pt x="70" y="8"/>
                    </a:lnTo>
                    <a:lnTo>
                      <a:pt x="80" y="14"/>
                    </a:lnTo>
                    <a:lnTo>
                      <a:pt x="86" y="18"/>
                    </a:lnTo>
                    <a:lnTo>
                      <a:pt x="88" y="18"/>
                    </a:lnTo>
                    <a:lnTo>
                      <a:pt x="86" y="20"/>
                    </a:lnTo>
                    <a:lnTo>
                      <a:pt x="86" y="26"/>
                    </a:lnTo>
                    <a:lnTo>
                      <a:pt x="88" y="32"/>
                    </a:lnTo>
                    <a:lnTo>
                      <a:pt x="86" y="34"/>
                    </a:lnTo>
                    <a:lnTo>
                      <a:pt x="82" y="38"/>
                    </a:lnTo>
                    <a:lnTo>
                      <a:pt x="76" y="42"/>
                    </a:lnTo>
                    <a:lnTo>
                      <a:pt x="70" y="30"/>
                    </a:lnTo>
                    <a:lnTo>
                      <a:pt x="70" y="26"/>
                    </a:lnTo>
                    <a:lnTo>
                      <a:pt x="76" y="26"/>
                    </a:lnTo>
                    <a:lnTo>
                      <a:pt x="68" y="16"/>
                    </a:lnTo>
                    <a:lnTo>
                      <a:pt x="64" y="14"/>
                    </a:lnTo>
                    <a:lnTo>
                      <a:pt x="56" y="14"/>
                    </a:lnTo>
                    <a:lnTo>
                      <a:pt x="52" y="14"/>
                    </a:lnTo>
                    <a:lnTo>
                      <a:pt x="46" y="20"/>
                    </a:lnTo>
                    <a:lnTo>
                      <a:pt x="38" y="30"/>
                    </a:lnTo>
                    <a:lnTo>
                      <a:pt x="40" y="32"/>
                    </a:lnTo>
                    <a:lnTo>
                      <a:pt x="44" y="32"/>
                    </a:lnTo>
                    <a:lnTo>
                      <a:pt x="44" y="38"/>
                    </a:lnTo>
                    <a:lnTo>
                      <a:pt x="42" y="42"/>
                    </a:lnTo>
                    <a:lnTo>
                      <a:pt x="38" y="42"/>
                    </a:lnTo>
                    <a:lnTo>
                      <a:pt x="36" y="42"/>
                    </a:lnTo>
                    <a:lnTo>
                      <a:pt x="32" y="42"/>
                    </a:lnTo>
                    <a:lnTo>
                      <a:pt x="30" y="42"/>
                    </a:lnTo>
                    <a:lnTo>
                      <a:pt x="30" y="36"/>
                    </a:lnTo>
                    <a:lnTo>
                      <a:pt x="24" y="34"/>
                    </a:lnTo>
                    <a:lnTo>
                      <a:pt x="20" y="32"/>
                    </a:lnTo>
                    <a:lnTo>
                      <a:pt x="16" y="30"/>
                    </a:lnTo>
                    <a:lnTo>
                      <a:pt x="12" y="26"/>
                    </a:lnTo>
                    <a:lnTo>
                      <a:pt x="0" y="2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4" name="Freeform 56"/>
              <p:cNvSpPr>
                <a:spLocks noChangeAspect="1"/>
              </p:cNvSpPr>
              <p:nvPr/>
            </p:nvSpPr>
            <p:spPr bwMode="auto">
              <a:xfrm>
                <a:off x="1685635" y="4402141"/>
                <a:ext cx="79719" cy="53673"/>
              </a:xfrm>
              <a:custGeom>
                <a:avLst/>
                <a:gdLst/>
                <a:ahLst/>
                <a:cxnLst>
                  <a:cxn ang="0">
                    <a:pos x="38" y="6"/>
                  </a:cxn>
                  <a:cxn ang="0">
                    <a:pos x="46" y="18"/>
                  </a:cxn>
                  <a:cxn ang="0">
                    <a:pos x="54" y="28"/>
                  </a:cxn>
                  <a:cxn ang="0">
                    <a:pos x="46" y="28"/>
                  </a:cxn>
                  <a:cxn ang="0">
                    <a:pos x="46" y="44"/>
                  </a:cxn>
                  <a:cxn ang="0">
                    <a:pos x="32" y="40"/>
                  </a:cxn>
                  <a:cxn ang="0">
                    <a:pos x="34" y="36"/>
                  </a:cxn>
                  <a:cxn ang="0">
                    <a:pos x="34" y="34"/>
                  </a:cxn>
                  <a:cxn ang="0">
                    <a:pos x="24" y="22"/>
                  </a:cxn>
                  <a:cxn ang="0">
                    <a:pos x="18" y="16"/>
                  </a:cxn>
                  <a:cxn ang="0">
                    <a:pos x="12" y="14"/>
                  </a:cxn>
                  <a:cxn ang="0">
                    <a:pos x="16" y="22"/>
                  </a:cxn>
                  <a:cxn ang="0">
                    <a:pos x="12" y="22"/>
                  </a:cxn>
                  <a:cxn ang="0">
                    <a:pos x="8" y="22"/>
                  </a:cxn>
                  <a:cxn ang="0">
                    <a:pos x="4" y="20"/>
                  </a:cxn>
                  <a:cxn ang="0">
                    <a:pos x="2" y="16"/>
                  </a:cxn>
                  <a:cxn ang="0">
                    <a:pos x="0" y="12"/>
                  </a:cxn>
                  <a:cxn ang="0">
                    <a:pos x="2" y="8"/>
                  </a:cxn>
                  <a:cxn ang="0">
                    <a:pos x="2" y="6"/>
                  </a:cxn>
                  <a:cxn ang="0">
                    <a:pos x="2" y="4"/>
                  </a:cxn>
                  <a:cxn ang="0">
                    <a:pos x="4" y="0"/>
                  </a:cxn>
                  <a:cxn ang="0">
                    <a:pos x="20" y="4"/>
                  </a:cxn>
                  <a:cxn ang="0">
                    <a:pos x="38" y="6"/>
                  </a:cxn>
                </a:cxnLst>
                <a:rect l="0" t="0" r="r" b="b"/>
                <a:pathLst>
                  <a:path w="54" h="44">
                    <a:moveTo>
                      <a:pt x="38" y="6"/>
                    </a:moveTo>
                    <a:lnTo>
                      <a:pt x="46" y="18"/>
                    </a:lnTo>
                    <a:lnTo>
                      <a:pt x="54" y="28"/>
                    </a:lnTo>
                    <a:lnTo>
                      <a:pt x="46" y="28"/>
                    </a:lnTo>
                    <a:lnTo>
                      <a:pt x="46" y="44"/>
                    </a:lnTo>
                    <a:lnTo>
                      <a:pt x="32" y="40"/>
                    </a:lnTo>
                    <a:lnTo>
                      <a:pt x="34" y="36"/>
                    </a:lnTo>
                    <a:lnTo>
                      <a:pt x="34" y="34"/>
                    </a:lnTo>
                    <a:lnTo>
                      <a:pt x="24" y="22"/>
                    </a:lnTo>
                    <a:lnTo>
                      <a:pt x="18" y="16"/>
                    </a:lnTo>
                    <a:lnTo>
                      <a:pt x="12" y="14"/>
                    </a:lnTo>
                    <a:lnTo>
                      <a:pt x="16" y="22"/>
                    </a:lnTo>
                    <a:lnTo>
                      <a:pt x="12" y="22"/>
                    </a:lnTo>
                    <a:lnTo>
                      <a:pt x="8" y="22"/>
                    </a:lnTo>
                    <a:lnTo>
                      <a:pt x="4" y="20"/>
                    </a:lnTo>
                    <a:lnTo>
                      <a:pt x="2" y="16"/>
                    </a:lnTo>
                    <a:lnTo>
                      <a:pt x="0" y="12"/>
                    </a:lnTo>
                    <a:lnTo>
                      <a:pt x="2" y="8"/>
                    </a:lnTo>
                    <a:lnTo>
                      <a:pt x="2" y="6"/>
                    </a:lnTo>
                    <a:lnTo>
                      <a:pt x="2" y="4"/>
                    </a:lnTo>
                    <a:lnTo>
                      <a:pt x="4" y="0"/>
                    </a:lnTo>
                    <a:lnTo>
                      <a:pt x="20" y="4"/>
                    </a:lnTo>
                    <a:lnTo>
                      <a:pt x="38"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5" name="Freeform 57"/>
              <p:cNvSpPr>
                <a:spLocks noChangeAspect="1"/>
              </p:cNvSpPr>
              <p:nvPr/>
            </p:nvSpPr>
            <p:spPr bwMode="auto">
              <a:xfrm>
                <a:off x="1657259" y="4318649"/>
                <a:ext cx="101338" cy="91841"/>
              </a:xfrm>
              <a:custGeom>
                <a:avLst/>
                <a:gdLst/>
                <a:ahLst/>
                <a:cxnLst>
                  <a:cxn ang="0">
                    <a:pos x="72" y="0"/>
                  </a:cxn>
                  <a:cxn ang="0">
                    <a:pos x="72" y="2"/>
                  </a:cxn>
                  <a:cxn ang="0">
                    <a:pos x="70" y="10"/>
                  </a:cxn>
                  <a:cxn ang="0">
                    <a:pos x="68" y="20"/>
                  </a:cxn>
                  <a:cxn ang="0">
                    <a:pos x="66" y="26"/>
                  </a:cxn>
                  <a:cxn ang="0">
                    <a:pos x="64" y="36"/>
                  </a:cxn>
                  <a:cxn ang="0">
                    <a:pos x="64" y="44"/>
                  </a:cxn>
                  <a:cxn ang="0">
                    <a:pos x="60" y="50"/>
                  </a:cxn>
                  <a:cxn ang="0">
                    <a:pos x="56" y="54"/>
                  </a:cxn>
                  <a:cxn ang="0">
                    <a:pos x="56" y="60"/>
                  </a:cxn>
                  <a:cxn ang="0">
                    <a:pos x="56" y="66"/>
                  </a:cxn>
                  <a:cxn ang="0">
                    <a:pos x="58" y="74"/>
                  </a:cxn>
                  <a:cxn ang="0">
                    <a:pos x="60" y="78"/>
                  </a:cxn>
                  <a:cxn ang="0">
                    <a:pos x="42" y="76"/>
                  </a:cxn>
                  <a:cxn ang="0">
                    <a:pos x="26" y="72"/>
                  </a:cxn>
                  <a:cxn ang="0">
                    <a:pos x="24" y="66"/>
                  </a:cxn>
                  <a:cxn ang="0">
                    <a:pos x="24" y="62"/>
                  </a:cxn>
                  <a:cxn ang="0">
                    <a:pos x="16" y="58"/>
                  </a:cxn>
                  <a:cxn ang="0">
                    <a:pos x="8" y="50"/>
                  </a:cxn>
                  <a:cxn ang="0">
                    <a:pos x="4" y="44"/>
                  </a:cxn>
                  <a:cxn ang="0">
                    <a:pos x="0" y="36"/>
                  </a:cxn>
                  <a:cxn ang="0">
                    <a:pos x="6" y="36"/>
                  </a:cxn>
                  <a:cxn ang="0">
                    <a:pos x="10" y="30"/>
                  </a:cxn>
                  <a:cxn ang="0">
                    <a:pos x="12" y="26"/>
                  </a:cxn>
                  <a:cxn ang="0">
                    <a:pos x="14" y="24"/>
                  </a:cxn>
                  <a:cxn ang="0">
                    <a:pos x="16" y="22"/>
                  </a:cxn>
                  <a:cxn ang="0">
                    <a:pos x="22" y="20"/>
                  </a:cxn>
                  <a:cxn ang="0">
                    <a:pos x="26" y="20"/>
                  </a:cxn>
                  <a:cxn ang="0">
                    <a:pos x="32" y="18"/>
                  </a:cxn>
                  <a:cxn ang="0">
                    <a:pos x="40" y="8"/>
                  </a:cxn>
                  <a:cxn ang="0">
                    <a:pos x="44" y="4"/>
                  </a:cxn>
                  <a:cxn ang="0">
                    <a:pos x="48" y="4"/>
                  </a:cxn>
                  <a:cxn ang="0">
                    <a:pos x="50" y="4"/>
                  </a:cxn>
                  <a:cxn ang="0">
                    <a:pos x="52" y="4"/>
                  </a:cxn>
                  <a:cxn ang="0">
                    <a:pos x="52" y="6"/>
                  </a:cxn>
                  <a:cxn ang="0">
                    <a:pos x="58" y="4"/>
                  </a:cxn>
                  <a:cxn ang="0">
                    <a:pos x="62" y="2"/>
                  </a:cxn>
                  <a:cxn ang="0">
                    <a:pos x="66" y="2"/>
                  </a:cxn>
                  <a:cxn ang="0">
                    <a:pos x="72" y="0"/>
                  </a:cxn>
                </a:cxnLst>
                <a:rect l="0" t="0" r="r" b="b"/>
                <a:pathLst>
                  <a:path w="72" h="78">
                    <a:moveTo>
                      <a:pt x="72" y="0"/>
                    </a:moveTo>
                    <a:lnTo>
                      <a:pt x="72" y="2"/>
                    </a:lnTo>
                    <a:lnTo>
                      <a:pt x="70" y="10"/>
                    </a:lnTo>
                    <a:lnTo>
                      <a:pt x="68" y="20"/>
                    </a:lnTo>
                    <a:lnTo>
                      <a:pt x="66" y="26"/>
                    </a:lnTo>
                    <a:lnTo>
                      <a:pt x="64" y="36"/>
                    </a:lnTo>
                    <a:lnTo>
                      <a:pt x="64" y="44"/>
                    </a:lnTo>
                    <a:lnTo>
                      <a:pt x="60" y="50"/>
                    </a:lnTo>
                    <a:lnTo>
                      <a:pt x="56" y="54"/>
                    </a:lnTo>
                    <a:lnTo>
                      <a:pt x="56" y="60"/>
                    </a:lnTo>
                    <a:lnTo>
                      <a:pt x="56" y="66"/>
                    </a:lnTo>
                    <a:lnTo>
                      <a:pt x="58" y="74"/>
                    </a:lnTo>
                    <a:lnTo>
                      <a:pt x="60" y="78"/>
                    </a:lnTo>
                    <a:lnTo>
                      <a:pt x="42" y="76"/>
                    </a:lnTo>
                    <a:lnTo>
                      <a:pt x="26" y="72"/>
                    </a:lnTo>
                    <a:lnTo>
                      <a:pt x="24" y="66"/>
                    </a:lnTo>
                    <a:lnTo>
                      <a:pt x="24" y="62"/>
                    </a:lnTo>
                    <a:lnTo>
                      <a:pt x="16" y="58"/>
                    </a:lnTo>
                    <a:lnTo>
                      <a:pt x="8" y="50"/>
                    </a:lnTo>
                    <a:lnTo>
                      <a:pt x="4" y="44"/>
                    </a:lnTo>
                    <a:lnTo>
                      <a:pt x="0" y="36"/>
                    </a:lnTo>
                    <a:lnTo>
                      <a:pt x="6" y="36"/>
                    </a:lnTo>
                    <a:lnTo>
                      <a:pt x="10" y="30"/>
                    </a:lnTo>
                    <a:lnTo>
                      <a:pt x="12" y="26"/>
                    </a:lnTo>
                    <a:lnTo>
                      <a:pt x="14" y="24"/>
                    </a:lnTo>
                    <a:lnTo>
                      <a:pt x="16" y="22"/>
                    </a:lnTo>
                    <a:lnTo>
                      <a:pt x="22" y="20"/>
                    </a:lnTo>
                    <a:lnTo>
                      <a:pt x="26" y="20"/>
                    </a:lnTo>
                    <a:lnTo>
                      <a:pt x="32" y="18"/>
                    </a:lnTo>
                    <a:lnTo>
                      <a:pt x="40" y="8"/>
                    </a:lnTo>
                    <a:lnTo>
                      <a:pt x="44" y="4"/>
                    </a:lnTo>
                    <a:lnTo>
                      <a:pt x="48" y="4"/>
                    </a:lnTo>
                    <a:lnTo>
                      <a:pt x="50" y="4"/>
                    </a:lnTo>
                    <a:lnTo>
                      <a:pt x="52" y="4"/>
                    </a:lnTo>
                    <a:lnTo>
                      <a:pt x="52" y="6"/>
                    </a:lnTo>
                    <a:lnTo>
                      <a:pt x="58" y="4"/>
                    </a:lnTo>
                    <a:lnTo>
                      <a:pt x="62" y="2"/>
                    </a:lnTo>
                    <a:lnTo>
                      <a:pt x="66" y="2"/>
                    </a:lnTo>
                    <a:lnTo>
                      <a:pt x="72"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6" name="Freeform 58"/>
              <p:cNvSpPr>
                <a:spLocks noChangeAspect="1"/>
              </p:cNvSpPr>
              <p:nvPr/>
            </p:nvSpPr>
            <p:spPr bwMode="auto">
              <a:xfrm>
                <a:off x="1600510" y="4331768"/>
                <a:ext cx="54047" cy="19084"/>
              </a:xfrm>
              <a:custGeom>
                <a:avLst/>
                <a:gdLst/>
                <a:ahLst/>
                <a:cxnLst>
                  <a:cxn ang="0">
                    <a:pos x="36" y="16"/>
                  </a:cxn>
                  <a:cxn ang="0">
                    <a:pos x="30" y="16"/>
                  </a:cxn>
                  <a:cxn ang="0">
                    <a:pos x="24" y="16"/>
                  </a:cxn>
                  <a:cxn ang="0">
                    <a:pos x="10" y="14"/>
                  </a:cxn>
                  <a:cxn ang="0">
                    <a:pos x="4" y="12"/>
                  </a:cxn>
                  <a:cxn ang="0">
                    <a:pos x="0" y="8"/>
                  </a:cxn>
                  <a:cxn ang="0">
                    <a:pos x="6" y="6"/>
                  </a:cxn>
                  <a:cxn ang="0">
                    <a:pos x="8" y="0"/>
                  </a:cxn>
                  <a:cxn ang="0">
                    <a:pos x="12" y="0"/>
                  </a:cxn>
                  <a:cxn ang="0">
                    <a:pos x="16" y="2"/>
                  </a:cxn>
                  <a:cxn ang="0">
                    <a:pos x="20" y="4"/>
                  </a:cxn>
                  <a:cxn ang="0">
                    <a:pos x="24" y="8"/>
                  </a:cxn>
                  <a:cxn ang="0">
                    <a:pos x="30" y="10"/>
                  </a:cxn>
                  <a:cxn ang="0">
                    <a:pos x="34" y="10"/>
                  </a:cxn>
                  <a:cxn ang="0">
                    <a:pos x="36" y="12"/>
                  </a:cxn>
                  <a:cxn ang="0">
                    <a:pos x="38" y="14"/>
                  </a:cxn>
                  <a:cxn ang="0">
                    <a:pos x="38" y="16"/>
                  </a:cxn>
                  <a:cxn ang="0">
                    <a:pos x="36" y="16"/>
                  </a:cxn>
                </a:cxnLst>
                <a:rect l="0" t="0" r="r" b="b"/>
                <a:pathLst>
                  <a:path w="38" h="16">
                    <a:moveTo>
                      <a:pt x="36" y="16"/>
                    </a:moveTo>
                    <a:lnTo>
                      <a:pt x="30" y="16"/>
                    </a:lnTo>
                    <a:lnTo>
                      <a:pt x="24" y="16"/>
                    </a:lnTo>
                    <a:lnTo>
                      <a:pt x="10" y="14"/>
                    </a:lnTo>
                    <a:lnTo>
                      <a:pt x="4" y="12"/>
                    </a:lnTo>
                    <a:lnTo>
                      <a:pt x="0" y="8"/>
                    </a:lnTo>
                    <a:lnTo>
                      <a:pt x="6" y="6"/>
                    </a:lnTo>
                    <a:lnTo>
                      <a:pt x="8" y="0"/>
                    </a:lnTo>
                    <a:lnTo>
                      <a:pt x="12" y="0"/>
                    </a:lnTo>
                    <a:lnTo>
                      <a:pt x="16" y="2"/>
                    </a:lnTo>
                    <a:lnTo>
                      <a:pt x="20" y="4"/>
                    </a:lnTo>
                    <a:lnTo>
                      <a:pt x="24" y="8"/>
                    </a:lnTo>
                    <a:lnTo>
                      <a:pt x="30" y="10"/>
                    </a:lnTo>
                    <a:lnTo>
                      <a:pt x="34" y="10"/>
                    </a:lnTo>
                    <a:lnTo>
                      <a:pt x="36" y="12"/>
                    </a:lnTo>
                    <a:lnTo>
                      <a:pt x="38" y="14"/>
                    </a:lnTo>
                    <a:lnTo>
                      <a:pt x="38" y="16"/>
                    </a:lnTo>
                    <a:lnTo>
                      <a:pt x="36" y="1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7" name="Freeform 59"/>
              <p:cNvSpPr>
                <a:spLocks noChangeAspect="1"/>
              </p:cNvSpPr>
              <p:nvPr/>
            </p:nvSpPr>
            <p:spPr bwMode="auto">
              <a:xfrm>
                <a:off x="1618075" y="4288829"/>
                <a:ext cx="140522" cy="72758"/>
              </a:xfrm>
              <a:custGeom>
                <a:avLst/>
                <a:gdLst/>
                <a:ahLst/>
                <a:cxnLst>
                  <a:cxn ang="0">
                    <a:pos x="100" y="24"/>
                  </a:cxn>
                  <a:cxn ang="0">
                    <a:pos x="94" y="26"/>
                  </a:cxn>
                  <a:cxn ang="0">
                    <a:pos x="90" y="26"/>
                  </a:cxn>
                  <a:cxn ang="0">
                    <a:pos x="86" y="28"/>
                  </a:cxn>
                  <a:cxn ang="0">
                    <a:pos x="80" y="30"/>
                  </a:cxn>
                  <a:cxn ang="0">
                    <a:pos x="80" y="28"/>
                  </a:cxn>
                  <a:cxn ang="0">
                    <a:pos x="78" y="28"/>
                  </a:cxn>
                  <a:cxn ang="0">
                    <a:pos x="76" y="28"/>
                  </a:cxn>
                  <a:cxn ang="0">
                    <a:pos x="72" y="28"/>
                  </a:cxn>
                  <a:cxn ang="0">
                    <a:pos x="68" y="32"/>
                  </a:cxn>
                  <a:cxn ang="0">
                    <a:pos x="60" y="42"/>
                  </a:cxn>
                  <a:cxn ang="0">
                    <a:pos x="54" y="44"/>
                  </a:cxn>
                  <a:cxn ang="0">
                    <a:pos x="50" y="44"/>
                  </a:cxn>
                  <a:cxn ang="0">
                    <a:pos x="44" y="46"/>
                  </a:cxn>
                  <a:cxn ang="0">
                    <a:pos x="42" y="48"/>
                  </a:cxn>
                  <a:cxn ang="0">
                    <a:pos x="40" y="50"/>
                  </a:cxn>
                  <a:cxn ang="0">
                    <a:pos x="38" y="54"/>
                  </a:cxn>
                  <a:cxn ang="0">
                    <a:pos x="34" y="60"/>
                  </a:cxn>
                  <a:cxn ang="0">
                    <a:pos x="28" y="60"/>
                  </a:cxn>
                  <a:cxn ang="0">
                    <a:pos x="26" y="52"/>
                  </a:cxn>
                  <a:cxn ang="0">
                    <a:pos x="26" y="50"/>
                  </a:cxn>
                  <a:cxn ang="0">
                    <a:pos x="24" y="48"/>
                  </a:cxn>
                  <a:cxn ang="0">
                    <a:pos x="22" y="46"/>
                  </a:cxn>
                  <a:cxn ang="0">
                    <a:pos x="18" y="46"/>
                  </a:cxn>
                  <a:cxn ang="0">
                    <a:pos x="12" y="44"/>
                  </a:cxn>
                  <a:cxn ang="0">
                    <a:pos x="8" y="40"/>
                  </a:cxn>
                  <a:cxn ang="0">
                    <a:pos x="4" y="38"/>
                  </a:cxn>
                  <a:cxn ang="0">
                    <a:pos x="0" y="36"/>
                  </a:cxn>
                  <a:cxn ang="0">
                    <a:pos x="4" y="28"/>
                  </a:cxn>
                  <a:cxn ang="0">
                    <a:pos x="8" y="22"/>
                  </a:cxn>
                  <a:cxn ang="0">
                    <a:pos x="18" y="16"/>
                  </a:cxn>
                  <a:cxn ang="0">
                    <a:pos x="22" y="8"/>
                  </a:cxn>
                  <a:cxn ang="0">
                    <a:pos x="26" y="2"/>
                  </a:cxn>
                  <a:cxn ang="0">
                    <a:pos x="34" y="0"/>
                  </a:cxn>
                  <a:cxn ang="0">
                    <a:pos x="80" y="0"/>
                  </a:cxn>
                  <a:cxn ang="0">
                    <a:pos x="84" y="6"/>
                  </a:cxn>
                  <a:cxn ang="0">
                    <a:pos x="90" y="12"/>
                  </a:cxn>
                  <a:cxn ang="0">
                    <a:pos x="96" y="18"/>
                  </a:cxn>
                  <a:cxn ang="0">
                    <a:pos x="100" y="24"/>
                  </a:cxn>
                </a:cxnLst>
                <a:rect l="0" t="0" r="r" b="b"/>
                <a:pathLst>
                  <a:path w="100" h="60">
                    <a:moveTo>
                      <a:pt x="100" y="24"/>
                    </a:moveTo>
                    <a:lnTo>
                      <a:pt x="94" y="26"/>
                    </a:lnTo>
                    <a:lnTo>
                      <a:pt x="90" y="26"/>
                    </a:lnTo>
                    <a:lnTo>
                      <a:pt x="86" y="28"/>
                    </a:lnTo>
                    <a:lnTo>
                      <a:pt x="80" y="30"/>
                    </a:lnTo>
                    <a:lnTo>
                      <a:pt x="80" y="28"/>
                    </a:lnTo>
                    <a:lnTo>
                      <a:pt x="78" y="28"/>
                    </a:lnTo>
                    <a:lnTo>
                      <a:pt x="76" y="28"/>
                    </a:lnTo>
                    <a:lnTo>
                      <a:pt x="72" y="28"/>
                    </a:lnTo>
                    <a:lnTo>
                      <a:pt x="68" y="32"/>
                    </a:lnTo>
                    <a:lnTo>
                      <a:pt x="60" y="42"/>
                    </a:lnTo>
                    <a:lnTo>
                      <a:pt x="54" y="44"/>
                    </a:lnTo>
                    <a:lnTo>
                      <a:pt x="50" y="44"/>
                    </a:lnTo>
                    <a:lnTo>
                      <a:pt x="44" y="46"/>
                    </a:lnTo>
                    <a:lnTo>
                      <a:pt x="42" y="48"/>
                    </a:lnTo>
                    <a:lnTo>
                      <a:pt x="40" y="50"/>
                    </a:lnTo>
                    <a:lnTo>
                      <a:pt x="38" y="54"/>
                    </a:lnTo>
                    <a:lnTo>
                      <a:pt x="34" y="60"/>
                    </a:lnTo>
                    <a:lnTo>
                      <a:pt x="28" y="60"/>
                    </a:lnTo>
                    <a:lnTo>
                      <a:pt x="26" y="52"/>
                    </a:lnTo>
                    <a:lnTo>
                      <a:pt x="26" y="50"/>
                    </a:lnTo>
                    <a:lnTo>
                      <a:pt x="24" y="48"/>
                    </a:lnTo>
                    <a:lnTo>
                      <a:pt x="22" y="46"/>
                    </a:lnTo>
                    <a:lnTo>
                      <a:pt x="18" y="46"/>
                    </a:lnTo>
                    <a:lnTo>
                      <a:pt x="12" y="44"/>
                    </a:lnTo>
                    <a:lnTo>
                      <a:pt x="8" y="40"/>
                    </a:lnTo>
                    <a:lnTo>
                      <a:pt x="4" y="38"/>
                    </a:lnTo>
                    <a:lnTo>
                      <a:pt x="0" y="36"/>
                    </a:lnTo>
                    <a:lnTo>
                      <a:pt x="4" y="28"/>
                    </a:lnTo>
                    <a:lnTo>
                      <a:pt x="8" y="22"/>
                    </a:lnTo>
                    <a:lnTo>
                      <a:pt x="18" y="16"/>
                    </a:lnTo>
                    <a:lnTo>
                      <a:pt x="22" y="8"/>
                    </a:lnTo>
                    <a:lnTo>
                      <a:pt x="26" y="2"/>
                    </a:lnTo>
                    <a:lnTo>
                      <a:pt x="34" y="0"/>
                    </a:lnTo>
                    <a:lnTo>
                      <a:pt x="80" y="0"/>
                    </a:lnTo>
                    <a:lnTo>
                      <a:pt x="84" y="6"/>
                    </a:lnTo>
                    <a:lnTo>
                      <a:pt x="90" y="12"/>
                    </a:lnTo>
                    <a:lnTo>
                      <a:pt x="96" y="18"/>
                    </a:lnTo>
                    <a:lnTo>
                      <a:pt x="100" y="2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8" name="Freeform 60"/>
              <p:cNvSpPr>
                <a:spLocks noChangeAspect="1"/>
              </p:cNvSpPr>
              <p:nvPr/>
            </p:nvSpPr>
            <p:spPr bwMode="auto">
              <a:xfrm>
                <a:off x="1627533" y="4245891"/>
                <a:ext cx="33780" cy="48903"/>
              </a:xfrm>
              <a:custGeom>
                <a:avLst/>
                <a:gdLst/>
                <a:ahLst/>
                <a:cxnLst>
                  <a:cxn ang="0">
                    <a:pos x="24" y="6"/>
                  </a:cxn>
                  <a:cxn ang="0">
                    <a:pos x="18" y="10"/>
                  </a:cxn>
                  <a:cxn ang="0">
                    <a:pos x="18" y="18"/>
                  </a:cxn>
                  <a:cxn ang="0">
                    <a:pos x="16" y="26"/>
                  </a:cxn>
                  <a:cxn ang="0">
                    <a:pos x="14" y="32"/>
                  </a:cxn>
                  <a:cxn ang="0">
                    <a:pos x="10" y="36"/>
                  </a:cxn>
                  <a:cxn ang="0">
                    <a:pos x="10" y="42"/>
                  </a:cxn>
                  <a:cxn ang="0">
                    <a:pos x="0" y="42"/>
                  </a:cxn>
                  <a:cxn ang="0">
                    <a:pos x="4" y="10"/>
                  </a:cxn>
                  <a:cxn ang="0">
                    <a:pos x="8" y="10"/>
                  </a:cxn>
                  <a:cxn ang="0">
                    <a:pos x="10" y="8"/>
                  </a:cxn>
                  <a:cxn ang="0">
                    <a:pos x="12" y="6"/>
                  </a:cxn>
                  <a:cxn ang="0">
                    <a:pos x="14" y="2"/>
                  </a:cxn>
                  <a:cxn ang="0">
                    <a:pos x="16" y="0"/>
                  </a:cxn>
                  <a:cxn ang="0">
                    <a:pos x="20" y="0"/>
                  </a:cxn>
                  <a:cxn ang="0">
                    <a:pos x="22" y="2"/>
                  </a:cxn>
                  <a:cxn ang="0">
                    <a:pos x="22" y="6"/>
                  </a:cxn>
                  <a:cxn ang="0">
                    <a:pos x="24" y="6"/>
                  </a:cxn>
                </a:cxnLst>
                <a:rect l="0" t="0" r="r" b="b"/>
                <a:pathLst>
                  <a:path w="24" h="42">
                    <a:moveTo>
                      <a:pt x="24" y="6"/>
                    </a:moveTo>
                    <a:lnTo>
                      <a:pt x="18" y="10"/>
                    </a:lnTo>
                    <a:lnTo>
                      <a:pt x="18" y="18"/>
                    </a:lnTo>
                    <a:lnTo>
                      <a:pt x="16" y="26"/>
                    </a:lnTo>
                    <a:lnTo>
                      <a:pt x="14" y="32"/>
                    </a:lnTo>
                    <a:lnTo>
                      <a:pt x="10" y="36"/>
                    </a:lnTo>
                    <a:lnTo>
                      <a:pt x="10" y="42"/>
                    </a:lnTo>
                    <a:lnTo>
                      <a:pt x="0" y="42"/>
                    </a:lnTo>
                    <a:lnTo>
                      <a:pt x="4" y="10"/>
                    </a:lnTo>
                    <a:lnTo>
                      <a:pt x="8" y="10"/>
                    </a:lnTo>
                    <a:lnTo>
                      <a:pt x="10" y="8"/>
                    </a:lnTo>
                    <a:lnTo>
                      <a:pt x="12" y="6"/>
                    </a:lnTo>
                    <a:lnTo>
                      <a:pt x="14" y="2"/>
                    </a:lnTo>
                    <a:lnTo>
                      <a:pt x="16" y="0"/>
                    </a:lnTo>
                    <a:lnTo>
                      <a:pt x="20" y="0"/>
                    </a:lnTo>
                    <a:lnTo>
                      <a:pt x="22" y="2"/>
                    </a:lnTo>
                    <a:lnTo>
                      <a:pt x="22" y="6"/>
                    </a:lnTo>
                    <a:lnTo>
                      <a:pt x="24"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49" name="Freeform 61"/>
              <p:cNvSpPr>
                <a:spLocks noChangeAspect="1"/>
              </p:cNvSpPr>
              <p:nvPr/>
            </p:nvSpPr>
            <p:spPr bwMode="auto">
              <a:xfrm>
                <a:off x="1554571" y="4256625"/>
                <a:ext cx="99987" cy="85878"/>
              </a:xfrm>
              <a:custGeom>
                <a:avLst/>
                <a:gdLst/>
                <a:ahLst/>
                <a:cxnLst>
                  <a:cxn ang="0">
                    <a:pos x="72" y="30"/>
                  </a:cxn>
                  <a:cxn ang="0">
                    <a:pos x="68" y="32"/>
                  </a:cxn>
                  <a:cxn ang="0">
                    <a:pos x="62" y="32"/>
                  </a:cxn>
                  <a:cxn ang="0">
                    <a:pos x="52" y="32"/>
                  </a:cxn>
                  <a:cxn ang="0">
                    <a:pos x="56" y="0"/>
                  </a:cxn>
                  <a:cxn ang="0">
                    <a:pos x="32" y="0"/>
                  </a:cxn>
                  <a:cxn ang="0">
                    <a:pos x="28" y="2"/>
                  </a:cxn>
                  <a:cxn ang="0">
                    <a:pos x="24" y="6"/>
                  </a:cxn>
                  <a:cxn ang="0">
                    <a:pos x="20" y="14"/>
                  </a:cxn>
                  <a:cxn ang="0">
                    <a:pos x="22" y="18"/>
                  </a:cxn>
                  <a:cxn ang="0">
                    <a:pos x="24" y="22"/>
                  </a:cxn>
                  <a:cxn ang="0">
                    <a:pos x="28" y="24"/>
                  </a:cxn>
                  <a:cxn ang="0">
                    <a:pos x="30" y="28"/>
                  </a:cxn>
                  <a:cxn ang="0">
                    <a:pos x="30" y="34"/>
                  </a:cxn>
                  <a:cxn ang="0">
                    <a:pos x="10" y="34"/>
                  </a:cxn>
                  <a:cxn ang="0">
                    <a:pos x="6" y="40"/>
                  </a:cxn>
                  <a:cxn ang="0">
                    <a:pos x="4" y="46"/>
                  </a:cxn>
                  <a:cxn ang="0">
                    <a:pos x="0" y="58"/>
                  </a:cxn>
                  <a:cxn ang="0">
                    <a:pos x="8" y="66"/>
                  </a:cxn>
                  <a:cxn ang="0">
                    <a:pos x="14" y="68"/>
                  </a:cxn>
                  <a:cxn ang="0">
                    <a:pos x="16" y="70"/>
                  </a:cxn>
                  <a:cxn ang="0">
                    <a:pos x="26" y="70"/>
                  </a:cxn>
                  <a:cxn ang="0">
                    <a:pos x="30" y="70"/>
                  </a:cxn>
                  <a:cxn ang="0">
                    <a:pos x="34" y="72"/>
                  </a:cxn>
                  <a:cxn ang="0">
                    <a:pos x="40" y="70"/>
                  </a:cxn>
                  <a:cxn ang="0">
                    <a:pos x="42" y="64"/>
                  </a:cxn>
                  <a:cxn ang="0">
                    <a:pos x="46" y="64"/>
                  </a:cxn>
                  <a:cxn ang="0">
                    <a:pos x="50" y="56"/>
                  </a:cxn>
                  <a:cxn ang="0">
                    <a:pos x="54" y="50"/>
                  </a:cxn>
                  <a:cxn ang="0">
                    <a:pos x="64" y="44"/>
                  </a:cxn>
                  <a:cxn ang="0">
                    <a:pos x="68" y="36"/>
                  </a:cxn>
                  <a:cxn ang="0">
                    <a:pos x="72" y="30"/>
                  </a:cxn>
                </a:cxnLst>
                <a:rect l="0" t="0" r="r" b="b"/>
                <a:pathLst>
                  <a:path w="72" h="72">
                    <a:moveTo>
                      <a:pt x="72" y="30"/>
                    </a:moveTo>
                    <a:lnTo>
                      <a:pt x="68" y="32"/>
                    </a:lnTo>
                    <a:lnTo>
                      <a:pt x="62" y="32"/>
                    </a:lnTo>
                    <a:lnTo>
                      <a:pt x="52" y="32"/>
                    </a:lnTo>
                    <a:lnTo>
                      <a:pt x="56" y="0"/>
                    </a:lnTo>
                    <a:lnTo>
                      <a:pt x="32" y="0"/>
                    </a:lnTo>
                    <a:lnTo>
                      <a:pt x="28" y="2"/>
                    </a:lnTo>
                    <a:lnTo>
                      <a:pt x="24" y="6"/>
                    </a:lnTo>
                    <a:lnTo>
                      <a:pt x="20" y="14"/>
                    </a:lnTo>
                    <a:lnTo>
                      <a:pt x="22" y="18"/>
                    </a:lnTo>
                    <a:lnTo>
                      <a:pt x="24" y="22"/>
                    </a:lnTo>
                    <a:lnTo>
                      <a:pt x="28" y="24"/>
                    </a:lnTo>
                    <a:lnTo>
                      <a:pt x="30" y="28"/>
                    </a:lnTo>
                    <a:lnTo>
                      <a:pt x="30" y="34"/>
                    </a:lnTo>
                    <a:lnTo>
                      <a:pt x="10" y="34"/>
                    </a:lnTo>
                    <a:lnTo>
                      <a:pt x="6" y="40"/>
                    </a:lnTo>
                    <a:lnTo>
                      <a:pt x="4" y="46"/>
                    </a:lnTo>
                    <a:lnTo>
                      <a:pt x="0" y="58"/>
                    </a:lnTo>
                    <a:lnTo>
                      <a:pt x="8" y="66"/>
                    </a:lnTo>
                    <a:lnTo>
                      <a:pt x="14" y="68"/>
                    </a:lnTo>
                    <a:lnTo>
                      <a:pt x="16" y="70"/>
                    </a:lnTo>
                    <a:lnTo>
                      <a:pt x="26" y="70"/>
                    </a:lnTo>
                    <a:lnTo>
                      <a:pt x="30" y="70"/>
                    </a:lnTo>
                    <a:lnTo>
                      <a:pt x="34" y="72"/>
                    </a:lnTo>
                    <a:lnTo>
                      <a:pt x="40" y="70"/>
                    </a:lnTo>
                    <a:lnTo>
                      <a:pt x="42" y="64"/>
                    </a:lnTo>
                    <a:lnTo>
                      <a:pt x="46" y="64"/>
                    </a:lnTo>
                    <a:lnTo>
                      <a:pt x="50" y="56"/>
                    </a:lnTo>
                    <a:lnTo>
                      <a:pt x="54" y="50"/>
                    </a:lnTo>
                    <a:lnTo>
                      <a:pt x="64" y="44"/>
                    </a:lnTo>
                    <a:lnTo>
                      <a:pt x="68" y="36"/>
                    </a:lnTo>
                    <a:lnTo>
                      <a:pt x="72" y="3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0" name="Freeform 62"/>
              <p:cNvSpPr>
                <a:spLocks noChangeAspect="1"/>
              </p:cNvSpPr>
              <p:nvPr/>
            </p:nvSpPr>
            <p:spPr bwMode="auto">
              <a:xfrm>
                <a:off x="1959922" y="4208916"/>
                <a:ext cx="60803" cy="42939"/>
              </a:xfrm>
              <a:custGeom>
                <a:avLst/>
                <a:gdLst/>
                <a:ahLst/>
                <a:cxnLst>
                  <a:cxn ang="0">
                    <a:pos x="42" y="36"/>
                  </a:cxn>
                  <a:cxn ang="0">
                    <a:pos x="42" y="34"/>
                  </a:cxn>
                  <a:cxn ang="0">
                    <a:pos x="14" y="34"/>
                  </a:cxn>
                  <a:cxn ang="0">
                    <a:pos x="4" y="32"/>
                  </a:cxn>
                  <a:cxn ang="0">
                    <a:pos x="2" y="30"/>
                  </a:cxn>
                  <a:cxn ang="0">
                    <a:pos x="0" y="26"/>
                  </a:cxn>
                  <a:cxn ang="0">
                    <a:pos x="14" y="22"/>
                  </a:cxn>
                  <a:cxn ang="0">
                    <a:pos x="20" y="24"/>
                  </a:cxn>
                  <a:cxn ang="0">
                    <a:pos x="26" y="26"/>
                  </a:cxn>
                  <a:cxn ang="0">
                    <a:pos x="28" y="24"/>
                  </a:cxn>
                  <a:cxn ang="0">
                    <a:pos x="30" y="20"/>
                  </a:cxn>
                  <a:cxn ang="0">
                    <a:pos x="28" y="18"/>
                  </a:cxn>
                  <a:cxn ang="0">
                    <a:pos x="28" y="14"/>
                  </a:cxn>
                  <a:cxn ang="0">
                    <a:pos x="28" y="10"/>
                  </a:cxn>
                  <a:cxn ang="0">
                    <a:pos x="24" y="8"/>
                  </a:cxn>
                  <a:cxn ang="0">
                    <a:pos x="22" y="6"/>
                  </a:cxn>
                  <a:cxn ang="0">
                    <a:pos x="22" y="2"/>
                  </a:cxn>
                  <a:cxn ang="0">
                    <a:pos x="26" y="2"/>
                  </a:cxn>
                  <a:cxn ang="0">
                    <a:pos x="28" y="0"/>
                  </a:cxn>
                  <a:cxn ang="0">
                    <a:pos x="44" y="2"/>
                  </a:cxn>
                  <a:cxn ang="0">
                    <a:pos x="44" y="6"/>
                  </a:cxn>
                  <a:cxn ang="0">
                    <a:pos x="42" y="8"/>
                  </a:cxn>
                  <a:cxn ang="0">
                    <a:pos x="42" y="18"/>
                  </a:cxn>
                  <a:cxn ang="0">
                    <a:pos x="40" y="28"/>
                  </a:cxn>
                  <a:cxn ang="0">
                    <a:pos x="40" y="34"/>
                  </a:cxn>
                  <a:cxn ang="0">
                    <a:pos x="42" y="36"/>
                  </a:cxn>
                </a:cxnLst>
                <a:rect l="0" t="0" r="r" b="b"/>
                <a:pathLst>
                  <a:path w="44" h="36">
                    <a:moveTo>
                      <a:pt x="42" y="36"/>
                    </a:moveTo>
                    <a:lnTo>
                      <a:pt x="42" y="34"/>
                    </a:lnTo>
                    <a:lnTo>
                      <a:pt x="14" y="34"/>
                    </a:lnTo>
                    <a:lnTo>
                      <a:pt x="4" y="32"/>
                    </a:lnTo>
                    <a:lnTo>
                      <a:pt x="2" y="30"/>
                    </a:lnTo>
                    <a:lnTo>
                      <a:pt x="0" y="26"/>
                    </a:lnTo>
                    <a:lnTo>
                      <a:pt x="14" y="22"/>
                    </a:lnTo>
                    <a:lnTo>
                      <a:pt x="20" y="24"/>
                    </a:lnTo>
                    <a:lnTo>
                      <a:pt x="26" y="26"/>
                    </a:lnTo>
                    <a:lnTo>
                      <a:pt x="28" y="24"/>
                    </a:lnTo>
                    <a:lnTo>
                      <a:pt x="30" y="20"/>
                    </a:lnTo>
                    <a:lnTo>
                      <a:pt x="28" y="18"/>
                    </a:lnTo>
                    <a:lnTo>
                      <a:pt x="28" y="14"/>
                    </a:lnTo>
                    <a:lnTo>
                      <a:pt x="28" y="10"/>
                    </a:lnTo>
                    <a:lnTo>
                      <a:pt x="24" y="8"/>
                    </a:lnTo>
                    <a:lnTo>
                      <a:pt x="22" y="6"/>
                    </a:lnTo>
                    <a:lnTo>
                      <a:pt x="22" y="2"/>
                    </a:lnTo>
                    <a:lnTo>
                      <a:pt x="26" y="2"/>
                    </a:lnTo>
                    <a:lnTo>
                      <a:pt x="28" y="0"/>
                    </a:lnTo>
                    <a:lnTo>
                      <a:pt x="44" y="2"/>
                    </a:lnTo>
                    <a:lnTo>
                      <a:pt x="44" y="6"/>
                    </a:lnTo>
                    <a:lnTo>
                      <a:pt x="42" y="8"/>
                    </a:lnTo>
                    <a:lnTo>
                      <a:pt x="42" y="18"/>
                    </a:lnTo>
                    <a:lnTo>
                      <a:pt x="40" y="28"/>
                    </a:lnTo>
                    <a:lnTo>
                      <a:pt x="40" y="34"/>
                    </a:lnTo>
                    <a:lnTo>
                      <a:pt x="42" y="3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1" name="Freeform 63"/>
              <p:cNvSpPr>
                <a:spLocks noChangeAspect="1"/>
              </p:cNvSpPr>
              <p:nvPr/>
            </p:nvSpPr>
            <p:spPr bwMode="auto">
              <a:xfrm>
                <a:off x="2018023" y="4208916"/>
                <a:ext cx="79719" cy="42939"/>
              </a:xfrm>
              <a:custGeom>
                <a:avLst/>
                <a:gdLst/>
                <a:ahLst/>
                <a:cxnLst>
                  <a:cxn ang="0">
                    <a:pos x="0" y="32"/>
                  </a:cxn>
                  <a:cxn ang="0">
                    <a:pos x="0" y="26"/>
                  </a:cxn>
                  <a:cxn ang="0">
                    <a:pos x="2" y="16"/>
                  </a:cxn>
                  <a:cxn ang="0">
                    <a:pos x="2" y="6"/>
                  </a:cxn>
                  <a:cxn ang="0">
                    <a:pos x="4" y="4"/>
                  </a:cxn>
                  <a:cxn ang="0">
                    <a:pos x="4" y="0"/>
                  </a:cxn>
                  <a:cxn ang="0">
                    <a:pos x="14" y="2"/>
                  </a:cxn>
                  <a:cxn ang="0">
                    <a:pos x="26" y="2"/>
                  </a:cxn>
                  <a:cxn ang="0">
                    <a:pos x="26" y="4"/>
                  </a:cxn>
                  <a:cxn ang="0">
                    <a:pos x="28" y="4"/>
                  </a:cxn>
                  <a:cxn ang="0">
                    <a:pos x="34" y="4"/>
                  </a:cxn>
                  <a:cxn ang="0">
                    <a:pos x="36" y="4"/>
                  </a:cxn>
                  <a:cxn ang="0">
                    <a:pos x="38" y="6"/>
                  </a:cxn>
                  <a:cxn ang="0">
                    <a:pos x="40" y="8"/>
                  </a:cxn>
                  <a:cxn ang="0">
                    <a:pos x="42" y="8"/>
                  </a:cxn>
                  <a:cxn ang="0">
                    <a:pos x="42" y="10"/>
                  </a:cxn>
                  <a:cxn ang="0">
                    <a:pos x="42" y="12"/>
                  </a:cxn>
                  <a:cxn ang="0">
                    <a:pos x="48" y="14"/>
                  </a:cxn>
                  <a:cxn ang="0">
                    <a:pos x="52" y="16"/>
                  </a:cxn>
                  <a:cxn ang="0">
                    <a:pos x="54" y="18"/>
                  </a:cxn>
                  <a:cxn ang="0">
                    <a:pos x="58" y="26"/>
                  </a:cxn>
                  <a:cxn ang="0">
                    <a:pos x="52" y="28"/>
                  </a:cxn>
                  <a:cxn ang="0">
                    <a:pos x="50" y="32"/>
                  </a:cxn>
                  <a:cxn ang="0">
                    <a:pos x="48" y="30"/>
                  </a:cxn>
                  <a:cxn ang="0">
                    <a:pos x="46" y="28"/>
                  </a:cxn>
                  <a:cxn ang="0">
                    <a:pos x="30" y="28"/>
                  </a:cxn>
                  <a:cxn ang="0">
                    <a:pos x="28" y="30"/>
                  </a:cxn>
                  <a:cxn ang="0">
                    <a:pos x="26" y="30"/>
                  </a:cxn>
                  <a:cxn ang="0">
                    <a:pos x="18" y="30"/>
                  </a:cxn>
                  <a:cxn ang="0">
                    <a:pos x="14" y="30"/>
                  </a:cxn>
                  <a:cxn ang="0">
                    <a:pos x="12" y="34"/>
                  </a:cxn>
                  <a:cxn ang="0">
                    <a:pos x="8" y="36"/>
                  </a:cxn>
                  <a:cxn ang="0">
                    <a:pos x="2" y="36"/>
                  </a:cxn>
                  <a:cxn ang="0">
                    <a:pos x="2" y="34"/>
                  </a:cxn>
                  <a:cxn ang="0">
                    <a:pos x="0" y="32"/>
                  </a:cxn>
                </a:cxnLst>
                <a:rect l="0" t="0" r="r" b="b"/>
                <a:pathLst>
                  <a:path w="58" h="36">
                    <a:moveTo>
                      <a:pt x="0" y="32"/>
                    </a:moveTo>
                    <a:lnTo>
                      <a:pt x="0" y="26"/>
                    </a:lnTo>
                    <a:lnTo>
                      <a:pt x="2" y="16"/>
                    </a:lnTo>
                    <a:lnTo>
                      <a:pt x="2" y="6"/>
                    </a:lnTo>
                    <a:lnTo>
                      <a:pt x="4" y="4"/>
                    </a:lnTo>
                    <a:lnTo>
                      <a:pt x="4" y="0"/>
                    </a:lnTo>
                    <a:lnTo>
                      <a:pt x="14" y="2"/>
                    </a:lnTo>
                    <a:lnTo>
                      <a:pt x="26" y="2"/>
                    </a:lnTo>
                    <a:lnTo>
                      <a:pt x="26" y="4"/>
                    </a:lnTo>
                    <a:lnTo>
                      <a:pt x="28" y="4"/>
                    </a:lnTo>
                    <a:lnTo>
                      <a:pt x="34" y="4"/>
                    </a:lnTo>
                    <a:lnTo>
                      <a:pt x="36" y="4"/>
                    </a:lnTo>
                    <a:lnTo>
                      <a:pt x="38" y="6"/>
                    </a:lnTo>
                    <a:lnTo>
                      <a:pt x="40" y="8"/>
                    </a:lnTo>
                    <a:lnTo>
                      <a:pt x="42" y="8"/>
                    </a:lnTo>
                    <a:lnTo>
                      <a:pt x="42" y="10"/>
                    </a:lnTo>
                    <a:lnTo>
                      <a:pt x="42" y="12"/>
                    </a:lnTo>
                    <a:lnTo>
                      <a:pt x="48" y="14"/>
                    </a:lnTo>
                    <a:lnTo>
                      <a:pt x="52" y="16"/>
                    </a:lnTo>
                    <a:lnTo>
                      <a:pt x="54" y="18"/>
                    </a:lnTo>
                    <a:lnTo>
                      <a:pt x="58" y="26"/>
                    </a:lnTo>
                    <a:lnTo>
                      <a:pt x="52" y="28"/>
                    </a:lnTo>
                    <a:lnTo>
                      <a:pt x="50" y="32"/>
                    </a:lnTo>
                    <a:lnTo>
                      <a:pt x="48" y="30"/>
                    </a:lnTo>
                    <a:lnTo>
                      <a:pt x="46" y="28"/>
                    </a:lnTo>
                    <a:lnTo>
                      <a:pt x="30" y="28"/>
                    </a:lnTo>
                    <a:lnTo>
                      <a:pt x="28" y="30"/>
                    </a:lnTo>
                    <a:lnTo>
                      <a:pt x="26" y="30"/>
                    </a:lnTo>
                    <a:lnTo>
                      <a:pt x="18" y="30"/>
                    </a:lnTo>
                    <a:lnTo>
                      <a:pt x="14" y="30"/>
                    </a:lnTo>
                    <a:lnTo>
                      <a:pt x="12" y="34"/>
                    </a:lnTo>
                    <a:lnTo>
                      <a:pt x="8" y="36"/>
                    </a:lnTo>
                    <a:lnTo>
                      <a:pt x="2" y="36"/>
                    </a:lnTo>
                    <a:lnTo>
                      <a:pt x="2" y="34"/>
                    </a:lnTo>
                    <a:lnTo>
                      <a:pt x="0" y="3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2" name="Freeform 64"/>
              <p:cNvSpPr>
                <a:spLocks noChangeAspect="1"/>
              </p:cNvSpPr>
              <p:nvPr/>
            </p:nvSpPr>
            <p:spPr bwMode="auto">
              <a:xfrm>
                <a:off x="2224751" y="4402140"/>
                <a:ext cx="18916" cy="16698"/>
              </a:xfrm>
              <a:custGeom>
                <a:avLst/>
                <a:gdLst/>
                <a:ahLst/>
                <a:cxnLst>
                  <a:cxn ang="0">
                    <a:pos x="8" y="12"/>
                  </a:cxn>
                  <a:cxn ang="0">
                    <a:pos x="10" y="8"/>
                  </a:cxn>
                  <a:cxn ang="0">
                    <a:pos x="12" y="8"/>
                  </a:cxn>
                  <a:cxn ang="0">
                    <a:pos x="12" y="4"/>
                  </a:cxn>
                  <a:cxn ang="0">
                    <a:pos x="10" y="2"/>
                  </a:cxn>
                  <a:cxn ang="0">
                    <a:pos x="6" y="0"/>
                  </a:cxn>
                  <a:cxn ang="0">
                    <a:pos x="0" y="10"/>
                  </a:cxn>
                  <a:cxn ang="0">
                    <a:pos x="8" y="12"/>
                  </a:cxn>
                </a:cxnLst>
                <a:rect l="0" t="0" r="r" b="b"/>
                <a:pathLst>
                  <a:path w="12" h="12">
                    <a:moveTo>
                      <a:pt x="8" y="12"/>
                    </a:moveTo>
                    <a:lnTo>
                      <a:pt x="10" y="8"/>
                    </a:lnTo>
                    <a:lnTo>
                      <a:pt x="12" y="8"/>
                    </a:lnTo>
                    <a:lnTo>
                      <a:pt x="12" y="4"/>
                    </a:lnTo>
                    <a:lnTo>
                      <a:pt x="10" y="2"/>
                    </a:lnTo>
                    <a:lnTo>
                      <a:pt x="6" y="0"/>
                    </a:lnTo>
                    <a:lnTo>
                      <a:pt x="0" y="10"/>
                    </a:lnTo>
                    <a:lnTo>
                      <a:pt x="8"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3" name="Freeform 65"/>
              <p:cNvSpPr>
                <a:spLocks noChangeAspect="1"/>
              </p:cNvSpPr>
              <p:nvPr/>
            </p:nvSpPr>
            <p:spPr bwMode="auto">
              <a:xfrm>
                <a:off x="2469314" y="4635919"/>
                <a:ext cx="55398" cy="40553"/>
              </a:xfrm>
              <a:custGeom>
                <a:avLst/>
                <a:gdLst/>
                <a:ahLst/>
                <a:cxnLst>
                  <a:cxn ang="0">
                    <a:pos x="0" y="22"/>
                  </a:cxn>
                  <a:cxn ang="0">
                    <a:pos x="4" y="30"/>
                  </a:cxn>
                  <a:cxn ang="0">
                    <a:pos x="18" y="32"/>
                  </a:cxn>
                  <a:cxn ang="0">
                    <a:pos x="26" y="34"/>
                  </a:cxn>
                  <a:cxn ang="0">
                    <a:pos x="28" y="32"/>
                  </a:cxn>
                  <a:cxn ang="0">
                    <a:pos x="32" y="32"/>
                  </a:cxn>
                  <a:cxn ang="0">
                    <a:pos x="36" y="22"/>
                  </a:cxn>
                  <a:cxn ang="0">
                    <a:pos x="38" y="12"/>
                  </a:cxn>
                  <a:cxn ang="0">
                    <a:pos x="40" y="6"/>
                  </a:cxn>
                  <a:cxn ang="0">
                    <a:pos x="30" y="4"/>
                  </a:cxn>
                  <a:cxn ang="0">
                    <a:pos x="22" y="4"/>
                  </a:cxn>
                  <a:cxn ang="0">
                    <a:pos x="16" y="0"/>
                  </a:cxn>
                  <a:cxn ang="0">
                    <a:pos x="10" y="0"/>
                  </a:cxn>
                  <a:cxn ang="0">
                    <a:pos x="8" y="0"/>
                  </a:cxn>
                  <a:cxn ang="0">
                    <a:pos x="6" y="2"/>
                  </a:cxn>
                  <a:cxn ang="0">
                    <a:pos x="4" y="4"/>
                  </a:cxn>
                  <a:cxn ang="0">
                    <a:pos x="2" y="14"/>
                  </a:cxn>
                  <a:cxn ang="0">
                    <a:pos x="0" y="22"/>
                  </a:cxn>
                </a:cxnLst>
                <a:rect l="0" t="0" r="r" b="b"/>
                <a:pathLst>
                  <a:path w="40" h="34">
                    <a:moveTo>
                      <a:pt x="0" y="22"/>
                    </a:moveTo>
                    <a:lnTo>
                      <a:pt x="4" y="30"/>
                    </a:lnTo>
                    <a:lnTo>
                      <a:pt x="18" y="32"/>
                    </a:lnTo>
                    <a:lnTo>
                      <a:pt x="26" y="34"/>
                    </a:lnTo>
                    <a:lnTo>
                      <a:pt x="28" y="32"/>
                    </a:lnTo>
                    <a:lnTo>
                      <a:pt x="32" y="32"/>
                    </a:lnTo>
                    <a:lnTo>
                      <a:pt x="36" y="22"/>
                    </a:lnTo>
                    <a:lnTo>
                      <a:pt x="38" y="12"/>
                    </a:lnTo>
                    <a:lnTo>
                      <a:pt x="40" y="6"/>
                    </a:lnTo>
                    <a:lnTo>
                      <a:pt x="30" y="4"/>
                    </a:lnTo>
                    <a:lnTo>
                      <a:pt x="22" y="4"/>
                    </a:lnTo>
                    <a:lnTo>
                      <a:pt x="16" y="0"/>
                    </a:lnTo>
                    <a:lnTo>
                      <a:pt x="10" y="0"/>
                    </a:lnTo>
                    <a:lnTo>
                      <a:pt x="8" y="0"/>
                    </a:lnTo>
                    <a:lnTo>
                      <a:pt x="6" y="2"/>
                    </a:lnTo>
                    <a:lnTo>
                      <a:pt x="4" y="4"/>
                    </a:lnTo>
                    <a:lnTo>
                      <a:pt x="2" y="14"/>
                    </a:lnTo>
                    <a:lnTo>
                      <a:pt x="0" y="2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4" name="Freeform 66"/>
              <p:cNvSpPr>
                <a:spLocks noChangeAspect="1"/>
              </p:cNvSpPr>
              <p:nvPr/>
            </p:nvSpPr>
            <p:spPr bwMode="auto">
              <a:xfrm>
                <a:off x="2231507" y="4451043"/>
                <a:ext cx="94582" cy="163407"/>
              </a:xfrm>
              <a:custGeom>
                <a:avLst/>
                <a:gdLst/>
                <a:ahLst/>
                <a:cxnLst>
                  <a:cxn ang="0">
                    <a:pos x="26" y="0"/>
                  </a:cxn>
                  <a:cxn ang="0">
                    <a:pos x="22" y="8"/>
                  </a:cxn>
                  <a:cxn ang="0">
                    <a:pos x="18" y="14"/>
                  </a:cxn>
                  <a:cxn ang="0">
                    <a:pos x="12" y="18"/>
                  </a:cxn>
                  <a:cxn ang="0">
                    <a:pos x="10" y="24"/>
                  </a:cxn>
                  <a:cxn ang="0">
                    <a:pos x="12" y="28"/>
                  </a:cxn>
                  <a:cxn ang="0">
                    <a:pos x="18" y="32"/>
                  </a:cxn>
                  <a:cxn ang="0">
                    <a:pos x="0" y="42"/>
                  </a:cxn>
                  <a:cxn ang="0">
                    <a:pos x="0" y="54"/>
                  </a:cxn>
                  <a:cxn ang="0">
                    <a:pos x="2" y="58"/>
                  </a:cxn>
                  <a:cxn ang="0">
                    <a:pos x="4" y="60"/>
                  </a:cxn>
                  <a:cxn ang="0">
                    <a:pos x="8" y="64"/>
                  </a:cxn>
                  <a:cxn ang="0">
                    <a:pos x="8" y="68"/>
                  </a:cxn>
                  <a:cxn ang="0">
                    <a:pos x="20" y="68"/>
                  </a:cxn>
                  <a:cxn ang="0">
                    <a:pos x="20" y="76"/>
                  </a:cxn>
                  <a:cxn ang="0">
                    <a:pos x="20" y="78"/>
                  </a:cxn>
                  <a:cxn ang="0">
                    <a:pos x="24" y="82"/>
                  </a:cxn>
                  <a:cxn ang="0">
                    <a:pos x="26" y="88"/>
                  </a:cxn>
                  <a:cxn ang="0">
                    <a:pos x="26" y="94"/>
                  </a:cxn>
                  <a:cxn ang="0">
                    <a:pos x="26" y="98"/>
                  </a:cxn>
                  <a:cxn ang="0">
                    <a:pos x="26" y="102"/>
                  </a:cxn>
                  <a:cxn ang="0">
                    <a:pos x="24" y="106"/>
                  </a:cxn>
                  <a:cxn ang="0">
                    <a:pos x="22" y="112"/>
                  </a:cxn>
                  <a:cxn ang="0">
                    <a:pos x="24" y="122"/>
                  </a:cxn>
                  <a:cxn ang="0">
                    <a:pos x="26" y="130"/>
                  </a:cxn>
                  <a:cxn ang="0">
                    <a:pos x="32" y="136"/>
                  </a:cxn>
                  <a:cxn ang="0">
                    <a:pos x="34" y="138"/>
                  </a:cxn>
                  <a:cxn ang="0">
                    <a:pos x="38" y="138"/>
                  </a:cxn>
                  <a:cxn ang="0">
                    <a:pos x="44" y="138"/>
                  </a:cxn>
                  <a:cxn ang="0">
                    <a:pos x="48" y="136"/>
                  </a:cxn>
                  <a:cxn ang="0">
                    <a:pos x="54" y="132"/>
                  </a:cxn>
                  <a:cxn ang="0">
                    <a:pos x="60" y="126"/>
                  </a:cxn>
                  <a:cxn ang="0">
                    <a:pos x="64" y="124"/>
                  </a:cxn>
                  <a:cxn ang="0">
                    <a:pos x="70" y="124"/>
                  </a:cxn>
                  <a:cxn ang="0">
                    <a:pos x="68" y="118"/>
                  </a:cxn>
                  <a:cxn ang="0">
                    <a:pos x="66" y="112"/>
                  </a:cxn>
                  <a:cxn ang="0">
                    <a:pos x="60" y="104"/>
                  </a:cxn>
                  <a:cxn ang="0">
                    <a:pos x="54" y="96"/>
                  </a:cxn>
                  <a:cxn ang="0">
                    <a:pos x="54" y="92"/>
                  </a:cxn>
                  <a:cxn ang="0">
                    <a:pos x="54" y="86"/>
                  </a:cxn>
                  <a:cxn ang="0">
                    <a:pos x="54" y="82"/>
                  </a:cxn>
                  <a:cxn ang="0">
                    <a:pos x="54" y="78"/>
                  </a:cxn>
                  <a:cxn ang="0">
                    <a:pos x="58" y="74"/>
                  </a:cxn>
                  <a:cxn ang="0">
                    <a:pos x="64" y="70"/>
                  </a:cxn>
                  <a:cxn ang="0">
                    <a:pos x="68" y="64"/>
                  </a:cxn>
                  <a:cxn ang="0">
                    <a:pos x="70" y="44"/>
                  </a:cxn>
                  <a:cxn ang="0">
                    <a:pos x="60" y="36"/>
                  </a:cxn>
                  <a:cxn ang="0">
                    <a:pos x="56" y="32"/>
                  </a:cxn>
                  <a:cxn ang="0">
                    <a:pos x="52" y="32"/>
                  </a:cxn>
                  <a:cxn ang="0">
                    <a:pos x="46" y="32"/>
                  </a:cxn>
                  <a:cxn ang="0">
                    <a:pos x="46" y="24"/>
                  </a:cxn>
                  <a:cxn ang="0">
                    <a:pos x="44" y="20"/>
                  </a:cxn>
                  <a:cxn ang="0">
                    <a:pos x="40" y="12"/>
                  </a:cxn>
                  <a:cxn ang="0">
                    <a:pos x="32" y="4"/>
                  </a:cxn>
                  <a:cxn ang="0">
                    <a:pos x="26" y="0"/>
                  </a:cxn>
                </a:cxnLst>
                <a:rect l="0" t="0" r="r" b="b"/>
                <a:pathLst>
                  <a:path w="70" h="138">
                    <a:moveTo>
                      <a:pt x="26" y="0"/>
                    </a:moveTo>
                    <a:lnTo>
                      <a:pt x="22" y="8"/>
                    </a:lnTo>
                    <a:lnTo>
                      <a:pt x="18" y="14"/>
                    </a:lnTo>
                    <a:lnTo>
                      <a:pt x="12" y="18"/>
                    </a:lnTo>
                    <a:lnTo>
                      <a:pt x="10" y="24"/>
                    </a:lnTo>
                    <a:lnTo>
                      <a:pt x="12" y="28"/>
                    </a:lnTo>
                    <a:lnTo>
                      <a:pt x="18" y="32"/>
                    </a:lnTo>
                    <a:lnTo>
                      <a:pt x="0" y="42"/>
                    </a:lnTo>
                    <a:lnTo>
                      <a:pt x="0" y="54"/>
                    </a:lnTo>
                    <a:lnTo>
                      <a:pt x="2" y="58"/>
                    </a:lnTo>
                    <a:lnTo>
                      <a:pt x="4" y="60"/>
                    </a:lnTo>
                    <a:lnTo>
                      <a:pt x="8" y="64"/>
                    </a:lnTo>
                    <a:lnTo>
                      <a:pt x="8" y="68"/>
                    </a:lnTo>
                    <a:lnTo>
                      <a:pt x="20" y="68"/>
                    </a:lnTo>
                    <a:lnTo>
                      <a:pt x="20" y="76"/>
                    </a:lnTo>
                    <a:lnTo>
                      <a:pt x="20" y="78"/>
                    </a:lnTo>
                    <a:lnTo>
                      <a:pt x="24" y="82"/>
                    </a:lnTo>
                    <a:lnTo>
                      <a:pt x="26" y="88"/>
                    </a:lnTo>
                    <a:lnTo>
                      <a:pt x="26" y="94"/>
                    </a:lnTo>
                    <a:lnTo>
                      <a:pt x="26" y="98"/>
                    </a:lnTo>
                    <a:lnTo>
                      <a:pt x="26" y="102"/>
                    </a:lnTo>
                    <a:lnTo>
                      <a:pt x="24" y="106"/>
                    </a:lnTo>
                    <a:lnTo>
                      <a:pt x="22" y="112"/>
                    </a:lnTo>
                    <a:lnTo>
                      <a:pt x="24" y="122"/>
                    </a:lnTo>
                    <a:lnTo>
                      <a:pt x="26" y="130"/>
                    </a:lnTo>
                    <a:lnTo>
                      <a:pt x="32" y="136"/>
                    </a:lnTo>
                    <a:lnTo>
                      <a:pt x="34" y="138"/>
                    </a:lnTo>
                    <a:lnTo>
                      <a:pt x="38" y="138"/>
                    </a:lnTo>
                    <a:lnTo>
                      <a:pt x="44" y="138"/>
                    </a:lnTo>
                    <a:lnTo>
                      <a:pt x="48" y="136"/>
                    </a:lnTo>
                    <a:lnTo>
                      <a:pt x="54" y="132"/>
                    </a:lnTo>
                    <a:lnTo>
                      <a:pt x="60" y="126"/>
                    </a:lnTo>
                    <a:lnTo>
                      <a:pt x="64" y="124"/>
                    </a:lnTo>
                    <a:lnTo>
                      <a:pt x="70" y="124"/>
                    </a:lnTo>
                    <a:lnTo>
                      <a:pt x="68" y="118"/>
                    </a:lnTo>
                    <a:lnTo>
                      <a:pt x="66" y="112"/>
                    </a:lnTo>
                    <a:lnTo>
                      <a:pt x="60" y="104"/>
                    </a:lnTo>
                    <a:lnTo>
                      <a:pt x="54" y="96"/>
                    </a:lnTo>
                    <a:lnTo>
                      <a:pt x="54" y="92"/>
                    </a:lnTo>
                    <a:lnTo>
                      <a:pt x="54" y="86"/>
                    </a:lnTo>
                    <a:lnTo>
                      <a:pt x="54" y="82"/>
                    </a:lnTo>
                    <a:lnTo>
                      <a:pt x="54" y="78"/>
                    </a:lnTo>
                    <a:lnTo>
                      <a:pt x="58" y="74"/>
                    </a:lnTo>
                    <a:lnTo>
                      <a:pt x="64" y="70"/>
                    </a:lnTo>
                    <a:lnTo>
                      <a:pt x="68" y="64"/>
                    </a:lnTo>
                    <a:lnTo>
                      <a:pt x="70" y="44"/>
                    </a:lnTo>
                    <a:lnTo>
                      <a:pt x="60" y="36"/>
                    </a:lnTo>
                    <a:lnTo>
                      <a:pt x="56" y="32"/>
                    </a:lnTo>
                    <a:lnTo>
                      <a:pt x="52" y="32"/>
                    </a:lnTo>
                    <a:lnTo>
                      <a:pt x="46" y="32"/>
                    </a:lnTo>
                    <a:lnTo>
                      <a:pt x="46" y="24"/>
                    </a:lnTo>
                    <a:lnTo>
                      <a:pt x="44" y="20"/>
                    </a:lnTo>
                    <a:lnTo>
                      <a:pt x="40" y="12"/>
                    </a:lnTo>
                    <a:lnTo>
                      <a:pt x="32" y="4"/>
                    </a:lnTo>
                    <a:lnTo>
                      <a:pt x="26"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5" name="Freeform 67"/>
              <p:cNvSpPr>
                <a:spLocks noChangeAspect="1"/>
              </p:cNvSpPr>
              <p:nvPr/>
            </p:nvSpPr>
            <p:spPr bwMode="auto">
              <a:xfrm>
                <a:off x="2304471" y="4504716"/>
                <a:ext cx="91880" cy="98998"/>
              </a:xfrm>
              <a:custGeom>
                <a:avLst/>
                <a:gdLst/>
                <a:ahLst/>
                <a:cxnLst>
                  <a:cxn ang="0">
                    <a:pos x="66" y="10"/>
                  </a:cxn>
                  <a:cxn ang="0">
                    <a:pos x="64" y="18"/>
                  </a:cxn>
                  <a:cxn ang="0">
                    <a:pos x="60" y="24"/>
                  </a:cxn>
                  <a:cxn ang="0">
                    <a:pos x="58" y="30"/>
                  </a:cxn>
                  <a:cxn ang="0">
                    <a:pos x="56" y="36"/>
                  </a:cxn>
                  <a:cxn ang="0">
                    <a:pos x="58" y="42"/>
                  </a:cxn>
                  <a:cxn ang="0">
                    <a:pos x="60" y="46"/>
                  </a:cxn>
                  <a:cxn ang="0">
                    <a:pos x="62" y="52"/>
                  </a:cxn>
                  <a:cxn ang="0">
                    <a:pos x="64" y="58"/>
                  </a:cxn>
                  <a:cxn ang="0">
                    <a:pos x="62" y="62"/>
                  </a:cxn>
                  <a:cxn ang="0">
                    <a:pos x="58" y="66"/>
                  </a:cxn>
                  <a:cxn ang="0">
                    <a:pos x="54" y="76"/>
                  </a:cxn>
                  <a:cxn ang="0">
                    <a:pos x="52" y="74"/>
                  </a:cxn>
                  <a:cxn ang="0">
                    <a:pos x="50" y="68"/>
                  </a:cxn>
                  <a:cxn ang="0">
                    <a:pos x="40" y="72"/>
                  </a:cxn>
                  <a:cxn ang="0">
                    <a:pos x="28" y="76"/>
                  </a:cxn>
                  <a:cxn ang="0">
                    <a:pos x="28" y="86"/>
                  </a:cxn>
                  <a:cxn ang="0">
                    <a:pos x="26" y="84"/>
                  </a:cxn>
                  <a:cxn ang="0">
                    <a:pos x="22" y="82"/>
                  </a:cxn>
                  <a:cxn ang="0">
                    <a:pos x="20" y="80"/>
                  </a:cxn>
                  <a:cxn ang="0">
                    <a:pos x="16" y="80"/>
                  </a:cxn>
                  <a:cxn ang="0">
                    <a:pos x="14" y="74"/>
                  </a:cxn>
                  <a:cxn ang="0">
                    <a:pos x="12" y="68"/>
                  </a:cxn>
                  <a:cxn ang="0">
                    <a:pos x="6" y="60"/>
                  </a:cxn>
                  <a:cxn ang="0">
                    <a:pos x="0" y="52"/>
                  </a:cxn>
                  <a:cxn ang="0">
                    <a:pos x="0" y="48"/>
                  </a:cxn>
                  <a:cxn ang="0">
                    <a:pos x="0" y="42"/>
                  </a:cxn>
                  <a:cxn ang="0">
                    <a:pos x="0" y="38"/>
                  </a:cxn>
                  <a:cxn ang="0">
                    <a:pos x="0" y="34"/>
                  </a:cxn>
                  <a:cxn ang="0">
                    <a:pos x="4" y="30"/>
                  </a:cxn>
                  <a:cxn ang="0">
                    <a:pos x="10" y="26"/>
                  </a:cxn>
                  <a:cxn ang="0">
                    <a:pos x="14" y="20"/>
                  </a:cxn>
                  <a:cxn ang="0">
                    <a:pos x="16" y="0"/>
                  </a:cxn>
                  <a:cxn ang="0">
                    <a:pos x="24" y="6"/>
                  </a:cxn>
                  <a:cxn ang="0">
                    <a:pos x="28" y="6"/>
                  </a:cxn>
                  <a:cxn ang="0">
                    <a:pos x="44" y="6"/>
                  </a:cxn>
                  <a:cxn ang="0">
                    <a:pos x="48" y="8"/>
                  </a:cxn>
                  <a:cxn ang="0">
                    <a:pos x="66" y="10"/>
                  </a:cxn>
                </a:cxnLst>
                <a:rect l="0" t="0" r="r" b="b"/>
                <a:pathLst>
                  <a:path w="66" h="86">
                    <a:moveTo>
                      <a:pt x="66" y="10"/>
                    </a:moveTo>
                    <a:lnTo>
                      <a:pt x="64" y="18"/>
                    </a:lnTo>
                    <a:lnTo>
                      <a:pt x="60" y="24"/>
                    </a:lnTo>
                    <a:lnTo>
                      <a:pt x="58" y="30"/>
                    </a:lnTo>
                    <a:lnTo>
                      <a:pt x="56" y="36"/>
                    </a:lnTo>
                    <a:lnTo>
                      <a:pt x="58" y="42"/>
                    </a:lnTo>
                    <a:lnTo>
                      <a:pt x="60" y="46"/>
                    </a:lnTo>
                    <a:lnTo>
                      <a:pt x="62" y="52"/>
                    </a:lnTo>
                    <a:lnTo>
                      <a:pt x="64" y="58"/>
                    </a:lnTo>
                    <a:lnTo>
                      <a:pt x="62" y="62"/>
                    </a:lnTo>
                    <a:lnTo>
                      <a:pt x="58" y="66"/>
                    </a:lnTo>
                    <a:lnTo>
                      <a:pt x="54" y="76"/>
                    </a:lnTo>
                    <a:lnTo>
                      <a:pt x="52" y="74"/>
                    </a:lnTo>
                    <a:lnTo>
                      <a:pt x="50" y="68"/>
                    </a:lnTo>
                    <a:lnTo>
                      <a:pt x="40" y="72"/>
                    </a:lnTo>
                    <a:lnTo>
                      <a:pt x="28" y="76"/>
                    </a:lnTo>
                    <a:lnTo>
                      <a:pt x="28" y="86"/>
                    </a:lnTo>
                    <a:lnTo>
                      <a:pt x="26" y="84"/>
                    </a:lnTo>
                    <a:lnTo>
                      <a:pt x="22" y="82"/>
                    </a:lnTo>
                    <a:lnTo>
                      <a:pt x="20" y="80"/>
                    </a:lnTo>
                    <a:lnTo>
                      <a:pt x="16" y="80"/>
                    </a:lnTo>
                    <a:lnTo>
                      <a:pt x="14" y="74"/>
                    </a:lnTo>
                    <a:lnTo>
                      <a:pt x="12" y="68"/>
                    </a:lnTo>
                    <a:lnTo>
                      <a:pt x="6" y="60"/>
                    </a:lnTo>
                    <a:lnTo>
                      <a:pt x="0" y="52"/>
                    </a:lnTo>
                    <a:lnTo>
                      <a:pt x="0" y="48"/>
                    </a:lnTo>
                    <a:lnTo>
                      <a:pt x="0" y="42"/>
                    </a:lnTo>
                    <a:lnTo>
                      <a:pt x="0" y="38"/>
                    </a:lnTo>
                    <a:lnTo>
                      <a:pt x="0" y="34"/>
                    </a:lnTo>
                    <a:lnTo>
                      <a:pt x="4" y="30"/>
                    </a:lnTo>
                    <a:lnTo>
                      <a:pt x="10" y="26"/>
                    </a:lnTo>
                    <a:lnTo>
                      <a:pt x="14" y="20"/>
                    </a:lnTo>
                    <a:lnTo>
                      <a:pt x="16" y="0"/>
                    </a:lnTo>
                    <a:lnTo>
                      <a:pt x="24" y="6"/>
                    </a:lnTo>
                    <a:lnTo>
                      <a:pt x="28" y="6"/>
                    </a:lnTo>
                    <a:lnTo>
                      <a:pt x="44" y="6"/>
                    </a:lnTo>
                    <a:lnTo>
                      <a:pt x="48" y="8"/>
                    </a:lnTo>
                    <a:lnTo>
                      <a:pt x="66" y="1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6" name="Freeform 68"/>
              <p:cNvSpPr>
                <a:spLocks noChangeAspect="1"/>
              </p:cNvSpPr>
              <p:nvPr/>
            </p:nvSpPr>
            <p:spPr bwMode="auto">
              <a:xfrm>
                <a:off x="2380137" y="4515452"/>
                <a:ext cx="79719" cy="81107"/>
              </a:xfrm>
              <a:custGeom>
                <a:avLst/>
                <a:gdLst/>
                <a:ahLst/>
                <a:cxnLst>
                  <a:cxn ang="0">
                    <a:pos x="56" y="28"/>
                  </a:cxn>
                  <a:cxn ang="0">
                    <a:pos x="54" y="26"/>
                  </a:cxn>
                  <a:cxn ang="0">
                    <a:pos x="48" y="40"/>
                  </a:cxn>
                  <a:cxn ang="0">
                    <a:pos x="40" y="52"/>
                  </a:cxn>
                  <a:cxn ang="0">
                    <a:pos x="34" y="58"/>
                  </a:cxn>
                  <a:cxn ang="0">
                    <a:pos x="28" y="64"/>
                  </a:cxn>
                  <a:cxn ang="0">
                    <a:pos x="22" y="68"/>
                  </a:cxn>
                  <a:cxn ang="0">
                    <a:pos x="12" y="68"/>
                  </a:cxn>
                  <a:cxn ang="0">
                    <a:pos x="6" y="68"/>
                  </a:cxn>
                  <a:cxn ang="0">
                    <a:pos x="0" y="66"/>
                  </a:cxn>
                  <a:cxn ang="0">
                    <a:pos x="4" y="56"/>
                  </a:cxn>
                  <a:cxn ang="0">
                    <a:pos x="8" y="52"/>
                  </a:cxn>
                  <a:cxn ang="0">
                    <a:pos x="10" y="48"/>
                  </a:cxn>
                  <a:cxn ang="0">
                    <a:pos x="8" y="42"/>
                  </a:cxn>
                  <a:cxn ang="0">
                    <a:pos x="6" y="36"/>
                  </a:cxn>
                  <a:cxn ang="0">
                    <a:pos x="4" y="32"/>
                  </a:cxn>
                  <a:cxn ang="0">
                    <a:pos x="2" y="26"/>
                  </a:cxn>
                  <a:cxn ang="0">
                    <a:pos x="4" y="20"/>
                  </a:cxn>
                  <a:cxn ang="0">
                    <a:pos x="6" y="14"/>
                  </a:cxn>
                  <a:cxn ang="0">
                    <a:pos x="10" y="8"/>
                  </a:cxn>
                  <a:cxn ang="0">
                    <a:pos x="12" y="0"/>
                  </a:cxn>
                  <a:cxn ang="0">
                    <a:pos x="26" y="4"/>
                  </a:cxn>
                  <a:cxn ang="0">
                    <a:pos x="34" y="10"/>
                  </a:cxn>
                  <a:cxn ang="0">
                    <a:pos x="44" y="18"/>
                  </a:cxn>
                  <a:cxn ang="0">
                    <a:pos x="54" y="26"/>
                  </a:cxn>
                  <a:cxn ang="0">
                    <a:pos x="56" y="28"/>
                  </a:cxn>
                </a:cxnLst>
                <a:rect l="0" t="0" r="r" b="b"/>
                <a:pathLst>
                  <a:path w="56" h="68">
                    <a:moveTo>
                      <a:pt x="56" y="28"/>
                    </a:moveTo>
                    <a:lnTo>
                      <a:pt x="54" y="26"/>
                    </a:lnTo>
                    <a:lnTo>
                      <a:pt x="48" y="40"/>
                    </a:lnTo>
                    <a:lnTo>
                      <a:pt x="40" y="52"/>
                    </a:lnTo>
                    <a:lnTo>
                      <a:pt x="34" y="58"/>
                    </a:lnTo>
                    <a:lnTo>
                      <a:pt x="28" y="64"/>
                    </a:lnTo>
                    <a:lnTo>
                      <a:pt x="22" y="68"/>
                    </a:lnTo>
                    <a:lnTo>
                      <a:pt x="12" y="68"/>
                    </a:lnTo>
                    <a:lnTo>
                      <a:pt x="6" y="68"/>
                    </a:lnTo>
                    <a:lnTo>
                      <a:pt x="0" y="66"/>
                    </a:lnTo>
                    <a:lnTo>
                      <a:pt x="4" y="56"/>
                    </a:lnTo>
                    <a:lnTo>
                      <a:pt x="8" y="52"/>
                    </a:lnTo>
                    <a:lnTo>
                      <a:pt x="10" y="48"/>
                    </a:lnTo>
                    <a:lnTo>
                      <a:pt x="8" y="42"/>
                    </a:lnTo>
                    <a:lnTo>
                      <a:pt x="6" y="36"/>
                    </a:lnTo>
                    <a:lnTo>
                      <a:pt x="4" y="32"/>
                    </a:lnTo>
                    <a:lnTo>
                      <a:pt x="2" y="26"/>
                    </a:lnTo>
                    <a:lnTo>
                      <a:pt x="4" y="20"/>
                    </a:lnTo>
                    <a:lnTo>
                      <a:pt x="6" y="14"/>
                    </a:lnTo>
                    <a:lnTo>
                      <a:pt x="10" y="8"/>
                    </a:lnTo>
                    <a:lnTo>
                      <a:pt x="12" y="0"/>
                    </a:lnTo>
                    <a:lnTo>
                      <a:pt x="26" y="4"/>
                    </a:lnTo>
                    <a:lnTo>
                      <a:pt x="34" y="10"/>
                    </a:lnTo>
                    <a:lnTo>
                      <a:pt x="44" y="18"/>
                    </a:lnTo>
                    <a:lnTo>
                      <a:pt x="54" y="26"/>
                    </a:lnTo>
                    <a:lnTo>
                      <a:pt x="56" y="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7" name="Freeform 69"/>
              <p:cNvSpPr>
                <a:spLocks noChangeAspect="1"/>
              </p:cNvSpPr>
              <p:nvPr/>
            </p:nvSpPr>
            <p:spPr bwMode="auto">
              <a:xfrm>
                <a:off x="1965327" y="4383057"/>
                <a:ext cx="302663" cy="242127"/>
              </a:xfrm>
              <a:custGeom>
                <a:avLst/>
                <a:gdLst/>
                <a:ahLst/>
                <a:cxnLst>
                  <a:cxn ang="0">
                    <a:pos x="206" y="70"/>
                  </a:cxn>
                  <a:cxn ang="0">
                    <a:pos x="200" y="84"/>
                  </a:cxn>
                  <a:cxn ang="0">
                    <a:pos x="188" y="110"/>
                  </a:cxn>
                  <a:cxn ang="0">
                    <a:pos x="196" y="120"/>
                  </a:cxn>
                  <a:cxn ang="0">
                    <a:pos x="192" y="134"/>
                  </a:cxn>
                  <a:cxn ang="0">
                    <a:pos x="170" y="146"/>
                  </a:cxn>
                  <a:cxn ang="0">
                    <a:pos x="150" y="148"/>
                  </a:cxn>
                  <a:cxn ang="0">
                    <a:pos x="142" y="162"/>
                  </a:cxn>
                  <a:cxn ang="0">
                    <a:pos x="152" y="176"/>
                  </a:cxn>
                  <a:cxn ang="0">
                    <a:pos x="124" y="200"/>
                  </a:cxn>
                  <a:cxn ang="0">
                    <a:pos x="102" y="204"/>
                  </a:cxn>
                  <a:cxn ang="0">
                    <a:pos x="96" y="188"/>
                  </a:cxn>
                  <a:cxn ang="0">
                    <a:pos x="86" y="166"/>
                  </a:cxn>
                  <a:cxn ang="0">
                    <a:pos x="90" y="158"/>
                  </a:cxn>
                  <a:cxn ang="0">
                    <a:pos x="86" y="146"/>
                  </a:cxn>
                  <a:cxn ang="0">
                    <a:pos x="82" y="130"/>
                  </a:cxn>
                  <a:cxn ang="0">
                    <a:pos x="84" y="104"/>
                  </a:cxn>
                  <a:cxn ang="0">
                    <a:pos x="66" y="106"/>
                  </a:cxn>
                  <a:cxn ang="0">
                    <a:pos x="50" y="100"/>
                  </a:cxn>
                  <a:cxn ang="0">
                    <a:pos x="24" y="90"/>
                  </a:cxn>
                  <a:cxn ang="0">
                    <a:pos x="12" y="82"/>
                  </a:cxn>
                  <a:cxn ang="0">
                    <a:pos x="16" y="70"/>
                  </a:cxn>
                  <a:cxn ang="0">
                    <a:pos x="8" y="56"/>
                  </a:cxn>
                  <a:cxn ang="0">
                    <a:pos x="0" y="44"/>
                  </a:cxn>
                  <a:cxn ang="0">
                    <a:pos x="18" y="16"/>
                  </a:cxn>
                  <a:cxn ang="0">
                    <a:pos x="30" y="16"/>
                  </a:cxn>
                  <a:cxn ang="0">
                    <a:pos x="24" y="28"/>
                  </a:cxn>
                  <a:cxn ang="0">
                    <a:pos x="28" y="48"/>
                  </a:cxn>
                  <a:cxn ang="0">
                    <a:pos x="38" y="44"/>
                  </a:cxn>
                  <a:cxn ang="0">
                    <a:pos x="36" y="30"/>
                  </a:cxn>
                  <a:cxn ang="0">
                    <a:pos x="32" y="20"/>
                  </a:cxn>
                  <a:cxn ang="0">
                    <a:pos x="50" y="4"/>
                  </a:cxn>
                  <a:cxn ang="0">
                    <a:pos x="66" y="4"/>
                  </a:cxn>
                  <a:cxn ang="0">
                    <a:pos x="82" y="12"/>
                  </a:cxn>
                  <a:cxn ang="0">
                    <a:pos x="106" y="22"/>
                  </a:cxn>
                  <a:cxn ang="0">
                    <a:pos x="126" y="26"/>
                  </a:cxn>
                  <a:cxn ang="0">
                    <a:pos x="162" y="20"/>
                  </a:cxn>
                  <a:cxn ang="0">
                    <a:pos x="174" y="18"/>
                  </a:cxn>
                  <a:cxn ang="0">
                    <a:pos x="174" y="34"/>
                  </a:cxn>
                  <a:cxn ang="0">
                    <a:pos x="190" y="38"/>
                  </a:cxn>
                  <a:cxn ang="0">
                    <a:pos x="196" y="52"/>
                  </a:cxn>
                  <a:cxn ang="0">
                    <a:pos x="204" y="54"/>
                  </a:cxn>
                </a:cxnLst>
                <a:rect l="0" t="0" r="r" b="b"/>
                <a:pathLst>
                  <a:path w="214" h="204">
                    <a:moveTo>
                      <a:pt x="214" y="56"/>
                    </a:moveTo>
                    <a:lnTo>
                      <a:pt x="210" y="64"/>
                    </a:lnTo>
                    <a:lnTo>
                      <a:pt x="206" y="70"/>
                    </a:lnTo>
                    <a:lnTo>
                      <a:pt x="200" y="74"/>
                    </a:lnTo>
                    <a:lnTo>
                      <a:pt x="198" y="80"/>
                    </a:lnTo>
                    <a:lnTo>
                      <a:pt x="200" y="84"/>
                    </a:lnTo>
                    <a:lnTo>
                      <a:pt x="206" y="88"/>
                    </a:lnTo>
                    <a:lnTo>
                      <a:pt x="188" y="98"/>
                    </a:lnTo>
                    <a:lnTo>
                      <a:pt x="188" y="110"/>
                    </a:lnTo>
                    <a:lnTo>
                      <a:pt x="190" y="114"/>
                    </a:lnTo>
                    <a:lnTo>
                      <a:pt x="192" y="116"/>
                    </a:lnTo>
                    <a:lnTo>
                      <a:pt x="196" y="120"/>
                    </a:lnTo>
                    <a:lnTo>
                      <a:pt x="196" y="124"/>
                    </a:lnTo>
                    <a:lnTo>
                      <a:pt x="196" y="130"/>
                    </a:lnTo>
                    <a:lnTo>
                      <a:pt x="192" y="134"/>
                    </a:lnTo>
                    <a:lnTo>
                      <a:pt x="188" y="136"/>
                    </a:lnTo>
                    <a:lnTo>
                      <a:pt x="184" y="140"/>
                    </a:lnTo>
                    <a:lnTo>
                      <a:pt x="170" y="146"/>
                    </a:lnTo>
                    <a:lnTo>
                      <a:pt x="166" y="150"/>
                    </a:lnTo>
                    <a:lnTo>
                      <a:pt x="162" y="154"/>
                    </a:lnTo>
                    <a:lnTo>
                      <a:pt x="150" y="148"/>
                    </a:lnTo>
                    <a:lnTo>
                      <a:pt x="144" y="144"/>
                    </a:lnTo>
                    <a:lnTo>
                      <a:pt x="134" y="142"/>
                    </a:lnTo>
                    <a:lnTo>
                      <a:pt x="142" y="162"/>
                    </a:lnTo>
                    <a:lnTo>
                      <a:pt x="146" y="170"/>
                    </a:lnTo>
                    <a:lnTo>
                      <a:pt x="148" y="172"/>
                    </a:lnTo>
                    <a:lnTo>
                      <a:pt x="152" y="176"/>
                    </a:lnTo>
                    <a:lnTo>
                      <a:pt x="146" y="186"/>
                    </a:lnTo>
                    <a:lnTo>
                      <a:pt x="134" y="194"/>
                    </a:lnTo>
                    <a:lnTo>
                      <a:pt x="124" y="200"/>
                    </a:lnTo>
                    <a:lnTo>
                      <a:pt x="116" y="204"/>
                    </a:lnTo>
                    <a:lnTo>
                      <a:pt x="108" y="204"/>
                    </a:lnTo>
                    <a:lnTo>
                      <a:pt x="102" y="204"/>
                    </a:lnTo>
                    <a:lnTo>
                      <a:pt x="98" y="202"/>
                    </a:lnTo>
                    <a:lnTo>
                      <a:pt x="96" y="198"/>
                    </a:lnTo>
                    <a:lnTo>
                      <a:pt x="96" y="188"/>
                    </a:lnTo>
                    <a:lnTo>
                      <a:pt x="92" y="178"/>
                    </a:lnTo>
                    <a:lnTo>
                      <a:pt x="88" y="170"/>
                    </a:lnTo>
                    <a:lnTo>
                      <a:pt x="86" y="166"/>
                    </a:lnTo>
                    <a:lnTo>
                      <a:pt x="86" y="162"/>
                    </a:lnTo>
                    <a:lnTo>
                      <a:pt x="88" y="162"/>
                    </a:lnTo>
                    <a:lnTo>
                      <a:pt x="90" y="158"/>
                    </a:lnTo>
                    <a:lnTo>
                      <a:pt x="90" y="156"/>
                    </a:lnTo>
                    <a:lnTo>
                      <a:pt x="88" y="150"/>
                    </a:lnTo>
                    <a:lnTo>
                      <a:pt x="86" y="146"/>
                    </a:lnTo>
                    <a:lnTo>
                      <a:pt x="82" y="142"/>
                    </a:lnTo>
                    <a:lnTo>
                      <a:pt x="80" y="136"/>
                    </a:lnTo>
                    <a:lnTo>
                      <a:pt x="82" y="130"/>
                    </a:lnTo>
                    <a:lnTo>
                      <a:pt x="84" y="120"/>
                    </a:lnTo>
                    <a:lnTo>
                      <a:pt x="92" y="104"/>
                    </a:lnTo>
                    <a:lnTo>
                      <a:pt x="84" y="104"/>
                    </a:lnTo>
                    <a:lnTo>
                      <a:pt x="78" y="106"/>
                    </a:lnTo>
                    <a:lnTo>
                      <a:pt x="74" y="106"/>
                    </a:lnTo>
                    <a:lnTo>
                      <a:pt x="66" y="106"/>
                    </a:lnTo>
                    <a:lnTo>
                      <a:pt x="60" y="106"/>
                    </a:lnTo>
                    <a:lnTo>
                      <a:pt x="54" y="104"/>
                    </a:lnTo>
                    <a:lnTo>
                      <a:pt x="50" y="100"/>
                    </a:lnTo>
                    <a:lnTo>
                      <a:pt x="50" y="94"/>
                    </a:lnTo>
                    <a:lnTo>
                      <a:pt x="38" y="92"/>
                    </a:lnTo>
                    <a:lnTo>
                      <a:pt x="24" y="90"/>
                    </a:lnTo>
                    <a:lnTo>
                      <a:pt x="20" y="88"/>
                    </a:lnTo>
                    <a:lnTo>
                      <a:pt x="16" y="86"/>
                    </a:lnTo>
                    <a:lnTo>
                      <a:pt x="12" y="82"/>
                    </a:lnTo>
                    <a:lnTo>
                      <a:pt x="10" y="80"/>
                    </a:lnTo>
                    <a:lnTo>
                      <a:pt x="12" y="76"/>
                    </a:lnTo>
                    <a:lnTo>
                      <a:pt x="16" y="70"/>
                    </a:lnTo>
                    <a:lnTo>
                      <a:pt x="14" y="64"/>
                    </a:lnTo>
                    <a:lnTo>
                      <a:pt x="10" y="60"/>
                    </a:lnTo>
                    <a:lnTo>
                      <a:pt x="8" y="56"/>
                    </a:lnTo>
                    <a:lnTo>
                      <a:pt x="6" y="52"/>
                    </a:lnTo>
                    <a:lnTo>
                      <a:pt x="2" y="50"/>
                    </a:lnTo>
                    <a:lnTo>
                      <a:pt x="0" y="44"/>
                    </a:lnTo>
                    <a:lnTo>
                      <a:pt x="2" y="36"/>
                    </a:lnTo>
                    <a:lnTo>
                      <a:pt x="6" y="28"/>
                    </a:lnTo>
                    <a:lnTo>
                      <a:pt x="18" y="16"/>
                    </a:lnTo>
                    <a:lnTo>
                      <a:pt x="26" y="6"/>
                    </a:lnTo>
                    <a:lnTo>
                      <a:pt x="28" y="12"/>
                    </a:lnTo>
                    <a:lnTo>
                      <a:pt x="30" y="16"/>
                    </a:lnTo>
                    <a:lnTo>
                      <a:pt x="30" y="20"/>
                    </a:lnTo>
                    <a:lnTo>
                      <a:pt x="28" y="24"/>
                    </a:lnTo>
                    <a:lnTo>
                      <a:pt x="24" y="28"/>
                    </a:lnTo>
                    <a:lnTo>
                      <a:pt x="24" y="34"/>
                    </a:lnTo>
                    <a:lnTo>
                      <a:pt x="24" y="44"/>
                    </a:lnTo>
                    <a:lnTo>
                      <a:pt x="28" y="48"/>
                    </a:lnTo>
                    <a:lnTo>
                      <a:pt x="30" y="48"/>
                    </a:lnTo>
                    <a:lnTo>
                      <a:pt x="34" y="46"/>
                    </a:lnTo>
                    <a:lnTo>
                      <a:pt x="38" y="44"/>
                    </a:lnTo>
                    <a:lnTo>
                      <a:pt x="40" y="38"/>
                    </a:lnTo>
                    <a:lnTo>
                      <a:pt x="38" y="34"/>
                    </a:lnTo>
                    <a:lnTo>
                      <a:pt x="36" y="30"/>
                    </a:lnTo>
                    <a:lnTo>
                      <a:pt x="32" y="26"/>
                    </a:lnTo>
                    <a:lnTo>
                      <a:pt x="30" y="24"/>
                    </a:lnTo>
                    <a:lnTo>
                      <a:pt x="32" y="20"/>
                    </a:lnTo>
                    <a:lnTo>
                      <a:pt x="34" y="16"/>
                    </a:lnTo>
                    <a:lnTo>
                      <a:pt x="44" y="10"/>
                    </a:lnTo>
                    <a:lnTo>
                      <a:pt x="50" y="4"/>
                    </a:lnTo>
                    <a:lnTo>
                      <a:pt x="58" y="0"/>
                    </a:lnTo>
                    <a:lnTo>
                      <a:pt x="62" y="4"/>
                    </a:lnTo>
                    <a:lnTo>
                      <a:pt x="66" y="4"/>
                    </a:lnTo>
                    <a:lnTo>
                      <a:pt x="70" y="6"/>
                    </a:lnTo>
                    <a:lnTo>
                      <a:pt x="76" y="6"/>
                    </a:lnTo>
                    <a:lnTo>
                      <a:pt x="82" y="12"/>
                    </a:lnTo>
                    <a:lnTo>
                      <a:pt x="88" y="18"/>
                    </a:lnTo>
                    <a:lnTo>
                      <a:pt x="94" y="20"/>
                    </a:lnTo>
                    <a:lnTo>
                      <a:pt x="106" y="22"/>
                    </a:lnTo>
                    <a:lnTo>
                      <a:pt x="114" y="22"/>
                    </a:lnTo>
                    <a:lnTo>
                      <a:pt x="120" y="24"/>
                    </a:lnTo>
                    <a:lnTo>
                      <a:pt x="126" y="26"/>
                    </a:lnTo>
                    <a:lnTo>
                      <a:pt x="132" y="28"/>
                    </a:lnTo>
                    <a:lnTo>
                      <a:pt x="146" y="24"/>
                    </a:lnTo>
                    <a:lnTo>
                      <a:pt x="162" y="20"/>
                    </a:lnTo>
                    <a:lnTo>
                      <a:pt x="174" y="16"/>
                    </a:lnTo>
                    <a:lnTo>
                      <a:pt x="176" y="16"/>
                    </a:lnTo>
                    <a:lnTo>
                      <a:pt x="174" y="18"/>
                    </a:lnTo>
                    <a:lnTo>
                      <a:pt x="170" y="24"/>
                    </a:lnTo>
                    <a:lnTo>
                      <a:pt x="170" y="26"/>
                    </a:lnTo>
                    <a:lnTo>
                      <a:pt x="174" y="34"/>
                    </a:lnTo>
                    <a:lnTo>
                      <a:pt x="180" y="32"/>
                    </a:lnTo>
                    <a:lnTo>
                      <a:pt x="184" y="34"/>
                    </a:lnTo>
                    <a:lnTo>
                      <a:pt x="190" y="38"/>
                    </a:lnTo>
                    <a:lnTo>
                      <a:pt x="194" y="40"/>
                    </a:lnTo>
                    <a:lnTo>
                      <a:pt x="196" y="46"/>
                    </a:lnTo>
                    <a:lnTo>
                      <a:pt x="196" y="52"/>
                    </a:lnTo>
                    <a:lnTo>
                      <a:pt x="192" y="56"/>
                    </a:lnTo>
                    <a:lnTo>
                      <a:pt x="200" y="54"/>
                    </a:lnTo>
                    <a:lnTo>
                      <a:pt x="204" y="54"/>
                    </a:lnTo>
                    <a:lnTo>
                      <a:pt x="208" y="56"/>
                    </a:lnTo>
                    <a:lnTo>
                      <a:pt x="214" y="5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8" name="Freeform 70"/>
              <p:cNvSpPr>
                <a:spLocks noChangeAspect="1"/>
              </p:cNvSpPr>
              <p:nvPr/>
            </p:nvSpPr>
            <p:spPr bwMode="auto">
              <a:xfrm>
                <a:off x="1947761" y="4530958"/>
                <a:ext cx="887720" cy="830151"/>
              </a:xfrm>
              <a:custGeom>
                <a:avLst/>
                <a:gdLst/>
                <a:ahLst/>
                <a:cxnLst>
                  <a:cxn ang="0">
                    <a:pos x="330" y="54"/>
                  </a:cxn>
                  <a:cxn ang="0">
                    <a:pos x="294" y="48"/>
                  </a:cxn>
                  <a:cxn ang="0">
                    <a:pos x="270" y="56"/>
                  </a:cxn>
                  <a:cxn ang="0">
                    <a:pos x="238" y="70"/>
                  </a:cxn>
                  <a:cxn ang="0">
                    <a:pos x="224" y="38"/>
                  </a:cxn>
                  <a:cxn ang="0">
                    <a:pos x="220" y="10"/>
                  </a:cxn>
                  <a:cxn ang="0">
                    <a:pos x="200" y="12"/>
                  </a:cxn>
                  <a:cxn ang="0">
                    <a:pos x="156" y="20"/>
                  </a:cxn>
                  <a:cxn ang="0">
                    <a:pos x="158" y="62"/>
                  </a:cxn>
                  <a:cxn ang="0">
                    <a:pos x="110" y="78"/>
                  </a:cxn>
                  <a:cxn ang="0">
                    <a:pos x="68" y="64"/>
                  </a:cxn>
                  <a:cxn ang="0">
                    <a:pos x="72" y="84"/>
                  </a:cxn>
                  <a:cxn ang="0">
                    <a:pos x="62" y="104"/>
                  </a:cxn>
                  <a:cxn ang="0">
                    <a:pos x="58" y="174"/>
                  </a:cxn>
                  <a:cxn ang="0">
                    <a:pos x="16" y="196"/>
                  </a:cxn>
                  <a:cxn ang="0">
                    <a:pos x="0" y="230"/>
                  </a:cxn>
                  <a:cxn ang="0">
                    <a:pos x="16" y="266"/>
                  </a:cxn>
                  <a:cxn ang="0">
                    <a:pos x="46" y="278"/>
                  </a:cxn>
                  <a:cxn ang="0">
                    <a:pos x="62" y="296"/>
                  </a:cxn>
                  <a:cxn ang="0">
                    <a:pos x="102" y="290"/>
                  </a:cxn>
                  <a:cxn ang="0">
                    <a:pos x="140" y="280"/>
                  </a:cxn>
                  <a:cxn ang="0">
                    <a:pos x="158" y="324"/>
                  </a:cxn>
                  <a:cxn ang="0">
                    <a:pos x="188" y="336"/>
                  </a:cxn>
                  <a:cxn ang="0">
                    <a:pos x="212" y="342"/>
                  </a:cxn>
                  <a:cxn ang="0">
                    <a:pos x="226" y="376"/>
                  </a:cxn>
                  <a:cxn ang="0">
                    <a:pos x="254" y="400"/>
                  </a:cxn>
                  <a:cxn ang="0">
                    <a:pos x="270" y="430"/>
                  </a:cxn>
                  <a:cxn ang="0">
                    <a:pos x="270" y="480"/>
                  </a:cxn>
                  <a:cxn ang="0">
                    <a:pos x="306" y="508"/>
                  </a:cxn>
                  <a:cxn ang="0">
                    <a:pos x="328" y="528"/>
                  </a:cxn>
                  <a:cxn ang="0">
                    <a:pos x="338" y="564"/>
                  </a:cxn>
                  <a:cxn ang="0">
                    <a:pos x="340" y="596"/>
                  </a:cxn>
                  <a:cxn ang="0">
                    <a:pos x="298" y="648"/>
                  </a:cxn>
                  <a:cxn ang="0">
                    <a:pos x="380" y="698"/>
                  </a:cxn>
                  <a:cxn ang="0">
                    <a:pos x="406" y="656"/>
                  </a:cxn>
                  <a:cxn ang="0">
                    <a:pos x="430" y="614"/>
                  </a:cxn>
                  <a:cxn ang="0">
                    <a:pos x="432" y="554"/>
                  </a:cxn>
                  <a:cxn ang="0">
                    <a:pos x="510" y="514"/>
                  </a:cxn>
                  <a:cxn ang="0">
                    <a:pos x="558" y="448"/>
                  </a:cxn>
                  <a:cxn ang="0">
                    <a:pos x="562" y="412"/>
                  </a:cxn>
                  <a:cxn ang="0">
                    <a:pos x="564" y="338"/>
                  </a:cxn>
                  <a:cxn ang="0">
                    <a:pos x="590" y="306"/>
                  </a:cxn>
                  <a:cxn ang="0">
                    <a:pos x="628" y="250"/>
                  </a:cxn>
                  <a:cxn ang="0">
                    <a:pos x="622" y="186"/>
                  </a:cxn>
                  <a:cxn ang="0">
                    <a:pos x="580" y="166"/>
                  </a:cxn>
                  <a:cxn ang="0">
                    <a:pos x="522" y="144"/>
                  </a:cxn>
                  <a:cxn ang="0">
                    <a:pos x="486" y="134"/>
                  </a:cxn>
                  <a:cxn ang="0">
                    <a:pos x="460" y="120"/>
                  </a:cxn>
                  <a:cxn ang="0">
                    <a:pos x="414" y="102"/>
                  </a:cxn>
                  <a:cxn ang="0">
                    <a:pos x="380" y="122"/>
                  </a:cxn>
                  <a:cxn ang="0">
                    <a:pos x="368" y="104"/>
                  </a:cxn>
                  <a:cxn ang="0">
                    <a:pos x="382" y="70"/>
                  </a:cxn>
                  <a:cxn ang="0">
                    <a:pos x="368" y="28"/>
                  </a:cxn>
                </a:cxnLst>
                <a:rect l="0" t="0" r="r" b="b"/>
                <a:pathLst>
                  <a:path w="632" h="698">
                    <a:moveTo>
                      <a:pt x="362" y="12"/>
                    </a:moveTo>
                    <a:lnTo>
                      <a:pt x="356" y="26"/>
                    </a:lnTo>
                    <a:lnTo>
                      <a:pt x="348" y="38"/>
                    </a:lnTo>
                    <a:lnTo>
                      <a:pt x="342" y="44"/>
                    </a:lnTo>
                    <a:lnTo>
                      <a:pt x="336" y="50"/>
                    </a:lnTo>
                    <a:lnTo>
                      <a:pt x="330" y="54"/>
                    </a:lnTo>
                    <a:lnTo>
                      <a:pt x="320" y="54"/>
                    </a:lnTo>
                    <a:lnTo>
                      <a:pt x="314" y="54"/>
                    </a:lnTo>
                    <a:lnTo>
                      <a:pt x="308" y="52"/>
                    </a:lnTo>
                    <a:lnTo>
                      <a:pt x="306" y="50"/>
                    </a:lnTo>
                    <a:lnTo>
                      <a:pt x="304" y="44"/>
                    </a:lnTo>
                    <a:lnTo>
                      <a:pt x="294" y="48"/>
                    </a:lnTo>
                    <a:lnTo>
                      <a:pt x="282" y="52"/>
                    </a:lnTo>
                    <a:lnTo>
                      <a:pt x="282" y="62"/>
                    </a:lnTo>
                    <a:lnTo>
                      <a:pt x="280" y="60"/>
                    </a:lnTo>
                    <a:lnTo>
                      <a:pt x="276" y="58"/>
                    </a:lnTo>
                    <a:lnTo>
                      <a:pt x="274" y="56"/>
                    </a:lnTo>
                    <a:lnTo>
                      <a:pt x="270" y="56"/>
                    </a:lnTo>
                    <a:lnTo>
                      <a:pt x="264" y="56"/>
                    </a:lnTo>
                    <a:lnTo>
                      <a:pt x="260" y="58"/>
                    </a:lnTo>
                    <a:lnTo>
                      <a:pt x="254" y="64"/>
                    </a:lnTo>
                    <a:lnTo>
                      <a:pt x="248" y="68"/>
                    </a:lnTo>
                    <a:lnTo>
                      <a:pt x="244" y="70"/>
                    </a:lnTo>
                    <a:lnTo>
                      <a:pt x="238" y="70"/>
                    </a:lnTo>
                    <a:lnTo>
                      <a:pt x="234" y="70"/>
                    </a:lnTo>
                    <a:lnTo>
                      <a:pt x="232" y="68"/>
                    </a:lnTo>
                    <a:lnTo>
                      <a:pt x="226" y="62"/>
                    </a:lnTo>
                    <a:lnTo>
                      <a:pt x="224" y="54"/>
                    </a:lnTo>
                    <a:lnTo>
                      <a:pt x="222" y="44"/>
                    </a:lnTo>
                    <a:lnTo>
                      <a:pt x="224" y="38"/>
                    </a:lnTo>
                    <a:lnTo>
                      <a:pt x="226" y="34"/>
                    </a:lnTo>
                    <a:lnTo>
                      <a:pt x="226" y="30"/>
                    </a:lnTo>
                    <a:lnTo>
                      <a:pt x="226" y="26"/>
                    </a:lnTo>
                    <a:lnTo>
                      <a:pt x="226" y="20"/>
                    </a:lnTo>
                    <a:lnTo>
                      <a:pt x="224" y="14"/>
                    </a:lnTo>
                    <a:lnTo>
                      <a:pt x="220" y="10"/>
                    </a:lnTo>
                    <a:lnTo>
                      <a:pt x="220" y="8"/>
                    </a:lnTo>
                    <a:lnTo>
                      <a:pt x="220" y="0"/>
                    </a:lnTo>
                    <a:lnTo>
                      <a:pt x="208" y="0"/>
                    </a:lnTo>
                    <a:lnTo>
                      <a:pt x="208" y="6"/>
                    </a:lnTo>
                    <a:lnTo>
                      <a:pt x="204" y="10"/>
                    </a:lnTo>
                    <a:lnTo>
                      <a:pt x="200" y="12"/>
                    </a:lnTo>
                    <a:lnTo>
                      <a:pt x="196" y="16"/>
                    </a:lnTo>
                    <a:lnTo>
                      <a:pt x="182" y="22"/>
                    </a:lnTo>
                    <a:lnTo>
                      <a:pt x="178" y="26"/>
                    </a:lnTo>
                    <a:lnTo>
                      <a:pt x="174" y="30"/>
                    </a:lnTo>
                    <a:lnTo>
                      <a:pt x="162" y="24"/>
                    </a:lnTo>
                    <a:lnTo>
                      <a:pt x="156" y="20"/>
                    </a:lnTo>
                    <a:lnTo>
                      <a:pt x="146" y="18"/>
                    </a:lnTo>
                    <a:lnTo>
                      <a:pt x="154" y="38"/>
                    </a:lnTo>
                    <a:lnTo>
                      <a:pt x="158" y="46"/>
                    </a:lnTo>
                    <a:lnTo>
                      <a:pt x="160" y="48"/>
                    </a:lnTo>
                    <a:lnTo>
                      <a:pt x="164" y="52"/>
                    </a:lnTo>
                    <a:lnTo>
                      <a:pt x="158" y="62"/>
                    </a:lnTo>
                    <a:lnTo>
                      <a:pt x="146" y="70"/>
                    </a:lnTo>
                    <a:lnTo>
                      <a:pt x="136" y="76"/>
                    </a:lnTo>
                    <a:lnTo>
                      <a:pt x="128" y="80"/>
                    </a:lnTo>
                    <a:lnTo>
                      <a:pt x="120" y="80"/>
                    </a:lnTo>
                    <a:lnTo>
                      <a:pt x="114" y="80"/>
                    </a:lnTo>
                    <a:lnTo>
                      <a:pt x="110" y="78"/>
                    </a:lnTo>
                    <a:lnTo>
                      <a:pt x="108" y="74"/>
                    </a:lnTo>
                    <a:lnTo>
                      <a:pt x="108" y="64"/>
                    </a:lnTo>
                    <a:lnTo>
                      <a:pt x="104" y="54"/>
                    </a:lnTo>
                    <a:lnTo>
                      <a:pt x="90" y="62"/>
                    </a:lnTo>
                    <a:lnTo>
                      <a:pt x="80" y="64"/>
                    </a:lnTo>
                    <a:lnTo>
                      <a:pt x="68" y="64"/>
                    </a:lnTo>
                    <a:lnTo>
                      <a:pt x="62" y="68"/>
                    </a:lnTo>
                    <a:lnTo>
                      <a:pt x="64" y="68"/>
                    </a:lnTo>
                    <a:lnTo>
                      <a:pt x="66" y="70"/>
                    </a:lnTo>
                    <a:lnTo>
                      <a:pt x="68" y="74"/>
                    </a:lnTo>
                    <a:lnTo>
                      <a:pt x="72" y="76"/>
                    </a:lnTo>
                    <a:lnTo>
                      <a:pt x="72" y="84"/>
                    </a:lnTo>
                    <a:lnTo>
                      <a:pt x="66" y="84"/>
                    </a:lnTo>
                    <a:lnTo>
                      <a:pt x="62" y="86"/>
                    </a:lnTo>
                    <a:lnTo>
                      <a:pt x="60" y="90"/>
                    </a:lnTo>
                    <a:lnTo>
                      <a:pt x="58" y="92"/>
                    </a:lnTo>
                    <a:lnTo>
                      <a:pt x="60" y="98"/>
                    </a:lnTo>
                    <a:lnTo>
                      <a:pt x="62" y="104"/>
                    </a:lnTo>
                    <a:lnTo>
                      <a:pt x="66" y="110"/>
                    </a:lnTo>
                    <a:lnTo>
                      <a:pt x="68" y="116"/>
                    </a:lnTo>
                    <a:lnTo>
                      <a:pt x="66" y="140"/>
                    </a:lnTo>
                    <a:lnTo>
                      <a:pt x="62" y="168"/>
                    </a:lnTo>
                    <a:lnTo>
                      <a:pt x="62" y="172"/>
                    </a:lnTo>
                    <a:lnTo>
                      <a:pt x="58" y="174"/>
                    </a:lnTo>
                    <a:lnTo>
                      <a:pt x="46" y="176"/>
                    </a:lnTo>
                    <a:lnTo>
                      <a:pt x="36" y="178"/>
                    </a:lnTo>
                    <a:lnTo>
                      <a:pt x="26" y="180"/>
                    </a:lnTo>
                    <a:lnTo>
                      <a:pt x="20" y="184"/>
                    </a:lnTo>
                    <a:lnTo>
                      <a:pt x="18" y="188"/>
                    </a:lnTo>
                    <a:lnTo>
                      <a:pt x="16" y="196"/>
                    </a:lnTo>
                    <a:lnTo>
                      <a:pt x="14" y="204"/>
                    </a:lnTo>
                    <a:lnTo>
                      <a:pt x="10" y="216"/>
                    </a:lnTo>
                    <a:lnTo>
                      <a:pt x="8" y="220"/>
                    </a:lnTo>
                    <a:lnTo>
                      <a:pt x="6" y="222"/>
                    </a:lnTo>
                    <a:lnTo>
                      <a:pt x="2" y="226"/>
                    </a:lnTo>
                    <a:lnTo>
                      <a:pt x="0" y="230"/>
                    </a:lnTo>
                    <a:lnTo>
                      <a:pt x="2" y="236"/>
                    </a:lnTo>
                    <a:lnTo>
                      <a:pt x="4" y="240"/>
                    </a:lnTo>
                    <a:lnTo>
                      <a:pt x="8" y="248"/>
                    </a:lnTo>
                    <a:lnTo>
                      <a:pt x="14" y="256"/>
                    </a:lnTo>
                    <a:lnTo>
                      <a:pt x="16" y="260"/>
                    </a:lnTo>
                    <a:lnTo>
                      <a:pt x="16" y="266"/>
                    </a:lnTo>
                    <a:lnTo>
                      <a:pt x="24" y="268"/>
                    </a:lnTo>
                    <a:lnTo>
                      <a:pt x="30" y="272"/>
                    </a:lnTo>
                    <a:lnTo>
                      <a:pt x="36" y="278"/>
                    </a:lnTo>
                    <a:lnTo>
                      <a:pt x="40" y="280"/>
                    </a:lnTo>
                    <a:lnTo>
                      <a:pt x="44" y="278"/>
                    </a:lnTo>
                    <a:lnTo>
                      <a:pt x="46" y="278"/>
                    </a:lnTo>
                    <a:lnTo>
                      <a:pt x="48" y="270"/>
                    </a:lnTo>
                    <a:lnTo>
                      <a:pt x="58" y="270"/>
                    </a:lnTo>
                    <a:lnTo>
                      <a:pt x="58" y="286"/>
                    </a:lnTo>
                    <a:lnTo>
                      <a:pt x="58" y="292"/>
                    </a:lnTo>
                    <a:lnTo>
                      <a:pt x="60" y="294"/>
                    </a:lnTo>
                    <a:lnTo>
                      <a:pt x="62" y="296"/>
                    </a:lnTo>
                    <a:lnTo>
                      <a:pt x="64" y="296"/>
                    </a:lnTo>
                    <a:lnTo>
                      <a:pt x="66" y="296"/>
                    </a:lnTo>
                    <a:lnTo>
                      <a:pt x="74" y="298"/>
                    </a:lnTo>
                    <a:lnTo>
                      <a:pt x="86" y="300"/>
                    </a:lnTo>
                    <a:lnTo>
                      <a:pt x="94" y="296"/>
                    </a:lnTo>
                    <a:lnTo>
                      <a:pt x="102" y="290"/>
                    </a:lnTo>
                    <a:lnTo>
                      <a:pt x="116" y="280"/>
                    </a:lnTo>
                    <a:lnTo>
                      <a:pt x="122" y="276"/>
                    </a:lnTo>
                    <a:lnTo>
                      <a:pt x="130" y="274"/>
                    </a:lnTo>
                    <a:lnTo>
                      <a:pt x="136" y="274"/>
                    </a:lnTo>
                    <a:lnTo>
                      <a:pt x="138" y="276"/>
                    </a:lnTo>
                    <a:lnTo>
                      <a:pt x="140" y="280"/>
                    </a:lnTo>
                    <a:lnTo>
                      <a:pt x="140" y="284"/>
                    </a:lnTo>
                    <a:lnTo>
                      <a:pt x="138" y="294"/>
                    </a:lnTo>
                    <a:lnTo>
                      <a:pt x="140" y="304"/>
                    </a:lnTo>
                    <a:lnTo>
                      <a:pt x="144" y="310"/>
                    </a:lnTo>
                    <a:lnTo>
                      <a:pt x="148" y="318"/>
                    </a:lnTo>
                    <a:lnTo>
                      <a:pt x="158" y="324"/>
                    </a:lnTo>
                    <a:lnTo>
                      <a:pt x="168" y="328"/>
                    </a:lnTo>
                    <a:lnTo>
                      <a:pt x="172" y="326"/>
                    </a:lnTo>
                    <a:lnTo>
                      <a:pt x="174" y="328"/>
                    </a:lnTo>
                    <a:lnTo>
                      <a:pt x="178" y="332"/>
                    </a:lnTo>
                    <a:lnTo>
                      <a:pt x="182" y="334"/>
                    </a:lnTo>
                    <a:lnTo>
                      <a:pt x="188" y="336"/>
                    </a:lnTo>
                    <a:lnTo>
                      <a:pt x="188" y="340"/>
                    </a:lnTo>
                    <a:lnTo>
                      <a:pt x="190" y="342"/>
                    </a:lnTo>
                    <a:lnTo>
                      <a:pt x="194" y="342"/>
                    </a:lnTo>
                    <a:lnTo>
                      <a:pt x="198" y="342"/>
                    </a:lnTo>
                    <a:lnTo>
                      <a:pt x="208" y="340"/>
                    </a:lnTo>
                    <a:lnTo>
                      <a:pt x="212" y="342"/>
                    </a:lnTo>
                    <a:lnTo>
                      <a:pt x="216" y="344"/>
                    </a:lnTo>
                    <a:lnTo>
                      <a:pt x="220" y="354"/>
                    </a:lnTo>
                    <a:lnTo>
                      <a:pt x="222" y="364"/>
                    </a:lnTo>
                    <a:lnTo>
                      <a:pt x="224" y="366"/>
                    </a:lnTo>
                    <a:lnTo>
                      <a:pt x="226" y="368"/>
                    </a:lnTo>
                    <a:lnTo>
                      <a:pt x="226" y="376"/>
                    </a:lnTo>
                    <a:lnTo>
                      <a:pt x="226" y="382"/>
                    </a:lnTo>
                    <a:lnTo>
                      <a:pt x="228" y="386"/>
                    </a:lnTo>
                    <a:lnTo>
                      <a:pt x="232" y="390"/>
                    </a:lnTo>
                    <a:lnTo>
                      <a:pt x="242" y="392"/>
                    </a:lnTo>
                    <a:lnTo>
                      <a:pt x="254" y="394"/>
                    </a:lnTo>
                    <a:lnTo>
                      <a:pt x="254" y="400"/>
                    </a:lnTo>
                    <a:lnTo>
                      <a:pt x="254" y="404"/>
                    </a:lnTo>
                    <a:lnTo>
                      <a:pt x="258" y="408"/>
                    </a:lnTo>
                    <a:lnTo>
                      <a:pt x="260" y="412"/>
                    </a:lnTo>
                    <a:lnTo>
                      <a:pt x="268" y="420"/>
                    </a:lnTo>
                    <a:lnTo>
                      <a:pt x="270" y="422"/>
                    </a:lnTo>
                    <a:lnTo>
                      <a:pt x="270" y="430"/>
                    </a:lnTo>
                    <a:lnTo>
                      <a:pt x="270" y="436"/>
                    </a:lnTo>
                    <a:lnTo>
                      <a:pt x="266" y="444"/>
                    </a:lnTo>
                    <a:lnTo>
                      <a:pt x="264" y="448"/>
                    </a:lnTo>
                    <a:lnTo>
                      <a:pt x="264" y="454"/>
                    </a:lnTo>
                    <a:lnTo>
                      <a:pt x="264" y="464"/>
                    </a:lnTo>
                    <a:lnTo>
                      <a:pt x="270" y="480"/>
                    </a:lnTo>
                    <a:lnTo>
                      <a:pt x="276" y="496"/>
                    </a:lnTo>
                    <a:lnTo>
                      <a:pt x="278" y="500"/>
                    </a:lnTo>
                    <a:lnTo>
                      <a:pt x="282" y="502"/>
                    </a:lnTo>
                    <a:lnTo>
                      <a:pt x="292" y="502"/>
                    </a:lnTo>
                    <a:lnTo>
                      <a:pt x="300" y="504"/>
                    </a:lnTo>
                    <a:lnTo>
                      <a:pt x="306" y="508"/>
                    </a:lnTo>
                    <a:lnTo>
                      <a:pt x="308" y="514"/>
                    </a:lnTo>
                    <a:lnTo>
                      <a:pt x="314" y="526"/>
                    </a:lnTo>
                    <a:lnTo>
                      <a:pt x="320" y="536"/>
                    </a:lnTo>
                    <a:lnTo>
                      <a:pt x="322" y="532"/>
                    </a:lnTo>
                    <a:lnTo>
                      <a:pt x="326" y="530"/>
                    </a:lnTo>
                    <a:lnTo>
                      <a:pt x="328" y="528"/>
                    </a:lnTo>
                    <a:lnTo>
                      <a:pt x="332" y="530"/>
                    </a:lnTo>
                    <a:lnTo>
                      <a:pt x="332" y="534"/>
                    </a:lnTo>
                    <a:lnTo>
                      <a:pt x="332" y="540"/>
                    </a:lnTo>
                    <a:lnTo>
                      <a:pt x="332" y="554"/>
                    </a:lnTo>
                    <a:lnTo>
                      <a:pt x="332" y="564"/>
                    </a:lnTo>
                    <a:lnTo>
                      <a:pt x="338" y="564"/>
                    </a:lnTo>
                    <a:lnTo>
                      <a:pt x="344" y="562"/>
                    </a:lnTo>
                    <a:lnTo>
                      <a:pt x="346" y="572"/>
                    </a:lnTo>
                    <a:lnTo>
                      <a:pt x="348" y="582"/>
                    </a:lnTo>
                    <a:lnTo>
                      <a:pt x="348" y="586"/>
                    </a:lnTo>
                    <a:lnTo>
                      <a:pt x="346" y="590"/>
                    </a:lnTo>
                    <a:lnTo>
                      <a:pt x="340" y="596"/>
                    </a:lnTo>
                    <a:lnTo>
                      <a:pt x="326" y="602"/>
                    </a:lnTo>
                    <a:lnTo>
                      <a:pt x="318" y="610"/>
                    </a:lnTo>
                    <a:lnTo>
                      <a:pt x="308" y="622"/>
                    </a:lnTo>
                    <a:lnTo>
                      <a:pt x="302" y="636"/>
                    </a:lnTo>
                    <a:lnTo>
                      <a:pt x="298" y="642"/>
                    </a:lnTo>
                    <a:lnTo>
                      <a:pt x="298" y="648"/>
                    </a:lnTo>
                    <a:lnTo>
                      <a:pt x="308" y="648"/>
                    </a:lnTo>
                    <a:lnTo>
                      <a:pt x="318" y="652"/>
                    </a:lnTo>
                    <a:lnTo>
                      <a:pt x="330" y="660"/>
                    </a:lnTo>
                    <a:lnTo>
                      <a:pt x="340" y="666"/>
                    </a:lnTo>
                    <a:lnTo>
                      <a:pt x="362" y="684"/>
                    </a:lnTo>
                    <a:lnTo>
                      <a:pt x="380" y="698"/>
                    </a:lnTo>
                    <a:lnTo>
                      <a:pt x="382" y="686"/>
                    </a:lnTo>
                    <a:lnTo>
                      <a:pt x="384" y="674"/>
                    </a:lnTo>
                    <a:lnTo>
                      <a:pt x="390" y="672"/>
                    </a:lnTo>
                    <a:lnTo>
                      <a:pt x="396" y="668"/>
                    </a:lnTo>
                    <a:lnTo>
                      <a:pt x="402" y="664"/>
                    </a:lnTo>
                    <a:lnTo>
                      <a:pt x="406" y="656"/>
                    </a:lnTo>
                    <a:lnTo>
                      <a:pt x="414" y="638"/>
                    </a:lnTo>
                    <a:lnTo>
                      <a:pt x="418" y="624"/>
                    </a:lnTo>
                    <a:lnTo>
                      <a:pt x="422" y="620"/>
                    </a:lnTo>
                    <a:lnTo>
                      <a:pt x="424" y="620"/>
                    </a:lnTo>
                    <a:lnTo>
                      <a:pt x="426" y="618"/>
                    </a:lnTo>
                    <a:lnTo>
                      <a:pt x="430" y="614"/>
                    </a:lnTo>
                    <a:lnTo>
                      <a:pt x="436" y="596"/>
                    </a:lnTo>
                    <a:lnTo>
                      <a:pt x="434" y="594"/>
                    </a:lnTo>
                    <a:lnTo>
                      <a:pt x="432" y="592"/>
                    </a:lnTo>
                    <a:lnTo>
                      <a:pt x="428" y="588"/>
                    </a:lnTo>
                    <a:lnTo>
                      <a:pt x="428" y="560"/>
                    </a:lnTo>
                    <a:lnTo>
                      <a:pt x="432" y="554"/>
                    </a:lnTo>
                    <a:lnTo>
                      <a:pt x="438" y="546"/>
                    </a:lnTo>
                    <a:lnTo>
                      <a:pt x="454" y="534"/>
                    </a:lnTo>
                    <a:lnTo>
                      <a:pt x="472" y="524"/>
                    </a:lnTo>
                    <a:lnTo>
                      <a:pt x="488" y="516"/>
                    </a:lnTo>
                    <a:lnTo>
                      <a:pt x="498" y="514"/>
                    </a:lnTo>
                    <a:lnTo>
                      <a:pt x="510" y="514"/>
                    </a:lnTo>
                    <a:lnTo>
                      <a:pt x="522" y="512"/>
                    </a:lnTo>
                    <a:lnTo>
                      <a:pt x="528" y="510"/>
                    </a:lnTo>
                    <a:lnTo>
                      <a:pt x="528" y="506"/>
                    </a:lnTo>
                    <a:lnTo>
                      <a:pt x="538" y="494"/>
                    </a:lnTo>
                    <a:lnTo>
                      <a:pt x="546" y="478"/>
                    </a:lnTo>
                    <a:lnTo>
                      <a:pt x="558" y="448"/>
                    </a:lnTo>
                    <a:lnTo>
                      <a:pt x="560" y="438"/>
                    </a:lnTo>
                    <a:lnTo>
                      <a:pt x="562" y="428"/>
                    </a:lnTo>
                    <a:lnTo>
                      <a:pt x="562" y="420"/>
                    </a:lnTo>
                    <a:lnTo>
                      <a:pt x="564" y="418"/>
                    </a:lnTo>
                    <a:lnTo>
                      <a:pt x="568" y="414"/>
                    </a:lnTo>
                    <a:lnTo>
                      <a:pt x="562" y="412"/>
                    </a:lnTo>
                    <a:lnTo>
                      <a:pt x="572" y="380"/>
                    </a:lnTo>
                    <a:lnTo>
                      <a:pt x="570" y="366"/>
                    </a:lnTo>
                    <a:lnTo>
                      <a:pt x="568" y="360"/>
                    </a:lnTo>
                    <a:lnTo>
                      <a:pt x="568" y="350"/>
                    </a:lnTo>
                    <a:lnTo>
                      <a:pt x="566" y="340"/>
                    </a:lnTo>
                    <a:lnTo>
                      <a:pt x="564" y="338"/>
                    </a:lnTo>
                    <a:lnTo>
                      <a:pt x="566" y="332"/>
                    </a:lnTo>
                    <a:lnTo>
                      <a:pt x="568" y="328"/>
                    </a:lnTo>
                    <a:lnTo>
                      <a:pt x="572" y="326"/>
                    </a:lnTo>
                    <a:lnTo>
                      <a:pt x="580" y="326"/>
                    </a:lnTo>
                    <a:lnTo>
                      <a:pt x="584" y="316"/>
                    </a:lnTo>
                    <a:lnTo>
                      <a:pt x="590" y="306"/>
                    </a:lnTo>
                    <a:lnTo>
                      <a:pt x="590" y="304"/>
                    </a:lnTo>
                    <a:lnTo>
                      <a:pt x="596" y="294"/>
                    </a:lnTo>
                    <a:lnTo>
                      <a:pt x="602" y="284"/>
                    </a:lnTo>
                    <a:lnTo>
                      <a:pt x="614" y="268"/>
                    </a:lnTo>
                    <a:lnTo>
                      <a:pt x="622" y="258"/>
                    </a:lnTo>
                    <a:lnTo>
                      <a:pt x="628" y="250"/>
                    </a:lnTo>
                    <a:lnTo>
                      <a:pt x="630" y="236"/>
                    </a:lnTo>
                    <a:lnTo>
                      <a:pt x="632" y="224"/>
                    </a:lnTo>
                    <a:lnTo>
                      <a:pt x="632" y="208"/>
                    </a:lnTo>
                    <a:lnTo>
                      <a:pt x="628" y="196"/>
                    </a:lnTo>
                    <a:lnTo>
                      <a:pt x="626" y="192"/>
                    </a:lnTo>
                    <a:lnTo>
                      <a:pt x="622" y="186"/>
                    </a:lnTo>
                    <a:lnTo>
                      <a:pt x="618" y="184"/>
                    </a:lnTo>
                    <a:lnTo>
                      <a:pt x="614" y="182"/>
                    </a:lnTo>
                    <a:lnTo>
                      <a:pt x="604" y="182"/>
                    </a:lnTo>
                    <a:lnTo>
                      <a:pt x="594" y="176"/>
                    </a:lnTo>
                    <a:lnTo>
                      <a:pt x="586" y="172"/>
                    </a:lnTo>
                    <a:lnTo>
                      <a:pt x="580" y="166"/>
                    </a:lnTo>
                    <a:lnTo>
                      <a:pt x="566" y="152"/>
                    </a:lnTo>
                    <a:lnTo>
                      <a:pt x="556" y="146"/>
                    </a:lnTo>
                    <a:lnTo>
                      <a:pt x="548" y="142"/>
                    </a:lnTo>
                    <a:lnTo>
                      <a:pt x="538" y="142"/>
                    </a:lnTo>
                    <a:lnTo>
                      <a:pt x="530" y="142"/>
                    </a:lnTo>
                    <a:lnTo>
                      <a:pt x="522" y="144"/>
                    </a:lnTo>
                    <a:lnTo>
                      <a:pt x="512" y="142"/>
                    </a:lnTo>
                    <a:lnTo>
                      <a:pt x="508" y="140"/>
                    </a:lnTo>
                    <a:lnTo>
                      <a:pt x="504" y="136"/>
                    </a:lnTo>
                    <a:lnTo>
                      <a:pt x="500" y="134"/>
                    </a:lnTo>
                    <a:lnTo>
                      <a:pt x="494" y="132"/>
                    </a:lnTo>
                    <a:lnTo>
                      <a:pt x="486" y="134"/>
                    </a:lnTo>
                    <a:lnTo>
                      <a:pt x="480" y="136"/>
                    </a:lnTo>
                    <a:lnTo>
                      <a:pt x="476" y="140"/>
                    </a:lnTo>
                    <a:lnTo>
                      <a:pt x="472" y="142"/>
                    </a:lnTo>
                    <a:lnTo>
                      <a:pt x="470" y="132"/>
                    </a:lnTo>
                    <a:lnTo>
                      <a:pt x="466" y="124"/>
                    </a:lnTo>
                    <a:lnTo>
                      <a:pt x="460" y="120"/>
                    </a:lnTo>
                    <a:lnTo>
                      <a:pt x="454" y="114"/>
                    </a:lnTo>
                    <a:lnTo>
                      <a:pt x="446" y="110"/>
                    </a:lnTo>
                    <a:lnTo>
                      <a:pt x="440" y="106"/>
                    </a:lnTo>
                    <a:lnTo>
                      <a:pt x="430" y="104"/>
                    </a:lnTo>
                    <a:lnTo>
                      <a:pt x="422" y="104"/>
                    </a:lnTo>
                    <a:lnTo>
                      <a:pt x="414" y="102"/>
                    </a:lnTo>
                    <a:lnTo>
                      <a:pt x="412" y="114"/>
                    </a:lnTo>
                    <a:lnTo>
                      <a:pt x="406" y="120"/>
                    </a:lnTo>
                    <a:lnTo>
                      <a:pt x="400" y="126"/>
                    </a:lnTo>
                    <a:lnTo>
                      <a:pt x="394" y="134"/>
                    </a:lnTo>
                    <a:lnTo>
                      <a:pt x="392" y="122"/>
                    </a:lnTo>
                    <a:lnTo>
                      <a:pt x="380" y="122"/>
                    </a:lnTo>
                    <a:lnTo>
                      <a:pt x="370" y="120"/>
                    </a:lnTo>
                    <a:lnTo>
                      <a:pt x="360" y="120"/>
                    </a:lnTo>
                    <a:lnTo>
                      <a:pt x="348" y="120"/>
                    </a:lnTo>
                    <a:lnTo>
                      <a:pt x="358" y="116"/>
                    </a:lnTo>
                    <a:lnTo>
                      <a:pt x="366" y="112"/>
                    </a:lnTo>
                    <a:lnTo>
                      <a:pt x="368" y="104"/>
                    </a:lnTo>
                    <a:lnTo>
                      <a:pt x="358" y="106"/>
                    </a:lnTo>
                    <a:lnTo>
                      <a:pt x="364" y="96"/>
                    </a:lnTo>
                    <a:lnTo>
                      <a:pt x="370" y="86"/>
                    </a:lnTo>
                    <a:lnTo>
                      <a:pt x="374" y="82"/>
                    </a:lnTo>
                    <a:lnTo>
                      <a:pt x="380" y="76"/>
                    </a:lnTo>
                    <a:lnTo>
                      <a:pt x="382" y="70"/>
                    </a:lnTo>
                    <a:lnTo>
                      <a:pt x="386" y="64"/>
                    </a:lnTo>
                    <a:lnTo>
                      <a:pt x="376" y="56"/>
                    </a:lnTo>
                    <a:lnTo>
                      <a:pt x="370" y="50"/>
                    </a:lnTo>
                    <a:lnTo>
                      <a:pt x="368" y="42"/>
                    </a:lnTo>
                    <a:lnTo>
                      <a:pt x="368" y="36"/>
                    </a:lnTo>
                    <a:lnTo>
                      <a:pt x="368" y="28"/>
                    </a:lnTo>
                    <a:lnTo>
                      <a:pt x="368" y="20"/>
                    </a:lnTo>
                    <a:lnTo>
                      <a:pt x="364" y="14"/>
                    </a:lnTo>
                    <a:lnTo>
                      <a:pt x="362"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59" name="Freeform 71"/>
              <p:cNvSpPr>
                <a:spLocks noChangeAspect="1"/>
              </p:cNvSpPr>
              <p:nvPr/>
            </p:nvSpPr>
            <p:spPr bwMode="auto">
              <a:xfrm>
                <a:off x="1789675" y="4609679"/>
                <a:ext cx="121605" cy="139551"/>
              </a:xfrm>
              <a:custGeom>
                <a:avLst/>
                <a:gdLst/>
                <a:ahLst/>
                <a:cxnLst>
                  <a:cxn ang="0">
                    <a:pos x="12" y="86"/>
                  </a:cxn>
                  <a:cxn ang="0">
                    <a:pos x="10" y="90"/>
                  </a:cxn>
                  <a:cxn ang="0">
                    <a:pos x="12" y="92"/>
                  </a:cxn>
                  <a:cxn ang="0">
                    <a:pos x="12" y="98"/>
                  </a:cxn>
                  <a:cxn ang="0">
                    <a:pos x="10" y="102"/>
                  </a:cxn>
                  <a:cxn ang="0">
                    <a:pos x="8" y="106"/>
                  </a:cxn>
                  <a:cxn ang="0">
                    <a:pos x="18" y="112"/>
                  </a:cxn>
                  <a:cxn ang="0">
                    <a:pos x="30" y="118"/>
                  </a:cxn>
                  <a:cxn ang="0">
                    <a:pos x="34" y="116"/>
                  </a:cxn>
                  <a:cxn ang="0">
                    <a:pos x="36" y="112"/>
                  </a:cxn>
                  <a:cxn ang="0">
                    <a:pos x="40" y="102"/>
                  </a:cxn>
                  <a:cxn ang="0">
                    <a:pos x="46" y="88"/>
                  </a:cxn>
                  <a:cxn ang="0">
                    <a:pos x="50" y="84"/>
                  </a:cxn>
                  <a:cxn ang="0">
                    <a:pos x="56" y="80"/>
                  </a:cxn>
                  <a:cxn ang="0">
                    <a:pos x="68" y="74"/>
                  </a:cxn>
                  <a:cxn ang="0">
                    <a:pos x="78" y="66"/>
                  </a:cxn>
                  <a:cxn ang="0">
                    <a:pos x="84" y="54"/>
                  </a:cxn>
                  <a:cxn ang="0">
                    <a:pos x="86" y="50"/>
                  </a:cxn>
                  <a:cxn ang="0">
                    <a:pos x="86" y="42"/>
                  </a:cxn>
                  <a:cxn ang="0">
                    <a:pos x="88" y="40"/>
                  </a:cxn>
                  <a:cxn ang="0">
                    <a:pos x="86" y="32"/>
                  </a:cxn>
                  <a:cxn ang="0">
                    <a:pos x="84" y="28"/>
                  </a:cxn>
                  <a:cxn ang="0">
                    <a:pos x="86" y="26"/>
                  </a:cxn>
                  <a:cxn ang="0">
                    <a:pos x="70" y="24"/>
                  </a:cxn>
                  <a:cxn ang="0">
                    <a:pos x="56" y="18"/>
                  </a:cxn>
                  <a:cxn ang="0">
                    <a:pos x="42" y="10"/>
                  </a:cxn>
                  <a:cxn ang="0">
                    <a:pos x="34" y="2"/>
                  </a:cxn>
                  <a:cxn ang="0">
                    <a:pos x="28" y="0"/>
                  </a:cxn>
                  <a:cxn ang="0">
                    <a:pos x="20" y="2"/>
                  </a:cxn>
                  <a:cxn ang="0">
                    <a:pos x="14" y="6"/>
                  </a:cxn>
                  <a:cxn ang="0">
                    <a:pos x="12" y="10"/>
                  </a:cxn>
                  <a:cxn ang="0">
                    <a:pos x="12" y="14"/>
                  </a:cxn>
                  <a:cxn ang="0">
                    <a:pos x="12" y="26"/>
                  </a:cxn>
                  <a:cxn ang="0">
                    <a:pos x="6" y="40"/>
                  </a:cxn>
                  <a:cxn ang="0">
                    <a:pos x="2" y="54"/>
                  </a:cxn>
                  <a:cxn ang="0">
                    <a:pos x="0" y="64"/>
                  </a:cxn>
                  <a:cxn ang="0">
                    <a:pos x="4" y="70"/>
                  </a:cxn>
                  <a:cxn ang="0">
                    <a:pos x="6" y="72"/>
                  </a:cxn>
                  <a:cxn ang="0">
                    <a:pos x="10" y="72"/>
                  </a:cxn>
                  <a:cxn ang="0">
                    <a:pos x="14" y="70"/>
                  </a:cxn>
                  <a:cxn ang="0">
                    <a:pos x="18" y="66"/>
                  </a:cxn>
                  <a:cxn ang="0">
                    <a:pos x="18" y="74"/>
                  </a:cxn>
                  <a:cxn ang="0">
                    <a:pos x="18" y="80"/>
                  </a:cxn>
                  <a:cxn ang="0">
                    <a:pos x="12" y="84"/>
                  </a:cxn>
                  <a:cxn ang="0">
                    <a:pos x="8" y="86"/>
                  </a:cxn>
                  <a:cxn ang="0">
                    <a:pos x="10" y="86"/>
                  </a:cxn>
                  <a:cxn ang="0">
                    <a:pos x="12" y="86"/>
                  </a:cxn>
                </a:cxnLst>
                <a:rect l="0" t="0" r="r" b="b"/>
                <a:pathLst>
                  <a:path w="88" h="118">
                    <a:moveTo>
                      <a:pt x="12" y="86"/>
                    </a:moveTo>
                    <a:lnTo>
                      <a:pt x="10" y="90"/>
                    </a:lnTo>
                    <a:lnTo>
                      <a:pt x="12" y="92"/>
                    </a:lnTo>
                    <a:lnTo>
                      <a:pt x="12" y="98"/>
                    </a:lnTo>
                    <a:lnTo>
                      <a:pt x="10" y="102"/>
                    </a:lnTo>
                    <a:lnTo>
                      <a:pt x="8" y="106"/>
                    </a:lnTo>
                    <a:lnTo>
                      <a:pt x="18" y="112"/>
                    </a:lnTo>
                    <a:lnTo>
                      <a:pt x="30" y="118"/>
                    </a:lnTo>
                    <a:lnTo>
                      <a:pt x="34" y="116"/>
                    </a:lnTo>
                    <a:lnTo>
                      <a:pt x="36" y="112"/>
                    </a:lnTo>
                    <a:lnTo>
                      <a:pt x="40" y="102"/>
                    </a:lnTo>
                    <a:lnTo>
                      <a:pt x="46" y="88"/>
                    </a:lnTo>
                    <a:lnTo>
                      <a:pt x="50" y="84"/>
                    </a:lnTo>
                    <a:lnTo>
                      <a:pt x="56" y="80"/>
                    </a:lnTo>
                    <a:lnTo>
                      <a:pt x="68" y="74"/>
                    </a:lnTo>
                    <a:lnTo>
                      <a:pt x="78" y="66"/>
                    </a:lnTo>
                    <a:lnTo>
                      <a:pt x="84" y="54"/>
                    </a:lnTo>
                    <a:lnTo>
                      <a:pt x="86" y="50"/>
                    </a:lnTo>
                    <a:lnTo>
                      <a:pt x="86" y="42"/>
                    </a:lnTo>
                    <a:lnTo>
                      <a:pt x="88" y="40"/>
                    </a:lnTo>
                    <a:lnTo>
                      <a:pt x="86" y="32"/>
                    </a:lnTo>
                    <a:lnTo>
                      <a:pt x="84" y="28"/>
                    </a:lnTo>
                    <a:lnTo>
                      <a:pt x="86" y="26"/>
                    </a:lnTo>
                    <a:lnTo>
                      <a:pt x="70" y="24"/>
                    </a:lnTo>
                    <a:lnTo>
                      <a:pt x="56" y="18"/>
                    </a:lnTo>
                    <a:lnTo>
                      <a:pt x="42" y="10"/>
                    </a:lnTo>
                    <a:lnTo>
                      <a:pt x="34" y="2"/>
                    </a:lnTo>
                    <a:lnTo>
                      <a:pt x="28" y="0"/>
                    </a:lnTo>
                    <a:lnTo>
                      <a:pt x="20" y="2"/>
                    </a:lnTo>
                    <a:lnTo>
                      <a:pt x="14" y="6"/>
                    </a:lnTo>
                    <a:lnTo>
                      <a:pt x="12" y="10"/>
                    </a:lnTo>
                    <a:lnTo>
                      <a:pt x="12" y="14"/>
                    </a:lnTo>
                    <a:lnTo>
                      <a:pt x="12" y="26"/>
                    </a:lnTo>
                    <a:lnTo>
                      <a:pt x="6" y="40"/>
                    </a:lnTo>
                    <a:lnTo>
                      <a:pt x="2" y="54"/>
                    </a:lnTo>
                    <a:lnTo>
                      <a:pt x="0" y="64"/>
                    </a:lnTo>
                    <a:lnTo>
                      <a:pt x="4" y="70"/>
                    </a:lnTo>
                    <a:lnTo>
                      <a:pt x="6" y="72"/>
                    </a:lnTo>
                    <a:lnTo>
                      <a:pt x="10" y="72"/>
                    </a:lnTo>
                    <a:lnTo>
                      <a:pt x="14" y="70"/>
                    </a:lnTo>
                    <a:lnTo>
                      <a:pt x="18" y="66"/>
                    </a:lnTo>
                    <a:lnTo>
                      <a:pt x="18" y="74"/>
                    </a:lnTo>
                    <a:lnTo>
                      <a:pt x="18" y="80"/>
                    </a:lnTo>
                    <a:lnTo>
                      <a:pt x="12" y="84"/>
                    </a:lnTo>
                    <a:lnTo>
                      <a:pt x="8" y="86"/>
                    </a:lnTo>
                    <a:lnTo>
                      <a:pt x="10" y="86"/>
                    </a:lnTo>
                    <a:lnTo>
                      <a:pt x="12" y="8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0" name="Freeform 72"/>
              <p:cNvSpPr>
                <a:spLocks noChangeAspect="1"/>
              </p:cNvSpPr>
              <p:nvPr/>
            </p:nvSpPr>
            <p:spPr bwMode="auto">
              <a:xfrm>
                <a:off x="1782918" y="4646653"/>
                <a:ext cx="293204" cy="393606"/>
              </a:xfrm>
              <a:custGeom>
                <a:avLst/>
                <a:gdLst/>
                <a:ahLst/>
                <a:cxnLst>
                  <a:cxn ang="0">
                    <a:pos x="174" y="318"/>
                  </a:cxn>
                  <a:cxn ang="0">
                    <a:pos x="136" y="292"/>
                  </a:cxn>
                  <a:cxn ang="0">
                    <a:pos x="98" y="268"/>
                  </a:cxn>
                  <a:cxn ang="0">
                    <a:pos x="80" y="232"/>
                  </a:cxn>
                  <a:cxn ang="0">
                    <a:pos x="52" y="174"/>
                  </a:cxn>
                  <a:cxn ang="0">
                    <a:pos x="32" y="132"/>
                  </a:cxn>
                  <a:cxn ang="0">
                    <a:pos x="18" y="112"/>
                  </a:cxn>
                  <a:cxn ang="0">
                    <a:pos x="2" y="104"/>
                  </a:cxn>
                  <a:cxn ang="0">
                    <a:pos x="0" y="66"/>
                  </a:cxn>
                  <a:cxn ang="0">
                    <a:pos x="12" y="54"/>
                  </a:cxn>
                  <a:cxn ang="0">
                    <a:pos x="16" y="60"/>
                  </a:cxn>
                  <a:cxn ang="0">
                    <a:pos x="12" y="74"/>
                  </a:cxn>
                  <a:cxn ang="0">
                    <a:pos x="38" y="84"/>
                  </a:cxn>
                  <a:cxn ang="0">
                    <a:pos x="50" y="56"/>
                  </a:cxn>
                  <a:cxn ang="0">
                    <a:pos x="72" y="42"/>
                  </a:cxn>
                  <a:cxn ang="0">
                    <a:pos x="90" y="18"/>
                  </a:cxn>
                  <a:cxn ang="0">
                    <a:pos x="90" y="0"/>
                  </a:cxn>
                  <a:cxn ang="0">
                    <a:pos x="106" y="8"/>
                  </a:cxn>
                  <a:cxn ang="0">
                    <a:pos x="124" y="26"/>
                  </a:cxn>
                  <a:cxn ang="0">
                    <a:pos x="144" y="42"/>
                  </a:cxn>
                  <a:cxn ang="0">
                    <a:pos x="152" y="38"/>
                  </a:cxn>
                  <a:cxn ang="0">
                    <a:pos x="160" y="44"/>
                  </a:cxn>
                  <a:cxn ang="0">
                    <a:pos x="172" y="40"/>
                  </a:cxn>
                  <a:cxn ang="0">
                    <a:pos x="174" y="52"/>
                  </a:cxn>
                  <a:cxn ang="0">
                    <a:pos x="170" y="64"/>
                  </a:cxn>
                  <a:cxn ang="0">
                    <a:pos x="180" y="74"/>
                  </a:cxn>
                  <a:cxn ang="0">
                    <a:pos x="154" y="80"/>
                  </a:cxn>
                  <a:cxn ang="0">
                    <a:pos x="136" y="90"/>
                  </a:cxn>
                  <a:cxn ang="0">
                    <a:pos x="128" y="118"/>
                  </a:cxn>
                  <a:cxn ang="0">
                    <a:pos x="120" y="128"/>
                  </a:cxn>
                  <a:cxn ang="0">
                    <a:pos x="122" y="142"/>
                  </a:cxn>
                  <a:cxn ang="0">
                    <a:pos x="134" y="162"/>
                  </a:cxn>
                  <a:cxn ang="0">
                    <a:pos x="148" y="174"/>
                  </a:cxn>
                  <a:cxn ang="0">
                    <a:pos x="162" y="180"/>
                  </a:cxn>
                  <a:cxn ang="0">
                    <a:pos x="176" y="172"/>
                  </a:cxn>
                  <a:cxn ang="0">
                    <a:pos x="178" y="196"/>
                  </a:cxn>
                  <a:cxn ang="0">
                    <a:pos x="184" y="198"/>
                  </a:cxn>
                  <a:cxn ang="0">
                    <a:pos x="206" y="218"/>
                  </a:cxn>
                  <a:cxn ang="0">
                    <a:pos x="204" y="264"/>
                  </a:cxn>
                  <a:cxn ang="0">
                    <a:pos x="200" y="276"/>
                  </a:cxn>
                  <a:cxn ang="0">
                    <a:pos x="208" y="296"/>
                  </a:cxn>
                  <a:cxn ang="0">
                    <a:pos x="200" y="322"/>
                  </a:cxn>
                  <a:cxn ang="0">
                    <a:pos x="186" y="332"/>
                  </a:cxn>
                </a:cxnLst>
                <a:rect l="0" t="0" r="r" b="b"/>
                <a:pathLst>
                  <a:path w="208" h="332">
                    <a:moveTo>
                      <a:pt x="186" y="332"/>
                    </a:moveTo>
                    <a:lnTo>
                      <a:pt x="180" y="324"/>
                    </a:lnTo>
                    <a:lnTo>
                      <a:pt x="174" y="318"/>
                    </a:lnTo>
                    <a:lnTo>
                      <a:pt x="154" y="300"/>
                    </a:lnTo>
                    <a:lnTo>
                      <a:pt x="146" y="294"/>
                    </a:lnTo>
                    <a:lnTo>
                      <a:pt x="136" y="292"/>
                    </a:lnTo>
                    <a:lnTo>
                      <a:pt x="118" y="282"/>
                    </a:lnTo>
                    <a:lnTo>
                      <a:pt x="108" y="276"/>
                    </a:lnTo>
                    <a:lnTo>
                      <a:pt x="98" y="268"/>
                    </a:lnTo>
                    <a:lnTo>
                      <a:pt x="94" y="262"/>
                    </a:lnTo>
                    <a:lnTo>
                      <a:pt x="90" y="254"/>
                    </a:lnTo>
                    <a:lnTo>
                      <a:pt x="80" y="232"/>
                    </a:lnTo>
                    <a:lnTo>
                      <a:pt x="72" y="212"/>
                    </a:lnTo>
                    <a:lnTo>
                      <a:pt x="62" y="194"/>
                    </a:lnTo>
                    <a:lnTo>
                      <a:pt x="52" y="174"/>
                    </a:lnTo>
                    <a:lnTo>
                      <a:pt x="46" y="158"/>
                    </a:lnTo>
                    <a:lnTo>
                      <a:pt x="40" y="146"/>
                    </a:lnTo>
                    <a:lnTo>
                      <a:pt x="32" y="132"/>
                    </a:lnTo>
                    <a:lnTo>
                      <a:pt x="24" y="118"/>
                    </a:lnTo>
                    <a:lnTo>
                      <a:pt x="22" y="114"/>
                    </a:lnTo>
                    <a:lnTo>
                      <a:pt x="18" y="112"/>
                    </a:lnTo>
                    <a:lnTo>
                      <a:pt x="12" y="108"/>
                    </a:lnTo>
                    <a:lnTo>
                      <a:pt x="4" y="106"/>
                    </a:lnTo>
                    <a:lnTo>
                      <a:pt x="2" y="104"/>
                    </a:lnTo>
                    <a:lnTo>
                      <a:pt x="0" y="100"/>
                    </a:lnTo>
                    <a:lnTo>
                      <a:pt x="0" y="82"/>
                    </a:lnTo>
                    <a:lnTo>
                      <a:pt x="0" y="66"/>
                    </a:lnTo>
                    <a:lnTo>
                      <a:pt x="2" y="64"/>
                    </a:lnTo>
                    <a:lnTo>
                      <a:pt x="4" y="60"/>
                    </a:lnTo>
                    <a:lnTo>
                      <a:pt x="12" y="54"/>
                    </a:lnTo>
                    <a:lnTo>
                      <a:pt x="16" y="54"/>
                    </a:lnTo>
                    <a:lnTo>
                      <a:pt x="14" y="58"/>
                    </a:lnTo>
                    <a:lnTo>
                      <a:pt x="16" y="60"/>
                    </a:lnTo>
                    <a:lnTo>
                      <a:pt x="16" y="66"/>
                    </a:lnTo>
                    <a:lnTo>
                      <a:pt x="14" y="70"/>
                    </a:lnTo>
                    <a:lnTo>
                      <a:pt x="12" y="74"/>
                    </a:lnTo>
                    <a:lnTo>
                      <a:pt x="22" y="80"/>
                    </a:lnTo>
                    <a:lnTo>
                      <a:pt x="34" y="86"/>
                    </a:lnTo>
                    <a:lnTo>
                      <a:pt x="38" y="84"/>
                    </a:lnTo>
                    <a:lnTo>
                      <a:pt x="40" y="80"/>
                    </a:lnTo>
                    <a:lnTo>
                      <a:pt x="44" y="70"/>
                    </a:lnTo>
                    <a:lnTo>
                      <a:pt x="50" y="56"/>
                    </a:lnTo>
                    <a:lnTo>
                      <a:pt x="54" y="52"/>
                    </a:lnTo>
                    <a:lnTo>
                      <a:pt x="60" y="48"/>
                    </a:lnTo>
                    <a:lnTo>
                      <a:pt x="72" y="42"/>
                    </a:lnTo>
                    <a:lnTo>
                      <a:pt x="82" y="34"/>
                    </a:lnTo>
                    <a:lnTo>
                      <a:pt x="88" y="22"/>
                    </a:lnTo>
                    <a:lnTo>
                      <a:pt x="90" y="18"/>
                    </a:lnTo>
                    <a:lnTo>
                      <a:pt x="90" y="10"/>
                    </a:lnTo>
                    <a:lnTo>
                      <a:pt x="92" y="8"/>
                    </a:lnTo>
                    <a:lnTo>
                      <a:pt x="90" y="0"/>
                    </a:lnTo>
                    <a:lnTo>
                      <a:pt x="96" y="0"/>
                    </a:lnTo>
                    <a:lnTo>
                      <a:pt x="100" y="4"/>
                    </a:lnTo>
                    <a:lnTo>
                      <a:pt x="106" y="8"/>
                    </a:lnTo>
                    <a:lnTo>
                      <a:pt x="114" y="14"/>
                    </a:lnTo>
                    <a:lnTo>
                      <a:pt x="120" y="22"/>
                    </a:lnTo>
                    <a:lnTo>
                      <a:pt x="124" y="26"/>
                    </a:lnTo>
                    <a:lnTo>
                      <a:pt x="126" y="34"/>
                    </a:lnTo>
                    <a:lnTo>
                      <a:pt x="128" y="42"/>
                    </a:lnTo>
                    <a:lnTo>
                      <a:pt x="144" y="42"/>
                    </a:lnTo>
                    <a:lnTo>
                      <a:pt x="146" y="42"/>
                    </a:lnTo>
                    <a:lnTo>
                      <a:pt x="148" y="40"/>
                    </a:lnTo>
                    <a:lnTo>
                      <a:pt x="152" y="38"/>
                    </a:lnTo>
                    <a:lnTo>
                      <a:pt x="154" y="38"/>
                    </a:lnTo>
                    <a:lnTo>
                      <a:pt x="156" y="40"/>
                    </a:lnTo>
                    <a:lnTo>
                      <a:pt x="160" y="44"/>
                    </a:lnTo>
                    <a:lnTo>
                      <a:pt x="160" y="40"/>
                    </a:lnTo>
                    <a:lnTo>
                      <a:pt x="164" y="38"/>
                    </a:lnTo>
                    <a:lnTo>
                      <a:pt x="172" y="40"/>
                    </a:lnTo>
                    <a:lnTo>
                      <a:pt x="178" y="44"/>
                    </a:lnTo>
                    <a:lnTo>
                      <a:pt x="176" y="48"/>
                    </a:lnTo>
                    <a:lnTo>
                      <a:pt x="174" y="52"/>
                    </a:lnTo>
                    <a:lnTo>
                      <a:pt x="170" y="56"/>
                    </a:lnTo>
                    <a:lnTo>
                      <a:pt x="168" y="60"/>
                    </a:lnTo>
                    <a:lnTo>
                      <a:pt x="170" y="64"/>
                    </a:lnTo>
                    <a:lnTo>
                      <a:pt x="174" y="66"/>
                    </a:lnTo>
                    <a:lnTo>
                      <a:pt x="180" y="70"/>
                    </a:lnTo>
                    <a:lnTo>
                      <a:pt x="180" y="74"/>
                    </a:lnTo>
                    <a:lnTo>
                      <a:pt x="176" y="76"/>
                    </a:lnTo>
                    <a:lnTo>
                      <a:pt x="164" y="78"/>
                    </a:lnTo>
                    <a:lnTo>
                      <a:pt x="154" y="80"/>
                    </a:lnTo>
                    <a:lnTo>
                      <a:pt x="144" y="82"/>
                    </a:lnTo>
                    <a:lnTo>
                      <a:pt x="138" y="86"/>
                    </a:lnTo>
                    <a:lnTo>
                      <a:pt x="136" y="90"/>
                    </a:lnTo>
                    <a:lnTo>
                      <a:pt x="134" y="98"/>
                    </a:lnTo>
                    <a:lnTo>
                      <a:pt x="132" y="106"/>
                    </a:lnTo>
                    <a:lnTo>
                      <a:pt x="128" y="118"/>
                    </a:lnTo>
                    <a:lnTo>
                      <a:pt x="126" y="122"/>
                    </a:lnTo>
                    <a:lnTo>
                      <a:pt x="124" y="124"/>
                    </a:lnTo>
                    <a:lnTo>
                      <a:pt x="120" y="128"/>
                    </a:lnTo>
                    <a:lnTo>
                      <a:pt x="118" y="132"/>
                    </a:lnTo>
                    <a:lnTo>
                      <a:pt x="120" y="138"/>
                    </a:lnTo>
                    <a:lnTo>
                      <a:pt x="122" y="142"/>
                    </a:lnTo>
                    <a:lnTo>
                      <a:pt x="126" y="150"/>
                    </a:lnTo>
                    <a:lnTo>
                      <a:pt x="132" y="158"/>
                    </a:lnTo>
                    <a:lnTo>
                      <a:pt x="134" y="162"/>
                    </a:lnTo>
                    <a:lnTo>
                      <a:pt x="134" y="168"/>
                    </a:lnTo>
                    <a:lnTo>
                      <a:pt x="142" y="170"/>
                    </a:lnTo>
                    <a:lnTo>
                      <a:pt x="148" y="174"/>
                    </a:lnTo>
                    <a:lnTo>
                      <a:pt x="154" y="180"/>
                    </a:lnTo>
                    <a:lnTo>
                      <a:pt x="158" y="182"/>
                    </a:lnTo>
                    <a:lnTo>
                      <a:pt x="162" y="180"/>
                    </a:lnTo>
                    <a:lnTo>
                      <a:pt x="164" y="180"/>
                    </a:lnTo>
                    <a:lnTo>
                      <a:pt x="166" y="172"/>
                    </a:lnTo>
                    <a:lnTo>
                      <a:pt x="176" y="172"/>
                    </a:lnTo>
                    <a:lnTo>
                      <a:pt x="176" y="188"/>
                    </a:lnTo>
                    <a:lnTo>
                      <a:pt x="176" y="194"/>
                    </a:lnTo>
                    <a:lnTo>
                      <a:pt x="178" y="196"/>
                    </a:lnTo>
                    <a:lnTo>
                      <a:pt x="180" y="198"/>
                    </a:lnTo>
                    <a:lnTo>
                      <a:pt x="182" y="198"/>
                    </a:lnTo>
                    <a:lnTo>
                      <a:pt x="184" y="198"/>
                    </a:lnTo>
                    <a:lnTo>
                      <a:pt x="192" y="200"/>
                    </a:lnTo>
                    <a:lnTo>
                      <a:pt x="202" y="212"/>
                    </a:lnTo>
                    <a:lnTo>
                      <a:pt x="206" y="218"/>
                    </a:lnTo>
                    <a:lnTo>
                      <a:pt x="208" y="226"/>
                    </a:lnTo>
                    <a:lnTo>
                      <a:pt x="206" y="258"/>
                    </a:lnTo>
                    <a:lnTo>
                      <a:pt x="204" y="264"/>
                    </a:lnTo>
                    <a:lnTo>
                      <a:pt x="204" y="266"/>
                    </a:lnTo>
                    <a:lnTo>
                      <a:pt x="202" y="270"/>
                    </a:lnTo>
                    <a:lnTo>
                      <a:pt x="200" y="276"/>
                    </a:lnTo>
                    <a:lnTo>
                      <a:pt x="202" y="290"/>
                    </a:lnTo>
                    <a:lnTo>
                      <a:pt x="204" y="294"/>
                    </a:lnTo>
                    <a:lnTo>
                      <a:pt x="208" y="296"/>
                    </a:lnTo>
                    <a:lnTo>
                      <a:pt x="204" y="306"/>
                    </a:lnTo>
                    <a:lnTo>
                      <a:pt x="202" y="316"/>
                    </a:lnTo>
                    <a:lnTo>
                      <a:pt x="200" y="322"/>
                    </a:lnTo>
                    <a:lnTo>
                      <a:pt x="196" y="326"/>
                    </a:lnTo>
                    <a:lnTo>
                      <a:pt x="190" y="330"/>
                    </a:lnTo>
                    <a:lnTo>
                      <a:pt x="186" y="33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1" name="Freeform 73"/>
              <p:cNvSpPr>
                <a:spLocks noChangeAspect="1"/>
              </p:cNvSpPr>
              <p:nvPr/>
            </p:nvSpPr>
            <p:spPr bwMode="auto">
              <a:xfrm>
                <a:off x="2054503" y="4856577"/>
                <a:ext cx="271586" cy="282681"/>
              </a:xfrm>
              <a:custGeom>
                <a:avLst/>
                <a:gdLst/>
                <a:ahLst/>
                <a:cxnLst>
                  <a:cxn ang="0">
                    <a:pos x="10" y="34"/>
                  </a:cxn>
                  <a:cxn ang="0">
                    <a:pos x="16" y="50"/>
                  </a:cxn>
                  <a:cxn ang="0">
                    <a:pos x="12" y="88"/>
                  </a:cxn>
                  <a:cxn ang="0">
                    <a:pos x="10" y="94"/>
                  </a:cxn>
                  <a:cxn ang="0">
                    <a:pos x="10" y="114"/>
                  </a:cxn>
                  <a:cxn ang="0">
                    <a:pos x="16" y="120"/>
                  </a:cxn>
                  <a:cxn ang="0">
                    <a:pos x="12" y="132"/>
                  </a:cxn>
                  <a:cxn ang="0">
                    <a:pos x="18" y="156"/>
                  </a:cxn>
                  <a:cxn ang="0">
                    <a:pos x="26" y="198"/>
                  </a:cxn>
                  <a:cxn ang="0">
                    <a:pos x="30" y="202"/>
                  </a:cxn>
                  <a:cxn ang="0">
                    <a:pos x="36" y="208"/>
                  </a:cxn>
                  <a:cxn ang="0">
                    <a:pos x="44" y="234"/>
                  </a:cxn>
                  <a:cxn ang="0">
                    <a:pos x="50" y="238"/>
                  </a:cxn>
                  <a:cxn ang="0">
                    <a:pos x="60" y="232"/>
                  </a:cxn>
                  <a:cxn ang="0">
                    <a:pos x="76" y="226"/>
                  </a:cxn>
                  <a:cxn ang="0">
                    <a:pos x="92" y="230"/>
                  </a:cxn>
                  <a:cxn ang="0">
                    <a:pos x="100" y="232"/>
                  </a:cxn>
                  <a:cxn ang="0">
                    <a:pos x="112" y="228"/>
                  </a:cxn>
                  <a:cxn ang="0">
                    <a:pos x="126" y="204"/>
                  </a:cxn>
                  <a:cxn ang="0">
                    <a:pos x="132" y="188"/>
                  </a:cxn>
                  <a:cxn ang="0">
                    <a:pos x="144" y="176"/>
                  </a:cxn>
                  <a:cxn ang="0">
                    <a:pos x="162" y="172"/>
                  </a:cxn>
                  <a:cxn ang="0">
                    <a:pos x="178" y="174"/>
                  </a:cxn>
                  <a:cxn ang="0">
                    <a:pos x="190" y="174"/>
                  </a:cxn>
                  <a:cxn ang="0">
                    <a:pos x="196" y="162"/>
                  </a:cxn>
                  <a:cxn ang="0">
                    <a:pos x="196" y="148"/>
                  </a:cxn>
                  <a:cxn ang="0">
                    <a:pos x="186" y="138"/>
                  </a:cxn>
                  <a:cxn ang="0">
                    <a:pos x="180" y="130"/>
                  </a:cxn>
                  <a:cxn ang="0">
                    <a:pos x="180" y="120"/>
                  </a:cxn>
                  <a:cxn ang="0">
                    <a:pos x="158" y="116"/>
                  </a:cxn>
                  <a:cxn ang="0">
                    <a:pos x="152" y="108"/>
                  </a:cxn>
                  <a:cxn ang="0">
                    <a:pos x="152" y="94"/>
                  </a:cxn>
                  <a:cxn ang="0">
                    <a:pos x="148" y="90"/>
                  </a:cxn>
                  <a:cxn ang="0">
                    <a:pos x="142" y="70"/>
                  </a:cxn>
                  <a:cxn ang="0">
                    <a:pos x="134" y="66"/>
                  </a:cxn>
                  <a:cxn ang="0">
                    <a:pos x="120" y="68"/>
                  </a:cxn>
                  <a:cxn ang="0">
                    <a:pos x="114" y="66"/>
                  </a:cxn>
                  <a:cxn ang="0">
                    <a:pos x="108" y="60"/>
                  </a:cxn>
                  <a:cxn ang="0">
                    <a:pos x="100" y="54"/>
                  </a:cxn>
                  <a:cxn ang="0">
                    <a:pos x="94" y="54"/>
                  </a:cxn>
                  <a:cxn ang="0">
                    <a:pos x="74" y="44"/>
                  </a:cxn>
                  <a:cxn ang="0">
                    <a:pos x="66" y="30"/>
                  </a:cxn>
                  <a:cxn ang="0">
                    <a:pos x="66" y="10"/>
                  </a:cxn>
                  <a:cxn ang="0">
                    <a:pos x="64" y="2"/>
                  </a:cxn>
                  <a:cxn ang="0">
                    <a:pos x="56" y="0"/>
                  </a:cxn>
                  <a:cxn ang="0">
                    <a:pos x="42" y="6"/>
                  </a:cxn>
                  <a:cxn ang="0">
                    <a:pos x="20" y="22"/>
                  </a:cxn>
                  <a:cxn ang="0">
                    <a:pos x="8" y="26"/>
                  </a:cxn>
                  <a:cxn ang="0">
                    <a:pos x="0" y="24"/>
                  </a:cxn>
                </a:cxnLst>
                <a:rect l="0" t="0" r="r" b="b"/>
                <a:pathLst>
                  <a:path w="196" h="238">
                    <a:moveTo>
                      <a:pt x="0" y="24"/>
                    </a:moveTo>
                    <a:lnTo>
                      <a:pt x="10" y="34"/>
                    </a:lnTo>
                    <a:lnTo>
                      <a:pt x="14" y="42"/>
                    </a:lnTo>
                    <a:lnTo>
                      <a:pt x="16" y="50"/>
                    </a:lnTo>
                    <a:lnTo>
                      <a:pt x="14" y="82"/>
                    </a:lnTo>
                    <a:lnTo>
                      <a:pt x="12" y="88"/>
                    </a:lnTo>
                    <a:lnTo>
                      <a:pt x="12" y="90"/>
                    </a:lnTo>
                    <a:lnTo>
                      <a:pt x="10" y="94"/>
                    </a:lnTo>
                    <a:lnTo>
                      <a:pt x="8" y="100"/>
                    </a:lnTo>
                    <a:lnTo>
                      <a:pt x="10" y="114"/>
                    </a:lnTo>
                    <a:lnTo>
                      <a:pt x="12" y="118"/>
                    </a:lnTo>
                    <a:lnTo>
                      <a:pt x="16" y="120"/>
                    </a:lnTo>
                    <a:lnTo>
                      <a:pt x="14" y="126"/>
                    </a:lnTo>
                    <a:lnTo>
                      <a:pt x="12" y="132"/>
                    </a:lnTo>
                    <a:lnTo>
                      <a:pt x="8" y="146"/>
                    </a:lnTo>
                    <a:lnTo>
                      <a:pt x="18" y="156"/>
                    </a:lnTo>
                    <a:lnTo>
                      <a:pt x="22" y="168"/>
                    </a:lnTo>
                    <a:lnTo>
                      <a:pt x="26" y="198"/>
                    </a:lnTo>
                    <a:lnTo>
                      <a:pt x="28" y="200"/>
                    </a:lnTo>
                    <a:lnTo>
                      <a:pt x="30" y="202"/>
                    </a:lnTo>
                    <a:lnTo>
                      <a:pt x="34" y="204"/>
                    </a:lnTo>
                    <a:lnTo>
                      <a:pt x="36" y="208"/>
                    </a:lnTo>
                    <a:lnTo>
                      <a:pt x="42" y="228"/>
                    </a:lnTo>
                    <a:lnTo>
                      <a:pt x="44" y="234"/>
                    </a:lnTo>
                    <a:lnTo>
                      <a:pt x="46" y="238"/>
                    </a:lnTo>
                    <a:lnTo>
                      <a:pt x="50" y="238"/>
                    </a:lnTo>
                    <a:lnTo>
                      <a:pt x="56" y="236"/>
                    </a:lnTo>
                    <a:lnTo>
                      <a:pt x="60" y="232"/>
                    </a:lnTo>
                    <a:lnTo>
                      <a:pt x="70" y="220"/>
                    </a:lnTo>
                    <a:lnTo>
                      <a:pt x="76" y="226"/>
                    </a:lnTo>
                    <a:lnTo>
                      <a:pt x="84" y="228"/>
                    </a:lnTo>
                    <a:lnTo>
                      <a:pt x="92" y="230"/>
                    </a:lnTo>
                    <a:lnTo>
                      <a:pt x="98" y="238"/>
                    </a:lnTo>
                    <a:lnTo>
                      <a:pt x="100" y="232"/>
                    </a:lnTo>
                    <a:lnTo>
                      <a:pt x="104" y="230"/>
                    </a:lnTo>
                    <a:lnTo>
                      <a:pt x="112" y="228"/>
                    </a:lnTo>
                    <a:lnTo>
                      <a:pt x="126" y="228"/>
                    </a:lnTo>
                    <a:lnTo>
                      <a:pt x="126" y="204"/>
                    </a:lnTo>
                    <a:lnTo>
                      <a:pt x="128" y="196"/>
                    </a:lnTo>
                    <a:lnTo>
                      <a:pt x="132" y="188"/>
                    </a:lnTo>
                    <a:lnTo>
                      <a:pt x="136" y="180"/>
                    </a:lnTo>
                    <a:lnTo>
                      <a:pt x="144" y="176"/>
                    </a:lnTo>
                    <a:lnTo>
                      <a:pt x="152" y="172"/>
                    </a:lnTo>
                    <a:lnTo>
                      <a:pt x="162" y="172"/>
                    </a:lnTo>
                    <a:lnTo>
                      <a:pt x="170" y="172"/>
                    </a:lnTo>
                    <a:lnTo>
                      <a:pt x="178" y="174"/>
                    </a:lnTo>
                    <a:lnTo>
                      <a:pt x="190" y="180"/>
                    </a:lnTo>
                    <a:lnTo>
                      <a:pt x="190" y="174"/>
                    </a:lnTo>
                    <a:lnTo>
                      <a:pt x="192" y="170"/>
                    </a:lnTo>
                    <a:lnTo>
                      <a:pt x="196" y="162"/>
                    </a:lnTo>
                    <a:lnTo>
                      <a:pt x="196" y="156"/>
                    </a:lnTo>
                    <a:lnTo>
                      <a:pt x="196" y="148"/>
                    </a:lnTo>
                    <a:lnTo>
                      <a:pt x="194" y="146"/>
                    </a:lnTo>
                    <a:lnTo>
                      <a:pt x="186" y="138"/>
                    </a:lnTo>
                    <a:lnTo>
                      <a:pt x="184" y="134"/>
                    </a:lnTo>
                    <a:lnTo>
                      <a:pt x="180" y="130"/>
                    </a:lnTo>
                    <a:lnTo>
                      <a:pt x="180" y="126"/>
                    </a:lnTo>
                    <a:lnTo>
                      <a:pt x="180" y="120"/>
                    </a:lnTo>
                    <a:lnTo>
                      <a:pt x="168" y="118"/>
                    </a:lnTo>
                    <a:lnTo>
                      <a:pt x="158" y="116"/>
                    </a:lnTo>
                    <a:lnTo>
                      <a:pt x="154" y="112"/>
                    </a:lnTo>
                    <a:lnTo>
                      <a:pt x="152" y="108"/>
                    </a:lnTo>
                    <a:lnTo>
                      <a:pt x="152" y="102"/>
                    </a:lnTo>
                    <a:lnTo>
                      <a:pt x="152" y="94"/>
                    </a:lnTo>
                    <a:lnTo>
                      <a:pt x="150" y="92"/>
                    </a:lnTo>
                    <a:lnTo>
                      <a:pt x="148" y="90"/>
                    </a:lnTo>
                    <a:lnTo>
                      <a:pt x="146" y="80"/>
                    </a:lnTo>
                    <a:lnTo>
                      <a:pt x="142" y="70"/>
                    </a:lnTo>
                    <a:lnTo>
                      <a:pt x="138" y="68"/>
                    </a:lnTo>
                    <a:lnTo>
                      <a:pt x="134" y="66"/>
                    </a:lnTo>
                    <a:lnTo>
                      <a:pt x="124" y="68"/>
                    </a:lnTo>
                    <a:lnTo>
                      <a:pt x="120" y="68"/>
                    </a:lnTo>
                    <a:lnTo>
                      <a:pt x="116" y="68"/>
                    </a:lnTo>
                    <a:lnTo>
                      <a:pt x="114" y="66"/>
                    </a:lnTo>
                    <a:lnTo>
                      <a:pt x="114" y="62"/>
                    </a:lnTo>
                    <a:lnTo>
                      <a:pt x="108" y="60"/>
                    </a:lnTo>
                    <a:lnTo>
                      <a:pt x="104" y="58"/>
                    </a:lnTo>
                    <a:lnTo>
                      <a:pt x="100" y="54"/>
                    </a:lnTo>
                    <a:lnTo>
                      <a:pt x="98" y="52"/>
                    </a:lnTo>
                    <a:lnTo>
                      <a:pt x="94" y="54"/>
                    </a:lnTo>
                    <a:lnTo>
                      <a:pt x="84" y="50"/>
                    </a:lnTo>
                    <a:lnTo>
                      <a:pt x="74" y="44"/>
                    </a:lnTo>
                    <a:lnTo>
                      <a:pt x="70" y="36"/>
                    </a:lnTo>
                    <a:lnTo>
                      <a:pt x="66" y="30"/>
                    </a:lnTo>
                    <a:lnTo>
                      <a:pt x="64" y="20"/>
                    </a:lnTo>
                    <a:lnTo>
                      <a:pt x="66" y="10"/>
                    </a:lnTo>
                    <a:lnTo>
                      <a:pt x="66" y="6"/>
                    </a:lnTo>
                    <a:lnTo>
                      <a:pt x="64" y="2"/>
                    </a:lnTo>
                    <a:lnTo>
                      <a:pt x="62" y="0"/>
                    </a:lnTo>
                    <a:lnTo>
                      <a:pt x="56" y="0"/>
                    </a:lnTo>
                    <a:lnTo>
                      <a:pt x="48" y="2"/>
                    </a:lnTo>
                    <a:lnTo>
                      <a:pt x="42" y="6"/>
                    </a:lnTo>
                    <a:lnTo>
                      <a:pt x="30" y="14"/>
                    </a:lnTo>
                    <a:lnTo>
                      <a:pt x="20" y="22"/>
                    </a:lnTo>
                    <a:lnTo>
                      <a:pt x="12" y="26"/>
                    </a:lnTo>
                    <a:lnTo>
                      <a:pt x="8" y="26"/>
                    </a:lnTo>
                    <a:lnTo>
                      <a:pt x="4" y="24"/>
                    </a:lnTo>
                    <a:lnTo>
                      <a:pt x="0" y="2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2" name="Freeform 74"/>
              <p:cNvSpPr>
                <a:spLocks noChangeAspect="1"/>
              </p:cNvSpPr>
              <p:nvPr/>
            </p:nvSpPr>
            <p:spPr bwMode="auto">
              <a:xfrm>
                <a:off x="2231507" y="5061729"/>
                <a:ext cx="186462" cy="180105"/>
              </a:xfrm>
              <a:custGeom>
                <a:avLst/>
                <a:gdLst/>
                <a:ahLst/>
                <a:cxnLst>
                  <a:cxn ang="0">
                    <a:pos x="132" y="118"/>
                  </a:cxn>
                  <a:cxn ang="0">
                    <a:pos x="134" y="122"/>
                  </a:cxn>
                  <a:cxn ang="0">
                    <a:pos x="134" y="130"/>
                  </a:cxn>
                  <a:cxn ang="0">
                    <a:pos x="134" y="136"/>
                  </a:cxn>
                  <a:cxn ang="0">
                    <a:pos x="130" y="138"/>
                  </a:cxn>
                  <a:cxn ang="0">
                    <a:pos x="122" y="146"/>
                  </a:cxn>
                  <a:cxn ang="0">
                    <a:pos x="112" y="150"/>
                  </a:cxn>
                  <a:cxn ang="0">
                    <a:pos x="102" y="152"/>
                  </a:cxn>
                  <a:cxn ang="0">
                    <a:pos x="94" y="152"/>
                  </a:cxn>
                  <a:cxn ang="0">
                    <a:pos x="86" y="150"/>
                  </a:cxn>
                  <a:cxn ang="0">
                    <a:pos x="82" y="148"/>
                  </a:cxn>
                  <a:cxn ang="0">
                    <a:pos x="74" y="148"/>
                  </a:cxn>
                  <a:cxn ang="0">
                    <a:pos x="76" y="138"/>
                  </a:cxn>
                  <a:cxn ang="0">
                    <a:pos x="80" y="132"/>
                  </a:cxn>
                  <a:cxn ang="0">
                    <a:pos x="82" y="124"/>
                  </a:cxn>
                  <a:cxn ang="0">
                    <a:pos x="84" y="116"/>
                  </a:cxn>
                  <a:cxn ang="0">
                    <a:pos x="82" y="110"/>
                  </a:cxn>
                  <a:cxn ang="0">
                    <a:pos x="78" y="106"/>
                  </a:cxn>
                  <a:cxn ang="0">
                    <a:pos x="72" y="106"/>
                  </a:cxn>
                  <a:cxn ang="0">
                    <a:pos x="64" y="104"/>
                  </a:cxn>
                  <a:cxn ang="0">
                    <a:pos x="62" y="102"/>
                  </a:cxn>
                  <a:cxn ang="0">
                    <a:pos x="60" y="98"/>
                  </a:cxn>
                  <a:cxn ang="0">
                    <a:pos x="58" y="94"/>
                  </a:cxn>
                  <a:cxn ang="0">
                    <a:pos x="54" y="92"/>
                  </a:cxn>
                  <a:cxn ang="0">
                    <a:pos x="46" y="90"/>
                  </a:cxn>
                  <a:cxn ang="0">
                    <a:pos x="40" y="88"/>
                  </a:cxn>
                  <a:cxn ang="0">
                    <a:pos x="34" y="88"/>
                  </a:cxn>
                  <a:cxn ang="0">
                    <a:pos x="30" y="86"/>
                  </a:cxn>
                  <a:cxn ang="0">
                    <a:pos x="24" y="82"/>
                  </a:cxn>
                  <a:cxn ang="0">
                    <a:pos x="12" y="66"/>
                  </a:cxn>
                  <a:cxn ang="0">
                    <a:pos x="4" y="62"/>
                  </a:cxn>
                  <a:cxn ang="0">
                    <a:pos x="2" y="60"/>
                  </a:cxn>
                  <a:cxn ang="0">
                    <a:pos x="0" y="58"/>
                  </a:cxn>
                  <a:cxn ang="0">
                    <a:pos x="0" y="56"/>
                  </a:cxn>
                  <a:cxn ang="0">
                    <a:pos x="0" y="32"/>
                  </a:cxn>
                  <a:cxn ang="0">
                    <a:pos x="2" y="24"/>
                  </a:cxn>
                  <a:cxn ang="0">
                    <a:pos x="6" y="16"/>
                  </a:cxn>
                  <a:cxn ang="0">
                    <a:pos x="10" y="8"/>
                  </a:cxn>
                  <a:cxn ang="0">
                    <a:pos x="18" y="4"/>
                  </a:cxn>
                  <a:cxn ang="0">
                    <a:pos x="26" y="0"/>
                  </a:cxn>
                  <a:cxn ang="0">
                    <a:pos x="36" y="0"/>
                  </a:cxn>
                  <a:cxn ang="0">
                    <a:pos x="44" y="0"/>
                  </a:cxn>
                  <a:cxn ang="0">
                    <a:pos x="52" y="2"/>
                  </a:cxn>
                  <a:cxn ang="0">
                    <a:pos x="64" y="8"/>
                  </a:cxn>
                  <a:cxn ang="0">
                    <a:pos x="64" y="18"/>
                  </a:cxn>
                  <a:cxn ang="0">
                    <a:pos x="70" y="34"/>
                  </a:cxn>
                  <a:cxn ang="0">
                    <a:pos x="76" y="50"/>
                  </a:cxn>
                  <a:cxn ang="0">
                    <a:pos x="78" y="54"/>
                  </a:cxn>
                  <a:cxn ang="0">
                    <a:pos x="82" y="56"/>
                  </a:cxn>
                  <a:cxn ang="0">
                    <a:pos x="92" y="56"/>
                  </a:cxn>
                  <a:cxn ang="0">
                    <a:pos x="100" y="58"/>
                  </a:cxn>
                  <a:cxn ang="0">
                    <a:pos x="106" y="62"/>
                  </a:cxn>
                  <a:cxn ang="0">
                    <a:pos x="108" y="68"/>
                  </a:cxn>
                  <a:cxn ang="0">
                    <a:pos x="114" y="80"/>
                  </a:cxn>
                  <a:cxn ang="0">
                    <a:pos x="120" y="90"/>
                  </a:cxn>
                  <a:cxn ang="0">
                    <a:pos x="122" y="86"/>
                  </a:cxn>
                  <a:cxn ang="0">
                    <a:pos x="126" y="84"/>
                  </a:cxn>
                  <a:cxn ang="0">
                    <a:pos x="128" y="82"/>
                  </a:cxn>
                  <a:cxn ang="0">
                    <a:pos x="132" y="84"/>
                  </a:cxn>
                  <a:cxn ang="0">
                    <a:pos x="132" y="88"/>
                  </a:cxn>
                  <a:cxn ang="0">
                    <a:pos x="132" y="94"/>
                  </a:cxn>
                  <a:cxn ang="0">
                    <a:pos x="132" y="106"/>
                  </a:cxn>
                  <a:cxn ang="0">
                    <a:pos x="132" y="118"/>
                  </a:cxn>
                </a:cxnLst>
                <a:rect l="0" t="0" r="r" b="b"/>
                <a:pathLst>
                  <a:path w="134" h="152">
                    <a:moveTo>
                      <a:pt x="132" y="118"/>
                    </a:moveTo>
                    <a:lnTo>
                      <a:pt x="134" y="122"/>
                    </a:lnTo>
                    <a:lnTo>
                      <a:pt x="134" y="130"/>
                    </a:lnTo>
                    <a:lnTo>
                      <a:pt x="134" y="136"/>
                    </a:lnTo>
                    <a:lnTo>
                      <a:pt x="130" y="138"/>
                    </a:lnTo>
                    <a:lnTo>
                      <a:pt x="122" y="146"/>
                    </a:lnTo>
                    <a:lnTo>
                      <a:pt x="112" y="150"/>
                    </a:lnTo>
                    <a:lnTo>
                      <a:pt x="102" y="152"/>
                    </a:lnTo>
                    <a:lnTo>
                      <a:pt x="94" y="152"/>
                    </a:lnTo>
                    <a:lnTo>
                      <a:pt x="86" y="150"/>
                    </a:lnTo>
                    <a:lnTo>
                      <a:pt x="82" y="148"/>
                    </a:lnTo>
                    <a:lnTo>
                      <a:pt x="74" y="148"/>
                    </a:lnTo>
                    <a:lnTo>
                      <a:pt x="76" y="138"/>
                    </a:lnTo>
                    <a:lnTo>
                      <a:pt x="80" y="132"/>
                    </a:lnTo>
                    <a:lnTo>
                      <a:pt x="82" y="124"/>
                    </a:lnTo>
                    <a:lnTo>
                      <a:pt x="84" y="116"/>
                    </a:lnTo>
                    <a:lnTo>
                      <a:pt x="82" y="110"/>
                    </a:lnTo>
                    <a:lnTo>
                      <a:pt x="78" y="106"/>
                    </a:lnTo>
                    <a:lnTo>
                      <a:pt x="72" y="106"/>
                    </a:lnTo>
                    <a:lnTo>
                      <a:pt x="64" y="104"/>
                    </a:lnTo>
                    <a:lnTo>
                      <a:pt x="62" y="102"/>
                    </a:lnTo>
                    <a:lnTo>
                      <a:pt x="60" y="98"/>
                    </a:lnTo>
                    <a:lnTo>
                      <a:pt x="58" y="94"/>
                    </a:lnTo>
                    <a:lnTo>
                      <a:pt x="54" y="92"/>
                    </a:lnTo>
                    <a:lnTo>
                      <a:pt x="46" y="90"/>
                    </a:lnTo>
                    <a:lnTo>
                      <a:pt x="40" y="88"/>
                    </a:lnTo>
                    <a:lnTo>
                      <a:pt x="34" y="88"/>
                    </a:lnTo>
                    <a:lnTo>
                      <a:pt x="30" y="86"/>
                    </a:lnTo>
                    <a:lnTo>
                      <a:pt x="24" y="82"/>
                    </a:lnTo>
                    <a:lnTo>
                      <a:pt x="12" y="66"/>
                    </a:lnTo>
                    <a:lnTo>
                      <a:pt x="4" y="62"/>
                    </a:lnTo>
                    <a:lnTo>
                      <a:pt x="2" y="60"/>
                    </a:lnTo>
                    <a:lnTo>
                      <a:pt x="0" y="58"/>
                    </a:lnTo>
                    <a:lnTo>
                      <a:pt x="0" y="56"/>
                    </a:lnTo>
                    <a:lnTo>
                      <a:pt x="0" y="32"/>
                    </a:lnTo>
                    <a:lnTo>
                      <a:pt x="2" y="24"/>
                    </a:lnTo>
                    <a:lnTo>
                      <a:pt x="6" y="16"/>
                    </a:lnTo>
                    <a:lnTo>
                      <a:pt x="10" y="8"/>
                    </a:lnTo>
                    <a:lnTo>
                      <a:pt x="18" y="4"/>
                    </a:lnTo>
                    <a:lnTo>
                      <a:pt x="26" y="0"/>
                    </a:lnTo>
                    <a:lnTo>
                      <a:pt x="36" y="0"/>
                    </a:lnTo>
                    <a:lnTo>
                      <a:pt x="44" y="0"/>
                    </a:lnTo>
                    <a:lnTo>
                      <a:pt x="52" y="2"/>
                    </a:lnTo>
                    <a:lnTo>
                      <a:pt x="64" y="8"/>
                    </a:lnTo>
                    <a:lnTo>
                      <a:pt x="64" y="18"/>
                    </a:lnTo>
                    <a:lnTo>
                      <a:pt x="70" y="34"/>
                    </a:lnTo>
                    <a:lnTo>
                      <a:pt x="76" y="50"/>
                    </a:lnTo>
                    <a:lnTo>
                      <a:pt x="78" y="54"/>
                    </a:lnTo>
                    <a:lnTo>
                      <a:pt x="82" y="56"/>
                    </a:lnTo>
                    <a:lnTo>
                      <a:pt x="92" y="56"/>
                    </a:lnTo>
                    <a:lnTo>
                      <a:pt x="100" y="58"/>
                    </a:lnTo>
                    <a:lnTo>
                      <a:pt x="106" y="62"/>
                    </a:lnTo>
                    <a:lnTo>
                      <a:pt x="108" y="68"/>
                    </a:lnTo>
                    <a:lnTo>
                      <a:pt x="114" y="80"/>
                    </a:lnTo>
                    <a:lnTo>
                      <a:pt x="120" y="90"/>
                    </a:lnTo>
                    <a:lnTo>
                      <a:pt x="122" y="86"/>
                    </a:lnTo>
                    <a:lnTo>
                      <a:pt x="126" y="84"/>
                    </a:lnTo>
                    <a:lnTo>
                      <a:pt x="128" y="82"/>
                    </a:lnTo>
                    <a:lnTo>
                      <a:pt x="132" y="84"/>
                    </a:lnTo>
                    <a:lnTo>
                      <a:pt x="132" y="88"/>
                    </a:lnTo>
                    <a:lnTo>
                      <a:pt x="132" y="94"/>
                    </a:lnTo>
                    <a:lnTo>
                      <a:pt x="132" y="106"/>
                    </a:lnTo>
                    <a:lnTo>
                      <a:pt x="132" y="11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3" name="Freeform 75"/>
              <p:cNvSpPr>
                <a:spLocks noChangeAspect="1"/>
              </p:cNvSpPr>
              <p:nvPr/>
            </p:nvSpPr>
            <p:spPr bwMode="auto">
              <a:xfrm>
                <a:off x="2365274" y="5301471"/>
                <a:ext cx="116201" cy="96612"/>
              </a:xfrm>
              <a:custGeom>
                <a:avLst/>
                <a:gdLst/>
                <a:ahLst/>
                <a:cxnLst>
                  <a:cxn ang="0">
                    <a:pos x="2" y="0"/>
                  </a:cxn>
                  <a:cxn ang="0">
                    <a:pos x="12" y="0"/>
                  </a:cxn>
                  <a:cxn ang="0">
                    <a:pos x="22" y="4"/>
                  </a:cxn>
                  <a:cxn ang="0">
                    <a:pos x="34" y="12"/>
                  </a:cxn>
                  <a:cxn ang="0">
                    <a:pos x="44" y="18"/>
                  </a:cxn>
                  <a:cxn ang="0">
                    <a:pos x="66" y="36"/>
                  </a:cxn>
                  <a:cxn ang="0">
                    <a:pos x="84" y="50"/>
                  </a:cxn>
                  <a:cxn ang="0">
                    <a:pos x="78" y="62"/>
                  </a:cxn>
                  <a:cxn ang="0">
                    <a:pos x="72" y="72"/>
                  </a:cxn>
                  <a:cxn ang="0">
                    <a:pos x="66" y="78"/>
                  </a:cxn>
                  <a:cxn ang="0">
                    <a:pos x="60" y="82"/>
                  </a:cxn>
                  <a:cxn ang="0">
                    <a:pos x="58" y="82"/>
                  </a:cxn>
                  <a:cxn ang="0">
                    <a:pos x="40" y="80"/>
                  </a:cxn>
                  <a:cxn ang="0">
                    <a:pos x="24" y="76"/>
                  </a:cxn>
                  <a:cxn ang="0">
                    <a:pos x="12" y="72"/>
                  </a:cxn>
                  <a:cxn ang="0">
                    <a:pos x="0" y="66"/>
                  </a:cxn>
                  <a:cxn ang="0">
                    <a:pos x="2" y="0"/>
                  </a:cxn>
                </a:cxnLst>
                <a:rect l="0" t="0" r="r" b="b"/>
                <a:pathLst>
                  <a:path w="84" h="82">
                    <a:moveTo>
                      <a:pt x="2" y="0"/>
                    </a:moveTo>
                    <a:lnTo>
                      <a:pt x="12" y="0"/>
                    </a:lnTo>
                    <a:lnTo>
                      <a:pt x="22" y="4"/>
                    </a:lnTo>
                    <a:lnTo>
                      <a:pt x="34" y="12"/>
                    </a:lnTo>
                    <a:lnTo>
                      <a:pt x="44" y="18"/>
                    </a:lnTo>
                    <a:lnTo>
                      <a:pt x="66" y="36"/>
                    </a:lnTo>
                    <a:lnTo>
                      <a:pt x="84" y="50"/>
                    </a:lnTo>
                    <a:lnTo>
                      <a:pt x="78" y="62"/>
                    </a:lnTo>
                    <a:lnTo>
                      <a:pt x="72" y="72"/>
                    </a:lnTo>
                    <a:lnTo>
                      <a:pt x="66" y="78"/>
                    </a:lnTo>
                    <a:lnTo>
                      <a:pt x="60" y="82"/>
                    </a:lnTo>
                    <a:lnTo>
                      <a:pt x="58" y="82"/>
                    </a:lnTo>
                    <a:lnTo>
                      <a:pt x="40" y="80"/>
                    </a:lnTo>
                    <a:lnTo>
                      <a:pt x="24" y="76"/>
                    </a:lnTo>
                    <a:lnTo>
                      <a:pt x="12" y="72"/>
                    </a:lnTo>
                    <a:lnTo>
                      <a:pt x="0" y="66"/>
                    </a:lnTo>
                    <a:lnTo>
                      <a:pt x="2"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4" name="Freeform 76"/>
              <p:cNvSpPr>
                <a:spLocks noChangeAspect="1"/>
              </p:cNvSpPr>
              <p:nvPr/>
            </p:nvSpPr>
            <p:spPr bwMode="auto">
              <a:xfrm>
                <a:off x="1834264" y="4369937"/>
                <a:ext cx="259425" cy="360209"/>
              </a:xfrm>
              <a:custGeom>
                <a:avLst/>
                <a:gdLst/>
                <a:ahLst/>
                <a:cxnLst>
                  <a:cxn ang="0">
                    <a:pos x="6" y="184"/>
                  </a:cxn>
                  <a:cxn ang="0">
                    <a:pos x="18" y="172"/>
                  </a:cxn>
                  <a:cxn ang="0">
                    <a:pos x="28" y="158"/>
                  </a:cxn>
                  <a:cxn ang="0">
                    <a:pos x="26" y="118"/>
                  </a:cxn>
                  <a:cxn ang="0">
                    <a:pos x="22" y="100"/>
                  </a:cxn>
                  <a:cxn ang="0">
                    <a:pos x="16" y="90"/>
                  </a:cxn>
                  <a:cxn ang="0">
                    <a:pos x="26" y="76"/>
                  </a:cxn>
                  <a:cxn ang="0">
                    <a:pos x="32" y="72"/>
                  </a:cxn>
                  <a:cxn ang="0">
                    <a:pos x="46" y="62"/>
                  </a:cxn>
                  <a:cxn ang="0">
                    <a:pos x="56" y="54"/>
                  </a:cxn>
                  <a:cxn ang="0">
                    <a:pos x="60" y="34"/>
                  </a:cxn>
                  <a:cxn ang="0">
                    <a:pos x="72" y="24"/>
                  </a:cxn>
                  <a:cxn ang="0">
                    <a:pos x="86" y="18"/>
                  </a:cxn>
                  <a:cxn ang="0">
                    <a:pos x="118" y="4"/>
                  </a:cxn>
                  <a:cxn ang="0">
                    <a:pos x="128" y="8"/>
                  </a:cxn>
                  <a:cxn ang="0">
                    <a:pos x="118" y="18"/>
                  </a:cxn>
                  <a:cxn ang="0">
                    <a:pos x="94" y="48"/>
                  </a:cxn>
                  <a:cxn ang="0">
                    <a:pos x="98" y="64"/>
                  </a:cxn>
                  <a:cxn ang="0">
                    <a:pos x="106" y="76"/>
                  </a:cxn>
                  <a:cxn ang="0">
                    <a:pos x="102" y="92"/>
                  </a:cxn>
                  <a:cxn ang="0">
                    <a:pos x="112" y="100"/>
                  </a:cxn>
                  <a:cxn ang="0">
                    <a:pos x="142" y="106"/>
                  </a:cxn>
                  <a:cxn ang="0">
                    <a:pos x="152" y="118"/>
                  </a:cxn>
                  <a:cxn ang="0">
                    <a:pos x="170" y="118"/>
                  </a:cxn>
                  <a:cxn ang="0">
                    <a:pos x="176" y="132"/>
                  </a:cxn>
                  <a:cxn ang="0">
                    <a:pos x="174" y="154"/>
                  </a:cxn>
                  <a:cxn ang="0">
                    <a:pos x="182" y="168"/>
                  </a:cxn>
                  <a:cxn ang="0">
                    <a:pos x="178" y="174"/>
                  </a:cxn>
                  <a:cxn ang="0">
                    <a:pos x="184" y="190"/>
                  </a:cxn>
                  <a:cxn ang="0">
                    <a:pos x="148" y="200"/>
                  </a:cxn>
                  <a:cxn ang="0">
                    <a:pos x="146" y="206"/>
                  </a:cxn>
                  <a:cxn ang="0">
                    <a:pos x="152" y="220"/>
                  </a:cxn>
                  <a:cxn ang="0">
                    <a:pos x="140" y="226"/>
                  </a:cxn>
                  <a:cxn ang="0">
                    <a:pos x="142" y="240"/>
                  </a:cxn>
                  <a:cxn ang="0">
                    <a:pos x="146" y="276"/>
                  </a:cxn>
                  <a:cxn ang="0">
                    <a:pos x="132" y="298"/>
                  </a:cxn>
                  <a:cxn ang="0">
                    <a:pos x="136" y="286"/>
                  </a:cxn>
                  <a:cxn ang="0">
                    <a:pos x="134" y="274"/>
                  </a:cxn>
                  <a:cxn ang="0">
                    <a:pos x="122" y="278"/>
                  </a:cxn>
                  <a:cxn ang="0">
                    <a:pos x="114" y="272"/>
                  </a:cxn>
                  <a:cxn ang="0">
                    <a:pos x="106" y="276"/>
                  </a:cxn>
                  <a:cxn ang="0">
                    <a:pos x="86" y="260"/>
                  </a:cxn>
                  <a:cxn ang="0">
                    <a:pos x="68" y="242"/>
                  </a:cxn>
                  <a:cxn ang="0">
                    <a:pos x="52" y="234"/>
                  </a:cxn>
                  <a:cxn ang="0">
                    <a:pos x="36" y="226"/>
                  </a:cxn>
                  <a:cxn ang="0">
                    <a:pos x="0" y="204"/>
                  </a:cxn>
                </a:cxnLst>
                <a:rect l="0" t="0" r="r" b="b"/>
                <a:pathLst>
                  <a:path w="184" h="304">
                    <a:moveTo>
                      <a:pt x="2" y="204"/>
                    </a:moveTo>
                    <a:lnTo>
                      <a:pt x="2" y="194"/>
                    </a:lnTo>
                    <a:lnTo>
                      <a:pt x="6" y="184"/>
                    </a:lnTo>
                    <a:lnTo>
                      <a:pt x="8" y="178"/>
                    </a:lnTo>
                    <a:lnTo>
                      <a:pt x="18" y="176"/>
                    </a:lnTo>
                    <a:lnTo>
                      <a:pt x="18" y="172"/>
                    </a:lnTo>
                    <a:lnTo>
                      <a:pt x="22" y="166"/>
                    </a:lnTo>
                    <a:lnTo>
                      <a:pt x="26" y="162"/>
                    </a:lnTo>
                    <a:lnTo>
                      <a:pt x="28" y="158"/>
                    </a:lnTo>
                    <a:lnTo>
                      <a:pt x="26" y="142"/>
                    </a:lnTo>
                    <a:lnTo>
                      <a:pt x="24" y="124"/>
                    </a:lnTo>
                    <a:lnTo>
                      <a:pt x="26" y="118"/>
                    </a:lnTo>
                    <a:lnTo>
                      <a:pt x="28" y="114"/>
                    </a:lnTo>
                    <a:lnTo>
                      <a:pt x="26" y="106"/>
                    </a:lnTo>
                    <a:lnTo>
                      <a:pt x="22" y="100"/>
                    </a:lnTo>
                    <a:lnTo>
                      <a:pt x="18" y="96"/>
                    </a:lnTo>
                    <a:lnTo>
                      <a:pt x="18" y="90"/>
                    </a:lnTo>
                    <a:lnTo>
                      <a:pt x="16" y="90"/>
                    </a:lnTo>
                    <a:lnTo>
                      <a:pt x="22" y="86"/>
                    </a:lnTo>
                    <a:lnTo>
                      <a:pt x="28" y="82"/>
                    </a:lnTo>
                    <a:lnTo>
                      <a:pt x="26" y="76"/>
                    </a:lnTo>
                    <a:lnTo>
                      <a:pt x="26" y="70"/>
                    </a:lnTo>
                    <a:lnTo>
                      <a:pt x="28" y="68"/>
                    </a:lnTo>
                    <a:lnTo>
                      <a:pt x="32" y="72"/>
                    </a:lnTo>
                    <a:lnTo>
                      <a:pt x="40" y="74"/>
                    </a:lnTo>
                    <a:lnTo>
                      <a:pt x="42" y="64"/>
                    </a:lnTo>
                    <a:lnTo>
                      <a:pt x="46" y="62"/>
                    </a:lnTo>
                    <a:lnTo>
                      <a:pt x="48" y="58"/>
                    </a:lnTo>
                    <a:lnTo>
                      <a:pt x="52" y="58"/>
                    </a:lnTo>
                    <a:lnTo>
                      <a:pt x="56" y="54"/>
                    </a:lnTo>
                    <a:lnTo>
                      <a:pt x="58" y="48"/>
                    </a:lnTo>
                    <a:lnTo>
                      <a:pt x="60" y="42"/>
                    </a:lnTo>
                    <a:lnTo>
                      <a:pt x="60" y="34"/>
                    </a:lnTo>
                    <a:lnTo>
                      <a:pt x="62" y="30"/>
                    </a:lnTo>
                    <a:lnTo>
                      <a:pt x="66" y="26"/>
                    </a:lnTo>
                    <a:lnTo>
                      <a:pt x="72" y="24"/>
                    </a:lnTo>
                    <a:lnTo>
                      <a:pt x="80" y="24"/>
                    </a:lnTo>
                    <a:lnTo>
                      <a:pt x="82" y="20"/>
                    </a:lnTo>
                    <a:lnTo>
                      <a:pt x="86" y="18"/>
                    </a:lnTo>
                    <a:lnTo>
                      <a:pt x="98" y="14"/>
                    </a:lnTo>
                    <a:lnTo>
                      <a:pt x="110" y="10"/>
                    </a:lnTo>
                    <a:lnTo>
                      <a:pt x="118" y="4"/>
                    </a:lnTo>
                    <a:lnTo>
                      <a:pt x="124" y="2"/>
                    </a:lnTo>
                    <a:lnTo>
                      <a:pt x="128" y="0"/>
                    </a:lnTo>
                    <a:lnTo>
                      <a:pt x="128" y="8"/>
                    </a:lnTo>
                    <a:lnTo>
                      <a:pt x="124" y="10"/>
                    </a:lnTo>
                    <a:lnTo>
                      <a:pt x="120" y="14"/>
                    </a:lnTo>
                    <a:lnTo>
                      <a:pt x="118" y="18"/>
                    </a:lnTo>
                    <a:lnTo>
                      <a:pt x="110" y="28"/>
                    </a:lnTo>
                    <a:lnTo>
                      <a:pt x="98" y="40"/>
                    </a:lnTo>
                    <a:lnTo>
                      <a:pt x="94" y="48"/>
                    </a:lnTo>
                    <a:lnTo>
                      <a:pt x="92" y="56"/>
                    </a:lnTo>
                    <a:lnTo>
                      <a:pt x="94" y="62"/>
                    </a:lnTo>
                    <a:lnTo>
                      <a:pt x="98" y="64"/>
                    </a:lnTo>
                    <a:lnTo>
                      <a:pt x="100" y="68"/>
                    </a:lnTo>
                    <a:lnTo>
                      <a:pt x="102" y="72"/>
                    </a:lnTo>
                    <a:lnTo>
                      <a:pt x="106" y="76"/>
                    </a:lnTo>
                    <a:lnTo>
                      <a:pt x="108" y="82"/>
                    </a:lnTo>
                    <a:lnTo>
                      <a:pt x="104" y="88"/>
                    </a:lnTo>
                    <a:lnTo>
                      <a:pt x="102" y="92"/>
                    </a:lnTo>
                    <a:lnTo>
                      <a:pt x="104" y="94"/>
                    </a:lnTo>
                    <a:lnTo>
                      <a:pt x="108" y="98"/>
                    </a:lnTo>
                    <a:lnTo>
                      <a:pt x="112" y="100"/>
                    </a:lnTo>
                    <a:lnTo>
                      <a:pt x="116" y="102"/>
                    </a:lnTo>
                    <a:lnTo>
                      <a:pt x="130" y="104"/>
                    </a:lnTo>
                    <a:lnTo>
                      <a:pt x="142" y="106"/>
                    </a:lnTo>
                    <a:lnTo>
                      <a:pt x="142" y="112"/>
                    </a:lnTo>
                    <a:lnTo>
                      <a:pt x="146" y="116"/>
                    </a:lnTo>
                    <a:lnTo>
                      <a:pt x="152" y="118"/>
                    </a:lnTo>
                    <a:lnTo>
                      <a:pt x="158" y="118"/>
                    </a:lnTo>
                    <a:lnTo>
                      <a:pt x="166" y="118"/>
                    </a:lnTo>
                    <a:lnTo>
                      <a:pt x="170" y="118"/>
                    </a:lnTo>
                    <a:lnTo>
                      <a:pt x="176" y="116"/>
                    </a:lnTo>
                    <a:lnTo>
                      <a:pt x="184" y="116"/>
                    </a:lnTo>
                    <a:lnTo>
                      <a:pt x="176" y="132"/>
                    </a:lnTo>
                    <a:lnTo>
                      <a:pt x="174" y="142"/>
                    </a:lnTo>
                    <a:lnTo>
                      <a:pt x="172" y="148"/>
                    </a:lnTo>
                    <a:lnTo>
                      <a:pt x="174" y="154"/>
                    </a:lnTo>
                    <a:lnTo>
                      <a:pt x="178" y="158"/>
                    </a:lnTo>
                    <a:lnTo>
                      <a:pt x="180" y="162"/>
                    </a:lnTo>
                    <a:lnTo>
                      <a:pt x="182" y="168"/>
                    </a:lnTo>
                    <a:lnTo>
                      <a:pt x="182" y="170"/>
                    </a:lnTo>
                    <a:lnTo>
                      <a:pt x="180" y="174"/>
                    </a:lnTo>
                    <a:lnTo>
                      <a:pt x="178" y="174"/>
                    </a:lnTo>
                    <a:lnTo>
                      <a:pt x="178" y="178"/>
                    </a:lnTo>
                    <a:lnTo>
                      <a:pt x="180" y="182"/>
                    </a:lnTo>
                    <a:lnTo>
                      <a:pt x="184" y="190"/>
                    </a:lnTo>
                    <a:lnTo>
                      <a:pt x="170" y="198"/>
                    </a:lnTo>
                    <a:lnTo>
                      <a:pt x="160" y="200"/>
                    </a:lnTo>
                    <a:lnTo>
                      <a:pt x="148" y="200"/>
                    </a:lnTo>
                    <a:lnTo>
                      <a:pt x="142" y="204"/>
                    </a:lnTo>
                    <a:lnTo>
                      <a:pt x="144" y="204"/>
                    </a:lnTo>
                    <a:lnTo>
                      <a:pt x="146" y="206"/>
                    </a:lnTo>
                    <a:lnTo>
                      <a:pt x="148" y="210"/>
                    </a:lnTo>
                    <a:lnTo>
                      <a:pt x="152" y="212"/>
                    </a:lnTo>
                    <a:lnTo>
                      <a:pt x="152" y="220"/>
                    </a:lnTo>
                    <a:lnTo>
                      <a:pt x="146" y="220"/>
                    </a:lnTo>
                    <a:lnTo>
                      <a:pt x="142" y="222"/>
                    </a:lnTo>
                    <a:lnTo>
                      <a:pt x="140" y="226"/>
                    </a:lnTo>
                    <a:lnTo>
                      <a:pt x="138" y="228"/>
                    </a:lnTo>
                    <a:lnTo>
                      <a:pt x="140" y="234"/>
                    </a:lnTo>
                    <a:lnTo>
                      <a:pt x="142" y="240"/>
                    </a:lnTo>
                    <a:lnTo>
                      <a:pt x="146" y="246"/>
                    </a:lnTo>
                    <a:lnTo>
                      <a:pt x="148" y="252"/>
                    </a:lnTo>
                    <a:lnTo>
                      <a:pt x="146" y="276"/>
                    </a:lnTo>
                    <a:lnTo>
                      <a:pt x="142" y="304"/>
                    </a:lnTo>
                    <a:lnTo>
                      <a:pt x="136" y="300"/>
                    </a:lnTo>
                    <a:lnTo>
                      <a:pt x="132" y="298"/>
                    </a:lnTo>
                    <a:lnTo>
                      <a:pt x="130" y="294"/>
                    </a:lnTo>
                    <a:lnTo>
                      <a:pt x="132" y="290"/>
                    </a:lnTo>
                    <a:lnTo>
                      <a:pt x="136" y="286"/>
                    </a:lnTo>
                    <a:lnTo>
                      <a:pt x="138" y="282"/>
                    </a:lnTo>
                    <a:lnTo>
                      <a:pt x="140" y="278"/>
                    </a:lnTo>
                    <a:lnTo>
                      <a:pt x="134" y="274"/>
                    </a:lnTo>
                    <a:lnTo>
                      <a:pt x="126" y="272"/>
                    </a:lnTo>
                    <a:lnTo>
                      <a:pt x="122" y="274"/>
                    </a:lnTo>
                    <a:lnTo>
                      <a:pt x="122" y="278"/>
                    </a:lnTo>
                    <a:lnTo>
                      <a:pt x="118" y="274"/>
                    </a:lnTo>
                    <a:lnTo>
                      <a:pt x="116" y="272"/>
                    </a:lnTo>
                    <a:lnTo>
                      <a:pt x="114" y="272"/>
                    </a:lnTo>
                    <a:lnTo>
                      <a:pt x="110" y="274"/>
                    </a:lnTo>
                    <a:lnTo>
                      <a:pt x="108" y="276"/>
                    </a:lnTo>
                    <a:lnTo>
                      <a:pt x="106" y="276"/>
                    </a:lnTo>
                    <a:lnTo>
                      <a:pt x="90" y="276"/>
                    </a:lnTo>
                    <a:lnTo>
                      <a:pt x="88" y="268"/>
                    </a:lnTo>
                    <a:lnTo>
                      <a:pt x="86" y="260"/>
                    </a:lnTo>
                    <a:lnTo>
                      <a:pt x="82" y="256"/>
                    </a:lnTo>
                    <a:lnTo>
                      <a:pt x="76" y="248"/>
                    </a:lnTo>
                    <a:lnTo>
                      <a:pt x="68" y="242"/>
                    </a:lnTo>
                    <a:lnTo>
                      <a:pt x="62" y="238"/>
                    </a:lnTo>
                    <a:lnTo>
                      <a:pt x="58" y="234"/>
                    </a:lnTo>
                    <a:lnTo>
                      <a:pt x="52" y="234"/>
                    </a:lnTo>
                    <a:lnTo>
                      <a:pt x="50" y="230"/>
                    </a:lnTo>
                    <a:lnTo>
                      <a:pt x="52" y="228"/>
                    </a:lnTo>
                    <a:lnTo>
                      <a:pt x="36" y="226"/>
                    </a:lnTo>
                    <a:lnTo>
                      <a:pt x="22" y="220"/>
                    </a:lnTo>
                    <a:lnTo>
                      <a:pt x="10" y="212"/>
                    </a:lnTo>
                    <a:lnTo>
                      <a:pt x="0" y="204"/>
                    </a:lnTo>
                    <a:lnTo>
                      <a:pt x="2" y="20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5" name="Freeform 77"/>
              <p:cNvSpPr>
                <a:spLocks noChangeAspect="1"/>
              </p:cNvSpPr>
              <p:nvPr/>
            </p:nvSpPr>
            <p:spPr bwMode="auto">
              <a:xfrm>
                <a:off x="4092071" y="4138543"/>
                <a:ext cx="368870" cy="419846"/>
              </a:xfrm>
              <a:custGeom>
                <a:avLst/>
                <a:gdLst/>
                <a:ahLst/>
                <a:cxnLst>
                  <a:cxn ang="0">
                    <a:pos x="20" y="220"/>
                  </a:cxn>
                  <a:cxn ang="0">
                    <a:pos x="24" y="232"/>
                  </a:cxn>
                  <a:cxn ang="0">
                    <a:pos x="28" y="248"/>
                  </a:cxn>
                  <a:cxn ang="0">
                    <a:pos x="40" y="260"/>
                  </a:cxn>
                  <a:cxn ang="0">
                    <a:pos x="42" y="266"/>
                  </a:cxn>
                  <a:cxn ang="0">
                    <a:pos x="52" y="274"/>
                  </a:cxn>
                  <a:cxn ang="0">
                    <a:pos x="54" y="282"/>
                  </a:cxn>
                  <a:cxn ang="0">
                    <a:pos x="62" y="290"/>
                  </a:cxn>
                  <a:cxn ang="0">
                    <a:pos x="80" y="308"/>
                  </a:cxn>
                  <a:cxn ang="0">
                    <a:pos x="88" y="316"/>
                  </a:cxn>
                  <a:cxn ang="0">
                    <a:pos x="88" y="326"/>
                  </a:cxn>
                  <a:cxn ang="0">
                    <a:pos x="98" y="336"/>
                  </a:cxn>
                  <a:cxn ang="0">
                    <a:pos x="112" y="342"/>
                  </a:cxn>
                  <a:cxn ang="0">
                    <a:pos x="116" y="338"/>
                  </a:cxn>
                  <a:cxn ang="0">
                    <a:pos x="124" y="338"/>
                  </a:cxn>
                  <a:cxn ang="0">
                    <a:pos x="134" y="342"/>
                  </a:cxn>
                  <a:cxn ang="0">
                    <a:pos x="146" y="354"/>
                  </a:cxn>
                  <a:cxn ang="0">
                    <a:pos x="156" y="350"/>
                  </a:cxn>
                  <a:cxn ang="0">
                    <a:pos x="186" y="350"/>
                  </a:cxn>
                  <a:cxn ang="0">
                    <a:pos x="198" y="342"/>
                  </a:cxn>
                  <a:cxn ang="0">
                    <a:pos x="228" y="338"/>
                  </a:cxn>
                  <a:cxn ang="0">
                    <a:pos x="220" y="324"/>
                  </a:cxn>
                  <a:cxn ang="0">
                    <a:pos x="212" y="314"/>
                  </a:cxn>
                  <a:cxn ang="0">
                    <a:pos x="206" y="296"/>
                  </a:cxn>
                  <a:cxn ang="0">
                    <a:pos x="190" y="284"/>
                  </a:cxn>
                  <a:cxn ang="0">
                    <a:pos x="180" y="274"/>
                  </a:cxn>
                  <a:cxn ang="0">
                    <a:pos x="182" y="270"/>
                  </a:cxn>
                  <a:cxn ang="0">
                    <a:pos x="192" y="266"/>
                  </a:cxn>
                  <a:cxn ang="0">
                    <a:pos x="198" y="252"/>
                  </a:cxn>
                  <a:cxn ang="0">
                    <a:pos x="198" y="234"/>
                  </a:cxn>
                  <a:cxn ang="0">
                    <a:pos x="204" y="224"/>
                  </a:cxn>
                  <a:cxn ang="0">
                    <a:pos x="212" y="212"/>
                  </a:cxn>
                  <a:cxn ang="0">
                    <a:pos x="222" y="190"/>
                  </a:cxn>
                  <a:cxn ang="0">
                    <a:pos x="232" y="170"/>
                  </a:cxn>
                  <a:cxn ang="0">
                    <a:pos x="232" y="138"/>
                  </a:cxn>
                  <a:cxn ang="0">
                    <a:pos x="236" y="126"/>
                  </a:cxn>
                  <a:cxn ang="0">
                    <a:pos x="238" y="108"/>
                  </a:cxn>
                  <a:cxn ang="0">
                    <a:pos x="254" y="102"/>
                  </a:cxn>
                  <a:cxn ang="0">
                    <a:pos x="264" y="92"/>
                  </a:cxn>
                  <a:cxn ang="0">
                    <a:pos x="258" y="84"/>
                  </a:cxn>
                  <a:cxn ang="0">
                    <a:pos x="250" y="76"/>
                  </a:cxn>
                  <a:cxn ang="0">
                    <a:pos x="242" y="58"/>
                  </a:cxn>
                  <a:cxn ang="0">
                    <a:pos x="236" y="28"/>
                  </a:cxn>
                  <a:cxn ang="0">
                    <a:pos x="230" y="12"/>
                  </a:cxn>
                  <a:cxn ang="0">
                    <a:pos x="216" y="4"/>
                  </a:cxn>
                  <a:cxn ang="0">
                    <a:pos x="206" y="0"/>
                  </a:cxn>
                  <a:cxn ang="0">
                    <a:pos x="194" y="10"/>
                  </a:cxn>
                  <a:cxn ang="0">
                    <a:pos x="178" y="22"/>
                  </a:cxn>
                  <a:cxn ang="0">
                    <a:pos x="44" y="16"/>
                  </a:cxn>
                  <a:cxn ang="0">
                    <a:pos x="32" y="54"/>
                  </a:cxn>
                  <a:cxn ang="0">
                    <a:pos x="34" y="130"/>
                  </a:cxn>
                  <a:cxn ang="0">
                    <a:pos x="18" y="136"/>
                  </a:cxn>
                  <a:cxn ang="0">
                    <a:pos x="12" y="150"/>
                  </a:cxn>
                  <a:cxn ang="0">
                    <a:pos x="6" y="164"/>
                  </a:cxn>
                  <a:cxn ang="0">
                    <a:pos x="4" y="186"/>
                  </a:cxn>
                  <a:cxn ang="0">
                    <a:pos x="0" y="194"/>
                  </a:cxn>
                  <a:cxn ang="0">
                    <a:pos x="10" y="198"/>
                  </a:cxn>
                  <a:cxn ang="0">
                    <a:pos x="14" y="208"/>
                  </a:cxn>
                  <a:cxn ang="0">
                    <a:pos x="18" y="218"/>
                  </a:cxn>
                </a:cxnLst>
                <a:rect l="0" t="0" r="r" b="b"/>
                <a:pathLst>
                  <a:path w="264" h="354">
                    <a:moveTo>
                      <a:pt x="18" y="220"/>
                    </a:moveTo>
                    <a:lnTo>
                      <a:pt x="20" y="220"/>
                    </a:lnTo>
                    <a:lnTo>
                      <a:pt x="20" y="226"/>
                    </a:lnTo>
                    <a:lnTo>
                      <a:pt x="24" y="232"/>
                    </a:lnTo>
                    <a:lnTo>
                      <a:pt x="26" y="240"/>
                    </a:lnTo>
                    <a:lnTo>
                      <a:pt x="28" y="248"/>
                    </a:lnTo>
                    <a:lnTo>
                      <a:pt x="28" y="260"/>
                    </a:lnTo>
                    <a:lnTo>
                      <a:pt x="40" y="260"/>
                    </a:lnTo>
                    <a:lnTo>
                      <a:pt x="40" y="264"/>
                    </a:lnTo>
                    <a:lnTo>
                      <a:pt x="42" y="266"/>
                    </a:lnTo>
                    <a:lnTo>
                      <a:pt x="46" y="270"/>
                    </a:lnTo>
                    <a:lnTo>
                      <a:pt x="52" y="274"/>
                    </a:lnTo>
                    <a:lnTo>
                      <a:pt x="54" y="276"/>
                    </a:lnTo>
                    <a:lnTo>
                      <a:pt x="54" y="282"/>
                    </a:lnTo>
                    <a:lnTo>
                      <a:pt x="58" y="288"/>
                    </a:lnTo>
                    <a:lnTo>
                      <a:pt x="62" y="290"/>
                    </a:lnTo>
                    <a:lnTo>
                      <a:pt x="70" y="300"/>
                    </a:lnTo>
                    <a:lnTo>
                      <a:pt x="80" y="308"/>
                    </a:lnTo>
                    <a:lnTo>
                      <a:pt x="84" y="312"/>
                    </a:lnTo>
                    <a:lnTo>
                      <a:pt x="88" y="316"/>
                    </a:lnTo>
                    <a:lnTo>
                      <a:pt x="88" y="322"/>
                    </a:lnTo>
                    <a:lnTo>
                      <a:pt x="88" y="326"/>
                    </a:lnTo>
                    <a:lnTo>
                      <a:pt x="90" y="328"/>
                    </a:lnTo>
                    <a:lnTo>
                      <a:pt x="98" y="336"/>
                    </a:lnTo>
                    <a:lnTo>
                      <a:pt x="104" y="338"/>
                    </a:lnTo>
                    <a:lnTo>
                      <a:pt x="112" y="342"/>
                    </a:lnTo>
                    <a:lnTo>
                      <a:pt x="112" y="338"/>
                    </a:lnTo>
                    <a:lnTo>
                      <a:pt x="116" y="338"/>
                    </a:lnTo>
                    <a:lnTo>
                      <a:pt x="120" y="342"/>
                    </a:lnTo>
                    <a:lnTo>
                      <a:pt x="124" y="338"/>
                    </a:lnTo>
                    <a:lnTo>
                      <a:pt x="132" y="338"/>
                    </a:lnTo>
                    <a:lnTo>
                      <a:pt x="134" y="342"/>
                    </a:lnTo>
                    <a:lnTo>
                      <a:pt x="136" y="346"/>
                    </a:lnTo>
                    <a:lnTo>
                      <a:pt x="146" y="354"/>
                    </a:lnTo>
                    <a:lnTo>
                      <a:pt x="150" y="352"/>
                    </a:lnTo>
                    <a:lnTo>
                      <a:pt x="156" y="350"/>
                    </a:lnTo>
                    <a:lnTo>
                      <a:pt x="178" y="350"/>
                    </a:lnTo>
                    <a:lnTo>
                      <a:pt x="186" y="350"/>
                    </a:lnTo>
                    <a:lnTo>
                      <a:pt x="192" y="346"/>
                    </a:lnTo>
                    <a:lnTo>
                      <a:pt x="198" y="342"/>
                    </a:lnTo>
                    <a:lnTo>
                      <a:pt x="202" y="338"/>
                    </a:lnTo>
                    <a:lnTo>
                      <a:pt x="228" y="338"/>
                    </a:lnTo>
                    <a:lnTo>
                      <a:pt x="224" y="330"/>
                    </a:lnTo>
                    <a:lnTo>
                      <a:pt x="220" y="324"/>
                    </a:lnTo>
                    <a:lnTo>
                      <a:pt x="216" y="318"/>
                    </a:lnTo>
                    <a:lnTo>
                      <a:pt x="212" y="314"/>
                    </a:lnTo>
                    <a:lnTo>
                      <a:pt x="210" y="300"/>
                    </a:lnTo>
                    <a:lnTo>
                      <a:pt x="206" y="296"/>
                    </a:lnTo>
                    <a:lnTo>
                      <a:pt x="204" y="292"/>
                    </a:lnTo>
                    <a:lnTo>
                      <a:pt x="190" y="284"/>
                    </a:lnTo>
                    <a:lnTo>
                      <a:pt x="184" y="278"/>
                    </a:lnTo>
                    <a:lnTo>
                      <a:pt x="180" y="274"/>
                    </a:lnTo>
                    <a:lnTo>
                      <a:pt x="180" y="272"/>
                    </a:lnTo>
                    <a:lnTo>
                      <a:pt x="182" y="270"/>
                    </a:lnTo>
                    <a:lnTo>
                      <a:pt x="186" y="268"/>
                    </a:lnTo>
                    <a:lnTo>
                      <a:pt x="192" y="266"/>
                    </a:lnTo>
                    <a:lnTo>
                      <a:pt x="196" y="262"/>
                    </a:lnTo>
                    <a:lnTo>
                      <a:pt x="198" y="252"/>
                    </a:lnTo>
                    <a:lnTo>
                      <a:pt x="198" y="244"/>
                    </a:lnTo>
                    <a:lnTo>
                      <a:pt x="198" y="234"/>
                    </a:lnTo>
                    <a:lnTo>
                      <a:pt x="200" y="226"/>
                    </a:lnTo>
                    <a:lnTo>
                      <a:pt x="204" y="224"/>
                    </a:lnTo>
                    <a:lnTo>
                      <a:pt x="210" y="222"/>
                    </a:lnTo>
                    <a:lnTo>
                      <a:pt x="212" y="212"/>
                    </a:lnTo>
                    <a:lnTo>
                      <a:pt x="214" y="204"/>
                    </a:lnTo>
                    <a:lnTo>
                      <a:pt x="222" y="190"/>
                    </a:lnTo>
                    <a:lnTo>
                      <a:pt x="232" y="178"/>
                    </a:lnTo>
                    <a:lnTo>
                      <a:pt x="232" y="170"/>
                    </a:lnTo>
                    <a:lnTo>
                      <a:pt x="232" y="162"/>
                    </a:lnTo>
                    <a:lnTo>
                      <a:pt x="232" y="138"/>
                    </a:lnTo>
                    <a:lnTo>
                      <a:pt x="234" y="134"/>
                    </a:lnTo>
                    <a:lnTo>
                      <a:pt x="236" y="126"/>
                    </a:lnTo>
                    <a:lnTo>
                      <a:pt x="238" y="120"/>
                    </a:lnTo>
                    <a:lnTo>
                      <a:pt x="238" y="108"/>
                    </a:lnTo>
                    <a:lnTo>
                      <a:pt x="246" y="106"/>
                    </a:lnTo>
                    <a:lnTo>
                      <a:pt x="254" y="102"/>
                    </a:lnTo>
                    <a:lnTo>
                      <a:pt x="260" y="96"/>
                    </a:lnTo>
                    <a:lnTo>
                      <a:pt x="264" y="92"/>
                    </a:lnTo>
                    <a:lnTo>
                      <a:pt x="260" y="88"/>
                    </a:lnTo>
                    <a:lnTo>
                      <a:pt x="258" y="84"/>
                    </a:lnTo>
                    <a:lnTo>
                      <a:pt x="254" y="80"/>
                    </a:lnTo>
                    <a:lnTo>
                      <a:pt x="250" y="76"/>
                    </a:lnTo>
                    <a:lnTo>
                      <a:pt x="246" y="68"/>
                    </a:lnTo>
                    <a:lnTo>
                      <a:pt x="242" y="58"/>
                    </a:lnTo>
                    <a:lnTo>
                      <a:pt x="238" y="38"/>
                    </a:lnTo>
                    <a:lnTo>
                      <a:pt x="236" y="28"/>
                    </a:lnTo>
                    <a:lnTo>
                      <a:pt x="232" y="18"/>
                    </a:lnTo>
                    <a:lnTo>
                      <a:pt x="230" y="12"/>
                    </a:lnTo>
                    <a:lnTo>
                      <a:pt x="222" y="8"/>
                    </a:lnTo>
                    <a:lnTo>
                      <a:pt x="216" y="4"/>
                    </a:lnTo>
                    <a:lnTo>
                      <a:pt x="212" y="0"/>
                    </a:lnTo>
                    <a:lnTo>
                      <a:pt x="206" y="0"/>
                    </a:lnTo>
                    <a:lnTo>
                      <a:pt x="204" y="4"/>
                    </a:lnTo>
                    <a:lnTo>
                      <a:pt x="194" y="10"/>
                    </a:lnTo>
                    <a:lnTo>
                      <a:pt x="188" y="16"/>
                    </a:lnTo>
                    <a:lnTo>
                      <a:pt x="178" y="22"/>
                    </a:lnTo>
                    <a:lnTo>
                      <a:pt x="174" y="16"/>
                    </a:lnTo>
                    <a:lnTo>
                      <a:pt x="44" y="16"/>
                    </a:lnTo>
                    <a:lnTo>
                      <a:pt x="44" y="54"/>
                    </a:lnTo>
                    <a:lnTo>
                      <a:pt x="32" y="54"/>
                    </a:lnTo>
                    <a:lnTo>
                      <a:pt x="28" y="62"/>
                    </a:lnTo>
                    <a:lnTo>
                      <a:pt x="34" y="130"/>
                    </a:lnTo>
                    <a:lnTo>
                      <a:pt x="24" y="132"/>
                    </a:lnTo>
                    <a:lnTo>
                      <a:pt x="18" y="136"/>
                    </a:lnTo>
                    <a:lnTo>
                      <a:pt x="14" y="142"/>
                    </a:lnTo>
                    <a:lnTo>
                      <a:pt x="12" y="150"/>
                    </a:lnTo>
                    <a:lnTo>
                      <a:pt x="8" y="156"/>
                    </a:lnTo>
                    <a:lnTo>
                      <a:pt x="6" y="164"/>
                    </a:lnTo>
                    <a:lnTo>
                      <a:pt x="6" y="182"/>
                    </a:lnTo>
                    <a:lnTo>
                      <a:pt x="4" y="186"/>
                    </a:lnTo>
                    <a:lnTo>
                      <a:pt x="0" y="192"/>
                    </a:lnTo>
                    <a:lnTo>
                      <a:pt x="0" y="194"/>
                    </a:lnTo>
                    <a:lnTo>
                      <a:pt x="2" y="194"/>
                    </a:lnTo>
                    <a:lnTo>
                      <a:pt x="10" y="198"/>
                    </a:lnTo>
                    <a:lnTo>
                      <a:pt x="12" y="206"/>
                    </a:lnTo>
                    <a:lnTo>
                      <a:pt x="14" y="208"/>
                    </a:lnTo>
                    <a:lnTo>
                      <a:pt x="16" y="212"/>
                    </a:lnTo>
                    <a:lnTo>
                      <a:pt x="18" y="218"/>
                    </a:lnTo>
                    <a:lnTo>
                      <a:pt x="18" y="22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6" name="Freeform 78"/>
              <p:cNvSpPr>
                <a:spLocks noChangeAspect="1"/>
              </p:cNvSpPr>
              <p:nvPr/>
            </p:nvSpPr>
            <p:spPr bwMode="auto">
              <a:xfrm>
                <a:off x="4528500" y="4374707"/>
                <a:ext cx="233752" cy="291030"/>
              </a:xfrm>
              <a:custGeom>
                <a:avLst/>
                <a:gdLst/>
                <a:ahLst/>
                <a:cxnLst>
                  <a:cxn ang="0">
                    <a:pos x="24" y="142"/>
                  </a:cxn>
                  <a:cxn ang="0">
                    <a:pos x="38" y="134"/>
                  </a:cxn>
                  <a:cxn ang="0">
                    <a:pos x="50" y="128"/>
                  </a:cxn>
                  <a:cxn ang="0">
                    <a:pos x="60" y="130"/>
                  </a:cxn>
                  <a:cxn ang="0">
                    <a:pos x="66" y="126"/>
                  </a:cxn>
                  <a:cxn ang="0">
                    <a:pos x="74" y="114"/>
                  </a:cxn>
                  <a:cxn ang="0">
                    <a:pos x="100" y="86"/>
                  </a:cxn>
                  <a:cxn ang="0">
                    <a:pos x="92" y="72"/>
                  </a:cxn>
                  <a:cxn ang="0">
                    <a:pos x="66" y="64"/>
                  </a:cxn>
                  <a:cxn ang="0">
                    <a:pos x="44" y="52"/>
                  </a:cxn>
                  <a:cxn ang="0">
                    <a:pos x="30" y="32"/>
                  </a:cxn>
                  <a:cxn ang="0">
                    <a:pos x="28" y="16"/>
                  </a:cxn>
                  <a:cxn ang="0">
                    <a:pos x="38" y="10"/>
                  </a:cxn>
                  <a:cxn ang="0">
                    <a:pos x="38" y="16"/>
                  </a:cxn>
                  <a:cxn ang="0">
                    <a:pos x="48" y="24"/>
                  </a:cxn>
                  <a:cxn ang="0">
                    <a:pos x="58" y="28"/>
                  </a:cxn>
                  <a:cxn ang="0">
                    <a:pos x="66" y="24"/>
                  </a:cxn>
                  <a:cxn ang="0">
                    <a:pos x="74" y="20"/>
                  </a:cxn>
                  <a:cxn ang="0">
                    <a:pos x="96" y="18"/>
                  </a:cxn>
                  <a:cxn ang="0">
                    <a:pos x="118" y="12"/>
                  </a:cxn>
                  <a:cxn ang="0">
                    <a:pos x="136" y="12"/>
                  </a:cxn>
                  <a:cxn ang="0">
                    <a:pos x="144" y="6"/>
                  </a:cxn>
                  <a:cxn ang="0">
                    <a:pos x="152" y="2"/>
                  </a:cxn>
                  <a:cxn ang="0">
                    <a:pos x="162" y="2"/>
                  </a:cxn>
                  <a:cxn ang="0">
                    <a:pos x="164" y="6"/>
                  </a:cxn>
                  <a:cxn ang="0">
                    <a:pos x="162" y="26"/>
                  </a:cxn>
                  <a:cxn ang="0">
                    <a:pos x="154" y="50"/>
                  </a:cxn>
                  <a:cxn ang="0">
                    <a:pos x="126" y="112"/>
                  </a:cxn>
                  <a:cxn ang="0">
                    <a:pos x="96" y="156"/>
                  </a:cxn>
                  <a:cxn ang="0">
                    <a:pos x="70" y="182"/>
                  </a:cxn>
                  <a:cxn ang="0">
                    <a:pos x="40" y="208"/>
                  </a:cxn>
                  <a:cxn ang="0">
                    <a:pos x="10" y="244"/>
                  </a:cxn>
                  <a:cxn ang="0">
                    <a:pos x="0" y="236"/>
                  </a:cxn>
                  <a:cxn ang="0">
                    <a:pos x="8" y="152"/>
                  </a:cxn>
                  <a:cxn ang="0">
                    <a:pos x="18" y="146"/>
                  </a:cxn>
                </a:cxnLst>
                <a:rect l="0" t="0" r="r" b="b"/>
                <a:pathLst>
                  <a:path w="168" h="244">
                    <a:moveTo>
                      <a:pt x="18" y="146"/>
                    </a:moveTo>
                    <a:lnTo>
                      <a:pt x="24" y="142"/>
                    </a:lnTo>
                    <a:lnTo>
                      <a:pt x="32" y="138"/>
                    </a:lnTo>
                    <a:lnTo>
                      <a:pt x="38" y="134"/>
                    </a:lnTo>
                    <a:lnTo>
                      <a:pt x="44" y="130"/>
                    </a:lnTo>
                    <a:lnTo>
                      <a:pt x="50" y="128"/>
                    </a:lnTo>
                    <a:lnTo>
                      <a:pt x="56" y="128"/>
                    </a:lnTo>
                    <a:lnTo>
                      <a:pt x="60" y="130"/>
                    </a:lnTo>
                    <a:lnTo>
                      <a:pt x="64" y="128"/>
                    </a:lnTo>
                    <a:lnTo>
                      <a:pt x="66" y="126"/>
                    </a:lnTo>
                    <a:lnTo>
                      <a:pt x="70" y="122"/>
                    </a:lnTo>
                    <a:lnTo>
                      <a:pt x="74" y="114"/>
                    </a:lnTo>
                    <a:lnTo>
                      <a:pt x="90" y="94"/>
                    </a:lnTo>
                    <a:lnTo>
                      <a:pt x="100" y="86"/>
                    </a:lnTo>
                    <a:lnTo>
                      <a:pt x="106" y="74"/>
                    </a:lnTo>
                    <a:lnTo>
                      <a:pt x="92" y="72"/>
                    </a:lnTo>
                    <a:lnTo>
                      <a:pt x="80" y="70"/>
                    </a:lnTo>
                    <a:lnTo>
                      <a:pt x="66" y="64"/>
                    </a:lnTo>
                    <a:lnTo>
                      <a:pt x="54" y="60"/>
                    </a:lnTo>
                    <a:lnTo>
                      <a:pt x="44" y="52"/>
                    </a:lnTo>
                    <a:lnTo>
                      <a:pt x="34" y="44"/>
                    </a:lnTo>
                    <a:lnTo>
                      <a:pt x="30" y="32"/>
                    </a:lnTo>
                    <a:lnTo>
                      <a:pt x="28" y="24"/>
                    </a:lnTo>
                    <a:lnTo>
                      <a:pt x="28" y="16"/>
                    </a:lnTo>
                    <a:lnTo>
                      <a:pt x="38" y="6"/>
                    </a:lnTo>
                    <a:lnTo>
                      <a:pt x="38" y="10"/>
                    </a:lnTo>
                    <a:lnTo>
                      <a:pt x="38" y="12"/>
                    </a:lnTo>
                    <a:lnTo>
                      <a:pt x="38" y="16"/>
                    </a:lnTo>
                    <a:lnTo>
                      <a:pt x="42" y="20"/>
                    </a:lnTo>
                    <a:lnTo>
                      <a:pt x="48" y="24"/>
                    </a:lnTo>
                    <a:lnTo>
                      <a:pt x="52" y="28"/>
                    </a:lnTo>
                    <a:lnTo>
                      <a:pt x="58" y="28"/>
                    </a:lnTo>
                    <a:lnTo>
                      <a:pt x="62" y="28"/>
                    </a:lnTo>
                    <a:lnTo>
                      <a:pt x="66" y="24"/>
                    </a:lnTo>
                    <a:lnTo>
                      <a:pt x="70" y="20"/>
                    </a:lnTo>
                    <a:lnTo>
                      <a:pt x="74" y="20"/>
                    </a:lnTo>
                    <a:lnTo>
                      <a:pt x="86" y="20"/>
                    </a:lnTo>
                    <a:lnTo>
                      <a:pt x="96" y="18"/>
                    </a:lnTo>
                    <a:lnTo>
                      <a:pt x="106" y="16"/>
                    </a:lnTo>
                    <a:lnTo>
                      <a:pt x="118" y="12"/>
                    </a:lnTo>
                    <a:lnTo>
                      <a:pt x="132" y="12"/>
                    </a:lnTo>
                    <a:lnTo>
                      <a:pt x="136" y="12"/>
                    </a:lnTo>
                    <a:lnTo>
                      <a:pt x="140" y="10"/>
                    </a:lnTo>
                    <a:lnTo>
                      <a:pt x="144" y="6"/>
                    </a:lnTo>
                    <a:lnTo>
                      <a:pt x="148" y="2"/>
                    </a:lnTo>
                    <a:lnTo>
                      <a:pt x="152" y="2"/>
                    </a:lnTo>
                    <a:lnTo>
                      <a:pt x="156" y="0"/>
                    </a:lnTo>
                    <a:lnTo>
                      <a:pt x="162" y="2"/>
                    </a:lnTo>
                    <a:lnTo>
                      <a:pt x="168" y="2"/>
                    </a:lnTo>
                    <a:lnTo>
                      <a:pt x="164" y="6"/>
                    </a:lnTo>
                    <a:lnTo>
                      <a:pt x="162" y="14"/>
                    </a:lnTo>
                    <a:lnTo>
                      <a:pt x="162" y="26"/>
                    </a:lnTo>
                    <a:lnTo>
                      <a:pt x="160" y="36"/>
                    </a:lnTo>
                    <a:lnTo>
                      <a:pt x="154" y="50"/>
                    </a:lnTo>
                    <a:lnTo>
                      <a:pt x="144" y="76"/>
                    </a:lnTo>
                    <a:lnTo>
                      <a:pt x="126" y="112"/>
                    </a:lnTo>
                    <a:lnTo>
                      <a:pt x="106" y="142"/>
                    </a:lnTo>
                    <a:lnTo>
                      <a:pt x="96" y="156"/>
                    </a:lnTo>
                    <a:lnTo>
                      <a:pt x="84" y="170"/>
                    </a:lnTo>
                    <a:lnTo>
                      <a:pt x="70" y="182"/>
                    </a:lnTo>
                    <a:lnTo>
                      <a:pt x="56" y="196"/>
                    </a:lnTo>
                    <a:lnTo>
                      <a:pt x="40" y="208"/>
                    </a:lnTo>
                    <a:lnTo>
                      <a:pt x="32" y="218"/>
                    </a:lnTo>
                    <a:lnTo>
                      <a:pt x="10" y="244"/>
                    </a:lnTo>
                    <a:lnTo>
                      <a:pt x="4" y="240"/>
                    </a:lnTo>
                    <a:lnTo>
                      <a:pt x="0" y="236"/>
                    </a:lnTo>
                    <a:lnTo>
                      <a:pt x="0" y="170"/>
                    </a:lnTo>
                    <a:lnTo>
                      <a:pt x="8" y="152"/>
                    </a:lnTo>
                    <a:lnTo>
                      <a:pt x="14" y="148"/>
                    </a:lnTo>
                    <a:lnTo>
                      <a:pt x="18" y="14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7" name="Freeform 79"/>
              <p:cNvSpPr>
                <a:spLocks noChangeAspect="1"/>
              </p:cNvSpPr>
              <p:nvPr/>
            </p:nvSpPr>
            <p:spPr bwMode="auto">
              <a:xfrm>
                <a:off x="3813730" y="4588209"/>
                <a:ext cx="40535" cy="26240"/>
              </a:xfrm>
              <a:custGeom>
                <a:avLst/>
                <a:gdLst/>
                <a:ahLst/>
                <a:cxnLst>
                  <a:cxn ang="0">
                    <a:pos x="28" y="24"/>
                  </a:cxn>
                  <a:cxn ang="0">
                    <a:pos x="18" y="24"/>
                  </a:cxn>
                  <a:cxn ang="0">
                    <a:pos x="12" y="24"/>
                  </a:cxn>
                  <a:cxn ang="0">
                    <a:pos x="0" y="22"/>
                  </a:cxn>
                  <a:cxn ang="0">
                    <a:pos x="6" y="2"/>
                  </a:cxn>
                  <a:cxn ang="0">
                    <a:pos x="28" y="4"/>
                  </a:cxn>
                  <a:cxn ang="0">
                    <a:pos x="28" y="0"/>
                  </a:cxn>
                  <a:cxn ang="0">
                    <a:pos x="28" y="24"/>
                  </a:cxn>
                </a:cxnLst>
                <a:rect l="0" t="0" r="r" b="b"/>
                <a:pathLst>
                  <a:path w="28" h="24">
                    <a:moveTo>
                      <a:pt x="28" y="24"/>
                    </a:moveTo>
                    <a:lnTo>
                      <a:pt x="18" y="24"/>
                    </a:lnTo>
                    <a:lnTo>
                      <a:pt x="12" y="24"/>
                    </a:lnTo>
                    <a:lnTo>
                      <a:pt x="0" y="22"/>
                    </a:lnTo>
                    <a:lnTo>
                      <a:pt x="6" y="2"/>
                    </a:lnTo>
                    <a:lnTo>
                      <a:pt x="28" y="4"/>
                    </a:lnTo>
                    <a:lnTo>
                      <a:pt x="28" y="0"/>
                    </a:lnTo>
                    <a:lnTo>
                      <a:pt x="28" y="2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8" name="Freeform 80"/>
              <p:cNvSpPr>
                <a:spLocks noChangeAspect="1"/>
              </p:cNvSpPr>
              <p:nvPr/>
            </p:nvSpPr>
            <p:spPr bwMode="auto">
              <a:xfrm>
                <a:off x="4558226" y="4894745"/>
                <a:ext cx="171598" cy="295801"/>
              </a:xfrm>
              <a:custGeom>
                <a:avLst/>
                <a:gdLst/>
                <a:ahLst/>
                <a:cxnLst>
                  <a:cxn ang="0">
                    <a:pos x="30" y="84"/>
                  </a:cxn>
                  <a:cxn ang="0">
                    <a:pos x="38" y="76"/>
                  </a:cxn>
                  <a:cxn ang="0">
                    <a:pos x="44" y="68"/>
                  </a:cxn>
                  <a:cxn ang="0">
                    <a:pos x="56" y="68"/>
                  </a:cxn>
                  <a:cxn ang="0">
                    <a:pos x="64" y="64"/>
                  </a:cxn>
                  <a:cxn ang="0">
                    <a:pos x="88" y="32"/>
                  </a:cxn>
                  <a:cxn ang="0">
                    <a:pos x="92" y="28"/>
                  </a:cxn>
                  <a:cxn ang="0">
                    <a:pos x="100" y="26"/>
                  </a:cxn>
                  <a:cxn ang="0">
                    <a:pos x="104" y="12"/>
                  </a:cxn>
                  <a:cxn ang="0">
                    <a:pos x="110" y="0"/>
                  </a:cxn>
                  <a:cxn ang="0">
                    <a:pos x="112" y="16"/>
                  </a:cxn>
                  <a:cxn ang="0">
                    <a:pos x="122" y="52"/>
                  </a:cxn>
                  <a:cxn ang="0">
                    <a:pos x="124" y="68"/>
                  </a:cxn>
                  <a:cxn ang="0">
                    <a:pos x="120" y="74"/>
                  </a:cxn>
                  <a:cxn ang="0">
                    <a:pos x="118" y="70"/>
                  </a:cxn>
                  <a:cxn ang="0">
                    <a:pos x="112" y="68"/>
                  </a:cxn>
                  <a:cxn ang="0">
                    <a:pos x="110" y="78"/>
                  </a:cxn>
                  <a:cxn ang="0">
                    <a:pos x="112" y="86"/>
                  </a:cxn>
                  <a:cxn ang="0">
                    <a:pos x="114" y="90"/>
                  </a:cxn>
                  <a:cxn ang="0">
                    <a:pos x="106" y="106"/>
                  </a:cxn>
                  <a:cxn ang="0">
                    <a:pos x="82" y="162"/>
                  </a:cxn>
                  <a:cxn ang="0">
                    <a:pos x="70" y="206"/>
                  </a:cxn>
                  <a:cxn ang="0">
                    <a:pos x="64" y="222"/>
                  </a:cxn>
                  <a:cxn ang="0">
                    <a:pos x="58" y="240"/>
                  </a:cxn>
                  <a:cxn ang="0">
                    <a:pos x="42" y="246"/>
                  </a:cxn>
                  <a:cxn ang="0">
                    <a:pos x="28" y="250"/>
                  </a:cxn>
                  <a:cxn ang="0">
                    <a:pos x="14" y="244"/>
                  </a:cxn>
                  <a:cxn ang="0">
                    <a:pos x="8" y="228"/>
                  </a:cxn>
                  <a:cxn ang="0">
                    <a:pos x="0" y="192"/>
                  </a:cxn>
                  <a:cxn ang="0">
                    <a:pos x="6" y="174"/>
                  </a:cxn>
                  <a:cxn ang="0">
                    <a:pos x="12" y="164"/>
                  </a:cxn>
                  <a:cxn ang="0">
                    <a:pos x="24" y="144"/>
                  </a:cxn>
                  <a:cxn ang="0">
                    <a:pos x="24" y="128"/>
                  </a:cxn>
                  <a:cxn ang="0">
                    <a:pos x="18" y="114"/>
                  </a:cxn>
                  <a:cxn ang="0">
                    <a:pos x="26" y="84"/>
                  </a:cxn>
                </a:cxnLst>
                <a:rect l="0" t="0" r="r" b="b"/>
                <a:pathLst>
                  <a:path w="124" h="250">
                    <a:moveTo>
                      <a:pt x="26" y="84"/>
                    </a:moveTo>
                    <a:lnTo>
                      <a:pt x="30" y="84"/>
                    </a:lnTo>
                    <a:lnTo>
                      <a:pt x="32" y="82"/>
                    </a:lnTo>
                    <a:lnTo>
                      <a:pt x="38" y="76"/>
                    </a:lnTo>
                    <a:lnTo>
                      <a:pt x="40" y="70"/>
                    </a:lnTo>
                    <a:lnTo>
                      <a:pt x="44" y="68"/>
                    </a:lnTo>
                    <a:lnTo>
                      <a:pt x="48" y="68"/>
                    </a:lnTo>
                    <a:lnTo>
                      <a:pt x="56" y="68"/>
                    </a:lnTo>
                    <a:lnTo>
                      <a:pt x="62" y="66"/>
                    </a:lnTo>
                    <a:lnTo>
                      <a:pt x="64" y="64"/>
                    </a:lnTo>
                    <a:lnTo>
                      <a:pt x="74" y="56"/>
                    </a:lnTo>
                    <a:lnTo>
                      <a:pt x="88" y="32"/>
                    </a:lnTo>
                    <a:lnTo>
                      <a:pt x="90" y="30"/>
                    </a:lnTo>
                    <a:lnTo>
                      <a:pt x="92" y="28"/>
                    </a:lnTo>
                    <a:lnTo>
                      <a:pt x="96" y="26"/>
                    </a:lnTo>
                    <a:lnTo>
                      <a:pt x="100" y="26"/>
                    </a:lnTo>
                    <a:lnTo>
                      <a:pt x="104" y="18"/>
                    </a:lnTo>
                    <a:lnTo>
                      <a:pt x="104" y="12"/>
                    </a:lnTo>
                    <a:lnTo>
                      <a:pt x="106" y="6"/>
                    </a:lnTo>
                    <a:lnTo>
                      <a:pt x="110" y="0"/>
                    </a:lnTo>
                    <a:lnTo>
                      <a:pt x="110" y="8"/>
                    </a:lnTo>
                    <a:lnTo>
                      <a:pt x="112" y="16"/>
                    </a:lnTo>
                    <a:lnTo>
                      <a:pt x="118" y="32"/>
                    </a:lnTo>
                    <a:lnTo>
                      <a:pt x="122" y="52"/>
                    </a:lnTo>
                    <a:lnTo>
                      <a:pt x="124" y="58"/>
                    </a:lnTo>
                    <a:lnTo>
                      <a:pt x="124" y="68"/>
                    </a:lnTo>
                    <a:lnTo>
                      <a:pt x="122" y="72"/>
                    </a:lnTo>
                    <a:lnTo>
                      <a:pt x="120" y="74"/>
                    </a:lnTo>
                    <a:lnTo>
                      <a:pt x="118" y="72"/>
                    </a:lnTo>
                    <a:lnTo>
                      <a:pt x="118" y="70"/>
                    </a:lnTo>
                    <a:lnTo>
                      <a:pt x="116" y="64"/>
                    </a:lnTo>
                    <a:lnTo>
                      <a:pt x="112" y="68"/>
                    </a:lnTo>
                    <a:lnTo>
                      <a:pt x="110" y="70"/>
                    </a:lnTo>
                    <a:lnTo>
                      <a:pt x="110" y="78"/>
                    </a:lnTo>
                    <a:lnTo>
                      <a:pt x="110" y="82"/>
                    </a:lnTo>
                    <a:lnTo>
                      <a:pt x="112" y="86"/>
                    </a:lnTo>
                    <a:lnTo>
                      <a:pt x="114" y="86"/>
                    </a:lnTo>
                    <a:lnTo>
                      <a:pt x="114" y="90"/>
                    </a:lnTo>
                    <a:lnTo>
                      <a:pt x="112" y="96"/>
                    </a:lnTo>
                    <a:lnTo>
                      <a:pt x="106" y="106"/>
                    </a:lnTo>
                    <a:lnTo>
                      <a:pt x="98" y="118"/>
                    </a:lnTo>
                    <a:lnTo>
                      <a:pt x="82" y="162"/>
                    </a:lnTo>
                    <a:lnTo>
                      <a:pt x="74" y="182"/>
                    </a:lnTo>
                    <a:lnTo>
                      <a:pt x="70" y="206"/>
                    </a:lnTo>
                    <a:lnTo>
                      <a:pt x="66" y="216"/>
                    </a:lnTo>
                    <a:lnTo>
                      <a:pt x="64" y="222"/>
                    </a:lnTo>
                    <a:lnTo>
                      <a:pt x="60" y="230"/>
                    </a:lnTo>
                    <a:lnTo>
                      <a:pt x="58" y="240"/>
                    </a:lnTo>
                    <a:lnTo>
                      <a:pt x="48" y="242"/>
                    </a:lnTo>
                    <a:lnTo>
                      <a:pt x="42" y="246"/>
                    </a:lnTo>
                    <a:lnTo>
                      <a:pt x="38" y="250"/>
                    </a:lnTo>
                    <a:lnTo>
                      <a:pt x="28" y="250"/>
                    </a:lnTo>
                    <a:lnTo>
                      <a:pt x="20" y="250"/>
                    </a:lnTo>
                    <a:lnTo>
                      <a:pt x="14" y="244"/>
                    </a:lnTo>
                    <a:lnTo>
                      <a:pt x="10" y="238"/>
                    </a:lnTo>
                    <a:lnTo>
                      <a:pt x="8" y="228"/>
                    </a:lnTo>
                    <a:lnTo>
                      <a:pt x="2" y="210"/>
                    </a:lnTo>
                    <a:lnTo>
                      <a:pt x="0" y="192"/>
                    </a:lnTo>
                    <a:lnTo>
                      <a:pt x="2" y="182"/>
                    </a:lnTo>
                    <a:lnTo>
                      <a:pt x="6" y="174"/>
                    </a:lnTo>
                    <a:lnTo>
                      <a:pt x="10" y="168"/>
                    </a:lnTo>
                    <a:lnTo>
                      <a:pt x="12" y="164"/>
                    </a:lnTo>
                    <a:lnTo>
                      <a:pt x="22" y="152"/>
                    </a:lnTo>
                    <a:lnTo>
                      <a:pt x="24" y="144"/>
                    </a:lnTo>
                    <a:lnTo>
                      <a:pt x="26" y="136"/>
                    </a:lnTo>
                    <a:lnTo>
                      <a:pt x="24" y="128"/>
                    </a:lnTo>
                    <a:lnTo>
                      <a:pt x="20" y="120"/>
                    </a:lnTo>
                    <a:lnTo>
                      <a:pt x="18" y="114"/>
                    </a:lnTo>
                    <a:lnTo>
                      <a:pt x="16" y="108"/>
                    </a:lnTo>
                    <a:lnTo>
                      <a:pt x="26" y="8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69" name="Freeform 81"/>
              <p:cNvSpPr>
                <a:spLocks noChangeAspect="1"/>
              </p:cNvSpPr>
              <p:nvPr/>
            </p:nvSpPr>
            <p:spPr bwMode="auto">
              <a:xfrm>
                <a:off x="4138011" y="3947704"/>
                <a:ext cx="255372" cy="214694"/>
              </a:xfrm>
              <a:custGeom>
                <a:avLst/>
                <a:gdLst/>
                <a:ahLst/>
                <a:cxnLst>
                  <a:cxn ang="0">
                    <a:pos x="174" y="160"/>
                  </a:cxn>
                  <a:cxn ang="0">
                    <a:pos x="162" y="170"/>
                  </a:cxn>
                  <a:cxn ang="0">
                    <a:pos x="146" y="182"/>
                  </a:cxn>
                  <a:cxn ang="0">
                    <a:pos x="12" y="176"/>
                  </a:cxn>
                  <a:cxn ang="0">
                    <a:pos x="8" y="44"/>
                  </a:cxn>
                  <a:cxn ang="0">
                    <a:pos x="2" y="38"/>
                  </a:cxn>
                  <a:cxn ang="0">
                    <a:pos x="0" y="26"/>
                  </a:cxn>
                  <a:cxn ang="0">
                    <a:pos x="4" y="18"/>
                  </a:cxn>
                  <a:cxn ang="0">
                    <a:pos x="2" y="12"/>
                  </a:cxn>
                  <a:cxn ang="0">
                    <a:pos x="0" y="8"/>
                  </a:cxn>
                  <a:cxn ang="0">
                    <a:pos x="6" y="0"/>
                  </a:cxn>
                  <a:cxn ang="0">
                    <a:pos x="54" y="12"/>
                  </a:cxn>
                  <a:cxn ang="0">
                    <a:pos x="76" y="12"/>
                  </a:cxn>
                  <a:cxn ang="0">
                    <a:pos x="92" y="4"/>
                  </a:cxn>
                  <a:cxn ang="0">
                    <a:pos x="104" y="2"/>
                  </a:cxn>
                  <a:cxn ang="0">
                    <a:pos x="112" y="8"/>
                  </a:cxn>
                  <a:cxn ang="0">
                    <a:pos x="124" y="10"/>
                  </a:cxn>
                  <a:cxn ang="0">
                    <a:pos x="138" y="8"/>
                  </a:cxn>
                  <a:cxn ang="0">
                    <a:pos x="142" y="10"/>
                  </a:cxn>
                  <a:cxn ang="0">
                    <a:pos x="152" y="22"/>
                  </a:cxn>
                  <a:cxn ang="0">
                    <a:pos x="158" y="42"/>
                  </a:cxn>
                  <a:cxn ang="0">
                    <a:pos x="154" y="64"/>
                  </a:cxn>
                  <a:cxn ang="0">
                    <a:pos x="152" y="68"/>
                  </a:cxn>
                  <a:cxn ang="0">
                    <a:pos x="150" y="66"/>
                  </a:cxn>
                  <a:cxn ang="0">
                    <a:pos x="142" y="64"/>
                  </a:cxn>
                  <a:cxn ang="0">
                    <a:pos x="128" y="40"/>
                  </a:cxn>
                  <a:cxn ang="0">
                    <a:pos x="122" y="38"/>
                  </a:cxn>
                  <a:cxn ang="0">
                    <a:pos x="136" y="66"/>
                  </a:cxn>
                  <a:cxn ang="0">
                    <a:pos x="162" y="112"/>
                  </a:cxn>
                  <a:cxn ang="0">
                    <a:pos x="174" y="126"/>
                  </a:cxn>
                  <a:cxn ang="0">
                    <a:pos x="178" y="150"/>
                  </a:cxn>
                  <a:cxn ang="0">
                    <a:pos x="180" y="160"/>
                  </a:cxn>
                </a:cxnLst>
                <a:rect l="0" t="0" r="r" b="b"/>
                <a:pathLst>
                  <a:path w="182" h="182">
                    <a:moveTo>
                      <a:pt x="180" y="160"/>
                    </a:moveTo>
                    <a:lnTo>
                      <a:pt x="174" y="160"/>
                    </a:lnTo>
                    <a:lnTo>
                      <a:pt x="172" y="164"/>
                    </a:lnTo>
                    <a:lnTo>
                      <a:pt x="162" y="170"/>
                    </a:lnTo>
                    <a:lnTo>
                      <a:pt x="156" y="176"/>
                    </a:lnTo>
                    <a:lnTo>
                      <a:pt x="146" y="182"/>
                    </a:lnTo>
                    <a:lnTo>
                      <a:pt x="142" y="176"/>
                    </a:lnTo>
                    <a:lnTo>
                      <a:pt x="12" y="176"/>
                    </a:lnTo>
                    <a:lnTo>
                      <a:pt x="8" y="50"/>
                    </a:lnTo>
                    <a:lnTo>
                      <a:pt x="8" y="44"/>
                    </a:lnTo>
                    <a:lnTo>
                      <a:pt x="4" y="40"/>
                    </a:lnTo>
                    <a:lnTo>
                      <a:pt x="2" y="38"/>
                    </a:lnTo>
                    <a:lnTo>
                      <a:pt x="0" y="30"/>
                    </a:lnTo>
                    <a:lnTo>
                      <a:pt x="0" y="26"/>
                    </a:lnTo>
                    <a:lnTo>
                      <a:pt x="2" y="22"/>
                    </a:lnTo>
                    <a:lnTo>
                      <a:pt x="4" y="18"/>
                    </a:lnTo>
                    <a:lnTo>
                      <a:pt x="6" y="14"/>
                    </a:lnTo>
                    <a:lnTo>
                      <a:pt x="2" y="12"/>
                    </a:lnTo>
                    <a:lnTo>
                      <a:pt x="0" y="10"/>
                    </a:lnTo>
                    <a:lnTo>
                      <a:pt x="0" y="8"/>
                    </a:lnTo>
                    <a:lnTo>
                      <a:pt x="2" y="4"/>
                    </a:lnTo>
                    <a:lnTo>
                      <a:pt x="6" y="0"/>
                    </a:lnTo>
                    <a:lnTo>
                      <a:pt x="36" y="8"/>
                    </a:lnTo>
                    <a:lnTo>
                      <a:pt x="54" y="12"/>
                    </a:lnTo>
                    <a:lnTo>
                      <a:pt x="68" y="14"/>
                    </a:lnTo>
                    <a:lnTo>
                      <a:pt x="76" y="12"/>
                    </a:lnTo>
                    <a:lnTo>
                      <a:pt x="84" y="8"/>
                    </a:lnTo>
                    <a:lnTo>
                      <a:pt x="92" y="4"/>
                    </a:lnTo>
                    <a:lnTo>
                      <a:pt x="100" y="2"/>
                    </a:lnTo>
                    <a:lnTo>
                      <a:pt x="104" y="2"/>
                    </a:lnTo>
                    <a:lnTo>
                      <a:pt x="108" y="6"/>
                    </a:lnTo>
                    <a:lnTo>
                      <a:pt x="112" y="8"/>
                    </a:lnTo>
                    <a:lnTo>
                      <a:pt x="118" y="10"/>
                    </a:lnTo>
                    <a:lnTo>
                      <a:pt x="124" y="10"/>
                    </a:lnTo>
                    <a:lnTo>
                      <a:pt x="132" y="8"/>
                    </a:lnTo>
                    <a:lnTo>
                      <a:pt x="138" y="8"/>
                    </a:lnTo>
                    <a:lnTo>
                      <a:pt x="140" y="8"/>
                    </a:lnTo>
                    <a:lnTo>
                      <a:pt x="142" y="10"/>
                    </a:lnTo>
                    <a:lnTo>
                      <a:pt x="146" y="14"/>
                    </a:lnTo>
                    <a:lnTo>
                      <a:pt x="152" y="22"/>
                    </a:lnTo>
                    <a:lnTo>
                      <a:pt x="156" y="32"/>
                    </a:lnTo>
                    <a:lnTo>
                      <a:pt x="158" y="42"/>
                    </a:lnTo>
                    <a:lnTo>
                      <a:pt x="154" y="56"/>
                    </a:lnTo>
                    <a:lnTo>
                      <a:pt x="154" y="64"/>
                    </a:lnTo>
                    <a:lnTo>
                      <a:pt x="158" y="66"/>
                    </a:lnTo>
                    <a:lnTo>
                      <a:pt x="152" y="68"/>
                    </a:lnTo>
                    <a:lnTo>
                      <a:pt x="152" y="66"/>
                    </a:lnTo>
                    <a:lnTo>
                      <a:pt x="150" y="66"/>
                    </a:lnTo>
                    <a:lnTo>
                      <a:pt x="146" y="66"/>
                    </a:lnTo>
                    <a:lnTo>
                      <a:pt x="142" y="64"/>
                    </a:lnTo>
                    <a:lnTo>
                      <a:pt x="134" y="52"/>
                    </a:lnTo>
                    <a:lnTo>
                      <a:pt x="128" y="40"/>
                    </a:lnTo>
                    <a:lnTo>
                      <a:pt x="120" y="32"/>
                    </a:lnTo>
                    <a:lnTo>
                      <a:pt x="122" y="38"/>
                    </a:lnTo>
                    <a:lnTo>
                      <a:pt x="124" y="46"/>
                    </a:lnTo>
                    <a:lnTo>
                      <a:pt x="136" y="66"/>
                    </a:lnTo>
                    <a:lnTo>
                      <a:pt x="156" y="102"/>
                    </a:lnTo>
                    <a:lnTo>
                      <a:pt x="162" y="112"/>
                    </a:lnTo>
                    <a:lnTo>
                      <a:pt x="168" y="120"/>
                    </a:lnTo>
                    <a:lnTo>
                      <a:pt x="174" y="126"/>
                    </a:lnTo>
                    <a:lnTo>
                      <a:pt x="176" y="138"/>
                    </a:lnTo>
                    <a:lnTo>
                      <a:pt x="178" y="150"/>
                    </a:lnTo>
                    <a:lnTo>
                      <a:pt x="182" y="160"/>
                    </a:lnTo>
                    <a:lnTo>
                      <a:pt x="180" y="16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0" name="Freeform 82"/>
              <p:cNvSpPr>
                <a:spLocks noChangeAspect="1"/>
              </p:cNvSpPr>
              <p:nvPr/>
            </p:nvSpPr>
            <p:spPr bwMode="auto">
              <a:xfrm>
                <a:off x="3805622" y="3915501"/>
                <a:ext cx="347252" cy="295801"/>
              </a:xfrm>
              <a:custGeom>
                <a:avLst/>
                <a:gdLst/>
                <a:ahLst/>
                <a:cxnLst>
                  <a:cxn ang="0">
                    <a:pos x="243" y="80"/>
                  </a:cxn>
                  <a:cxn ang="0">
                    <a:pos x="239" y="70"/>
                  </a:cxn>
                  <a:cxn ang="0">
                    <a:pos x="235" y="60"/>
                  </a:cxn>
                  <a:cxn ang="0">
                    <a:pos x="237" y="52"/>
                  </a:cxn>
                  <a:cxn ang="0">
                    <a:pos x="241" y="44"/>
                  </a:cxn>
                  <a:cxn ang="0">
                    <a:pos x="235" y="40"/>
                  </a:cxn>
                  <a:cxn ang="0">
                    <a:pos x="237" y="34"/>
                  </a:cxn>
                  <a:cxn ang="0">
                    <a:pos x="215" y="20"/>
                  </a:cxn>
                  <a:cxn ang="0">
                    <a:pos x="203" y="12"/>
                  </a:cxn>
                  <a:cxn ang="0">
                    <a:pos x="193" y="4"/>
                  </a:cxn>
                  <a:cxn ang="0">
                    <a:pos x="181" y="6"/>
                  </a:cxn>
                  <a:cxn ang="0">
                    <a:pos x="163" y="20"/>
                  </a:cxn>
                  <a:cxn ang="0">
                    <a:pos x="161" y="28"/>
                  </a:cxn>
                  <a:cxn ang="0">
                    <a:pos x="163" y="38"/>
                  </a:cxn>
                  <a:cxn ang="0">
                    <a:pos x="163" y="44"/>
                  </a:cxn>
                  <a:cxn ang="0">
                    <a:pos x="157" y="52"/>
                  </a:cxn>
                  <a:cxn ang="0">
                    <a:pos x="145" y="54"/>
                  </a:cxn>
                  <a:cxn ang="0">
                    <a:pos x="133" y="46"/>
                  </a:cxn>
                  <a:cxn ang="0">
                    <a:pos x="115" y="38"/>
                  </a:cxn>
                  <a:cxn ang="0">
                    <a:pos x="107" y="36"/>
                  </a:cxn>
                  <a:cxn ang="0">
                    <a:pos x="99" y="34"/>
                  </a:cxn>
                  <a:cxn ang="0">
                    <a:pos x="89" y="24"/>
                  </a:cxn>
                  <a:cxn ang="0">
                    <a:pos x="81" y="16"/>
                  </a:cxn>
                  <a:cxn ang="0">
                    <a:pos x="53" y="10"/>
                  </a:cxn>
                  <a:cxn ang="0">
                    <a:pos x="30" y="0"/>
                  </a:cxn>
                  <a:cxn ang="0">
                    <a:pos x="26" y="10"/>
                  </a:cxn>
                  <a:cxn ang="0">
                    <a:pos x="26" y="18"/>
                  </a:cxn>
                  <a:cxn ang="0">
                    <a:pos x="12" y="30"/>
                  </a:cxn>
                  <a:cxn ang="0">
                    <a:pos x="8" y="40"/>
                  </a:cxn>
                  <a:cxn ang="0">
                    <a:pos x="4" y="52"/>
                  </a:cxn>
                  <a:cxn ang="0">
                    <a:pos x="0" y="62"/>
                  </a:cxn>
                  <a:cxn ang="0">
                    <a:pos x="2" y="74"/>
                  </a:cxn>
                  <a:cxn ang="0">
                    <a:pos x="4" y="88"/>
                  </a:cxn>
                  <a:cxn ang="0">
                    <a:pos x="2" y="124"/>
                  </a:cxn>
                  <a:cxn ang="0">
                    <a:pos x="2" y="136"/>
                  </a:cxn>
                  <a:cxn ang="0">
                    <a:pos x="10" y="152"/>
                  </a:cxn>
                  <a:cxn ang="0">
                    <a:pos x="18" y="162"/>
                  </a:cxn>
                  <a:cxn ang="0">
                    <a:pos x="32" y="168"/>
                  </a:cxn>
                  <a:cxn ang="0">
                    <a:pos x="40" y="182"/>
                  </a:cxn>
                  <a:cxn ang="0">
                    <a:pos x="46" y="182"/>
                  </a:cxn>
                  <a:cxn ang="0">
                    <a:pos x="61" y="184"/>
                  </a:cxn>
                  <a:cxn ang="0">
                    <a:pos x="71" y="190"/>
                  </a:cxn>
                  <a:cxn ang="0">
                    <a:pos x="105" y="182"/>
                  </a:cxn>
                  <a:cxn ang="0">
                    <a:pos x="235" y="244"/>
                  </a:cxn>
                  <a:cxn ang="0">
                    <a:pos x="247" y="206"/>
                  </a:cxn>
                </a:cxnLst>
                <a:rect l="0" t="0" r="r" b="b"/>
                <a:pathLst>
                  <a:path w="247" h="252">
                    <a:moveTo>
                      <a:pt x="247" y="206"/>
                    </a:moveTo>
                    <a:lnTo>
                      <a:pt x="243" y="80"/>
                    </a:lnTo>
                    <a:lnTo>
                      <a:pt x="243" y="74"/>
                    </a:lnTo>
                    <a:lnTo>
                      <a:pt x="239" y="70"/>
                    </a:lnTo>
                    <a:lnTo>
                      <a:pt x="237" y="68"/>
                    </a:lnTo>
                    <a:lnTo>
                      <a:pt x="235" y="60"/>
                    </a:lnTo>
                    <a:lnTo>
                      <a:pt x="235" y="56"/>
                    </a:lnTo>
                    <a:lnTo>
                      <a:pt x="237" y="52"/>
                    </a:lnTo>
                    <a:lnTo>
                      <a:pt x="239" y="48"/>
                    </a:lnTo>
                    <a:lnTo>
                      <a:pt x="241" y="44"/>
                    </a:lnTo>
                    <a:lnTo>
                      <a:pt x="237" y="42"/>
                    </a:lnTo>
                    <a:lnTo>
                      <a:pt x="235" y="40"/>
                    </a:lnTo>
                    <a:lnTo>
                      <a:pt x="235" y="38"/>
                    </a:lnTo>
                    <a:lnTo>
                      <a:pt x="237" y="34"/>
                    </a:lnTo>
                    <a:lnTo>
                      <a:pt x="241" y="30"/>
                    </a:lnTo>
                    <a:lnTo>
                      <a:pt x="215" y="20"/>
                    </a:lnTo>
                    <a:lnTo>
                      <a:pt x="209" y="16"/>
                    </a:lnTo>
                    <a:lnTo>
                      <a:pt x="203" y="12"/>
                    </a:lnTo>
                    <a:lnTo>
                      <a:pt x="197" y="6"/>
                    </a:lnTo>
                    <a:lnTo>
                      <a:pt x="193" y="4"/>
                    </a:lnTo>
                    <a:lnTo>
                      <a:pt x="189" y="4"/>
                    </a:lnTo>
                    <a:lnTo>
                      <a:pt x="181" y="6"/>
                    </a:lnTo>
                    <a:lnTo>
                      <a:pt x="171" y="12"/>
                    </a:lnTo>
                    <a:lnTo>
                      <a:pt x="163" y="20"/>
                    </a:lnTo>
                    <a:lnTo>
                      <a:pt x="163" y="24"/>
                    </a:lnTo>
                    <a:lnTo>
                      <a:pt x="161" y="28"/>
                    </a:lnTo>
                    <a:lnTo>
                      <a:pt x="163" y="36"/>
                    </a:lnTo>
                    <a:lnTo>
                      <a:pt x="163" y="38"/>
                    </a:lnTo>
                    <a:lnTo>
                      <a:pt x="165" y="40"/>
                    </a:lnTo>
                    <a:lnTo>
                      <a:pt x="163" y="44"/>
                    </a:lnTo>
                    <a:lnTo>
                      <a:pt x="161" y="48"/>
                    </a:lnTo>
                    <a:lnTo>
                      <a:pt x="157" y="52"/>
                    </a:lnTo>
                    <a:lnTo>
                      <a:pt x="149" y="54"/>
                    </a:lnTo>
                    <a:lnTo>
                      <a:pt x="145" y="54"/>
                    </a:lnTo>
                    <a:lnTo>
                      <a:pt x="139" y="52"/>
                    </a:lnTo>
                    <a:lnTo>
                      <a:pt x="133" y="46"/>
                    </a:lnTo>
                    <a:lnTo>
                      <a:pt x="125" y="40"/>
                    </a:lnTo>
                    <a:lnTo>
                      <a:pt x="115" y="38"/>
                    </a:lnTo>
                    <a:lnTo>
                      <a:pt x="111" y="36"/>
                    </a:lnTo>
                    <a:lnTo>
                      <a:pt x="107" y="36"/>
                    </a:lnTo>
                    <a:lnTo>
                      <a:pt x="103" y="36"/>
                    </a:lnTo>
                    <a:lnTo>
                      <a:pt x="99" y="34"/>
                    </a:lnTo>
                    <a:lnTo>
                      <a:pt x="93" y="30"/>
                    </a:lnTo>
                    <a:lnTo>
                      <a:pt x="89" y="24"/>
                    </a:lnTo>
                    <a:lnTo>
                      <a:pt x="85" y="18"/>
                    </a:lnTo>
                    <a:lnTo>
                      <a:pt x="81" y="16"/>
                    </a:lnTo>
                    <a:lnTo>
                      <a:pt x="77" y="14"/>
                    </a:lnTo>
                    <a:lnTo>
                      <a:pt x="53" y="10"/>
                    </a:lnTo>
                    <a:lnTo>
                      <a:pt x="42" y="6"/>
                    </a:lnTo>
                    <a:lnTo>
                      <a:pt x="30" y="0"/>
                    </a:lnTo>
                    <a:lnTo>
                      <a:pt x="26" y="4"/>
                    </a:lnTo>
                    <a:lnTo>
                      <a:pt x="26" y="10"/>
                    </a:lnTo>
                    <a:lnTo>
                      <a:pt x="26" y="12"/>
                    </a:lnTo>
                    <a:lnTo>
                      <a:pt x="26" y="18"/>
                    </a:lnTo>
                    <a:lnTo>
                      <a:pt x="18" y="24"/>
                    </a:lnTo>
                    <a:lnTo>
                      <a:pt x="12" y="30"/>
                    </a:lnTo>
                    <a:lnTo>
                      <a:pt x="8" y="36"/>
                    </a:lnTo>
                    <a:lnTo>
                      <a:pt x="8" y="40"/>
                    </a:lnTo>
                    <a:lnTo>
                      <a:pt x="10" y="40"/>
                    </a:lnTo>
                    <a:lnTo>
                      <a:pt x="4" y="52"/>
                    </a:lnTo>
                    <a:lnTo>
                      <a:pt x="0" y="56"/>
                    </a:lnTo>
                    <a:lnTo>
                      <a:pt x="0" y="62"/>
                    </a:lnTo>
                    <a:lnTo>
                      <a:pt x="0" y="68"/>
                    </a:lnTo>
                    <a:lnTo>
                      <a:pt x="2" y="74"/>
                    </a:lnTo>
                    <a:lnTo>
                      <a:pt x="4" y="80"/>
                    </a:lnTo>
                    <a:lnTo>
                      <a:pt x="4" y="88"/>
                    </a:lnTo>
                    <a:lnTo>
                      <a:pt x="6" y="120"/>
                    </a:lnTo>
                    <a:lnTo>
                      <a:pt x="2" y="124"/>
                    </a:lnTo>
                    <a:lnTo>
                      <a:pt x="0" y="132"/>
                    </a:lnTo>
                    <a:lnTo>
                      <a:pt x="2" y="136"/>
                    </a:lnTo>
                    <a:lnTo>
                      <a:pt x="4" y="140"/>
                    </a:lnTo>
                    <a:lnTo>
                      <a:pt x="10" y="152"/>
                    </a:lnTo>
                    <a:lnTo>
                      <a:pt x="12" y="158"/>
                    </a:lnTo>
                    <a:lnTo>
                      <a:pt x="18" y="162"/>
                    </a:lnTo>
                    <a:lnTo>
                      <a:pt x="28" y="166"/>
                    </a:lnTo>
                    <a:lnTo>
                      <a:pt x="32" y="168"/>
                    </a:lnTo>
                    <a:lnTo>
                      <a:pt x="36" y="174"/>
                    </a:lnTo>
                    <a:lnTo>
                      <a:pt x="40" y="182"/>
                    </a:lnTo>
                    <a:lnTo>
                      <a:pt x="42" y="182"/>
                    </a:lnTo>
                    <a:lnTo>
                      <a:pt x="46" y="182"/>
                    </a:lnTo>
                    <a:lnTo>
                      <a:pt x="55" y="182"/>
                    </a:lnTo>
                    <a:lnTo>
                      <a:pt x="61" y="184"/>
                    </a:lnTo>
                    <a:lnTo>
                      <a:pt x="67" y="186"/>
                    </a:lnTo>
                    <a:lnTo>
                      <a:pt x="71" y="190"/>
                    </a:lnTo>
                    <a:lnTo>
                      <a:pt x="75" y="196"/>
                    </a:lnTo>
                    <a:lnTo>
                      <a:pt x="105" y="182"/>
                    </a:lnTo>
                    <a:lnTo>
                      <a:pt x="231" y="252"/>
                    </a:lnTo>
                    <a:lnTo>
                      <a:pt x="235" y="244"/>
                    </a:lnTo>
                    <a:lnTo>
                      <a:pt x="247" y="244"/>
                    </a:lnTo>
                    <a:lnTo>
                      <a:pt x="247" y="20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1" name="Freeform 83"/>
              <p:cNvSpPr>
                <a:spLocks noChangeAspect="1"/>
              </p:cNvSpPr>
              <p:nvPr/>
            </p:nvSpPr>
            <p:spPr bwMode="auto">
              <a:xfrm>
                <a:off x="3762385" y="3826045"/>
                <a:ext cx="85124" cy="161021"/>
              </a:xfrm>
              <a:custGeom>
                <a:avLst/>
                <a:gdLst/>
                <a:ahLst/>
                <a:cxnLst>
                  <a:cxn ang="0">
                    <a:pos x="30" y="128"/>
                  </a:cxn>
                  <a:cxn ang="0">
                    <a:pos x="30" y="130"/>
                  </a:cxn>
                  <a:cxn ang="0">
                    <a:pos x="26" y="104"/>
                  </a:cxn>
                  <a:cxn ang="0">
                    <a:pos x="22" y="98"/>
                  </a:cxn>
                  <a:cxn ang="0">
                    <a:pos x="18" y="92"/>
                  </a:cxn>
                  <a:cxn ang="0">
                    <a:pos x="14" y="86"/>
                  </a:cxn>
                  <a:cxn ang="0">
                    <a:pos x="10" y="82"/>
                  </a:cxn>
                  <a:cxn ang="0">
                    <a:pos x="8" y="78"/>
                  </a:cxn>
                  <a:cxn ang="0">
                    <a:pos x="4" y="74"/>
                  </a:cxn>
                  <a:cxn ang="0">
                    <a:pos x="0" y="68"/>
                  </a:cxn>
                  <a:cxn ang="0">
                    <a:pos x="0" y="62"/>
                  </a:cxn>
                  <a:cxn ang="0">
                    <a:pos x="0" y="58"/>
                  </a:cxn>
                  <a:cxn ang="0">
                    <a:pos x="2" y="56"/>
                  </a:cxn>
                  <a:cxn ang="0">
                    <a:pos x="6" y="54"/>
                  </a:cxn>
                  <a:cxn ang="0">
                    <a:pos x="8" y="50"/>
                  </a:cxn>
                  <a:cxn ang="0">
                    <a:pos x="10" y="42"/>
                  </a:cxn>
                  <a:cxn ang="0">
                    <a:pos x="10" y="36"/>
                  </a:cxn>
                  <a:cxn ang="0">
                    <a:pos x="10" y="24"/>
                  </a:cxn>
                  <a:cxn ang="0">
                    <a:pos x="12" y="14"/>
                  </a:cxn>
                  <a:cxn ang="0">
                    <a:pos x="14" y="4"/>
                  </a:cxn>
                  <a:cxn ang="0">
                    <a:pos x="14" y="2"/>
                  </a:cxn>
                  <a:cxn ang="0">
                    <a:pos x="20" y="0"/>
                  </a:cxn>
                  <a:cxn ang="0">
                    <a:pos x="30" y="0"/>
                  </a:cxn>
                  <a:cxn ang="0">
                    <a:pos x="34" y="0"/>
                  </a:cxn>
                  <a:cxn ang="0">
                    <a:pos x="38" y="2"/>
                  </a:cxn>
                  <a:cxn ang="0">
                    <a:pos x="42" y="2"/>
                  </a:cxn>
                  <a:cxn ang="0">
                    <a:pos x="48" y="4"/>
                  </a:cxn>
                  <a:cxn ang="0">
                    <a:pos x="46" y="8"/>
                  </a:cxn>
                  <a:cxn ang="0">
                    <a:pos x="44" y="12"/>
                  </a:cxn>
                  <a:cxn ang="0">
                    <a:pos x="44" y="16"/>
                  </a:cxn>
                  <a:cxn ang="0">
                    <a:pos x="42" y="20"/>
                  </a:cxn>
                  <a:cxn ang="0">
                    <a:pos x="44" y="24"/>
                  </a:cxn>
                  <a:cxn ang="0">
                    <a:pos x="46" y="28"/>
                  </a:cxn>
                  <a:cxn ang="0">
                    <a:pos x="50" y="30"/>
                  </a:cxn>
                  <a:cxn ang="0">
                    <a:pos x="52" y="32"/>
                  </a:cxn>
                  <a:cxn ang="0">
                    <a:pos x="50" y="42"/>
                  </a:cxn>
                  <a:cxn ang="0">
                    <a:pos x="46" y="46"/>
                  </a:cxn>
                  <a:cxn ang="0">
                    <a:pos x="42" y="52"/>
                  </a:cxn>
                  <a:cxn ang="0">
                    <a:pos x="40" y="58"/>
                  </a:cxn>
                  <a:cxn ang="0">
                    <a:pos x="42" y="60"/>
                  </a:cxn>
                  <a:cxn ang="0">
                    <a:pos x="46" y="64"/>
                  </a:cxn>
                  <a:cxn ang="0">
                    <a:pos x="54" y="66"/>
                  </a:cxn>
                  <a:cxn ang="0">
                    <a:pos x="62" y="72"/>
                  </a:cxn>
                  <a:cxn ang="0">
                    <a:pos x="58" y="76"/>
                  </a:cxn>
                  <a:cxn ang="0">
                    <a:pos x="58" y="82"/>
                  </a:cxn>
                  <a:cxn ang="0">
                    <a:pos x="58" y="84"/>
                  </a:cxn>
                  <a:cxn ang="0">
                    <a:pos x="58" y="90"/>
                  </a:cxn>
                  <a:cxn ang="0">
                    <a:pos x="50" y="96"/>
                  </a:cxn>
                  <a:cxn ang="0">
                    <a:pos x="44" y="102"/>
                  </a:cxn>
                  <a:cxn ang="0">
                    <a:pos x="40" y="108"/>
                  </a:cxn>
                  <a:cxn ang="0">
                    <a:pos x="40" y="112"/>
                  </a:cxn>
                  <a:cxn ang="0">
                    <a:pos x="42" y="112"/>
                  </a:cxn>
                  <a:cxn ang="0">
                    <a:pos x="36" y="124"/>
                  </a:cxn>
                  <a:cxn ang="0">
                    <a:pos x="32" y="128"/>
                  </a:cxn>
                  <a:cxn ang="0">
                    <a:pos x="32" y="134"/>
                  </a:cxn>
                  <a:cxn ang="0">
                    <a:pos x="30" y="128"/>
                  </a:cxn>
                </a:cxnLst>
                <a:rect l="0" t="0" r="r" b="b"/>
                <a:pathLst>
                  <a:path w="62" h="134">
                    <a:moveTo>
                      <a:pt x="30" y="128"/>
                    </a:moveTo>
                    <a:lnTo>
                      <a:pt x="30" y="130"/>
                    </a:lnTo>
                    <a:lnTo>
                      <a:pt x="26" y="104"/>
                    </a:lnTo>
                    <a:lnTo>
                      <a:pt x="22" y="98"/>
                    </a:lnTo>
                    <a:lnTo>
                      <a:pt x="18" y="92"/>
                    </a:lnTo>
                    <a:lnTo>
                      <a:pt x="14" y="86"/>
                    </a:lnTo>
                    <a:lnTo>
                      <a:pt x="10" y="82"/>
                    </a:lnTo>
                    <a:lnTo>
                      <a:pt x="8" y="78"/>
                    </a:lnTo>
                    <a:lnTo>
                      <a:pt x="4" y="74"/>
                    </a:lnTo>
                    <a:lnTo>
                      <a:pt x="0" y="68"/>
                    </a:lnTo>
                    <a:lnTo>
                      <a:pt x="0" y="62"/>
                    </a:lnTo>
                    <a:lnTo>
                      <a:pt x="0" y="58"/>
                    </a:lnTo>
                    <a:lnTo>
                      <a:pt x="2" y="56"/>
                    </a:lnTo>
                    <a:lnTo>
                      <a:pt x="6" y="54"/>
                    </a:lnTo>
                    <a:lnTo>
                      <a:pt x="8" y="50"/>
                    </a:lnTo>
                    <a:lnTo>
                      <a:pt x="10" y="42"/>
                    </a:lnTo>
                    <a:lnTo>
                      <a:pt x="10" y="36"/>
                    </a:lnTo>
                    <a:lnTo>
                      <a:pt x="10" y="24"/>
                    </a:lnTo>
                    <a:lnTo>
                      <a:pt x="12" y="14"/>
                    </a:lnTo>
                    <a:lnTo>
                      <a:pt x="14" y="4"/>
                    </a:lnTo>
                    <a:lnTo>
                      <a:pt x="14" y="2"/>
                    </a:lnTo>
                    <a:lnTo>
                      <a:pt x="20" y="0"/>
                    </a:lnTo>
                    <a:lnTo>
                      <a:pt x="30" y="0"/>
                    </a:lnTo>
                    <a:lnTo>
                      <a:pt x="34" y="0"/>
                    </a:lnTo>
                    <a:lnTo>
                      <a:pt x="38" y="2"/>
                    </a:lnTo>
                    <a:lnTo>
                      <a:pt x="42" y="2"/>
                    </a:lnTo>
                    <a:lnTo>
                      <a:pt x="48" y="4"/>
                    </a:lnTo>
                    <a:lnTo>
                      <a:pt x="46" y="8"/>
                    </a:lnTo>
                    <a:lnTo>
                      <a:pt x="44" y="12"/>
                    </a:lnTo>
                    <a:lnTo>
                      <a:pt x="44" y="16"/>
                    </a:lnTo>
                    <a:lnTo>
                      <a:pt x="42" y="20"/>
                    </a:lnTo>
                    <a:lnTo>
                      <a:pt x="44" y="24"/>
                    </a:lnTo>
                    <a:lnTo>
                      <a:pt x="46" y="28"/>
                    </a:lnTo>
                    <a:lnTo>
                      <a:pt x="50" y="30"/>
                    </a:lnTo>
                    <a:lnTo>
                      <a:pt x="52" y="32"/>
                    </a:lnTo>
                    <a:lnTo>
                      <a:pt x="50" y="42"/>
                    </a:lnTo>
                    <a:lnTo>
                      <a:pt x="46" y="46"/>
                    </a:lnTo>
                    <a:lnTo>
                      <a:pt x="42" y="52"/>
                    </a:lnTo>
                    <a:lnTo>
                      <a:pt x="40" y="58"/>
                    </a:lnTo>
                    <a:lnTo>
                      <a:pt x="42" y="60"/>
                    </a:lnTo>
                    <a:lnTo>
                      <a:pt x="46" y="64"/>
                    </a:lnTo>
                    <a:lnTo>
                      <a:pt x="54" y="66"/>
                    </a:lnTo>
                    <a:lnTo>
                      <a:pt x="62" y="72"/>
                    </a:lnTo>
                    <a:lnTo>
                      <a:pt x="58" y="76"/>
                    </a:lnTo>
                    <a:lnTo>
                      <a:pt x="58" y="82"/>
                    </a:lnTo>
                    <a:lnTo>
                      <a:pt x="58" y="84"/>
                    </a:lnTo>
                    <a:lnTo>
                      <a:pt x="58" y="90"/>
                    </a:lnTo>
                    <a:lnTo>
                      <a:pt x="50" y="96"/>
                    </a:lnTo>
                    <a:lnTo>
                      <a:pt x="44" y="102"/>
                    </a:lnTo>
                    <a:lnTo>
                      <a:pt x="40" y="108"/>
                    </a:lnTo>
                    <a:lnTo>
                      <a:pt x="40" y="112"/>
                    </a:lnTo>
                    <a:lnTo>
                      <a:pt x="42" y="112"/>
                    </a:lnTo>
                    <a:lnTo>
                      <a:pt x="36" y="124"/>
                    </a:lnTo>
                    <a:lnTo>
                      <a:pt x="32" y="128"/>
                    </a:lnTo>
                    <a:lnTo>
                      <a:pt x="32" y="134"/>
                    </a:lnTo>
                    <a:lnTo>
                      <a:pt x="30" y="1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2" name="Freeform 84"/>
              <p:cNvSpPr>
                <a:spLocks noChangeAspect="1"/>
              </p:cNvSpPr>
              <p:nvPr/>
            </p:nvSpPr>
            <p:spPr bwMode="auto">
              <a:xfrm>
                <a:off x="3415135" y="3832009"/>
                <a:ext cx="448589" cy="390027"/>
              </a:xfrm>
              <a:custGeom>
                <a:avLst/>
                <a:gdLst/>
                <a:ahLst/>
                <a:cxnLst>
                  <a:cxn ang="0">
                    <a:pos x="110" y="34"/>
                  </a:cxn>
                  <a:cxn ang="0">
                    <a:pos x="124" y="26"/>
                  </a:cxn>
                  <a:cxn ang="0">
                    <a:pos x="146" y="14"/>
                  </a:cxn>
                  <a:cxn ang="0">
                    <a:pos x="186" y="4"/>
                  </a:cxn>
                  <a:cxn ang="0">
                    <a:pos x="202" y="4"/>
                  </a:cxn>
                  <a:cxn ang="0">
                    <a:pos x="210" y="8"/>
                  </a:cxn>
                  <a:cxn ang="0">
                    <a:pos x="220" y="6"/>
                  </a:cxn>
                  <a:cxn ang="0">
                    <a:pos x="224" y="2"/>
                  </a:cxn>
                  <a:cxn ang="0">
                    <a:pos x="248" y="0"/>
                  </a:cxn>
                  <a:cxn ang="0">
                    <a:pos x="258" y="10"/>
                  </a:cxn>
                  <a:cxn ang="0">
                    <a:pos x="256" y="34"/>
                  </a:cxn>
                  <a:cxn ang="0">
                    <a:pos x="254" y="48"/>
                  </a:cxn>
                  <a:cxn ang="0">
                    <a:pos x="248" y="54"/>
                  </a:cxn>
                  <a:cxn ang="0">
                    <a:pos x="246" y="60"/>
                  </a:cxn>
                  <a:cxn ang="0">
                    <a:pos x="250" y="72"/>
                  </a:cxn>
                  <a:cxn ang="0">
                    <a:pos x="256" y="80"/>
                  </a:cxn>
                  <a:cxn ang="0">
                    <a:pos x="264" y="90"/>
                  </a:cxn>
                  <a:cxn ang="0">
                    <a:pos x="272" y="102"/>
                  </a:cxn>
                  <a:cxn ang="0">
                    <a:pos x="276" y="126"/>
                  </a:cxn>
                  <a:cxn ang="0">
                    <a:pos x="278" y="138"/>
                  </a:cxn>
                  <a:cxn ang="0">
                    <a:pos x="282" y="150"/>
                  </a:cxn>
                  <a:cxn ang="0">
                    <a:pos x="284" y="190"/>
                  </a:cxn>
                  <a:cxn ang="0">
                    <a:pos x="278" y="202"/>
                  </a:cxn>
                  <a:cxn ang="0">
                    <a:pos x="282" y="210"/>
                  </a:cxn>
                  <a:cxn ang="0">
                    <a:pos x="290" y="228"/>
                  </a:cxn>
                  <a:cxn ang="0">
                    <a:pos x="306" y="236"/>
                  </a:cxn>
                  <a:cxn ang="0">
                    <a:pos x="314" y="244"/>
                  </a:cxn>
                  <a:cxn ang="0">
                    <a:pos x="248" y="300"/>
                  </a:cxn>
                  <a:cxn ang="0">
                    <a:pos x="182" y="332"/>
                  </a:cxn>
                  <a:cxn ang="0">
                    <a:pos x="170" y="314"/>
                  </a:cxn>
                  <a:cxn ang="0">
                    <a:pos x="152" y="302"/>
                  </a:cxn>
                  <a:cxn ang="0">
                    <a:pos x="148" y="294"/>
                  </a:cxn>
                  <a:cxn ang="0">
                    <a:pos x="0" y="160"/>
                  </a:cxn>
                  <a:cxn ang="0">
                    <a:pos x="18" y="144"/>
                  </a:cxn>
                  <a:cxn ang="0">
                    <a:pos x="48" y="132"/>
                  </a:cxn>
                  <a:cxn ang="0">
                    <a:pos x="56" y="124"/>
                  </a:cxn>
                  <a:cxn ang="0">
                    <a:pos x="66" y="116"/>
                  </a:cxn>
                  <a:cxn ang="0">
                    <a:pos x="72" y="112"/>
                  </a:cxn>
                  <a:cxn ang="0">
                    <a:pos x="72" y="102"/>
                  </a:cxn>
                  <a:cxn ang="0">
                    <a:pos x="84" y="96"/>
                  </a:cxn>
                  <a:cxn ang="0">
                    <a:pos x="96" y="92"/>
                  </a:cxn>
                  <a:cxn ang="0">
                    <a:pos x="110" y="92"/>
                  </a:cxn>
                  <a:cxn ang="0">
                    <a:pos x="112" y="86"/>
                  </a:cxn>
                  <a:cxn ang="0">
                    <a:pos x="96" y="36"/>
                  </a:cxn>
                </a:cxnLst>
                <a:rect l="0" t="0" r="r" b="b"/>
                <a:pathLst>
                  <a:path w="318" h="332">
                    <a:moveTo>
                      <a:pt x="98" y="36"/>
                    </a:moveTo>
                    <a:lnTo>
                      <a:pt x="110" y="34"/>
                    </a:lnTo>
                    <a:lnTo>
                      <a:pt x="116" y="30"/>
                    </a:lnTo>
                    <a:lnTo>
                      <a:pt x="124" y="26"/>
                    </a:lnTo>
                    <a:lnTo>
                      <a:pt x="132" y="20"/>
                    </a:lnTo>
                    <a:lnTo>
                      <a:pt x="146" y="14"/>
                    </a:lnTo>
                    <a:lnTo>
                      <a:pt x="166" y="8"/>
                    </a:lnTo>
                    <a:lnTo>
                      <a:pt x="186" y="4"/>
                    </a:lnTo>
                    <a:lnTo>
                      <a:pt x="198" y="4"/>
                    </a:lnTo>
                    <a:lnTo>
                      <a:pt x="202" y="4"/>
                    </a:lnTo>
                    <a:lnTo>
                      <a:pt x="206" y="6"/>
                    </a:lnTo>
                    <a:lnTo>
                      <a:pt x="210" y="8"/>
                    </a:lnTo>
                    <a:lnTo>
                      <a:pt x="214" y="8"/>
                    </a:lnTo>
                    <a:lnTo>
                      <a:pt x="220" y="6"/>
                    </a:lnTo>
                    <a:lnTo>
                      <a:pt x="222" y="4"/>
                    </a:lnTo>
                    <a:lnTo>
                      <a:pt x="224" y="2"/>
                    </a:lnTo>
                    <a:lnTo>
                      <a:pt x="230" y="0"/>
                    </a:lnTo>
                    <a:lnTo>
                      <a:pt x="248" y="0"/>
                    </a:lnTo>
                    <a:lnTo>
                      <a:pt x="260" y="0"/>
                    </a:lnTo>
                    <a:lnTo>
                      <a:pt x="258" y="10"/>
                    </a:lnTo>
                    <a:lnTo>
                      <a:pt x="256" y="22"/>
                    </a:lnTo>
                    <a:lnTo>
                      <a:pt x="256" y="34"/>
                    </a:lnTo>
                    <a:lnTo>
                      <a:pt x="256" y="40"/>
                    </a:lnTo>
                    <a:lnTo>
                      <a:pt x="254" y="48"/>
                    </a:lnTo>
                    <a:lnTo>
                      <a:pt x="252" y="52"/>
                    </a:lnTo>
                    <a:lnTo>
                      <a:pt x="248" y="54"/>
                    </a:lnTo>
                    <a:lnTo>
                      <a:pt x="246" y="56"/>
                    </a:lnTo>
                    <a:lnTo>
                      <a:pt x="246" y="60"/>
                    </a:lnTo>
                    <a:lnTo>
                      <a:pt x="246" y="66"/>
                    </a:lnTo>
                    <a:lnTo>
                      <a:pt x="250" y="72"/>
                    </a:lnTo>
                    <a:lnTo>
                      <a:pt x="254" y="76"/>
                    </a:lnTo>
                    <a:lnTo>
                      <a:pt x="256" y="80"/>
                    </a:lnTo>
                    <a:lnTo>
                      <a:pt x="260" y="84"/>
                    </a:lnTo>
                    <a:lnTo>
                      <a:pt x="264" y="90"/>
                    </a:lnTo>
                    <a:lnTo>
                      <a:pt x="268" y="96"/>
                    </a:lnTo>
                    <a:lnTo>
                      <a:pt x="272" y="102"/>
                    </a:lnTo>
                    <a:lnTo>
                      <a:pt x="276" y="128"/>
                    </a:lnTo>
                    <a:lnTo>
                      <a:pt x="276" y="126"/>
                    </a:lnTo>
                    <a:lnTo>
                      <a:pt x="278" y="132"/>
                    </a:lnTo>
                    <a:lnTo>
                      <a:pt x="278" y="138"/>
                    </a:lnTo>
                    <a:lnTo>
                      <a:pt x="280" y="144"/>
                    </a:lnTo>
                    <a:lnTo>
                      <a:pt x="282" y="150"/>
                    </a:lnTo>
                    <a:lnTo>
                      <a:pt x="282" y="158"/>
                    </a:lnTo>
                    <a:lnTo>
                      <a:pt x="284" y="190"/>
                    </a:lnTo>
                    <a:lnTo>
                      <a:pt x="280" y="194"/>
                    </a:lnTo>
                    <a:lnTo>
                      <a:pt x="278" y="202"/>
                    </a:lnTo>
                    <a:lnTo>
                      <a:pt x="280" y="206"/>
                    </a:lnTo>
                    <a:lnTo>
                      <a:pt x="282" y="210"/>
                    </a:lnTo>
                    <a:lnTo>
                      <a:pt x="288" y="222"/>
                    </a:lnTo>
                    <a:lnTo>
                      <a:pt x="290" y="228"/>
                    </a:lnTo>
                    <a:lnTo>
                      <a:pt x="296" y="232"/>
                    </a:lnTo>
                    <a:lnTo>
                      <a:pt x="306" y="236"/>
                    </a:lnTo>
                    <a:lnTo>
                      <a:pt x="310" y="238"/>
                    </a:lnTo>
                    <a:lnTo>
                      <a:pt x="314" y="244"/>
                    </a:lnTo>
                    <a:lnTo>
                      <a:pt x="318" y="252"/>
                    </a:lnTo>
                    <a:lnTo>
                      <a:pt x="248" y="300"/>
                    </a:lnTo>
                    <a:lnTo>
                      <a:pt x="220" y="328"/>
                    </a:lnTo>
                    <a:lnTo>
                      <a:pt x="182" y="332"/>
                    </a:lnTo>
                    <a:lnTo>
                      <a:pt x="182" y="318"/>
                    </a:lnTo>
                    <a:lnTo>
                      <a:pt x="170" y="314"/>
                    </a:lnTo>
                    <a:lnTo>
                      <a:pt x="160" y="310"/>
                    </a:lnTo>
                    <a:lnTo>
                      <a:pt x="152" y="302"/>
                    </a:lnTo>
                    <a:lnTo>
                      <a:pt x="148" y="298"/>
                    </a:lnTo>
                    <a:lnTo>
                      <a:pt x="148" y="294"/>
                    </a:lnTo>
                    <a:lnTo>
                      <a:pt x="0" y="182"/>
                    </a:lnTo>
                    <a:lnTo>
                      <a:pt x="0" y="160"/>
                    </a:lnTo>
                    <a:lnTo>
                      <a:pt x="8" y="148"/>
                    </a:lnTo>
                    <a:lnTo>
                      <a:pt x="18" y="144"/>
                    </a:lnTo>
                    <a:lnTo>
                      <a:pt x="32" y="138"/>
                    </a:lnTo>
                    <a:lnTo>
                      <a:pt x="48" y="132"/>
                    </a:lnTo>
                    <a:lnTo>
                      <a:pt x="54" y="128"/>
                    </a:lnTo>
                    <a:lnTo>
                      <a:pt x="56" y="124"/>
                    </a:lnTo>
                    <a:lnTo>
                      <a:pt x="60" y="118"/>
                    </a:lnTo>
                    <a:lnTo>
                      <a:pt x="66" y="116"/>
                    </a:lnTo>
                    <a:lnTo>
                      <a:pt x="70" y="114"/>
                    </a:lnTo>
                    <a:lnTo>
                      <a:pt x="72" y="112"/>
                    </a:lnTo>
                    <a:lnTo>
                      <a:pt x="72" y="110"/>
                    </a:lnTo>
                    <a:lnTo>
                      <a:pt x="72" y="102"/>
                    </a:lnTo>
                    <a:lnTo>
                      <a:pt x="80" y="100"/>
                    </a:lnTo>
                    <a:lnTo>
                      <a:pt x="84" y="96"/>
                    </a:lnTo>
                    <a:lnTo>
                      <a:pt x="90" y="92"/>
                    </a:lnTo>
                    <a:lnTo>
                      <a:pt x="96" y="92"/>
                    </a:lnTo>
                    <a:lnTo>
                      <a:pt x="106" y="92"/>
                    </a:lnTo>
                    <a:lnTo>
                      <a:pt x="110" y="92"/>
                    </a:lnTo>
                    <a:lnTo>
                      <a:pt x="112" y="90"/>
                    </a:lnTo>
                    <a:lnTo>
                      <a:pt x="112" y="86"/>
                    </a:lnTo>
                    <a:lnTo>
                      <a:pt x="104" y="60"/>
                    </a:lnTo>
                    <a:lnTo>
                      <a:pt x="96" y="36"/>
                    </a:lnTo>
                    <a:lnTo>
                      <a:pt x="98" y="3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3" name="Freeform 85"/>
              <p:cNvSpPr>
                <a:spLocks noChangeAspect="1"/>
              </p:cNvSpPr>
              <p:nvPr/>
            </p:nvSpPr>
            <p:spPr bwMode="auto">
              <a:xfrm>
                <a:off x="3320553" y="3858249"/>
                <a:ext cx="252669" cy="183683"/>
              </a:xfrm>
              <a:custGeom>
                <a:avLst/>
                <a:gdLst/>
                <a:ahLst/>
                <a:cxnLst>
                  <a:cxn ang="0">
                    <a:pos x="68" y="152"/>
                  </a:cxn>
                  <a:cxn ang="0">
                    <a:pos x="68" y="136"/>
                  </a:cxn>
                  <a:cxn ang="0">
                    <a:pos x="76" y="124"/>
                  </a:cxn>
                  <a:cxn ang="0">
                    <a:pos x="86" y="120"/>
                  </a:cxn>
                  <a:cxn ang="0">
                    <a:pos x="100" y="114"/>
                  </a:cxn>
                  <a:cxn ang="0">
                    <a:pos x="116" y="108"/>
                  </a:cxn>
                  <a:cxn ang="0">
                    <a:pos x="122" y="104"/>
                  </a:cxn>
                  <a:cxn ang="0">
                    <a:pos x="124" y="100"/>
                  </a:cxn>
                  <a:cxn ang="0">
                    <a:pos x="128" y="94"/>
                  </a:cxn>
                  <a:cxn ang="0">
                    <a:pos x="134" y="92"/>
                  </a:cxn>
                  <a:cxn ang="0">
                    <a:pos x="138" y="90"/>
                  </a:cxn>
                  <a:cxn ang="0">
                    <a:pos x="140" y="88"/>
                  </a:cxn>
                  <a:cxn ang="0">
                    <a:pos x="140" y="86"/>
                  </a:cxn>
                  <a:cxn ang="0">
                    <a:pos x="140" y="78"/>
                  </a:cxn>
                  <a:cxn ang="0">
                    <a:pos x="148" y="76"/>
                  </a:cxn>
                  <a:cxn ang="0">
                    <a:pos x="152" y="72"/>
                  </a:cxn>
                  <a:cxn ang="0">
                    <a:pos x="158" y="68"/>
                  </a:cxn>
                  <a:cxn ang="0">
                    <a:pos x="164" y="68"/>
                  </a:cxn>
                  <a:cxn ang="0">
                    <a:pos x="174" y="68"/>
                  </a:cxn>
                  <a:cxn ang="0">
                    <a:pos x="178" y="68"/>
                  </a:cxn>
                  <a:cxn ang="0">
                    <a:pos x="180" y="66"/>
                  </a:cxn>
                  <a:cxn ang="0">
                    <a:pos x="180" y="62"/>
                  </a:cxn>
                  <a:cxn ang="0">
                    <a:pos x="172" y="36"/>
                  </a:cxn>
                  <a:cxn ang="0">
                    <a:pos x="164" y="12"/>
                  </a:cxn>
                  <a:cxn ang="0">
                    <a:pos x="166" y="12"/>
                  </a:cxn>
                  <a:cxn ang="0">
                    <a:pos x="148" y="14"/>
                  </a:cxn>
                  <a:cxn ang="0">
                    <a:pos x="136" y="12"/>
                  </a:cxn>
                  <a:cxn ang="0">
                    <a:pos x="126" y="10"/>
                  </a:cxn>
                  <a:cxn ang="0">
                    <a:pos x="124" y="8"/>
                  </a:cxn>
                  <a:cxn ang="0">
                    <a:pos x="124" y="4"/>
                  </a:cxn>
                  <a:cxn ang="0">
                    <a:pos x="122" y="2"/>
                  </a:cxn>
                  <a:cxn ang="0">
                    <a:pos x="118" y="0"/>
                  </a:cxn>
                  <a:cxn ang="0">
                    <a:pos x="114" y="2"/>
                  </a:cxn>
                  <a:cxn ang="0">
                    <a:pos x="110" y="4"/>
                  </a:cxn>
                  <a:cxn ang="0">
                    <a:pos x="106" y="14"/>
                  </a:cxn>
                  <a:cxn ang="0">
                    <a:pos x="102" y="26"/>
                  </a:cxn>
                  <a:cxn ang="0">
                    <a:pos x="98" y="32"/>
                  </a:cxn>
                  <a:cxn ang="0">
                    <a:pos x="92" y="40"/>
                  </a:cxn>
                  <a:cxn ang="0">
                    <a:pos x="82" y="44"/>
                  </a:cxn>
                  <a:cxn ang="0">
                    <a:pos x="74" y="52"/>
                  </a:cxn>
                  <a:cxn ang="0">
                    <a:pos x="66" y="58"/>
                  </a:cxn>
                  <a:cxn ang="0">
                    <a:pos x="62" y="64"/>
                  </a:cxn>
                  <a:cxn ang="0">
                    <a:pos x="60" y="70"/>
                  </a:cxn>
                  <a:cxn ang="0">
                    <a:pos x="60" y="82"/>
                  </a:cxn>
                  <a:cxn ang="0">
                    <a:pos x="58" y="94"/>
                  </a:cxn>
                  <a:cxn ang="0">
                    <a:pos x="54" y="108"/>
                  </a:cxn>
                  <a:cxn ang="0">
                    <a:pos x="50" y="114"/>
                  </a:cxn>
                  <a:cxn ang="0">
                    <a:pos x="44" y="118"/>
                  </a:cxn>
                  <a:cxn ang="0">
                    <a:pos x="32" y="130"/>
                  </a:cxn>
                  <a:cxn ang="0">
                    <a:pos x="24" y="136"/>
                  </a:cxn>
                  <a:cxn ang="0">
                    <a:pos x="18" y="140"/>
                  </a:cxn>
                  <a:cxn ang="0">
                    <a:pos x="12" y="142"/>
                  </a:cxn>
                  <a:cxn ang="0">
                    <a:pos x="4" y="146"/>
                  </a:cxn>
                  <a:cxn ang="0">
                    <a:pos x="0" y="154"/>
                  </a:cxn>
                  <a:cxn ang="0">
                    <a:pos x="68" y="152"/>
                  </a:cxn>
                </a:cxnLst>
                <a:rect l="0" t="0" r="r" b="b"/>
                <a:pathLst>
                  <a:path w="180" h="154">
                    <a:moveTo>
                      <a:pt x="68" y="152"/>
                    </a:moveTo>
                    <a:lnTo>
                      <a:pt x="68" y="136"/>
                    </a:lnTo>
                    <a:lnTo>
                      <a:pt x="76" y="124"/>
                    </a:lnTo>
                    <a:lnTo>
                      <a:pt x="86" y="120"/>
                    </a:lnTo>
                    <a:lnTo>
                      <a:pt x="100" y="114"/>
                    </a:lnTo>
                    <a:lnTo>
                      <a:pt x="116" y="108"/>
                    </a:lnTo>
                    <a:lnTo>
                      <a:pt x="122" y="104"/>
                    </a:lnTo>
                    <a:lnTo>
                      <a:pt x="124" y="100"/>
                    </a:lnTo>
                    <a:lnTo>
                      <a:pt x="128" y="94"/>
                    </a:lnTo>
                    <a:lnTo>
                      <a:pt x="134" y="92"/>
                    </a:lnTo>
                    <a:lnTo>
                      <a:pt x="138" y="90"/>
                    </a:lnTo>
                    <a:lnTo>
                      <a:pt x="140" y="88"/>
                    </a:lnTo>
                    <a:lnTo>
                      <a:pt x="140" y="86"/>
                    </a:lnTo>
                    <a:lnTo>
                      <a:pt x="140" y="78"/>
                    </a:lnTo>
                    <a:lnTo>
                      <a:pt x="148" y="76"/>
                    </a:lnTo>
                    <a:lnTo>
                      <a:pt x="152" y="72"/>
                    </a:lnTo>
                    <a:lnTo>
                      <a:pt x="158" y="68"/>
                    </a:lnTo>
                    <a:lnTo>
                      <a:pt x="164" y="68"/>
                    </a:lnTo>
                    <a:lnTo>
                      <a:pt x="174" y="68"/>
                    </a:lnTo>
                    <a:lnTo>
                      <a:pt x="178" y="68"/>
                    </a:lnTo>
                    <a:lnTo>
                      <a:pt x="180" y="66"/>
                    </a:lnTo>
                    <a:lnTo>
                      <a:pt x="180" y="62"/>
                    </a:lnTo>
                    <a:lnTo>
                      <a:pt x="172" y="36"/>
                    </a:lnTo>
                    <a:lnTo>
                      <a:pt x="164" y="12"/>
                    </a:lnTo>
                    <a:lnTo>
                      <a:pt x="166" y="12"/>
                    </a:lnTo>
                    <a:lnTo>
                      <a:pt x="148" y="14"/>
                    </a:lnTo>
                    <a:lnTo>
                      <a:pt x="136" y="12"/>
                    </a:lnTo>
                    <a:lnTo>
                      <a:pt x="126" y="10"/>
                    </a:lnTo>
                    <a:lnTo>
                      <a:pt x="124" y="8"/>
                    </a:lnTo>
                    <a:lnTo>
                      <a:pt x="124" y="4"/>
                    </a:lnTo>
                    <a:lnTo>
                      <a:pt x="122" y="2"/>
                    </a:lnTo>
                    <a:lnTo>
                      <a:pt x="118" y="0"/>
                    </a:lnTo>
                    <a:lnTo>
                      <a:pt x="114" y="2"/>
                    </a:lnTo>
                    <a:lnTo>
                      <a:pt x="110" y="4"/>
                    </a:lnTo>
                    <a:lnTo>
                      <a:pt x="106" y="14"/>
                    </a:lnTo>
                    <a:lnTo>
                      <a:pt x="102" y="26"/>
                    </a:lnTo>
                    <a:lnTo>
                      <a:pt x="98" y="32"/>
                    </a:lnTo>
                    <a:lnTo>
                      <a:pt x="92" y="40"/>
                    </a:lnTo>
                    <a:lnTo>
                      <a:pt x="82" y="44"/>
                    </a:lnTo>
                    <a:lnTo>
                      <a:pt x="74" y="52"/>
                    </a:lnTo>
                    <a:lnTo>
                      <a:pt x="66" y="58"/>
                    </a:lnTo>
                    <a:lnTo>
                      <a:pt x="62" y="64"/>
                    </a:lnTo>
                    <a:lnTo>
                      <a:pt x="60" y="70"/>
                    </a:lnTo>
                    <a:lnTo>
                      <a:pt x="60" y="82"/>
                    </a:lnTo>
                    <a:lnTo>
                      <a:pt x="58" y="94"/>
                    </a:lnTo>
                    <a:lnTo>
                      <a:pt x="54" y="108"/>
                    </a:lnTo>
                    <a:lnTo>
                      <a:pt x="50" y="114"/>
                    </a:lnTo>
                    <a:lnTo>
                      <a:pt x="44" y="118"/>
                    </a:lnTo>
                    <a:lnTo>
                      <a:pt x="32" y="130"/>
                    </a:lnTo>
                    <a:lnTo>
                      <a:pt x="24" y="136"/>
                    </a:lnTo>
                    <a:lnTo>
                      <a:pt x="18" y="140"/>
                    </a:lnTo>
                    <a:lnTo>
                      <a:pt x="12" y="142"/>
                    </a:lnTo>
                    <a:lnTo>
                      <a:pt x="4" y="146"/>
                    </a:lnTo>
                    <a:lnTo>
                      <a:pt x="0" y="154"/>
                    </a:lnTo>
                    <a:lnTo>
                      <a:pt x="68" y="15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4" name="Freeform 86"/>
              <p:cNvSpPr>
                <a:spLocks noChangeAspect="1"/>
              </p:cNvSpPr>
              <p:nvPr/>
            </p:nvSpPr>
            <p:spPr bwMode="auto">
              <a:xfrm>
                <a:off x="3238130" y="4038352"/>
                <a:ext cx="177004" cy="137166"/>
              </a:xfrm>
              <a:custGeom>
                <a:avLst/>
                <a:gdLst/>
                <a:ahLst/>
                <a:cxnLst>
                  <a:cxn ang="0">
                    <a:pos x="126" y="0"/>
                  </a:cxn>
                  <a:cxn ang="0">
                    <a:pos x="126" y="32"/>
                  </a:cxn>
                  <a:cxn ang="0">
                    <a:pos x="76" y="32"/>
                  </a:cxn>
                  <a:cxn ang="0">
                    <a:pos x="76" y="78"/>
                  </a:cxn>
                  <a:cxn ang="0">
                    <a:pos x="66" y="82"/>
                  </a:cxn>
                  <a:cxn ang="0">
                    <a:pos x="58" y="90"/>
                  </a:cxn>
                  <a:cxn ang="0">
                    <a:pos x="56" y="116"/>
                  </a:cxn>
                  <a:cxn ang="0">
                    <a:pos x="0" y="116"/>
                  </a:cxn>
                  <a:cxn ang="0">
                    <a:pos x="0" y="108"/>
                  </a:cxn>
                  <a:cxn ang="0">
                    <a:pos x="2" y="100"/>
                  </a:cxn>
                  <a:cxn ang="0">
                    <a:pos x="10" y="88"/>
                  </a:cxn>
                  <a:cxn ang="0">
                    <a:pos x="20" y="74"/>
                  </a:cxn>
                  <a:cxn ang="0">
                    <a:pos x="24" y="66"/>
                  </a:cxn>
                  <a:cxn ang="0">
                    <a:pos x="38" y="42"/>
                  </a:cxn>
                  <a:cxn ang="0">
                    <a:pos x="50" y="20"/>
                  </a:cxn>
                  <a:cxn ang="0">
                    <a:pos x="56" y="12"/>
                  </a:cxn>
                  <a:cxn ang="0">
                    <a:pos x="60" y="2"/>
                  </a:cxn>
                  <a:cxn ang="0">
                    <a:pos x="126" y="0"/>
                  </a:cxn>
                </a:cxnLst>
                <a:rect l="0" t="0" r="r" b="b"/>
                <a:pathLst>
                  <a:path w="126" h="116">
                    <a:moveTo>
                      <a:pt x="126" y="0"/>
                    </a:moveTo>
                    <a:lnTo>
                      <a:pt x="126" y="32"/>
                    </a:lnTo>
                    <a:lnTo>
                      <a:pt x="76" y="32"/>
                    </a:lnTo>
                    <a:lnTo>
                      <a:pt x="76" y="78"/>
                    </a:lnTo>
                    <a:lnTo>
                      <a:pt x="66" y="82"/>
                    </a:lnTo>
                    <a:lnTo>
                      <a:pt x="58" y="90"/>
                    </a:lnTo>
                    <a:lnTo>
                      <a:pt x="56" y="116"/>
                    </a:lnTo>
                    <a:lnTo>
                      <a:pt x="0" y="116"/>
                    </a:lnTo>
                    <a:lnTo>
                      <a:pt x="0" y="108"/>
                    </a:lnTo>
                    <a:lnTo>
                      <a:pt x="2" y="100"/>
                    </a:lnTo>
                    <a:lnTo>
                      <a:pt x="10" y="88"/>
                    </a:lnTo>
                    <a:lnTo>
                      <a:pt x="20" y="74"/>
                    </a:lnTo>
                    <a:lnTo>
                      <a:pt x="24" y="66"/>
                    </a:lnTo>
                    <a:lnTo>
                      <a:pt x="38" y="42"/>
                    </a:lnTo>
                    <a:lnTo>
                      <a:pt x="50" y="20"/>
                    </a:lnTo>
                    <a:lnTo>
                      <a:pt x="56" y="12"/>
                    </a:lnTo>
                    <a:lnTo>
                      <a:pt x="60" y="2"/>
                    </a:lnTo>
                    <a:lnTo>
                      <a:pt x="126"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5" name="Freeform 87"/>
              <p:cNvSpPr>
                <a:spLocks noChangeAspect="1"/>
              </p:cNvSpPr>
              <p:nvPr/>
            </p:nvSpPr>
            <p:spPr bwMode="auto">
              <a:xfrm>
                <a:off x="3238131" y="4038352"/>
                <a:ext cx="259425" cy="280296"/>
              </a:xfrm>
              <a:custGeom>
                <a:avLst/>
                <a:gdLst/>
                <a:ahLst/>
                <a:cxnLst>
                  <a:cxn ang="0">
                    <a:pos x="128" y="0"/>
                  </a:cxn>
                  <a:cxn ang="0">
                    <a:pos x="126" y="0"/>
                  </a:cxn>
                  <a:cxn ang="0">
                    <a:pos x="126" y="32"/>
                  </a:cxn>
                  <a:cxn ang="0">
                    <a:pos x="76" y="32"/>
                  </a:cxn>
                  <a:cxn ang="0">
                    <a:pos x="76" y="78"/>
                  </a:cxn>
                  <a:cxn ang="0">
                    <a:pos x="66" y="82"/>
                  </a:cxn>
                  <a:cxn ang="0">
                    <a:pos x="58" y="90"/>
                  </a:cxn>
                  <a:cxn ang="0">
                    <a:pos x="56" y="116"/>
                  </a:cxn>
                  <a:cxn ang="0">
                    <a:pos x="0" y="116"/>
                  </a:cxn>
                  <a:cxn ang="0">
                    <a:pos x="2" y="124"/>
                  </a:cxn>
                  <a:cxn ang="0">
                    <a:pos x="6" y="128"/>
                  </a:cxn>
                  <a:cxn ang="0">
                    <a:pos x="10" y="134"/>
                  </a:cxn>
                  <a:cxn ang="0">
                    <a:pos x="12" y="138"/>
                  </a:cxn>
                  <a:cxn ang="0">
                    <a:pos x="10" y="142"/>
                  </a:cxn>
                  <a:cxn ang="0">
                    <a:pos x="8" y="146"/>
                  </a:cxn>
                  <a:cxn ang="0">
                    <a:pos x="6" y="150"/>
                  </a:cxn>
                  <a:cxn ang="0">
                    <a:pos x="6" y="152"/>
                  </a:cxn>
                  <a:cxn ang="0">
                    <a:pos x="6" y="156"/>
                  </a:cxn>
                  <a:cxn ang="0">
                    <a:pos x="10" y="158"/>
                  </a:cxn>
                  <a:cxn ang="0">
                    <a:pos x="14" y="166"/>
                  </a:cxn>
                  <a:cxn ang="0">
                    <a:pos x="12" y="166"/>
                  </a:cxn>
                  <a:cxn ang="0">
                    <a:pos x="14" y="176"/>
                  </a:cxn>
                  <a:cxn ang="0">
                    <a:pos x="12" y="186"/>
                  </a:cxn>
                  <a:cxn ang="0">
                    <a:pos x="10" y="196"/>
                  </a:cxn>
                  <a:cxn ang="0">
                    <a:pos x="6" y="206"/>
                  </a:cxn>
                  <a:cxn ang="0">
                    <a:pos x="10" y="206"/>
                  </a:cxn>
                  <a:cxn ang="0">
                    <a:pos x="12" y="206"/>
                  </a:cxn>
                  <a:cxn ang="0">
                    <a:pos x="16" y="206"/>
                  </a:cxn>
                  <a:cxn ang="0">
                    <a:pos x="18" y="204"/>
                  </a:cxn>
                  <a:cxn ang="0">
                    <a:pos x="22" y="202"/>
                  </a:cxn>
                  <a:cxn ang="0">
                    <a:pos x="26" y="202"/>
                  </a:cxn>
                  <a:cxn ang="0">
                    <a:pos x="34" y="204"/>
                  </a:cxn>
                  <a:cxn ang="0">
                    <a:pos x="42" y="208"/>
                  </a:cxn>
                  <a:cxn ang="0">
                    <a:pos x="48" y="210"/>
                  </a:cxn>
                  <a:cxn ang="0">
                    <a:pos x="50" y="216"/>
                  </a:cxn>
                  <a:cxn ang="0">
                    <a:pos x="60" y="230"/>
                  </a:cxn>
                  <a:cxn ang="0">
                    <a:pos x="64" y="234"/>
                  </a:cxn>
                  <a:cxn ang="0">
                    <a:pos x="70" y="238"/>
                  </a:cxn>
                  <a:cxn ang="0">
                    <a:pos x="76" y="228"/>
                  </a:cxn>
                  <a:cxn ang="0">
                    <a:pos x="78" y="222"/>
                  </a:cxn>
                  <a:cxn ang="0">
                    <a:pos x="82" y="222"/>
                  </a:cxn>
                  <a:cxn ang="0">
                    <a:pos x="88" y="220"/>
                  </a:cxn>
                  <a:cxn ang="0">
                    <a:pos x="86" y="226"/>
                  </a:cxn>
                  <a:cxn ang="0">
                    <a:pos x="88" y="230"/>
                  </a:cxn>
                  <a:cxn ang="0">
                    <a:pos x="92" y="224"/>
                  </a:cxn>
                  <a:cxn ang="0">
                    <a:pos x="94" y="224"/>
                  </a:cxn>
                  <a:cxn ang="0">
                    <a:pos x="96" y="222"/>
                  </a:cxn>
                  <a:cxn ang="0">
                    <a:pos x="98" y="224"/>
                  </a:cxn>
                  <a:cxn ang="0">
                    <a:pos x="100" y="226"/>
                  </a:cxn>
                  <a:cxn ang="0">
                    <a:pos x="102" y="228"/>
                  </a:cxn>
                  <a:cxn ang="0">
                    <a:pos x="106" y="226"/>
                  </a:cxn>
                  <a:cxn ang="0">
                    <a:pos x="110" y="224"/>
                  </a:cxn>
                  <a:cxn ang="0">
                    <a:pos x="172" y="224"/>
                  </a:cxn>
                  <a:cxn ang="0">
                    <a:pos x="174" y="216"/>
                  </a:cxn>
                  <a:cxn ang="0">
                    <a:pos x="176" y="208"/>
                  </a:cxn>
                  <a:cxn ang="0">
                    <a:pos x="172" y="208"/>
                  </a:cxn>
                  <a:cxn ang="0">
                    <a:pos x="170" y="206"/>
                  </a:cxn>
                  <a:cxn ang="0">
                    <a:pos x="158" y="50"/>
                  </a:cxn>
                  <a:cxn ang="0">
                    <a:pos x="186" y="50"/>
                  </a:cxn>
                  <a:cxn ang="0">
                    <a:pos x="128" y="6"/>
                  </a:cxn>
                  <a:cxn ang="0">
                    <a:pos x="128" y="0"/>
                  </a:cxn>
                </a:cxnLst>
                <a:rect l="0" t="0" r="r" b="b"/>
                <a:pathLst>
                  <a:path w="186" h="238">
                    <a:moveTo>
                      <a:pt x="128" y="0"/>
                    </a:moveTo>
                    <a:lnTo>
                      <a:pt x="126" y="0"/>
                    </a:lnTo>
                    <a:lnTo>
                      <a:pt x="126" y="32"/>
                    </a:lnTo>
                    <a:lnTo>
                      <a:pt x="76" y="32"/>
                    </a:lnTo>
                    <a:lnTo>
                      <a:pt x="76" y="78"/>
                    </a:lnTo>
                    <a:lnTo>
                      <a:pt x="66" y="82"/>
                    </a:lnTo>
                    <a:lnTo>
                      <a:pt x="58" y="90"/>
                    </a:lnTo>
                    <a:lnTo>
                      <a:pt x="56" y="116"/>
                    </a:lnTo>
                    <a:lnTo>
                      <a:pt x="0" y="116"/>
                    </a:lnTo>
                    <a:lnTo>
                      <a:pt x="2" y="124"/>
                    </a:lnTo>
                    <a:lnTo>
                      <a:pt x="6" y="128"/>
                    </a:lnTo>
                    <a:lnTo>
                      <a:pt x="10" y="134"/>
                    </a:lnTo>
                    <a:lnTo>
                      <a:pt x="12" y="138"/>
                    </a:lnTo>
                    <a:lnTo>
                      <a:pt x="10" y="142"/>
                    </a:lnTo>
                    <a:lnTo>
                      <a:pt x="8" y="146"/>
                    </a:lnTo>
                    <a:lnTo>
                      <a:pt x="6" y="150"/>
                    </a:lnTo>
                    <a:lnTo>
                      <a:pt x="6" y="152"/>
                    </a:lnTo>
                    <a:lnTo>
                      <a:pt x="6" y="156"/>
                    </a:lnTo>
                    <a:lnTo>
                      <a:pt x="10" y="158"/>
                    </a:lnTo>
                    <a:lnTo>
                      <a:pt x="14" y="166"/>
                    </a:lnTo>
                    <a:lnTo>
                      <a:pt x="12" y="166"/>
                    </a:lnTo>
                    <a:lnTo>
                      <a:pt x="14" y="176"/>
                    </a:lnTo>
                    <a:lnTo>
                      <a:pt x="12" y="186"/>
                    </a:lnTo>
                    <a:lnTo>
                      <a:pt x="10" y="196"/>
                    </a:lnTo>
                    <a:lnTo>
                      <a:pt x="6" y="206"/>
                    </a:lnTo>
                    <a:lnTo>
                      <a:pt x="10" y="206"/>
                    </a:lnTo>
                    <a:lnTo>
                      <a:pt x="12" y="206"/>
                    </a:lnTo>
                    <a:lnTo>
                      <a:pt x="16" y="206"/>
                    </a:lnTo>
                    <a:lnTo>
                      <a:pt x="18" y="204"/>
                    </a:lnTo>
                    <a:lnTo>
                      <a:pt x="22" y="202"/>
                    </a:lnTo>
                    <a:lnTo>
                      <a:pt x="26" y="202"/>
                    </a:lnTo>
                    <a:lnTo>
                      <a:pt x="34" y="204"/>
                    </a:lnTo>
                    <a:lnTo>
                      <a:pt x="42" y="208"/>
                    </a:lnTo>
                    <a:lnTo>
                      <a:pt x="48" y="210"/>
                    </a:lnTo>
                    <a:lnTo>
                      <a:pt x="50" y="216"/>
                    </a:lnTo>
                    <a:lnTo>
                      <a:pt x="60" y="230"/>
                    </a:lnTo>
                    <a:lnTo>
                      <a:pt x="64" y="234"/>
                    </a:lnTo>
                    <a:lnTo>
                      <a:pt x="70" y="238"/>
                    </a:lnTo>
                    <a:lnTo>
                      <a:pt x="76" y="228"/>
                    </a:lnTo>
                    <a:lnTo>
                      <a:pt x="78" y="222"/>
                    </a:lnTo>
                    <a:lnTo>
                      <a:pt x="82" y="222"/>
                    </a:lnTo>
                    <a:lnTo>
                      <a:pt x="88" y="220"/>
                    </a:lnTo>
                    <a:lnTo>
                      <a:pt x="86" y="226"/>
                    </a:lnTo>
                    <a:lnTo>
                      <a:pt x="88" y="230"/>
                    </a:lnTo>
                    <a:lnTo>
                      <a:pt x="92" y="224"/>
                    </a:lnTo>
                    <a:lnTo>
                      <a:pt x="94" y="224"/>
                    </a:lnTo>
                    <a:lnTo>
                      <a:pt x="96" y="222"/>
                    </a:lnTo>
                    <a:lnTo>
                      <a:pt x="98" y="224"/>
                    </a:lnTo>
                    <a:lnTo>
                      <a:pt x="100" y="226"/>
                    </a:lnTo>
                    <a:lnTo>
                      <a:pt x="102" y="228"/>
                    </a:lnTo>
                    <a:lnTo>
                      <a:pt x="106" y="226"/>
                    </a:lnTo>
                    <a:lnTo>
                      <a:pt x="110" y="224"/>
                    </a:lnTo>
                    <a:lnTo>
                      <a:pt x="172" y="224"/>
                    </a:lnTo>
                    <a:lnTo>
                      <a:pt x="174" y="216"/>
                    </a:lnTo>
                    <a:lnTo>
                      <a:pt x="176" y="208"/>
                    </a:lnTo>
                    <a:lnTo>
                      <a:pt x="172" y="208"/>
                    </a:lnTo>
                    <a:lnTo>
                      <a:pt x="170" y="206"/>
                    </a:lnTo>
                    <a:lnTo>
                      <a:pt x="158" y="50"/>
                    </a:lnTo>
                    <a:lnTo>
                      <a:pt x="186" y="50"/>
                    </a:lnTo>
                    <a:lnTo>
                      <a:pt x="128" y="6"/>
                    </a:lnTo>
                    <a:lnTo>
                      <a:pt x="128"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6" name="Freeform 88"/>
              <p:cNvSpPr>
                <a:spLocks noChangeAspect="1"/>
              </p:cNvSpPr>
              <p:nvPr/>
            </p:nvSpPr>
            <p:spPr bwMode="auto">
              <a:xfrm>
                <a:off x="3332712" y="4097991"/>
                <a:ext cx="359412" cy="320849"/>
              </a:xfrm>
              <a:custGeom>
                <a:avLst/>
                <a:gdLst/>
                <a:ahLst/>
                <a:cxnLst>
                  <a:cxn ang="0">
                    <a:pos x="8" y="178"/>
                  </a:cxn>
                  <a:cxn ang="0">
                    <a:pos x="14" y="172"/>
                  </a:cxn>
                  <a:cxn ang="0">
                    <a:pos x="18" y="176"/>
                  </a:cxn>
                  <a:cxn ang="0">
                    <a:pos x="24" y="174"/>
                  </a:cxn>
                  <a:cxn ang="0">
                    <a:pos x="28" y="172"/>
                  </a:cxn>
                  <a:cxn ang="0">
                    <a:pos x="32" y="176"/>
                  </a:cxn>
                  <a:cxn ang="0">
                    <a:pos x="38" y="176"/>
                  </a:cxn>
                  <a:cxn ang="0">
                    <a:pos x="104" y="174"/>
                  </a:cxn>
                  <a:cxn ang="0">
                    <a:pos x="108" y="158"/>
                  </a:cxn>
                  <a:cxn ang="0">
                    <a:pos x="102" y="156"/>
                  </a:cxn>
                  <a:cxn ang="0">
                    <a:pos x="118" y="0"/>
                  </a:cxn>
                  <a:cxn ang="0">
                    <a:pos x="208" y="72"/>
                  </a:cxn>
                  <a:cxn ang="0">
                    <a:pos x="220" y="84"/>
                  </a:cxn>
                  <a:cxn ang="0">
                    <a:pos x="242" y="92"/>
                  </a:cxn>
                  <a:cxn ang="0">
                    <a:pos x="256" y="104"/>
                  </a:cxn>
                  <a:cxn ang="0">
                    <a:pos x="252" y="162"/>
                  </a:cxn>
                  <a:cxn ang="0">
                    <a:pos x="240" y="174"/>
                  </a:cxn>
                  <a:cxn ang="0">
                    <a:pos x="218" y="176"/>
                  </a:cxn>
                  <a:cxn ang="0">
                    <a:pos x="186" y="184"/>
                  </a:cxn>
                  <a:cxn ang="0">
                    <a:pos x="146" y="198"/>
                  </a:cxn>
                  <a:cxn ang="0">
                    <a:pos x="142" y="206"/>
                  </a:cxn>
                  <a:cxn ang="0">
                    <a:pos x="136" y="212"/>
                  </a:cxn>
                  <a:cxn ang="0">
                    <a:pos x="124" y="212"/>
                  </a:cxn>
                  <a:cxn ang="0">
                    <a:pos x="124" y="228"/>
                  </a:cxn>
                  <a:cxn ang="0">
                    <a:pos x="116" y="236"/>
                  </a:cxn>
                  <a:cxn ang="0">
                    <a:pos x="108" y="244"/>
                  </a:cxn>
                  <a:cxn ang="0">
                    <a:pos x="106" y="256"/>
                  </a:cxn>
                  <a:cxn ang="0">
                    <a:pos x="100" y="266"/>
                  </a:cxn>
                  <a:cxn ang="0">
                    <a:pos x="90" y="264"/>
                  </a:cxn>
                  <a:cxn ang="0">
                    <a:pos x="76" y="268"/>
                  </a:cxn>
                  <a:cxn ang="0">
                    <a:pos x="64" y="268"/>
                  </a:cxn>
                  <a:cxn ang="0">
                    <a:pos x="58" y="252"/>
                  </a:cxn>
                  <a:cxn ang="0">
                    <a:pos x="50" y="234"/>
                  </a:cxn>
                  <a:cxn ang="0">
                    <a:pos x="42" y="234"/>
                  </a:cxn>
                  <a:cxn ang="0">
                    <a:pos x="34" y="236"/>
                  </a:cxn>
                  <a:cxn ang="0">
                    <a:pos x="10" y="232"/>
                  </a:cxn>
                  <a:cxn ang="0">
                    <a:pos x="10" y="218"/>
                  </a:cxn>
                  <a:cxn ang="0">
                    <a:pos x="4" y="200"/>
                  </a:cxn>
                  <a:cxn ang="0">
                    <a:pos x="2" y="186"/>
                  </a:cxn>
                </a:cxnLst>
                <a:rect l="0" t="0" r="r" b="b"/>
                <a:pathLst>
                  <a:path w="256" h="270">
                    <a:moveTo>
                      <a:pt x="2" y="188"/>
                    </a:moveTo>
                    <a:lnTo>
                      <a:pt x="8" y="178"/>
                    </a:lnTo>
                    <a:lnTo>
                      <a:pt x="10" y="172"/>
                    </a:lnTo>
                    <a:lnTo>
                      <a:pt x="14" y="172"/>
                    </a:lnTo>
                    <a:lnTo>
                      <a:pt x="20" y="170"/>
                    </a:lnTo>
                    <a:lnTo>
                      <a:pt x="18" y="176"/>
                    </a:lnTo>
                    <a:lnTo>
                      <a:pt x="20" y="180"/>
                    </a:lnTo>
                    <a:lnTo>
                      <a:pt x="24" y="174"/>
                    </a:lnTo>
                    <a:lnTo>
                      <a:pt x="26" y="174"/>
                    </a:lnTo>
                    <a:lnTo>
                      <a:pt x="28" y="172"/>
                    </a:lnTo>
                    <a:lnTo>
                      <a:pt x="30" y="174"/>
                    </a:lnTo>
                    <a:lnTo>
                      <a:pt x="32" y="176"/>
                    </a:lnTo>
                    <a:lnTo>
                      <a:pt x="34" y="178"/>
                    </a:lnTo>
                    <a:lnTo>
                      <a:pt x="38" y="176"/>
                    </a:lnTo>
                    <a:lnTo>
                      <a:pt x="42" y="174"/>
                    </a:lnTo>
                    <a:lnTo>
                      <a:pt x="104" y="174"/>
                    </a:lnTo>
                    <a:lnTo>
                      <a:pt x="106" y="166"/>
                    </a:lnTo>
                    <a:lnTo>
                      <a:pt x="108" y="158"/>
                    </a:lnTo>
                    <a:lnTo>
                      <a:pt x="104" y="158"/>
                    </a:lnTo>
                    <a:lnTo>
                      <a:pt x="102" y="156"/>
                    </a:lnTo>
                    <a:lnTo>
                      <a:pt x="90" y="0"/>
                    </a:lnTo>
                    <a:lnTo>
                      <a:pt x="118" y="0"/>
                    </a:lnTo>
                    <a:lnTo>
                      <a:pt x="208" y="68"/>
                    </a:lnTo>
                    <a:lnTo>
                      <a:pt x="208" y="72"/>
                    </a:lnTo>
                    <a:lnTo>
                      <a:pt x="212" y="76"/>
                    </a:lnTo>
                    <a:lnTo>
                      <a:pt x="220" y="84"/>
                    </a:lnTo>
                    <a:lnTo>
                      <a:pt x="230" y="88"/>
                    </a:lnTo>
                    <a:lnTo>
                      <a:pt x="242" y="92"/>
                    </a:lnTo>
                    <a:lnTo>
                      <a:pt x="242" y="106"/>
                    </a:lnTo>
                    <a:lnTo>
                      <a:pt x="256" y="104"/>
                    </a:lnTo>
                    <a:lnTo>
                      <a:pt x="256" y="154"/>
                    </a:lnTo>
                    <a:lnTo>
                      <a:pt x="252" y="162"/>
                    </a:lnTo>
                    <a:lnTo>
                      <a:pt x="248" y="170"/>
                    </a:lnTo>
                    <a:lnTo>
                      <a:pt x="240" y="174"/>
                    </a:lnTo>
                    <a:lnTo>
                      <a:pt x="230" y="176"/>
                    </a:lnTo>
                    <a:lnTo>
                      <a:pt x="218" y="176"/>
                    </a:lnTo>
                    <a:lnTo>
                      <a:pt x="206" y="178"/>
                    </a:lnTo>
                    <a:lnTo>
                      <a:pt x="186" y="184"/>
                    </a:lnTo>
                    <a:lnTo>
                      <a:pt x="150" y="196"/>
                    </a:lnTo>
                    <a:lnTo>
                      <a:pt x="146" y="198"/>
                    </a:lnTo>
                    <a:lnTo>
                      <a:pt x="144" y="200"/>
                    </a:lnTo>
                    <a:lnTo>
                      <a:pt x="142" y="206"/>
                    </a:lnTo>
                    <a:lnTo>
                      <a:pt x="138" y="212"/>
                    </a:lnTo>
                    <a:lnTo>
                      <a:pt x="136" y="212"/>
                    </a:lnTo>
                    <a:lnTo>
                      <a:pt x="132" y="212"/>
                    </a:lnTo>
                    <a:lnTo>
                      <a:pt x="124" y="212"/>
                    </a:lnTo>
                    <a:lnTo>
                      <a:pt x="124" y="222"/>
                    </a:lnTo>
                    <a:lnTo>
                      <a:pt x="124" y="228"/>
                    </a:lnTo>
                    <a:lnTo>
                      <a:pt x="122" y="232"/>
                    </a:lnTo>
                    <a:lnTo>
                      <a:pt x="116" y="236"/>
                    </a:lnTo>
                    <a:lnTo>
                      <a:pt x="110" y="240"/>
                    </a:lnTo>
                    <a:lnTo>
                      <a:pt x="108" y="244"/>
                    </a:lnTo>
                    <a:lnTo>
                      <a:pt x="108" y="248"/>
                    </a:lnTo>
                    <a:lnTo>
                      <a:pt x="106" y="256"/>
                    </a:lnTo>
                    <a:lnTo>
                      <a:pt x="104" y="264"/>
                    </a:lnTo>
                    <a:lnTo>
                      <a:pt x="100" y="266"/>
                    </a:lnTo>
                    <a:lnTo>
                      <a:pt x="94" y="270"/>
                    </a:lnTo>
                    <a:lnTo>
                      <a:pt x="90" y="264"/>
                    </a:lnTo>
                    <a:lnTo>
                      <a:pt x="82" y="266"/>
                    </a:lnTo>
                    <a:lnTo>
                      <a:pt x="76" y="268"/>
                    </a:lnTo>
                    <a:lnTo>
                      <a:pt x="70" y="270"/>
                    </a:lnTo>
                    <a:lnTo>
                      <a:pt x="64" y="268"/>
                    </a:lnTo>
                    <a:lnTo>
                      <a:pt x="62" y="266"/>
                    </a:lnTo>
                    <a:lnTo>
                      <a:pt x="58" y="252"/>
                    </a:lnTo>
                    <a:lnTo>
                      <a:pt x="54" y="240"/>
                    </a:lnTo>
                    <a:lnTo>
                      <a:pt x="50" y="234"/>
                    </a:lnTo>
                    <a:lnTo>
                      <a:pt x="44" y="232"/>
                    </a:lnTo>
                    <a:lnTo>
                      <a:pt x="42" y="234"/>
                    </a:lnTo>
                    <a:lnTo>
                      <a:pt x="40" y="236"/>
                    </a:lnTo>
                    <a:lnTo>
                      <a:pt x="34" y="236"/>
                    </a:lnTo>
                    <a:lnTo>
                      <a:pt x="20" y="234"/>
                    </a:lnTo>
                    <a:lnTo>
                      <a:pt x="10" y="232"/>
                    </a:lnTo>
                    <a:lnTo>
                      <a:pt x="10" y="224"/>
                    </a:lnTo>
                    <a:lnTo>
                      <a:pt x="10" y="218"/>
                    </a:lnTo>
                    <a:lnTo>
                      <a:pt x="8" y="210"/>
                    </a:lnTo>
                    <a:lnTo>
                      <a:pt x="4" y="200"/>
                    </a:lnTo>
                    <a:lnTo>
                      <a:pt x="0" y="186"/>
                    </a:lnTo>
                    <a:lnTo>
                      <a:pt x="2" y="186"/>
                    </a:lnTo>
                    <a:lnTo>
                      <a:pt x="2" y="18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7" name="Freeform 89"/>
              <p:cNvSpPr>
                <a:spLocks noChangeAspect="1"/>
              </p:cNvSpPr>
              <p:nvPr/>
            </p:nvSpPr>
            <p:spPr bwMode="auto">
              <a:xfrm>
                <a:off x="3604299" y="4127809"/>
                <a:ext cx="349953" cy="255248"/>
              </a:xfrm>
              <a:custGeom>
                <a:avLst/>
                <a:gdLst/>
                <a:ahLst/>
                <a:cxnLst>
                  <a:cxn ang="0">
                    <a:pos x="215" y="8"/>
                  </a:cxn>
                  <a:cxn ang="0">
                    <a:pos x="205" y="2"/>
                  </a:cxn>
                  <a:cxn ang="0">
                    <a:pos x="190" y="0"/>
                  </a:cxn>
                  <a:cxn ang="0">
                    <a:pos x="184" y="0"/>
                  </a:cxn>
                  <a:cxn ang="0">
                    <a:pos x="86" y="76"/>
                  </a:cxn>
                  <a:cxn ang="0">
                    <a:pos x="62" y="128"/>
                  </a:cxn>
                  <a:cxn ang="0">
                    <a:pos x="54" y="144"/>
                  </a:cxn>
                  <a:cxn ang="0">
                    <a:pos x="36" y="150"/>
                  </a:cxn>
                  <a:cxn ang="0">
                    <a:pos x="0" y="156"/>
                  </a:cxn>
                  <a:cxn ang="0">
                    <a:pos x="4" y="172"/>
                  </a:cxn>
                  <a:cxn ang="0">
                    <a:pos x="12" y="178"/>
                  </a:cxn>
                  <a:cxn ang="0">
                    <a:pos x="14" y="186"/>
                  </a:cxn>
                  <a:cxn ang="0">
                    <a:pos x="14" y="194"/>
                  </a:cxn>
                  <a:cxn ang="0">
                    <a:pos x="24" y="198"/>
                  </a:cxn>
                  <a:cxn ang="0">
                    <a:pos x="32" y="204"/>
                  </a:cxn>
                  <a:cxn ang="0">
                    <a:pos x="42" y="206"/>
                  </a:cxn>
                  <a:cxn ang="0">
                    <a:pos x="52" y="216"/>
                  </a:cxn>
                  <a:cxn ang="0">
                    <a:pos x="60" y="188"/>
                  </a:cxn>
                  <a:cxn ang="0">
                    <a:pos x="70" y="180"/>
                  </a:cxn>
                  <a:cxn ang="0">
                    <a:pos x="86" y="176"/>
                  </a:cxn>
                  <a:cxn ang="0">
                    <a:pos x="92" y="178"/>
                  </a:cxn>
                  <a:cxn ang="0">
                    <a:pos x="104" y="188"/>
                  </a:cxn>
                  <a:cxn ang="0">
                    <a:pos x="110" y="192"/>
                  </a:cxn>
                  <a:cxn ang="0">
                    <a:pos x="114" y="188"/>
                  </a:cxn>
                  <a:cxn ang="0">
                    <a:pos x="120" y="186"/>
                  </a:cxn>
                  <a:cxn ang="0">
                    <a:pos x="132" y="190"/>
                  </a:cxn>
                  <a:cxn ang="0">
                    <a:pos x="142" y="194"/>
                  </a:cxn>
                  <a:cxn ang="0">
                    <a:pos x="156" y="188"/>
                  </a:cxn>
                  <a:cxn ang="0">
                    <a:pos x="170" y="184"/>
                  </a:cxn>
                  <a:cxn ang="0">
                    <a:pos x="180" y="186"/>
                  </a:cxn>
                  <a:cxn ang="0">
                    <a:pos x="193" y="188"/>
                  </a:cxn>
                  <a:cxn ang="0">
                    <a:pos x="203" y="184"/>
                  </a:cxn>
                  <a:cxn ang="0">
                    <a:pos x="215" y="166"/>
                  </a:cxn>
                  <a:cxn ang="0">
                    <a:pos x="221" y="150"/>
                  </a:cxn>
                  <a:cxn ang="0">
                    <a:pos x="235" y="132"/>
                  </a:cxn>
                  <a:cxn ang="0">
                    <a:pos x="243" y="118"/>
                  </a:cxn>
                  <a:cxn ang="0">
                    <a:pos x="243" y="72"/>
                  </a:cxn>
                  <a:cxn ang="0">
                    <a:pos x="247" y="64"/>
                  </a:cxn>
                  <a:cxn ang="0">
                    <a:pos x="247" y="48"/>
                  </a:cxn>
                  <a:cxn ang="0">
                    <a:pos x="235" y="22"/>
                  </a:cxn>
                  <a:cxn ang="0">
                    <a:pos x="229" y="8"/>
                  </a:cxn>
                </a:cxnLst>
                <a:rect l="0" t="0" r="r" b="b"/>
                <a:pathLst>
                  <a:path w="249" h="216">
                    <a:moveTo>
                      <a:pt x="219" y="14"/>
                    </a:moveTo>
                    <a:lnTo>
                      <a:pt x="215" y="8"/>
                    </a:lnTo>
                    <a:lnTo>
                      <a:pt x="211" y="4"/>
                    </a:lnTo>
                    <a:lnTo>
                      <a:pt x="205" y="2"/>
                    </a:lnTo>
                    <a:lnTo>
                      <a:pt x="199" y="0"/>
                    </a:lnTo>
                    <a:lnTo>
                      <a:pt x="190" y="0"/>
                    </a:lnTo>
                    <a:lnTo>
                      <a:pt x="186" y="0"/>
                    </a:lnTo>
                    <a:lnTo>
                      <a:pt x="184" y="0"/>
                    </a:lnTo>
                    <a:lnTo>
                      <a:pt x="114" y="48"/>
                    </a:lnTo>
                    <a:lnTo>
                      <a:pt x="86" y="76"/>
                    </a:lnTo>
                    <a:lnTo>
                      <a:pt x="62" y="78"/>
                    </a:lnTo>
                    <a:lnTo>
                      <a:pt x="62" y="128"/>
                    </a:lnTo>
                    <a:lnTo>
                      <a:pt x="58" y="136"/>
                    </a:lnTo>
                    <a:lnTo>
                      <a:pt x="54" y="144"/>
                    </a:lnTo>
                    <a:lnTo>
                      <a:pt x="46" y="148"/>
                    </a:lnTo>
                    <a:lnTo>
                      <a:pt x="36" y="150"/>
                    </a:lnTo>
                    <a:lnTo>
                      <a:pt x="16" y="152"/>
                    </a:lnTo>
                    <a:lnTo>
                      <a:pt x="0" y="156"/>
                    </a:lnTo>
                    <a:lnTo>
                      <a:pt x="0" y="166"/>
                    </a:lnTo>
                    <a:lnTo>
                      <a:pt x="4" y="172"/>
                    </a:lnTo>
                    <a:lnTo>
                      <a:pt x="8" y="174"/>
                    </a:lnTo>
                    <a:lnTo>
                      <a:pt x="12" y="178"/>
                    </a:lnTo>
                    <a:lnTo>
                      <a:pt x="14" y="182"/>
                    </a:lnTo>
                    <a:lnTo>
                      <a:pt x="14" y="186"/>
                    </a:lnTo>
                    <a:lnTo>
                      <a:pt x="14" y="190"/>
                    </a:lnTo>
                    <a:lnTo>
                      <a:pt x="14" y="194"/>
                    </a:lnTo>
                    <a:lnTo>
                      <a:pt x="18" y="198"/>
                    </a:lnTo>
                    <a:lnTo>
                      <a:pt x="24" y="198"/>
                    </a:lnTo>
                    <a:lnTo>
                      <a:pt x="30" y="200"/>
                    </a:lnTo>
                    <a:lnTo>
                      <a:pt x="32" y="204"/>
                    </a:lnTo>
                    <a:lnTo>
                      <a:pt x="32" y="206"/>
                    </a:lnTo>
                    <a:lnTo>
                      <a:pt x="42" y="206"/>
                    </a:lnTo>
                    <a:lnTo>
                      <a:pt x="46" y="212"/>
                    </a:lnTo>
                    <a:lnTo>
                      <a:pt x="52" y="216"/>
                    </a:lnTo>
                    <a:lnTo>
                      <a:pt x="56" y="202"/>
                    </a:lnTo>
                    <a:lnTo>
                      <a:pt x="60" y="188"/>
                    </a:lnTo>
                    <a:lnTo>
                      <a:pt x="64" y="184"/>
                    </a:lnTo>
                    <a:lnTo>
                      <a:pt x="70" y="180"/>
                    </a:lnTo>
                    <a:lnTo>
                      <a:pt x="76" y="176"/>
                    </a:lnTo>
                    <a:lnTo>
                      <a:pt x="86" y="176"/>
                    </a:lnTo>
                    <a:lnTo>
                      <a:pt x="88" y="176"/>
                    </a:lnTo>
                    <a:lnTo>
                      <a:pt x="92" y="178"/>
                    </a:lnTo>
                    <a:lnTo>
                      <a:pt x="98" y="184"/>
                    </a:lnTo>
                    <a:lnTo>
                      <a:pt x="104" y="188"/>
                    </a:lnTo>
                    <a:lnTo>
                      <a:pt x="106" y="190"/>
                    </a:lnTo>
                    <a:lnTo>
                      <a:pt x="110" y="192"/>
                    </a:lnTo>
                    <a:lnTo>
                      <a:pt x="114" y="190"/>
                    </a:lnTo>
                    <a:lnTo>
                      <a:pt x="114" y="188"/>
                    </a:lnTo>
                    <a:lnTo>
                      <a:pt x="116" y="186"/>
                    </a:lnTo>
                    <a:lnTo>
                      <a:pt x="120" y="186"/>
                    </a:lnTo>
                    <a:lnTo>
                      <a:pt x="128" y="186"/>
                    </a:lnTo>
                    <a:lnTo>
                      <a:pt x="132" y="190"/>
                    </a:lnTo>
                    <a:lnTo>
                      <a:pt x="136" y="192"/>
                    </a:lnTo>
                    <a:lnTo>
                      <a:pt x="142" y="194"/>
                    </a:lnTo>
                    <a:lnTo>
                      <a:pt x="150" y="192"/>
                    </a:lnTo>
                    <a:lnTo>
                      <a:pt x="156" y="188"/>
                    </a:lnTo>
                    <a:lnTo>
                      <a:pt x="162" y="186"/>
                    </a:lnTo>
                    <a:lnTo>
                      <a:pt x="170" y="184"/>
                    </a:lnTo>
                    <a:lnTo>
                      <a:pt x="176" y="184"/>
                    </a:lnTo>
                    <a:lnTo>
                      <a:pt x="180" y="186"/>
                    </a:lnTo>
                    <a:lnTo>
                      <a:pt x="184" y="186"/>
                    </a:lnTo>
                    <a:lnTo>
                      <a:pt x="193" y="188"/>
                    </a:lnTo>
                    <a:lnTo>
                      <a:pt x="197" y="186"/>
                    </a:lnTo>
                    <a:lnTo>
                      <a:pt x="203" y="184"/>
                    </a:lnTo>
                    <a:lnTo>
                      <a:pt x="213" y="176"/>
                    </a:lnTo>
                    <a:lnTo>
                      <a:pt x="215" y="166"/>
                    </a:lnTo>
                    <a:lnTo>
                      <a:pt x="217" y="158"/>
                    </a:lnTo>
                    <a:lnTo>
                      <a:pt x="221" y="150"/>
                    </a:lnTo>
                    <a:lnTo>
                      <a:pt x="225" y="144"/>
                    </a:lnTo>
                    <a:lnTo>
                      <a:pt x="235" y="132"/>
                    </a:lnTo>
                    <a:lnTo>
                      <a:pt x="239" y="126"/>
                    </a:lnTo>
                    <a:lnTo>
                      <a:pt x="243" y="118"/>
                    </a:lnTo>
                    <a:lnTo>
                      <a:pt x="243" y="76"/>
                    </a:lnTo>
                    <a:lnTo>
                      <a:pt x="243" y="72"/>
                    </a:lnTo>
                    <a:lnTo>
                      <a:pt x="245" y="68"/>
                    </a:lnTo>
                    <a:lnTo>
                      <a:pt x="247" y="64"/>
                    </a:lnTo>
                    <a:lnTo>
                      <a:pt x="249" y="58"/>
                    </a:lnTo>
                    <a:lnTo>
                      <a:pt x="247" y="48"/>
                    </a:lnTo>
                    <a:lnTo>
                      <a:pt x="241" y="34"/>
                    </a:lnTo>
                    <a:lnTo>
                      <a:pt x="235" y="22"/>
                    </a:lnTo>
                    <a:lnTo>
                      <a:pt x="231" y="8"/>
                    </a:lnTo>
                    <a:lnTo>
                      <a:pt x="229" y="8"/>
                    </a:lnTo>
                    <a:lnTo>
                      <a:pt x="219" y="1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8" name="Freeform 90"/>
              <p:cNvSpPr>
                <a:spLocks noChangeAspect="1"/>
              </p:cNvSpPr>
              <p:nvPr/>
            </p:nvSpPr>
            <p:spPr bwMode="auto">
              <a:xfrm>
                <a:off x="3902907" y="4127810"/>
                <a:ext cx="235104" cy="347089"/>
              </a:xfrm>
              <a:custGeom>
                <a:avLst/>
                <a:gdLst/>
                <a:ahLst/>
                <a:cxnLst>
                  <a:cxn ang="0">
                    <a:pos x="168" y="138"/>
                  </a:cxn>
                  <a:cxn ang="0">
                    <a:pos x="152" y="144"/>
                  </a:cxn>
                  <a:cxn ang="0">
                    <a:pos x="146" y="158"/>
                  </a:cxn>
                  <a:cxn ang="0">
                    <a:pos x="140" y="172"/>
                  </a:cxn>
                  <a:cxn ang="0">
                    <a:pos x="138" y="194"/>
                  </a:cxn>
                  <a:cxn ang="0">
                    <a:pos x="134" y="202"/>
                  </a:cxn>
                  <a:cxn ang="0">
                    <a:pos x="144" y="206"/>
                  </a:cxn>
                  <a:cxn ang="0">
                    <a:pos x="148" y="216"/>
                  </a:cxn>
                  <a:cxn ang="0">
                    <a:pos x="152" y="228"/>
                  </a:cxn>
                  <a:cxn ang="0">
                    <a:pos x="142" y="228"/>
                  </a:cxn>
                  <a:cxn ang="0">
                    <a:pos x="130" y="238"/>
                  </a:cxn>
                  <a:cxn ang="0">
                    <a:pos x="122" y="256"/>
                  </a:cxn>
                  <a:cxn ang="0">
                    <a:pos x="118" y="260"/>
                  </a:cxn>
                  <a:cxn ang="0">
                    <a:pos x="90" y="264"/>
                  </a:cxn>
                  <a:cxn ang="0">
                    <a:pos x="86" y="276"/>
                  </a:cxn>
                  <a:cxn ang="0">
                    <a:pos x="76" y="284"/>
                  </a:cxn>
                  <a:cxn ang="0">
                    <a:pos x="52" y="290"/>
                  </a:cxn>
                  <a:cxn ang="0">
                    <a:pos x="46" y="286"/>
                  </a:cxn>
                  <a:cxn ang="0">
                    <a:pos x="38" y="292"/>
                  </a:cxn>
                  <a:cxn ang="0">
                    <a:pos x="36" y="292"/>
                  </a:cxn>
                  <a:cxn ang="0">
                    <a:pos x="30" y="274"/>
                  </a:cxn>
                  <a:cxn ang="0">
                    <a:pos x="12" y="256"/>
                  </a:cxn>
                  <a:cxn ang="0">
                    <a:pos x="10" y="250"/>
                  </a:cxn>
                  <a:cxn ang="0">
                    <a:pos x="18" y="246"/>
                  </a:cxn>
                  <a:cxn ang="0">
                    <a:pos x="28" y="240"/>
                  </a:cxn>
                  <a:cxn ang="0">
                    <a:pos x="26" y="230"/>
                  </a:cxn>
                  <a:cxn ang="0">
                    <a:pos x="26" y="206"/>
                  </a:cxn>
                  <a:cxn ang="0">
                    <a:pos x="16" y="192"/>
                  </a:cxn>
                  <a:cxn ang="0">
                    <a:pos x="10" y="188"/>
                  </a:cxn>
                  <a:cxn ang="0">
                    <a:pos x="4" y="182"/>
                  </a:cxn>
                  <a:cxn ang="0">
                    <a:pos x="2" y="166"/>
                  </a:cxn>
                  <a:cxn ang="0">
                    <a:pos x="8" y="150"/>
                  </a:cxn>
                  <a:cxn ang="0">
                    <a:pos x="22" y="132"/>
                  </a:cxn>
                  <a:cxn ang="0">
                    <a:pos x="30" y="118"/>
                  </a:cxn>
                  <a:cxn ang="0">
                    <a:pos x="30" y="72"/>
                  </a:cxn>
                  <a:cxn ang="0">
                    <a:pos x="34" y="64"/>
                  </a:cxn>
                  <a:cxn ang="0">
                    <a:pos x="34" y="48"/>
                  </a:cxn>
                  <a:cxn ang="0">
                    <a:pos x="22" y="22"/>
                  </a:cxn>
                  <a:cxn ang="0">
                    <a:pos x="20" y="8"/>
                  </a:cxn>
                  <a:cxn ang="0">
                    <a:pos x="162" y="70"/>
                  </a:cxn>
                </a:cxnLst>
                <a:rect l="0" t="0" r="r" b="b"/>
                <a:pathLst>
                  <a:path w="168" h="294">
                    <a:moveTo>
                      <a:pt x="162" y="68"/>
                    </a:moveTo>
                    <a:lnTo>
                      <a:pt x="168" y="138"/>
                    </a:lnTo>
                    <a:lnTo>
                      <a:pt x="158" y="140"/>
                    </a:lnTo>
                    <a:lnTo>
                      <a:pt x="152" y="144"/>
                    </a:lnTo>
                    <a:lnTo>
                      <a:pt x="148" y="150"/>
                    </a:lnTo>
                    <a:lnTo>
                      <a:pt x="146" y="158"/>
                    </a:lnTo>
                    <a:lnTo>
                      <a:pt x="142" y="164"/>
                    </a:lnTo>
                    <a:lnTo>
                      <a:pt x="140" y="172"/>
                    </a:lnTo>
                    <a:lnTo>
                      <a:pt x="140" y="190"/>
                    </a:lnTo>
                    <a:lnTo>
                      <a:pt x="138" y="194"/>
                    </a:lnTo>
                    <a:lnTo>
                      <a:pt x="134" y="200"/>
                    </a:lnTo>
                    <a:lnTo>
                      <a:pt x="134" y="202"/>
                    </a:lnTo>
                    <a:lnTo>
                      <a:pt x="136" y="202"/>
                    </a:lnTo>
                    <a:lnTo>
                      <a:pt x="144" y="206"/>
                    </a:lnTo>
                    <a:lnTo>
                      <a:pt x="146" y="214"/>
                    </a:lnTo>
                    <a:lnTo>
                      <a:pt x="148" y="216"/>
                    </a:lnTo>
                    <a:lnTo>
                      <a:pt x="150" y="220"/>
                    </a:lnTo>
                    <a:lnTo>
                      <a:pt x="152" y="228"/>
                    </a:lnTo>
                    <a:lnTo>
                      <a:pt x="146" y="228"/>
                    </a:lnTo>
                    <a:lnTo>
                      <a:pt x="142" y="228"/>
                    </a:lnTo>
                    <a:lnTo>
                      <a:pt x="138" y="230"/>
                    </a:lnTo>
                    <a:lnTo>
                      <a:pt x="130" y="238"/>
                    </a:lnTo>
                    <a:lnTo>
                      <a:pt x="126" y="246"/>
                    </a:lnTo>
                    <a:lnTo>
                      <a:pt x="122" y="256"/>
                    </a:lnTo>
                    <a:lnTo>
                      <a:pt x="120" y="258"/>
                    </a:lnTo>
                    <a:lnTo>
                      <a:pt x="118" y="260"/>
                    </a:lnTo>
                    <a:lnTo>
                      <a:pt x="108" y="262"/>
                    </a:lnTo>
                    <a:lnTo>
                      <a:pt x="90" y="264"/>
                    </a:lnTo>
                    <a:lnTo>
                      <a:pt x="88" y="270"/>
                    </a:lnTo>
                    <a:lnTo>
                      <a:pt x="86" y="276"/>
                    </a:lnTo>
                    <a:lnTo>
                      <a:pt x="82" y="280"/>
                    </a:lnTo>
                    <a:lnTo>
                      <a:pt x="76" y="284"/>
                    </a:lnTo>
                    <a:lnTo>
                      <a:pt x="64" y="288"/>
                    </a:lnTo>
                    <a:lnTo>
                      <a:pt x="52" y="290"/>
                    </a:lnTo>
                    <a:lnTo>
                      <a:pt x="48" y="288"/>
                    </a:lnTo>
                    <a:lnTo>
                      <a:pt x="46" y="286"/>
                    </a:lnTo>
                    <a:lnTo>
                      <a:pt x="42" y="288"/>
                    </a:lnTo>
                    <a:lnTo>
                      <a:pt x="38" y="292"/>
                    </a:lnTo>
                    <a:lnTo>
                      <a:pt x="38" y="294"/>
                    </a:lnTo>
                    <a:lnTo>
                      <a:pt x="36" y="292"/>
                    </a:lnTo>
                    <a:lnTo>
                      <a:pt x="34" y="282"/>
                    </a:lnTo>
                    <a:lnTo>
                      <a:pt x="30" y="274"/>
                    </a:lnTo>
                    <a:lnTo>
                      <a:pt x="20" y="264"/>
                    </a:lnTo>
                    <a:lnTo>
                      <a:pt x="12" y="256"/>
                    </a:lnTo>
                    <a:lnTo>
                      <a:pt x="8" y="252"/>
                    </a:lnTo>
                    <a:lnTo>
                      <a:pt x="10" y="250"/>
                    </a:lnTo>
                    <a:lnTo>
                      <a:pt x="12" y="248"/>
                    </a:lnTo>
                    <a:lnTo>
                      <a:pt x="18" y="246"/>
                    </a:lnTo>
                    <a:lnTo>
                      <a:pt x="36" y="246"/>
                    </a:lnTo>
                    <a:lnTo>
                      <a:pt x="28" y="240"/>
                    </a:lnTo>
                    <a:lnTo>
                      <a:pt x="28" y="236"/>
                    </a:lnTo>
                    <a:lnTo>
                      <a:pt x="26" y="230"/>
                    </a:lnTo>
                    <a:lnTo>
                      <a:pt x="28" y="212"/>
                    </a:lnTo>
                    <a:lnTo>
                      <a:pt x="26" y="206"/>
                    </a:lnTo>
                    <a:lnTo>
                      <a:pt x="22" y="200"/>
                    </a:lnTo>
                    <a:lnTo>
                      <a:pt x="16" y="192"/>
                    </a:lnTo>
                    <a:lnTo>
                      <a:pt x="12" y="186"/>
                    </a:lnTo>
                    <a:lnTo>
                      <a:pt x="10" y="188"/>
                    </a:lnTo>
                    <a:lnTo>
                      <a:pt x="8" y="186"/>
                    </a:lnTo>
                    <a:lnTo>
                      <a:pt x="4" y="182"/>
                    </a:lnTo>
                    <a:lnTo>
                      <a:pt x="0" y="176"/>
                    </a:lnTo>
                    <a:lnTo>
                      <a:pt x="2" y="166"/>
                    </a:lnTo>
                    <a:lnTo>
                      <a:pt x="4" y="158"/>
                    </a:lnTo>
                    <a:lnTo>
                      <a:pt x="8" y="150"/>
                    </a:lnTo>
                    <a:lnTo>
                      <a:pt x="12" y="144"/>
                    </a:lnTo>
                    <a:lnTo>
                      <a:pt x="22" y="132"/>
                    </a:lnTo>
                    <a:lnTo>
                      <a:pt x="26" y="126"/>
                    </a:lnTo>
                    <a:lnTo>
                      <a:pt x="30" y="118"/>
                    </a:lnTo>
                    <a:lnTo>
                      <a:pt x="30" y="76"/>
                    </a:lnTo>
                    <a:lnTo>
                      <a:pt x="30" y="72"/>
                    </a:lnTo>
                    <a:lnTo>
                      <a:pt x="32" y="68"/>
                    </a:lnTo>
                    <a:lnTo>
                      <a:pt x="34" y="64"/>
                    </a:lnTo>
                    <a:lnTo>
                      <a:pt x="36" y="58"/>
                    </a:lnTo>
                    <a:lnTo>
                      <a:pt x="34" y="48"/>
                    </a:lnTo>
                    <a:lnTo>
                      <a:pt x="28" y="34"/>
                    </a:lnTo>
                    <a:lnTo>
                      <a:pt x="22" y="22"/>
                    </a:lnTo>
                    <a:lnTo>
                      <a:pt x="18" y="8"/>
                    </a:lnTo>
                    <a:lnTo>
                      <a:pt x="20" y="8"/>
                    </a:lnTo>
                    <a:lnTo>
                      <a:pt x="36" y="0"/>
                    </a:lnTo>
                    <a:lnTo>
                      <a:pt x="162" y="70"/>
                    </a:lnTo>
                    <a:lnTo>
                      <a:pt x="162" y="6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79" name="Freeform 91"/>
              <p:cNvSpPr>
                <a:spLocks noChangeAspect="1"/>
              </p:cNvSpPr>
              <p:nvPr/>
            </p:nvSpPr>
            <p:spPr bwMode="auto">
              <a:xfrm>
                <a:off x="4536607" y="4350853"/>
                <a:ext cx="45940" cy="46517"/>
              </a:xfrm>
              <a:custGeom>
                <a:avLst/>
                <a:gdLst/>
                <a:ahLst/>
                <a:cxnLst>
                  <a:cxn ang="0">
                    <a:pos x="16" y="0"/>
                  </a:cxn>
                  <a:cxn ang="0">
                    <a:pos x="24" y="8"/>
                  </a:cxn>
                  <a:cxn ang="0">
                    <a:pos x="30" y="14"/>
                  </a:cxn>
                  <a:cxn ang="0">
                    <a:pos x="32" y="20"/>
                  </a:cxn>
                  <a:cxn ang="0">
                    <a:pos x="30" y="26"/>
                  </a:cxn>
                  <a:cxn ang="0">
                    <a:pos x="26" y="30"/>
                  </a:cxn>
                  <a:cxn ang="0">
                    <a:pos x="22" y="34"/>
                  </a:cxn>
                  <a:cxn ang="0">
                    <a:pos x="16" y="38"/>
                  </a:cxn>
                  <a:cxn ang="0">
                    <a:pos x="6" y="40"/>
                  </a:cxn>
                  <a:cxn ang="0">
                    <a:pos x="2" y="38"/>
                  </a:cxn>
                  <a:cxn ang="0">
                    <a:pos x="0" y="32"/>
                  </a:cxn>
                  <a:cxn ang="0">
                    <a:pos x="2" y="24"/>
                  </a:cxn>
                  <a:cxn ang="0">
                    <a:pos x="8" y="16"/>
                  </a:cxn>
                  <a:cxn ang="0">
                    <a:pos x="22" y="6"/>
                  </a:cxn>
                  <a:cxn ang="0">
                    <a:pos x="16" y="0"/>
                  </a:cxn>
                </a:cxnLst>
                <a:rect l="0" t="0" r="r" b="b"/>
                <a:pathLst>
                  <a:path w="32" h="40">
                    <a:moveTo>
                      <a:pt x="16" y="0"/>
                    </a:moveTo>
                    <a:lnTo>
                      <a:pt x="24" y="8"/>
                    </a:lnTo>
                    <a:lnTo>
                      <a:pt x="30" y="14"/>
                    </a:lnTo>
                    <a:lnTo>
                      <a:pt x="32" y="20"/>
                    </a:lnTo>
                    <a:lnTo>
                      <a:pt x="30" y="26"/>
                    </a:lnTo>
                    <a:lnTo>
                      <a:pt x="26" y="30"/>
                    </a:lnTo>
                    <a:lnTo>
                      <a:pt x="22" y="34"/>
                    </a:lnTo>
                    <a:lnTo>
                      <a:pt x="16" y="38"/>
                    </a:lnTo>
                    <a:lnTo>
                      <a:pt x="6" y="40"/>
                    </a:lnTo>
                    <a:lnTo>
                      <a:pt x="2" y="38"/>
                    </a:lnTo>
                    <a:lnTo>
                      <a:pt x="0" y="32"/>
                    </a:lnTo>
                    <a:lnTo>
                      <a:pt x="2" y="24"/>
                    </a:lnTo>
                    <a:lnTo>
                      <a:pt x="8" y="16"/>
                    </a:lnTo>
                    <a:lnTo>
                      <a:pt x="22" y="6"/>
                    </a:lnTo>
                    <a:lnTo>
                      <a:pt x="16"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0" name="Freeform 92"/>
              <p:cNvSpPr>
                <a:spLocks noChangeAspect="1"/>
              </p:cNvSpPr>
              <p:nvPr/>
            </p:nvSpPr>
            <p:spPr bwMode="auto">
              <a:xfrm>
                <a:off x="4344741" y="4245891"/>
                <a:ext cx="329686" cy="312499"/>
              </a:xfrm>
              <a:custGeom>
                <a:avLst/>
                <a:gdLst/>
                <a:ahLst/>
                <a:cxnLst>
                  <a:cxn ang="0">
                    <a:pos x="154" y="88"/>
                  </a:cxn>
                  <a:cxn ang="0">
                    <a:pos x="146" y="104"/>
                  </a:cxn>
                  <a:cxn ang="0">
                    <a:pos x="138" y="120"/>
                  </a:cxn>
                  <a:cxn ang="0">
                    <a:pos x="144" y="128"/>
                  </a:cxn>
                  <a:cxn ang="0">
                    <a:pos x="158" y="124"/>
                  </a:cxn>
                  <a:cxn ang="0">
                    <a:pos x="160" y="140"/>
                  </a:cxn>
                  <a:cxn ang="0">
                    <a:pos x="174" y="160"/>
                  </a:cxn>
                  <a:cxn ang="0">
                    <a:pos x="196" y="172"/>
                  </a:cxn>
                  <a:cxn ang="0">
                    <a:pos x="222" y="180"/>
                  </a:cxn>
                  <a:cxn ang="0">
                    <a:pos x="230" y="194"/>
                  </a:cxn>
                  <a:cxn ang="0">
                    <a:pos x="204" y="222"/>
                  </a:cxn>
                  <a:cxn ang="0">
                    <a:pos x="196" y="234"/>
                  </a:cxn>
                  <a:cxn ang="0">
                    <a:pos x="190" y="238"/>
                  </a:cxn>
                  <a:cxn ang="0">
                    <a:pos x="180" y="236"/>
                  </a:cxn>
                  <a:cxn ang="0">
                    <a:pos x="168" y="242"/>
                  </a:cxn>
                  <a:cxn ang="0">
                    <a:pos x="150" y="254"/>
                  </a:cxn>
                  <a:cxn ang="0">
                    <a:pos x="138" y="256"/>
                  </a:cxn>
                  <a:cxn ang="0">
                    <a:pos x="130" y="252"/>
                  </a:cxn>
                  <a:cxn ang="0">
                    <a:pos x="124" y="250"/>
                  </a:cxn>
                  <a:cxn ang="0">
                    <a:pos x="118" y="252"/>
                  </a:cxn>
                  <a:cxn ang="0">
                    <a:pos x="108" y="262"/>
                  </a:cxn>
                  <a:cxn ang="0">
                    <a:pos x="104" y="264"/>
                  </a:cxn>
                  <a:cxn ang="0">
                    <a:pos x="88" y="260"/>
                  </a:cxn>
                  <a:cxn ang="0">
                    <a:pos x="62" y="250"/>
                  </a:cxn>
                  <a:cxn ang="0">
                    <a:pos x="46" y="246"/>
                  </a:cxn>
                  <a:cxn ang="0">
                    <a:pos x="44" y="238"/>
                  </a:cxn>
                  <a:cxn ang="0">
                    <a:pos x="36" y="226"/>
                  </a:cxn>
                  <a:cxn ang="0">
                    <a:pos x="30" y="208"/>
                  </a:cxn>
                  <a:cxn ang="0">
                    <a:pos x="24" y="200"/>
                  </a:cxn>
                  <a:cxn ang="0">
                    <a:pos x="4" y="186"/>
                  </a:cxn>
                  <a:cxn ang="0">
                    <a:pos x="0" y="180"/>
                  </a:cxn>
                  <a:cxn ang="0">
                    <a:pos x="6" y="176"/>
                  </a:cxn>
                  <a:cxn ang="0">
                    <a:pos x="16" y="170"/>
                  </a:cxn>
                  <a:cxn ang="0">
                    <a:pos x="18" y="152"/>
                  </a:cxn>
                  <a:cxn ang="0">
                    <a:pos x="20" y="134"/>
                  </a:cxn>
                  <a:cxn ang="0">
                    <a:pos x="30" y="130"/>
                  </a:cxn>
                  <a:cxn ang="0">
                    <a:pos x="34" y="112"/>
                  </a:cxn>
                  <a:cxn ang="0">
                    <a:pos x="52" y="86"/>
                  </a:cxn>
                  <a:cxn ang="0">
                    <a:pos x="52" y="70"/>
                  </a:cxn>
                  <a:cxn ang="0">
                    <a:pos x="54" y="42"/>
                  </a:cxn>
                  <a:cxn ang="0">
                    <a:pos x="58" y="28"/>
                  </a:cxn>
                  <a:cxn ang="0">
                    <a:pos x="66" y="14"/>
                  </a:cxn>
                  <a:cxn ang="0">
                    <a:pos x="80" y="4"/>
                  </a:cxn>
                  <a:cxn ang="0">
                    <a:pos x="90" y="10"/>
                  </a:cxn>
                  <a:cxn ang="0">
                    <a:pos x="102" y="40"/>
                  </a:cxn>
                  <a:cxn ang="0">
                    <a:pos x="110" y="46"/>
                  </a:cxn>
                  <a:cxn ang="0">
                    <a:pos x="138" y="68"/>
                  </a:cxn>
                  <a:cxn ang="0">
                    <a:pos x="160" y="94"/>
                  </a:cxn>
                </a:cxnLst>
                <a:rect l="0" t="0" r="r" b="b"/>
                <a:pathLst>
                  <a:path w="236" h="264">
                    <a:moveTo>
                      <a:pt x="160" y="94"/>
                    </a:moveTo>
                    <a:lnTo>
                      <a:pt x="154" y="88"/>
                    </a:lnTo>
                    <a:lnTo>
                      <a:pt x="160" y="94"/>
                    </a:lnTo>
                    <a:lnTo>
                      <a:pt x="146" y="104"/>
                    </a:lnTo>
                    <a:lnTo>
                      <a:pt x="140" y="112"/>
                    </a:lnTo>
                    <a:lnTo>
                      <a:pt x="138" y="120"/>
                    </a:lnTo>
                    <a:lnTo>
                      <a:pt x="140" y="126"/>
                    </a:lnTo>
                    <a:lnTo>
                      <a:pt x="144" y="128"/>
                    </a:lnTo>
                    <a:lnTo>
                      <a:pt x="152" y="126"/>
                    </a:lnTo>
                    <a:lnTo>
                      <a:pt x="158" y="124"/>
                    </a:lnTo>
                    <a:lnTo>
                      <a:pt x="158" y="132"/>
                    </a:lnTo>
                    <a:lnTo>
                      <a:pt x="160" y="140"/>
                    </a:lnTo>
                    <a:lnTo>
                      <a:pt x="164" y="152"/>
                    </a:lnTo>
                    <a:lnTo>
                      <a:pt x="174" y="160"/>
                    </a:lnTo>
                    <a:lnTo>
                      <a:pt x="184" y="168"/>
                    </a:lnTo>
                    <a:lnTo>
                      <a:pt x="196" y="172"/>
                    </a:lnTo>
                    <a:lnTo>
                      <a:pt x="210" y="178"/>
                    </a:lnTo>
                    <a:lnTo>
                      <a:pt x="222" y="180"/>
                    </a:lnTo>
                    <a:lnTo>
                      <a:pt x="236" y="182"/>
                    </a:lnTo>
                    <a:lnTo>
                      <a:pt x="230" y="194"/>
                    </a:lnTo>
                    <a:lnTo>
                      <a:pt x="220" y="202"/>
                    </a:lnTo>
                    <a:lnTo>
                      <a:pt x="204" y="222"/>
                    </a:lnTo>
                    <a:lnTo>
                      <a:pt x="200" y="230"/>
                    </a:lnTo>
                    <a:lnTo>
                      <a:pt x="196" y="234"/>
                    </a:lnTo>
                    <a:lnTo>
                      <a:pt x="194" y="236"/>
                    </a:lnTo>
                    <a:lnTo>
                      <a:pt x="190" y="238"/>
                    </a:lnTo>
                    <a:lnTo>
                      <a:pt x="186" y="236"/>
                    </a:lnTo>
                    <a:lnTo>
                      <a:pt x="180" y="236"/>
                    </a:lnTo>
                    <a:lnTo>
                      <a:pt x="174" y="238"/>
                    </a:lnTo>
                    <a:lnTo>
                      <a:pt x="168" y="242"/>
                    </a:lnTo>
                    <a:lnTo>
                      <a:pt x="160" y="246"/>
                    </a:lnTo>
                    <a:lnTo>
                      <a:pt x="150" y="254"/>
                    </a:lnTo>
                    <a:lnTo>
                      <a:pt x="144" y="256"/>
                    </a:lnTo>
                    <a:lnTo>
                      <a:pt x="138" y="256"/>
                    </a:lnTo>
                    <a:lnTo>
                      <a:pt x="134" y="256"/>
                    </a:lnTo>
                    <a:lnTo>
                      <a:pt x="130" y="252"/>
                    </a:lnTo>
                    <a:lnTo>
                      <a:pt x="128" y="250"/>
                    </a:lnTo>
                    <a:lnTo>
                      <a:pt x="124" y="250"/>
                    </a:lnTo>
                    <a:lnTo>
                      <a:pt x="120" y="250"/>
                    </a:lnTo>
                    <a:lnTo>
                      <a:pt x="118" y="252"/>
                    </a:lnTo>
                    <a:lnTo>
                      <a:pt x="114" y="256"/>
                    </a:lnTo>
                    <a:lnTo>
                      <a:pt x="108" y="262"/>
                    </a:lnTo>
                    <a:lnTo>
                      <a:pt x="108" y="264"/>
                    </a:lnTo>
                    <a:lnTo>
                      <a:pt x="104" y="264"/>
                    </a:lnTo>
                    <a:lnTo>
                      <a:pt x="96" y="264"/>
                    </a:lnTo>
                    <a:lnTo>
                      <a:pt x="88" y="260"/>
                    </a:lnTo>
                    <a:lnTo>
                      <a:pt x="76" y="254"/>
                    </a:lnTo>
                    <a:lnTo>
                      <a:pt x="62" y="250"/>
                    </a:lnTo>
                    <a:lnTo>
                      <a:pt x="54" y="248"/>
                    </a:lnTo>
                    <a:lnTo>
                      <a:pt x="46" y="246"/>
                    </a:lnTo>
                    <a:lnTo>
                      <a:pt x="48" y="246"/>
                    </a:lnTo>
                    <a:lnTo>
                      <a:pt x="44" y="238"/>
                    </a:lnTo>
                    <a:lnTo>
                      <a:pt x="40" y="232"/>
                    </a:lnTo>
                    <a:lnTo>
                      <a:pt x="36" y="226"/>
                    </a:lnTo>
                    <a:lnTo>
                      <a:pt x="32" y="222"/>
                    </a:lnTo>
                    <a:lnTo>
                      <a:pt x="30" y="208"/>
                    </a:lnTo>
                    <a:lnTo>
                      <a:pt x="26" y="204"/>
                    </a:lnTo>
                    <a:lnTo>
                      <a:pt x="24" y="200"/>
                    </a:lnTo>
                    <a:lnTo>
                      <a:pt x="10" y="192"/>
                    </a:lnTo>
                    <a:lnTo>
                      <a:pt x="4" y="186"/>
                    </a:lnTo>
                    <a:lnTo>
                      <a:pt x="0" y="182"/>
                    </a:lnTo>
                    <a:lnTo>
                      <a:pt x="0" y="180"/>
                    </a:lnTo>
                    <a:lnTo>
                      <a:pt x="2" y="178"/>
                    </a:lnTo>
                    <a:lnTo>
                      <a:pt x="6" y="176"/>
                    </a:lnTo>
                    <a:lnTo>
                      <a:pt x="12" y="174"/>
                    </a:lnTo>
                    <a:lnTo>
                      <a:pt x="16" y="170"/>
                    </a:lnTo>
                    <a:lnTo>
                      <a:pt x="18" y="160"/>
                    </a:lnTo>
                    <a:lnTo>
                      <a:pt x="18" y="152"/>
                    </a:lnTo>
                    <a:lnTo>
                      <a:pt x="18" y="142"/>
                    </a:lnTo>
                    <a:lnTo>
                      <a:pt x="20" y="134"/>
                    </a:lnTo>
                    <a:lnTo>
                      <a:pt x="24" y="132"/>
                    </a:lnTo>
                    <a:lnTo>
                      <a:pt x="30" y="130"/>
                    </a:lnTo>
                    <a:lnTo>
                      <a:pt x="32" y="120"/>
                    </a:lnTo>
                    <a:lnTo>
                      <a:pt x="34" y="112"/>
                    </a:lnTo>
                    <a:lnTo>
                      <a:pt x="42" y="98"/>
                    </a:lnTo>
                    <a:lnTo>
                      <a:pt x="52" y="86"/>
                    </a:lnTo>
                    <a:lnTo>
                      <a:pt x="52" y="78"/>
                    </a:lnTo>
                    <a:lnTo>
                      <a:pt x="52" y="70"/>
                    </a:lnTo>
                    <a:lnTo>
                      <a:pt x="52" y="46"/>
                    </a:lnTo>
                    <a:lnTo>
                      <a:pt x="54" y="42"/>
                    </a:lnTo>
                    <a:lnTo>
                      <a:pt x="56" y="34"/>
                    </a:lnTo>
                    <a:lnTo>
                      <a:pt x="58" y="28"/>
                    </a:lnTo>
                    <a:lnTo>
                      <a:pt x="58" y="16"/>
                    </a:lnTo>
                    <a:lnTo>
                      <a:pt x="66" y="14"/>
                    </a:lnTo>
                    <a:lnTo>
                      <a:pt x="74" y="10"/>
                    </a:lnTo>
                    <a:lnTo>
                      <a:pt x="80" y="4"/>
                    </a:lnTo>
                    <a:lnTo>
                      <a:pt x="84" y="0"/>
                    </a:lnTo>
                    <a:lnTo>
                      <a:pt x="90" y="10"/>
                    </a:lnTo>
                    <a:lnTo>
                      <a:pt x="96" y="28"/>
                    </a:lnTo>
                    <a:lnTo>
                      <a:pt x="102" y="40"/>
                    </a:lnTo>
                    <a:lnTo>
                      <a:pt x="104" y="44"/>
                    </a:lnTo>
                    <a:lnTo>
                      <a:pt x="110" y="46"/>
                    </a:lnTo>
                    <a:lnTo>
                      <a:pt x="126" y="56"/>
                    </a:lnTo>
                    <a:lnTo>
                      <a:pt x="138" y="68"/>
                    </a:lnTo>
                    <a:lnTo>
                      <a:pt x="154" y="88"/>
                    </a:lnTo>
                    <a:lnTo>
                      <a:pt x="160" y="9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1" name="Freeform 93"/>
              <p:cNvSpPr>
                <a:spLocks noChangeAspect="1"/>
              </p:cNvSpPr>
              <p:nvPr/>
            </p:nvSpPr>
            <p:spPr bwMode="auto">
              <a:xfrm>
                <a:off x="3929931" y="4397369"/>
                <a:ext cx="286449" cy="180104"/>
              </a:xfrm>
              <a:custGeom>
                <a:avLst/>
                <a:gdLst/>
                <a:ahLst/>
                <a:cxnLst>
                  <a:cxn ang="0">
                    <a:pos x="204" y="106"/>
                  </a:cxn>
                  <a:cxn ang="0">
                    <a:pos x="204" y="96"/>
                  </a:cxn>
                  <a:cxn ang="0">
                    <a:pos x="196" y="88"/>
                  </a:cxn>
                  <a:cxn ang="0">
                    <a:pos x="178" y="70"/>
                  </a:cxn>
                  <a:cxn ang="0">
                    <a:pos x="170" y="62"/>
                  </a:cxn>
                  <a:cxn ang="0">
                    <a:pos x="168" y="54"/>
                  </a:cxn>
                  <a:cxn ang="0">
                    <a:pos x="158" y="46"/>
                  </a:cxn>
                  <a:cxn ang="0">
                    <a:pos x="156" y="40"/>
                  </a:cxn>
                  <a:cxn ang="0">
                    <a:pos x="144" y="28"/>
                  </a:cxn>
                  <a:cxn ang="0">
                    <a:pos x="140" y="12"/>
                  </a:cxn>
                  <a:cxn ang="0">
                    <a:pos x="136" y="0"/>
                  </a:cxn>
                  <a:cxn ang="0">
                    <a:pos x="132" y="0"/>
                  </a:cxn>
                  <a:cxn ang="0">
                    <a:pos x="124" y="0"/>
                  </a:cxn>
                  <a:cxn ang="0">
                    <a:pos x="112" y="10"/>
                  </a:cxn>
                  <a:cxn ang="0">
                    <a:pos x="104" y="28"/>
                  </a:cxn>
                  <a:cxn ang="0">
                    <a:pos x="100" y="32"/>
                  </a:cxn>
                  <a:cxn ang="0">
                    <a:pos x="72" y="36"/>
                  </a:cxn>
                  <a:cxn ang="0">
                    <a:pos x="68" y="48"/>
                  </a:cxn>
                  <a:cxn ang="0">
                    <a:pos x="58" y="56"/>
                  </a:cxn>
                  <a:cxn ang="0">
                    <a:pos x="34" y="62"/>
                  </a:cxn>
                  <a:cxn ang="0">
                    <a:pos x="28" y="58"/>
                  </a:cxn>
                  <a:cxn ang="0">
                    <a:pos x="20" y="64"/>
                  </a:cxn>
                  <a:cxn ang="0">
                    <a:pos x="18" y="64"/>
                  </a:cxn>
                  <a:cxn ang="0">
                    <a:pos x="8" y="74"/>
                  </a:cxn>
                  <a:cxn ang="0">
                    <a:pos x="0" y="94"/>
                  </a:cxn>
                  <a:cxn ang="0">
                    <a:pos x="2" y="112"/>
                  </a:cxn>
                  <a:cxn ang="0">
                    <a:pos x="20" y="140"/>
                  </a:cxn>
                  <a:cxn ang="0">
                    <a:pos x="32" y="146"/>
                  </a:cxn>
                  <a:cxn ang="0">
                    <a:pos x="42" y="136"/>
                  </a:cxn>
                  <a:cxn ang="0">
                    <a:pos x="62" y="136"/>
                  </a:cxn>
                  <a:cxn ang="0">
                    <a:pos x="66" y="118"/>
                  </a:cxn>
                  <a:cxn ang="0">
                    <a:pos x="72" y="112"/>
                  </a:cxn>
                  <a:cxn ang="0">
                    <a:pos x="78" y="108"/>
                  </a:cxn>
                  <a:cxn ang="0">
                    <a:pos x="90" y="110"/>
                  </a:cxn>
                  <a:cxn ang="0">
                    <a:pos x="112" y="122"/>
                  </a:cxn>
                  <a:cxn ang="0">
                    <a:pos x="128" y="122"/>
                  </a:cxn>
                  <a:cxn ang="0">
                    <a:pos x="130" y="120"/>
                  </a:cxn>
                  <a:cxn ang="0">
                    <a:pos x="134" y="114"/>
                  </a:cxn>
                  <a:cxn ang="0">
                    <a:pos x="140" y="116"/>
                  </a:cxn>
                  <a:cxn ang="0">
                    <a:pos x="150" y="112"/>
                  </a:cxn>
                  <a:cxn ang="0">
                    <a:pos x="160" y="110"/>
                  </a:cxn>
                  <a:cxn ang="0">
                    <a:pos x="174" y="104"/>
                  </a:cxn>
                  <a:cxn ang="0">
                    <a:pos x="184" y="104"/>
                  </a:cxn>
                  <a:cxn ang="0">
                    <a:pos x="204" y="106"/>
                  </a:cxn>
                </a:cxnLst>
                <a:rect l="0" t="0" r="r" b="b"/>
                <a:pathLst>
                  <a:path w="206" h="152">
                    <a:moveTo>
                      <a:pt x="206" y="108"/>
                    </a:moveTo>
                    <a:lnTo>
                      <a:pt x="204" y="106"/>
                    </a:lnTo>
                    <a:lnTo>
                      <a:pt x="204" y="102"/>
                    </a:lnTo>
                    <a:lnTo>
                      <a:pt x="204" y="96"/>
                    </a:lnTo>
                    <a:lnTo>
                      <a:pt x="200" y="92"/>
                    </a:lnTo>
                    <a:lnTo>
                      <a:pt x="196" y="88"/>
                    </a:lnTo>
                    <a:lnTo>
                      <a:pt x="186" y="80"/>
                    </a:lnTo>
                    <a:lnTo>
                      <a:pt x="178" y="70"/>
                    </a:lnTo>
                    <a:lnTo>
                      <a:pt x="174" y="68"/>
                    </a:lnTo>
                    <a:lnTo>
                      <a:pt x="170" y="62"/>
                    </a:lnTo>
                    <a:lnTo>
                      <a:pt x="170" y="56"/>
                    </a:lnTo>
                    <a:lnTo>
                      <a:pt x="168" y="54"/>
                    </a:lnTo>
                    <a:lnTo>
                      <a:pt x="162" y="50"/>
                    </a:lnTo>
                    <a:lnTo>
                      <a:pt x="158" y="46"/>
                    </a:lnTo>
                    <a:lnTo>
                      <a:pt x="156" y="44"/>
                    </a:lnTo>
                    <a:lnTo>
                      <a:pt x="156" y="40"/>
                    </a:lnTo>
                    <a:lnTo>
                      <a:pt x="144" y="40"/>
                    </a:lnTo>
                    <a:lnTo>
                      <a:pt x="144" y="28"/>
                    </a:lnTo>
                    <a:lnTo>
                      <a:pt x="142" y="20"/>
                    </a:lnTo>
                    <a:lnTo>
                      <a:pt x="140" y="12"/>
                    </a:lnTo>
                    <a:lnTo>
                      <a:pt x="136" y="6"/>
                    </a:lnTo>
                    <a:lnTo>
                      <a:pt x="136" y="0"/>
                    </a:lnTo>
                    <a:lnTo>
                      <a:pt x="134" y="0"/>
                    </a:lnTo>
                    <a:lnTo>
                      <a:pt x="132" y="0"/>
                    </a:lnTo>
                    <a:lnTo>
                      <a:pt x="128" y="0"/>
                    </a:lnTo>
                    <a:lnTo>
                      <a:pt x="124" y="0"/>
                    </a:lnTo>
                    <a:lnTo>
                      <a:pt x="120" y="2"/>
                    </a:lnTo>
                    <a:lnTo>
                      <a:pt x="112" y="10"/>
                    </a:lnTo>
                    <a:lnTo>
                      <a:pt x="108" y="18"/>
                    </a:lnTo>
                    <a:lnTo>
                      <a:pt x="104" y="28"/>
                    </a:lnTo>
                    <a:lnTo>
                      <a:pt x="102" y="30"/>
                    </a:lnTo>
                    <a:lnTo>
                      <a:pt x="100" y="32"/>
                    </a:lnTo>
                    <a:lnTo>
                      <a:pt x="90" y="34"/>
                    </a:lnTo>
                    <a:lnTo>
                      <a:pt x="72" y="36"/>
                    </a:lnTo>
                    <a:lnTo>
                      <a:pt x="70" y="42"/>
                    </a:lnTo>
                    <a:lnTo>
                      <a:pt x="68" y="48"/>
                    </a:lnTo>
                    <a:lnTo>
                      <a:pt x="64" y="52"/>
                    </a:lnTo>
                    <a:lnTo>
                      <a:pt x="58" y="56"/>
                    </a:lnTo>
                    <a:lnTo>
                      <a:pt x="46" y="60"/>
                    </a:lnTo>
                    <a:lnTo>
                      <a:pt x="34" y="62"/>
                    </a:lnTo>
                    <a:lnTo>
                      <a:pt x="30" y="60"/>
                    </a:lnTo>
                    <a:lnTo>
                      <a:pt x="28" y="58"/>
                    </a:lnTo>
                    <a:lnTo>
                      <a:pt x="24" y="60"/>
                    </a:lnTo>
                    <a:lnTo>
                      <a:pt x="20" y="64"/>
                    </a:lnTo>
                    <a:lnTo>
                      <a:pt x="20" y="66"/>
                    </a:lnTo>
                    <a:lnTo>
                      <a:pt x="18" y="64"/>
                    </a:lnTo>
                    <a:lnTo>
                      <a:pt x="14" y="68"/>
                    </a:lnTo>
                    <a:lnTo>
                      <a:pt x="8" y="74"/>
                    </a:lnTo>
                    <a:lnTo>
                      <a:pt x="2" y="84"/>
                    </a:lnTo>
                    <a:lnTo>
                      <a:pt x="0" y="94"/>
                    </a:lnTo>
                    <a:lnTo>
                      <a:pt x="0" y="102"/>
                    </a:lnTo>
                    <a:lnTo>
                      <a:pt x="2" y="112"/>
                    </a:lnTo>
                    <a:lnTo>
                      <a:pt x="10" y="126"/>
                    </a:lnTo>
                    <a:lnTo>
                      <a:pt x="20" y="140"/>
                    </a:lnTo>
                    <a:lnTo>
                      <a:pt x="28" y="152"/>
                    </a:lnTo>
                    <a:lnTo>
                      <a:pt x="32" y="146"/>
                    </a:lnTo>
                    <a:lnTo>
                      <a:pt x="36" y="140"/>
                    </a:lnTo>
                    <a:lnTo>
                      <a:pt x="42" y="136"/>
                    </a:lnTo>
                    <a:lnTo>
                      <a:pt x="52" y="136"/>
                    </a:lnTo>
                    <a:lnTo>
                      <a:pt x="62" y="136"/>
                    </a:lnTo>
                    <a:lnTo>
                      <a:pt x="64" y="126"/>
                    </a:lnTo>
                    <a:lnTo>
                      <a:pt x="66" y="118"/>
                    </a:lnTo>
                    <a:lnTo>
                      <a:pt x="68" y="114"/>
                    </a:lnTo>
                    <a:lnTo>
                      <a:pt x="72" y="112"/>
                    </a:lnTo>
                    <a:lnTo>
                      <a:pt x="76" y="108"/>
                    </a:lnTo>
                    <a:lnTo>
                      <a:pt x="78" y="108"/>
                    </a:lnTo>
                    <a:lnTo>
                      <a:pt x="84" y="108"/>
                    </a:lnTo>
                    <a:lnTo>
                      <a:pt x="90" y="110"/>
                    </a:lnTo>
                    <a:lnTo>
                      <a:pt x="102" y="116"/>
                    </a:lnTo>
                    <a:lnTo>
                      <a:pt x="112" y="122"/>
                    </a:lnTo>
                    <a:lnTo>
                      <a:pt x="120" y="122"/>
                    </a:lnTo>
                    <a:lnTo>
                      <a:pt x="128" y="122"/>
                    </a:lnTo>
                    <a:lnTo>
                      <a:pt x="130" y="122"/>
                    </a:lnTo>
                    <a:lnTo>
                      <a:pt x="130" y="120"/>
                    </a:lnTo>
                    <a:lnTo>
                      <a:pt x="132" y="116"/>
                    </a:lnTo>
                    <a:lnTo>
                      <a:pt x="134" y="114"/>
                    </a:lnTo>
                    <a:lnTo>
                      <a:pt x="138" y="116"/>
                    </a:lnTo>
                    <a:lnTo>
                      <a:pt x="140" y="116"/>
                    </a:lnTo>
                    <a:lnTo>
                      <a:pt x="146" y="114"/>
                    </a:lnTo>
                    <a:lnTo>
                      <a:pt x="150" y="112"/>
                    </a:lnTo>
                    <a:lnTo>
                      <a:pt x="156" y="110"/>
                    </a:lnTo>
                    <a:lnTo>
                      <a:pt x="160" y="110"/>
                    </a:lnTo>
                    <a:lnTo>
                      <a:pt x="172" y="110"/>
                    </a:lnTo>
                    <a:lnTo>
                      <a:pt x="174" y="104"/>
                    </a:lnTo>
                    <a:lnTo>
                      <a:pt x="178" y="102"/>
                    </a:lnTo>
                    <a:lnTo>
                      <a:pt x="184" y="104"/>
                    </a:lnTo>
                    <a:lnTo>
                      <a:pt x="192" y="106"/>
                    </a:lnTo>
                    <a:lnTo>
                      <a:pt x="204" y="106"/>
                    </a:lnTo>
                    <a:lnTo>
                      <a:pt x="206" y="10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2" name="Freeform 94"/>
              <p:cNvSpPr>
                <a:spLocks noChangeAspect="1"/>
              </p:cNvSpPr>
              <p:nvPr/>
            </p:nvSpPr>
            <p:spPr bwMode="auto">
              <a:xfrm>
                <a:off x="4369063" y="4539307"/>
                <a:ext cx="177003" cy="199189"/>
              </a:xfrm>
              <a:custGeom>
                <a:avLst/>
                <a:gdLst/>
                <a:ahLst/>
                <a:cxnLst>
                  <a:cxn ang="0">
                    <a:pos x="120" y="10"/>
                  </a:cxn>
                  <a:cxn ang="0">
                    <a:pos x="116" y="10"/>
                  </a:cxn>
                  <a:cxn ang="0">
                    <a:pos x="112" y="6"/>
                  </a:cxn>
                  <a:cxn ang="0">
                    <a:pos x="110" y="4"/>
                  </a:cxn>
                  <a:cxn ang="0">
                    <a:pos x="106" y="4"/>
                  </a:cxn>
                  <a:cxn ang="0">
                    <a:pos x="102" y="4"/>
                  </a:cxn>
                  <a:cxn ang="0">
                    <a:pos x="100" y="6"/>
                  </a:cxn>
                  <a:cxn ang="0">
                    <a:pos x="96" y="10"/>
                  </a:cxn>
                  <a:cxn ang="0">
                    <a:pos x="90" y="16"/>
                  </a:cxn>
                  <a:cxn ang="0">
                    <a:pos x="90" y="18"/>
                  </a:cxn>
                  <a:cxn ang="0">
                    <a:pos x="86" y="18"/>
                  </a:cxn>
                  <a:cxn ang="0">
                    <a:pos x="78" y="18"/>
                  </a:cxn>
                  <a:cxn ang="0">
                    <a:pos x="70" y="14"/>
                  </a:cxn>
                  <a:cxn ang="0">
                    <a:pos x="58" y="8"/>
                  </a:cxn>
                  <a:cxn ang="0">
                    <a:pos x="46" y="4"/>
                  </a:cxn>
                  <a:cxn ang="0">
                    <a:pos x="38" y="2"/>
                  </a:cxn>
                  <a:cxn ang="0">
                    <a:pos x="30" y="0"/>
                  </a:cxn>
                  <a:cxn ang="0">
                    <a:pos x="4" y="0"/>
                  </a:cxn>
                  <a:cxn ang="0">
                    <a:pos x="0" y="4"/>
                  </a:cxn>
                  <a:cxn ang="0">
                    <a:pos x="4" y="12"/>
                  </a:cxn>
                  <a:cxn ang="0">
                    <a:pos x="8" y="20"/>
                  </a:cxn>
                  <a:cxn ang="0">
                    <a:pos x="14" y="32"/>
                  </a:cxn>
                  <a:cxn ang="0">
                    <a:pos x="16" y="38"/>
                  </a:cxn>
                  <a:cxn ang="0">
                    <a:pos x="16" y="42"/>
                  </a:cxn>
                  <a:cxn ang="0">
                    <a:pos x="16" y="48"/>
                  </a:cxn>
                  <a:cxn ang="0">
                    <a:pos x="16" y="52"/>
                  </a:cxn>
                  <a:cxn ang="0">
                    <a:pos x="0" y="76"/>
                  </a:cxn>
                  <a:cxn ang="0">
                    <a:pos x="0" y="100"/>
                  </a:cxn>
                  <a:cxn ang="0">
                    <a:pos x="62" y="138"/>
                  </a:cxn>
                  <a:cxn ang="0">
                    <a:pos x="62" y="146"/>
                  </a:cxn>
                  <a:cxn ang="0">
                    <a:pos x="88" y="168"/>
                  </a:cxn>
                  <a:cxn ang="0">
                    <a:pos x="90" y="164"/>
                  </a:cxn>
                  <a:cxn ang="0">
                    <a:pos x="94" y="158"/>
                  </a:cxn>
                  <a:cxn ang="0">
                    <a:pos x="108" y="130"/>
                  </a:cxn>
                  <a:cxn ang="0">
                    <a:pos x="122" y="106"/>
                  </a:cxn>
                  <a:cxn ang="0">
                    <a:pos x="116" y="102"/>
                  </a:cxn>
                  <a:cxn ang="0">
                    <a:pos x="112" y="98"/>
                  </a:cxn>
                  <a:cxn ang="0">
                    <a:pos x="112" y="32"/>
                  </a:cxn>
                  <a:cxn ang="0">
                    <a:pos x="120" y="14"/>
                  </a:cxn>
                  <a:cxn ang="0">
                    <a:pos x="126" y="10"/>
                  </a:cxn>
                  <a:cxn ang="0">
                    <a:pos x="120" y="10"/>
                  </a:cxn>
                </a:cxnLst>
                <a:rect l="0" t="0" r="r" b="b"/>
                <a:pathLst>
                  <a:path w="126" h="168">
                    <a:moveTo>
                      <a:pt x="120" y="10"/>
                    </a:moveTo>
                    <a:lnTo>
                      <a:pt x="116" y="10"/>
                    </a:lnTo>
                    <a:lnTo>
                      <a:pt x="112" y="6"/>
                    </a:lnTo>
                    <a:lnTo>
                      <a:pt x="110" y="4"/>
                    </a:lnTo>
                    <a:lnTo>
                      <a:pt x="106" y="4"/>
                    </a:lnTo>
                    <a:lnTo>
                      <a:pt x="102" y="4"/>
                    </a:lnTo>
                    <a:lnTo>
                      <a:pt x="100" y="6"/>
                    </a:lnTo>
                    <a:lnTo>
                      <a:pt x="96" y="10"/>
                    </a:lnTo>
                    <a:lnTo>
                      <a:pt x="90" y="16"/>
                    </a:lnTo>
                    <a:lnTo>
                      <a:pt x="90" y="18"/>
                    </a:lnTo>
                    <a:lnTo>
                      <a:pt x="86" y="18"/>
                    </a:lnTo>
                    <a:lnTo>
                      <a:pt x="78" y="18"/>
                    </a:lnTo>
                    <a:lnTo>
                      <a:pt x="70" y="14"/>
                    </a:lnTo>
                    <a:lnTo>
                      <a:pt x="58" y="8"/>
                    </a:lnTo>
                    <a:lnTo>
                      <a:pt x="46" y="4"/>
                    </a:lnTo>
                    <a:lnTo>
                      <a:pt x="38" y="2"/>
                    </a:lnTo>
                    <a:lnTo>
                      <a:pt x="30" y="0"/>
                    </a:lnTo>
                    <a:lnTo>
                      <a:pt x="4" y="0"/>
                    </a:lnTo>
                    <a:lnTo>
                      <a:pt x="0" y="4"/>
                    </a:lnTo>
                    <a:lnTo>
                      <a:pt x="4" y="12"/>
                    </a:lnTo>
                    <a:lnTo>
                      <a:pt x="8" y="20"/>
                    </a:lnTo>
                    <a:lnTo>
                      <a:pt x="14" y="32"/>
                    </a:lnTo>
                    <a:lnTo>
                      <a:pt x="16" y="38"/>
                    </a:lnTo>
                    <a:lnTo>
                      <a:pt x="16" y="42"/>
                    </a:lnTo>
                    <a:lnTo>
                      <a:pt x="16" y="48"/>
                    </a:lnTo>
                    <a:lnTo>
                      <a:pt x="16" y="52"/>
                    </a:lnTo>
                    <a:lnTo>
                      <a:pt x="0" y="76"/>
                    </a:lnTo>
                    <a:lnTo>
                      <a:pt x="0" y="100"/>
                    </a:lnTo>
                    <a:lnTo>
                      <a:pt x="62" y="138"/>
                    </a:lnTo>
                    <a:lnTo>
                      <a:pt x="62" y="146"/>
                    </a:lnTo>
                    <a:lnTo>
                      <a:pt x="88" y="168"/>
                    </a:lnTo>
                    <a:lnTo>
                      <a:pt x="90" y="164"/>
                    </a:lnTo>
                    <a:lnTo>
                      <a:pt x="94" y="158"/>
                    </a:lnTo>
                    <a:lnTo>
                      <a:pt x="108" y="130"/>
                    </a:lnTo>
                    <a:lnTo>
                      <a:pt x="122" y="106"/>
                    </a:lnTo>
                    <a:lnTo>
                      <a:pt x="116" y="102"/>
                    </a:lnTo>
                    <a:lnTo>
                      <a:pt x="112" y="98"/>
                    </a:lnTo>
                    <a:lnTo>
                      <a:pt x="112" y="32"/>
                    </a:lnTo>
                    <a:lnTo>
                      <a:pt x="120" y="14"/>
                    </a:lnTo>
                    <a:lnTo>
                      <a:pt x="126" y="10"/>
                    </a:lnTo>
                    <a:lnTo>
                      <a:pt x="120" y="1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3" name="Freeform 95"/>
              <p:cNvSpPr>
                <a:spLocks noChangeAspect="1"/>
              </p:cNvSpPr>
              <p:nvPr/>
            </p:nvSpPr>
            <p:spPr bwMode="auto">
              <a:xfrm>
                <a:off x="4269075" y="4539307"/>
                <a:ext cx="124308" cy="126431"/>
              </a:xfrm>
              <a:custGeom>
                <a:avLst/>
                <a:gdLst/>
                <a:ahLst/>
                <a:cxnLst>
                  <a:cxn ang="0">
                    <a:pos x="76" y="0"/>
                  </a:cxn>
                  <a:cxn ang="0">
                    <a:pos x="72" y="4"/>
                  </a:cxn>
                  <a:cxn ang="0">
                    <a:pos x="76" y="12"/>
                  </a:cxn>
                  <a:cxn ang="0">
                    <a:pos x="80" y="20"/>
                  </a:cxn>
                  <a:cxn ang="0">
                    <a:pos x="86" y="32"/>
                  </a:cxn>
                  <a:cxn ang="0">
                    <a:pos x="88" y="38"/>
                  </a:cxn>
                  <a:cxn ang="0">
                    <a:pos x="88" y="42"/>
                  </a:cxn>
                  <a:cxn ang="0">
                    <a:pos x="88" y="48"/>
                  </a:cxn>
                  <a:cxn ang="0">
                    <a:pos x="88" y="52"/>
                  </a:cxn>
                  <a:cxn ang="0">
                    <a:pos x="72" y="76"/>
                  </a:cxn>
                  <a:cxn ang="0">
                    <a:pos x="72" y="100"/>
                  </a:cxn>
                  <a:cxn ang="0">
                    <a:pos x="20" y="98"/>
                  </a:cxn>
                  <a:cxn ang="0">
                    <a:pos x="14" y="102"/>
                  </a:cxn>
                  <a:cxn ang="0">
                    <a:pos x="10" y="108"/>
                  </a:cxn>
                  <a:cxn ang="0">
                    <a:pos x="0" y="108"/>
                  </a:cxn>
                  <a:cxn ang="0">
                    <a:pos x="0" y="86"/>
                  </a:cxn>
                  <a:cxn ang="0">
                    <a:pos x="6" y="76"/>
                  </a:cxn>
                  <a:cxn ang="0">
                    <a:pos x="12" y="64"/>
                  </a:cxn>
                  <a:cxn ang="0">
                    <a:pos x="18" y="56"/>
                  </a:cxn>
                  <a:cxn ang="0">
                    <a:pos x="24" y="48"/>
                  </a:cxn>
                  <a:cxn ang="0">
                    <a:pos x="24" y="38"/>
                  </a:cxn>
                  <a:cxn ang="0">
                    <a:pos x="22" y="34"/>
                  </a:cxn>
                  <a:cxn ang="0">
                    <a:pos x="22" y="28"/>
                  </a:cxn>
                  <a:cxn ang="0">
                    <a:pos x="20" y="16"/>
                  </a:cxn>
                  <a:cxn ang="0">
                    <a:pos x="24" y="14"/>
                  </a:cxn>
                  <a:cxn ang="0">
                    <a:pos x="30" y="12"/>
                  </a:cxn>
                  <a:cxn ang="0">
                    <a:pos x="52" y="12"/>
                  </a:cxn>
                  <a:cxn ang="0">
                    <a:pos x="62" y="10"/>
                  </a:cxn>
                  <a:cxn ang="0">
                    <a:pos x="72" y="4"/>
                  </a:cxn>
                  <a:cxn ang="0">
                    <a:pos x="76" y="0"/>
                  </a:cxn>
                </a:cxnLst>
                <a:rect l="0" t="0" r="r" b="b"/>
                <a:pathLst>
                  <a:path w="88" h="108">
                    <a:moveTo>
                      <a:pt x="76" y="0"/>
                    </a:moveTo>
                    <a:lnTo>
                      <a:pt x="72" y="4"/>
                    </a:lnTo>
                    <a:lnTo>
                      <a:pt x="76" y="12"/>
                    </a:lnTo>
                    <a:lnTo>
                      <a:pt x="80" y="20"/>
                    </a:lnTo>
                    <a:lnTo>
                      <a:pt x="86" y="32"/>
                    </a:lnTo>
                    <a:lnTo>
                      <a:pt x="88" y="38"/>
                    </a:lnTo>
                    <a:lnTo>
                      <a:pt x="88" y="42"/>
                    </a:lnTo>
                    <a:lnTo>
                      <a:pt x="88" y="48"/>
                    </a:lnTo>
                    <a:lnTo>
                      <a:pt x="88" y="52"/>
                    </a:lnTo>
                    <a:lnTo>
                      <a:pt x="72" y="76"/>
                    </a:lnTo>
                    <a:lnTo>
                      <a:pt x="72" y="100"/>
                    </a:lnTo>
                    <a:lnTo>
                      <a:pt x="20" y="98"/>
                    </a:lnTo>
                    <a:lnTo>
                      <a:pt x="14" y="102"/>
                    </a:lnTo>
                    <a:lnTo>
                      <a:pt x="10" y="108"/>
                    </a:lnTo>
                    <a:lnTo>
                      <a:pt x="0" y="108"/>
                    </a:lnTo>
                    <a:lnTo>
                      <a:pt x="0" y="86"/>
                    </a:lnTo>
                    <a:lnTo>
                      <a:pt x="6" y="76"/>
                    </a:lnTo>
                    <a:lnTo>
                      <a:pt x="12" y="64"/>
                    </a:lnTo>
                    <a:lnTo>
                      <a:pt x="18" y="56"/>
                    </a:lnTo>
                    <a:lnTo>
                      <a:pt x="24" y="48"/>
                    </a:lnTo>
                    <a:lnTo>
                      <a:pt x="24" y="38"/>
                    </a:lnTo>
                    <a:lnTo>
                      <a:pt x="22" y="34"/>
                    </a:lnTo>
                    <a:lnTo>
                      <a:pt x="22" y="28"/>
                    </a:lnTo>
                    <a:lnTo>
                      <a:pt x="20" y="16"/>
                    </a:lnTo>
                    <a:lnTo>
                      <a:pt x="24" y="14"/>
                    </a:lnTo>
                    <a:lnTo>
                      <a:pt x="30" y="12"/>
                    </a:lnTo>
                    <a:lnTo>
                      <a:pt x="52" y="12"/>
                    </a:lnTo>
                    <a:lnTo>
                      <a:pt x="62" y="10"/>
                    </a:lnTo>
                    <a:lnTo>
                      <a:pt x="72" y="4"/>
                    </a:lnTo>
                    <a:lnTo>
                      <a:pt x="76"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4" name="Freeform 96"/>
              <p:cNvSpPr>
                <a:spLocks noChangeAspect="1"/>
              </p:cNvSpPr>
              <p:nvPr/>
            </p:nvSpPr>
            <p:spPr bwMode="auto">
              <a:xfrm>
                <a:off x="4266374" y="4655002"/>
                <a:ext cx="255371" cy="237356"/>
              </a:xfrm>
              <a:custGeom>
                <a:avLst/>
                <a:gdLst/>
                <a:ahLst/>
                <a:cxnLst>
                  <a:cxn ang="0">
                    <a:pos x="74" y="2"/>
                  </a:cxn>
                  <a:cxn ang="0">
                    <a:pos x="136" y="48"/>
                  </a:cxn>
                  <a:cxn ang="0">
                    <a:pos x="160" y="74"/>
                  </a:cxn>
                  <a:cxn ang="0">
                    <a:pos x="156" y="84"/>
                  </a:cxn>
                  <a:cxn ang="0">
                    <a:pos x="152" y="92"/>
                  </a:cxn>
                  <a:cxn ang="0">
                    <a:pos x="154" y="102"/>
                  </a:cxn>
                  <a:cxn ang="0">
                    <a:pos x="162" y="110"/>
                  </a:cxn>
                  <a:cxn ang="0">
                    <a:pos x="164" y="126"/>
                  </a:cxn>
                  <a:cxn ang="0">
                    <a:pos x="164" y="156"/>
                  </a:cxn>
                  <a:cxn ang="0">
                    <a:pos x="172" y="168"/>
                  </a:cxn>
                  <a:cxn ang="0">
                    <a:pos x="182" y="178"/>
                  </a:cxn>
                  <a:cxn ang="0">
                    <a:pos x="166" y="180"/>
                  </a:cxn>
                  <a:cxn ang="0">
                    <a:pos x="152" y="188"/>
                  </a:cxn>
                  <a:cxn ang="0">
                    <a:pos x="134" y="194"/>
                  </a:cxn>
                  <a:cxn ang="0">
                    <a:pos x="130" y="198"/>
                  </a:cxn>
                  <a:cxn ang="0">
                    <a:pos x="122" y="198"/>
                  </a:cxn>
                  <a:cxn ang="0">
                    <a:pos x="116" y="196"/>
                  </a:cxn>
                  <a:cxn ang="0">
                    <a:pos x="112" y="200"/>
                  </a:cxn>
                  <a:cxn ang="0">
                    <a:pos x="82" y="198"/>
                  </a:cxn>
                  <a:cxn ang="0">
                    <a:pos x="80" y="170"/>
                  </a:cxn>
                  <a:cxn ang="0">
                    <a:pos x="76" y="160"/>
                  </a:cxn>
                  <a:cxn ang="0">
                    <a:pos x="46" y="150"/>
                  </a:cxn>
                  <a:cxn ang="0">
                    <a:pos x="30" y="142"/>
                  </a:cxn>
                  <a:cxn ang="0">
                    <a:pos x="24" y="138"/>
                  </a:cxn>
                  <a:cxn ang="0">
                    <a:pos x="20" y="134"/>
                  </a:cxn>
                  <a:cxn ang="0">
                    <a:pos x="16" y="120"/>
                  </a:cxn>
                  <a:cxn ang="0">
                    <a:pos x="10" y="110"/>
                  </a:cxn>
                  <a:cxn ang="0">
                    <a:pos x="0" y="100"/>
                  </a:cxn>
                  <a:cxn ang="0">
                    <a:pos x="0" y="92"/>
                  </a:cxn>
                  <a:cxn ang="0">
                    <a:pos x="0" y="84"/>
                  </a:cxn>
                  <a:cxn ang="0">
                    <a:pos x="0" y="78"/>
                  </a:cxn>
                  <a:cxn ang="0">
                    <a:pos x="2" y="68"/>
                  </a:cxn>
                  <a:cxn ang="0">
                    <a:pos x="20" y="50"/>
                  </a:cxn>
                  <a:cxn ang="0">
                    <a:pos x="22" y="42"/>
                  </a:cxn>
                  <a:cxn ang="0">
                    <a:pos x="20" y="38"/>
                  </a:cxn>
                  <a:cxn ang="0">
                    <a:pos x="16" y="34"/>
                  </a:cxn>
                  <a:cxn ang="0">
                    <a:pos x="20" y="28"/>
                  </a:cxn>
                  <a:cxn ang="0">
                    <a:pos x="22" y="22"/>
                  </a:cxn>
                  <a:cxn ang="0">
                    <a:pos x="24" y="16"/>
                  </a:cxn>
                  <a:cxn ang="0">
                    <a:pos x="20" y="6"/>
                  </a:cxn>
                  <a:cxn ang="0">
                    <a:pos x="24" y="0"/>
                  </a:cxn>
                </a:cxnLst>
                <a:rect l="0" t="0" r="r" b="b"/>
                <a:pathLst>
                  <a:path w="182" h="200">
                    <a:moveTo>
                      <a:pt x="30" y="0"/>
                    </a:moveTo>
                    <a:lnTo>
                      <a:pt x="74" y="2"/>
                    </a:lnTo>
                    <a:lnTo>
                      <a:pt x="136" y="40"/>
                    </a:lnTo>
                    <a:lnTo>
                      <a:pt x="136" y="48"/>
                    </a:lnTo>
                    <a:lnTo>
                      <a:pt x="162" y="70"/>
                    </a:lnTo>
                    <a:lnTo>
                      <a:pt x="160" y="74"/>
                    </a:lnTo>
                    <a:lnTo>
                      <a:pt x="158" y="80"/>
                    </a:lnTo>
                    <a:lnTo>
                      <a:pt x="156" y="84"/>
                    </a:lnTo>
                    <a:lnTo>
                      <a:pt x="154" y="88"/>
                    </a:lnTo>
                    <a:lnTo>
                      <a:pt x="152" y="92"/>
                    </a:lnTo>
                    <a:lnTo>
                      <a:pt x="152" y="98"/>
                    </a:lnTo>
                    <a:lnTo>
                      <a:pt x="154" y="102"/>
                    </a:lnTo>
                    <a:lnTo>
                      <a:pt x="158" y="106"/>
                    </a:lnTo>
                    <a:lnTo>
                      <a:pt x="162" y="110"/>
                    </a:lnTo>
                    <a:lnTo>
                      <a:pt x="164" y="116"/>
                    </a:lnTo>
                    <a:lnTo>
                      <a:pt x="164" y="126"/>
                    </a:lnTo>
                    <a:lnTo>
                      <a:pt x="164" y="142"/>
                    </a:lnTo>
                    <a:lnTo>
                      <a:pt x="164" y="156"/>
                    </a:lnTo>
                    <a:lnTo>
                      <a:pt x="168" y="162"/>
                    </a:lnTo>
                    <a:lnTo>
                      <a:pt x="172" y="168"/>
                    </a:lnTo>
                    <a:lnTo>
                      <a:pt x="176" y="174"/>
                    </a:lnTo>
                    <a:lnTo>
                      <a:pt x="182" y="178"/>
                    </a:lnTo>
                    <a:lnTo>
                      <a:pt x="174" y="180"/>
                    </a:lnTo>
                    <a:lnTo>
                      <a:pt x="166" y="180"/>
                    </a:lnTo>
                    <a:lnTo>
                      <a:pt x="162" y="184"/>
                    </a:lnTo>
                    <a:lnTo>
                      <a:pt x="152" y="188"/>
                    </a:lnTo>
                    <a:lnTo>
                      <a:pt x="138" y="192"/>
                    </a:lnTo>
                    <a:lnTo>
                      <a:pt x="134" y="194"/>
                    </a:lnTo>
                    <a:lnTo>
                      <a:pt x="132" y="196"/>
                    </a:lnTo>
                    <a:lnTo>
                      <a:pt x="130" y="198"/>
                    </a:lnTo>
                    <a:lnTo>
                      <a:pt x="126" y="198"/>
                    </a:lnTo>
                    <a:lnTo>
                      <a:pt x="122" y="198"/>
                    </a:lnTo>
                    <a:lnTo>
                      <a:pt x="120" y="196"/>
                    </a:lnTo>
                    <a:lnTo>
                      <a:pt x="116" y="196"/>
                    </a:lnTo>
                    <a:lnTo>
                      <a:pt x="114" y="198"/>
                    </a:lnTo>
                    <a:lnTo>
                      <a:pt x="112" y="200"/>
                    </a:lnTo>
                    <a:lnTo>
                      <a:pt x="108" y="200"/>
                    </a:lnTo>
                    <a:lnTo>
                      <a:pt x="82" y="198"/>
                    </a:lnTo>
                    <a:lnTo>
                      <a:pt x="82" y="172"/>
                    </a:lnTo>
                    <a:lnTo>
                      <a:pt x="80" y="170"/>
                    </a:lnTo>
                    <a:lnTo>
                      <a:pt x="78" y="166"/>
                    </a:lnTo>
                    <a:lnTo>
                      <a:pt x="76" y="160"/>
                    </a:lnTo>
                    <a:lnTo>
                      <a:pt x="60" y="160"/>
                    </a:lnTo>
                    <a:lnTo>
                      <a:pt x="46" y="150"/>
                    </a:lnTo>
                    <a:lnTo>
                      <a:pt x="40" y="146"/>
                    </a:lnTo>
                    <a:lnTo>
                      <a:pt x="30" y="142"/>
                    </a:lnTo>
                    <a:lnTo>
                      <a:pt x="26" y="140"/>
                    </a:lnTo>
                    <a:lnTo>
                      <a:pt x="24" y="138"/>
                    </a:lnTo>
                    <a:lnTo>
                      <a:pt x="22" y="136"/>
                    </a:lnTo>
                    <a:lnTo>
                      <a:pt x="20" y="134"/>
                    </a:lnTo>
                    <a:lnTo>
                      <a:pt x="18" y="126"/>
                    </a:lnTo>
                    <a:lnTo>
                      <a:pt x="16" y="120"/>
                    </a:lnTo>
                    <a:lnTo>
                      <a:pt x="16" y="114"/>
                    </a:lnTo>
                    <a:lnTo>
                      <a:pt x="10" y="110"/>
                    </a:lnTo>
                    <a:lnTo>
                      <a:pt x="6" y="104"/>
                    </a:lnTo>
                    <a:lnTo>
                      <a:pt x="0" y="100"/>
                    </a:lnTo>
                    <a:lnTo>
                      <a:pt x="0" y="94"/>
                    </a:lnTo>
                    <a:lnTo>
                      <a:pt x="0" y="92"/>
                    </a:lnTo>
                    <a:lnTo>
                      <a:pt x="2" y="88"/>
                    </a:lnTo>
                    <a:lnTo>
                      <a:pt x="0" y="84"/>
                    </a:lnTo>
                    <a:lnTo>
                      <a:pt x="0" y="82"/>
                    </a:lnTo>
                    <a:lnTo>
                      <a:pt x="0" y="78"/>
                    </a:lnTo>
                    <a:lnTo>
                      <a:pt x="0" y="72"/>
                    </a:lnTo>
                    <a:lnTo>
                      <a:pt x="2" y="68"/>
                    </a:lnTo>
                    <a:lnTo>
                      <a:pt x="8" y="60"/>
                    </a:lnTo>
                    <a:lnTo>
                      <a:pt x="20" y="50"/>
                    </a:lnTo>
                    <a:lnTo>
                      <a:pt x="22" y="46"/>
                    </a:lnTo>
                    <a:lnTo>
                      <a:pt x="22" y="42"/>
                    </a:lnTo>
                    <a:lnTo>
                      <a:pt x="22" y="40"/>
                    </a:lnTo>
                    <a:lnTo>
                      <a:pt x="20" y="38"/>
                    </a:lnTo>
                    <a:lnTo>
                      <a:pt x="18" y="36"/>
                    </a:lnTo>
                    <a:lnTo>
                      <a:pt x="16" y="34"/>
                    </a:lnTo>
                    <a:lnTo>
                      <a:pt x="18" y="30"/>
                    </a:lnTo>
                    <a:lnTo>
                      <a:pt x="20" y="28"/>
                    </a:lnTo>
                    <a:lnTo>
                      <a:pt x="22" y="26"/>
                    </a:lnTo>
                    <a:lnTo>
                      <a:pt x="22" y="22"/>
                    </a:lnTo>
                    <a:lnTo>
                      <a:pt x="24" y="22"/>
                    </a:lnTo>
                    <a:lnTo>
                      <a:pt x="24" y="16"/>
                    </a:lnTo>
                    <a:lnTo>
                      <a:pt x="22" y="12"/>
                    </a:lnTo>
                    <a:lnTo>
                      <a:pt x="20" y="6"/>
                    </a:lnTo>
                    <a:lnTo>
                      <a:pt x="22" y="0"/>
                    </a:lnTo>
                    <a:lnTo>
                      <a:pt x="24" y="0"/>
                    </a:lnTo>
                    <a:lnTo>
                      <a:pt x="30"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5" name="Freeform 97"/>
              <p:cNvSpPr>
                <a:spLocks noChangeAspect="1"/>
              </p:cNvSpPr>
              <p:nvPr/>
            </p:nvSpPr>
            <p:spPr bwMode="auto">
              <a:xfrm>
                <a:off x="4256915" y="4655003"/>
                <a:ext cx="41887" cy="40553"/>
              </a:xfrm>
              <a:custGeom>
                <a:avLst/>
                <a:gdLst/>
                <a:ahLst/>
                <a:cxnLst>
                  <a:cxn ang="0">
                    <a:pos x="26" y="28"/>
                  </a:cxn>
                  <a:cxn ang="0">
                    <a:pos x="28" y="26"/>
                  </a:cxn>
                  <a:cxn ang="0">
                    <a:pos x="28" y="22"/>
                  </a:cxn>
                  <a:cxn ang="0">
                    <a:pos x="30" y="22"/>
                  </a:cxn>
                  <a:cxn ang="0">
                    <a:pos x="30" y="16"/>
                  </a:cxn>
                  <a:cxn ang="0">
                    <a:pos x="28" y="12"/>
                  </a:cxn>
                  <a:cxn ang="0">
                    <a:pos x="26" y="6"/>
                  </a:cxn>
                  <a:cxn ang="0">
                    <a:pos x="28" y="0"/>
                  </a:cxn>
                  <a:cxn ang="0">
                    <a:pos x="24" y="2"/>
                  </a:cxn>
                  <a:cxn ang="0">
                    <a:pos x="22" y="4"/>
                  </a:cxn>
                  <a:cxn ang="0">
                    <a:pos x="18" y="10"/>
                  </a:cxn>
                  <a:cxn ang="0">
                    <a:pos x="8" y="10"/>
                  </a:cxn>
                  <a:cxn ang="0">
                    <a:pos x="2" y="18"/>
                  </a:cxn>
                  <a:cxn ang="0">
                    <a:pos x="0" y="24"/>
                  </a:cxn>
                  <a:cxn ang="0">
                    <a:pos x="0" y="30"/>
                  </a:cxn>
                  <a:cxn ang="0">
                    <a:pos x="0" y="32"/>
                  </a:cxn>
                  <a:cxn ang="0">
                    <a:pos x="0" y="34"/>
                  </a:cxn>
                  <a:cxn ang="0">
                    <a:pos x="12" y="34"/>
                  </a:cxn>
                  <a:cxn ang="0">
                    <a:pos x="14" y="30"/>
                  </a:cxn>
                  <a:cxn ang="0">
                    <a:pos x="14" y="28"/>
                  </a:cxn>
                  <a:cxn ang="0">
                    <a:pos x="16" y="26"/>
                  </a:cxn>
                  <a:cxn ang="0">
                    <a:pos x="26" y="26"/>
                  </a:cxn>
                  <a:cxn ang="0">
                    <a:pos x="26" y="28"/>
                  </a:cxn>
                </a:cxnLst>
                <a:rect l="0" t="0" r="r" b="b"/>
                <a:pathLst>
                  <a:path w="30" h="34">
                    <a:moveTo>
                      <a:pt x="26" y="28"/>
                    </a:moveTo>
                    <a:lnTo>
                      <a:pt x="28" y="26"/>
                    </a:lnTo>
                    <a:lnTo>
                      <a:pt x="28" y="22"/>
                    </a:lnTo>
                    <a:lnTo>
                      <a:pt x="30" y="22"/>
                    </a:lnTo>
                    <a:lnTo>
                      <a:pt x="30" y="16"/>
                    </a:lnTo>
                    <a:lnTo>
                      <a:pt x="28" y="12"/>
                    </a:lnTo>
                    <a:lnTo>
                      <a:pt x="26" y="6"/>
                    </a:lnTo>
                    <a:lnTo>
                      <a:pt x="28" y="0"/>
                    </a:lnTo>
                    <a:lnTo>
                      <a:pt x="24" y="2"/>
                    </a:lnTo>
                    <a:lnTo>
                      <a:pt x="22" y="4"/>
                    </a:lnTo>
                    <a:lnTo>
                      <a:pt x="18" y="10"/>
                    </a:lnTo>
                    <a:lnTo>
                      <a:pt x="8" y="10"/>
                    </a:lnTo>
                    <a:lnTo>
                      <a:pt x="2" y="18"/>
                    </a:lnTo>
                    <a:lnTo>
                      <a:pt x="0" y="24"/>
                    </a:lnTo>
                    <a:lnTo>
                      <a:pt x="0" y="30"/>
                    </a:lnTo>
                    <a:lnTo>
                      <a:pt x="0" y="32"/>
                    </a:lnTo>
                    <a:lnTo>
                      <a:pt x="0" y="34"/>
                    </a:lnTo>
                    <a:lnTo>
                      <a:pt x="12" y="34"/>
                    </a:lnTo>
                    <a:lnTo>
                      <a:pt x="14" y="30"/>
                    </a:lnTo>
                    <a:lnTo>
                      <a:pt x="14" y="28"/>
                    </a:lnTo>
                    <a:lnTo>
                      <a:pt x="16" y="26"/>
                    </a:lnTo>
                    <a:lnTo>
                      <a:pt x="26" y="26"/>
                    </a:lnTo>
                    <a:lnTo>
                      <a:pt x="26" y="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6" name="Freeform 98"/>
              <p:cNvSpPr>
                <a:spLocks noChangeAspect="1"/>
              </p:cNvSpPr>
              <p:nvPr/>
            </p:nvSpPr>
            <p:spPr bwMode="auto">
              <a:xfrm>
                <a:off x="4256914" y="4684821"/>
                <a:ext cx="39184" cy="51288"/>
              </a:xfrm>
              <a:custGeom>
                <a:avLst/>
                <a:gdLst/>
                <a:ahLst/>
                <a:cxnLst>
                  <a:cxn ang="0">
                    <a:pos x="0" y="8"/>
                  </a:cxn>
                  <a:cxn ang="0">
                    <a:pos x="2" y="12"/>
                  </a:cxn>
                  <a:cxn ang="0">
                    <a:pos x="6" y="14"/>
                  </a:cxn>
                  <a:cxn ang="0">
                    <a:pos x="6" y="16"/>
                  </a:cxn>
                  <a:cxn ang="0">
                    <a:pos x="4" y="20"/>
                  </a:cxn>
                  <a:cxn ang="0">
                    <a:pos x="4" y="24"/>
                  </a:cxn>
                  <a:cxn ang="0">
                    <a:pos x="4" y="28"/>
                  </a:cxn>
                  <a:cxn ang="0">
                    <a:pos x="6" y="34"/>
                  </a:cxn>
                  <a:cxn ang="0">
                    <a:pos x="8" y="42"/>
                  </a:cxn>
                  <a:cxn ang="0">
                    <a:pos x="14" y="34"/>
                  </a:cxn>
                  <a:cxn ang="0">
                    <a:pos x="22" y="28"/>
                  </a:cxn>
                  <a:cxn ang="0">
                    <a:pos x="26" y="24"/>
                  </a:cxn>
                  <a:cxn ang="0">
                    <a:pos x="28" y="20"/>
                  </a:cxn>
                  <a:cxn ang="0">
                    <a:pos x="28" y="16"/>
                  </a:cxn>
                  <a:cxn ang="0">
                    <a:pos x="28" y="14"/>
                  </a:cxn>
                  <a:cxn ang="0">
                    <a:pos x="26" y="12"/>
                  </a:cxn>
                  <a:cxn ang="0">
                    <a:pos x="24" y="10"/>
                  </a:cxn>
                  <a:cxn ang="0">
                    <a:pos x="22" y="8"/>
                  </a:cxn>
                  <a:cxn ang="0">
                    <a:pos x="24" y="2"/>
                  </a:cxn>
                  <a:cxn ang="0">
                    <a:pos x="26" y="0"/>
                  </a:cxn>
                  <a:cxn ang="0">
                    <a:pos x="16" y="0"/>
                  </a:cxn>
                  <a:cxn ang="0">
                    <a:pos x="14" y="2"/>
                  </a:cxn>
                  <a:cxn ang="0">
                    <a:pos x="14" y="4"/>
                  </a:cxn>
                  <a:cxn ang="0">
                    <a:pos x="12" y="8"/>
                  </a:cxn>
                  <a:cxn ang="0">
                    <a:pos x="0" y="8"/>
                  </a:cxn>
                  <a:cxn ang="0">
                    <a:pos x="0" y="6"/>
                  </a:cxn>
                  <a:cxn ang="0">
                    <a:pos x="0" y="4"/>
                  </a:cxn>
                  <a:cxn ang="0">
                    <a:pos x="0" y="8"/>
                  </a:cxn>
                </a:cxnLst>
                <a:rect l="0" t="0" r="r" b="b"/>
                <a:pathLst>
                  <a:path w="28" h="42">
                    <a:moveTo>
                      <a:pt x="0" y="8"/>
                    </a:moveTo>
                    <a:lnTo>
                      <a:pt x="2" y="12"/>
                    </a:lnTo>
                    <a:lnTo>
                      <a:pt x="6" y="14"/>
                    </a:lnTo>
                    <a:lnTo>
                      <a:pt x="6" y="16"/>
                    </a:lnTo>
                    <a:lnTo>
                      <a:pt x="4" y="20"/>
                    </a:lnTo>
                    <a:lnTo>
                      <a:pt x="4" y="24"/>
                    </a:lnTo>
                    <a:lnTo>
                      <a:pt x="4" y="28"/>
                    </a:lnTo>
                    <a:lnTo>
                      <a:pt x="6" y="34"/>
                    </a:lnTo>
                    <a:lnTo>
                      <a:pt x="8" y="42"/>
                    </a:lnTo>
                    <a:lnTo>
                      <a:pt x="14" y="34"/>
                    </a:lnTo>
                    <a:lnTo>
                      <a:pt x="22" y="28"/>
                    </a:lnTo>
                    <a:lnTo>
                      <a:pt x="26" y="24"/>
                    </a:lnTo>
                    <a:lnTo>
                      <a:pt x="28" y="20"/>
                    </a:lnTo>
                    <a:lnTo>
                      <a:pt x="28" y="16"/>
                    </a:lnTo>
                    <a:lnTo>
                      <a:pt x="28" y="14"/>
                    </a:lnTo>
                    <a:lnTo>
                      <a:pt x="26" y="12"/>
                    </a:lnTo>
                    <a:lnTo>
                      <a:pt x="24" y="10"/>
                    </a:lnTo>
                    <a:lnTo>
                      <a:pt x="22" y="8"/>
                    </a:lnTo>
                    <a:lnTo>
                      <a:pt x="24" y="2"/>
                    </a:lnTo>
                    <a:lnTo>
                      <a:pt x="26" y="0"/>
                    </a:lnTo>
                    <a:lnTo>
                      <a:pt x="16" y="0"/>
                    </a:lnTo>
                    <a:lnTo>
                      <a:pt x="14" y="2"/>
                    </a:lnTo>
                    <a:lnTo>
                      <a:pt x="14" y="4"/>
                    </a:lnTo>
                    <a:lnTo>
                      <a:pt x="12" y="8"/>
                    </a:lnTo>
                    <a:lnTo>
                      <a:pt x="0" y="8"/>
                    </a:lnTo>
                    <a:lnTo>
                      <a:pt x="0" y="6"/>
                    </a:lnTo>
                    <a:lnTo>
                      <a:pt x="0" y="4"/>
                    </a:lnTo>
                    <a:lnTo>
                      <a:pt x="0"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7" name="Freeform 99"/>
              <p:cNvSpPr>
                <a:spLocks noChangeAspect="1"/>
              </p:cNvSpPr>
              <p:nvPr/>
            </p:nvSpPr>
            <p:spPr bwMode="auto">
              <a:xfrm>
                <a:off x="3883991" y="4520222"/>
                <a:ext cx="418863" cy="409112"/>
              </a:xfrm>
              <a:custGeom>
                <a:avLst/>
                <a:gdLst/>
                <a:ahLst/>
                <a:cxnLst>
                  <a:cxn ang="0">
                    <a:pos x="270" y="256"/>
                  </a:cxn>
                  <a:cxn ang="0">
                    <a:pos x="258" y="266"/>
                  </a:cxn>
                  <a:cxn ang="0">
                    <a:pos x="258" y="318"/>
                  </a:cxn>
                  <a:cxn ang="0">
                    <a:pos x="276" y="324"/>
                  </a:cxn>
                  <a:cxn ang="0">
                    <a:pos x="272" y="344"/>
                  </a:cxn>
                  <a:cxn ang="0">
                    <a:pos x="262" y="338"/>
                  </a:cxn>
                  <a:cxn ang="0">
                    <a:pos x="242" y="320"/>
                  </a:cxn>
                  <a:cxn ang="0">
                    <a:pos x="232" y="316"/>
                  </a:cxn>
                  <a:cxn ang="0">
                    <a:pos x="224" y="320"/>
                  </a:cxn>
                  <a:cxn ang="0">
                    <a:pos x="208" y="312"/>
                  </a:cxn>
                  <a:cxn ang="0">
                    <a:pos x="186" y="300"/>
                  </a:cxn>
                  <a:cxn ang="0">
                    <a:pos x="166" y="302"/>
                  </a:cxn>
                  <a:cxn ang="0">
                    <a:pos x="158" y="294"/>
                  </a:cxn>
                  <a:cxn ang="0">
                    <a:pos x="152" y="280"/>
                  </a:cxn>
                  <a:cxn ang="0">
                    <a:pos x="152" y="232"/>
                  </a:cxn>
                  <a:cxn ang="0">
                    <a:pos x="134" y="232"/>
                  </a:cxn>
                  <a:cxn ang="0">
                    <a:pos x="110" y="228"/>
                  </a:cxn>
                  <a:cxn ang="0">
                    <a:pos x="106" y="242"/>
                  </a:cxn>
                  <a:cxn ang="0">
                    <a:pos x="82" y="242"/>
                  </a:cxn>
                  <a:cxn ang="0">
                    <a:pos x="66" y="220"/>
                  </a:cxn>
                  <a:cxn ang="0">
                    <a:pos x="0" y="202"/>
                  </a:cxn>
                  <a:cxn ang="0">
                    <a:pos x="8" y="184"/>
                  </a:cxn>
                  <a:cxn ang="0">
                    <a:pos x="20" y="184"/>
                  </a:cxn>
                  <a:cxn ang="0">
                    <a:pos x="26" y="180"/>
                  </a:cxn>
                  <a:cxn ang="0">
                    <a:pos x="32" y="184"/>
                  </a:cxn>
                  <a:cxn ang="0">
                    <a:pos x="46" y="182"/>
                  </a:cxn>
                  <a:cxn ang="0">
                    <a:pos x="56" y="156"/>
                  </a:cxn>
                  <a:cxn ang="0">
                    <a:pos x="64" y="136"/>
                  </a:cxn>
                  <a:cxn ang="0">
                    <a:pos x="74" y="118"/>
                  </a:cxn>
                  <a:cxn ang="0">
                    <a:pos x="82" y="108"/>
                  </a:cxn>
                  <a:cxn ang="0">
                    <a:pos x="80" y="98"/>
                  </a:cxn>
                  <a:cxn ang="0">
                    <a:pos x="98" y="44"/>
                  </a:cxn>
                  <a:cxn ang="0">
                    <a:pos x="94" y="36"/>
                  </a:cxn>
                  <a:cxn ang="0">
                    <a:pos x="98" y="16"/>
                  </a:cxn>
                  <a:cxn ang="0">
                    <a:pos x="108" y="6"/>
                  </a:cxn>
                  <a:cxn ang="0">
                    <a:pos x="122" y="8"/>
                  </a:cxn>
                  <a:cxn ang="0">
                    <a:pos x="152" y="20"/>
                  </a:cxn>
                  <a:cxn ang="0">
                    <a:pos x="162" y="18"/>
                  </a:cxn>
                  <a:cxn ang="0">
                    <a:pos x="170" y="14"/>
                  </a:cxn>
                  <a:cxn ang="0">
                    <a:pos x="182" y="10"/>
                  </a:cxn>
                  <a:cxn ang="0">
                    <a:pos x="204" y="8"/>
                  </a:cxn>
                  <a:cxn ang="0">
                    <a:pos x="216" y="2"/>
                  </a:cxn>
                  <a:cxn ang="0">
                    <a:pos x="246" y="14"/>
                  </a:cxn>
                  <a:cxn ang="0">
                    <a:pos x="260" y="16"/>
                  </a:cxn>
                  <a:cxn ang="0">
                    <a:pos x="272" y="16"/>
                  </a:cxn>
                  <a:cxn ang="0">
                    <a:pos x="284" y="24"/>
                  </a:cxn>
                  <a:cxn ang="0">
                    <a:pos x="296" y="50"/>
                  </a:cxn>
                  <a:cxn ang="0">
                    <a:pos x="292" y="72"/>
                  </a:cxn>
                  <a:cxn ang="0">
                    <a:pos x="274" y="102"/>
                  </a:cxn>
                  <a:cxn ang="0">
                    <a:pos x="268" y="132"/>
                  </a:cxn>
                  <a:cxn ang="0">
                    <a:pos x="268" y="152"/>
                  </a:cxn>
                  <a:cxn ang="0">
                    <a:pos x="270" y="160"/>
                  </a:cxn>
                  <a:cxn ang="0">
                    <a:pos x="272" y="174"/>
                  </a:cxn>
                  <a:cxn ang="0">
                    <a:pos x="272" y="192"/>
                  </a:cxn>
                  <a:cxn ang="0">
                    <a:pos x="274" y="202"/>
                  </a:cxn>
                  <a:cxn ang="0">
                    <a:pos x="272" y="214"/>
                  </a:cxn>
                  <a:cxn ang="0">
                    <a:pos x="288" y="228"/>
                  </a:cxn>
                  <a:cxn ang="0">
                    <a:pos x="292" y="248"/>
                  </a:cxn>
                </a:cxnLst>
                <a:rect l="0" t="0" r="r" b="b"/>
                <a:pathLst>
                  <a:path w="298" h="346">
                    <a:moveTo>
                      <a:pt x="290" y="248"/>
                    </a:moveTo>
                    <a:lnTo>
                      <a:pt x="280" y="250"/>
                    </a:lnTo>
                    <a:lnTo>
                      <a:pt x="270" y="256"/>
                    </a:lnTo>
                    <a:lnTo>
                      <a:pt x="264" y="258"/>
                    </a:lnTo>
                    <a:lnTo>
                      <a:pt x="260" y="262"/>
                    </a:lnTo>
                    <a:lnTo>
                      <a:pt x="258" y="266"/>
                    </a:lnTo>
                    <a:lnTo>
                      <a:pt x="256" y="272"/>
                    </a:lnTo>
                    <a:lnTo>
                      <a:pt x="256" y="310"/>
                    </a:lnTo>
                    <a:lnTo>
                      <a:pt x="258" y="318"/>
                    </a:lnTo>
                    <a:lnTo>
                      <a:pt x="260" y="320"/>
                    </a:lnTo>
                    <a:lnTo>
                      <a:pt x="266" y="324"/>
                    </a:lnTo>
                    <a:lnTo>
                      <a:pt x="276" y="324"/>
                    </a:lnTo>
                    <a:lnTo>
                      <a:pt x="276" y="336"/>
                    </a:lnTo>
                    <a:lnTo>
                      <a:pt x="274" y="340"/>
                    </a:lnTo>
                    <a:lnTo>
                      <a:pt x="272" y="344"/>
                    </a:lnTo>
                    <a:lnTo>
                      <a:pt x="268" y="346"/>
                    </a:lnTo>
                    <a:lnTo>
                      <a:pt x="266" y="346"/>
                    </a:lnTo>
                    <a:lnTo>
                      <a:pt x="262" y="338"/>
                    </a:lnTo>
                    <a:lnTo>
                      <a:pt x="258" y="334"/>
                    </a:lnTo>
                    <a:lnTo>
                      <a:pt x="248" y="326"/>
                    </a:lnTo>
                    <a:lnTo>
                      <a:pt x="242" y="320"/>
                    </a:lnTo>
                    <a:lnTo>
                      <a:pt x="238" y="318"/>
                    </a:lnTo>
                    <a:lnTo>
                      <a:pt x="238" y="314"/>
                    </a:lnTo>
                    <a:lnTo>
                      <a:pt x="232" y="316"/>
                    </a:lnTo>
                    <a:lnTo>
                      <a:pt x="230" y="318"/>
                    </a:lnTo>
                    <a:lnTo>
                      <a:pt x="228" y="318"/>
                    </a:lnTo>
                    <a:lnTo>
                      <a:pt x="224" y="320"/>
                    </a:lnTo>
                    <a:lnTo>
                      <a:pt x="218" y="318"/>
                    </a:lnTo>
                    <a:lnTo>
                      <a:pt x="212" y="316"/>
                    </a:lnTo>
                    <a:lnTo>
                      <a:pt x="208" y="312"/>
                    </a:lnTo>
                    <a:lnTo>
                      <a:pt x="206" y="308"/>
                    </a:lnTo>
                    <a:lnTo>
                      <a:pt x="190" y="302"/>
                    </a:lnTo>
                    <a:lnTo>
                      <a:pt x="186" y="300"/>
                    </a:lnTo>
                    <a:lnTo>
                      <a:pt x="178" y="300"/>
                    </a:lnTo>
                    <a:lnTo>
                      <a:pt x="170" y="300"/>
                    </a:lnTo>
                    <a:lnTo>
                      <a:pt x="166" y="302"/>
                    </a:lnTo>
                    <a:lnTo>
                      <a:pt x="162" y="302"/>
                    </a:lnTo>
                    <a:lnTo>
                      <a:pt x="156" y="300"/>
                    </a:lnTo>
                    <a:lnTo>
                      <a:pt x="158" y="294"/>
                    </a:lnTo>
                    <a:lnTo>
                      <a:pt x="158" y="290"/>
                    </a:lnTo>
                    <a:lnTo>
                      <a:pt x="156" y="282"/>
                    </a:lnTo>
                    <a:lnTo>
                      <a:pt x="152" y="280"/>
                    </a:lnTo>
                    <a:lnTo>
                      <a:pt x="152" y="276"/>
                    </a:lnTo>
                    <a:lnTo>
                      <a:pt x="154" y="254"/>
                    </a:lnTo>
                    <a:lnTo>
                      <a:pt x="152" y="232"/>
                    </a:lnTo>
                    <a:lnTo>
                      <a:pt x="146" y="234"/>
                    </a:lnTo>
                    <a:lnTo>
                      <a:pt x="138" y="234"/>
                    </a:lnTo>
                    <a:lnTo>
                      <a:pt x="134" y="232"/>
                    </a:lnTo>
                    <a:lnTo>
                      <a:pt x="132" y="230"/>
                    </a:lnTo>
                    <a:lnTo>
                      <a:pt x="130" y="228"/>
                    </a:lnTo>
                    <a:lnTo>
                      <a:pt x="110" y="228"/>
                    </a:lnTo>
                    <a:lnTo>
                      <a:pt x="110" y="236"/>
                    </a:lnTo>
                    <a:lnTo>
                      <a:pt x="108" y="240"/>
                    </a:lnTo>
                    <a:lnTo>
                      <a:pt x="106" y="242"/>
                    </a:lnTo>
                    <a:lnTo>
                      <a:pt x="98" y="242"/>
                    </a:lnTo>
                    <a:lnTo>
                      <a:pt x="86" y="242"/>
                    </a:lnTo>
                    <a:lnTo>
                      <a:pt x="82" y="242"/>
                    </a:lnTo>
                    <a:lnTo>
                      <a:pt x="80" y="240"/>
                    </a:lnTo>
                    <a:lnTo>
                      <a:pt x="72" y="232"/>
                    </a:lnTo>
                    <a:lnTo>
                      <a:pt x="66" y="220"/>
                    </a:lnTo>
                    <a:lnTo>
                      <a:pt x="66" y="208"/>
                    </a:lnTo>
                    <a:lnTo>
                      <a:pt x="2" y="208"/>
                    </a:lnTo>
                    <a:lnTo>
                      <a:pt x="0" y="202"/>
                    </a:lnTo>
                    <a:lnTo>
                      <a:pt x="2" y="190"/>
                    </a:lnTo>
                    <a:lnTo>
                      <a:pt x="4" y="186"/>
                    </a:lnTo>
                    <a:lnTo>
                      <a:pt x="8" y="184"/>
                    </a:lnTo>
                    <a:lnTo>
                      <a:pt x="14" y="184"/>
                    </a:lnTo>
                    <a:lnTo>
                      <a:pt x="16" y="184"/>
                    </a:lnTo>
                    <a:lnTo>
                      <a:pt x="20" y="184"/>
                    </a:lnTo>
                    <a:lnTo>
                      <a:pt x="22" y="182"/>
                    </a:lnTo>
                    <a:lnTo>
                      <a:pt x="24" y="180"/>
                    </a:lnTo>
                    <a:lnTo>
                      <a:pt x="26" y="180"/>
                    </a:lnTo>
                    <a:lnTo>
                      <a:pt x="30" y="180"/>
                    </a:lnTo>
                    <a:lnTo>
                      <a:pt x="30" y="184"/>
                    </a:lnTo>
                    <a:lnTo>
                      <a:pt x="32" y="184"/>
                    </a:lnTo>
                    <a:lnTo>
                      <a:pt x="36" y="184"/>
                    </a:lnTo>
                    <a:lnTo>
                      <a:pt x="42" y="184"/>
                    </a:lnTo>
                    <a:lnTo>
                      <a:pt x="46" y="182"/>
                    </a:lnTo>
                    <a:lnTo>
                      <a:pt x="50" y="176"/>
                    </a:lnTo>
                    <a:lnTo>
                      <a:pt x="52" y="168"/>
                    </a:lnTo>
                    <a:lnTo>
                      <a:pt x="56" y="156"/>
                    </a:lnTo>
                    <a:lnTo>
                      <a:pt x="56" y="142"/>
                    </a:lnTo>
                    <a:lnTo>
                      <a:pt x="60" y="140"/>
                    </a:lnTo>
                    <a:lnTo>
                      <a:pt x="64" y="136"/>
                    </a:lnTo>
                    <a:lnTo>
                      <a:pt x="66" y="126"/>
                    </a:lnTo>
                    <a:lnTo>
                      <a:pt x="70" y="122"/>
                    </a:lnTo>
                    <a:lnTo>
                      <a:pt x="74" y="118"/>
                    </a:lnTo>
                    <a:lnTo>
                      <a:pt x="78" y="116"/>
                    </a:lnTo>
                    <a:lnTo>
                      <a:pt x="80" y="112"/>
                    </a:lnTo>
                    <a:lnTo>
                      <a:pt x="82" y="108"/>
                    </a:lnTo>
                    <a:lnTo>
                      <a:pt x="80" y="104"/>
                    </a:lnTo>
                    <a:lnTo>
                      <a:pt x="80" y="102"/>
                    </a:lnTo>
                    <a:lnTo>
                      <a:pt x="80" y="98"/>
                    </a:lnTo>
                    <a:lnTo>
                      <a:pt x="92" y="68"/>
                    </a:lnTo>
                    <a:lnTo>
                      <a:pt x="96" y="54"/>
                    </a:lnTo>
                    <a:lnTo>
                      <a:pt x="98" y="44"/>
                    </a:lnTo>
                    <a:lnTo>
                      <a:pt x="96" y="40"/>
                    </a:lnTo>
                    <a:lnTo>
                      <a:pt x="96" y="38"/>
                    </a:lnTo>
                    <a:lnTo>
                      <a:pt x="94" y="36"/>
                    </a:lnTo>
                    <a:lnTo>
                      <a:pt x="94" y="34"/>
                    </a:lnTo>
                    <a:lnTo>
                      <a:pt x="96" y="24"/>
                    </a:lnTo>
                    <a:lnTo>
                      <a:pt x="98" y="16"/>
                    </a:lnTo>
                    <a:lnTo>
                      <a:pt x="100" y="12"/>
                    </a:lnTo>
                    <a:lnTo>
                      <a:pt x="104" y="10"/>
                    </a:lnTo>
                    <a:lnTo>
                      <a:pt x="108" y="6"/>
                    </a:lnTo>
                    <a:lnTo>
                      <a:pt x="110" y="6"/>
                    </a:lnTo>
                    <a:lnTo>
                      <a:pt x="116" y="6"/>
                    </a:lnTo>
                    <a:lnTo>
                      <a:pt x="122" y="8"/>
                    </a:lnTo>
                    <a:lnTo>
                      <a:pt x="134" y="14"/>
                    </a:lnTo>
                    <a:lnTo>
                      <a:pt x="144" y="20"/>
                    </a:lnTo>
                    <a:lnTo>
                      <a:pt x="152" y="20"/>
                    </a:lnTo>
                    <a:lnTo>
                      <a:pt x="160" y="20"/>
                    </a:lnTo>
                    <a:lnTo>
                      <a:pt x="162" y="20"/>
                    </a:lnTo>
                    <a:lnTo>
                      <a:pt x="162" y="18"/>
                    </a:lnTo>
                    <a:lnTo>
                      <a:pt x="164" y="14"/>
                    </a:lnTo>
                    <a:lnTo>
                      <a:pt x="166" y="12"/>
                    </a:lnTo>
                    <a:lnTo>
                      <a:pt x="170" y="14"/>
                    </a:lnTo>
                    <a:lnTo>
                      <a:pt x="172" y="14"/>
                    </a:lnTo>
                    <a:lnTo>
                      <a:pt x="178" y="12"/>
                    </a:lnTo>
                    <a:lnTo>
                      <a:pt x="182" y="10"/>
                    </a:lnTo>
                    <a:lnTo>
                      <a:pt x="188" y="8"/>
                    </a:lnTo>
                    <a:lnTo>
                      <a:pt x="192" y="8"/>
                    </a:lnTo>
                    <a:lnTo>
                      <a:pt x="204" y="8"/>
                    </a:lnTo>
                    <a:lnTo>
                      <a:pt x="206" y="2"/>
                    </a:lnTo>
                    <a:lnTo>
                      <a:pt x="210" y="0"/>
                    </a:lnTo>
                    <a:lnTo>
                      <a:pt x="216" y="2"/>
                    </a:lnTo>
                    <a:lnTo>
                      <a:pt x="224" y="4"/>
                    </a:lnTo>
                    <a:lnTo>
                      <a:pt x="236" y="4"/>
                    </a:lnTo>
                    <a:lnTo>
                      <a:pt x="246" y="14"/>
                    </a:lnTo>
                    <a:lnTo>
                      <a:pt x="252" y="16"/>
                    </a:lnTo>
                    <a:lnTo>
                      <a:pt x="260" y="20"/>
                    </a:lnTo>
                    <a:lnTo>
                      <a:pt x="260" y="16"/>
                    </a:lnTo>
                    <a:lnTo>
                      <a:pt x="264" y="16"/>
                    </a:lnTo>
                    <a:lnTo>
                      <a:pt x="268" y="20"/>
                    </a:lnTo>
                    <a:lnTo>
                      <a:pt x="272" y="16"/>
                    </a:lnTo>
                    <a:lnTo>
                      <a:pt x="280" y="16"/>
                    </a:lnTo>
                    <a:lnTo>
                      <a:pt x="282" y="20"/>
                    </a:lnTo>
                    <a:lnTo>
                      <a:pt x="284" y="24"/>
                    </a:lnTo>
                    <a:lnTo>
                      <a:pt x="294" y="32"/>
                    </a:lnTo>
                    <a:lnTo>
                      <a:pt x="296" y="44"/>
                    </a:lnTo>
                    <a:lnTo>
                      <a:pt x="296" y="50"/>
                    </a:lnTo>
                    <a:lnTo>
                      <a:pt x="298" y="54"/>
                    </a:lnTo>
                    <a:lnTo>
                      <a:pt x="298" y="64"/>
                    </a:lnTo>
                    <a:lnTo>
                      <a:pt x="292" y="72"/>
                    </a:lnTo>
                    <a:lnTo>
                      <a:pt x="286" y="80"/>
                    </a:lnTo>
                    <a:lnTo>
                      <a:pt x="280" y="92"/>
                    </a:lnTo>
                    <a:lnTo>
                      <a:pt x="274" y="102"/>
                    </a:lnTo>
                    <a:lnTo>
                      <a:pt x="274" y="124"/>
                    </a:lnTo>
                    <a:lnTo>
                      <a:pt x="272" y="128"/>
                    </a:lnTo>
                    <a:lnTo>
                      <a:pt x="268" y="132"/>
                    </a:lnTo>
                    <a:lnTo>
                      <a:pt x="266" y="138"/>
                    </a:lnTo>
                    <a:lnTo>
                      <a:pt x="266" y="148"/>
                    </a:lnTo>
                    <a:lnTo>
                      <a:pt x="268" y="152"/>
                    </a:lnTo>
                    <a:lnTo>
                      <a:pt x="272" y="154"/>
                    </a:lnTo>
                    <a:lnTo>
                      <a:pt x="272" y="156"/>
                    </a:lnTo>
                    <a:lnTo>
                      <a:pt x="270" y="160"/>
                    </a:lnTo>
                    <a:lnTo>
                      <a:pt x="270" y="164"/>
                    </a:lnTo>
                    <a:lnTo>
                      <a:pt x="270" y="168"/>
                    </a:lnTo>
                    <a:lnTo>
                      <a:pt x="272" y="174"/>
                    </a:lnTo>
                    <a:lnTo>
                      <a:pt x="274" y="182"/>
                    </a:lnTo>
                    <a:lnTo>
                      <a:pt x="272" y="186"/>
                    </a:lnTo>
                    <a:lnTo>
                      <a:pt x="272" y="192"/>
                    </a:lnTo>
                    <a:lnTo>
                      <a:pt x="272" y="196"/>
                    </a:lnTo>
                    <a:lnTo>
                      <a:pt x="272" y="198"/>
                    </a:lnTo>
                    <a:lnTo>
                      <a:pt x="274" y="202"/>
                    </a:lnTo>
                    <a:lnTo>
                      <a:pt x="272" y="206"/>
                    </a:lnTo>
                    <a:lnTo>
                      <a:pt x="272" y="208"/>
                    </a:lnTo>
                    <a:lnTo>
                      <a:pt x="272" y="214"/>
                    </a:lnTo>
                    <a:lnTo>
                      <a:pt x="278" y="218"/>
                    </a:lnTo>
                    <a:lnTo>
                      <a:pt x="282" y="224"/>
                    </a:lnTo>
                    <a:lnTo>
                      <a:pt x="288" y="228"/>
                    </a:lnTo>
                    <a:lnTo>
                      <a:pt x="288" y="234"/>
                    </a:lnTo>
                    <a:lnTo>
                      <a:pt x="290" y="240"/>
                    </a:lnTo>
                    <a:lnTo>
                      <a:pt x="292" y="248"/>
                    </a:lnTo>
                    <a:lnTo>
                      <a:pt x="290" y="24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8" name="Freeform 100"/>
              <p:cNvSpPr>
                <a:spLocks noChangeAspect="1"/>
              </p:cNvSpPr>
              <p:nvPr/>
            </p:nvSpPr>
            <p:spPr bwMode="auto">
              <a:xfrm>
                <a:off x="4274480" y="4864926"/>
                <a:ext cx="247264" cy="355438"/>
              </a:xfrm>
              <a:custGeom>
                <a:avLst/>
                <a:gdLst/>
                <a:ahLst/>
                <a:cxnLst>
                  <a:cxn ang="0">
                    <a:pos x="32" y="288"/>
                  </a:cxn>
                  <a:cxn ang="0">
                    <a:pos x="34" y="274"/>
                  </a:cxn>
                  <a:cxn ang="0">
                    <a:pos x="44" y="268"/>
                  </a:cxn>
                  <a:cxn ang="0">
                    <a:pos x="66" y="258"/>
                  </a:cxn>
                  <a:cxn ang="0">
                    <a:pos x="74" y="248"/>
                  </a:cxn>
                  <a:cxn ang="0">
                    <a:pos x="78" y="218"/>
                  </a:cxn>
                  <a:cxn ang="0">
                    <a:pos x="76" y="204"/>
                  </a:cxn>
                  <a:cxn ang="0">
                    <a:pos x="74" y="192"/>
                  </a:cxn>
                  <a:cxn ang="0">
                    <a:pos x="70" y="182"/>
                  </a:cxn>
                  <a:cxn ang="0">
                    <a:pos x="70" y="172"/>
                  </a:cxn>
                  <a:cxn ang="0">
                    <a:pos x="76" y="162"/>
                  </a:cxn>
                  <a:cxn ang="0">
                    <a:pos x="94" y="152"/>
                  </a:cxn>
                  <a:cxn ang="0">
                    <a:pos x="102" y="140"/>
                  </a:cxn>
                  <a:cxn ang="0">
                    <a:pos x="112" y="128"/>
                  </a:cxn>
                  <a:cxn ang="0">
                    <a:pos x="150" y="108"/>
                  </a:cxn>
                  <a:cxn ang="0">
                    <a:pos x="162" y="94"/>
                  </a:cxn>
                  <a:cxn ang="0">
                    <a:pos x="168" y="76"/>
                  </a:cxn>
                  <a:cxn ang="0">
                    <a:pos x="170" y="56"/>
                  </a:cxn>
                  <a:cxn ang="0">
                    <a:pos x="174" y="48"/>
                  </a:cxn>
                  <a:cxn ang="0">
                    <a:pos x="172" y="10"/>
                  </a:cxn>
                  <a:cxn ang="0">
                    <a:pos x="166" y="2"/>
                  </a:cxn>
                  <a:cxn ang="0">
                    <a:pos x="154" y="6"/>
                  </a:cxn>
                  <a:cxn ang="0">
                    <a:pos x="130" y="14"/>
                  </a:cxn>
                  <a:cxn ang="0">
                    <a:pos x="124" y="18"/>
                  </a:cxn>
                  <a:cxn ang="0">
                    <a:pos x="118" y="20"/>
                  </a:cxn>
                  <a:cxn ang="0">
                    <a:pos x="112" y="18"/>
                  </a:cxn>
                  <a:cxn ang="0">
                    <a:pos x="106" y="20"/>
                  </a:cxn>
                  <a:cxn ang="0">
                    <a:pos x="100" y="22"/>
                  </a:cxn>
                  <a:cxn ang="0">
                    <a:pos x="72" y="28"/>
                  </a:cxn>
                  <a:cxn ang="0">
                    <a:pos x="72" y="42"/>
                  </a:cxn>
                  <a:cxn ang="0">
                    <a:pos x="80" y="56"/>
                  </a:cxn>
                  <a:cxn ang="0">
                    <a:pos x="92" y="74"/>
                  </a:cxn>
                  <a:cxn ang="0">
                    <a:pos x="92" y="88"/>
                  </a:cxn>
                  <a:cxn ang="0">
                    <a:pos x="88" y="100"/>
                  </a:cxn>
                  <a:cxn ang="0">
                    <a:pos x="82" y="106"/>
                  </a:cxn>
                  <a:cxn ang="0">
                    <a:pos x="78" y="110"/>
                  </a:cxn>
                  <a:cxn ang="0">
                    <a:pos x="76" y="114"/>
                  </a:cxn>
                  <a:cxn ang="0">
                    <a:pos x="68" y="108"/>
                  </a:cxn>
                  <a:cxn ang="0">
                    <a:pos x="68" y="90"/>
                  </a:cxn>
                  <a:cxn ang="0">
                    <a:pos x="70" y="72"/>
                  </a:cxn>
                  <a:cxn ang="0">
                    <a:pos x="56" y="72"/>
                  </a:cxn>
                  <a:cxn ang="0">
                    <a:pos x="50" y="64"/>
                  </a:cxn>
                  <a:cxn ang="0">
                    <a:pos x="34" y="70"/>
                  </a:cxn>
                  <a:cxn ang="0">
                    <a:pos x="12" y="76"/>
                  </a:cxn>
                  <a:cxn ang="0">
                    <a:pos x="0" y="82"/>
                  </a:cxn>
                  <a:cxn ang="0">
                    <a:pos x="18" y="102"/>
                  </a:cxn>
                  <a:cxn ang="0">
                    <a:pos x="36" y="110"/>
                  </a:cxn>
                  <a:cxn ang="0">
                    <a:pos x="44" y="120"/>
                  </a:cxn>
                  <a:cxn ang="0">
                    <a:pos x="44" y="136"/>
                  </a:cxn>
                  <a:cxn ang="0">
                    <a:pos x="40" y="148"/>
                  </a:cxn>
                  <a:cxn ang="0">
                    <a:pos x="40" y="168"/>
                  </a:cxn>
                  <a:cxn ang="0">
                    <a:pos x="36" y="188"/>
                  </a:cxn>
                  <a:cxn ang="0">
                    <a:pos x="18" y="208"/>
                  </a:cxn>
                  <a:cxn ang="0">
                    <a:pos x="14" y="226"/>
                  </a:cxn>
                  <a:cxn ang="0">
                    <a:pos x="20" y="242"/>
                  </a:cxn>
                  <a:cxn ang="0">
                    <a:pos x="20" y="258"/>
                  </a:cxn>
                  <a:cxn ang="0">
                    <a:pos x="18" y="298"/>
                  </a:cxn>
                  <a:cxn ang="0">
                    <a:pos x="30" y="298"/>
                  </a:cxn>
                </a:cxnLst>
                <a:rect l="0" t="0" r="r" b="b"/>
                <a:pathLst>
                  <a:path w="174" h="298">
                    <a:moveTo>
                      <a:pt x="30" y="298"/>
                    </a:moveTo>
                    <a:lnTo>
                      <a:pt x="32" y="288"/>
                    </a:lnTo>
                    <a:lnTo>
                      <a:pt x="32" y="282"/>
                    </a:lnTo>
                    <a:lnTo>
                      <a:pt x="34" y="274"/>
                    </a:lnTo>
                    <a:lnTo>
                      <a:pt x="38" y="270"/>
                    </a:lnTo>
                    <a:lnTo>
                      <a:pt x="44" y="268"/>
                    </a:lnTo>
                    <a:lnTo>
                      <a:pt x="50" y="264"/>
                    </a:lnTo>
                    <a:lnTo>
                      <a:pt x="66" y="258"/>
                    </a:lnTo>
                    <a:lnTo>
                      <a:pt x="72" y="254"/>
                    </a:lnTo>
                    <a:lnTo>
                      <a:pt x="74" y="248"/>
                    </a:lnTo>
                    <a:lnTo>
                      <a:pt x="78" y="232"/>
                    </a:lnTo>
                    <a:lnTo>
                      <a:pt x="78" y="218"/>
                    </a:lnTo>
                    <a:lnTo>
                      <a:pt x="78" y="210"/>
                    </a:lnTo>
                    <a:lnTo>
                      <a:pt x="76" y="204"/>
                    </a:lnTo>
                    <a:lnTo>
                      <a:pt x="74" y="196"/>
                    </a:lnTo>
                    <a:lnTo>
                      <a:pt x="74" y="192"/>
                    </a:lnTo>
                    <a:lnTo>
                      <a:pt x="74" y="186"/>
                    </a:lnTo>
                    <a:lnTo>
                      <a:pt x="70" y="182"/>
                    </a:lnTo>
                    <a:lnTo>
                      <a:pt x="70" y="178"/>
                    </a:lnTo>
                    <a:lnTo>
                      <a:pt x="70" y="172"/>
                    </a:lnTo>
                    <a:lnTo>
                      <a:pt x="72" y="168"/>
                    </a:lnTo>
                    <a:lnTo>
                      <a:pt x="76" y="162"/>
                    </a:lnTo>
                    <a:lnTo>
                      <a:pt x="86" y="156"/>
                    </a:lnTo>
                    <a:lnTo>
                      <a:pt x="94" y="152"/>
                    </a:lnTo>
                    <a:lnTo>
                      <a:pt x="100" y="148"/>
                    </a:lnTo>
                    <a:lnTo>
                      <a:pt x="102" y="140"/>
                    </a:lnTo>
                    <a:lnTo>
                      <a:pt x="108" y="134"/>
                    </a:lnTo>
                    <a:lnTo>
                      <a:pt x="112" y="128"/>
                    </a:lnTo>
                    <a:lnTo>
                      <a:pt x="130" y="116"/>
                    </a:lnTo>
                    <a:lnTo>
                      <a:pt x="150" y="108"/>
                    </a:lnTo>
                    <a:lnTo>
                      <a:pt x="156" y="100"/>
                    </a:lnTo>
                    <a:lnTo>
                      <a:pt x="162" y="94"/>
                    </a:lnTo>
                    <a:lnTo>
                      <a:pt x="168" y="84"/>
                    </a:lnTo>
                    <a:lnTo>
                      <a:pt x="168" y="76"/>
                    </a:lnTo>
                    <a:lnTo>
                      <a:pt x="168" y="66"/>
                    </a:lnTo>
                    <a:lnTo>
                      <a:pt x="170" y="56"/>
                    </a:lnTo>
                    <a:lnTo>
                      <a:pt x="170" y="50"/>
                    </a:lnTo>
                    <a:lnTo>
                      <a:pt x="174" y="48"/>
                    </a:lnTo>
                    <a:lnTo>
                      <a:pt x="172" y="22"/>
                    </a:lnTo>
                    <a:lnTo>
                      <a:pt x="172" y="10"/>
                    </a:lnTo>
                    <a:lnTo>
                      <a:pt x="174" y="0"/>
                    </a:lnTo>
                    <a:lnTo>
                      <a:pt x="166" y="2"/>
                    </a:lnTo>
                    <a:lnTo>
                      <a:pt x="158" y="2"/>
                    </a:lnTo>
                    <a:lnTo>
                      <a:pt x="154" y="6"/>
                    </a:lnTo>
                    <a:lnTo>
                      <a:pt x="144" y="10"/>
                    </a:lnTo>
                    <a:lnTo>
                      <a:pt x="130" y="14"/>
                    </a:lnTo>
                    <a:lnTo>
                      <a:pt x="126" y="16"/>
                    </a:lnTo>
                    <a:lnTo>
                      <a:pt x="124" y="18"/>
                    </a:lnTo>
                    <a:lnTo>
                      <a:pt x="122" y="20"/>
                    </a:lnTo>
                    <a:lnTo>
                      <a:pt x="118" y="20"/>
                    </a:lnTo>
                    <a:lnTo>
                      <a:pt x="114" y="20"/>
                    </a:lnTo>
                    <a:lnTo>
                      <a:pt x="112" y="18"/>
                    </a:lnTo>
                    <a:lnTo>
                      <a:pt x="108" y="18"/>
                    </a:lnTo>
                    <a:lnTo>
                      <a:pt x="106" y="20"/>
                    </a:lnTo>
                    <a:lnTo>
                      <a:pt x="104" y="22"/>
                    </a:lnTo>
                    <a:lnTo>
                      <a:pt x="100" y="22"/>
                    </a:lnTo>
                    <a:lnTo>
                      <a:pt x="74" y="20"/>
                    </a:lnTo>
                    <a:lnTo>
                      <a:pt x="72" y="28"/>
                    </a:lnTo>
                    <a:lnTo>
                      <a:pt x="70" y="36"/>
                    </a:lnTo>
                    <a:lnTo>
                      <a:pt x="72" y="42"/>
                    </a:lnTo>
                    <a:lnTo>
                      <a:pt x="74" y="48"/>
                    </a:lnTo>
                    <a:lnTo>
                      <a:pt x="80" y="56"/>
                    </a:lnTo>
                    <a:lnTo>
                      <a:pt x="88" y="68"/>
                    </a:lnTo>
                    <a:lnTo>
                      <a:pt x="92" y="74"/>
                    </a:lnTo>
                    <a:lnTo>
                      <a:pt x="92" y="80"/>
                    </a:lnTo>
                    <a:lnTo>
                      <a:pt x="92" y="88"/>
                    </a:lnTo>
                    <a:lnTo>
                      <a:pt x="90" y="94"/>
                    </a:lnTo>
                    <a:lnTo>
                      <a:pt x="88" y="100"/>
                    </a:lnTo>
                    <a:lnTo>
                      <a:pt x="86" y="102"/>
                    </a:lnTo>
                    <a:lnTo>
                      <a:pt x="82" y="106"/>
                    </a:lnTo>
                    <a:lnTo>
                      <a:pt x="80" y="108"/>
                    </a:lnTo>
                    <a:lnTo>
                      <a:pt x="78" y="110"/>
                    </a:lnTo>
                    <a:lnTo>
                      <a:pt x="78" y="118"/>
                    </a:lnTo>
                    <a:lnTo>
                      <a:pt x="76" y="114"/>
                    </a:lnTo>
                    <a:lnTo>
                      <a:pt x="72" y="110"/>
                    </a:lnTo>
                    <a:lnTo>
                      <a:pt x="68" y="108"/>
                    </a:lnTo>
                    <a:lnTo>
                      <a:pt x="66" y="100"/>
                    </a:lnTo>
                    <a:lnTo>
                      <a:pt x="68" y="90"/>
                    </a:lnTo>
                    <a:lnTo>
                      <a:pt x="70" y="82"/>
                    </a:lnTo>
                    <a:lnTo>
                      <a:pt x="70" y="72"/>
                    </a:lnTo>
                    <a:lnTo>
                      <a:pt x="62" y="72"/>
                    </a:lnTo>
                    <a:lnTo>
                      <a:pt x="56" y="72"/>
                    </a:lnTo>
                    <a:lnTo>
                      <a:pt x="52" y="70"/>
                    </a:lnTo>
                    <a:lnTo>
                      <a:pt x="50" y="64"/>
                    </a:lnTo>
                    <a:lnTo>
                      <a:pt x="44" y="64"/>
                    </a:lnTo>
                    <a:lnTo>
                      <a:pt x="34" y="70"/>
                    </a:lnTo>
                    <a:lnTo>
                      <a:pt x="22" y="72"/>
                    </a:lnTo>
                    <a:lnTo>
                      <a:pt x="12" y="76"/>
                    </a:lnTo>
                    <a:lnTo>
                      <a:pt x="6" y="80"/>
                    </a:lnTo>
                    <a:lnTo>
                      <a:pt x="0" y="82"/>
                    </a:lnTo>
                    <a:lnTo>
                      <a:pt x="2" y="98"/>
                    </a:lnTo>
                    <a:lnTo>
                      <a:pt x="18" y="102"/>
                    </a:lnTo>
                    <a:lnTo>
                      <a:pt x="30" y="106"/>
                    </a:lnTo>
                    <a:lnTo>
                      <a:pt x="36" y="110"/>
                    </a:lnTo>
                    <a:lnTo>
                      <a:pt x="40" y="114"/>
                    </a:lnTo>
                    <a:lnTo>
                      <a:pt x="44" y="120"/>
                    </a:lnTo>
                    <a:lnTo>
                      <a:pt x="44" y="128"/>
                    </a:lnTo>
                    <a:lnTo>
                      <a:pt x="44" y="136"/>
                    </a:lnTo>
                    <a:lnTo>
                      <a:pt x="42" y="142"/>
                    </a:lnTo>
                    <a:lnTo>
                      <a:pt x="40" y="148"/>
                    </a:lnTo>
                    <a:lnTo>
                      <a:pt x="40" y="158"/>
                    </a:lnTo>
                    <a:lnTo>
                      <a:pt x="40" y="168"/>
                    </a:lnTo>
                    <a:lnTo>
                      <a:pt x="38" y="178"/>
                    </a:lnTo>
                    <a:lnTo>
                      <a:pt x="36" y="188"/>
                    </a:lnTo>
                    <a:lnTo>
                      <a:pt x="30" y="196"/>
                    </a:lnTo>
                    <a:lnTo>
                      <a:pt x="18" y="208"/>
                    </a:lnTo>
                    <a:lnTo>
                      <a:pt x="14" y="218"/>
                    </a:lnTo>
                    <a:lnTo>
                      <a:pt x="14" y="226"/>
                    </a:lnTo>
                    <a:lnTo>
                      <a:pt x="18" y="234"/>
                    </a:lnTo>
                    <a:lnTo>
                      <a:pt x="20" y="242"/>
                    </a:lnTo>
                    <a:lnTo>
                      <a:pt x="22" y="250"/>
                    </a:lnTo>
                    <a:lnTo>
                      <a:pt x="20" y="258"/>
                    </a:lnTo>
                    <a:lnTo>
                      <a:pt x="18" y="264"/>
                    </a:lnTo>
                    <a:lnTo>
                      <a:pt x="18" y="298"/>
                    </a:lnTo>
                    <a:lnTo>
                      <a:pt x="28" y="298"/>
                    </a:lnTo>
                    <a:lnTo>
                      <a:pt x="30" y="29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89" name="Freeform 101"/>
              <p:cNvSpPr>
                <a:spLocks noChangeAspect="1"/>
              </p:cNvSpPr>
              <p:nvPr/>
            </p:nvSpPr>
            <p:spPr bwMode="auto">
              <a:xfrm>
                <a:off x="3961008" y="5115403"/>
                <a:ext cx="359412" cy="277909"/>
              </a:xfrm>
              <a:custGeom>
                <a:avLst/>
                <a:gdLst/>
                <a:ahLst/>
                <a:cxnLst>
                  <a:cxn ang="0">
                    <a:pos x="252" y="92"/>
                  </a:cxn>
                  <a:cxn ang="0">
                    <a:pos x="256" y="100"/>
                  </a:cxn>
                  <a:cxn ang="0">
                    <a:pos x="256" y="108"/>
                  </a:cxn>
                  <a:cxn ang="0">
                    <a:pos x="248" y="118"/>
                  </a:cxn>
                  <a:cxn ang="0">
                    <a:pos x="226" y="136"/>
                  </a:cxn>
                  <a:cxn ang="0">
                    <a:pos x="206" y="170"/>
                  </a:cxn>
                  <a:cxn ang="0">
                    <a:pos x="182" y="198"/>
                  </a:cxn>
                  <a:cxn ang="0">
                    <a:pos x="162" y="206"/>
                  </a:cxn>
                  <a:cxn ang="0">
                    <a:pos x="146" y="212"/>
                  </a:cxn>
                  <a:cxn ang="0">
                    <a:pos x="132" y="220"/>
                  </a:cxn>
                  <a:cxn ang="0">
                    <a:pos x="112" y="222"/>
                  </a:cxn>
                  <a:cxn ang="0">
                    <a:pos x="82" y="220"/>
                  </a:cxn>
                  <a:cxn ang="0">
                    <a:pos x="78" y="228"/>
                  </a:cxn>
                  <a:cxn ang="0">
                    <a:pos x="58" y="228"/>
                  </a:cxn>
                  <a:cxn ang="0">
                    <a:pos x="46" y="234"/>
                  </a:cxn>
                  <a:cxn ang="0">
                    <a:pos x="22" y="210"/>
                  </a:cxn>
                  <a:cxn ang="0">
                    <a:pos x="22" y="200"/>
                  </a:cxn>
                  <a:cxn ang="0">
                    <a:pos x="24" y="184"/>
                  </a:cxn>
                  <a:cxn ang="0">
                    <a:pos x="20" y="174"/>
                  </a:cxn>
                  <a:cxn ang="0">
                    <a:pos x="16" y="166"/>
                  </a:cxn>
                  <a:cxn ang="0">
                    <a:pos x="10" y="140"/>
                  </a:cxn>
                  <a:cxn ang="0">
                    <a:pos x="0" y="122"/>
                  </a:cxn>
                  <a:cxn ang="0">
                    <a:pos x="6" y="114"/>
                  </a:cxn>
                  <a:cxn ang="0">
                    <a:pos x="14" y="120"/>
                  </a:cxn>
                  <a:cxn ang="0">
                    <a:pos x="24" y="126"/>
                  </a:cxn>
                  <a:cxn ang="0">
                    <a:pos x="42" y="126"/>
                  </a:cxn>
                  <a:cxn ang="0">
                    <a:pos x="52" y="118"/>
                  </a:cxn>
                  <a:cxn ang="0">
                    <a:pos x="54" y="54"/>
                  </a:cxn>
                  <a:cxn ang="0">
                    <a:pos x="68" y="64"/>
                  </a:cxn>
                  <a:cxn ang="0">
                    <a:pos x="70" y="74"/>
                  </a:cxn>
                  <a:cxn ang="0">
                    <a:pos x="66" y="90"/>
                  </a:cxn>
                  <a:cxn ang="0">
                    <a:pos x="90" y="84"/>
                  </a:cxn>
                  <a:cxn ang="0">
                    <a:pos x="106" y="64"/>
                  </a:cxn>
                  <a:cxn ang="0">
                    <a:pos x="116" y="62"/>
                  </a:cxn>
                  <a:cxn ang="0">
                    <a:pos x="126" y="68"/>
                  </a:cxn>
                  <a:cxn ang="0">
                    <a:pos x="138" y="68"/>
                  </a:cxn>
                  <a:cxn ang="0">
                    <a:pos x="146" y="60"/>
                  </a:cxn>
                  <a:cxn ang="0">
                    <a:pos x="152" y="50"/>
                  </a:cxn>
                  <a:cxn ang="0">
                    <a:pos x="158" y="46"/>
                  </a:cxn>
                  <a:cxn ang="0">
                    <a:pos x="172" y="32"/>
                  </a:cxn>
                  <a:cxn ang="0">
                    <a:pos x="188" y="10"/>
                  </a:cxn>
                  <a:cxn ang="0">
                    <a:pos x="202" y="2"/>
                  </a:cxn>
                  <a:cxn ang="0">
                    <a:pos x="216" y="2"/>
                  </a:cxn>
                  <a:cxn ang="0">
                    <a:pos x="228" y="6"/>
                  </a:cxn>
                  <a:cxn ang="0">
                    <a:pos x="238" y="16"/>
                  </a:cxn>
                  <a:cxn ang="0">
                    <a:pos x="244" y="32"/>
                  </a:cxn>
                  <a:cxn ang="0">
                    <a:pos x="244" y="48"/>
                  </a:cxn>
                  <a:cxn ang="0">
                    <a:pos x="242" y="88"/>
                  </a:cxn>
                </a:cxnLst>
                <a:rect l="0" t="0" r="r" b="b"/>
                <a:pathLst>
                  <a:path w="256" h="234">
                    <a:moveTo>
                      <a:pt x="254" y="88"/>
                    </a:moveTo>
                    <a:lnTo>
                      <a:pt x="252" y="92"/>
                    </a:lnTo>
                    <a:lnTo>
                      <a:pt x="254" y="98"/>
                    </a:lnTo>
                    <a:lnTo>
                      <a:pt x="256" y="100"/>
                    </a:lnTo>
                    <a:lnTo>
                      <a:pt x="256" y="104"/>
                    </a:lnTo>
                    <a:lnTo>
                      <a:pt x="256" y="108"/>
                    </a:lnTo>
                    <a:lnTo>
                      <a:pt x="254" y="114"/>
                    </a:lnTo>
                    <a:lnTo>
                      <a:pt x="248" y="118"/>
                    </a:lnTo>
                    <a:lnTo>
                      <a:pt x="236" y="126"/>
                    </a:lnTo>
                    <a:lnTo>
                      <a:pt x="226" y="136"/>
                    </a:lnTo>
                    <a:lnTo>
                      <a:pt x="218" y="146"/>
                    </a:lnTo>
                    <a:lnTo>
                      <a:pt x="206" y="170"/>
                    </a:lnTo>
                    <a:lnTo>
                      <a:pt x="190" y="188"/>
                    </a:lnTo>
                    <a:lnTo>
                      <a:pt x="182" y="198"/>
                    </a:lnTo>
                    <a:lnTo>
                      <a:pt x="172" y="204"/>
                    </a:lnTo>
                    <a:lnTo>
                      <a:pt x="162" y="206"/>
                    </a:lnTo>
                    <a:lnTo>
                      <a:pt x="156" y="208"/>
                    </a:lnTo>
                    <a:lnTo>
                      <a:pt x="146" y="212"/>
                    </a:lnTo>
                    <a:lnTo>
                      <a:pt x="136" y="216"/>
                    </a:lnTo>
                    <a:lnTo>
                      <a:pt x="132" y="220"/>
                    </a:lnTo>
                    <a:lnTo>
                      <a:pt x="126" y="222"/>
                    </a:lnTo>
                    <a:lnTo>
                      <a:pt x="112" y="222"/>
                    </a:lnTo>
                    <a:lnTo>
                      <a:pt x="98" y="220"/>
                    </a:lnTo>
                    <a:lnTo>
                      <a:pt x="82" y="220"/>
                    </a:lnTo>
                    <a:lnTo>
                      <a:pt x="80" y="224"/>
                    </a:lnTo>
                    <a:lnTo>
                      <a:pt x="78" y="228"/>
                    </a:lnTo>
                    <a:lnTo>
                      <a:pt x="68" y="228"/>
                    </a:lnTo>
                    <a:lnTo>
                      <a:pt x="58" y="228"/>
                    </a:lnTo>
                    <a:lnTo>
                      <a:pt x="52" y="230"/>
                    </a:lnTo>
                    <a:lnTo>
                      <a:pt x="46" y="234"/>
                    </a:lnTo>
                    <a:lnTo>
                      <a:pt x="28" y="220"/>
                    </a:lnTo>
                    <a:lnTo>
                      <a:pt x="22" y="210"/>
                    </a:lnTo>
                    <a:lnTo>
                      <a:pt x="20" y="204"/>
                    </a:lnTo>
                    <a:lnTo>
                      <a:pt x="22" y="200"/>
                    </a:lnTo>
                    <a:lnTo>
                      <a:pt x="24" y="194"/>
                    </a:lnTo>
                    <a:lnTo>
                      <a:pt x="24" y="184"/>
                    </a:lnTo>
                    <a:lnTo>
                      <a:pt x="24" y="178"/>
                    </a:lnTo>
                    <a:lnTo>
                      <a:pt x="20" y="174"/>
                    </a:lnTo>
                    <a:lnTo>
                      <a:pt x="16" y="170"/>
                    </a:lnTo>
                    <a:lnTo>
                      <a:pt x="16" y="166"/>
                    </a:lnTo>
                    <a:lnTo>
                      <a:pt x="14" y="150"/>
                    </a:lnTo>
                    <a:lnTo>
                      <a:pt x="10" y="140"/>
                    </a:lnTo>
                    <a:lnTo>
                      <a:pt x="6" y="132"/>
                    </a:lnTo>
                    <a:lnTo>
                      <a:pt x="0" y="122"/>
                    </a:lnTo>
                    <a:lnTo>
                      <a:pt x="4" y="118"/>
                    </a:lnTo>
                    <a:lnTo>
                      <a:pt x="6" y="114"/>
                    </a:lnTo>
                    <a:lnTo>
                      <a:pt x="10" y="114"/>
                    </a:lnTo>
                    <a:lnTo>
                      <a:pt x="14" y="120"/>
                    </a:lnTo>
                    <a:lnTo>
                      <a:pt x="20" y="124"/>
                    </a:lnTo>
                    <a:lnTo>
                      <a:pt x="24" y="126"/>
                    </a:lnTo>
                    <a:lnTo>
                      <a:pt x="32" y="126"/>
                    </a:lnTo>
                    <a:lnTo>
                      <a:pt x="42" y="126"/>
                    </a:lnTo>
                    <a:lnTo>
                      <a:pt x="48" y="122"/>
                    </a:lnTo>
                    <a:lnTo>
                      <a:pt x="52" y="118"/>
                    </a:lnTo>
                    <a:lnTo>
                      <a:pt x="56" y="116"/>
                    </a:lnTo>
                    <a:lnTo>
                      <a:pt x="54" y="54"/>
                    </a:lnTo>
                    <a:lnTo>
                      <a:pt x="60" y="56"/>
                    </a:lnTo>
                    <a:lnTo>
                      <a:pt x="68" y="64"/>
                    </a:lnTo>
                    <a:lnTo>
                      <a:pt x="70" y="68"/>
                    </a:lnTo>
                    <a:lnTo>
                      <a:pt x="70" y="74"/>
                    </a:lnTo>
                    <a:lnTo>
                      <a:pt x="68" y="82"/>
                    </a:lnTo>
                    <a:lnTo>
                      <a:pt x="66" y="90"/>
                    </a:lnTo>
                    <a:lnTo>
                      <a:pt x="82" y="90"/>
                    </a:lnTo>
                    <a:lnTo>
                      <a:pt x="90" y="84"/>
                    </a:lnTo>
                    <a:lnTo>
                      <a:pt x="98" y="72"/>
                    </a:lnTo>
                    <a:lnTo>
                      <a:pt x="106" y="64"/>
                    </a:lnTo>
                    <a:lnTo>
                      <a:pt x="110" y="60"/>
                    </a:lnTo>
                    <a:lnTo>
                      <a:pt x="116" y="62"/>
                    </a:lnTo>
                    <a:lnTo>
                      <a:pt x="122" y="64"/>
                    </a:lnTo>
                    <a:lnTo>
                      <a:pt x="126" y="68"/>
                    </a:lnTo>
                    <a:lnTo>
                      <a:pt x="132" y="70"/>
                    </a:lnTo>
                    <a:lnTo>
                      <a:pt x="138" y="68"/>
                    </a:lnTo>
                    <a:lnTo>
                      <a:pt x="142" y="64"/>
                    </a:lnTo>
                    <a:lnTo>
                      <a:pt x="146" y="60"/>
                    </a:lnTo>
                    <a:lnTo>
                      <a:pt x="148" y="54"/>
                    </a:lnTo>
                    <a:lnTo>
                      <a:pt x="152" y="50"/>
                    </a:lnTo>
                    <a:lnTo>
                      <a:pt x="154" y="48"/>
                    </a:lnTo>
                    <a:lnTo>
                      <a:pt x="158" y="46"/>
                    </a:lnTo>
                    <a:lnTo>
                      <a:pt x="160" y="44"/>
                    </a:lnTo>
                    <a:lnTo>
                      <a:pt x="172" y="32"/>
                    </a:lnTo>
                    <a:lnTo>
                      <a:pt x="182" y="20"/>
                    </a:lnTo>
                    <a:lnTo>
                      <a:pt x="188" y="10"/>
                    </a:lnTo>
                    <a:lnTo>
                      <a:pt x="194" y="6"/>
                    </a:lnTo>
                    <a:lnTo>
                      <a:pt x="202" y="2"/>
                    </a:lnTo>
                    <a:lnTo>
                      <a:pt x="210" y="0"/>
                    </a:lnTo>
                    <a:lnTo>
                      <a:pt x="216" y="2"/>
                    </a:lnTo>
                    <a:lnTo>
                      <a:pt x="222" y="4"/>
                    </a:lnTo>
                    <a:lnTo>
                      <a:pt x="228" y="6"/>
                    </a:lnTo>
                    <a:lnTo>
                      <a:pt x="238" y="8"/>
                    </a:lnTo>
                    <a:lnTo>
                      <a:pt x="238" y="16"/>
                    </a:lnTo>
                    <a:lnTo>
                      <a:pt x="242" y="24"/>
                    </a:lnTo>
                    <a:lnTo>
                      <a:pt x="244" y="32"/>
                    </a:lnTo>
                    <a:lnTo>
                      <a:pt x="246" y="40"/>
                    </a:lnTo>
                    <a:lnTo>
                      <a:pt x="244" y="48"/>
                    </a:lnTo>
                    <a:lnTo>
                      <a:pt x="242" y="54"/>
                    </a:lnTo>
                    <a:lnTo>
                      <a:pt x="242" y="88"/>
                    </a:lnTo>
                    <a:lnTo>
                      <a:pt x="254" y="8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0" name="Freeform 102"/>
              <p:cNvSpPr>
                <a:spLocks noChangeAspect="1"/>
              </p:cNvSpPr>
              <p:nvPr/>
            </p:nvSpPr>
            <p:spPr bwMode="auto">
              <a:xfrm>
                <a:off x="4192058" y="5258533"/>
                <a:ext cx="45940" cy="42939"/>
              </a:xfrm>
              <a:custGeom>
                <a:avLst/>
                <a:gdLst/>
                <a:ahLst/>
                <a:cxnLst>
                  <a:cxn ang="0">
                    <a:pos x="28" y="0"/>
                  </a:cxn>
                  <a:cxn ang="0">
                    <a:pos x="22" y="0"/>
                  </a:cxn>
                  <a:cxn ang="0">
                    <a:pos x="8" y="10"/>
                  </a:cxn>
                  <a:cxn ang="0">
                    <a:pos x="2" y="18"/>
                  </a:cxn>
                  <a:cxn ang="0">
                    <a:pos x="0" y="22"/>
                  </a:cxn>
                  <a:cxn ang="0">
                    <a:pos x="0" y="26"/>
                  </a:cxn>
                  <a:cxn ang="0">
                    <a:pos x="2" y="32"/>
                  </a:cxn>
                  <a:cxn ang="0">
                    <a:pos x="6" y="34"/>
                  </a:cxn>
                  <a:cxn ang="0">
                    <a:pos x="10" y="36"/>
                  </a:cxn>
                  <a:cxn ang="0">
                    <a:pos x="14" y="36"/>
                  </a:cxn>
                  <a:cxn ang="0">
                    <a:pos x="18" y="32"/>
                  </a:cxn>
                  <a:cxn ang="0">
                    <a:pos x="24" y="26"/>
                  </a:cxn>
                  <a:cxn ang="0">
                    <a:pos x="32" y="18"/>
                  </a:cxn>
                  <a:cxn ang="0">
                    <a:pos x="34" y="10"/>
                  </a:cxn>
                  <a:cxn ang="0">
                    <a:pos x="30" y="6"/>
                  </a:cxn>
                  <a:cxn ang="0">
                    <a:pos x="28" y="4"/>
                  </a:cxn>
                  <a:cxn ang="0">
                    <a:pos x="28" y="0"/>
                  </a:cxn>
                </a:cxnLst>
                <a:rect l="0" t="0" r="r" b="b"/>
                <a:pathLst>
                  <a:path w="34" h="36">
                    <a:moveTo>
                      <a:pt x="28" y="0"/>
                    </a:moveTo>
                    <a:lnTo>
                      <a:pt x="22" y="0"/>
                    </a:lnTo>
                    <a:lnTo>
                      <a:pt x="8" y="10"/>
                    </a:lnTo>
                    <a:lnTo>
                      <a:pt x="2" y="18"/>
                    </a:lnTo>
                    <a:lnTo>
                      <a:pt x="0" y="22"/>
                    </a:lnTo>
                    <a:lnTo>
                      <a:pt x="0" y="26"/>
                    </a:lnTo>
                    <a:lnTo>
                      <a:pt x="2" y="32"/>
                    </a:lnTo>
                    <a:lnTo>
                      <a:pt x="6" y="34"/>
                    </a:lnTo>
                    <a:lnTo>
                      <a:pt x="10" y="36"/>
                    </a:lnTo>
                    <a:lnTo>
                      <a:pt x="14" y="36"/>
                    </a:lnTo>
                    <a:lnTo>
                      <a:pt x="18" y="32"/>
                    </a:lnTo>
                    <a:lnTo>
                      <a:pt x="24" y="26"/>
                    </a:lnTo>
                    <a:lnTo>
                      <a:pt x="32" y="18"/>
                    </a:lnTo>
                    <a:lnTo>
                      <a:pt x="34" y="10"/>
                    </a:lnTo>
                    <a:lnTo>
                      <a:pt x="30" y="6"/>
                    </a:lnTo>
                    <a:lnTo>
                      <a:pt x="28" y="4"/>
                    </a:lnTo>
                    <a:lnTo>
                      <a:pt x="28"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1" name="Freeform 103"/>
              <p:cNvSpPr>
                <a:spLocks noChangeAspect="1"/>
              </p:cNvSpPr>
              <p:nvPr/>
            </p:nvSpPr>
            <p:spPr bwMode="auto">
              <a:xfrm>
                <a:off x="4274480" y="5198895"/>
                <a:ext cx="28374" cy="27433"/>
              </a:xfrm>
              <a:custGeom>
                <a:avLst/>
                <a:gdLst/>
                <a:ahLst/>
                <a:cxnLst>
                  <a:cxn ang="0">
                    <a:pos x="20" y="18"/>
                  </a:cxn>
                  <a:cxn ang="0">
                    <a:pos x="18" y="22"/>
                  </a:cxn>
                  <a:cxn ang="0">
                    <a:pos x="16" y="24"/>
                  </a:cxn>
                  <a:cxn ang="0">
                    <a:pos x="14" y="24"/>
                  </a:cxn>
                  <a:cxn ang="0">
                    <a:pos x="6" y="24"/>
                  </a:cxn>
                  <a:cxn ang="0">
                    <a:pos x="2" y="22"/>
                  </a:cxn>
                  <a:cxn ang="0">
                    <a:pos x="0" y="18"/>
                  </a:cxn>
                  <a:cxn ang="0">
                    <a:pos x="0" y="12"/>
                  </a:cxn>
                  <a:cxn ang="0">
                    <a:pos x="0" y="8"/>
                  </a:cxn>
                  <a:cxn ang="0">
                    <a:pos x="2" y="6"/>
                  </a:cxn>
                  <a:cxn ang="0">
                    <a:pos x="8" y="2"/>
                  </a:cxn>
                  <a:cxn ang="0">
                    <a:pos x="14" y="0"/>
                  </a:cxn>
                  <a:cxn ang="0">
                    <a:pos x="20" y="0"/>
                  </a:cxn>
                  <a:cxn ang="0">
                    <a:pos x="20" y="18"/>
                  </a:cxn>
                </a:cxnLst>
                <a:rect l="0" t="0" r="r" b="b"/>
                <a:pathLst>
                  <a:path w="20" h="24">
                    <a:moveTo>
                      <a:pt x="20" y="18"/>
                    </a:moveTo>
                    <a:lnTo>
                      <a:pt x="18" y="22"/>
                    </a:lnTo>
                    <a:lnTo>
                      <a:pt x="16" y="24"/>
                    </a:lnTo>
                    <a:lnTo>
                      <a:pt x="14" y="24"/>
                    </a:lnTo>
                    <a:lnTo>
                      <a:pt x="6" y="24"/>
                    </a:lnTo>
                    <a:lnTo>
                      <a:pt x="2" y="22"/>
                    </a:lnTo>
                    <a:lnTo>
                      <a:pt x="0" y="18"/>
                    </a:lnTo>
                    <a:lnTo>
                      <a:pt x="0" y="12"/>
                    </a:lnTo>
                    <a:lnTo>
                      <a:pt x="0" y="8"/>
                    </a:lnTo>
                    <a:lnTo>
                      <a:pt x="2" y="6"/>
                    </a:lnTo>
                    <a:lnTo>
                      <a:pt x="8" y="2"/>
                    </a:lnTo>
                    <a:lnTo>
                      <a:pt x="14" y="0"/>
                    </a:lnTo>
                    <a:lnTo>
                      <a:pt x="20" y="0"/>
                    </a:lnTo>
                    <a:lnTo>
                      <a:pt x="20" y="1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2" name="Freeform 104"/>
              <p:cNvSpPr>
                <a:spLocks noChangeAspect="1"/>
              </p:cNvSpPr>
              <p:nvPr/>
            </p:nvSpPr>
            <p:spPr bwMode="auto">
              <a:xfrm>
                <a:off x="4167738" y="4973466"/>
                <a:ext cx="171599" cy="152671"/>
              </a:xfrm>
              <a:custGeom>
                <a:avLst/>
                <a:gdLst/>
                <a:ahLst/>
                <a:cxnLst>
                  <a:cxn ang="0">
                    <a:pos x="78" y="0"/>
                  </a:cxn>
                  <a:cxn ang="0">
                    <a:pos x="78" y="6"/>
                  </a:cxn>
                  <a:cxn ang="0">
                    <a:pos x="94" y="10"/>
                  </a:cxn>
                  <a:cxn ang="0">
                    <a:pos x="106" y="14"/>
                  </a:cxn>
                  <a:cxn ang="0">
                    <a:pos x="112" y="18"/>
                  </a:cxn>
                  <a:cxn ang="0">
                    <a:pos x="116" y="22"/>
                  </a:cxn>
                  <a:cxn ang="0">
                    <a:pos x="120" y="28"/>
                  </a:cxn>
                  <a:cxn ang="0">
                    <a:pos x="120" y="36"/>
                  </a:cxn>
                  <a:cxn ang="0">
                    <a:pos x="120" y="44"/>
                  </a:cxn>
                  <a:cxn ang="0">
                    <a:pos x="118" y="50"/>
                  </a:cxn>
                  <a:cxn ang="0">
                    <a:pos x="116" y="56"/>
                  </a:cxn>
                  <a:cxn ang="0">
                    <a:pos x="116" y="66"/>
                  </a:cxn>
                  <a:cxn ang="0">
                    <a:pos x="116" y="76"/>
                  </a:cxn>
                  <a:cxn ang="0">
                    <a:pos x="114" y="86"/>
                  </a:cxn>
                  <a:cxn ang="0">
                    <a:pos x="112" y="96"/>
                  </a:cxn>
                  <a:cxn ang="0">
                    <a:pos x="106" y="104"/>
                  </a:cxn>
                  <a:cxn ang="0">
                    <a:pos x="94" y="116"/>
                  </a:cxn>
                  <a:cxn ang="0">
                    <a:pos x="90" y="126"/>
                  </a:cxn>
                  <a:cxn ang="0">
                    <a:pos x="80" y="124"/>
                  </a:cxn>
                  <a:cxn ang="0">
                    <a:pos x="74" y="122"/>
                  </a:cxn>
                  <a:cxn ang="0">
                    <a:pos x="68" y="120"/>
                  </a:cxn>
                  <a:cxn ang="0">
                    <a:pos x="62" y="118"/>
                  </a:cxn>
                  <a:cxn ang="0">
                    <a:pos x="54" y="120"/>
                  </a:cxn>
                  <a:cxn ang="0">
                    <a:pos x="50" y="114"/>
                  </a:cxn>
                  <a:cxn ang="0">
                    <a:pos x="46" y="114"/>
                  </a:cxn>
                  <a:cxn ang="0">
                    <a:pos x="42" y="112"/>
                  </a:cxn>
                  <a:cxn ang="0">
                    <a:pos x="38" y="110"/>
                  </a:cxn>
                  <a:cxn ang="0">
                    <a:pos x="34" y="108"/>
                  </a:cxn>
                  <a:cxn ang="0">
                    <a:pos x="34" y="102"/>
                  </a:cxn>
                  <a:cxn ang="0">
                    <a:pos x="32" y="92"/>
                  </a:cxn>
                  <a:cxn ang="0">
                    <a:pos x="30" y="86"/>
                  </a:cxn>
                  <a:cxn ang="0">
                    <a:pos x="26" y="82"/>
                  </a:cxn>
                  <a:cxn ang="0">
                    <a:pos x="18" y="76"/>
                  </a:cxn>
                  <a:cxn ang="0">
                    <a:pos x="12" y="72"/>
                  </a:cxn>
                  <a:cxn ang="0">
                    <a:pos x="8" y="66"/>
                  </a:cxn>
                  <a:cxn ang="0">
                    <a:pos x="6" y="62"/>
                  </a:cxn>
                  <a:cxn ang="0">
                    <a:pos x="8" y="60"/>
                  </a:cxn>
                  <a:cxn ang="0">
                    <a:pos x="6" y="58"/>
                  </a:cxn>
                  <a:cxn ang="0">
                    <a:pos x="4" y="54"/>
                  </a:cxn>
                  <a:cxn ang="0">
                    <a:pos x="0" y="48"/>
                  </a:cxn>
                  <a:cxn ang="0">
                    <a:pos x="0" y="42"/>
                  </a:cxn>
                  <a:cxn ang="0">
                    <a:pos x="6" y="46"/>
                  </a:cxn>
                  <a:cxn ang="0">
                    <a:pos x="12" y="46"/>
                  </a:cxn>
                  <a:cxn ang="0">
                    <a:pos x="16" y="46"/>
                  </a:cxn>
                  <a:cxn ang="0">
                    <a:pos x="20" y="46"/>
                  </a:cxn>
                  <a:cxn ang="0">
                    <a:pos x="30" y="36"/>
                  </a:cxn>
                  <a:cxn ang="0">
                    <a:pos x="42" y="24"/>
                  </a:cxn>
                  <a:cxn ang="0">
                    <a:pos x="54" y="16"/>
                  </a:cxn>
                  <a:cxn ang="0">
                    <a:pos x="58" y="12"/>
                  </a:cxn>
                  <a:cxn ang="0">
                    <a:pos x="56" y="8"/>
                  </a:cxn>
                  <a:cxn ang="0">
                    <a:pos x="56" y="6"/>
                  </a:cxn>
                  <a:cxn ang="0">
                    <a:pos x="58" y="4"/>
                  </a:cxn>
                  <a:cxn ang="0">
                    <a:pos x="62" y="2"/>
                  </a:cxn>
                  <a:cxn ang="0">
                    <a:pos x="68" y="0"/>
                  </a:cxn>
                  <a:cxn ang="0">
                    <a:pos x="76" y="0"/>
                  </a:cxn>
                  <a:cxn ang="0">
                    <a:pos x="78" y="0"/>
                  </a:cxn>
                </a:cxnLst>
                <a:rect l="0" t="0" r="r" b="b"/>
                <a:pathLst>
                  <a:path w="120" h="126">
                    <a:moveTo>
                      <a:pt x="78" y="0"/>
                    </a:moveTo>
                    <a:lnTo>
                      <a:pt x="78" y="6"/>
                    </a:lnTo>
                    <a:lnTo>
                      <a:pt x="94" y="10"/>
                    </a:lnTo>
                    <a:lnTo>
                      <a:pt x="106" y="14"/>
                    </a:lnTo>
                    <a:lnTo>
                      <a:pt x="112" y="18"/>
                    </a:lnTo>
                    <a:lnTo>
                      <a:pt x="116" y="22"/>
                    </a:lnTo>
                    <a:lnTo>
                      <a:pt x="120" y="28"/>
                    </a:lnTo>
                    <a:lnTo>
                      <a:pt x="120" y="36"/>
                    </a:lnTo>
                    <a:lnTo>
                      <a:pt x="120" y="44"/>
                    </a:lnTo>
                    <a:lnTo>
                      <a:pt x="118" y="50"/>
                    </a:lnTo>
                    <a:lnTo>
                      <a:pt x="116" y="56"/>
                    </a:lnTo>
                    <a:lnTo>
                      <a:pt x="116" y="66"/>
                    </a:lnTo>
                    <a:lnTo>
                      <a:pt x="116" y="76"/>
                    </a:lnTo>
                    <a:lnTo>
                      <a:pt x="114" y="86"/>
                    </a:lnTo>
                    <a:lnTo>
                      <a:pt x="112" y="96"/>
                    </a:lnTo>
                    <a:lnTo>
                      <a:pt x="106" y="104"/>
                    </a:lnTo>
                    <a:lnTo>
                      <a:pt x="94" y="116"/>
                    </a:lnTo>
                    <a:lnTo>
                      <a:pt x="90" y="126"/>
                    </a:lnTo>
                    <a:lnTo>
                      <a:pt x="80" y="124"/>
                    </a:lnTo>
                    <a:lnTo>
                      <a:pt x="74" y="122"/>
                    </a:lnTo>
                    <a:lnTo>
                      <a:pt x="68" y="120"/>
                    </a:lnTo>
                    <a:lnTo>
                      <a:pt x="62" y="118"/>
                    </a:lnTo>
                    <a:lnTo>
                      <a:pt x="54" y="120"/>
                    </a:lnTo>
                    <a:lnTo>
                      <a:pt x="50" y="114"/>
                    </a:lnTo>
                    <a:lnTo>
                      <a:pt x="46" y="114"/>
                    </a:lnTo>
                    <a:lnTo>
                      <a:pt x="42" y="112"/>
                    </a:lnTo>
                    <a:lnTo>
                      <a:pt x="38" y="110"/>
                    </a:lnTo>
                    <a:lnTo>
                      <a:pt x="34" y="108"/>
                    </a:lnTo>
                    <a:lnTo>
                      <a:pt x="34" y="102"/>
                    </a:lnTo>
                    <a:lnTo>
                      <a:pt x="32" y="92"/>
                    </a:lnTo>
                    <a:lnTo>
                      <a:pt x="30" y="86"/>
                    </a:lnTo>
                    <a:lnTo>
                      <a:pt x="26" y="82"/>
                    </a:lnTo>
                    <a:lnTo>
                      <a:pt x="18" y="76"/>
                    </a:lnTo>
                    <a:lnTo>
                      <a:pt x="12" y="72"/>
                    </a:lnTo>
                    <a:lnTo>
                      <a:pt x="8" y="66"/>
                    </a:lnTo>
                    <a:lnTo>
                      <a:pt x="6" y="62"/>
                    </a:lnTo>
                    <a:lnTo>
                      <a:pt x="8" y="60"/>
                    </a:lnTo>
                    <a:lnTo>
                      <a:pt x="6" y="58"/>
                    </a:lnTo>
                    <a:lnTo>
                      <a:pt x="4" y="54"/>
                    </a:lnTo>
                    <a:lnTo>
                      <a:pt x="0" y="48"/>
                    </a:lnTo>
                    <a:lnTo>
                      <a:pt x="0" y="42"/>
                    </a:lnTo>
                    <a:lnTo>
                      <a:pt x="6" y="46"/>
                    </a:lnTo>
                    <a:lnTo>
                      <a:pt x="12" y="46"/>
                    </a:lnTo>
                    <a:lnTo>
                      <a:pt x="16" y="46"/>
                    </a:lnTo>
                    <a:lnTo>
                      <a:pt x="20" y="46"/>
                    </a:lnTo>
                    <a:lnTo>
                      <a:pt x="30" y="36"/>
                    </a:lnTo>
                    <a:lnTo>
                      <a:pt x="42" y="24"/>
                    </a:lnTo>
                    <a:lnTo>
                      <a:pt x="54" y="16"/>
                    </a:lnTo>
                    <a:lnTo>
                      <a:pt x="58" y="12"/>
                    </a:lnTo>
                    <a:lnTo>
                      <a:pt x="56" y="8"/>
                    </a:lnTo>
                    <a:lnTo>
                      <a:pt x="56" y="6"/>
                    </a:lnTo>
                    <a:lnTo>
                      <a:pt x="58" y="4"/>
                    </a:lnTo>
                    <a:lnTo>
                      <a:pt x="62" y="2"/>
                    </a:lnTo>
                    <a:lnTo>
                      <a:pt x="68" y="0"/>
                    </a:lnTo>
                    <a:lnTo>
                      <a:pt x="76" y="0"/>
                    </a:lnTo>
                    <a:lnTo>
                      <a:pt x="78"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3" name="Freeform 105"/>
              <p:cNvSpPr>
                <a:spLocks noChangeAspect="1"/>
              </p:cNvSpPr>
              <p:nvPr/>
            </p:nvSpPr>
            <p:spPr bwMode="auto">
              <a:xfrm>
                <a:off x="4339337" y="4843457"/>
                <a:ext cx="66207" cy="162213"/>
              </a:xfrm>
              <a:custGeom>
                <a:avLst/>
                <a:gdLst/>
                <a:ahLst/>
                <a:cxnLst>
                  <a:cxn ang="0">
                    <a:pos x="0" y="82"/>
                  </a:cxn>
                  <a:cxn ang="0">
                    <a:pos x="6" y="82"/>
                  </a:cxn>
                  <a:cxn ang="0">
                    <a:pos x="8" y="88"/>
                  </a:cxn>
                  <a:cxn ang="0">
                    <a:pos x="12" y="90"/>
                  </a:cxn>
                  <a:cxn ang="0">
                    <a:pos x="18" y="90"/>
                  </a:cxn>
                  <a:cxn ang="0">
                    <a:pos x="26" y="90"/>
                  </a:cxn>
                  <a:cxn ang="0">
                    <a:pos x="26" y="100"/>
                  </a:cxn>
                  <a:cxn ang="0">
                    <a:pos x="24" y="108"/>
                  </a:cxn>
                  <a:cxn ang="0">
                    <a:pos x="22" y="118"/>
                  </a:cxn>
                  <a:cxn ang="0">
                    <a:pos x="24" y="126"/>
                  </a:cxn>
                  <a:cxn ang="0">
                    <a:pos x="28" y="128"/>
                  </a:cxn>
                  <a:cxn ang="0">
                    <a:pos x="32" y="132"/>
                  </a:cxn>
                  <a:cxn ang="0">
                    <a:pos x="34" y="136"/>
                  </a:cxn>
                  <a:cxn ang="0">
                    <a:pos x="34" y="128"/>
                  </a:cxn>
                  <a:cxn ang="0">
                    <a:pos x="36" y="126"/>
                  </a:cxn>
                  <a:cxn ang="0">
                    <a:pos x="38" y="124"/>
                  </a:cxn>
                  <a:cxn ang="0">
                    <a:pos x="42" y="120"/>
                  </a:cxn>
                  <a:cxn ang="0">
                    <a:pos x="44" y="118"/>
                  </a:cxn>
                  <a:cxn ang="0">
                    <a:pos x="46" y="112"/>
                  </a:cxn>
                  <a:cxn ang="0">
                    <a:pos x="48" y="106"/>
                  </a:cxn>
                  <a:cxn ang="0">
                    <a:pos x="48" y="98"/>
                  </a:cxn>
                  <a:cxn ang="0">
                    <a:pos x="48" y="92"/>
                  </a:cxn>
                  <a:cxn ang="0">
                    <a:pos x="44" y="86"/>
                  </a:cxn>
                  <a:cxn ang="0">
                    <a:pos x="36" y="74"/>
                  </a:cxn>
                  <a:cxn ang="0">
                    <a:pos x="30" y="66"/>
                  </a:cxn>
                  <a:cxn ang="0">
                    <a:pos x="28" y="60"/>
                  </a:cxn>
                  <a:cxn ang="0">
                    <a:pos x="26" y="54"/>
                  </a:cxn>
                  <a:cxn ang="0">
                    <a:pos x="28" y="46"/>
                  </a:cxn>
                  <a:cxn ang="0">
                    <a:pos x="30" y="38"/>
                  </a:cxn>
                  <a:cxn ang="0">
                    <a:pos x="30" y="12"/>
                  </a:cxn>
                  <a:cxn ang="0">
                    <a:pos x="28" y="10"/>
                  </a:cxn>
                  <a:cxn ang="0">
                    <a:pos x="26" y="6"/>
                  </a:cxn>
                  <a:cxn ang="0">
                    <a:pos x="24" y="0"/>
                  </a:cxn>
                  <a:cxn ang="0">
                    <a:pos x="8" y="0"/>
                  </a:cxn>
                  <a:cxn ang="0">
                    <a:pos x="10" y="8"/>
                  </a:cxn>
                  <a:cxn ang="0">
                    <a:pos x="14" y="18"/>
                  </a:cxn>
                  <a:cxn ang="0">
                    <a:pos x="12" y="20"/>
                  </a:cxn>
                  <a:cxn ang="0">
                    <a:pos x="10" y="24"/>
                  </a:cxn>
                  <a:cxn ang="0">
                    <a:pos x="6" y="28"/>
                  </a:cxn>
                  <a:cxn ang="0">
                    <a:pos x="6" y="34"/>
                  </a:cxn>
                  <a:cxn ang="0">
                    <a:pos x="6" y="44"/>
                  </a:cxn>
                  <a:cxn ang="0">
                    <a:pos x="8" y="50"/>
                  </a:cxn>
                  <a:cxn ang="0">
                    <a:pos x="4" y="56"/>
                  </a:cxn>
                  <a:cxn ang="0">
                    <a:pos x="2" y="62"/>
                  </a:cxn>
                  <a:cxn ang="0">
                    <a:pos x="0" y="68"/>
                  </a:cxn>
                  <a:cxn ang="0">
                    <a:pos x="0" y="74"/>
                  </a:cxn>
                  <a:cxn ang="0">
                    <a:pos x="0" y="76"/>
                  </a:cxn>
                  <a:cxn ang="0">
                    <a:pos x="0" y="80"/>
                  </a:cxn>
                  <a:cxn ang="0">
                    <a:pos x="0" y="82"/>
                  </a:cxn>
                </a:cxnLst>
                <a:rect l="0" t="0" r="r" b="b"/>
                <a:pathLst>
                  <a:path w="48" h="136">
                    <a:moveTo>
                      <a:pt x="0" y="82"/>
                    </a:moveTo>
                    <a:lnTo>
                      <a:pt x="6" y="82"/>
                    </a:lnTo>
                    <a:lnTo>
                      <a:pt x="8" y="88"/>
                    </a:lnTo>
                    <a:lnTo>
                      <a:pt x="12" y="90"/>
                    </a:lnTo>
                    <a:lnTo>
                      <a:pt x="18" y="90"/>
                    </a:lnTo>
                    <a:lnTo>
                      <a:pt x="26" y="90"/>
                    </a:lnTo>
                    <a:lnTo>
                      <a:pt x="26" y="100"/>
                    </a:lnTo>
                    <a:lnTo>
                      <a:pt x="24" y="108"/>
                    </a:lnTo>
                    <a:lnTo>
                      <a:pt x="22" y="118"/>
                    </a:lnTo>
                    <a:lnTo>
                      <a:pt x="24" y="126"/>
                    </a:lnTo>
                    <a:lnTo>
                      <a:pt x="28" y="128"/>
                    </a:lnTo>
                    <a:lnTo>
                      <a:pt x="32" y="132"/>
                    </a:lnTo>
                    <a:lnTo>
                      <a:pt x="34" y="136"/>
                    </a:lnTo>
                    <a:lnTo>
                      <a:pt x="34" y="128"/>
                    </a:lnTo>
                    <a:lnTo>
                      <a:pt x="36" y="126"/>
                    </a:lnTo>
                    <a:lnTo>
                      <a:pt x="38" y="124"/>
                    </a:lnTo>
                    <a:lnTo>
                      <a:pt x="42" y="120"/>
                    </a:lnTo>
                    <a:lnTo>
                      <a:pt x="44" y="118"/>
                    </a:lnTo>
                    <a:lnTo>
                      <a:pt x="46" y="112"/>
                    </a:lnTo>
                    <a:lnTo>
                      <a:pt x="48" y="106"/>
                    </a:lnTo>
                    <a:lnTo>
                      <a:pt x="48" y="98"/>
                    </a:lnTo>
                    <a:lnTo>
                      <a:pt x="48" y="92"/>
                    </a:lnTo>
                    <a:lnTo>
                      <a:pt x="44" y="86"/>
                    </a:lnTo>
                    <a:lnTo>
                      <a:pt x="36" y="74"/>
                    </a:lnTo>
                    <a:lnTo>
                      <a:pt x="30" y="66"/>
                    </a:lnTo>
                    <a:lnTo>
                      <a:pt x="28" y="60"/>
                    </a:lnTo>
                    <a:lnTo>
                      <a:pt x="26" y="54"/>
                    </a:lnTo>
                    <a:lnTo>
                      <a:pt x="28" y="46"/>
                    </a:lnTo>
                    <a:lnTo>
                      <a:pt x="30" y="38"/>
                    </a:lnTo>
                    <a:lnTo>
                      <a:pt x="30" y="12"/>
                    </a:lnTo>
                    <a:lnTo>
                      <a:pt x="28" y="10"/>
                    </a:lnTo>
                    <a:lnTo>
                      <a:pt x="26" y="6"/>
                    </a:lnTo>
                    <a:lnTo>
                      <a:pt x="24" y="0"/>
                    </a:lnTo>
                    <a:lnTo>
                      <a:pt x="8" y="0"/>
                    </a:lnTo>
                    <a:lnTo>
                      <a:pt x="10" y="8"/>
                    </a:lnTo>
                    <a:lnTo>
                      <a:pt x="14" y="18"/>
                    </a:lnTo>
                    <a:lnTo>
                      <a:pt x="12" y="20"/>
                    </a:lnTo>
                    <a:lnTo>
                      <a:pt x="10" y="24"/>
                    </a:lnTo>
                    <a:lnTo>
                      <a:pt x="6" y="28"/>
                    </a:lnTo>
                    <a:lnTo>
                      <a:pt x="6" y="34"/>
                    </a:lnTo>
                    <a:lnTo>
                      <a:pt x="6" y="44"/>
                    </a:lnTo>
                    <a:lnTo>
                      <a:pt x="8" y="50"/>
                    </a:lnTo>
                    <a:lnTo>
                      <a:pt x="4" y="56"/>
                    </a:lnTo>
                    <a:lnTo>
                      <a:pt x="2" y="62"/>
                    </a:lnTo>
                    <a:lnTo>
                      <a:pt x="0" y="68"/>
                    </a:lnTo>
                    <a:lnTo>
                      <a:pt x="0" y="74"/>
                    </a:lnTo>
                    <a:lnTo>
                      <a:pt x="0" y="76"/>
                    </a:lnTo>
                    <a:lnTo>
                      <a:pt x="0" y="80"/>
                    </a:lnTo>
                    <a:lnTo>
                      <a:pt x="0" y="8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4" name="Freeform 106"/>
              <p:cNvSpPr>
                <a:spLocks noChangeAspect="1"/>
              </p:cNvSpPr>
              <p:nvPr/>
            </p:nvSpPr>
            <p:spPr bwMode="auto">
              <a:xfrm>
                <a:off x="4097477" y="4813638"/>
                <a:ext cx="259425" cy="215887"/>
              </a:xfrm>
              <a:custGeom>
                <a:avLst/>
                <a:gdLst/>
                <a:ahLst/>
                <a:cxnLst>
                  <a:cxn ang="0">
                    <a:pos x="82" y="172"/>
                  </a:cxn>
                  <a:cxn ang="0">
                    <a:pos x="106" y="152"/>
                  </a:cxn>
                  <a:cxn ang="0">
                    <a:pos x="108" y="144"/>
                  </a:cxn>
                  <a:cxn ang="0">
                    <a:pos x="110" y="140"/>
                  </a:cxn>
                  <a:cxn ang="0">
                    <a:pos x="120" y="136"/>
                  </a:cxn>
                  <a:cxn ang="0">
                    <a:pos x="128" y="132"/>
                  </a:cxn>
                  <a:cxn ang="0">
                    <a:pos x="128" y="126"/>
                  </a:cxn>
                  <a:cxn ang="0">
                    <a:pos x="140" y="120"/>
                  </a:cxn>
                  <a:cxn ang="0">
                    <a:pos x="162" y="114"/>
                  </a:cxn>
                  <a:cxn ang="0">
                    <a:pos x="172" y="98"/>
                  </a:cxn>
                  <a:cxn ang="0">
                    <a:pos x="174" y="86"/>
                  </a:cxn>
                  <a:cxn ang="0">
                    <a:pos x="178" y="70"/>
                  </a:cxn>
                  <a:cxn ang="0">
                    <a:pos x="178" y="54"/>
                  </a:cxn>
                  <a:cxn ang="0">
                    <a:pos x="184" y="46"/>
                  </a:cxn>
                  <a:cxn ang="0">
                    <a:pos x="182" y="34"/>
                  </a:cxn>
                  <a:cxn ang="0">
                    <a:pos x="166" y="16"/>
                  </a:cxn>
                  <a:cxn ang="0">
                    <a:pos x="150" y="8"/>
                  </a:cxn>
                  <a:cxn ang="0">
                    <a:pos x="140" y="0"/>
                  </a:cxn>
                  <a:cxn ang="0">
                    <a:pos x="128" y="2"/>
                  </a:cxn>
                  <a:cxn ang="0">
                    <a:pos x="112" y="10"/>
                  </a:cxn>
                  <a:cxn ang="0">
                    <a:pos x="106" y="18"/>
                  </a:cxn>
                  <a:cxn ang="0">
                    <a:pos x="104" y="62"/>
                  </a:cxn>
                  <a:cxn ang="0">
                    <a:pos x="108" y="72"/>
                  </a:cxn>
                  <a:cxn ang="0">
                    <a:pos x="124" y="76"/>
                  </a:cxn>
                  <a:cxn ang="0">
                    <a:pos x="122" y="92"/>
                  </a:cxn>
                  <a:cxn ang="0">
                    <a:pos x="116" y="98"/>
                  </a:cxn>
                  <a:cxn ang="0">
                    <a:pos x="110" y="90"/>
                  </a:cxn>
                  <a:cxn ang="0">
                    <a:pos x="96" y="78"/>
                  </a:cxn>
                  <a:cxn ang="0">
                    <a:pos x="86" y="70"/>
                  </a:cxn>
                  <a:cxn ang="0">
                    <a:pos x="80" y="68"/>
                  </a:cxn>
                  <a:cxn ang="0">
                    <a:pos x="76" y="70"/>
                  </a:cxn>
                  <a:cxn ang="0">
                    <a:pos x="66" y="70"/>
                  </a:cxn>
                  <a:cxn ang="0">
                    <a:pos x="56" y="64"/>
                  </a:cxn>
                  <a:cxn ang="0">
                    <a:pos x="32" y="52"/>
                  </a:cxn>
                  <a:cxn ang="0">
                    <a:pos x="30" y="86"/>
                  </a:cxn>
                  <a:cxn ang="0">
                    <a:pos x="24" y="88"/>
                  </a:cxn>
                  <a:cxn ang="0">
                    <a:pos x="0" y="152"/>
                  </a:cxn>
                  <a:cxn ang="0">
                    <a:pos x="18" y="172"/>
                  </a:cxn>
                  <a:cxn ang="0">
                    <a:pos x="28" y="172"/>
                  </a:cxn>
                  <a:cxn ang="0">
                    <a:pos x="40" y="172"/>
                  </a:cxn>
                  <a:cxn ang="0">
                    <a:pos x="52" y="178"/>
                  </a:cxn>
                  <a:cxn ang="0">
                    <a:pos x="72" y="182"/>
                  </a:cxn>
                </a:cxnLst>
                <a:rect l="0" t="0" r="r" b="b"/>
                <a:pathLst>
                  <a:path w="186" h="182">
                    <a:moveTo>
                      <a:pt x="72" y="182"/>
                    </a:moveTo>
                    <a:lnTo>
                      <a:pt x="82" y="172"/>
                    </a:lnTo>
                    <a:lnTo>
                      <a:pt x="94" y="160"/>
                    </a:lnTo>
                    <a:lnTo>
                      <a:pt x="106" y="152"/>
                    </a:lnTo>
                    <a:lnTo>
                      <a:pt x="110" y="148"/>
                    </a:lnTo>
                    <a:lnTo>
                      <a:pt x="108" y="144"/>
                    </a:lnTo>
                    <a:lnTo>
                      <a:pt x="108" y="142"/>
                    </a:lnTo>
                    <a:lnTo>
                      <a:pt x="110" y="140"/>
                    </a:lnTo>
                    <a:lnTo>
                      <a:pt x="114" y="138"/>
                    </a:lnTo>
                    <a:lnTo>
                      <a:pt x="120" y="136"/>
                    </a:lnTo>
                    <a:lnTo>
                      <a:pt x="130" y="136"/>
                    </a:lnTo>
                    <a:lnTo>
                      <a:pt x="128" y="132"/>
                    </a:lnTo>
                    <a:lnTo>
                      <a:pt x="128" y="128"/>
                    </a:lnTo>
                    <a:lnTo>
                      <a:pt x="128" y="126"/>
                    </a:lnTo>
                    <a:lnTo>
                      <a:pt x="134" y="124"/>
                    </a:lnTo>
                    <a:lnTo>
                      <a:pt x="140" y="120"/>
                    </a:lnTo>
                    <a:lnTo>
                      <a:pt x="150" y="116"/>
                    </a:lnTo>
                    <a:lnTo>
                      <a:pt x="162" y="114"/>
                    </a:lnTo>
                    <a:lnTo>
                      <a:pt x="172" y="108"/>
                    </a:lnTo>
                    <a:lnTo>
                      <a:pt x="172" y="98"/>
                    </a:lnTo>
                    <a:lnTo>
                      <a:pt x="172" y="92"/>
                    </a:lnTo>
                    <a:lnTo>
                      <a:pt x="174" y="86"/>
                    </a:lnTo>
                    <a:lnTo>
                      <a:pt x="180" y="76"/>
                    </a:lnTo>
                    <a:lnTo>
                      <a:pt x="178" y="70"/>
                    </a:lnTo>
                    <a:lnTo>
                      <a:pt x="178" y="60"/>
                    </a:lnTo>
                    <a:lnTo>
                      <a:pt x="178" y="54"/>
                    </a:lnTo>
                    <a:lnTo>
                      <a:pt x="182" y="50"/>
                    </a:lnTo>
                    <a:lnTo>
                      <a:pt x="184" y="46"/>
                    </a:lnTo>
                    <a:lnTo>
                      <a:pt x="186" y="44"/>
                    </a:lnTo>
                    <a:lnTo>
                      <a:pt x="182" y="34"/>
                    </a:lnTo>
                    <a:lnTo>
                      <a:pt x="180" y="26"/>
                    </a:lnTo>
                    <a:lnTo>
                      <a:pt x="166" y="16"/>
                    </a:lnTo>
                    <a:lnTo>
                      <a:pt x="160" y="12"/>
                    </a:lnTo>
                    <a:lnTo>
                      <a:pt x="150" y="8"/>
                    </a:lnTo>
                    <a:lnTo>
                      <a:pt x="146" y="6"/>
                    </a:lnTo>
                    <a:lnTo>
                      <a:pt x="140" y="0"/>
                    </a:lnTo>
                    <a:lnTo>
                      <a:pt x="136" y="0"/>
                    </a:lnTo>
                    <a:lnTo>
                      <a:pt x="128" y="2"/>
                    </a:lnTo>
                    <a:lnTo>
                      <a:pt x="118" y="8"/>
                    </a:lnTo>
                    <a:lnTo>
                      <a:pt x="112" y="10"/>
                    </a:lnTo>
                    <a:lnTo>
                      <a:pt x="108" y="14"/>
                    </a:lnTo>
                    <a:lnTo>
                      <a:pt x="106" y="18"/>
                    </a:lnTo>
                    <a:lnTo>
                      <a:pt x="104" y="24"/>
                    </a:lnTo>
                    <a:lnTo>
                      <a:pt x="104" y="62"/>
                    </a:lnTo>
                    <a:lnTo>
                      <a:pt x="106" y="70"/>
                    </a:lnTo>
                    <a:lnTo>
                      <a:pt x="108" y="72"/>
                    </a:lnTo>
                    <a:lnTo>
                      <a:pt x="114" y="76"/>
                    </a:lnTo>
                    <a:lnTo>
                      <a:pt x="124" y="76"/>
                    </a:lnTo>
                    <a:lnTo>
                      <a:pt x="124" y="88"/>
                    </a:lnTo>
                    <a:lnTo>
                      <a:pt x="122" y="92"/>
                    </a:lnTo>
                    <a:lnTo>
                      <a:pt x="120" y="96"/>
                    </a:lnTo>
                    <a:lnTo>
                      <a:pt x="116" y="98"/>
                    </a:lnTo>
                    <a:lnTo>
                      <a:pt x="114" y="98"/>
                    </a:lnTo>
                    <a:lnTo>
                      <a:pt x="110" y="90"/>
                    </a:lnTo>
                    <a:lnTo>
                      <a:pt x="106" y="86"/>
                    </a:lnTo>
                    <a:lnTo>
                      <a:pt x="96" y="78"/>
                    </a:lnTo>
                    <a:lnTo>
                      <a:pt x="90" y="72"/>
                    </a:lnTo>
                    <a:lnTo>
                      <a:pt x="86" y="70"/>
                    </a:lnTo>
                    <a:lnTo>
                      <a:pt x="86" y="66"/>
                    </a:lnTo>
                    <a:lnTo>
                      <a:pt x="80" y="68"/>
                    </a:lnTo>
                    <a:lnTo>
                      <a:pt x="78" y="70"/>
                    </a:lnTo>
                    <a:lnTo>
                      <a:pt x="76" y="70"/>
                    </a:lnTo>
                    <a:lnTo>
                      <a:pt x="72" y="72"/>
                    </a:lnTo>
                    <a:lnTo>
                      <a:pt x="66" y="70"/>
                    </a:lnTo>
                    <a:lnTo>
                      <a:pt x="60" y="68"/>
                    </a:lnTo>
                    <a:lnTo>
                      <a:pt x="56" y="64"/>
                    </a:lnTo>
                    <a:lnTo>
                      <a:pt x="54" y="60"/>
                    </a:lnTo>
                    <a:lnTo>
                      <a:pt x="32" y="52"/>
                    </a:lnTo>
                    <a:lnTo>
                      <a:pt x="32" y="82"/>
                    </a:lnTo>
                    <a:lnTo>
                      <a:pt x="30" y="86"/>
                    </a:lnTo>
                    <a:lnTo>
                      <a:pt x="26" y="88"/>
                    </a:lnTo>
                    <a:lnTo>
                      <a:pt x="24" y="88"/>
                    </a:lnTo>
                    <a:lnTo>
                      <a:pt x="0" y="88"/>
                    </a:lnTo>
                    <a:lnTo>
                      <a:pt x="0" y="152"/>
                    </a:lnTo>
                    <a:lnTo>
                      <a:pt x="16" y="170"/>
                    </a:lnTo>
                    <a:lnTo>
                      <a:pt x="18" y="172"/>
                    </a:lnTo>
                    <a:lnTo>
                      <a:pt x="22" y="174"/>
                    </a:lnTo>
                    <a:lnTo>
                      <a:pt x="28" y="172"/>
                    </a:lnTo>
                    <a:lnTo>
                      <a:pt x="36" y="170"/>
                    </a:lnTo>
                    <a:lnTo>
                      <a:pt x="40" y="172"/>
                    </a:lnTo>
                    <a:lnTo>
                      <a:pt x="46" y="176"/>
                    </a:lnTo>
                    <a:lnTo>
                      <a:pt x="52" y="178"/>
                    </a:lnTo>
                    <a:lnTo>
                      <a:pt x="58" y="182"/>
                    </a:lnTo>
                    <a:lnTo>
                      <a:pt x="72" y="18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5" name="Freeform 107"/>
              <p:cNvSpPr>
                <a:spLocks noChangeAspect="1"/>
              </p:cNvSpPr>
              <p:nvPr/>
            </p:nvSpPr>
            <p:spPr bwMode="auto">
              <a:xfrm>
                <a:off x="3866426" y="4765927"/>
                <a:ext cx="274288" cy="261212"/>
              </a:xfrm>
              <a:custGeom>
                <a:avLst/>
                <a:gdLst/>
                <a:ahLst/>
                <a:cxnLst>
                  <a:cxn ang="0">
                    <a:pos x="159" y="220"/>
                  </a:cxn>
                  <a:cxn ang="0">
                    <a:pos x="107" y="216"/>
                  </a:cxn>
                  <a:cxn ang="0">
                    <a:pos x="101" y="210"/>
                  </a:cxn>
                  <a:cxn ang="0">
                    <a:pos x="27" y="206"/>
                  </a:cxn>
                  <a:cxn ang="0">
                    <a:pos x="21" y="204"/>
                  </a:cxn>
                  <a:cxn ang="0">
                    <a:pos x="4" y="206"/>
                  </a:cxn>
                  <a:cxn ang="0">
                    <a:pos x="0" y="194"/>
                  </a:cxn>
                  <a:cxn ang="0">
                    <a:pos x="4" y="180"/>
                  </a:cxn>
                  <a:cxn ang="0">
                    <a:pos x="7" y="162"/>
                  </a:cxn>
                  <a:cxn ang="0">
                    <a:pos x="13" y="140"/>
                  </a:cxn>
                  <a:cxn ang="0">
                    <a:pos x="25" y="122"/>
                  </a:cxn>
                  <a:cxn ang="0">
                    <a:pos x="35" y="104"/>
                  </a:cxn>
                  <a:cxn ang="0">
                    <a:pos x="33" y="84"/>
                  </a:cxn>
                  <a:cxn ang="0">
                    <a:pos x="25" y="66"/>
                  </a:cxn>
                  <a:cxn ang="0">
                    <a:pos x="23" y="52"/>
                  </a:cxn>
                  <a:cxn ang="0">
                    <a:pos x="27" y="44"/>
                  </a:cxn>
                  <a:cxn ang="0">
                    <a:pos x="27" y="32"/>
                  </a:cxn>
                  <a:cxn ang="0">
                    <a:pos x="15" y="0"/>
                  </a:cxn>
                  <a:cxn ang="0">
                    <a:pos x="79" y="12"/>
                  </a:cxn>
                  <a:cxn ang="0">
                    <a:pos x="93" y="32"/>
                  </a:cxn>
                  <a:cxn ang="0">
                    <a:pos x="99" y="34"/>
                  </a:cxn>
                  <a:cxn ang="0">
                    <a:pos x="119" y="34"/>
                  </a:cxn>
                  <a:cxn ang="0">
                    <a:pos x="123" y="28"/>
                  </a:cxn>
                  <a:cxn ang="0">
                    <a:pos x="143" y="20"/>
                  </a:cxn>
                  <a:cxn ang="0">
                    <a:pos x="147" y="24"/>
                  </a:cxn>
                  <a:cxn ang="0">
                    <a:pos x="159" y="26"/>
                  </a:cxn>
                  <a:cxn ang="0">
                    <a:pos x="167" y="46"/>
                  </a:cxn>
                  <a:cxn ang="0">
                    <a:pos x="165" y="72"/>
                  </a:cxn>
                  <a:cxn ang="0">
                    <a:pos x="171" y="82"/>
                  </a:cxn>
                  <a:cxn ang="0">
                    <a:pos x="169" y="92"/>
                  </a:cxn>
                  <a:cxn ang="0">
                    <a:pos x="179" y="94"/>
                  </a:cxn>
                  <a:cxn ang="0">
                    <a:pos x="191" y="92"/>
                  </a:cxn>
                  <a:cxn ang="0">
                    <a:pos x="197" y="122"/>
                  </a:cxn>
                  <a:cxn ang="0">
                    <a:pos x="191" y="128"/>
                  </a:cxn>
                  <a:cxn ang="0">
                    <a:pos x="165" y="128"/>
                  </a:cxn>
                  <a:cxn ang="0">
                    <a:pos x="181" y="210"/>
                  </a:cxn>
                </a:cxnLst>
                <a:rect l="0" t="0" r="r" b="b"/>
                <a:pathLst>
                  <a:path w="197" h="220">
                    <a:moveTo>
                      <a:pt x="181" y="212"/>
                    </a:moveTo>
                    <a:lnTo>
                      <a:pt x="159" y="220"/>
                    </a:lnTo>
                    <a:lnTo>
                      <a:pt x="117" y="220"/>
                    </a:lnTo>
                    <a:lnTo>
                      <a:pt x="107" y="216"/>
                    </a:lnTo>
                    <a:lnTo>
                      <a:pt x="105" y="214"/>
                    </a:lnTo>
                    <a:lnTo>
                      <a:pt x="101" y="210"/>
                    </a:lnTo>
                    <a:lnTo>
                      <a:pt x="33" y="210"/>
                    </a:lnTo>
                    <a:lnTo>
                      <a:pt x="27" y="206"/>
                    </a:lnTo>
                    <a:lnTo>
                      <a:pt x="25" y="204"/>
                    </a:lnTo>
                    <a:lnTo>
                      <a:pt x="21" y="204"/>
                    </a:lnTo>
                    <a:lnTo>
                      <a:pt x="11" y="206"/>
                    </a:lnTo>
                    <a:lnTo>
                      <a:pt x="4" y="206"/>
                    </a:lnTo>
                    <a:lnTo>
                      <a:pt x="0" y="204"/>
                    </a:lnTo>
                    <a:lnTo>
                      <a:pt x="0" y="194"/>
                    </a:lnTo>
                    <a:lnTo>
                      <a:pt x="4" y="188"/>
                    </a:lnTo>
                    <a:lnTo>
                      <a:pt x="4" y="180"/>
                    </a:lnTo>
                    <a:lnTo>
                      <a:pt x="4" y="174"/>
                    </a:lnTo>
                    <a:lnTo>
                      <a:pt x="7" y="162"/>
                    </a:lnTo>
                    <a:lnTo>
                      <a:pt x="11" y="150"/>
                    </a:lnTo>
                    <a:lnTo>
                      <a:pt x="13" y="140"/>
                    </a:lnTo>
                    <a:lnTo>
                      <a:pt x="19" y="132"/>
                    </a:lnTo>
                    <a:lnTo>
                      <a:pt x="25" y="122"/>
                    </a:lnTo>
                    <a:lnTo>
                      <a:pt x="31" y="112"/>
                    </a:lnTo>
                    <a:lnTo>
                      <a:pt x="35" y="104"/>
                    </a:lnTo>
                    <a:lnTo>
                      <a:pt x="35" y="92"/>
                    </a:lnTo>
                    <a:lnTo>
                      <a:pt x="33" y="84"/>
                    </a:lnTo>
                    <a:lnTo>
                      <a:pt x="29" y="74"/>
                    </a:lnTo>
                    <a:lnTo>
                      <a:pt x="25" y="66"/>
                    </a:lnTo>
                    <a:lnTo>
                      <a:pt x="23" y="56"/>
                    </a:lnTo>
                    <a:lnTo>
                      <a:pt x="23" y="52"/>
                    </a:lnTo>
                    <a:lnTo>
                      <a:pt x="25" y="48"/>
                    </a:lnTo>
                    <a:lnTo>
                      <a:pt x="27" y="44"/>
                    </a:lnTo>
                    <a:lnTo>
                      <a:pt x="27" y="40"/>
                    </a:lnTo>
                    <a:lnTo>
                      <a:pt x="27" y="32"/>
                    </a:lnTo>
                    <a:lnTo>
                      <a:pt x="23" y="24"/>
                    </a:lnTo>
                    <a:lnTo>
                      <a:pt x="15" y="0"/>
                    </a:lnTo>
                    <a:lnTo>
                      <a:pt x="79" y="0"/>
                    </a:lnTo>
                    <a:lnTo>
                      <a:pt x="79" y="12"/>
                    </a:lnTo>
                    <a:lnTo>
                      <a:pt x="85" y="24"/>
                    </a:lnTo>
                    <a:lnTo>
                      <a:pt x="93" y="32"/>
                    </a:lnTo>
                    <a:lnTo>
                      <a:pt x="95" y="34"/>
                    </a:lnTo>
                    <a:lnTo>
                      <a:pt x="99" y="34"/>
                    </a:lnTo>
                    <a:lnTo>
                      <a:pt x="111" y="34"/>
                    </a:lnTo>
                    <a:lnTo>
                      <a:pt x="119" y="34"/>
                    </a:lnTo>
                    <a:lnTo>
                      <a:pt x="121" y="32"/>
                    </a:lnTo>
                    <a:lnTo>
                      <a:pt x="123" y="28"/>
                    </a:lnTo>
                    <a:lnTo>
                      <a:pt x="123" y="20"/>
                    </a:lnTo>
                    <a:lnTo>
                      <a:pt x="143" y="20"/>
                    </a:lnTo>
                    <a:lnTo>
                      <a:pt x="145" y="22"/>
                    </a:lnTo>
                    <a:lnTo>
                      <a:pt x="147" y="24"/>
                    </a:lnTo>
                    <a:lnTo>
                      <a:pt x="151" y="26"/>
                    </a:lnTo>
                    <a:lnTo>
                      <a:pt x="159" y="26"/>
                    </a:lnTo>
                    <a:lnTo>
                      <a:pt x="165" y="24"/>
                    </a:lnTo>
                    <a:lnTo>
                      <a:pt x="167" y="46"/>
                    </a:lnTo>
                    <a:lnTo>
                      <a:pt x="165" y="68"/>
                    </a:lnTo>
                    <a:lnTo>
                      <a:pt x="165" y="72"/>
                    </a:lnTo>
                    <a:lnTo>
                      <a:pt x="169" y="74"/>
                    </a:lnTo>
                    <a:lnTo>
                      <a:pt x="171" y="82"/>
                    </a:lnTo>
                    <a:lnTo>
                      <a:pt x="171" y="86"/>
                    </a:lnTo>
                    <a:lnTo>
                      <a:pt x="169" y="92"/>
                    </a:lnTo>
                    <a:lnTo>
                      <a:pt x="175" y="94"/>
                    </a:lnTo>
                    <a:lnTo>
                      <a:pt x="179" y="94"/>
                    </a:lnTo>
                    <a:lnTo>
                      <a:pt x="183" y="92"/>
                    </a:lnTo>
                    <a:lnTo>
                      <a:pt x="191" y="92"/>
                    </a:lnTo>
                    <a:lnTo>
                      <a:pt x="197" y="92"/>
                    </a:lnTo>
                    <a:lnTo>
                      <a:pt x="197" y="122"/>
                    </a:lnTo>
                    <a:lnTo>
                      <a:pt x="195" y="126"/>
                    </a:lnTo>
                    <a:lnTo>
                      <a:pt x="191" y="128"/>
                    </a:lnTo>
                    <a:lnTo>
                      <a:pt x="189" y="128"/>
                    </a:lnTo>
                    <a:lnTo>
                      <a:pt x="165" y="128"/>
                    </a:lnTo>
                    <a:lnTo>
                      <a:pt x="165" y="192"/>
                    </a:lnTo>
                    <a:lnTo>
                      <a:pt x="181" y="210"/>
                    </a:lnTo>
                    <a:lnTo>
                      <a:pt x="181" y="2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6" name="Freeform 108"/>
              <p:cNvSpPr>
                <a:spLocks noChangeAspect="1"/>
              </p:cNvSpPr>
              <p:nvPr/>
            </p:nvSpPr>
            <p:spPr bwMode="auto">
              <a:xfrm>
                <a:off x="4036674" y="5021175"/>
                <a:ext cx="208081" cy="201574"/>
              </a:xfrm>
              <a:custGeom>
                <a:avLst/>
                <a:gdLst/>
                <a:ahLst/>
                <a:cxnLst>
                  <a:cxn ang="0">
                    <a:pos x="94" y="8"/>
                  </a:cxn>
                  <a:cxn ang="0">
                    <a:pos x="98" y="14"/>
                  </a:cxn>
                  <a:cxn ang="0">
                    <a:pos x="100" y="18"/>
                  </a:cxn>
                  <a:cxn ang="0">
                    <a:pos x="102" y="20"/>
                  </a:cxn>
                  <a:cxn ang="0">
                    <a:pos x="100" y="22"/>
                  </a:cxn>
                  <a:cxn ang="0">
                    <a:pos x="102" y="26"/>
                  </a:cxn>
                  <a:cxn ang="0">
                    <a:pos x="106" y="32"/>
                  </a:cxn>
                  <a:cxn ang="0">
                    <a:pos x="112" y="36"/>
                  </a:cxn>
                  <a:cxn ang="0">
                    <a:pos x="120" y="42"/>
                  </a:cxn>
                  <a:cxn ang="0">
                    <a:pos x="124" y="46"/>
                  </a:cxn>
                  <a:cxn ang="0">
                    <a:pos x="126" y="52"/>
                  </a:cxn>
                  <a:cxn ang="0">
                    <a:pos x="128" y="62"/>
                  </a:cxn>
                  <a:cxn ang="0">
                    <a:pos x="128" y="68"/>
                  </a:cxn>
                  <a:cxn ang="0">
                    <a:pos x="132" y="70"/>
                  </a:cxn>
                  <a:cxn ang="0">
                    <a:pos x="136" y="72"/>
                  </a:cxn>
                  <a:cxn ang="0">
                    <a:pos x="140" y="74"/>
                  </a:cxn>
                  <a:cxn ang="0">
                    <a:pos x="144" y="74"/>
                  </a:cxn>
                  <a:cxn ang="0">
                    <a:pos x="148" y="80"/>
                  </a:cxn>
                  <a:cxn ang="0">
                    <a:pos x="140" y="84"/>
                  </a:cxn>
                  <a:cxn ang="0">
                    <a:pos x="134" y="88"/>
                  </a:cxn>
                  <a:cxn ang="0">
                    <a:pos x="126" y="100"/>
                  </a:cxn>
                  <a:cxn ang="0">
                    <a:pos x="116" y="112"/>
                  </a:cxn>
                  <a:cxn ang="0">
                    <a:pos x="106" y="122"/>
                  </a:cxn>
                  <a:cxn ang="0">
                    <a:pos x="104" y="124"/>
                  </a:cxn>
                  <a:cxn ang="0">
                    <a:pos x="100" y="126"/>
                  </a:cxn>
                  <a:cxn ang="0">
                    <a:pos x="98" y="128"/>
                  </a:cxn>
                  <a:cxn ang="0">
                    <a:pos x="94" y="132"/>
                  </a:cxn>
                  <a:cxn ang="0">
                    <a:pos x="92" y="138"/>
                  </a:cxn>
                  <a:cxn ang="0">
                    <a:pos x="88" y="142"/>
                  </a:cxn>
                  <a:cxn ang="0">
                    <a:pos x="84" y="146"/>
                  </a:cxn>
                  <a:cxn ang="0">
                    <a:pos x="78" y="148"/>
                  </a:cxn>
                  <a:cxn ang="0">
                    <a:pos x="72" y="146"/>
                  </a:cxn>
                  <a:cxn ang="0">
                    <a:pos x="68" y="142"/>
                  </a:cxn>
                  <a:cxn ang="0">
                    <a:pos x="62" y="140"/>
                  </a:cxn>
                  <a:cxn ang="0">
                    <a:pos x="56" y="138"/>
                  </a:cxn>
                  <a:cxn ang="0">
                    <a:pos x="52" y="142"/>
                  </a:cxn>
                  <a:cxn ang="0">
                    <a:pos x="44" y="150"/>
                  </a:cxn>
                  <a:cxn ang="0">
                    <a:pos x="36" y="162"/>
                  </a:cxn>
                  <a:cxn ang="0">
                    <a:pos x="28" y="168"/>
                  </a:cxn>
                  <a:cxn ang="0">
                    <a:pos x="12" y="168"/>
                  </a:cxn>
                  <a:cxn ang="0">
                    <a:pos x="14" y="160"/>
                  </a:cxn>
                  <a:cxn ang="0">
                    <a:pos x="16" y="152"/>
                  </a:cxn>
                  <a:cxn ang="0">
                    <a:pos x="16" y="146"/>
                  </a:cxn>
                  <a:cxn ang="0">
                    <a:pos x="14" y="142"/>
                  </a:cxn>
                  <a:cxn ang="0">
                    <a:pos x="6" y="134"/>
                  </a:cxn>
                  <a:cxn ang="0">
                    <a:pos x="0" y="132"/>
                  </a:cxn>
                  <a:cxn ang="0">
                    <a:pos x="0" y="78"/>
                  </a:cxn>
                  <a:cxn ang="0">
                    <a:pos x="20" y="78"/>
                  </a:cxn>
                  <a:cxn ang="0">
                    <a:pos x="20" y="10"/>
                  </a:cxn>
                  <a:cxn ang="0">
                    <a:pos x="42" y="8"/>
                  </a:cxn>
                  <a:cxn ang="0">
                    <a:pos x="60" y="6"/>
                  </a:cxn>
                  <a:cxn ang="0">
                    <a:pos x="64" y="12"/>
                  </a:cxn>
                  <a:cxn ang="0">
                    <a:pos x="78" y="6"/>
                  </a:cxn>
                  <a:cxn ang="0">
                    <a:pos x="82" y="2"/>
                  </a:cxn>
                  <a:cxn ang="0">
                    <a:pos x="88" y="0"/>
                  </a:cxn>
                  <a:cxn ang="0">
                    <a:pos x="92" y="0"/>
                  </a:cxn>
                  <a:cxn ang="0">
                    <a:pos x="94" y="2"/>
                  </a:cxn>
                  <a:cxn ang="0">
                    <a:pos x="94" y="8"/>
                  </a:cxn>
                </a:cxnLst>
                <a:rect l="0" t="0" r="r" b="b"/>
                <a:pathLst>
                  <a:path w="148" h="168">
                    <a:moveTo>
                      <a:pt x="94" y="8"/>
                    </a:moveTo>
                    <a:lnTo>
                      <a:pt x="98" y="14"/>
                    </a:lnTo>
                    <a:lnTo>
                      <a:pt x="100" y="18"/>
                    </a:lnTo>
                    <a:lnTo>
                      <a:pt x="102" y="20"/>
                    </a:lnTo>
                    <a:lnTo>
                      <a:pt x="100" y="22"/>
                    </a:lnTo>
                    <a:lnTo>
                      <a:pt x="102" y="26"/>
                    </a:lnTo>
                    <a:lnTo>
                      <a:pt x="106" y="32"/>
                    </a:lnTo>
                    <a:lnTo>
                      <a:pt x="112" y="36"/>
                    </a:lnTo>
                    <a:lnTo>
                      <a:pt x="120" y="42"/>
                    </a:lnTo>
                    <a:lnTo>
                      <a:pt x="124" y="46"/>
                    </a:lnTo>
                    <a:lnTo>
                      <a:pt x="126" y="52"/>
                    </a:lnTo>
                    <a:lnTo>
                      <a:pt x="128" y="62"/>
                    </a:lnTo>
                    <a:lnTo>
                      <a:pt x="128" y="68"/>
                    </a:lnTo>
                    <a:lnTo>
                      <a:pt x="132" y="70"/>
                    </a:lnTo>
                    <a:lnTo>
                      <a:pt x="136" y="72"/>
                    </a:lnTo>
                    <a:lnTo>
                      <a:pt x="140" y="74"/>
                    </a:lnTo>
                    <a:lnTo>
                      <a:pt x="144" y="74"/>
                    </a:lnTo>
                    <a:lnTo>
                      <a:pt x="148" y="80"/>
                    </a:lnTo>
                    <a:lnTo>
                      <a:pt x="140" y="84"/>
                    </a:lnTo>
                    <a:lnTo>
                      <a:pt x="134" y="88"/>
                    </a:lnTo>
                    <a:lnTo>
                      <a:pt x="126" y="100"/>
                    </a:lnTo>
                    <a:lnTo>
                      <a:pt x="116" y="112"/>
                    </a:lnTo>
                    <a:lnTo>
                      <a:pt x="106" y="122"/>
                    </a:lnTo>
                    <a:lnTo>
                      <a:pt x="104" y="124"/>
                    </a:lnTo>
                    <a:lnTo>
                      <a:pt x="100" y="126"/>
                    </a:lnTo>
                    <a:lnTo>
                      <a:pt x="98" y="128"/>
                    </a:lnTo>
                    <a:lnTo>
                      <a:pt x="94" y="132"/>
                    </a:lnTo>
                    <a:lnTo>
                      <a:pt x="92" y="138"/>
                    </a:lnTo>
                    <a:lnTo>
                      <a:pt x="88" y="142"/>
                    </a:lnTo>
                    <a:lnTo>
                      <a:pt x="84" y="146"/>
                    </a:lnTo>
                    <a:lnTo>
                      <a:pt x="78" y="148"/>
                    </a:lnTo>
                    <a:lnTo>
                      <a:pt x="72" y="146"/>
                    </a:lnTo>
                    <a:lnTo>
                      <a:pt x="68" y="142"/>
                    </a:lnTo>
                    <a:lnTo>
                      <a:pt x="62" y="140"/>
                    </a:lnTo>
                    <a:lnTo>
                      <a:pt x="56" y="138"/>
                    </a:lnTo>
                    <a:lnTo>
                      <a:pt x="52" y="142"/>
                    </a:lnTo>
                    <a:lnTo>
                      <a:pt x="44" y="150"/>
                    </a:lnTo>
                    <a:lnTo>
                      <a:pt x="36" y="162"/>
                    </a:lnTo>
                    <a:lnTo>
                      <a:pt x="28" y="168"/>
                    </a:lnTo>
                    <a:lnTo>
                      <a:pt x="12" y="168"/>
                    </a:lnTo>
                    <a:lnTo>
                      <a:pt x="14" y="160"/>
                    </a:lnTo>
                    <a:lnTo>
                      <a:pt x="16" y="152"/>
                    </a:lnTo>
                    <a:lnTo>
                      <a:pt x="16" y="146"/>
                    </a:lnTo>
                    <a:lnTo>
                      <a:pt x="14" y="142"/>
                    </a:lnTo>
                    <a:lnTo>
                      <a:pt x="6" y="134"/>
                    </a:lnTo>
                    <a:lnTo>
                      <a:pt x="0" y="132"/>
                    </a:lnTo>
                    <a:lnTo>
                      <a:pt x="0" y="78"/>
                    </a:lnTo>
                    <a:lnTo>
                      <a:pt x="20" y="78"/>
                    </a:lnTo>
                    <a:lnTo>
                      <a:pt x="20" y="10"/>
                    </a:lnTo>
                    <a:lnTo>
                      <a:pt x="42" y="8"/>
                    </a:lnTo>
                    <a:lnTo>
                      <a:pt x="60" y="6"/>
                    </a:lnTo>
                    <a:lnTo>
                      <a:pt x="64" y="12"/>
                    </a:lnTo>
                    <a:lnTo>
                      <a:pt x="78" y="6"/>
                    </a:lnTo>
                    <a:lnTo>
                      <a:pt x="82" y="2"/>
                    </a:lnTo>
                    <a:lnTo>
                      <a:pt x="88" y="0"/>
                    </a:lnTo>
                    <a:lnTo>
                      <a:pt x="92" y="0"/>
                    </a:lnTo>
                    <a:lnTo>
                      <a:pt x="94" y="2"/>
                    </a:lnTo>
                    <a:lnTo>
                      <a:pt x="94"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7" name="Freeform 109"/>
              <p:cNvSpPr>
                <a:spLocks noChangeAspect="1"/>
              </p:cNvSpPr>
              <p:nvPr/>
            </p:nvSpPr>
            <p:spPr bwMode="auto">
              <a:xfrm>
                <a:off x="3231375" y="4278095"/>
                <a:ext cx="113498" cy="96612"/>
              </a:xfrm>
              <a:custGeom>
                <a:avLst/>
                <a:gdLst/>
                <a:ahLst/>
                <a:cxnLst>
                  <a:cxn ang="0">
                    <a:pos x="6" y="78"/>
                  </a:cxn>
                  <a:cxn ang="0">
                    <a:pos x="4" y="74"/>
                  </a:cxn>
                  <a:cxn ang="0">
                    <a:pos x="4" y="68"/>
                  </a:cxn>
                  <a:cxn ang="0">
                    <a:pos x="4" y="62"/>
                  </a:cxn>
                  <a:cxn ang="0">
                    <a:pos x="16" y="62"/>
                  </a:cxn>
                  <a:cxn ang="0">
                    <a:pos x="28" y="60"/>
                  </a:cxn>
                  <a:cxn ang="0">
                    <a:pos x="28" y="58"/>
                  </a:cxn>
                  <a:cxn ang="0">
                    <a:pos x="34" y="60"/>
                  </a:cxn>
                  <a:cxn ang="0">
                    <a:pos x="42" y="62"/>
                  </a:cxn>
                  <a:cxn ang="0">
                    <a:pos x="46" y="60"/>
                  </a:cxn>
                  <a:cxn ang="0">
                    <a:pos x="50" y="58"/>
                  </a:cxn>
                  <a:cxn ang="0">
                    <a:pos x="38" y="56"/>
                  </a:cxn>
                  <a:cxn ang="0">
                    <a:pos x="32" y="54"/>
                  </a:cxn>
                  <a:cxn ang="0">
                    <a:pos x="30" y="50"/>
                  </a:cxn>
                  <a:cxn ang="0">
                    <a:pos x="26" y="52"/>
                  </a:cxn>
                  <a:cxn ang="0">
                    <a:pos x="24" y="54"/>
                  </a:cxn>
                  <a:cxn ang="0">
                    <a:pos x="22" y="56"/>
                  </a:cxn>
                  <a:cxn ang="0">
                    <a:pos x="18" y="58"/>
                  </a:cxn>
                  <a:cxn ang="0">
                    <a:pos x="6" y="56"/>
                  </a:cxn>
                  <a:cxn ang="0">
                    <a:pos x="6" y="52"/>
                  </a:cxn>
                  <a:cxn ang="0">
                    <a:pos x="8" y="46"/>
                  </a:cxn>
                  <a:cxn ang="0">
                    <a:pos x="6" y="40"/>
                  </a:cxn>
                  <a:cxn ang="0">
                    <a:pos x="4" y="36"/>
                  </a:cxn>
                  <a:cxn ang="0">
                    <a:pos x="2" y="32"/>
                  </a:cxn>
                  <a:cxn ang="0">
                    <a:pos x="0" y="30"/>
                  </a:cxn>
                  <a:cxn ang="0">
                    <a:pos x="2" y="24"/>
                  </a:cxn>
                  <a:cxn ang="0">
                    <a:pos x="4" y="16"/>
                  </a:cxn>
                  <a:cxn ang="0">
                    <a:pos x="10" y="4"/>
                  </a:cxn>
                  <a:cxn ang="0">
                    <a:pos x="14" y="4"/>
                  </a:cxn>
                  <a:cxn ang="0">
                    <a:pos x="16" y="4"/>
                  </a:cxn>
                  <a:cxn ang="0">
                    <a:pos x="20" y="4"/>
                  </a:cxn>
                  <a:cxn ang="0">
                    <a:pos x="22" y="2"/>
                  </a:cxn>
                  <a:cxn ang="0">
                    <a:pos x="26" y="0"/>
                  </a:cxn>
                  <a:cxn ang="0">
                    <a:pos x="30" y="0"/>
                  </a:cxn>
                  <a:cxn ang="0">
                    <a:pos x="38" y="2"/>
                  </a:cxn>
                  <a:cxn ang="0">
                    <a:pos x="46" y="6"/>
                  </a:cxn>
                  <a:cxn ang="0">
                    <a:pos x="52" y="8"/>
                  </a:cxn>
                  <a:cxn ang="0">
                    <a:pos x="54" y="14"/>
                  </a:cxn>
                  <a:cxn ang="0">
                    <a:pos x="64" y="28"/>
                  </a:cxn>
                  <a:cxn ang="0">
                    <a:pos x="68" y="32"/>
                  </a:cxn>
                  <a:cxn ang="0">
                    <a:pos x="74" y="36"/>
                  </a:cxn>
                  <a:cxn ang="0">
                    <a:pos x="72" y="36"/>
                  </a:cxn>
                  <a:cxn ang="0">
                    <a:pos x="76" y="48"/>
                  </a:cxn>
                  <a:cxn ang="0">
                    <a:pos x="80" y="58"/>
                  </a:cxn>
                  <a:cxn ang="0">
                    <a:pos x="82" y="66"/>
                  </a:cxn>
                  <a:cxn ang="0">
                    <a:pos x="82" y="72"/>
                  </a:cxn>
                  <a:cxn ang="0">
                    <a:pos x="82" y="80"/>
                  </a:cxn>
                  <a:cxn ang="0">
                    <a:pos x="80" y="80"/>
                  </a:cxn>
                  <a:cxn ang="0">
                    <a:pos x="74" y="82"/>
                  </a:cxn>
                  <a:cxn ang="0">
                    <a:pos x="68" y="80"/>
                  </a:cxn>
                  <a:cxn ang="0">
                    <a:pos x="62" y="78"/>
                  </a:cxn>
                  <a:cxn ang="0">
                    <a:pos x="56" y="76"/>
                  </a:cxn>
                  <a:cxn ang="0">
                    <a:pos x="50" y="74"/>
                  </a:cxn>
                  <a:cxn ang="0">
                    <a:pos x="38" y="74"/>
                  </a:cxn>
                  <a:cxn ang="0">
                    <a:pos x="26" y="76"/>
                  </a:cxn>
                  <a:cxn ang="0">
                    <a:pos x="18" y="78"/>
                  </a:cxn>
                  <a:cxn ang="0">
                    <a:pos x="6" y="78"/>
                  </a:cxn>
                </a:cxnLst>
                <a:rect l="0" t="0" r="r" b="b"/>
                <a:pathLst>
                  <a:path w="82" h="82">
                    <a:moveTo>
                      <a:pt x="6" y="78"/>
                    </a:moveTo>
                    <a:lnTo>
                      <a:pt x="4" y="74"/>
                    </a:lnTo>
                    <a:lnTo>
                      <a:pt x="4" y="68"/>
                    </a:lnTo>
                    <a:lnTo>
                      <a:pt x="4" y="62"/>
                    </a:lnTo>
                    <a:lnTo>
                      <a:pt x="16" y="62"/>
                    </a:lnTo>
                    <a:lnTo>
                      <a:pt x="28" y="60"/>
                    </a:lnTo>
                    <a:lnTo>
                      <a:pt x="28" y="58"/>
                    </a:lnTo>
                    <a:lnTo>
                      <a:pt x="34" y="60"/>
                    </a:lnTo>
                    <a:lnTo>
                      <a:pt x="42" y="62"/>
                    </a:lnTo>
                    <a:lnTo>
                      <a:pt x="46" y="60"/>
                    </a:lnTo>
                    <a:lnTo>
                      <a:pt x="50" y="58"/>
                    </a:lnTo>
                    <a:lnTo>
                      <a:pt x="38" y="56"/>
                    </a:lnTo>
                    <a:lnTo>
                      <a:pt x="32" y="54"/>
                    </a:lnTo>
                    <a:lnTo>
                      <a:pt x="30" y="50"/>
                    </a:lnTo>
                    <a:lnTo>
                      <a:pt x="26" y="52"/>
                    </a:lnTo>
                    <a:lnTo>
                      <a:pt x="24" y="54"/>
                    </a:lnTo>
                    <a:lnTo>
                      <a:pt x="22" y="56"/>
                    </a:lnTo>
                    <a:lnTo>
                      <a:pt x="18" y="58"/>
                    </a:lnTo>
                    <a:lnTo>
                      <a:pt x="6" y="56"/>
                    </a:lnTo>
                    <a:lnTo>
                      <a:pt x="6" y="52"/>
                    </a:lnTo>
                    <a:lnTo>
                      <a:pt x="8" y="46"/>
                    </a:lnTo>
                    <a:lnTo>
                      <a:pt x="6" y="40"/>
                    </a:lnTo>
                    <a:lnTo>
                      <a:pt x="4" y="36"/>
                    </a:lnTo>
                    <a:lnTo>
                      <a:pt x="2" y="32"/>
                    </a:lnTo>
                    <a:lnTo>
                      <a:pt x="0" y="30"/>
                    </a:lnTo>
                    <a:lnTo>
                      <a:pt x="2" y="24"/>
                    </a:lnTo>
                    <a:lnTo>
                      <a:pt x="4" y="16"/>
                    </a:lnTo>
                    <a:lnTo>
                      <a:pt x="10" y="4"/>
                    </a:lnTo>
                    <a:lnTo>
                      <a:pt x="14" y="4"/>
                    </a:lnTo>
                    <a:lnTo>
                      <a:pt x="16" y="4"/>
                    </a:lnTo>
                    <a:lnTo>
                      <a:pt x="20" y="4"/>
                    </a:lnTo>
                    <a:lnTo>
                      <a:pt x="22" y="2"/>
                    </a:lnTo>
                    <a:lnTo>
                      <a:pt x="26" y="0"/>
                    </a:lnTo>
                    <a:lnTo>
                      <a:pt x="30" y="0"/>
                    </a:lnTo>
                    <a:lnTo>
                      <a:pt x="38" y="2"/>
                    </a:lnTo>
                    <a:lnTo>
                      <a:pt x="46" y="6"/>
                    </a:lnTo>
                    <a:lnTo>
                      <a:pt x="52" y="8"/>
                    </a:lnTo>
                    <a:lnTo>
                      <a:pt x="54" y="14"/>
                    </a:lnTo>
                    <a:lnTo>
                      <a:pt x="64" y="28"/>
                    </a:lnTo>
                    <a:lnTo>
                      <a:pt x="68" y="32"/>
                    </a:lnTo>
                    <a:lnTo>
                      <a:pt x="74" y="36"/>
                    </a:lnTo>
                    <a:lnTo>
                      <a:pt x="72" y="36"/>
                    </a:lnTo>
                    <a:lnTo>
                      <a:pt x="76" y="48"/>
                    </a:lnTo>
                    <a:lnTo>
                      <a:pt x="80" y="58"/>
                    </a:lnTo>
                    <a:lnTo>
                      <a:pt x="82" y="66"/>
                    </a:lnTo>
                    <a:lnTo>
                      <a:pt x="82" y="72"/>
                    </a:lnTo>
                    <a:lnTo>
                      <a:pt x="82" y="80"/>
                    </a:lnTo>
                    <a:lnTo>
                      <a:pt x="80" y="80"/>
                    </a:lnTo>
                    <a:lnTo>
                      <a:pt x="74" y="82"/>
                    </a:lnTo>
                    <a:lnTo>
                      <a:pt x="68" y="80"/>
                    </a:lnTo>
                    <a:lnTo>
                      <a:pt x="62" y="78"/>
                    </a:lnTo>
                    <a:lnTo>
                      <a:pt x="56" y="76"/>
                    </a:lnTo>
                    <a:lnTo>
                      <a:pt x="50" y="74"/>
                    </a:lnTo>
                    <a:lnTo>
                      <a:pt x="38" y="74"/>
                    </a:lnTo>
                    <a:lnTo>
                      <a:pt x="26" y="76"/>
                    </a:lnTo>
                    <a:lnTo>
                      <a:pt x="18" y="78"/>
                    </a:lnTo>
                    <a:lnTo>
                      <a:pt x="6" y="7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8" name="Freeform 110"/>
              <p:cNvSpPr>
                <a:spLocks noChangeAspect="1"/>
              </p:cNvSpPr>
              <p:nvPr/>
            </p:nvSpPr>
            <p:spPr bwMode="auto">
              <a:xfrm>
                <a:off x="3238130" y="4363972"/>
                <a:ext cx="63506" cy="29818"/>
              </a:xfrm>
              <a:custGeom>
                <a:avLst/>
                <a:gdLst/>
                <a:ahLst/>
                <a:cxnLst>
                  <a:cxn ang="0">
                    <a:pos x="0" y="4"/>
                  </a:cxn>
                  <a:cxn ang="0">
                    <a:pos x="12" y="4"/>
                  </a:cxn>
                  <a:cxn ang="0">
                    <a:pos x="20" y="2"/>
                  </a:cxn>
                  <a:cxn ang="0">
                    <a:pos x="32" y="0"/>
                  </a:cxn>
                  <a:cxn ang="0">
                    <a:pos x="44" y="0"/>
                  </a:cxn>
                  <a:cxn ang="0">
                    <a:pos x="44" y="4"/>
                  </a:cxn>
                  <a:cxn ang="0">
                    <a:pos x="44" y="8"/>
                  </a:cxn>
                  <a:cxn ang="0">
                    <a:pos x="40" y="8"/>
                  </a:cxn>
                  <a:cxn ang="0">
                    <a:pos x="42" y="12"/>
                  </a:cxn>
                  <a:cxn ang="0">
                    <a:pos x="44" y="12"/>
                  </a:cxn>
                  <a:cxn ang="0">
                    <a:pos x="44" y="16"/>
                  </a:cxn>
                  <a:cxn ang="0">
                    <a:pos x="38" y="18"/>
                  </a:cxn>
                  <a:cxn ang="0">
                    <a:pos x="34" y="20"/>
                  </a:cxn>
                  <a:cxn ang="0">
                    <a:pos x="30" y="22"/>
                  </a:cxn>
                  <a:cxn ang="0">
                    <a:pos x="26" y="24"/>
                  </a:cxn>
                  <a:cxn ang="0">
                    <a:pos x="20" y="16"/>
                  </a:cxn>
                  <a:cxn ang="0">
                    <a:pos x="18" y="14"/>
                  </a:cxn>
                  <a:cxn ang="0">
                    <a:pos x="16" y="12"/>
                  </a:cxn>
                  <a:cxn ang="0">
                    <a:pos x="8" y="8"/>
                  </a:cxn>
                  <a:cxn ang="0">
                    <a:pos x="0" y="4"/>
                  </a:cxn>
                </a:cxnLst>
                <a:rect l="0" t="0" r="r" b="b"/>
                <a:pathLst>
                  <a:path w="44" h="24">
                    <a:moveTo>
                      <a:pt x="0" y="4"/>
                    </a:moveTo>
                    <a:lnTo>
                      <a:pt x="12" y="4"/>
                    </a:lnTo>
                    <a:lnTo>
                      <a:pt x="20" y="2"/>
                    </a:lnTo>
                    <a:lnTo>
                      <a:pt x="32" y="0"/>
                    </a:lnTo>
                    <a:lnTo>
                      <a:pt x="44" y="0"/>
                    </a:lnTo>
                    <a:lnTo>
                      <a:pt x="44" y="4"/>
                    </a:lnTo>
                    <a:lnTo>
                      <a:pt x="44" y="8"/>
                    </a:lnTo>
                    <a:lnTo>
                      <a:pt x="40" y="8"/>
                    </a:lnTo>
                    <a:lnTo>
                      <a:pt x="42" y="12"/>
                    </a:lnTo>
                    <a:lnTo>
                      <a:pt x="44" y="12"/>
                    </a:lnTo>
                    <a:lnTo>
                      <a:pt x="44" y="16"/>
                    </a:lnTo>
                    <a:lnTo>
                      <a:pt x="38" y="18"/>
                    </a:lnTo>
                    <a:lnTo>
                      <a:pt x="34" y="20"/>
                    </a:lnTo>
                    <a:lnTo>
                      <a:pt x="30" y="22"/>
                    </a:lnTo>
                    <a:lnTo>
                      <a:pt x="26" y="24"/>
                    </a:lnTo>
                    <a:lnTo>
                      <a:pt x="20" y="16"/>
                    </a:lnTo>
                    <a:lnTo>
                      <a:pt x="18" y="14"/>
                    </a:lnTo>
                    <a:lnTo>
                      <a:pt x="16" y="12"/>
                    </a:lnTo>
                    <a:lnTo>
                      <a:pt x="8" y="8"/>
                    </a:lnTo>
                    <a:lnTo>
                      <a:pt x="0"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99" name="Freeform 111"/>
              <p:cNvSpPr>
                <a:spLocks noChangeAspect="1"/>
              </p:cNvSpPr>
              <p:nvPr/>
            </p:nvSpPr>
            <p:spPr bwMode="auto">
              <a:xfrm>
                <a:off x="3274612" y="4363972"/>
                <a:ext cx="155384" cy="115696"/>
              </a:xfrm>
              <a:custGeom>
                <a:avLst/>
                <a:gdLst/>
                <a:ahLst/>
                <a:cxnLst>
                  <a:cxn ang="0">
                    <a:pos x="32" y="60"/>
                  </a:cxn>
                  <a:cxn ang="0">
                    <a:pos x="44" y="48"/>
                  </a:cxn>
                  <a:cxn ang="0">
                    <a:pos x="56" y="48"/>
                  </a:cxn>
                  <a:cxn ang="0">
                    <a:pos x="62" y="54"/>
                  </a:cxn>
                  <a:cxn ang="0">
                    <a:pos x="66" y="68"/>
                  </a:cxn>
                  <a:cxn ang="0">
                    <a:pos x="74" y="76"/>
                  </a:cxn>
                  <a:cxn ang="0">
                    <a:pos x="84" y="78"/>
                  </a:cxn>
                  <a:cxn ang="0">
                    <a:pos x="86" y="96"/>
                  </a:cxn>
                  <a:cxn ang="0">
                    <a:pos x="96" y="96"/>
                  </a:cxn>
                  <a:cxn ang="0">
                    <a:pos x="102" y="96"/>
                  </a:cxn>
                  <a:cxn ang="0">
                    <a:pos x="106" y="84"/>
                  </a:cxn>
                  <a:cxn ang="0">
                    <a:pos x="104" y="80"/>
                  </a:cxn>
                  <a:cxn ang="0">
                    <a:pos x="102" y="76"/>
                  </a:cxn>
                  <a:cxn ang="0">
                    <a:pos x="110" y="72"/>
                  </a:cxn>
                  <a:cxn ang="0">
                    <a:pos x="106" y="64"/>
                  </a:cxn>
                  <a:cxn ang="0">
                    <a:pos x="106" y="46"/>
                  </a:cxn>
                  <a:cxn ang="0">
                    <a:pos x="110" y="44"/>
                  </a:cxn>
                  <a:cxn ang="0">
                    <a:pos x="102" y="40"/>
                  </a:cxn>
                  <a:cxn ang="0">
                    <a:pos x="94" y="14"/>
                  </a:cxn>
                  <a:cxn ang="0">
                    <a:pos x="84" y="6"/>
                  </a:cxn>
                  <a:cxn ang="0">
                    <a:pos x="80" y="10"/>
                  </a:cxn>
                  <a:cxn ang="0">
                    <a:pos x="60" y="8"/>
                  </a:cxn>
                  <a:cxn ang="0">
                    <a:pos x="48" y="6"/>
                  </a:cxn>
                  <a:cxn ang="0">
                    <a:pos x="36" y="6"/>
                  </a:cxn>
                  <a:cxn ang="0">
                    <a:pos x="24" y="2"/>
                  </a:cxn>
                  <a:cxn ang="0">
                    <a:pos x="18" y="4"/>
                  </a:cxn>
                  <a:cxn ang="0">
                    <a:pos x="14" y="8"/>
                  </a:cxn>
                  <a:cxn ang="0">
                    <a:pos x="18" y="12"/>
                  </a:cxn>
                  <a:cxn ang="0">
                    <a:pos x="12" y="18"/>
                  </a:cxn>
                  <a:cxn ang="0">
                    <a:pos x="4" y="22"/>
                  </a:cxn>
                  <a:cxn ang="0">
                    <a:pos x="16" y="42"/>
                  </a:cxn>
                  <a:cxn ang="0">
                    <a:pos x="28" y="66"/>
                  </a:cxn>
                </a:cxnLst>
                <a:rect l="0" t="0" r="r" b="b"/>
                <a:pathLst>
                  <a:path w="110" h="96">
                    <a:moveTo>
                      <a:pt x="28" y="66"/>
                    </a:moveTo>
                    <a:lnTo>
                      <a:pt x="32" y="60"/>
                    </a:lnTo>
                    <a:lnTo>
                      <a:pt x="38" y="54"/>
                    </a:lnTo>
                    <a:lnTo>
                      <a:pt x="44" y="48"/>
                    </a:lnTo>
                    <a:lnTo>
                      <a:pt x="50" y="46"/>
                    </a:lnTo>
                    <a:lnTo>
                      <a:pt x="56" y="48"/>
                    </a:lnTo>
                    <a:lnTo>
                      <a:pt x="60" y="50"/>
                    </a:lnTo>
                    <a:lnTo>
                      <a:pt x="62" y="54"/>
                    </a:lnTo>
                    <a:lnTo>
                      <a:pt x="64" y="60"/>
                    </a:lnTo>
                    <a:lnTo>
                      <a:pt x="66" y="68"/>
                    </a:lnTo>
                    <a:lnTo>
                      <a:pt x="70" y="78"/>
                    </a:lnTo>
                    <a:lnTo>
                      <a:pt x="74" y="76"/>
                    </a:lnTo>
                    <a:lnTo>
                      <a:pt x="76" y="74"/>
                    </a:lnTo>
                    <a:lnTo>
                      <a:pt x="84" y="78"/>
                    </a:lnTo>
                    <a:lnTo>
                      <a:pt x="84" y="90"/>
                    </a:lnTo>
                    <a:lnTo>
                      <a:pt x="86" y="96"/>
                    </a:lnTo>
                    <a:lnTo>
                      <a:pt x="90" y="96"/>
                    </a:lnTo>
                    <a:lnTo>
                      <a:pt x="96" y="96"/>
                    </a:lnTo>
                    <a:lnTo>
                      <a:pt x="100" y="96"/>
                    </a:lnTo>
                    <a:lnTo>
                      <a:pt x="102" y="96"/>
                    </a:lnTo>
                    <a:lnTo>
                      <a:pt x="104" y="92"/>
                    </a:lnTo>
                    <a:lnTo>
                      <a:pt x="106" y="84"/>
                    </a:lnTo>
                    <a:lnTo>
                      <a:pt x="106" y="82"/>
                    </a:lnTo>
                    <a:lnTo>
                      <a:pt x="104" y="80"/>
                    </a:lnTo>
                    <a:lnTo>
                      <a:pt x="102" y="78"/>
                    </a:lnTo>
                    <a:lnTo>
                      <a:pt x="102" y="76"/>
                    </a:lnTo>
                    <a:lnTo>
                      <a:pt x="106" y="74"/>
                    </a:lnTo>
                    <a:lnTo>
                      <a:pt x="110" y="72"/>
                    </a:lnTo>
                    <a:lnTo>
                      <a:pt x="108" y="68"/>
                    </a:lnTo>
                    <a:lnTo>
                      <a:pt x="106" y="64"/>
                    </a:lnTo>
                    <a:lnTo>
                      <a:pt x="104" y="52"/>
                    </a:lnTo>
                    <a:lnTo>
                      <a:pt x="106" y="46"/>
                    </a:lnTo>
                    <a:lnTo>
                      <a:pt x="106" y="44"/>
                    </a:lnTo>
                    <a:lnTo>
                      <a:pt x="110" y="44"/>
                    </a:lnTo>
                    <a:lnTo>
                      <a:pt x="104" y="42"/>
                    </a:lnTo>
                    <a:lnTo>
                      <a:pt x="102" y="40"/>
                    </a:lnTo>
                    <a:lnTo>
                      <a:pt x="98" y="26"/>
                    </a:lnTo>
                    <a:lnTo>
                      <a:pt x="94" y="14"/>
                    </a:lnTo>
                    <a:lnTo>
                      <a:pt x="90" y="8"/>
                    </a:lnTo>
                    <a:lnTo>
                      <a:pt x="84" y="6"/>
                    </a:lnTo>
                    <a:lnTo>
                      <a:pt x="82" y="8"/>
                    </a:lnTo>
                    <a:lnTo>
                      <a:pt x="80" y="10"/>
                    </a:lnTo>
                    <a:lnTo>
                      <a:pt x="74" y="10"/>
                    </a:lnTo>
                    <a:lnTo>
                      <a:pt x="60" y="8"/>
                    </a:lnTo>
                    <a:lnTo>
                      <a:pt x="50" y="6"/>
                    </a:lnTo>
                    <a:lnTo>
                      <a:pt x="48" y="6"/>
                    </a:lnTo>
                    <a:lnTo>
                      <a:pt x="42" y="8"/>
                    </a:lnTo>
                    <a:lnTo>
                      <a:pt x="36" y="6"/>
                    </a:lnTo>
                    <a:lnTo>
                      <a:pt x="30" y="4"/>
                    </a:lnTo>
                    <a:lnTo>
                      <a:pt x="24" y="2"/>
                    </a:lnTo>
                    <a:lnTo>
                      <a:pt x="18" y="0"/>
                    </a:lnTo>
                    <a:lnTo>
                      <a:pt x="18" y="4"/>
                    </a:lnTo>
                    <a:lnTo>
                      <a:pt x="18" y="8"/>
                    </a:lnTo>
                    <a:lnTo>
                      <a:pt x="14" y="8"/>
                    </a:lnTo>
                    <a:lnTo>
                      <a:pt x="16" y="12"/>
                    </a:lnTo>
                    <a:lnTo>
                      <a:pt x="18" y="12"/>
                    </a:lnTo>
                    <a:lnTo>
                      <a:pt x="18" y="16"/>
                    </a:lnTo>
                    <a:lnTo>
                      <a:pt x="12" y="18"/>
                    </a:lnTo>
                    <a:lnTo>
                      <a:pt x="8" y="20"/>
                    </a:lnTo>
                    <a:lnTo>
                      <a:pt x="4" y="22"/>
                    </a:lnTo>
                    <a:lnTo>
                      <a:pt x="0" y="24"/>
                    </a:lnTo>
                    <a:lnTo>
                      <a:pt x="16" y="42"/>
                    </a:lnTo>
                    <a:lnTo>
                      <a:pt x="22" y="52"/>
                    </a:lnTo>
                    <a:lnTo>
                      <a:pt x="28" y="6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0" name="Freeform 112"/>
              <p:cNvSpPr>
                <a:spLocks noChangeAspect="1"/>
              </p:cNvSpPr>
              <p:nvPr/>
            </p:nvSpPr>
            <p:spPr bwMode="auto">
              <a:xfrm>
                <a:off x="3313797" y="4421224"/>
                <a:ext cx="60803" cy="64408"/>
              </a:xfrm>
              <a:custGeom>
                <a:avLst/>
                <a:gdLst/>
                <a:ahLst/>
                <a:cxnLst>
                  <a:cxn ang="0">
                    <a:pos x="24" y="56"/>
                  </a:cxn>
                  <a:cxn ang="0">
                    <a:pos x="18" y="50"/>
                  </a:cxn>
                  <a:cxn ang="0">
                    <a:pos x="12" y="46"/>
                  </a:cxn>
                  <a:cxn ang="0">
                    <a:pos x="6" y="38"/>
                  </a:cxn>
                  <a:cxn ang="0">
                    <a:pos x="2" y="30"/>
                  </a:cxn>
                  <a:cxn ang="0">
                    <a:pos x="0" y="20"/>
                  </a:cxn>
                  <a:cxn ang="0">
                    <a:pos x="4" y="14"/>
                  </a:cxn>
                  <a:cxn ang="0">
                    <a:pos x="10" y="8"/>
                  </a:cxn>
                  <a:cxn ang="0">
                    <a:pos x="16" y="2"/>
                  </a:cxn>
                  <a:cxn ang="0">
                    <a:pos x="22" y="0"/>
                  </a:cxn>
                  <a:cxn ang="0">
                    <a:pos x="28" y="2"/>
                  </a:cxn>
                  <a:cxn ang="0">
                    <a:pos x="32" y="4"/>
                  </a:cxn>
                  <a:cxn ang="0">
                    <a:pos x="34" y="8"/>
                  </a:cxn>
                  <a:cxn ang="0">
                    <a:pos x="36" y="14"/>
                  </a:cxn>
                  <a:cxn ang="0">
                    <a:pos x="38" y="22"/>
                  </a:cxn>
                  <a:cxn ang="0">
                    <a:pos x="42" y="32"/>
                  </a:cxn>
                  <a:cxn ang="0">
                    <a:pos x="40" y="36"/>
                  </a:cxn>
                  <a:cxn ang="0">
                    <a:pos x="38" y="42"/>
                  </a:cxn>
                  <a:cxn ang="0">
                    <a:pos x="34" y="48"/>
                  </a:cxn>
                  <a:cxn ang="0">
                    <a:pos x="28" y="52"/>
                  </a:cxn>
                  <a:cxn ang="0">
                    <a:pos x="24" y="56"/>
                  </a:cxn>
                </a:cxnLst>
                <a:rect l="0" t="0" r="r" b="b"/>
                <a:pathLst>
                  <a:path w="42" h="56">
                    <a:moveTo>
                      <a:pt x="24" y="56"/>
                    </a:moveTo>
                    <a:lnTo>
                      <a:pt x="18" y="50"/>
                    </a:lnTo>
                    <a:lnTo>
                      <a:pt x="12" y="46"/>
                    </a:lnTo>
                    <a:lnTo>
                      <a:pt x="6" y="38"/>
                    </a:lnTo>
                    <a:lnTo>
                      <a:pt x="2" y="30"/>
                    </a:lnTo>
                    <a:lnTo>
                      <a:pt x="0" y="20"/>
                    </a:lnTo>
                    <a:lnTo>
                      <a:pt x="4" y="14"/>
                    </a:lnTo>
                    <a:lnTo>
                      <a:pt x="10" y="8"/>
                    </a:lnTo>
                    <a:lnTo>
                      <a:pt x="16" y="2"/>
                    </a:lnTo>
                    <a:lnTo>
                      <a:pt x="22" y="0"/>
                    </a:lnTo>
                    <a:lnTo>
                      <a:pt x="28" y="2"/>
                    </a:lnTo>
                    <a:lnTo>
                      <a:pt x="32" y="4"/>
                    </a:lnTo>
                    <a:lnTo>
                      <a:pt x="34" y="8"/>
                    </a:lnTo>
                    <a:lnTo>
                      <a:pt x="36" y="14"/>
                    </a:lnTo>
                    <a:lnTo>
                      <a:pt x="38" y="22"/>
                    </a:lnTo>
                    <a:lnTo>
                      <a:pt x="42" y="32"/>
                    </a:lnTo>
                    <a:lnTo>
                      <a:pt x="40" y="36"/>
                    </a:lnTo>
                    <a:lnTo>
                      <a:pt x="38" y="42"/>
                    </a:lnTo>
                    <a:lnTo>
                      <a:pt x="34" y="48"/>
                    </a:lnTo>
                    <a:lnTo>
                      <a:pt x="28" y="52"/>
                    </a:lnTo>
                    <a:lnTo>
                      <a:pt x="24" y="5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1" name="Freeform 113"/>
              <p:cNvSpPr>
                <a:spLocks noChangeAspect="1"/>
              </p:cNvSpPr>
              <p:nvPr/>
            </p:nvSpPr>
            <p:spPr bwMode="auto">
              <a:xfrm>
                <a:off x="3350279" y="4453428"/>
                <a:ext cx="89177" cy="85878"/>
              </a:xfrm>
              <a:custGeom>
                <a:avLst/>
                <a:gdLst/>
                <a:ahLst/>
                <a:cxnLst>
                  <a:cxn ang="0">
                    <a:pos x="62" y="72"/>
                  </a:cxn>
                  <a:cxn ang="0">
                    <a:pos x="54" y="70"/>
                  </a:cxn>
                  <a:cxn ang="0">
                    <a:pos x="50" y="66"/>
                  </a:cxn>
                  <a:cxn ang="0">
                    <a:pos x="40" y="56"/>
                  </a:cxn>
                  <a:cxn ang="0">
                    <a:pos x="20" y="44"/>
                  </a:cxn>
                  <a:cxn ang="0">
                    <a:pos x="0" y="28"/>
                  </a:cxn>
                  <a:cxn ang="0">
                    <a:pos x="2" y="26"/>
                  </a:cxn>
                  <a:cxn ang="0">
                    <a:pos x="4" y="24"/>
                  </a:cxn>
                  <a:cxn ang="0">
                    <a:pos x="10" y="20"/>
                  </a:cxn>
                  <a:cxn ang="0">
                    <a:pos x="14" y="14"/>
                  </a:cxn>
                  <a:cxn ang="0">
                    <a:pos x="16" y="8"/>
                  </a:cxn>
                  <a:cxn ang="0">
                    <a:pos x="18" y="4"/>
                  </a:cxn>
                  <a:cxn ang="0">
                    <a:pos x="22" y="2"/>
                  </a:cxn>
                  <a:cxn ang="0">
                    <a:pos x="24" y="0"/>
                  </a:cxn>
                  <a:cxn ang="0">
                    <a:pos x="32" y="4"/>
                  </a:cxn>
                  <a:cxn ang="0">
                    <a:pos x="32" y="16"/>
                  </a:cxn>
                  <a:cxn ang="0">
                    <a:pos x="34" y="22"/>
                  </a:cxn>
                  <a:cxn ang="0">
                    <a:pos x="38" y="22"/>
                  </a:cxn>
                  <a:cxn ang="0">
                    <a:pos x="44" y="22"/>
                  </a:cxn>
                  <a:cxn ang="0">
                    <a:pos x="50" y="22"/>
                  </a:cxn>
                  <a:cxn ang="0">
                    <a:pos x="50" y="24"/>
                  </a:cxn>
                  <a:cxn ang="0">
                    <a:pos x="50" y="28"/>
                  </a:cxn>
                  <a:cxn ang="0">
                    <a:pos x="50" y="34"/>
                  </a:cxn>
                  <a:cxn ang="0">
                    <a:pos x="50" y="38"/>
                  </a:cxn>
                  <a:cxn ang="0">
                    <a:pos x="50" y="42"/>
                  </a:cxn>
                  <a:cxn ang="0">
                    <a:pos x="56" y="46"/>
                  </a:cxn>
                  <a:cxn ang="0">
                    <a:pos x="62" y="48"/>
                  </a:cxn>
                  <a:cxn ang="0">
                    <a:pos x="64" y="52"/>
                  </a:cxn>
                  <a:cxn ang="0">
                    <a:pos x="64" y="54"/>
                  </a:cxn>
                  <a:cxn ang="0">
                    <a:pos x="62" y="70"/>
                  </a:cxn>
                  <a:cxn ang="0">
                    <a:pos x="62" y="72"/>
                  </a:cxn>
                </a:cxnLst>
                <a:rect l="0" t="0" r="r" b="b"/>
                <a:pathLst>
                  <a:path w="64" h="72">
                    <a:moveTo>
                      <a:pt x="62" y="72"/>
                    </a:moveTo>
                    <a:lnTo>
                      <a:pt x="54" y="70"/>
                    </a:lnTo>
                    <a:lnTo>
                      <a:pt x="50" y="66"/>
                    </a:lnTo>
                    <a:lnTo>
                      <a:pt x="40" y="56"/>
                    </a:lnTo>
                    <a:lnTo>
                      <a:pt x="20" y="44"/>
                    </a:lnTo>
                    <a:lnTo>
                      <a:pt x="0" y="28"/>
                    </a:lnTo>
                    <a:lnTo>
                      <a:pt x="2" y="26"/>
                    </a:lnTo>
                    <a:lnTo>
                      <a:pt x="4" y="24"/>
                    </a:lnTo>
                    <a:lnTo>
                      <a:pt x="10" y="20"/>
                    </a:lnTo>
                    <a:lnTo>
                      <a:pt x="14" y="14"/>
                    </a:lnTo>
                    <a:lnTo>
                      <a:pt x="16" y="8"/>
                    </a:lnTo>
                    <a:lnTo>
                      <a:pt x="18" y="4"/>
                    </a:lnTo>
                    <a:lnTo>
                      <a:pt x="22" y="2"/>
                    </a:lnTo>
                    <a:lnTo>
                      <a:pt x="24" y="0"/>
                    </a:lnTo>
                    <a:lnTo>
                      <a:pt x="32" y="4"/>
                    </a:lnTo>
                    <a:lnTo>
                      <a:pt x="32" y="16"/>
                    </a:lnTo>
                    <a:lnTo>
                      <a:pt x="34" y="22"/>
                    </a:lnTo>
                    <a:lnTo>
                      <a:pt x="38" y="22"/>
                    </a:lnTo>
                    <a:lnTo>
                      <a:pt x="44" y="22"/>
                    </a:lnTo>
                    <a:lnTo>
                      <a:pt x="50" y="22"/>
                    </a:lnTo>
                    <a:lnTo>
                      <a:pt x="50" y="24"/>
                    </a:lnTo>
                    <a:lnTo>
                      <a:pt x="50" y="28"/>
                    </a:lnTo>
                    <a:lnTo>
                      <a:pt x="50" y="34"/>
                    </a:lnTo>
                    <a:lnTo>
                      <a:pt x="50" y="38"/>
                    </a:lnTo>
                    <a:lnTo>
                      <a:pt x="50" y="42"/>
                    </a:lnTo>
                    <a:lnTo>
                      <a:pt x="56" y="46"/>
                    </a:lnTo>
                    <a:lnTo>
                      <a:pt x="62" y="48"/>
                    </a:lnTo>
                    <a:lnTo>
                      <a:pt x="64" y="52"/>
                    </a:lnTo>
                    <a:lnTo>
                      <a:pt x="64" y="54"/>
                    </a:lnTo>
                    <a:lnTo>
                      <a:pt x="62" y="70"/>
                    </a:lnTo>
                    <a:lnTo>
                      <a:pt x="62" y="7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2" name="Freeform 114"/>
              <p:cNvSpPr>
                <a:spLocks noChangeAspect="1"/>
              </p:cNvSpPr>
              <p:nvPr/>
            </p:nvSpPr>
            <p:spPr bwMode="auto">
              <a:xfrm>
                <a:off x="3478640" y="4313877"/>
                <a:ext cx="171599" cy="115696"/>
              </a:xfrm>
              <a:custGeom>
                <a:avLst/>
                <a:gdLst/>
                <a:ahLst/>
                <a:cxnLst>
                  <a:cxn ang="0">
                    <a:pos x="122" y="48"/>
                  </a:cxn>
                  <a:cxn ang="0">
                    <a:pos x="120" y="44"/>
                  </a:cxn>
                  <a:cxn ang="0">
                    <a:pos x="114" y="42"/>
                  </a:cxn>
                  <a:cxn ang="0">
                    <a:pos x="108" y="42"/>
                  </a:cxn>
                  <a:cxn ang="0">
                    <a:pos x="104" y="38"/>
                  </a:cxn>
                  <a:cxn ang="0">
                    <a:pos x="104" y="34"/>
                  </a:cxn>
                  <a:cxn ang="0">
                    <a:pos x="104" y="30"/>
                  </a:cxn>
                  <a:cxn ang="0">
                    <a:pos x="104" y="26"/>
                  </a:cxn>
                  <a:cxn ang="0">
                    <a:pos x="102" y="22"/>
                  </a:cxn>
                  <a:cxn ang="0">
                    <a:pos x="98" y="18"/>
                  </a:cxn>
                  <a:cxn ang="0">
                    <a:pos x="94" y="16"/>
                  </a:cxn>
                  <a:cxn ang="0">
                    <a:pos x="90" y="10"/>
                  </a:cxn>
                  <a:cxn ang="0">
                    <a:pos x="90" y="0"/>
                  </a:cxn>
                  <a:cxn ang="0">
                    <a:pos x="68" y="6"/>
                  </a:cxn>
                  <a:cxn ang="0">
                    <a:pos x="46" y="14"/>
                  </a:cxn>
                  <a:cxn ang="0">
                    <a:pos x="42" y="16"/>
                  </a:cxn>
                  <a:cxn ang="0">
                    <a:pos x="40" y="18"/>
                  </a:cxn>
                  <a:cxn ang="0">
                    <a:pos x="38" y="24"/>
                  </a:cxn>
                  <a:cxn ang="0">
                    <a:pos x="34" y="30"/>
                  </a:cxn>
                  <a:cxn ang="0">
                    <a:pos x="32" y="30"/>
                  </a:cxn>
                  <a:cxn ang="0">
                    <a:pos x="28" y="30"/>
                  </a:cxn>
                  <a:cxn ang="0">
                    <a:pos x="20" y="30"/>
                  </a:cxn>
                  <a:cxn ang="0">
                    <a:pos x="20" y="40"/>
                  </a:cxn>
                  <a:cxn ang="0">
                    <a:pos x="20" y="46"/>
                  </a:cxn>
                  <a:cxn ang="0">
                    <a:pos x="18" y="50"/>
                  </a:cxn>
                  <a:cxn ang="0">
                    <a:pos x="12" y="54"/>
                  </a:cxn>
                  <a:cxn ang="0">
                    <a:pos x="6" y="58"/>
                  </a:cxn>
                  <a:cxn ang="0">
                    <a:pos x="4" y="62"/>
                  </a:cxn>
                  <a:cxn ang="0">
                    <a:pos x="4" y="66"/>
                  </a:cxn>
                  <a:cxn ang="0">
                    <a:pos x="2" y="74"/>
                  </a:cxn>
                  <a:cxn ang="0">
                    <a:pos x="0" y="80"/>
                  </a:cxn>
                  <a:cxn ang="0">
                    <a:pos x="4" y="84"/>
                  </a:cxn>
                  <a:cxn ang="0">
                    <a:pos x="8" y="90"/>
                  </a:cxn>
                  <a:cxn ang="0">
                    <a:pos x="12" y="94"/>
                  </a:cxn>
                  <a:cxn ang="0">
                    <a:pos x="18" y="96"/>
                  </a:cxn>
                  <a:cxn ang="0">
                    <a:pos x="22" y="96"/>
                  </a:cxn>
                  <a:cxn ang="0">
                    <a:pos x="24" y="94"/>
                  </a:cxn>
                  <a:cxn ang="0">
                    <a:pos x="28" y="92"/>
                  </a:cxn>
                  <a:cxn ang="0">
                    <a:pos x="32" y="92"/>
                  </a:cxn>
                  <a:cxn ang="0">
                    <a:pos x="36" y="92"/>
                  </a:cxn>
                  <a:cxn ang="0">
                    <a:pos x="38" y="94"/>
                  </a:cxn>
                  <a:cxn ang="0">
                    <a:pos x="40" y="98"/>
                  </a:cxn>
                  <a:cxn ang="0">
                    <a:pos x="42" y="98"/>
                  </a:cxn>
                  <a:cxn ang="0">
                    <a:pos x="42" y="86"/>
                  </a:cxn>
                  <a:cxn ang="0">
                    <a:pos x="42" y="72"/>
                  </a:cxn>
                  <a:cxn ang="0">
                    <a:pos x="50" y="72"/>
                  </a:cxn>
                  <a:cxn ang="0">
                    <a:pos x="58" y="72"/>
                  </a:cxn>
                  <a:cxn ang="0">
                    <a:pos x="76" y="72"/>
                  </a:cxn>
                  <a:cxn ang="0">
                    <a:pos x="106" y="72"/>
                  </a:cxn>
                  <a:cxn ang="0">
                    <a:pos x="106" y="68"/>
                  </a:cxn>
                  <a:cxn ang="0">
                    <a:pos x="108" y="66"/>
                  </a:cxn>
                  <a:cxn ang="0">
                    <a:pos x="114" y="64"/>
                  </a:cxn>
                  <a:cxn ang="0">
                    <a:pos x="122" y="60"/>
                  </a:cxn>
                  <a:cxn ang="0">
                    <a:pos x="122" y="58"/>
                  </a:cxn>
                  <a:cxn ang="0">
                    <a:pos x="122" y="56"/>
                  </a:cxn>
                  <a:cxn ang="0">
                    <a:pos x="122" y="50"/>
                  </a:cxn>
                  <a:cxn ang="0">
                    <a:pos x="122" y="48"/>
                  </a:cxn>
                </a:cxnLst>
                <a:rect l="0" t="0" r="r" b="b"/>
                <a:pathLst>
                  <a:path w="122" h="98">
                    <a:moveTo>
                      <a:pt x="122" y="48"/>
                    </a:moveTo>
                    <a:lnTo>
                      <a:pt x="120" y="44"/>
                    </a:lnTo>
                    <a:lnTo>
                      <a:pt x="114" y="42"/>
                    </a:lnTo>
                    <a:lnTo>
                      <a:pt x="108" y="42"/>
                    </a:lnTo>
                    <a:lnTo>
                      <a:pt x="104" y="38"/>
                    </a:lnTo>
                    <a:lnTo>
                      <a:pt x="104" y="34"/>
                    </a:lnTo>
                    <a:lnTo>
                      <a:pt x="104" y="30"/>
                    </a:lnTo>
                    <a:lnTo>
                      <a:pt x="104" y="26"/>
                    </a:lnTo>
                    <a:lnTo>
                      <a:pt x="102" y="22"/>
                    </a:lnTo>
                    <a:lnTo>
                      <a:pt x="98" y="18"/>
                    </a:lnTo>
                    <a:lnTo>
                      <a:pt x="94" y="16"/>
                    </a:lnTo>
                    <a:lnTo>
                      <a:pt x="90" y="10"/>
                    </a:lnTo>
                    <a:lnTo>
                      <a:pt x="90" y="0"/>
                    </a:lnTo>
                    <a:lnTo>
                      <a:pt x="68" y="6"/>
                    </a:lnTo>
                    <a:lnTo>
                      <a:pt x="46" y="14"/>
                    </a:lnTo>
                    <a:lnTo>
                      <a:pt x="42" y="16"/>
                    </a:lnTo>
                    <a:lnTo>
                      <a:pt x="40" y="18"/>
                    </a:lnTo>
                    <a:lnTo>
                      <a:pt x="38" y="24"/>
                    </a:lnTo>
                    <a:lnTo>
                      <a:pt x="34" y="30"/>
                    </a:lnTo>
                    <a:lnTo>
                      <a:pt x="32" y="30"/>
                    </a:lnTo>
                    <a:lnTo>
                      <a:pt x="28" y="30"/>
                    </a:lnTo>
                    <a:lnTo>
                      <a:pt x="20" y="30"/>
                    </a:lnTo>
                    <a:lnTo>
                      <a:pt x="20" y="40"/>
                    </a:lnTo>
                    <a:lnTo>
                      <a:pt x="20" y="46"/>
                    </a:lnTo>
                    <a:lnTo>
                      <a:pt x="18" y="50"/>
                    </a:lnTo>
                    <a:lnTo>
                      <a:pt x="12" y="54"/>
                    </a:lnTo>
                    <a:lnTo>
                      <a:pt x="6" y="58"/>
                    </a:lnTo>
                    <a:lnTo>
                      <a:pt x="4" y="62"/>
                    </a:lnTo>
                    <a:lnTo>
                      <a:pt x="4" y="66"/>
                    </a:lnTo>
                    <a:lnTo>
                      <a:pt x="2" y="74"/>
                    </a:lnTo>
                    <a:lnTo>
                      <a:pt x="0" y="80"/>
                    </a:lnTo>
                    <a:lnTo>
                      <a:pt x="4" y="84"/>
                    </a:lnTo>
                    <a:lnTo>
                      <a:pt x="8" y="90"/>
                    </a:lnTo>
                    <a:lnTo>
                      <a:pt x="12" y="94"/>
                    </a:lnTo>
                    <a:lnTo>
                      <a:pt x="18" y="96"/>
                    </a:lnTo>
                    <a:lnTo>
                      <a:pt x="22" y="96"/>
                    </a:lnTo>
                    <a:lnTo>
                      <a:pt x="24" y="94"/>
                    </a:lnTo>
                    <a:lnTo>
                      <a:pt x="28" y="92"/>
                    </a:lnTo>
                    <a:lnTo>
                      <a:pt x="32" y="92"/>
                    </a:lnTo>
                    <a:lnTo>
                      <a:pt x="36" y="92"/>
                    </a:lnTo>
                    <a:lnTo>
                      <a:pt x="38" y="94"/>
                    </a:lnTo>
                    <a:lnTo>
                      <a:pt x="40" y="98"/>
                    </a:lnTo>
                    <a:lnTo>
                      <a:pt x="42" y="98"/>
                    </a:lnTo>
                    <a:lnTo>
                      <a:pt x="42" y="86"/>
                    </a:lnTo>
                    <a:lnTo>
                      <a:pt x="42" y="72"/>
                    </a:lnTo>
                    <a:lnTo>
                      <a:pt x="50" y="72"/>
                    </a:lnTo>
                    <a:lnTo>
                      <a:pt x="58" y="72"/>
                    </a:lnTo>
                    <a:lnTo>
                      <a:pt x="76" y="72"/>
                    </a:lnTo>
                    <a:lnTo>
                      <a:pt x="106" y="72"/>
                    </a:lnTo>
                    <a:lnTo>
                      <a:pt x="106" y="68"/>
                    </a:lnTo>
                    <a:lnTo>
                      <a:pt x="108" y="66"/>
                    </a:lnTo>
                    <a:lnTo>
                      <a:pt x="114" y="64"/>
                    </a:lnTo>
                    <a:lnTo>
                      <a:pt x="122" y="60"/>
                    </a:lnTo>
                    <a:lnTo>
                      <a:pt x="122" y="58"/>
                    </a:lnTo>
                    <a:lnTo>
                      <a:pt x="122" y="56"/>
                    </a:lnTo>
                    <a:lnTo>
                      <a:pt x="122" y="50"/>
                    </a:lnTo>
                    <a:lnTo>
                      <a:pt x="122" y="4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3" name="Freeform 115"/>
              <p:cNvSpPr>
                <a:spLocks noChangeAspect="1"/>
              </p:cNvSpPr>
              <p:nvPr/>
            </p:nvSpPr>
            <p:spPr bwMode="auto">
              <a:xfrm>
                <a:off x="3417837" y="4408104"/>
                <a:ext cx="128361" cy="131202"/>
              </a:xfrm>
              <a:custGeom>
                <a:avLst/>
                <a:gdLst/>
                <a:ahLst/>
                <a:cxnLst>
                  <a:cxn ang="0">
                    <a:pos x="4" y="48"/>
                  </a:cxn>
                  <a:cxn ang="0">
                    <a:pos x="2" y="44"/>
                  </a:cxn>
                  <a:cxn ang="0">
                    <a:pos x="0" y="40"/>
                  </a:cxn>
                  <a:cxn ang="0">
                    <a:pos x="8" y="36"/>
                  </a:cxn>
                  <a:cxn ang="0">
                    <a:pos x="4" y="28"/>
                  </a:cxn>
                  <a:cxn ang="0">
                    <a:pos x="4" y="10"/>
                  </a:cxn>
                  <a:cxn ang="0">
                    <a:pos x="8" y="8"/>
                  </a:cxn>
                  <a:cxn ang="0">
                    <a:pos x="20" y="4"/>
                  </a:cxn>
                  <a:cxn ang="0">
                    <a:pos x="32" y="8"/>
                  </a:cxn>
                  <a:cxn ang="0">
                    <a:pos x="42" y="0"/>
                  </a:cxn>
                  <a:cxn ang="0">
                    <a:pos x="50" y="10"/>
                  </a:cxn>
                  <a:cxn ang="0">
                    <a:pos x="60" y="16"/>
                  </a:cxn>
                  <a:cxn ang="0">
                    <a:pos x="66" y="14"/>
                  </a:cxn>
                  <a:cxn ang="0">
                    <a:pos x="74" y="12"/>
                  </a:cxn>
                  <a:cxn ang="0">
                    <a:pos x="80" y="14"/>
                  </a:cxn>
                  <a:cxn ang="0">
                    <a:pos x="84" y="18"/>
                  </a:cxn>
                  <a:cxn ang="0">
                    <a:pos x="90" y="32"/>
                  </a:cxn>
                  <a:cxn ang="0">
                    <a:pos x="88" y="46"/>
                  </a:cxn>
                  <a:cxn ang="0">
                    <a:pos x="82" y="60"/>
                  </a:cxn>
                  <a:cxn ang="0">
                    <a:pos x="82" y="86"/>
                  </a:cxn>
                  <a:cxn ang="0">
                    <a:pos x="88" y="98"/>
                  </a:cxn>
                  <a:cxn ang="0">
                    <a:pos x="78" y="98"/>
                  </a:cxn>
                  <a:cxn ang="0">
                    <a:pos x="62" y="96"/>
                  </a:cxn>
                  <a:cxn ang="0">
                    <a:pos x="48" y="98"/>
                  </a:cxn>
                  <a:cxn ang="0">
                    <a:pos x="26" y="108"/>
                  </a:cxn>
                  <a:cxn ang="0">
                    <a:pos x="12" y="110"/>
                  </a:cxn>
                  <a:cxn ang="0">
                    <a:pos x="14" y="90"/>
                  </a:cxn>
                  <a:cxn ang="0">
                    <a:pos x="6" y="84"/>
                  </a:cxn>
                  <a:cxn ang="0">
                    <a:pos x="0" y="76"/>
                  </a:cxn>
                  <a:cxn ang="0">
                    <a:pos x="0" y="66"/>
                  </a:cxn>
                  <a:cxn ang="0">
                    <a:pos x="0" y="60"/>
                  </a:cxn>
                  <a:cxn ang="0">
                    <a:pos x="2" y="56"/>
                  </a:cxn>
                </a:cxnLst>
                <a:rect l="0" t="0" r="r" b="b"/>
                <a:pathLst>
                  <a:path w="90" h="110">
                    <a:moveTo>
                      <a:pt x="2" y="56"/>
                    </a:moveTo>
                    <a:lnTo>
                      <a:pt x="4" y="48"/>
                    </a:lnTo>
                    <a:lnTo>
                      <a:pt x="4" y="46"/>
                    </a:lnTo>
                    <a:lnTo>
                      <a:pt x="2" y="44"/>
                    </a:lnTo>
                    <a:lnTo>
                      <a:pt x="0" y="42"/>
                    </a:lnTo>
                    <a:lnTo>
                      <a:pt x="0" y="40"/>
                    </a:lnTo>
                    <a:lnTo>
                      <a:pt x="4" y="38"/>
                    </a:lnTo>
                    <a:lnTo>
                      <a:pt x="8" y="36"/>
                    </a:lnTo>
                    <a:lnTo>
                      <a:pt x="6" y="32"/>
                    </a:lnTo>
                    <a:lnTo>
                      <a:pt x="4" y="28"/>
                    </a:lnTo>
                    <a:lnTo>
                      <a:pt x="2" y="16"/>
                    </a:lnTo>
                    <a:lnTo>
                      <a:pt x="4" y="10"/>
                    </a:lnTo>
                    <a:lnTo>
                      <a:pt x="4" y="8"/>
                    </a:lnTo>
                    <a:lnTo>
                      <a:pt x="8" y="8"/>
                    </a:lnTo>
                    <a:lnTo>
                      <a:pt x="14" y="6"/>
                    </a:lnTo>
                    <a:lnTo>
                      <a:pt x="20" y="4"/>
                    </a:lnTo>
                    <a:lnTo>
                      <a:pt x="28" y="2"/>
                    </a:lnTo>
                    <a:lnTo>
                      <a:pt x="32" y="8"/>
                    </a:lnTo>
                    <a:lnTo>
                      <a:pt x="38" y="4"/>
                    </a:lnTo>
                    <a:lnTo>
                      <a:pt x="42" y="0"/>
                    </a:lnTo>
                    <a:lnTo>
                      <a:pt x="46" y="4"/>
                    </a:lnTo>
                    <a:lnTo>
                      <a:pt x="50" y="10"/>
                    </a:lnTo>
                    <a:lnTo>
                      <a:pt x="54" y="14"/>
                    </a:lnTo>
                    <a:lnTo>
                      <a:pt x="60" y="16"/>
                    </a:lnTo>
                    <a:lnTo>
                      <a:pt x="64" y="16"/>
                    </a:lnTo>
                    <a:lnTo>
                      <a:pt x="66" y="14"/>
                    </a:lnTo>
                    <a:lnTo>
                      <a:pt x="70" y="12"/>
                    </a:lnTo>
                    <a:lnTo>
                      <a:pt x="74" y="12"/>
                    </a:lnTo>
                    <a:lnTo>
                      <a:pt x="78" y="12"/>
                    </a:lnTo>
                    <a:lnTo>
                      <a:pt x="80" y="14"/>
                    </a:lnTo>
                    <a:lnTo>
                      <a:pt x="82" y="18"/>
                    </a:lnTo>
                    <a:lnTo>
                      <a:pt x="84" y="18"/>
                    </a:lnTo>
                    <a:lnTo>
                      <a:pt x="88" y="28"/>
                    </a:lnTo>
                    <a:lnTo>
                      <a:pt x="90" y="32"/>
                    </a:lnTo>
                    <a:lnTo>
                      <a:pt x="90" y="36"/>
                    </a:lnTo>
                    <a:lnTo>
                      <a:pt x="88" y="46"/>
                    </a:lnTo>
                    <a:lnTo>
                      <a:pt x="84" y="54"/>
                    </a:lnTo>
                    <a:lnTo>
                      <a:pt x="82" y="60"/>
                    </a:lnTo>
                    <a:lnTo>
                      <a:pt x="80" y="70"/>
                    </a:lnTo>
                    <a:lnTo>
                      <a:pt x="82" y="86"/>
                    </a:lnTo>
                    <a:lnTo>
                      <a:pt x="84" y="92"/>
                    </a:lnTo>
                    <a:lnTo>
                      <a:pt x="88" y="98"/>
                    </a:lnTo>
                    <a:lnTo>
                      <a:pt x="88" y="104"/>
                    </a:lnTo>
                    <a:lnTo>
                      <a:pt x="78" y="98"/>
                    </a:lnTo>
                    <a:lnTo>
                      <a:pt x="70" y="96"/>
                    </a:lnTo>
                    <a:lnTo>
                      <a:pt x="62" y="96"/>
                    </a:lnTo>
                    <a:lnTo>
                      <a:pt x="54" y="96"/>
                    </a:lnTo>
                    <a:lnTo>
                      <a:pt x="48" y="98"/>
                    </a:lnTo>
                    <a:lnTo>
                      <a:pt x="36" y="102"/>
                    </a:lnTo>
                    <a:lnTo>
                      <a:pt x="26" y="108"/>
                    </a:lnTo>
                    <a:lnTo>
                      <a:pt x="20" y="110"/>
                    </a:lnTo>
                    <a:lnTo>
                      <a:pt x="12" y="110"/>
                    </a:lnTo>
                    <a:lnTo>
                      <a:pt x="14" y="92"/>
                    </a:lnTo>
                    <a:lnTo>
                      <a:pt x="14" y="90"/>
                    </a:lnTo>
                    <a:lnTo>
                      <a:pt x="12" y="86"/>
                    </a:lnTo>
                    <a:lnTo>
                      <a:pt x="6" y="84"/>
                    </a:lnTo>
                    <a:lnTo>
                      <a:pt x="0" y="80"/>
                    </a:lnTo>
                    <a:lnTo>
                      <a:pt x="0" y="76"/>
                    </a:lnTo>
                    <a:lnTo>
                      <a:pt x="0" y="72"/>
                    </a:lnTo>
                    <a:lnTo>
                      <a:pt x="0" y="66"/>
                    </a:lnTo>
                    <a:lnTo>
                      <a:pt x="0" y="62"/>
                    </a:lnTo>
                    <a:lnTo>
                      <a:pt x="0" y="60"/>
                    </a:lnTo>
                    <a:lnTo>
                      <a:pt x="0" y="58"/>
                    </a:lnTo>
                    <a:lnTo>
                      <a:pt x="2" y="5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4" name="Freeform 116"/>
              <p:cNvSpPr>
                <a:spLocks noChangeAspect="1"/>
              </p:cNvSpPr>
              <p:nvPr/>
            </p:nvSpPr>
            <p:spPr bwMode="auto">
              <a:xfrm>
                <a:off x="3531335" y="4397369"/>
                <a:ext cx="97284" cy="133588"/>
              </a:xfrm>
              <a:custGeom>
                <a:avLst/>
                <a:gdLst/>
                <a:ahLst/>
                <a:cxnLst>
                  <a:cxn ang="0">
                    <a:pos x="68" y="92"/>
                  </a:cxn>
                  <a:cxn ang="0">
                    <a:pos x="60" y="94"/>
                  </a:cxn>
                  <a:cxn ang="0">
                    <a:pos x="50" y="98"/>
                  </a:cxn>
                  <a:cxn ang="0">
                    <a:pos x="34" y="108"/>
                  </a:cxn>
                  <a:cxn ang="0">
                    <a:pos x="28" y="110"/>
                  </a:cxn>
                  <a:cxn ang="0">
                    <a:pos x="16" y="112"/>
                  </a:cxn>
                  <a:cxn ang="0">
                    <a:pos x="8" y="112"/>
                  </a:cxn>
                  <a:cxn ang="0">
                    <a:pos x="2" y="94"/>
                  </a:cxn>
                  <a:cxn ang="0">
                    <a:pos x="0" y="78"/>
                  </a:cxn>
                  <a:cxn ang="0">
                    <a:pos x="2" y="68"/>
                  </a:cxn>
                  <a:cxn ang="0">
                    <a:pos x="4" y="62"/>
                  </a:cxn>
                  <a:cxn ang="0">
                    <a:pos x="8" y="54"/>
                  </a:cxn>
                  <a:cxn ang="0">
                    <a:pos x="10" y="44"/>
                  </a:cxn>
                  <a:cxn ang="0">
                    <a:pos x="10" y="40"/>
                  </a:cxn>
                  <a:cxn ang="0">
                    <a:pos x="8" y="36"/>
                  </a:cxn>
                  <a:cxn ang="0">
                    <a:pos x="4" y="26"/>
                  </a:cxn>
                  <a:cxn ang="0">
                    <a:pos x="4" y="14"/>
                  </a:cxn>
                  <a:cxn ang="0">
                    <a:pos x="4" y="0"/>
                  </a:cxn>
                  <a:cxn ang="0">
                    <a:pos x="12" y="0"/>
                  </a:cxn>
                  <a:cxn ang="0">
                    <a:pos x="20" y="0"/>
                  </a:cxn>
                  <a:cxn ang="0">
                    <a:pos x="38" y="0"/>
                  </a:cxn>
                  <a:cxn ang="0">
                    <a:pos x="50" y="0"/>
                  </a:cxn>
                  <a:cxn ang="0">
                    <a:pos x="52" y="6"/>
                  </a:cxn>
                  <a:cxn ang="0">
                    <a:pos x="54" y="12"/>
                  </a:cxn>
                  <a:cxn ang="0">
                    <a:pos x="56" y="14"/>
                  </a:cxn>
                  <a:cxn ang="0">
                    <a:pos x="56" y="20"/>
                  </a:cxn>
                  <a:cxn ang="0">
                    <a:pos x="56" y="26"/>
                  </a:cxn>
                  <a:cxn ang="0">
                    <a:pos x="56" y="28"/>
                  </a:cxn>
                  <a:cxn ang="0">
                    <a:pos x="56" y="30"/>
                  </a:cxn>
                  <a:cxn ang="0">
                    <a:pos x="58" y="36"/>
                  </a:cxn>
                  <a:cxn ang="0">
                    <a:pos x="58" y="40"/>
                  </a:cxn>
                  <a:cxn ang="0">
                    <a:pos x="58" y="44"/>
                  </a:cxn>
                  <a:cxn ang="0">
                    <a:pos x="60" y="50"/>
                  </a:cxn>
                  <a:cxn ang="0">
                    <a:pos x="60" y="74"/>
                  </a:cxn>
                  <a:cxn ang="0">
                    <a:pos x="56" y="76"/>
                  </a:cxn>
                  <a:cxn ang="0">
                    <a:pos x="62" y="84"/>
                  </a:cxn>
                  <a:cxn ang="0">
                    <a:pos x="70" y="92"/>
                  </a:cxn>
                  <a:cxn ang="0">
                    <a:pos x="68" y="92"/>
                  </a:cxn>
                </a:cxnLst>
                <a:rect l="0" t="0" r="r" b="b"/>
                <a:pathLst>
                  <a:path w="70" h="112">
                    <a:moveTo>
                      <a:pt x="68" y="92"/>
                    </a:moveTo>
                    <a:lnTo>
                      <a:pt x="60" y="94"/>
                    </a:lnTo>
                    <a:lnTo>
                      <a:pt x="50" y="98"/>
                    </a:lnTo>
                    <a:lnTo>
                      <a:pt x="34" y="108"/>
                    </a:lnTo>
                    <a:lnTo>
                      <a:pt x="28" y="110"/>
                    </a:lnTo>
                    <a:lnTo>
                      <a:pt x="16" y="112"/>
                    </a:lnTo>
                    <a:lnTo>
                      <a:pt x="8" y="112"/>
                    </a:lnTo>
                    <a:lnTo>
                      <a:pt x="2" y="94"/>
                    </a:lnTo>
                    <a:lnTo>
                      <a:pt x="0" y="78"/>
                    </a:lnTo>
                    <a:lnTo>
                      <a:pt x="2" y="68"/>
                    </a:lnTo>
                    <a:lnTo>
                      <a:pt x="4" y="62"/>
                    </a:lnTo>
                    <a:lnTo>
                      <a:pt x="8" y="54"/>
                    </a:lnTo>
                    <a:lnTo>
                      <a:pt x="10" y="44"/>
                    </a:lnTo>
                    <a:lnTo>
                      <a:pt x="10" y="40"/>
                    </a:lnTo>
                    <a:lnTo>
                      <a:pt x="8" y="36"/>
                    </a:lnTo>
                    <a:lnTo>
                      <a:pt x="4" y="26"/>
                    </a:lnTo>
                    <a:lnTo>
                      <a:pt x="4" y="14"/>
                    </a:lnTo>
                    <a:lnTo>
                      <a:pt x="4" y="0"/>
                    </a:lnTo>
                    <a:lnTo>
                      <a:pt x="12" y="0"/>
                    </a:lnTo>
                    <a:lnTo>
                      <a:pt x="20" y="0"/>
                    </a:lnTo>
                    <a:lnTo>
                      <a:pt x="38" y="0"/>
                    </a:lnTo>
                    <a:lnTo>
                      <a:pt x="50" y="0"/>
                    </a:lnTo>
                    <a:lnTo>
                      <a:pt x="52" y="6"/>
                    </a:lnTo>
                    <a:lnTo>
                      <a:pt x="54" y="12"/>
                    </a:lnTo>
                    <a:lnTo>
                      <a:pt x="56" y="14"/>
                    </a:lnTo>
                    <a:lnTo>
                      <a:pt x="56" y="20"/>
                    </a:lnTo>
                    <a:lnTo>
                      <a:pt x="56" y="26"/>
                    </a:lnTo>
                    <a:lnTo>
                      <a:pt x="56" y="28"/>
                    </a:lnTo>
                    <a:lnTo>
                      <a:pt x="56" y="30"/>
                    </a:lnTo>
                    <a:lnTo>
                      <a:pt x="58" y="36"/>
                    </a:lnTo>
                    <a:lnTo>
                      <a:pt x="58" y="40"/>
                    </a:lnTo>
                    <a:lnTo>
                      <a:pt x="58" y="44"/>
                    </a:lnTo>
                    <a:lnTo>
                      <a:pt x="60" y="50"/>
                    </a:lnTo>
                    <a:lnTo>
                      <a:pt x="60" y="74"/>
                    </a:lnTo>
                    <a:lnTo>
                      <a:pt x="56" y="76"/>
                    </a:lnTo>
                    <a:lnTo>
                      <a:pt x="62" y="84"/>
                    </a:lnTo>
                    <a:lnTo>
                      <a:pt x="70" y="92"/>
                    </a:lnTo>
                    <a:lnTo>
                      <a:pt x="68" y="9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5" name="Freeform 117"/>
              <p:cNvSpPr>
                <a:spLocks noChangeAspect="1"/>
              </p:cNvSpPr>
              <p:nvPr/>
            </p:nvSpPr>
            <p:spPr bwMode="auto">
              <a:xfrm>
                <a:off x="3600244" y="4397370"/>
                <a:ext cx="43238" cy="109733"/>
              </a:xfrm>
              <a:custGeom>
                <a:avLst/>
                <a:gdLst/>
                <a:ahLst/>
                <a:cxnLst>
                  <a:cxn ang="0">
                    <a:pos x="20" y="92"/>
                  </a:cxn>
                  <a:cxn ang="0">
                    <a:pos x="12" y="84"/>
                  </a:cxn>
                  <a:cxn ang="0">
                    <a:pos x="6" y="76"/>
                  </a:cxn>
                  <a:cxn ang="0">
                    <a:pos x="10" y="74"/>
                  </a:cxn>
                  <a:cxn ang="0">
                    <a:pos x="10" y="50"/>
                  </a:cxn>
                  <a:cxn ang="0">
                    <a:pos x="8" y="44"/>
                  </a:cxn>
                  <a:cxn ang="0">
                    <a:pos x="8" y="40"/>
                  </a:cxn>
                  <a:cxn ang="0">
                    <a:pos x="8" y="36"/>
                  </a:cxn>
                  <a:cxn ang="0">
                    <a:pos x="6" y="30"/>
                  </a:cxn>
                  <a:cxn ang="0">
                    <a:pos x="6" y="28"/>
                  </a:cxn>
                  <a:cxn ang="0">
                    <a:pos x="6" y="26"/>
                  </a:cxn>
                  <a:cxn ang="0">
                    <a:pos x="6" y="20"/>
                  </a:cxn>
                  <a:cxn ang="0">
                    <a:pos x="6" y="14"/>
                  </a:cxn>
                  <a:cxn ang="0">
                    <a:pos x="4" y="12"/>
                  </a:cxn>
                  <a:cxn ang="0">
                    <a:pos x="2" y="6"/>
                  </a:cxn>
                  <a:cxn ang="0">
                    <a:pos x="0" y="0"/>
                  </a:cxn>
                  <a:cxn ang="0">
                    <a:pos x="18" y="0"/>
                  </a:cxn>
                  <a:cxn ang="0">
                    <a:pos x="14" y="4"/>
                  </a:cxn>
                  <a:cxn ang="0">
                    <a:pos x="14" y="10"/>
                  </a:cxn>
                  <a:cxn ang="0">
                    <a:pos x="14" y="12"/>
                  </a:cxn>
                  <a:cxn ang="0">
                    <a:pos x="16" y="16"/>
                  </a:cxn>
                  <a:cxn ang="0">
                    <a:pos x="24" y="22"/>
                  </a:cxn>
                  <a:cxn ang="0">
                    <a:pos x="24" y="26"/>
                  </a:cxn>
                  <a:cxn ang="0">
                    <a:pos x="24" y="40"/>
                  </a:cxn>
                  <a:cxn ang="0">
                    <a:pos x="26" y="52"/>
                  </a:cxn>
                  <a:cxn ang="0">
                    <a:pos x="26" y="64"/>
                  </a:cxn>
                  <a:cxn ang="0">
                    <a:pos x="28" y="84"/>
                  </a:cxn>
                  <a:cxn ang="0">
                    <a:pos x="28" y="86"/>
                  </a:cxn>
                  <a:cxn ang="0">
                    <a:pos x="30" y="88"/>
                  </a:cxn>
                  <a:cxn ang="0">
                    <a:pos x="20" y="92"/>
                  </a:cxn>
                </a:cxnLst>
                <a:rect l="0" t="0" r="r" b="b"/>
                <a:pathLst>
                  <a:path w="30" h="92">
                    <a:moveTo>
                      <a:pt x="20" y="92"/>
                    </a:moveTo>
                    <a:lnTo>
                      <a:pt x="12" y="84"/>
                    </a:lnTo>
                    <a:lnTo>
                      <a:pt x="6" y="76"/>
                    </a:lnTo>
                    <a:lnTo>
                      <a:pt x="10" y="74"/>
                    </a:lnTo>
                    <a:lnTo>
                      <a:pt x="10" y="50"/>
                    </a:lnTo>
                    <a:lnTo>
                      <a:pt x="8" y="44"/>
                    </a:lnTo>
                    <a:lnTo>
                      <a:pt x="8" y="40"/>
                    </a:lnTo>
                    <a:lnTo>
                      <a:pt x="8" y="36"/>
                    </a:lnTo>
                    <a:lnTo>
                      <a:pt x="6" y="30"/>
                    </a:lnTo>
                    <a:lnTo>
                      <a:pt x="6" y="28"/>
                    </a:lnTo>
                    <a:lnTo>
                      <a:pt x="6" y="26"/>
                    </a:lnTo>
                    <a:lnTo>
                      <a:pt x="6" y="20"/>
                    </a:lnTo>
                    <a:lnTo>
                      <a:pt x="6" y="14"/>
                    </a:lnTo>
                    <a:lnTo>
                      <a:pt x="4" y="12"/>
                    </a:lnTo>
                    <a:lnTo>
                      <a:pt x="2" y="6"/>
                    </a:lnTo>
                    <a:lnTo>
                      <a:pt x="0" y="0"/>
                    </a:lnTo>
                    <a:lnTo>
                      <a:pt x="18" y="0"/>
                    </a:lnTo>
                    <a:lnTo>
                      <a:pt x="14" y="4"/>
                    </a:lnTo>
                    <a:lnTo>
                      <a:pt x="14" y="10"/>
                    </a:lnTo>
                    <a:lnTo>
                      <a:pt x="14" y="12"/>
                    </a:lnTo>
                    <a:lnTo>
                      <a:pt x="16" y="16"/>
                    </a:lnTo>
                    <a:lnTo>
                      <a:pt x="24" y="22"/>
                    </a:lnTo>
                    <a:lnTo>
                      <a:pt x="24" y="26"/>
                    </a:lnTo>
                    <a:lnTo>
                      <a:pt x="24" y="40"/>
                    </a:lnTo>
                    <a:lnTo>
                      <a:pt x="26" y="52"/>
                    </a:lnTo>
                    <a:lnTo>
                      <a:pt x="26" y="64"/>
                    </a:lnTo>
                    <a:lnTo>
                      <a:pt x="28" y="84"/>
                    </a:lnTo>
                    <a:lnTo>
                      <a:pt x="28" y="86"/>
                    </a:lnTo>
                    <a:lnTo>
                      <a:pt x="30" y="88"/>
                    </a:lnTo>
                    <a:lnTo>
                      <a:pt x="20" y="9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6" name="Freeform 118"/>
              <p:cNvSpPr>
                <a:spLocks noChangeAspect="1"/>
              </p:cNvSpPr>
              <p:nvPr/>
            </p:nvSpPr>
            <p:spPr bwMode="auto">
              <a:xfrm>
                <a:off x="3621863" y="4372322"/>
                <a:ext cx="64856" cy="132395"/>
              </a:xfrm>
              <a:custGeom>
                <a:avLst/>
                <a:gdLst/>
                <a:ahLst/>
                <a:cxnLst>
                  <a:cxn ang="0">
                    <a:pos x="16" y="110"/>
                  </a:cxn>
                  <a:cxn ang="0">
                    <a:pos x="30" y="104"/>
                  </a:cxn>
                  <a:cxn ang="0">
                    <a:pos x="30" y="60"/>
                  </a:cxn>
                  <a:cxn ang="0">
                    <a:pos x="40" y="46"/>
                  </a:cxn>
                  <a:cxn ang="0">
                    <a:pos x="44" y="36"/>
                  </a:cxn>
                  <a:cxn ang="0">
                    <a:pos x="46" y="30"/>
                  </a:cxn>
                  <a:cxn ang="0">
                    <a:pos x="44" y="18"/>
                  </a:cxn>
                  <a:cxn ang="0">
                    <a:pos x="40" y="10"/>
                  </a:cxn>
                  <a:cxn ang="0">
                    <a:pos x="34" y="6"/>
                  </a:cxn>
                  <a:cxn ang="0">
                    <a:pos x="30" y="0"/>
                  </a:cxn>
                  <a:cxn ang="0">
                    <a:pos x="20" y="2"/>
                  </a:cxn>
                  <a:cxn ang="0">
                    <a:pos x="20" y="0"/>
                  </a:cxn>
                  <a:cxn ang="0">
                    <a:pos x="20" y="6"/>
                  </a:cxn>
                  <a:cxn ang="0">
                    <a:pos x="20" y="8"/>
                  </a:cxn>
                  <a:cxn ang="0">
                    <a:pos x="20" y="10"/>
                  </a:cxn>
                  <a:cxn ang="0">
                    <a:pos x="12" y="14"/>
                  </a:cxn>
                  <a:cxn ang="0">
                    <a:pos x="6" y="16"/>
                  </a:cxn>
                  <a:cxn ang="0">
                    <a:pos x="4" y="18"/>
                  </a:cxn>
                  <a:cxn ang="0">
                    <a:pos x="4" y="22"/>
                  </a:cxn>
                  <a:cxn ang="0">
                    <a:pos x="0" y="26"/>
                  </a:cxn>
                  <a:cxn ang="0">
                    <a:pos x="0" y="32"/>
                  </a:cxn>
                  <a:cxn ang="0">
                    <a:pos x="0" y="34"/>
                  </a:cxn>
                  <a:cxn ang="0">
                    <a:pos x="2" y="38"/>
                  </a:cxn>
                  <a:cxn ang="0">
                    <a:pos x="10" y="44"/>
                  </a:cxn>
                  <a:cxn ang="0">
                    <a:pos x="10" y="48"/>
                  </a:cxn>
                  <a:cxn ang="0">
                    <a:pos x="10" y="62"/>
                  </a:cxn>
                  <a:cxn ang="0">
                    <a:pos x="12" y="74"/>
                  </a:cxn>
                  <a:cxn ang="0">
                    <a:pos x="12" y="86"/>
                  </a:cxn>
                  <a:cxn ang="0">
                    <a:pos x="14" y="106"/>
                  </a:cxn>
                  <a:cxn ang="0">
                    <a:pos x="16" y="110"/>
                  </a:cxn>
                </a:cxnLst>
                <a:rect l="0" t="0" r="r" b="b"/>
                <a:pathLst>
                  <a:path w="46" h="110">
                    <a:moveTo>
                      <a:pt x="16" y="110"/>
                    </a:moveTo>
                    <a:lnTo>
                      <a:pt x="30" y="104"/>
                    </a:lnTo>
                    <a:lnTo>
                      <a:pt x="30" y="60"/>
                    </a:lnTo>
                    <a:lnTo>
                      <a:pt x="40" y="46"/>
                    </a:lnTo>
                    <a:lnTo>
                      <a:pt x="44" y="36"/>
                    </a:lnTo>
                    <a:lnTo>
                      <a:pt x="46" y="30"/>
                    </a:lnTo>
                    <a:lnTo>
                      <a:pt x="44" y="18"/>
                    </a:lnTo>
                    <a:lnTo>
                      <a:pt x="40" y="10"/>
                    </a:lnTo>
                    <a:lnTo>
                      <a:pt x="34" y="6"/>
                    </a:lnTo>
                    <a:lnTo>
                      <a:pt x="30" y="0"/>
                    </a:lnTo>
                    <a:lnTo>
                      <a:pt x="20" y="2"/>
                    </a:lnTo>
                    <a:lnTo>
                      <a:pt x="20" y="0"/>
                    </a:lnTo>
                    <a:lnTo>
                      <a:pt x="20" y="6"/>
                    </a:lnTo>
                    <a:lnTo>
                      <a:pt x="20" y="8"/>
                    </a:lnTo>
                    <a:lnTo>
                      <a:pt x="20" y="10"/>
                    </a:lnTo>
                    <a:lnTo>
                      <a:pt x="12" y="14"/>
                    </a:lnTo>
                    <a:lnTo>
                      <a:pt x="6" y="16"/>
                    </a:lnTo>
                    <a:lnTo>
                      <a:pt x="4" y="18"/>
                    </a:lnTo>
                    <a:lnTo>
                      <a:pt x="4" y="22"/>
                    </a:lnTo>
                    <a:lnTo>
                      <a:pt x="0" y="26"/>
                    </a:lnTo>
                    <a:lnTo>
                      <a:pt x="0" y="32"/>
                    </a:lnTo>
                    <a:lnTo>
                      <a:pt x="0" y="34"/>
                    </a:lnTo>
                    <a:lnTo>
                      <a:pt x="2" y="38"/>
                    </a:lnTo>
                    <a:lnTo>
                      <a:pt x="10" y="44"/>
                    </a:lnTo>
                    <a:lnTo>
                      <a:pt x="10" y="48"/>
                    </a:lnTo>
                    <a:lnTo>
                      <a:pt x="10" y="62"/>
                    </a:lnTo>
                    <a:lnTo>
                      <a:pt x="12" y="74"/>
                    </a:lnTo>
                    <a:lnTo>
                      <a:pt x="12" y="86"/>
                    </a:lnTo>
                    <a:lnTo>
                      <a:pt x="14" y="106"/>
                    </a:lnTo>
                    <a:lnTo>
                      <a:pt x="16" y="11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7" name="Freeform 119"/>
              <p:cNvSpPr>
                <a:spLocks noChangeAspect="1"/>
              </p:cNvSpPr>
              <p:nvPr/>
            </p:nvSpPr>
            <p:spPr bwMode="auto">
              <a:xfrm>
                <a:off x="3665101" y="4337732"/>
                <a:ext cx="264830" cy="207538"/>
              </a:xfrm>
              <a:custGeom>
                <a:avLst/>
                <a:gdLst/>
                <a:ahLst/>
                <a:cxnLst>
                  <a:cxn ang="0">
                    <a:pos x="74" y="170"/>
                  </a:cxn>
                  <a:cxn ang="0">
                    <a:pos x="52" y="172"/>
                  </a:cxn>
                  <a:cxn ang="0">
                    <a:pos x="40" y="152"/>
                  </a:cxn>
                  <a:cxn ang="0">
                    <a:pos x="32" y="138"/>
                  </a:cxn>
                  <a:cxn ang="0">
                    <a:pos x="18" y="132"/>
                  </a:cxn>
                  <a:cxn ang="0">
                    <a:pos x="0" y="90"/>
                  </a:cxn>
                  <a:cxn ang="0">
                    <a:pos x="14" y="66"/>
                  </a:cxn>
                  <a:cxn ang="0">
                    <a:pos x="14" y="48"/>
                  </a:cxn>
                  <a:cxn ang="0">
                    <a:pos x="14" y="26"/>
                  </a:cxn>
                  <a:cxn ang="0">
                    <a:pos x="22" y="8"/>
                  </a:cxn>
                  <a:cxn ang="0">
                    <a:pos x="34" y="0"/>
                  </a:cxn>
                  <a:cxn ang="0">
                    <a:pos x="46" y="0"/>
                  </a:cxn>
                  <a:cxn ang="0">
                    <a:pos x="56" y="8"/>
                  </a:cxn>
                  <a:cxn ang="0">
                    <a:pos x="64" y="14"/>
                  </a:cxn>
                  <a:cxn ang="0">
                    <a:pos x="72" y="14"/>
                  </a:cxn>
                  <a:cxn ang="0">
                    <a:pos x="74" y="10"/>
                  </a:cxn>
                  <a:cxn ang="0">
                    <a:pos x="86" y="10"/>
                  </a:cxn>
                  <a:cxn ang="0">
                    <a:pos x="94" y="16"/>
                  </a:cxn>
                  <a:cxn ang="0">
                    <a:pos x="108" y="16"/>
                  </a:cxn>
                  <a:cxn ang="0">
                    <a:pos x="120" y="10"/>
                  </a:cxn>
                  <a:cxn ang="0">
                    <a:pos x="134" y="8"/>
                  </a:cxn>
                  <a:cxn ang="0">
                    <a:pos x="142" y="10"/>
                  </a:cxn>
                  <a:cxn ang="0">
                    <a:pos x="155" y="10"/>
                  </a:cxn>
                  <a:cxn ang="0">
                    <a:pos x="171" y="0"/>
                  </a:cxn>
                  <a:cxn ang="0">
                    <a:pos x="179" y="10"/>
                  </a:cxn>
                  <a:cxn ang="0">
                    <a:pos x="185" y="26"/>
                  </a:cxn>
                  <a:cxn ang="0">
                    <a:pos x="187" y="46"/>
                  </a:cxn>
                  <a:cxn ang="0">
                    <a:pos x="179" y="46"/>
                  </a:cxn>
                  <a:cxn ang="0">
                    <a:pos x="171" y="70"/>
                  </a:cxn>
                  <a:cxn ang="0">
                    <a:pos x="161" y="92"/>
                  </a:cxn>
                  <a:cxn ang="0">
                    <a:pos x="157" y="96"/>
                  </a:cxn>
                  <a:cxn ang="0">
                    <a:pos x="153" y="98"/>
                  </a:cxn>
                  <a:cxn ang="0">
                    <a:pos x="146" y="120"/>
                  </a:cxn>
                  <a:cxn ang="0">
                    <a:pos x="138" y="134"/>
                  </a:cxn>
                  <a:cxn ang="0">
                    <a:pos x="132" y="134"/>
                  </a:cxn>
                  <a:cxn ang="0">
                    <a:pos x="128" y="124"/>
                  </a:cxn>
                  <a:cxn ang="0">
                    <a:pos x="116" y="130"/>
                  </a:cxn>
                  <a:cxn ang="0">
                    <a:pos x="104" y="138"/>
                  </a:cxn>
                  <a:cxn ang="0">
                    <a:pos x="98" y="150"/>
                  </a:cxn>
                  <a:cxn ang="0">
                    <a:pos x="96" y="168"/>
                  </a:cxn>
                  <a:cxn ang="0">
                    <a:pos x="90" y="168"/>
                  </a:cxn>
                </a:cxnLst>
                <a:rect l="0" t="0" r="r" b="b"/>
                <a:pathLst>
                  <a:path w="189" h="174">
                    <a:moveTo>
                      <a:pt x="90" y="168"/>
                    </a:moveTo>
                    <a:lnTo>
                      <a:pt x="74" y="170"/>
                    </a:lnTo>
                    <a:lnTo>
                      <a:pt x="58" y="174"/>
                    </a:lnTo>
                    <a:lnTo>
                      <a:pt x="52" y="172"/>
                    </a:lnTo>
                    <a:lnTo>
                      <a:pt x="46" y="166"/>
                    </a:lnTo>
                    <a:lnTo>
                      <a:pt x="40" y="152"/>
                    </a:lnTo>
                    <a:lnTo>
                      <a:pt x="36" y="146"/>
                    </a:lnTo>
                    <a:lnTo>
                      <a:pt x="32" y="138"/>
                    </a:lnTo>
                    <a:lnTo>
                      <a:pt x="24" y="134"/>
                    </a:lnTo>
                    <a:lnTo>
                      <a:pt x="18" y="132"/>
                    </a:lnTo>
                    <a:lnTo>
                      <a:pt x="0" y="134"/>
                    </a:lnTo>
                    <a:lnTo>
                      <a:pt x="0" y="90"/>
                    </a:lnTo>
                    <a:lnTo>
                      <a:pt x="10" y="76"/>
                    </a:lnTo>
                    <a:lnTo>
                      <a:pt x="14" y="66"/>
                    </a:lnTo>
                    <a:lnTo>
                      <a:pt x="16" y="60"/>
                    </a:lnTo>
                    <a:lnTo>
                      <a:pt x="14" y="48"/>
                    </a:lnTo>
                    <a:lnTo>
                      <a:pt x="10" y="40"/>
                    </a:lnTo>
                    <a:lnTo>
                      <a:pt x="14" y="26"/>
                    </a:lnTo>
                    <a:lnTo>
                      <a:pt x="18" y="12"/>
                    </a:lnTo>
                    <a:lnTo>
                      <a:pt x="22" y="8"/>
                    </a:lnTo>
                    <a:lnTo>
                      <a:pt x="28" y="4"/>
                    </a:lnTo>
                    <a:lnTo>
                      <a:pt x="34" y="0"/>
                    </a:lnTo>
                    <a:lnTo>
                      <a:pt x="44" y="0"/>
                    </a:lnTo>
                    <a:lnTo>
                      <a:pt x="46" y="0"/>
                    </a:lnTo>
                    <a:lnTo>
                      <a:pt x="50" y="2"/>
                    </a:lnTo>
                    <a:lnTo>
                      <a:pt x="56" y="8"/>
                    </a:lnTo>
                    <a:lnTo>
                      <a:pt x="62" y="12"/>
                    </a:lnTo>
                    <a:lnTo>
                      <a:pt x="64" y="14"/>
                    </a:lnTo>
                    <a:lnTo>
                      <a:pt x="68" y="16"/>
                    </a:lnTo>
                    <a:lnTo>
                      <a:pt x="72" y="14"/>
                    </a:lnTo>
                    <a:lnTo>
                      <a:pt x="72" y="12"/>
                    </a:lnTo>
                    <a:lnTo>
                      <a:pt x="74" y="10"/>
                    </a:lnTo>
                    <a:lnTo>
                      <a:pt x="78" y="10"/>
                    </a:lnTo>
                    <a:lnTo>
                      <a:pt x="86" y="10"/>
                    </a:lnTo>
                    <a:lnTo>
                      <a:pt x="90" y="14"/>
                    </a:lnTo>
                    <a:lnTo>
                      <a:pt x="94" y="16"/>
                    </a:lnTo>
                    <a:lnTo>
                      <a:pt x="100" y="18"/>
                    </a:lnTo>
                    <a:lnTo>
                      <a:pt x="108" y="16"/>
                    </a:lnTo>
                    <a:lnTo>
                      <a:pt x="114" y="12"/>
                    </a:lnTo>
                    <a:lnTo>
                      <a:pt x="120" y="10"/>
                    </a:lnTo>
                    <a:lnTo>
                      <a:pt x="128" y="8"/>
                    </a:lnTo>
                    <a:lnTo>
                      <a:pt x="134" y="8"/>
                    </a:lnTo>
                    <a:lnTo>
                      <a:pt x="138" y="10"/>
                    </a:lnTo>
                    <a:lnTo>
                      <a:pt x="142" y="10"/>
                    </a:lnTo>
                    <a:lnTo>
                      <a:pt x="151" y="12"/>
                    </a:lnTo>
                    <a:lnTo>
                      <a:pt x="155" y="10"/>
                    </a:lnTo>
                    <a:lnTo>
                      <a:pt x="161" y="8"/>
                    </a:lnTo>
                    <a:lnTo>
                      <a:pt x="171" y="0"/>
                    </a:lnTo>
                    <a:lnTo>
                      <a:pt x="175" y="6"/>
                    </a:lnTo>
                    <a:lnTo>
                      <a:pt x="179" y="10"/>
                    </a:lnTo>
                    <a:lnTo>
                      <a:pt x="183" y="22"/>
                    </a:lnTo>
                    <a:lnTo>
                      <a:pt x="185" y="26"/>
                    </a:lnTo>
                    <a:lnTo>
                      <a:pt x="189" y="30"/>
                    </a:lnTo>
                    <a:lnTo>
                      <a:pt x="187" y="46"/>
                    </a:lnTo>
                    <a:lnTo>
                      <a:pt x="183" y="46"/>
                    </a:lnTo>
                    <a:lnTo>
                      <a:pt x="179" y="46"/>
                    </a:lnTo>
                    <a:lnTo>
                      <a:pt x="175" y="60"/>
                    </a:lnTo>
                    <a:lnTo>
                      <a:pt x="171" y="70"/>
                    </a:lnTo>
                    <a:lnTo>
                      <a:pt x="165" y="82"/>
                    </a:lnTo>
                    <a:lnTo>
                      <a:pt x="161" y="92"/>
                    </a:lnTo>
                    <a:lnTo>
                      <a:pt x="159" y="94"/>
                    </a:lnTo>
                    <a:lnTo>
                      <a:pt x="157" y="96"/>
                    </a:lnTo>
                    <a:lnTo>
                      <a:pt x="155" y="98"/>
                    </a:lnTo>
                    <a:lnTo>
                      <a:pt x="153" y="98"/>
                    </a:lnTo>
                    <a:lnTo>
                      <a:pt x="151" y="108"/>
                    </a:lnTo>
                    <a:lnTo>
                      <a:pt x="146" y="120"/>
                    </a:lnTo>
                    <a:lnTo>
                      <a:pt x="142" y="130"/>
                    </a:lnTo>
                    <a:lnTo>
                      <a:pt x="138" y="134"/>
                    </a:lnTo>
                    <a:lnTo>
                      <a:pt x="134" y="136"/>
                    </a:lnTo>
                    <a:lnTo>
                      <a:pt x="132" y="134"/>
                    </a:lnTo>
                    <a:lnTo>
                      <a:pt x="130" y="132"/>
                    </a:lnTo>
                    <a:lnTo>
                      <a:pt x="128" y="124"/>
                    </a:lnTo>
                    <a:lnTo>
                      <a:pt x="122" y="126"/>
                    </a:lnTo>
                    <a:lnTo>
                      <a:pt x="116" y="130"/>
                    </a:lnTo>
                    <a:lnTo>
                      <a:pt x="110" y="134"/>
                    </a:lnTo>
                    <a:lnTo>
                      <a:pt x="104" y="138"/>
                    </a:lnTo>
                    <a:lnTo>
                      <a:pt x="100" y="146"/>
                    </a:lnTo>
                    <a:lnTo>
                      <a:pt x="98" y="150"/>
                    </a:lnTo>
                    <a:lnTo>
                      <a:pt x="96" y="158"/>
                    </a:lnTo>
                    <a:lnTo>
                      <a:pt x="96" y="168"/>
                    </a:lnTo>
                    <a:lnTo>
                      <a:pt x="94" y="168"/>
                    </a:lnTo>
                    <a:lnTo>
                      <a:pt x="90" y="16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8" name="Freeform 120"/>
              <p:cNvSpPr>
                <a:spLocks noChangeAspect="1"/>
              </p:cNvSpPr>
              <p:nvPr/>
            </p:nvSpPr>
            <p:spPr bwMode="auto">
              <a:xfrm>
                <a:off x="3789408" y="4348467"/>
                <a:ext cx="177004" cy="248091"/>
              </a:xfrm>
              <a:custGeom>
                <a:avLst/>
                <a:gdLst/>
                <a:ahLst/>
                <a:cxnLst>
                  <a:cxn ang="0">
                    <a:pos x="6" y="148"/>
                  </a:cxn>
                  <a:cxn ang="0">
                    <a:pos x="10" y="136"/>
                  </a:cxn>
                  <a:cxn ang="0">
                    <a:pos x="20" y="124"/>
                  </a:cxn>
                  <a:cxn ang="0">
                    <a:pos x="32" y="116"/>
                  </a:cxn>
                  <a:cxn ang="0">
                    <a:pos x="40" y="122"/>
                  </a:cxn>
                  <a:cxn ang="0">
                    <a:pos x="44" y="126"/>
                  </a:cxn>
                  <a:cxn ang="0">
                    <a:pos x="52" y="120"/>
                  </a:cxn>
                  <a:cxn ang="0">
                    <a:pos x="61" y="98"/>
                  </a:cxn>
                  <a:cxn ang="0">
                    <a:pos x="65" y="88"/>
                  </a:cxn>
                  <a:cxn ang="0">
                    <a:pos x="69" y="84"/>
                  </a:cxn>
                  <a:cxn ang="0">
                    <a:pos x="75" y="72"/>
                  </a:cxn>
                  <a:cxn ang="0">
                    <a:pos x="85" y="50"/>
                  </a:cxn>
                  <a:cxn ang="0">
                    <a:pos x="93" y="36"/>
                  </a:cxn>
                  <a:cxn ang="0">
                    <a:pos x="99" y="20"/>
                  </a:cxn>
                  <a:cxn ang="0">
                    <a:pos x="93" y="12"/>
                  </a:cxn>
                  <a:cxn ang="0">
                    <a:pos x="91" y="2"/>
                  </a:cxn>
                  <a:cxn ang="0">
                    <a:pos x="97" y="6"/>
                  </a:cxn>
                  <a:cxn ang="0">
                    <a:pos x="107" y="20"/>
                  </a:cxn>
                  <a:cxn ang="0">
                    <a:pos x="107" y="44"/>
                  </a:cxn>
                  <a:cxn ang="0">
                    <a:pos x="109" y="54"/>
                  </a:cxn>
                  <a:cxn ang="0">
                    <a:pos x="99" y="60"/>
                  </a:cxn>
                  <a:cxn ang="0">
                    <a:pos x="91" y="64"/>
                  </a:cxn>
                  <a:cxn ang="0">
                    <a:pos x="93" y="70"/>
                  </a:cxn>
                  <a:cxn ang="0">
                    <a:pos x="111" y="88"/>
                  </a:cxn>
                  <a:cxn ang="0">
                    <a:pos x="117" y="106"/>
                  </a:cxn>
                  <a:cxn ang="0">
                    <a:pos x="107" y="116"/>
                  </a:cxn>
                  <a:cxn ang="0">
                    <a:pos x="99" y="136"/>
                  </a:cxn>
                  <a:cxn ang="0">
                    <a:pos x="101" y="154"/>
                  </a:cxn>
                  <a:cxn ang="0">
                    <a:pos x="119" y="182"/>
                  </a:cxn>
                  <a:cxn ang="0">
                    <a:pos x="127" y="208"/>
                  </a:cxn>
                  <a:cxn ang="0">
                    <a:pos x="111" y="208"/>
                  </a:cxn>
                  <a:cxn ang="0">
                    <a:pos x="103" y="204"/>
                  </a:cxn>
                  <a:cxn ang="0">
                    <a:pos x="81" y="202"/>
                  </a:cxn>
                  <a:cxn ang="0">
                    <a:pos x="46" y="204"/>
                  </a:cxn>
                  <a:cxn ang="0">
                    <a:pos x="24" y="198"/>
                  </a:cxn>
                  <a:cxn ang="0">
                    <a:pos x="22" y="182"/>
                  </a:cxn>
                  <a:cxn ang="0">
                    <a:pos x="24" y="168"/>
                  </a:cxn>
                  <a:cxn ang="0">
                    <a:pos x="10" y="164"/>
                  </a:cxn>
                  <a:cxn ang="0">
                    <a:pos x="0" y="158"/>
                  </a:cxn>
                </a:cxnLst>
                <a:rect l="0" t="0" r="r" b="b"/>
                <a:pathLst>
                  <a:path w="127" h="208">
                    <a:moveTo>
                      <a:pt x="6" y="158"/>
                    </a:moveTo>
                    <a:lnTo>
                      <a:pt x="6" y="148"/>
                    </a:lnTo>
                    <a:lnTo>
                      <a:pt x="8" y="140"/>
                    </a:lnTo>
                    <a:lnTo>
                      <a:pt x="10" y="136"/>
                    </a:lnTo>
                    <a:lnTo>
                      <a:pt x="14" y="128"/>
                    </a:lnTo>
                    <a:lnTo>
                      <a:pt x="20" y="124"/>
                    </a:lnTo>
                    <a:lnTo>
                      <a:pt x="26" y="120"/>
                    </a:lnTo>
                    <a:lnTo>
                      <a:pt x="32" y="116"/>
                    </a:lnTo>
                    <a:lnTo>
                      <a:pt x="38" y="114"/>
                    </a:lnTo>
                    <a:lnTo>
                      <a:pt x="40" y="122"/>
                    </a:lnTo>
                    <a:lnTo>
                      <a:pt x="42" y="124"/>
                    </a:lnTo>
                    <a:lnTo>
                      <a:pt x="44" y="126"/>
                    </a:lnTo>
                    <a:lnTo>
                      <a:pt x="48" y="124"/>
                    </a:lnTo>
                    <a:lnTo>
                      <a:pt x="52" y="120"/>
                    </a:lnTo>
                    <a:lnTo>
                      <a:pt x="56" y="110"/>
                    </a:lnTo>
                    <a:lnTo>
                      <a:pt x="61" y="98"/>
                    </a:lnTo>
                    <a:lnTo>
                      <a:pt x="63" y="88"/>
                    </a:lnTo>
                    <a:lnTo>
                      <a:pt x="65" y="88"/>
                    </a:lnTo>
                    <a:lnTo>
                      <a:pt x="67" y="86"/>
                    </a:lnTo>
                    <a:lnTo>
                      <a:pt x="69" y="84"/>
                    </a:lnTo>
                    <a:lnTo>
                      <a:pt x="71" y="82"/>
                    </a:lnTo>
                    <a:lnTo>
                      <a:pt x="75" y="72"/>
                    </a:lnTo>
                    <a:lnTo>
                      <a:pt x="81" y="60"/>
                    </a:lnTo>
                    <a:lnTo>
                      <a:pt x="85" y="50"/>
                    </a:lnTo>
                    <a:lnTo>
                      <a:pt x="89" y="36"/>
                    </a:lnTo>
                    <a:lnTo>
                      <a:pt x="93" y="36"/>
                    </a:lnTo>
                    <a:lnTo>
                      <a:pt x="97" y="36"/>
                    </a:lnTo>
                    <a:lnTo>
                      <a:pt x="99" y="20"/>
                    </a:lnTo>
                    <a:lnTo>
                      <a:pt x="95" y="16"/>
                    </a:lnTo>
                    <a:lnTo>
                      <a:pt x="93" y="12"/>
                    </a:lnTo>
                    <a:lnTo>
                      <a:pt x="89" y="0"/>
                    </a:lnTo>
                    <a:lnTo>
                      <a:pt x="91" y="2"/>
                    </a:lnTo>
                    <a:lnTo>
                      <a:pt x="93" y="0"/>
                    </a:lnTo>
                    <a:lnTo>
                      <a:pt x="97" y="6"/>
                    </a:lnTo>
                    <a:lnTo>
                      <a:pt x="103" y="14"/>
                    </a:lnTo>
                    <a:lnTo>
                      <a:pt x="107" y="20"/>
                    </a:lnTo>
                    <a:lnTo>
                      <a:pt x="109" y="26"/>
                    </a:lnTo>
                    <a:lnTo>
                      <a:pt x="107" y="44"/>
                    </a:lnTo>
                    <a:lnTo>
                      <a:pt x="109" y="50"/>
                    </a:lnTo>
                    <a:lnTo>
                      <a:pt x="109" y="54"/>
                    </a:lnTo>
                    <a:lnTo>
                      <a:pt x="117" y="60"/>
                    </a:lnTo>
                    <a:lnTo>
                      <a:pt x="99" y="60"/>
                    </a:lnTo>
                    <a:lnTo>
                      <a:pt x="93" y="62"/>
                    </a:lnTo>
                    <a:lnTo>
                      <a:pt x="91" y="64"/>
                    </a:lnTo>
                    <a:lnTo>
                      <a:pt x="89" y="66"/>
                    </a:lnTo>
                    <a:lnTo>
                      <a:pt x="93" y="70"/>
                    </a:lnTo>
                    <a:lnTo>
                      <a:pt x="101" y="78"/>
                    </a:lnTo>
                    <a:lnTo>
                      <a:pt x="111" y="88"/>
                    </a:lnTo>
                    <a:lnTo>
                      <a:pt x="115" y="96"/>
                    </a:lnTo>
                    <a:lnTo>
                      <a:pt x="117" y="106"/>
                    </a:lnTo>
                    <a:lnTo>
                      <a:pt x="113" y="110"/>
                    </a:lnTo>
                    <a:lnTo>
                      <a:pt x="107" y="116"/>
                    </a:lnTo>
                    <a:lnTo>
                      <a:pt x="101" y="126"/>
                    </a:lnTo>
                    <a:lnTo>
                      <a:pt x="99" y="136"/>
                    </a:lnTo>
                    <a:lnTo>
                      <a:pt x="99" y="144"/>
                    </a:lnTo>
                    <a:lnTo>
                      <a:pt x="101" y="154"/>
                    </a:lnTo>
                    <a:lnTo>
                      <a:pt x="109" y="168"/>
                    </a:lnTo>
                    <a:lnTo>
                      <a:pt x="119" y="182"/>
                    </a:lnTo>
                    <a:lnTo>
                      <a:pt x="127" y="194"/>
                    </a:lnTo>
                    <a:lnTo>
                      <a:pt x="127" y="208"/>
                    </a:lnTo>
                    <a:lnTo>
                      <a:pt x="121" y="208"/>
                    </a:lnTo>
                    <a:lnTo>
                      <a:pt x="111" y="208"/>
                    </a:lnTo>
                    <a:lnTo>
                      <a:pt x="107" y="206"/>
                    </a:lnTo>
                    <a:lnTo>
                      <a:pt x="103" y="204"/>
                    </a:lnTo>
                    <a:lnTo>
                      <a:pt x="81" y="204"/>
                    </a:lnTo>
                    <a:lnTo>
                      <a:pt x="81" y="202"/>
                    </a:lnTo>
                    <a:lnTo>
                      <a:pt x="46" y="200"/>
                    </a:lnTo>
                    <a:lnTo>
                      <a:pt x="46" y="204"/>
                    </a:lnTo>
                    <a:lnTo>
                      <a:pt x="22" y="202"/>
                    </a:lnTo>
                    <a:lnTo>
                      <a:pt x="24" y="198"/>
                    </a:lnTo>
                    <a:lnTo>
                      <a:pt x="24" y="188"/>
                    </a:lnTo>
                    <a:lnTo>
                      <a:pt x="22" y="182"/>
                    </a:lnTo>
                    <a:lnTo>
                      <a:pt x="22" y="174"/>
                    </a:lnTo>
                    <a:lnTo>
                      <a:pt x="24" y="168"/>
                    </a:lnTo>
                    <a:lnTo>
                      <a:pt x="14" y="166"/>
                    </a:lnTo>
                    <a:lnTo>
                      <a:pt x="10" y="164"/>
                    </a:lnTo>
                    <a:lnTo>
                      <a:pt x="6" y="160"/>
                    </a:lnTo>
                    <a:lnTo>
                      <a:pt x="0" y="158"/>
                    </a:lnTo>
                    <a:lnTo>
                      <a:pt x="6" y="15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09" name="Freeform 121"/>
              <p:cNvSpPr>
                <a:spLocks noChangeAspect="1"/>
              </p:cNvSpPr>
              <p:nvPr/>
            </p:nvSpPr>
            <p:spPr bwMode="auto">
              <a:xfrm>
                <a:off x="3801570" y="4588210"/>
                <a:ext cx="128361" cy="126431"/>
              </a:xfrm>
              <a:custGeom>
                <a:avLst/>
                <a:gdLst/>
                <a:ahLst/>
                <a:cxnLst>
                  <a:cxn ang="0">
                    <a:pos x="36" y="24"/>
                  </a:cxn>
                  <a:cxn ang="0">
                    <a:pos x="26" y="24"/>
                  </a:cxn>
                  <a:cxn ang="0">
                    <a:pos x="20" y="24"/>
                  </a:cxn>
                  <a:cxn ang="0">
                    <a:pos x="8" y="22"/>
                  </a:cxn>
                  <a:cxn ang="0">
                    <a:pos x="2" y="44"/>
                  </a:cxn>
                  <a:cxn ang="0">
                    <a:pos x="2" y="50"/>
                  </a:cxn>
                  <a:cxn ang="0">
                    <a:pos x="0" y="58"/>
                  </a:cxn>
                  <a:cxn ang="0">
                    <a:pos x="0" y="70"/>
                  </a:cxn>
                  <a:cxn ang="0">
                    <a:pos x="4" y="76"/>
                  </a:cxn>
                  <a:cxn ang="0">
                    <a:pos x="8" y="82"/>
                  </a:cxn>
                  <a:cxn ang="0">
                    <a:pos x="14" y="88"/>
                  </a:cxn>
                  <a:cxn ang="0">
                    <a:pos x="30" y="100"/>
                  </a:cxn>
                  <a:cxn ang="0">
                    <a:pos x="34" y="104"/>
                  </a:cxn>
                  <a:cxn ang="0">
                    <a:pos x="38" y="110"/>
                  </a:cxn>
                  <a:cxn ang="0">
                    <a:pos x="42" y="108"/>
                  </a:cxn>
                  <a:cxn ang="0">
                    <a:pos x="44" y="106"/>
                  </a:cxn>
                  <a:cxn ang="0">
                    <a:pos x="46" y="104"/>
                  </a:cxn>
                  <a:cxn ang="0">
                    <a:pos x="44" y="100"/>
                  </a:cxn>
                  <a:cxn ang="0">
                    <a:pos x="42" y="98"/>
                  </a:cxn>
                  <a:cxn ang="0">
                    <a:pos x="42" y="96"/>
                  </a:cxn>
                  <a:cxn ang="0">
                    <a:pos x="44" y="90"/>
                  </a:cxn>
                  <a:cxn ang="0">
                    <a:pos x="46" y="88"/>
                  </a:cxn>
                  <a:cxn ang="0">
                    <a:pos x="55" y="84"/>
                  </a:cxn>
                  <a:cxn ang="0">
                    <a:pos x="55" y="80"/>
                  </a:cxn>
                  <a:cxn ang="0">
                    <a:pos x="59" y="76"/>
                  </a:cxn>
                  <a:cxn ang="0">
                    <a:pos x="63" y="78"/>
                  </a:cxn>
                  <a:cxn ang="0">
                    <a:pos x="65" y="82"/>
                  </a:cxn>
                  <a:cxn ang="0">
                    <a:pos x="67" y="86"/>
                  </a:cxn>
                  <a:cxn ang="0">
                    <a:pos x="71" y="88"/>
                  </a:cxn>
                  <a:cxn ang="0">
                    <a:pos x="75" y="86"/>
                  </a:cxn>
                  <a:cxn ang="0">
                    <a:pos x="79" y="84"/>
                  </a:cxn>
                  <a:cxn ang="0">
                    <a:pos x="81" y="86"/>
                  </a:cxn>
                  <a:cxn ang="0">
                    <a:pos x="83" y="86"/>
                  </a:cxn>
                  <a:cxn ang="0">
                    <a:pos x="85" y="84"/>
                  </a:cxn>
                  <a:cxn ang="0">
                    <a:pos x="85" y="80"/>
                  </a:cxn>
                  <a:cxn ang="0">
                    <a:pos x="87" y="74"/>
                  </a:cxn>
                  <a:cxn ang="0">
                    <a:pos x="87" y="52"/>
                  </a:cxn>
                  <a:cxn ang="0">
                    <a:pos x="83" y="50"/>
                  </a:cxn>
                  <a:cxn ang="0">
                    <a:pos x="83" y="46"/>
                  </a:cxn>
                  <a:cxn ang="0">
                    <a:pos x="81" y="44"/>
                  </a:cxn>
                  <a:cxn ang="0">
                    <a:pos x="81" y="40"/>
                  </a:cxn>
                  <a:cxn ang="0">
                    <a:pos x="83" y="36"/>
                  </a:cxn>
                  <a:cxn ang="0">
                    <a:pos x="83" y="32"/>
                  </a:cxn>
                  <a:cxn ang="0">
                    <a:pos x="87" y="30"/>
                  </a:cxn>
                  <a:cxn ang="0">
                    <a:pos x="89" y="26"/>
                  </a:cxn>
                  <a:cxn ang="0">
                    <a:pos x="87" y="20"/>
                  </a:cxn>
                  <a:cxn ang="0">
                    <a:pos x="83" y="18"/>
                  </a:cxn>
                  <a:cxn ang="0">
                    <a:pos x="77" y="18"/>
                  </a:cxn>
                  <a:cxn ang="0">
                    <a:pos x="69" y="18"/>
                  </a:cxn>
                  <a:cxn ang="0">
                    <a:pos x="71" y="2"/>
                  </a:cxn>
                  <a:cxn ang="0">
                    <a:pos x="36" y="0"/>
                  </a:cxn>
                  <a:cxn ang="0">
                    <a:pos x="36" y="24"/>
                  </a:cxn>
                </a:cxnLst>
                <a:rect l="0" t="0" r="r" b="b"/>
                <a:pathLst>
                  <a:path w="89" h="110">
                    <a:moveTo>
                      <a:pt x="36" y="24"/>
                    </a:moveTo>
                    <a:lnTo>
                      <a:pt x="26" y="24"/>
                    </a:lnTo>
                    <a:lnTo>
                      <a:pt x="20" y="24"/>
                    </a:lnTo>
                    <a:lnTo>
                      <a:pt x="8" y="22"/>
                    </a:lnTo>
                    <a:lnTo>
                      <a:pt x="2" y="44"/>
                    </a:lnTo>
                    <a:lnTo>
                      <a:pt x="2" y="50"/>
                    </a:lnTo>
                    <a:lnTo>
                      <a:pt x="0" y="58"/>
                    </a:lnTo>
                    <a:lnTo>
                      <a:pt x="0" y="70"/>
                    </a:lnTo>
                    <a:lnTo>
                      <a:pt x="4" y="76"/>
                    </a:lnTo>
                    <a:lnTo>
                      <a:pt x="8" y="82"/>
                    </a:lnTo>
                    <a:lnTo>
                      <a:pt x="14" y="88"/>
                    </a:lnTo>
                    <a:lnTo>
                      <a:pt x="30" y="100"/>
                    </a:lnTo>
                    <a:lnTo>
                      <a:pt x="34" y="104"/>
                    </a:lnTo>
                    <a:lnTo>
                      <a:pt x="38" y="110"/>
                    </a:lnTo>
                    <a:lnTo>
                      <a:pt x="42" y="108"/>
                    </a:lnTo>
                    <a:lnTo>
                      <a:pt x="44" y="106"/>
                    </a:lnTo>
                    <a:lnTo>
                      <a:pt x="46" y="104"/>
                    </a:lnTo>
                    <a:lnTo>
                      <a:pt x="44" y="100"/>
                    </a:lnTo>
                    <a:lnTo>
                      <a:pt x="42" y="98"/>
                    </a:lnTo>
                    <a:lnTo>
                      <a:pt x="42" y="96"/>
                    </a:lnTo>
                    <a:lnTo>
                      <a:pt x="44" y="90"/>
                    </a:lnTo>
                    <a:lnTo>
                      <a:pt x="46" y="88"/>
                    </a:lnTo>
                    <a:lnTo>
                      <a:pt x="55" y="84"/>
                    </a:lnTo>
                    <a:lnTo>
                      <a:pt x="55" y="80"/>
                    </a:lnTo>
                    <a:lnTo>
                      <a:pt x="59" y="76"/>
                    </a:lnTo>
                    <a:lnTo>
                      <a:pt x="63" y="78"/>
                    </a:lnTo>
                    <a:lnTo>
                      <a:pt x="65" y="82"/>
                    </a:lnTo>
                    <a:lnTo>
                      <a:pt x="67" y="86"/>
                    </a:lnTo>
                    <a:lnTo>
                      <a:pt x="71" y="88"/>
                    </a:lnTo>
                    <a:lnTo>
                      <a:pt x="75" y="86"/>
                    </a:lnTo>
                    <a:lnTo>
                      <a:pt x="79" y="84"/>
                    </a:lnTo>
                    <a:lnTo>
                      <a:pt x="81" y="86"/>
                    </a:lnTo>
                    <a:lnTo>
                      <a:pt x="83" y="86"/>
                    </a:lnTo>
                    <a:lnTo>
                      <a:pt x="85" y="84"/>
                    </a:lnTo>
                    <a:lnTo>
                      <a:pt x="85" y="80"/>
                    </a:lnTo>
                    <a:lnTo>
                      <a:pt x="87" y="74"/>
                    </a:lnTo>
                    <a:lnTo>
                      <a:pt x="87" y="52"/>
                    </a:lnTo>
                    <a:lnTo>
                      <a:pt x="83" y="50"/>
                    </a:lnTo>
                    <a:lnTo>
                      <a:pt x="83" y="46"/>
                    </a:lnTo>
                    <a:lnTo>
                      <a:pt x="81" y="44"/>
                    </a:lnTo>
                    <a:lnTo>
                      <a:pt x="81" y="40"/>
                    </a:lnTo>
                    <a:lnTo>
                      <a:pt x="83" y="36"/>
                    </a:lnTo>
                    <a:lnTo>
                      <a:pt x="83" y="32"/>
                    </a:lnTo>
                    <a:lnTo>
                      <a:pt x="87" y="30"/>
                    </a:lnTo>
                    <a:lnTo>
                      <a:pt x="89" y="26"/>
                    </a:lnTo>
                    <a:lnTo>
                      <a:pt x="87" y="20"/>
                    </a:lnTo>
                    <a:lnTo>
                      <a:pt x="83" y="18"/>
                    </a:lnTo>
                    <a:lnTo>
                      <a:pt x="77" y="18"/>
                    </a:lnTo>
                    <a:lnTo>
                      <a:pt x="69" y="18"/>
                    </a:lnTo>
                    <a:lnTo>
                      <a:pt x="71" y="2"/>
                    </a:lnTo>
                    <a:lnTo>
                      <a:pt x="36" y="0"/>
                    </a:lnTo>
                    <a:lnTo>
                      <a:pt x="36" y="2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0" name="Freeform 122"/>
              <p:cNvSpPr>
                <a:spLocks noChangeAspect="1"/>
              </p:cNvSpPr>
              <p:nvPr/>
            </p:nvSpPr>
            <p:spPr bwMode="auto">
              <a:xfrm>
                <a:off x="3856968" y="4558390"/>
                <a:ext cx="164843" cy="186068"/>
              </a:xfrm>
              <a:custGeom>
                <a:avLst/>
                <a:gdLst/>
                <a:ahLst/>
                <a:cxnLst>
                  <a:cxn ang="0">
                    <a:pos x="27" y="148"/>
                  </a:cxn>
                  <a:cxn ang="0">
                    <a:pos x="21" y="148"/>
                  </a:cxn>
                  <a:cxn ang="0">
                    <a:pos x="13" y="154"/>
                  </a:cxn>
                  <a:cxn ang="0">
                    <a:pos x="0" y="132"/>
                  </a:cxn>
                  <a:cxn ang="0">
                    <a:pos x="6" y="128"/>
                  </a:cxn>
                  <a:cxn ang="0">
                    <a:pos x="6" y="122"/>
                  </a:cxn>
                  <a:cxn ang="0">
                    <a:pos x="4" y="118"/>
                  </a:cxn>
                  <a:cxn ang="0">
                    <a:pos x="8" y="110"/>
                  </a:cxn>
                  <a:cxn ang="0">
                    <a:pos x="17" y="102"/>
                  </a:cxn>
                  <a:cxn ang="0">
                    <a:pos x="25" y="100"/>
                  </a:cxn>
                  <a:cxn ang="0">
                    <a:pos x="29" y="108"/>
                  </a:cxn>
                  <a:cxn ang="0">
                    <a:pos x="37" y="108"/>
                  </a:cxn>
                  <a:cxn ang="0">
                    <a:pos x="43" y="108"/>
                  </a:cxn>
                  <a:cxn ang="0">
                    <a:pos x="47" y="106"/>
                  </a:cxn>
                  <a:cxn ang="0">
                    <a:pos x="49" y="96"/>
                  </a:cxn>
                  <a:cxn ang="0">
                    <a:pos x="45" y="72"/>
                  </a:cxn>
                  <a:cxn ang="0">
                    <a:pos x="43" y="66"/>
                  </a:cxn>
                  <a:cxn ang="0">
                    <a:pos x="45" y="58"/>
                  </a:cxn>
                  <a:cxn ang="0">
                    <a:pos x="49" y="52"/>
                  </a:cxn>
                  <a:cxn ang="0">
                    <a:pos x="49" y="42"/>
                  </a:cxn>
                  <a:cxn ang="0">
                    <a:pos x="39" y="40"/>
                  </a:cxn>
                  <a:cxn ang="0">
                    <a:pos x="33" y="26"/>
                  </a:cxn>
                  <a:cxn ang="0">
                    <a:pos x="59" y="28"/>
                  </a:cxn>
                  <a:cxn ang="0">
                    <a:pos x="73" y="30"/>
                  </a:cxn>
                  <a:cxn ang="0">
                    <a:pos x="79" y="16"/>
                  </a:cxn>
                  <a:cxn ang="0">
                    <a:pos x="87" y="4"/>
                  </a:cxn>
                  <a:cxn ang="0">
                    <a:pos x="103" y="0"/>
                  </a:cxn>
                  <a:cxn ang="0">
                    <a:pos x="113" y="2"/>
                  </a:cxn>
                  <a:cxn ang="0">
                    <a:pos x="115" y="6"/>
                  </a:cxn>
                  <a:cxn ang="0">
                    <a:pos x="115" y="20"/>
                  </a:cxn>
                  <a:cxn ang="0">
                    <a:pos x="99" y="64"/>
                  </a:cxn>
                  <a:cxn ang="0">
                    <a:pos x="99" y="70"/>
                  </a:cxn>
                  <a:cxn ang="0">
                    <a:pos x="99" y="78"/>
                  </a:cxn>
                  <a:cxn ang="0">
                    <a:pos x="93" y="84"/>
                  </a:cxn>
                  <a:cxn ang="0">
                    <a:pos x="85" y="92"/>
                  </a:cxn>
                  <a:cxn ang="0">
                    <a:pos x="79" y="106"/>
                  </a:cxn>
                  <a:cxn ang="0">
                    <a:pos x="75" y="122"/>
                  </a:cxn>
                  <a:cxn ang="0">
                    <a:pos x="69" y="142"/>
                  </a:cxn>
                  <a:cxn ang="0">
                    <a:pos x="61" y="150"/>
                  </a:cxn>
                  <a:cxn ang="0">
                    <a:pos x="51" y="150"/>
                  </a:cxn>
                  <a:cxn ang="0">
                    <a:pos x="49" y="146"/>
                  </a:cxn>
                  <a:cxn ang="0">
                    <a:pos x="43" y="146"/>
                  </a:cxn>
                  <a:cxn ang="0">
                    <a:pos x="39" y="150"/>
                  </a:cxn>
                  <a:cxn ang="0">
                    <a:pos x="33" y="150"/>
                  </a:cxn>
                </a:cxnLst>
                <a:rect l="0" t="0" r="r" b="b"/>
                <a:pathLst>
                  <a:path w="117" h="154">
                    <a:moveTo>
                      <a:pt x="27" y="150"/>
                    </a:moveTo>
                    <a:lnTo>
                      <a:pt x="27" y="148"/>
                    </a:lnTo>
                    <a:lnTo>
                      <a:pt x="25" y="146"/>
                    </a:lnTo>
                    <a:lnTo>
                      <a:pt x="21" y="148"/>
                    </a:lnTo>
                    <a:lnTo>
                      <a:pt x="17" y="150"/>
                    </a:lnTo>
                    <a:lnTo>
                      <a:pt x="13" y="154"/>
                    </a:lnTo>
                    <a:lnTo>
                      <a:pt x="4" y="136"/>
                    </a:lnTo>
                    <a:lnTo>
                      <a:pt x="0" y="132"/>
                    </a:lnTo>
                    <a:lnTo>
                      <a:pt x="4" y="130"/>
                    </a:lnTo>
                    <a:lnTo>
                      <a:pt x="6" y="128"/>
                    </a:lnTo>
                    <a:lnTo>
                      <a:pt x="8" y="126"/>
                    </a:lnTo>
                    <a:lnTo>
                      <a:pt x="6" y="122"/>
                    </a:lnTo>
                    <a:lnTo>
                      <a:pt x="4" y="120"/>
                    </a:lnTo>
                    <a:lnTo>
                      <a:pt x="4" y="118"/>
                    </a:lnTo>
                    <a:lnTo>
                      <a:pt x="6" y="112"/>
                    </a:lnTo>
                    <a:lnTo>
                      <a:pt x="8" y="110"/>
                    </a:lnTo>
                    <a:lnTo>
                      <a:pt x="17" y="106"/>
                    </a:lnTo>
                    <a:lnTo>
                      <a:pt x="17" y="102"/>
                    </a:lnTo>
                    <a:lnTo>
                      <a:pt x="21" y="98"/>
                    </a:lnTo>
                    <a:lnTo>
                      <a:pt x="25" y="100"/>
                    </a:lnTo>
                    <a:lnTo>
                      <a:pt x="27" y="104"/>
                    </a:lnTo>
                    <a:lnTo>
                      <a:pt x="29" y="108"/>
                    </a:lnTo>
                    <a:lnTo>
                      <a:pt x="33" y="110"/>
                    </a:lnTo>
                    <a:lnTo>
                      <a:pt x="37" y="108"/>
                    </a:lnTo>
                    <a:lnTo>
                      <a:pt x="41" y="106"/>
                    </a:lnTo>
                    <a:lnTo>
                      <a:pt x="43" y="108"/>
                    </a:lnTo>
                    <a:lnTo>
                      <a:pt x="45" y="108"/>
                    </a:lnTo>
                    <a:lnTo>
                      <a:pt x="47" y="106"/>
                    </a:lnTo>
                    <a:lnTo>
                      <a:pt x="47" y="102"/>
                    </a:lnTo>
                    <a:lnTo>
                      <a:pt x="49" y="96"/>
                    </a:lnTo>
                    <a:lnTo>
                      <a:pt x="49" y="74"/>
                    </a:lnTo>
                    <a:lnTo>
                      <a:pt x="45" y="72"/>
                    </a:lnTo>
                    <a:lnTo>
                      <a:pt x="45" y="68"/>
                    </a:lnTo>
                    <a:lnTo>
                      <a:pt x="43" y="66"/>
                    </a:lnTo>
                    <a:lnTo>
                      <a:pt x="43" y="62"/>
                    </a:lnTo>
                    <a:lnTo>
                      <a:pt x="45" y="58"/>
                    </a:lnTo>
                    <a:lnTo>
                      <a:pt x="45" y="54"/>
                    </a:lnTo>
                    <a:lnTo>
                      <a:pt x="49" y="52"/>
                    </a:lnTo>
                    <a:lnTo>
                      <a:pt x="51" y="48"/>
                    </a:lnTo>
                    <a:lnTo>
                      <a:pt x="49" y="42"/>
                    </a:lnTo>
                    <a:lnTo>
                      <a:pt x="45" y="40"/>
                    </a:lnTo>
                    <a:lnTo>
                      <a:pt x="39" y="40"/>
                    </a:lnTo>
                    <a:lnTo>
                      <a:pt x="31" y="40"/>
                    </a:lnTo>
                    <a:lnTo>
                      <a:pt x="33" y="26"/>
                    </a:lnTo>
                    <a:lnTo>
                      <a:pt x="55" y="26"/>
                    </a:lnTo>
                    <a:lnTo>
                      <a:pt x="59" y="28"/>
                    </a:lnTo>
                    <a:lnTo>
                      <a:pt x="63" y="30"/>
                    </a:lnTo>
                    <a:lnTo>
                      <a:pt x="73" y="30"/>
                    </a:lnTo>
                    <a:lnTo>
                      <a:pt x="79" y="30"/>
                    </a:lnTo>
                    <a:lnTo>
                      <a:pt x="79" y="16"/>
                    </a:lnTo>
                    <a:lnTo>
                      <a:pt x="83" y="10"/>
                    </a:lnTo>
                    <a:lnTo>
                      <a:pt x="87" y="4"/>
                    </a:lnTo>
                    <a:lnTo>
                      <a:pt x="93" y="0"/>
                    </a:lnTo>
                    <a:lnTo>
                      <a:pt x="103" y="0"/>
                    </a:lnTo>
                    <a:lnTo>
                      <a:pt x="113" y="0"/>
                    </a:lnTo>
                    <a:lnTo>
                      <a:pt x="113" y="2"/>
                    </a:lnTo>
                    <a:lnTo>
                      <a:pt x="115" y="4"/>
                    </a:lnTo>
                    <a:lnTo>
                      <a:pt x="115" y="6"/>
                    </a:lnTo>
                    <a:lnTo>
                      <a:pt x="117" y="10"/>
                    </a:lnTo>
                    <a:lnTo>
                      <a:pt x="115" y="20"/>
                    </a:lnTo>
                    <a:lnTo>
                      <a:pt x="111" y="34"/>
                    </a:lnTo>
                    <a:lnTo>
                      <a:pt x="99" y="64"/>
                    </a:lnTo>
                    <a:lnTo>
                      <a:pt x="99" y="68"/>
                    </a:lnTo>
                    <a:lnTo>
                      <a:pt x="99" y="70"/>
                    </a:lnTo>
                    <a:lnTo>
                      <a:pt x="101" y="74"/>
                    </a:lnTo>
                    <a:lnTo>
                      <a:pt x="99" y="78"/>
                    </a:lnTo>
                    <a:lnTo>
                      <a:pt x="97" y="82"/>
                    </a:lnTo>
                    <a:lnTo>
                      <a:pt x="93" y="84"/>
                    </a:lnTo>
                    <a:lnTo>
                      <a:pt x="89" y="88"/>
                    </a:lnTo>
                    <a:lnTo>
                      <a:pt x="85" y="92"/>
                    </a:lnTo>
                    <a:lnTo>
                      <a:pt x="83" y="102"/>
                    </a:lnTo>
                    <a:lnTo>
                      <a:pt x="79" y="106"/>
                    </a:lnTo>
                    <a:lnTo>
                      <a:pt x="75" y="108"/>
                    </a:lnTo>
                    <a:lnTo>
                      <a:pt x="75" y="122"/>
                    </a:lnTo>
                    <a:lnTo>
                      <a:pt x="71" y="134"/>
                    </a:lnTo>
                    <a:lnTo>
                      <a:pt x="69" y="142"/>
                    </a:lnTo>
                    <a:lnTo>
                      <a:pt x="65" y="148"/>
                    </a:lnTo>
                    <a:lnTo>
                      <a:pt x="61" y="150"/>
                    </a:lnTo>
                    <a:lnTo>
                      <a:pt x="55" y="150"/>
                    </a:lnTo>
                    <a:lnTo>
                      <a:pt x="51" y="150"/>
                    </a:lnTo>
                    <a:lnTo>
                      <a:pt x="49" y="150"/>
                    </a:lnTo>
                    <a:lnTo>
                      <a:pt x="49" y="146"/>
                    </a:lnTo>
                    <a:lnTo>
                      <a:pt x="45" y="146"/>
                    </a:lnTo>
                    <a:lnTo>
                      <a:pt x="43" y="146"/>
                    </a:lnTo>
                    <a:lnTo>
                      <a:pt x="41" y="148"/>
                    </a:lnTo>
                    <a:lnTo>
                      <a:pt x="39" y="150"/>
                    </a:lnTo>
                    <a:lnTo>
                      <a:pt x="35" y="150"/>
                    </a:lnTo>
                    <a:lnTo>
                      <a:pt x="33" y="150"/>
                    </a:lnTo>
                    <a:lnTo>
                      <a:pt x="27" y="15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1" name="Freeform 123"/>
              <p:cNvSpPr>
                <a:spLocks noChangeAspect="1"/>
              </p:cNvSpPr>
              <p:nvPr/>
            </p:nvSpPr>
            <p:spPr bwMode="auto">
              <a:xfrm>
                <a:off x="3866426" y="5008056"/>
                <a:ext cx="295906" cy="258825"/>
              </a:xfrm>
              <a:custGeom>
                <a:avLst/>
                <a:gdLst/>
                <a:ahLst/>
                <a:cxnLst>
                  <a:cxn ang="0">
                    <a:pos x="181" y="8"/>
                  </a:cxn>
                  <a:cxn ang="0">
                    <a:pos x="159" y="16"/>
                  </a:cxn>
                  <a:cxn ang="0">
                    <a:pos x="117" y="16"/>
                  </a:cxn>
                  <a:cxn ang="0">
                    <a:pos x="107" y="12"/>
                  </a:cxn>
                  <a:cxn ang="0">
                    <a:pos x="105" y="10"/>
                  </a:cxn>
                  <a:cxn ang="0">
                    <a:pos x="101" y="6"/>
                  </a:cxn>
                  <a:cxn ang="0">
                    <a:pos x="33" y="6"/>
                  </a:cxn>
                  <a:cxn ang="0">
                    <a:pos x="27" y="2"/>
                  </a:cxn>
                  <a:cxn ang="0">
                    <a:pos x="25" y="0"/>
                  </a:cxn>
                  <a:cxn ang="0">
                    <a:pos x="21" y="0"/>
                  </a:cxn>
                  <a:cxn ang="0">
                    <a:pos x="11" y="2"/>
                  </a:cxn>
                  <a:cxn ang="0">
                    <a:pos x="4" y="2"/>
                  </a:cxn>
                  <a:cxn ang="0">
                    <a:pos x="0" y="0"/>
                  </a:cxn>
                  <a:cxn ang="0">
                    <a:pos x="2" y="16"/>
                  </a:cxn>
                  <a:cxn ang="0">
                    <a:pos x="7" y="30"/>
                  </a:cxn>
                  <a:cxn ang="0">
                    <a:pos x="13" y="42"/>
                  </a:cxn>
                  <a:cxn ang="0">
                    <a:pos x="21" y="54"/>
                  </a:cxn>
                  <a:cxn ang="0">
                    <a:pos x="29" y="66"/>
                  </a:cxn>
                  <a:cxn ang="0">
                    <a:pos x="37" y="76"/>
                  </a:cxn>
                  <a:cxn ang="0">
                    <a:pos x="39" y="90"/>
                  </a:cxn>
                  <a:cxn ang="0">
                    <a:pos x="41" y="104"/>
                  </a:cxn>
                  <a:cxn ang="0">
                    <a:pos x="41" y="126"/>
                  </a:cxn>
                  <a:cxn ang="0">
                    <a:pos x="43" y="152"/>
                  </a:cxn>
                  <a:cxn ang="0">
                    <a:pos x="45" y="174"/>
                  </a:cxn>
                  <a:cxn ang="0">
                    <a:pos x="49" y="184"/>
                  </a:cxn>
                  <a:cxn ang="0">
                    <a:pos x="53" y="194"/>
                  </a:cxn>
                  <a:cxn ang="0">
                    <a:pos x="61" y="204"/>
                  </a:cxn>
                  <a:cxn ang="0">
                    <a:pos x="69" y="212"/>
                  </a:cxn>
                  <a:cxn ang="0">
                    <a:pos x="73" y="208"/>
                  </a:cxn>
                  <a:cxn ang="0">
                    <a:pos x="75" y="204"/>
                  </a:cxn>
                  <a:cxn ang="0">
                    <a:pos x="79" y="204"/>
                  </a:cxn>
                  <a:cxn ang="0">
                    <a:pos x="83" y="210"/>
                  </a:cxn>
                  <a:cxn ang="0">
                    <a:pos x="89" y="214"/>
                  </a:cxn>
                  <a:cxn ang="0">
                    <a:pos x="93" y="216"/>
                  </a:cxn>
                  <a:cxn ang="0">
                    <a:pos x="101" y="216"/>
                  </a:cxn>
                  <a:cxn ang="0">
                    <a:pos x="111" y="216"/>
                  </a:cxn>
                  <a:cxn ang="0">
                    <a:pos x="117" y="212"/>
                  </a:cxn>
                  <a:cxn ang="0">
                    <a:pos x="121" y="208"/>
                  </a:cxn>
                  <a:cxn ang="0">
                    <a:pos x="125" y="206"/>
                  </a:cxn>
                  <a:cxn ang="0">
                    <a:pos x="123" y="144"/>
                  </a:cxn>
                  <a:cxn ang="0">
                    <a:pos x="123" y="90"/>
                  </a:cxn>
                  <a:cxn ang="0">
                    <a:pos x="143" y="90"/>
                  </a:cxn>
                  <a:cxn ang="0">
                    <a:pos x="143" y="22"/>
                  </a:cxn>
                  <a:cxn ang="0">
                    <a:pos x="165" y="20"/>
                  </a:cxn>
                  <a:cxn ang="0">
                    <a:pos x="183" y="18"/>
                  </a:cxn>
                  <a:cxn ang="0">
                    <a:pos x="187" y="24"/>
                  </a:cxn>
                  <a:cxn ang="0">
                    <a:pos x="201" y="18"/>
                  </a:cxn>
                  <a:cxn ang="0">
                    <a:pos x="205" y="14"/>
                  </a:cxn>
                  <a:cxn ang="0">
                    <a:pos x="211" y="12"/>
                  </a:cxn>
                  <a:cxn ang="0">
                    <a:pos x="205" y="8"/>
                  </a:cxn>
                  <a:cxn ang="0">
                    <a:pos x="201" y="6"/>
                  </a:cxn>
                  <a:cxn ang="0">
                    <a:pos x="193" y="8"/>
                  </a:cxn>
                  <a:cxn ang="0">
                    <a:pos x="187" y="10"/>
                  </a:cxn>
                  <a:cxn ang="0">
                    <a:pos x="183" y="8"/>
                  </a:cxn>
                  <a:cxn ang="0">
                    <a:pos x="181" y="6"/>
                  </a:cxn>
                  <a:cxn ang="0">
                    <a:pos x="181" y="8"/>
                  </a:cxn>
                </a:cxnLst>
                <a:rect l="0" t="0" r="r" b="b"/>
                <a:pathLst>
                  <a:path w="211" h="216">
                    <a:moveTo>
                      <a:pt x="181" y="8"/>
                    </a:moveTo>
                    <a:lnTo>
                      <a:pt x="159" y="16"/>
                    </a:lnTo>
                    <a:lnTo>
                      <a:pt x="117" y="16"/>
                    </a:lnTo>
                    <a:lnTo>
                      <a:pt x="107" y="12"/>
                    </a:lnTo>
                    <a:lnTo>
                      <a:pt x="105" y="10"/>
                    </a:lnTo>
                    <a:lnTo>
                      <a:pt x="101" y="6"/>
                    </a:lnTo>
                    <a:lnTo>
                      <a:pt x="33" y="6"/>
                    </a:lnTo>
                    <a:lnTo>
                      <a:pt x="27" y="2"/>
                    </a:lnTo>
                    <a:lnTo>
                      <a:pt x="25" y="0"/>
                    </a:lnTo>
                    <a:lnTo>
                      <a:pt x="21" y="0"/>
                    </a:lnTo>
                    <a:lnTo>
                      <a:pt x="11" y="2"/>
                    </a:lnTo>
                    <a:lnTo>
                      <a:pt x="4" y="2"/>
                    </a:lnTo>
                    <a:lnTo>
                      <a:pt x="0" y="0"/>
                    </a:lnTo>
                    <a:lnTo>
                      <a:pt x="2" y="16"/>
                    </a:lnTo>
                    <a:lnTo>
                      <a:pt x="7" y="30"/>
                    </a:lnTo>
                    <a:lnTo>
                      <a:pt x="13" y="42"/>
                    </a:lnTo>
                    <a:lnTo>
                      <a:pt x="21" y="54"/>
                    </a:lnTo>
                    <a:lnTo>
                      <a:pt x="29" y="66"/>
                    </a:lnTo>
                    <a:lnTo>
                      <a:pt x="37" y="76"/>
                    </a:lnTo>
                    <a:lnTo>
                      <a:pt x="39" y="90"/>
                    </a:lnTo>
                    <a:lnTo>
                      <a:pt x="41" y="104"/>
                    </a:lnTo>
                    <a:lnTo>
                      <a:pt x="41" y="126"/>
                    </a:lnTo>
                    <a:lnTo>
                      <a:pt x="43" y="152"/>
                    </a:lnTo>
                    <a:lnTo>
                      <a:pt x="45" y="174"/>
                    </a:lnTo>
                    <a:lnTo>
                      <a:pt x="49" y="184"/>
                    </a:lnTo>
                    <a:lnTo>
                      <a:pt x="53" y="194"/>
                    </a:lnTo>
                    <a:lnTo>
                      <a:pt x="61" y="204"/>
                    </a:lnTo>
                    <a:lnTo>
                      <a:pt x="69" y="212"/>
                    </a:lnTo>
                    <a:lnTo>
                      <a:pt x="73" y="208"/>
                    </a:lnTo>
                    <a:lnTo>
                      <a:pt x="75" y="204"/>
                    </a:lnTo>
                    <a:lnTo>
                      <a:pt x="79" y="204"/>
                    </a:lnTo>
                    <a:lnTo>
                      <a:pt x="83" y="210"/>
                    </a:lnTo>
                    <a:lnTo>
                      <a:pt x="89" y="214"/>
                    </a:lnTo>
                    <a:lnTo>
                      <a:pt x="93" y="216"/>
                    </a:lnTo>
                    <a:lnTo>
                      <a:pt x="101" y="216"/>
                    </a:lnTo>
                    <a:lnTo>
                      <a:pt x="111" y="216"/>
                    </a:lnTo>
                    <a:lnTo>
                      <a:pt x="117" y="212"/>
                    </a:lnTo>
                    <a:lnTo>
                      <a:pt x="121" y="208"/>
                    </a:lnTo>
                    <a:lnTo>
                      <a:pt x="125" y="206"/>
                    </a:lnTo>
                    <a:lnTo>
                      <a:pt x="123" y="144"/>
                    </a:lnTo>
                    <a:lnTo>
                      <a:pt x="123" y="90"/>
                    </a:lnTo>
                    <a:lnTo>
                      <a:pt x="143" y="90"/>
                    </a:lnTo>
                    <a:lnTo>
                      <a:pt x="143" y="22"/>
                    </a:lnTo>
                    <a:lnTo>
                      <a:pt x="165" y="20"/>
                    </a:lnTo>
                    <a:lnTo>
                      <a:pt x="183" y="18"/>
                    </a:lnTo>
                    <a:lnTo>
                      <a:pt x="187" y="24"/>
                    </a:lnTo>
                    <a:lnTo>
                      <a:pt x="201" y="18"/>
                    </a:lnTo>
                    <a:lnTo>
                      <a:pt x="205" y="14"/>
                    </a:lnTo>
                    <a:lnTo>
                      <a:pt x="211" y="12"/>
                    </a:lnTo>
                    <a:lnTo>
                      <a:pt x="205" y="8"/>
                    </a:lnTo>
                    <a:lnTo>
                      <a:pt x="201" y="6"/>
                    </a:lnTo>
                    <a:lnTo>
                      <a:pt x="193" y="8"/>
                    </a:lnTo>
                    <a:lnTo>
                      <a:pt x="187" y="10"/>
                    </a:lnTo>
                    <a:lnTo>
                      <a:pt x="183" y="8"/>
                    </a:lnTo>
                    <a:lnTo>
                      <a:pt x="181" y="6"/>
                    </a:lnTo>
                    <a:lnTo>
                      <a:pt x="181"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2" name="Freeform 124"/>
              <p:cNvSpPr>
                <a:spLocks noChangeAspect="1"/>
              </p:cNvSpPr>
              <p:nvPr/>
            </p:nvSpPr>
            <p:spPr bwMode="auto">
              <a:xfrm>
                <a:off x="4415002" y="4245890"/>
                <a:ext cx="149980" cy="118082"/>
              </a:xfrm>
              <a:custGeom>
                <a:avLst/>
                <a:gdLst/>
                <a:ahLst/>
                <a:cxnLst>
                  <a:cxn ang="0">
                    <a:pos x="32" y="0"/>
                  </a:cxn>
                  <a:cxn ang="0">
                    <a:pos x="28" y="4"/>
                  </a:cxn>
                  <a:cxn ang="0">
                    <a:pos x="22" y="10"/>
                  </a:cxn>
                  <a:cxn ang="0">
                    <a:pos x="14" y="14"/>
                  </a:cxn>
                  <a:cxn ang="0">
                    <a:pos x="6" y="16"/>
                  </a:cxn>
                  <a:cxn ang="0">
                    <a:pos x="6" y="26"/>
                  </a:cxn>
                  <a:cxn ang="0">
                    <a:pos x="4" y="34"/>
                  </a:cxn>
                  <a:cxn ang="0">
                    <a:pos x="0" y="46"/>
                  </a:cxn>
                  <a:cxn ang="0">
                    <a:pos x="0" y="62"/>
                  </a:cxn>
                  <a:cxn ang="0">
                    <a:pos x="18" y="62"/>
                  </a:cxn>
                  <a:cxn ang="0">
                    <a:pos x="24" y="64"/>
                  </a:cxn>
                  <a:cxn ang="0">
                    <a:pos x="28" y="54"/>
                  </a:cxn>
                  <a:cxn ang="0">
                    <a:pos x="38" y="58"/>
                  </a:cxn>
                  <a:cxn ang="0">
                    <a:pos x="54" y="58"/>
                  </a:cxn>
                  <a:cxn ang="0">
                    <a:pos x="68" y="62"/>
                  </a:cxn>
                  <a:cxn ang="0">
                    <a:pos x="82" y="76"/>
                  </a:cxn>
                  <a:cxn ang="0">
                    <a:pos x="96" y="92"/>
                  </a:cxn>
                  <a:cxn ang="0">
                    <a:pos x="102" y="98"/>
                  </a:cxn>
                  <a:cxn ang="0">
                    <a:pos x="106" y="94"/>
                  </a:cxn>
                  <a:cxn ang="0">
                    <a:pos x="96" y="80"/>
                  </a:cxn>
                  <a:cxn ang="0">
                    <a:pos x="86" y="68"/>
                  </a:cxn>
                  <a:cxn ang="0">
                    <a:pos x="74" y="56"/>
                  </a:cxn>
                  <a:cxn ang="0">
                    <a:pos x="62" y="48"/>
                  </a:cxn>
                  <a:cxn ang="0">
                    <a:pos x="52" y="42"/>
                  </a:cxn>
                  <a:cxn ang="0">
                    <a:pos x="46" y="30"/>
                  </a:cxn>
                  <a:cxn ang="0">
                    <a:pos x="40" y="14"/>
                  </a:cxn>
                  <a:cxn ang="0">
                    <a:pos x="32" y="0"/>
                  </a:cxn>
                </a:cxnLst>
                <a:rect l="0" t="0" r="r" b="b"/>
                <a:pathLst>
                  <a:path w="106" h="98">
                    <a:moveTo>
                      <a:pt x="32" y="0"/>
                    </a:moveTo>
                    <a:lnTo>
                      <a:pt x="28" y="4"/>
                    </a:lnTo>
                    <a:lnTo>
                      <a:pt x="22" y="10"/>
                    </a:lnTo>
                    <a:lnTo>
                      <a:pt x="14" y="14"/>
                    </a:lnTo>
                    <a:lnTo>
                      <a:pt x="6" y="16"/>
                    </a:lnTo>
                    <a:lnTo>
                      <a:pt x="6" y="26"/>
                    </a:lnTo>
                    <a:lnTo>
                      <a:pt x="4" y="34"/>
                    </a:lnTo>
                    <a:lnTo>
                      <a:pt x="0" y="46"/>
                    </a:lnTo>
                    <a:lnTo>
                      <a:pt x="0" y="62"/>
                    </a:lnTo>
                    <a:lnTo>
                      <a:pt x="18" y="62"/>
                    </a:lnTo>
                    <a:lnTo>
                      <a:pt x="24" y="64"/>
                    </a:lnTo>
                    <a:lnTo>
                      <a:pt x="28" y="54"/>
                    </a:lnTo>
                    <a:lnTo>
                      <a:pt x="38" y="58"/>
                    </a:lnTo>
                    <a:lnTo>
                      <a:pt x="54" y="58"/>
                    </a:lnTo>
                    <a:lnTo>
                      <a:pt x="68" y="62"/>
                    </a:lnTo>
                    <a:lnTo>
                      <a:pt x="82" y="76"/>
                    </a:lnTo>
                    <a:lnTo>
                      <a:pt x="96" y="92"/>
                    </a:lnTo>
                    <a:lnTo>
                      <a:pt x="102" y="98"/>
                    </a:lnTo>
                    <a:lnTo>
                      <a:pt x="106" y="94"/>
                    </a:lnTo>
                    <a:lnTo>
                      <a:pt x="96" y="80"/>
                    </a:lnTo>
                    <a:lnTo>
                      <a:pt x="86" y="68"/>
                    </a:lnTo>
                    <a:lnTo>
                      <a:pt x="74" y="56"/>
                    </a:lnTo>
                    <a:lnTo>
                      <a:pt x="62" y="48"/>
                    </a:lnTo>
                    <a:lnTo>
                      <a:pt x="52" y="42"/>
                    </a:lnTo>
                    <a:lnTo>
                      <a:pt x="46" y="30"/>
                    </a:lnTo>
                    <a:lnTo>
                      <a:pt x="40" y="14"/>
                    </a:lnTo>
                    <a:lnTo>
                      <a:pt x="32"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3" name="Freeform 125"/>
              <p:cNvSpPr>
                <a:spLocks noChangeAspect="1"/>
              </p:cNvSpPr>
              <p:nvPr/>
            </p:nvSpPr>
            <p:spPr bwMode="auto">
              <a:xfrm>
                <a:off x="3238130" y="4337732"/>
                <a:ext cx="63506" cy="13120"/>
              </a:xfrm>
              <a:custGeom>
                <a:avLst/>
                <a:gdLst/>
                <a:ahLst/>
                <a:cxnLst>
                  <a:cxn ang="0">
                    <a:pos x="4" y="6"/>
                  </a:cxn>
                  <a:cxn ang="0">
                    <a:pos x="14" y="8"/>
                  </a:cxn>
                  <a:cxn ang="0">
                    <a:pos x="18" y="6"/>
                  </a:cxn>
                  <a:cxn ang="0">
                    <a:pos x="20" y="4"/>
                  </a:cxn>
                  <a:cxn ang="0">
                    <a:pos x="22" y="2"/>
                  </a:cxn>
                  <a:cxn ang="0">
                    <a:pos x="26" y="0"/>
                  </a:cxn>
                  <a:cxn ang="0">
                    <a:pos x="28" y="4"/>
                  </a:cxn>
                  <a:cxn ang="0">
                    <a:pos x="34" y="6"/>
                  </a:cxn>
                  <a:cxn ang="0">
                    <a:pos x="46" y="8"/>
                  </a:cxn>
                  <a:cxn ang="0">
                    <a:pos x="42" y="10"/>
                  </a:cxn>
                  <a:cxn ang="0">
                    <a:pos x="38" y="12"/>
                  </a:cxn>
                  <a:cxn ang="0">
                    <a:pos x="30" y="10"/>
                  </a:cxn>
                  <a:cxn ang="0">
                    <a:pos x="24" y="8"/>
                  </a:cxn>
                  <a:cxn ang="0">
                    <a:pos x="24" y="10"/>
                  </a:cxn>
                  <a:cxn ang="0">
                    <a:pos x="12" y="12"/>
                  </a:cxn>
                  <a:cxn ang="0">
                    <a:pos x="0" y="12"/>
                  </a:cxn>
                  <a:cxn ang="0">
                    <a:pos x="2" y="8"/>
                  </a:cxn>
                  <a:cxn ang="0">
                    <a:pos x="2" y="6"/>
                  </a:cxn>
                  <a:cxn ang="0">
                    <a:pos x="4" y="6"/>
                  </a:cxn>
                </a:cxnLst>
                <a:rect l="0" t="0" r="r" b="b"/>
                <a:pathLst>
                  <a:path w="46" h="12">
                    <a:moveTo>
                      <a:pt x="4" y="6"/>
                    </a:moveTo>
                    <a:lnTo>
                      <a:pt x="14" y="8"/>
                    </a:lnTo>
                    <a:lnTo>
                      <a:pt x="18" y="6"/>
                    </a:lnTo>
                    <a:lnTo>
                      <a:pt x="20" y="4"/>
                    </a:lnTo>
                    <a:lnTo>
                      <a:pt x="22" y="2"/>
                    </a:lnTo>
                    <a:lnTo>
                      <a:pt x="26" y="0"/>
                    </a:lnTo>
                    <a:lnTo>
                      <a:pt x="28" y="4"/>
                    </a:lnTo>
                    <a:lnTo>
                      <a:pt x="34" y="6"/>
                    </a:lnTo>
                    <a:lnTo>
                      <a:pt x="46" y="8"/>
                    </a:lnTo>
                    <a:lnTo>
                      <a:pt x="42" y="10"/>
                    </a:lnTo>
                    <a:lnTo>
                      <a:pt x="38" y="12"/>
                    </a:lnTo>
                    <a:lnTo>
                      <a:pt x="30" y="10"/>
                    </a:lnTo>
                    <a:lnTo>
                      <a:pt x="24" y="8"/>
                    </a:lnTo>
                    <a:lnTo>
                      <a:pt x="24" y="10"/>
                    </a:lnTo>
                    <a:lnTo>
                      <a:pt x="12" y="12"/>
                    </a:lnTo>
                    <a:lnTo>
                      <a:pt x="0" y="12"/>
                    </a:lnTo>
                    <a:lnTo>
                      <a:pt x="2" y="8"/>
                    </a:lnTo>
                    <a:lnTo>
                      <a:pt x="2" y="6"/>
                    </a:lnTo>
                    <a:lnTo>
                      <a:pt x="4"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4" name="Freeform 126"/>
              <p:cNvSpPr>
                <a:spLocks noChangeAspect="1"/>
              </p:cNvSpPr>
              <p:nvPr/>
            </p:nvSpPr>
            <p:spPr bwMode="auto">
              <a:xfrm>
                <a:off x="3875883" y="4733725"/>
                <a:ext cx="20268" cy="23855"/>
              </a:xfrm>
              <a:custGeom>
                <a:avLst/>
                <a:gdLst/>
                <a:ahLst/>
                <a:cxnLst>
                  <a:cxn ang="0">
                    <a:pos x="6" y="22"/>
                  </a:cxn>
                  <a:cxn ang="0">
                    <a:pos x="0" y="8"/>
                  </a:cxn>
                  <a:cxn ang="0">
                    <a:pos x="4" y="4"/>
                  </a:cxn>
                  <a:cxn ang="0">
                    <a:pos x="8" y="2"/>
                  </a:cxn>
                  <a:cxn ang="0">
                    <a:pos x="12" y="0"/>
                  </a:cxn>
                  <a:cxn ang="0">
                    <a:pos x="14" y="2"/>
                  </a:cxn>
                  <a:cxn ang="0">
                    <a:pos x="14" y="4"/>
                  </a:cxn>
                  <a:cxn ang="0">
                    <a:pos x="10" y="6"/>
                  </a:cxn>
                  <a:cxn ang="0">
                    <a:pos x="8" y="10"/>
                  </a:cxn>
                  <a:cxn ang="0">
                    <a:pos x="8" y="20"/>
                  </a:cxn>
                  <a:cxn ang="0">
                    <a:pos x="6" y="22"/>
                  </a:cxn>
                </a:cxnLst>
                <a:rect l="0" t="0" r="r" b="b"/>
                <a:pathLst>
                  <a:path w="14" h="22">
                    <a:moveTo>
                      <a:pt x="6" y="22"/>
                    </a:moveTo>
                    <a:lnTo>
                      <a:pt x="0" y="8"/>
                    </a:lnTo>
                    <a:lnTo>
                      <a:pt x="4" y="4"/>
                    </a:lnTo>
                    <a:lnTo>
                      <a:pt x="8" y="2"/>
                    </a:lnTo>
                    <a:lnTo>
                      <a:pt x="12" y="0"/>
                    </a:lnTo>
                    <a:lnTo>
                      <a:pt x="14" y="2"/>
                    </a:lnTo>
                    <a:lnTo>
                      <a:pt x="14" y="4"/>
                    </a:lnTo>
                    <a:lnTo>
                      <a:pt x="10" y="6"/>
                    </a:lnTo>
                    <a:lnTo>
                      <a:pt x="8" y="10"/>
                    </a:lnTo>
                    <a:lnTo>
                      <a:pt x="8" y="20"/>
                    </a:lnTo>
                    <a:lnTo>
                      <a:pt x="6" y="2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5" name="Freeform 127"/>
              <p:cNvSpPr>
                <a:spLocks noChangeAspect="1"/>
              </p:cNvSpPr>
              <p:nvPr/>
            </p:nvSpPr>
            <p:spPr bwMode="auto">
              <a:xfrm>
                <a:off x="2566599" y="2935063"/>
                <a:ext cx="885017" cy="406726"/>
              </a:xfrm>
              <a:custGeom>
                <a:avLst/>
                <a:gdLst/>
                <a:ahLst/>
                <a:cxnLst>
                  <a:cxn ang="0">
                    <a:pos x="390" y="210"/>
                  </a:cxn>
                  <a:cxn ang="0">
                    <a:pos x="360" y="212"/>
                  </a:cxn>
                  <a:cxn ang="0">
                    <a:pos x="324" y="240"/>
                  </a:cxn>
                  <a:cxn ang="0">
                    <a:pos x="292" y="250"/>
                  </a:cxn>
                  <a:cxn ang="0">
                    <a:pos x="252" y="258"/>
                  </a:cxn>
                  <a:cxn ang="0">
                    <a:pos x="248" y="266"/>
                  </a:cxn>
                  <a:cxn ang="0">
                    <a:pos x="222" y="298"/>
                  </a:cxn>
                  <a:cxn ang="0">
                    <a:pos x="206" y="316"/>
                  </a:cxn>
                  <a:cxn ang="0">
                    <a:pos x="190" y="344"/>
                  </a:cxn>
                  <a:cxn ang="0">
                    <a:pos x="162" y="338"/>
                  </a:cxn>
                  <a:cxn ang="0">
                    <a:pos x="136" y="326"/>
                  </a:cxn>
                  <a:cxn ang="0">
                    <a:pos x="124" y="304"/>
                  </a:cxn>
                  <a:cxn ang="0">
                    <a:pos x="112" y="278"/>
                  </a:cxn>
                  <a:cxn ang="0">
                    <a:pos x="108" y="266"/>
                  </a:cxn>
                  <a:cxn ang="0">
                    <a:pos x="122" y="252"/>
                  </a:cxn>
                  <a:cxn ang="0">
                    <a:pos x="124" y="236"/>
                  </a:cxn>
                  <a:cxn ang="0">
                    <a:pos x="114" y="222"/>
                  </a:cxn>
                  <a:cxn ang="0">
                    <a:pos x="152" y="198"/>
                  </a:cxn>
                  <a:cxn ang="0">
                    <a:pos x="132" y="180"/>
                  </a:cxn>
                  <a:cxn ang="0">
                    <a:pos x="126" y="192"/>
                  </a:cxn>
                  <a:cxn ang="0">
                    <a:pos x="114" y="180"/>
                  </a:cxn>
                  <a:cxn ang="0">
                    <a:pos x="156" y="170"/>
                  </a:cxn>
                  <a:cxn ang="0">
                    <a:pos x="134" y="156"/>
                  </a:cxn>
                  <a:cxn ang="0">
                    <a:pos x="134" y="126"/>
                  </a:cxn>
                  <a:cxn ang="0">
                    <a:pos x="126" y="110"/>
                  </a:cxn>
                  <a:cxn ang="0">
                    <a:pos x="98" y="96"/>
                  </a:cxn>
                  <a:cxn ang="0">
                    <a:pos x="38" y="96"/>
                  </a:cxn>
                  <a:cxn ang="0">
                    <a:pos x="18" y="88"/>
                  </a:cxn>
                  <a:cxn ang="0">
                    <a:pos x="12" y="76"/>
                  </a:cxn>
                  <a:cxn ang="0">
                    <a:pos x="54" y="70"/>
                  </a:cxn>
                  <a:cxn ang="0">
                    <a:pos x="0" y="68"/>
                  </a:cxn>
                  <a:cxn ang="0">
                    <a:pos x="24" y="56"/>
                  </a:cxn>
                  <a:cxn ang="0">
                    <a:pos x="104" y="44"/>
                  </a:cxn>
                  <a:cxn ang="0">
                    <a:pos x="138" y="34"/>
                  </a:cxn>
                  <a:cxn ang="0">
                    <a:pos x="184" y="20"/>
                  </a:cxn>
                  <a:cxn ang="0">
                    <a:pos x="256" y="20"/>
                  </a:cxn>
                  <a:cxn ang="0">
                    <a:pos x="308" y="6"/>
                  </a:cxn>
                  <a:cxn ang="0">
                    <a:pos x="392" y="4"/>
                  </a:cxn>
                  <a:cxn ang="0">
                    <a:pos x="438" y="6"/>
                  </a:cxn>
                  <a:cxn ang="0">
                    <a:pos x="500" y="6"/>
                  </a:cxn>
                  <a:cxn ang="0">
                    <a:pos x="492" y="18"/>
                  </a:cxn>
                  <a:cxn ang="0">
                    <a:pos x="524" y="22"/>
                  </a:cxn>
                  <a:cxn ang="0">
                    <a:pos x="618" y="30"/>
                  </a:cxn>
                  <a:cxn ang="0">
                    <a:pos x="556" y="40"/>
                  </a:cxn>
                  <a:cxn ang="0">
                    <a:pos x="534" y="54"/>
                  </a:cxn>
                  <a:cxn ang="0">
                    <a:pos x="546" y="68"/>
                  </a:cxn>
                  <a:cxn ang="0">
                    <a:pos x="552" y="80"/>
                  </a:cxn>
                  <a:cxn ang="0">
                    <a:pos x="514" y="88"/>
                  </a:cxn>
                  <a:cxn ang="0">
                    <a:pos x="544" y="100"/>
                  </a:cxn>
                  <a:cxn ang="0">
                    <a:pos x="522" y="106"/>
                  </a:cxn>
                  <a:cxn ang="0">
                    <a:pos x="504" y="116"/>
                  </a:cxn>
                  <a:cxn ang="0">
                    <a:pos x="480" y="128"/>
                  </a:cxn>
                  <a:cxn ang="0">
                    <a:pos x="502" y="144"/>
                  </a:cxn>
                  <a:cxn ang="0">
                    <a:pos x="474" y="138"/>
                  </a:cxn>
                  <a:cxn ang="0">
                    <a:pos x="498" y="154"/>
                  </a:cxn>
                  <a:cxn ang="0">
                    <a:pos x="492" y="174"/>
                  </a:cxn>
                  <a:cxn ang="0">
                    <a:pos x="466" y="160"/>
                  </a:cxn>
                  <a:cxn ang="0">
                    <a:pos x="450" y="166"/>
                  </a:cxn>
                  <a:cxn ang="0">
                    <a:pos x="474" y="180"/>
                  </a:cxn>
                </a:cxnLst>
                <a:rect l="0" t="0" r="r" b="b"/>
                <a:pathLst>
                  <a:path w="628" h="344">
                    <a:moveTo>
                      <a:pt x="488" y="180"/>
                    </a:moveTo>
                    <a:lnTo>
                      <a:pt x="464" y="192"/>
                    </a:lnTo>
                    <a:lnTo>
                      <a:pt x="436" y="202"/>
                    </a:lnTo>
                    <a:lnTo>
                      <a:pt x="406" y="208"/>
                    </a:lnTo>
                    <a:lnTo>
                      <a:pt x="390" y="210"/>
                    </a:lnTo>
                    <a:lnTo>
                      <a:pt x="376" y="210"/>
                    </a:lnTo>
                    <a:lnTo>
                      <a:pt x="372" y="210"/>
                    </a:lnTo>
                    <a:lnTo>
                      <a:pt x="370" y="208"/>
                    </a:lnTo>
                    <a:lnTo>
                      <a:pt x="364" y="206"/>
                    </a:lnTo>
                    <a:lnTo>
                      <a:pt x="360" y="212"/>
                    </a:lnTo>
                    <a:lnTo>
                      <a:pt x="356" y="220"/>
                    </a:lnTo>
                    <a:lnTo>
                      <a:pt x="350" y="226"/>
                    </a:lnTo>
                    <a:lnTo>
                      <a:pt x="340" y="232"/>
                    </a:lnTo>
                    <a:lnTo>
                      <a:pt x="334" y="236"/>
                    </a:lnTo>
                    <a:lnTo>
                      <a:pt x="324" y="240"/>
                    </a:lnTo>
                    <a:lnTo>
                      <a:pt x="314" y="242"/>
                    </a:lnTo>
                    <a:lnTo>
                      <a:pt x="306" y="244"/>
                    </a:lnTo>
                    <a:lnTo>
                      <a:pt x="300" y="244"/>
                    </a:lnTo>
                    <a:lnTo>
                      <a:pt x="296" y="246"/>
                    </a:lnTo>
                    <a:lnTo>
                      <a:pt x="292" y="250"/>
                    </a:lnTo>
                    <a:lnTo>
                      <a:pt x="286" y="250"/>
                    </a:lnTo>
                    <a:lnTo>
                      <a:pt x="274" y="250"/>
                    </a:lnTo>
                    <a:lnTo>
                      <a:pt x="260" y="252"/>
                    </a:lnTo>
                    <a:lnTo>
                      <a:pt x="252" y="256"/>
                    </a:lnTo>
                    <a:lnTo>
                      <a:pt x="252" y="258"/>
                    </a:lnTo>
                    <a:lnTo>
                      <a:pt x="252" y="260"/>
                    </a:lnTo>
                    <a:lnTo>
                      <a:pt x="252" y="262"/>
                    </a:lnTo>
                    <a:lnTo>
                      <a:pt x="256" y="266"/>
                    </a:lnTo>
                    <a:lnTo>
                      <a:pt x="252" y="270"/>
                    </a:lnTo>
                    <a:lnTo>
                      <a:pt x="248" y="266"/>
                    </a:lnTo>
                    <a:lnTo>
                      <a:pt x="248" y="278"/>
                    </a:lnTo>
                    <a:lnTo>
                      <a:pt x="244" y="282"/>
                    </a:lnTo>
                    <a:lnTo>
                      <a:pt x="240" y="286"/>
                    </a:lnTo>
                    <a:lnTo>
                      <a:pt x="230" y="290"/>
                    </a:lnTo>
                    <a:lnTo>
                      <a:pt x="222" y="298"/>
                    </a:lnTo>
                    <a:lnTo>
                      <a:pt x="218" y="302"/>
                    </a:lnTo>
                    <a:lnTo>
                      <a:pt x="214" y="308"/>
                    </a:lnTo>
                    <a:lnTo>
                      <a:pt x="212" y="312"/>
                    </a:lnTo>
                    <a:lnTo>
                      <a:pt x="208" y="316"/>
                    </a:lnTo>
                    <a:lnTo>
                      <a:pt x="206" y="316"/>
                    </a:lnTo>
                    <a:lnTo>
                      <a:pt x="202" y="318"/>
                    </a:lnTo>
                    <a:lnTo>
                      <a:pt x="198" y="326"/>
                    </a:lnTo>
                    <a:lnTo>
                      <a:pt x="196" y="336"/>
                    </a:lnTo>
                    <a:lnTo>
                      <a:pt x="194" y="340"/>
                    </a:lnTo>
                    <a:lnTo>
                      <a:pt x="190" y="344"/>
                    </a:lnTo>
                    <a:lnTo>
                      <a:pt x="184" y="344"/>
                    </a:lnTo>
                    <a:lnTo>
                      <a:pt x="178" y="344"/>
                    </a:lnTo>
                    <a:lnTo>
                      <a:pt x="172" y="344"/>
                    </a:lnTo>
                    <a:lnTo>
                      <a:pt x="170" y="344"/>
                    </a:lnTo>
                    <a:lnTo>
                      <a:pt x="162" y="338"/>
                    </a:lnTo>
                    <a:lnTo>
                      <a:pt x="156" y="332"/>
                    </a:lnTo>
                    <a:lnTo>
                      <a:pt x="152" y="330"/>
                    </a:lnTo>
                    <a:lnTo>
                      <a:pt x="144" y="330"/>
                    </a:lnTo>
                    <a:lnTo>
                      <a:pt x="140" y="328"/>
                    </a:lnTo>
                    <a:lnTo>
                      <a:pt x="136" y="326"/>
                    </a:lnTo>
                    <a:lnTo>
                      <a:pt x="132" y="320"/>
                    </a:lnTo>
                    <a:lnTo>
                      <a:pt x="132" y="318"/>
                    </a:lnTo>
                    <a:lnTo>
                      <a:pt x="130" y="314"/>
                    </a:lnTo>
                    <a:lnTo>
                      <a:pt x="126" y="310"/>
                    </a:lnTo>
                    <a:lnTo>
                      <a:pt x="124" y="304"/>
                    </a:lnTo>
                    <a:lnTo>
                      <a:pt x="122" y="298"/>
                    </a:lnTo>
                    <a:lnTo>
                      <a:pt x="116" y="296"/>
                    </a:lnTo>
                    <a:lnTo>
                      <a:pt x="114" y="290"/>
                    </a:lnTo>
                    <a:lnTo>
                      <a:pt x="112" y="284"/>
                    </a:lnTo>
                    <a:lnTo>
                      <a:pt x="112" y="278"/>
                    </a:lnTo>
                    <a:lnTo>
                      <a:pt x="118" y="276"/>
                    </a:lnTo>
                    <a:lnTo>
                      <a:pt x="124" y="272"/>
                    </a:lnTo>
                    <a:lnTo>
                      <a:pt x="114" y="272"/>
                    </a:lnTo>
                    <a:lnTo>
                      <a:pt x="110" y="270"/>
                    </a:lnTo>
                    <a:lnTo>
                      <a:pt x="108" y="266"/>
                    </a:lnTo>
                    <a:lnTo>
                      <a:pt x="110" y="262"/>
                    </a:lnTo>
                    <a:lnTo>
                      <a:pt x="110" y="260"/>
                    </a:lnTo>
                    <a:lnTo>
                      <a:pt x="108" y="256"/>
                    </a:lnTo>
                    <a:lnTo>
                      <a:pt x="116" y="256"/>
                    </a:lnTo>
                    <a:lnTo>
                      <a:pt x="122" y="252"/>
                    </a:lnTo>
                    <a:lnTo>
                      <a:pt x="116" y="250"/>
                    </a:lnTo>
                    <a:lnTo>
                      <a:pt x="112" y="248"/>
                    </a:lnTo>
                    <a:lnTo>
                      <a:pt x="100" y="244"/>
                    </a:lnTo>
                    <a:lnTo>
                      <a:pt x="114" y="240"/>
                    </a:lnTo>
                    <a:lnTo>
                      <a:pt x="124" y="236"/>
                    </a:lnTo>
                    <a:lnTo>
                      <a:pt x="114" y="236"/>
                    </a:lnTo>
                    <a:lnTo>
                      <a:pt x="106" y="236"/>
                    </a:lnTo>
                    <a:lnTo>
                      <a:pt x="108" y="230"/>
                    </a:lnTo>
                    <a:lnTo>
                      <a:pt x="110" y="226"/>
                    </a:lnTo>
                    <a:lnTo>
                      <a:pt x="114" y="222"/>
                    </a:lnTo>
                    <a:lnTo>
                      <a:pt x="120" y="218"/>
                    </a:lnTo>
                    <a:lnTo>
                      <a:pt x="132" y="212"/>
                    </a:lnTo>
                    <a:lnTo>
                      <a:pt x="142" y="208"/>
                    </a:lnTo>
                    <a:lnTo>
                      <a:pt x="146" y="204"/>
                    </a:lnTo>
                    <a:lnTo>
                      <a:pt x="152" y="198"/>
                    </a:lnTo>
                    <a:lnTo>
                      <a:pt x="158" y="182"/>
                    </a:lnTo>
                    <a:lnTo>
                      <a:pt x="152" y="180"/>
                    </a:lnTo>
                    <a:lnTo>
                      <a:pt x="142" y="180"/>
                    </a:lnTo>
                    <a:lnTo>
                      <a:pt x="138" y="180"/>
                    </a:lnTo>
                    <a:lnTo>
                      <a:pt x="132" y="180"/>
                    </a:lnTo>
                    <a:lnTo>
                      <a:pt x="142" y="182"/>
                    </a:lnTo>
                    <a:lnTo>
                      <a:pt x="140" y="188"/>
                    </a:lnTo>
                    <a:lnTo>
                      <a:pt x="136" y="190"/>
                    </a:lnTo>
                    <a:lnTo>
                      <a:pt x="132" y="192"/>
                    </a:lnTo>
                    <a:lnTo>
                      <a:pt x="126" y="192"/>
                    </a:lnTo>
                    <a:lnTo>
                      <a:pt x="120" y="192"/>
                    </a:lnTo>
                    <a:lnTo>
                      <a:pt x="116" y="190"/>
                    </a:lnTo>
                    <a:lnTo>
                      <a:pt x="114" y="188"/>
                    </a:lnTo>
                    <a:lnTo>
                      <a:pt x="114" y="182"/>
                    </a:lnTo>
                    <a:lnTo>
                      <a:pt x="114" y="180"/>
                    </a:lnTo>
                    <a:lnTo>
                      <a:pt x="118" y="176"/>
                    </a:lnTo>
                    <a:lnTo>
                      <a:pt x="124" y="174"/>
                    </a:lnTo>
                    <a:lnTo>
                      <a:pt x="132" y="172"/>
                    </a:lnTo>
                    <a:lnTo>
                      <a:pt x="146" y="172"/>
                    </a:lnTo>
                    <a:lnTo>
                      <a:pt x="156" y="170"/>
                    </a:lnTo>
                    <a:lnTo>
                      <a:pt x="148" y="162"/>
                    </a:lnTo>
                    <a:lnTo>
                      <a:pt x="144" y="156"/>
                    </a:lnTo>
                    <a:lnTo>
                      <a:pt x="142" y="154"/>
                    </a:lnTo>
                    <a:lnTo>
                      <a:pt x="136" y="154"/>
                    </a:lnTo>
                    <a:lnTo>
                      <a:pt x="134" y="156"/>
                    </a:lnTo>
                    <a:lnTo>
                      <a:pt x="130" y="160"/>
                    </a:lnTo>
                    <a:lnTo>
                      <a:pt x="126" y="160"/>
                    </a:lnTo>
                    <a:lnTo>
                      <a:pt x="120" y="158"/>
                    </a:lnTo>
                    <a:lnTo>
                      <a:pt x="118" y="154"/>
                    </a:lnTo>
                    <a:lnTo>
                      <a:pt x="134" y="126"/>
                    </a:lnTo>
                    <a:lnTo>
                      <a:pt x="130" y="126"/>
                    </a:lnTo>
                    <a:lnTo>
                      <a:pt x="128" y="120"/>
                    </a:lnTo>
                    <a:lnTo>
                      <a:pt x="130" y="114"/>
                    </a:lnTo>
                    <a:lnTo>
                      <a:pt x="132" y="110"/>
                    </a:lnTo>
                    <a:lnTo>
                      <a:pt x="126" y="110"/>
                    </a:lnTo>
                    <a:lnTo>
                      <a:pt x="122" y="108"/>
                    </a:lnTo>
                    <a:lnTo>
                      <a:pt x="118" y="104"/>
                    </a:lnTo>
                    <a:lnTo>
                      <a:pt x="116" y="98"/>
                    </a:lnTo>
                    <a:lnTo>
                      <a:pt x="108" y="98"/>
                    </a:lnTo>
                    <a:lnTo>
                      <a:pt x="98" y="96"/>
                    </a:lnTo>
                    <a:lnTo>
                      <a:pt x="88" y="92"/>
                    </a:lnTo>
                    <a:lnTo>
                      <a:pt x="78" y="90"/>
                    </a:lnTo>
                    <a:lnTo>
                      <a:pt x="62" y="92"/>
                    </a:lnTo>
                    <a:lnTo>
                      <a:pt x="50" y="94"/>
                    </a:lnTo>
                    <a:lnTo>
                      <a:pt x="38" y="96"/>
                    </a:lnTo>
                    <a:lnTo>
                      <a:pt x="28" y="96"/>
                    </a:lnTo>
                    <a:lnTo>
                      <a:pt x="24" y="96"/>
                    </a:lnTo>
                    <a:lnTo>
                      <a:pt x="22" y="92"/>
                    </a:lnTo>
                    <a:lnTo>
                      <a:pt x="16" y="88"/>
                    </a:lnTo>
                    <a:lnTo>
                      <a:pt x="18" y="88"/>
                    </a:lnTo>
                    <a:lnTo>
                      <a:pt x="10" y="86"/>
                    </a:lnTo>
                    <a:lnTo>
                      <a:pt x="8" y="84"/>
                    </a:lnTo>
                    <a:lnTo>
                      <a:pt x="6" y="80"/>
                    </a:lnTo>
                    <a:lnTo>
                      <a:pt x="8" y="78"/>
                    </a:lnTo>
                    <a:lnTo>
                      <a:pt x="12" y="76"/>
                    </a:lnTo>
                    <a:lnTo>
                      <a:pt x="18" y="74"/>
                    </a:lnTo>
                    <a:lnTo>
                      <a:pt x="36" y="76"/>
                    </a:lnTo>
                    <a:lnTo>
                      <a:pt x="46" y="74"/>
                    </a:lnTo>
                    <a:lnTo>
                      <a:pt x="50" y="72"/>
                    </a:lnTo>
                    <a:lnTo>
                      <a:pt x="54" y="70"/>
                    </a:lnTo>
                    <a:lnTo>
                      <a:pt x="22" y="70"/>
                    </a:lnTo>
                    <a:lnTo>
                      <a:pt x="8" y="72"/>
                    </a:lnTo>
                    <a:lnTo>
                      <a:pt x="6" y="72"/>
                    </a:lnTo>
                    <a:lnTo>
                      <a:pt x="2" y="72"/>
                    </a:lnTo>
                    <a:lnTo>
                      <a:pt x="0" y="68"/>
                    </a:lnTo>
                    <a:lnTo>
                      <a:pt x="0" y="62"/>
                    </a:lnTo>
                    <a:lnTo>
                      <a:pt x="0" y="60"/>
                    </a:lnTo>
                    <a:lnTo>
                      <a:pt x="4" y="58"/>
                    </a:lnTo>
                    <a:lnTo>
                      <a:pt x="10" y="56"/>
                    </a:lnTo>
                    <a:lnTo>
                      <a:pt x="24" y="56"/>
                    </a:lnTo>
                    <a:lnTo>
                      <a:pt x="42" y="56"/>
                    </a:lnTo>
                    <a:lnTo>
                      <a:pt x="66" y="54"/>
                    </a:lnTo>
                    <a:lnTo>
                      <a:pt x="88" y="50"/>
                    </a:lnTo>
                    <a:lnTo>
                      <a:pt x="98" y="48"/>
                    </a:lnTo>
                    <a:lnTo>
                      <a:pt x="104" y="44"/>
                    </a:lnTo>
                    <a:lnTo>
                      <a:pt x="92" y="42"/>
                    </a:lnTo>
                    <a:lnTo>
                      <a:pt x="100" y="38"/>
                    </a:lnTo>
                    <a:lnTo>
                      <a:pt x="110" y="36"/>
                    </a:lnTo>
                    <a:lnTo>
                      <a:pt x="130" y="34"/>
                    </a:lnTo>
                    <a:lnTo>
                      <a:pt x="138" y="34"/>
                    </a:lnTo>
                    <a:lnTo>
                      <a:pt x="144" y="32"/>
                    </a:lnTo>
                    <a:lnTo>
                      <a:pt x="158" y="28"/>
                    </a:lnTo>
                    <a:lnTo>
                      <a:pt x="170" y="22"/>
                    </a:lnTo>
                    <a:lnTo>
                      <a:pt x="176" y="20"/>
                    </a:lnTo>
                    <a:lnTo>
                      <a:pt x="184" y="20"/>
                    </a:lnTo>
                    <a:lnTo>
                      <a:pt x="208" y="16"/>
                    </a:lnTo>
                    <a:lnTo>
                      <a:pt x="234" y="16"/>
                    </a:lnTo>
                    <a:lnTo>
                      <a:pt x="232" y="22"/>
                    </a:lnTo>
                    <a:lnTo>
                      <a:pt x="244" y="22"/>
                    </a:lnTo>
                    <a:lnTo>
                      <a:pt x="256" y="20"/>
                    </a:lnTo>
                    <a:lnTo>
                      <a:pt x="270" y="16"/>
                    </a:lnTo>
                    <a:lnTo>
                      <a:pt x="282" y="16"/>
                    </a:lnTo>
                    <a:lnTo>
                      <a:pt x="288" y="16"/>
                    </a:lnTo>
                    <a:lnTo>
                      <a:pt x="294" y="14"/>
                    </a:lnTo>
                    <a:lnTo>
                      <a:pt x="308" y="6"/>
                    </a:lnTo>
                    <a:lnTo>
                      <a:pt x="360" y="6"/>
                    </a:lnTo>
                    <a:lnTo>
                      <a:pt x="364" y="8"/>
                    </a:lnTo>
                    <a:lnTo>
                      <a:pt x="368" y="10"/>
                    </a:lnTo>
                    <a:lnTo>
                      <a:pt x="380" y="8"/>
                    </a:lnTo>
                    <a:lnTo>
                      <a:pt x="392" y="4"/>
                    </a:lnTo>
                    <a:lnTo>
                      <a:pt x="408" y="2"/>
                    </a:lnTo>
                    <a:lnTo>
                      <a:pt x="420" y="0"/>
                    </a:lnTo>
                    <a:lnTo>
                      <a:pt x="426" y="0"/>
                    </a:lnTo>
                    <a:lnTo>
                      <a:pt x="432" y="2"/>
                    </a:lnTo>
                    <a:lnTo>
                      <a:pt x="438" y="6"/>
                    </a:lnTo>
                    <a:lnTo>
                      <a:pt x="440" y="12"/>
                    </a:lnTo>
                    <a:lnTo>
                      <a:pt x="482" y="12"/>
                    </a:lnTo>
                    <a:lnTo>
                      <a:pt x="486" y="8"/>
                    </a:lnTo>
                    <a:lnTo>
                      <a:pt x="492" y="6"/>
                    </a:lnTo>
                    <a:lnTo>
                      <a:pt x="500" y="6"/>
                    </a:lnTo>
                    <a:lnTo>
                      <a:pt x="520" y="8"/>
                    </a:lnTo>
                    <a:lnTo>
                      <a:pt x="538" y="12"/>
                    </a:lnTo>
                    <a:lnTo>
                      <a:pt x="538" y="16"/>
                    </a:lnTo>
                    <a:lnTo>
                      <a:pt x="492" y="16"/>
                    </a:lnTo>
                    <a:lnTo>
                      <a:pt x="492" y="18"/>
                    </a:lnTo>
                    <a:lnTo>
                      <a:pt x="524" y="18"/>
                    </a:lnTo>
                    <a:lnTo>
                      <a:pt x="524" y="16"/>
                    </a:lnTo>
                    <a:lnTo>
                      <a:pt x="532" y="16"/>
                    </a:lnTo>
                    <a:lnTo>
                      <a:pt x="528" y="20"/>
                    </a:lnTo>
                    <a:lnTo>
                      <a:pt x="524" y="22"/>
                    </a:lnTo>
                    <a:lnTo>
                      <a:pt x="628" y="22"/>
                    </a:lnTo>
                    <a:lnTo>
                      <a:pt x="626" y="26"/>
                    </a:lnTo>
                    <a:lnTo>
                      <a:pt x="624" y="28"/>
                    </a:lnTo>
                    <a:lnTo>
                      <a:pt x="622" y="30"/>
                    </a:lnTo>
                    <a:lnTo>
                      <a:pt x="618" y="30"/>
                    </a:lnTo>
                    <a:lnTo>
                      <a:pt x="602" y="32"/>
                    </a:lnTo>
                    <a:lnTo>
                      <a:pt x="590" y="32"/>
                    </a:lnTo>
                    <a:lnTo>
                      <a:pt x="580" y="34"/>
                    </a:lnTo>
                    <a:lnTo>
                      <a:pt x="570" y="36"/>
                    </a:lnTo>
                    <a:lnTo>
                      <a:pt x="556" y="40"/>
                    </a:lnTo>
                    <a:lnTo>
                      <a:pt x="564" y="40"/>
                    </a:lnTo>
                    <a:lnTo>
                      <a:pt x="554" y="42"/>
                    </a:lnTo>
                    <a:lnTo>
                      <a:pt x="550" y="44"/>
                    </a:lnTo>
                    <a:lnTo>
                      <a:pt x="552" y="46"/>
                    </a:lnTo>
                    <a:lnTo>
                      <a:pt x="534" y="54"/>
                    </a:lnTo>
                    <a:lnTo>
                      <a:pt x="526" y="60"/>
                    </a:lnTo>
                    <a:lnTo>
                      <a:pt x="522" y="68"/>
                    </a:lnTo>
                    <a:lnTo>
                      <a:pt x="532" y="66"/>
                    </a:lnTo>
                    <a:lnTo>
                      <a:pt x="544" y="64"/>
                    </a:lnTo>
                    <a:lnTo>
                      <a:pt x="546" y="68"/>
                    </a:lnTo>
                    <a:lnTo>
                      <a:pt x="546" y="72"/>
                    </a:lnTo>
                    <a:lnTo>
                      <a:pt x="552" y="72"/>
                    </a:lnTo>
                    <a:lnTo>
                      <a:pt x="554" y="74"/>
                    </a:lnTo>
                    <a:lnTo>
                      <a:pt x="558" y="76"/>
                    </a:lnTo>
                    <a:lnTo>
                      <a:pt x="552" y="80"/>
                    </a:lnTo>
                    <a:lnTo>
                      <a:pt x="548" y="80"/>
                    </a:lnTo>
                    <a:lnTo>
                      <a:pt x="532" y="82"/>
                    </a:lnTo>
                    <a:lnTo>
                      <a:pt x="520" y="82"/>
                    </a:lnTo>
                    <a:lnTo>
                      <a:pt x="516" y="84"/>
                    </a:lnTo>
                    <a:lnTo>
                      <a:pt x="514" y="88"/>
                    </a:lnTo>
                    <a:lnTo>
                      <a:pt x="524" y="90"/>
                    </a:lnTo>
                    <a:lnTo>
                      <a:pt x="534" y="90"/>
                    </a:lnTo>
                    <a:lnTo>
                      <a:pt x="536" y="96"/>
                    </a:lnTo>
                    <a:lnTo>
                      <a:pt x="540" y="98"/>
                    </a:lnTo>
                    <a:lnTo>
                      <a:pt x="544" y="100"/>
                    </a:lnTo>
                    <a:lnTo>
                      <a:pt x="550" y="102"/>
                    </a:lnTo>
                    <a:lnTo>
                      <a:pt x="542" y="106"/>
                    </a:lnTo>
                    <a:lnTo>
                      <a:pt x="536" y="108"/>
                    </a:lnTo>
                    <a:lnTo>
                      <a:pt x="532" y="106"/>
                    </a:lnTo>
                    <a:lnTo>
                      <a:pt x="522" y="106"/>
                    </a:lnTo>
                    <a:lnTo>
                      <a:pt x="526" y="108"/>
                    </a:lnTo>
                    <a:lnTo>
                      <a:pt x="530" y="110"/>
                    </a:lnTo>
                    <a:lnTo>
                      <a:pt x="524" y="114"/>
                    </a:lnTo>
                    <a:lnTo>
                      <a:pt x="520" y="116"/>
                    </a:lnTo>
                    <a:lnTo>
                      <a:pt x="504" y="116"/>
                    </a:lnTo>
                    <a:lnTo>
                      <a:pt x="514" y="120"/>
                    </a:lnTo>
                    <a:lnTo>
                      <a:pt x="516" y="124"/>
                    </a:lnTo>
                    <a:lnTo>
                      <a:pt x="520" y="126"/>
                    </a:lnTo>
                    <a:lnTo>
                      <a:pt x="476" y="126"/>
                    </a:lnTo>
                    <a:lnTo>
                      <a:pt x="480" y="128"/>
                    </a:lnTo>
                    <a:lnTo>
                      <a:pt x="484" y="130"/>
                    </a:lnTo>
                    <a:lnTo>
                      <a:pt x="492" y="134"/>
                    </a:lnTo>
                    <a:lnTo>
                      <a:pt x="498" y="138"/>
                    </a:lnTo>
                    <a:lnTo>
                      <a:pt x="500" y="140"/>
                    </a:lnTo>
                    <a:lnTo>
                      <a:pt x="502" y="144"/>
                    </a:lnTo>
                    <a:lnTo>
                      <a:pt x="500" y="148"/>
                    </a:lnTo>
                    <a:lnTo>
                      <a:pt x="498" y="150"/>
                    </a:lnTo>
                    <a:lnTo>
                      <a:pt x="490" y="148"/>
                    </a:lnTo>
                    <a:lnTo>
                      <a:pt x="482" y="144"/>
                    </a:lnTo>
                    <a:lnTo>
                      <a:pt x="474" y="138"/>
                    </a:lnTo>
                    <a:lnTo>
                      <a:pt x="470" y="138"/>
                    </a:lnTo>
                    <a:lnTo>
                      <a:pt x="466" y="138"/>
                    </a:lnTo>
                    <a:lnTo>
                      <a:pt x="472" y="142"/>
                    </a:lnTo>
                    <a:lnTo>
                      <a:pt x="486" y="148"/>
                    </a:lnTo>
                    <a:lnTo>
                      <a:pt x="498" y="154"/>
                    </a:lnTo>
                    <a:lnTo>
                      <a:pt x="500" y="156"/>
                    </a:lnTo>
                    <a:lnTo>
                      <a:pt x="502" y="160"/>
                    </a:lnTo>
                    <a:lnTo>
                      <a:pt x="500" y="168"/>
                    </a:lnTo>
                    <a:lnTo>
                      <a:pt x="498" y="172"/>
                    </a:lnTo>
                    <a:lnTo>
                      <a:pt x="492" y="174"/>
                    </a:lnTo>
                    <a:lnTo>
                      <a:pt x="484" y="176"/>
                    </a:lnTo>
                    <a:lnTo>
                      <a:pt x="476" y="174"/>
                    </a:lnTo>
                    <a:lnTo>
                      <a:pt x="470" y="172"/>
                    </a:lnTo>
                    <a:lnTo>
                      <a:pt x="468" y="168"/>
                    </a:lnTo>
                    <a:lnTo>
                      <a:pt x="466" y="160"/>
                    </a:lnTo>
                    <a:lnTo>
                      <a:pt x="448" y="158"/>
                    </a:lnTo>
                    <a:lnTo>
                      <a:pt x="434" y="154"/>
                    </a:lnTo>
                    <a:lnTo>
                      <a:pt x="444" y="158"/>
                    </a:lnTo>
                    <a:lnTo>
                      <a:pt x="454" y="162"/>
                    </a:lnTo>
                    <a:lnTo>
                      <a:pt x="450" y="166"/>
                    </a:lnTo>
                    <a:lnTo>
                      <a:pt x="444" y="170"/>
                    </a:lnTo>
                    <a:lnTo>
                      <a:pt x="446" y="174"/>
                    </a:lnTo>
                    <a:lnTo>
                      <a:pt x="450" y="178"/>
                    </a:lnTo>
                    <a:lnTo>
                      <a:pt x="462" y="180"/>
                    </a:lnTo>
                    <a:lnTo>
                      <a:pt x="474" y="180"/>
                    </a:lnTo>
                    <a:lnTo>
                      <a:pt x="490" y="180"/>
                    </a:lnTo>
                    <a:lnTo>
                      <a:pt x="488" y="18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6" name="Freeform 128"/>
              <p:cNvSpPr>
                <a:spLocks noChangeAspect="1"/>
              </p:cNvSpPr>
              <p:nvPr/>
            </p:nvSpPr>
            <p:spPr bwMode="auto">
              <a:xfrm>
                <a:off x="3209757" y="3217743"/>
                <a:ext cx="177003" cy="64408"/>
              </a:xfrm>
              <a:custGeom>
                <a:avLst/>
                <a:gdLst/>
                <a:ahLst/>
                <a:cxnLst>
                  <a:cxn ang="0">
                    <a:pos x="0" y="16"/>
                  </a:cxn>
                  <a:cxn ang="0">
                    <a:pos x="6" y="12"/>
                  </a:cxn>
                  <a:cxn ang="0">
                    <a:pos x="10" y="8"/>
                  </a:cxn>
                  <a:cxn ang="0">
                    <a:pos x="12" y="4"/>
                  </a:cxn>
                  <a:cxn ang="0">
                    <a:pos x="18" y="2"/>
                  </a:cxn>
                  <a:cxn ang="0">
                    <a:pos x="22" y="2"/>
                  </a:cxn>
                  <a:cxn ang="0">
                    <a:pos x="26" y="4"/>
                  </a:cxn>
                  <a:cxn ang="0">
                    <a:pos x="30" y="6"/>
                  </a:cxn>
                  <a:cxn ang="0">
                    <a:pos x="34" y="8"/>
                  </a:cxn>
                  <a:cxn ang="0">
                    <a:pos x="32" y="14"/>
                  </a:cxn>
                  <a:cxn ang="0">
                    <a:pos x="30" y="18"/>
                  </a:cxn>
                  <a:cxn ang="0">
                    <a:pos x="36" y="18"/>
                  </a:cxn>
                  <a:cxn ang="0">
                    <a:pos x="40" y="14"/>
                  </a:cxn>
                  <a:cxn ang="0">
                    <a:pos x="48" y="6"/>
                  </a:cxn>
                  <a:cxn ang="0">
                    <a:pos x="52" y="12"/>
                  </a:cxn>
                  <a:cxn ang="0">
                    <a:pos x="64" y="10"/>
                  </a:cxn>
                  <a:cxn ang="0">
                    <a:pos x="76" y="6"/>
                  </a:cxn>
                  <a:cxn ang="0">
                    <a:pos x="90" y="2"/>
                  </a:cxn>
                  <a:cxn ang="0">
                    <a:pos x="96" y="0"/>
                  </a:cxn>
                  <a:cxn ang="0">
                    <a:pos x="106" y="2"/>
                  </a:cxn>
                  <a:cxn ang="0">
                    <a:pos x="114" y="8"/>
                  </a:cxn>
                  <a:cxn ang="0">
                    <a:pos x="126" y="22"/>
                  </a:cxn>
                  <a:cxn ang="0">
                    <a:pos x="126" y="26"/>
                  </a:cxn>
                  <a:cxn ang="0">
                    <a:pos x="120" y="28"/>
                  </a:cxn>
                  <a:cxn ang="0">
                    <a:pos x="112" y="30"/>
                  </a:cxn>
                  <a:cxn ang="0">
                    <a:pos x="102" y="36"/>
                  </a:cxn>
                  <a:cxn ang="0">
                    <a:pos x="92" y="44"/>
                  </a:cxn>
                  <a:cxn ang="0">
                    <a:pos x="86" y="46"/>
                  </a:cxn>
                  <a:cxn ang="0">
                    <a:pos x="78" y="46"/>
                  </a:cxn>
                  <a:cxn ang="0">
                    <a:pos x="72" y="46"/>
                  </a:cxn>
                  <a:cxn ang="0">
                    <a:pos x="66" y="44"/>
                  </a:cxn>
                  <a:cxn ang="0">
                    <a:pos x="74" y="50"/>
                  </a:cxn>
                  <a:cxn ang="0">
                    <a:pos x="66" y="52"/>
                  </a:cxn>
                  <a:cxn ang="0">
                    <a:pos x="62" y="54"/>
                  </a:cxn>
                  <a:cxn ang="0">
                    <a:pos x="52" y="54"/>
                  </a:cxn>
                  <a:cxn ang="0">
                    <a:pos x="44" y="54"/>
                  </a:cxn>
                  <a:cxn ang="0">
                    <a:pos x="26" y="50"/>
                  </a:cxn>
                  <a:cxn ang="0">
                    <a:pos x="10" y="48"/>
                  </a:cxn>
                  <a:cxn ang="0">
                    <a:pos x="16" y="44"/>
                  </a:cxn>
                  <a:cxn ang="0">
                    <a:pos x="24" y="40"/>
                  </a:cxn>
                  <a:cxn ang="0">
                    <a:pos x="16" y="36"/>
                  </a:cxn>
                  <a:cxn ang="0">
                    <a:pos x="12" y="34"/>
                  </a:cxn>
                  <a:cxn ang="0">
                    <a:pos x="0" y="28"/>
                  </a:cxn>
                  <a:cxn ang="0">
                    <a:pos x="8" y="24"/>
                  </a:cxn>
                  <a:cxn ang="0">
                    <a:pos x="12" y="22"/>
                  </a:cxn>
                  <a:cxn ang="0">
                    <a:pos x="6" y="20"/>
                  </a:cxn>
                  <a:cxn ang="0">
                    <a:pos x="0" y="16"/>
                  </a:cxn>
                </a:cxnLst>
                <a:rect l="0" t="0" r="r" b="b"/>
                <a:pathLst>
                  <a:path w="126" h="54">
                    <a:moveTo>
                      <a:pt x="0" y="16"/>
                    </a:moveTo>
                    <a:lnTo>
                      <a:pt x="6" y="12"/>
                    </a:lnTo>
                    <a:lnTo>
                      <a:pt x="10" y="8"/>
                    </a:lnTo>
                    <a:lnTo>
                      <a:pt x="12" y="4"/>
                    </a:lnTo>
                    <a:lnTo>
                      <a:pt x="18" y="2"/>
                    </a:lnTo>
                    <a:lnTo>
                      <a:pt x="22" y="2"/>
                    </a:lnTo>
                    <a:lnTo>
                      <a:pt x="26" y="4"/>
                    </a:lnTo>
                    <a:lnTo>
                      <a:pt x="30" y="6"/>
                    </a:lnTo>
                    <a:lnTo>
                      <a:pt x="34" y="8"/>
                    </a:lnTo>
                    <a:lnTo>
                      <a:pt x="32" y="14"/>
                    </a:lnTo>
                    <a:lnTo>
                      <a:pt x="30" y="18"/>
                    </a:lnTo>
                    <a:lnTo>
                      <a:pt x="36" y="18"/>
                    </a:lnTo>
                    <a:lnTo>
                      <a:pt x="40" y="14"/>
                    </a:lnTo>
                    <a:lnTo>
                      <a:pt x="48" y="6"/>
                    </a:lnTo>
                    <a:lnTo>
                      <a:pt x="52" y="12"/>
                    </a:lnTo>
                    <a:lnTo>
                      <a:pt x="64" y="10"/>
                    </a:lnTo>
                    <a:lnTo>
                      <a:pt x="76" y="6"/>
                    </a:lnTo>
                    <a:lnTo>
                      <a:pt x="90" y="2"/>
                    </a:lnTo>
                    <a:lnTo>
                      <a:pt x="96" y="0"/>
                    </a:lnTo>
                    <a:lnTo>
                      <a:pt x="106" y="2"/>
                    </a:lnTo>
                    <a:lnTo>
                      <a:pt x="114" y="8"/>
                    </a:lnTo>
                    <a:lnTo>
                      <a:pt x="126" y="22"/>
                    </a:lnTo>
                    <a:lnTo>
                      <a:pt x="126" y="26"/>
                    </a:lnTo>
                    <a:lnTo>
                      <a:pt x="120" y="28"/>
                    </a:lnTo>
                    <a:lnTo>
                      <a:pt x="112" y="30"/>
                    </a:lnTo>
                    <a:lnTo>
                      <a:pt x="102" y="36"/>
                    </a:lnTo>
                    <a:lnTo>
                      <a:pt x="92" y="44"/>
                    </a:lnTo>
                    <a:lnTo>
                      <a:pt x="86" y="46"/>
                    </a:lnTo>
                    <a:lnTo>
                      <a:pt x="78" y="46"/>
                    </a:lnTo>
                    <a:lnTo>
                      <a:pt x="72" y="46"/>
                    </a:lnTo>
                    <a:lnTo>
                      <a:pt x="66" y="44"/>
                    </a:lnTo>
                    <a:lnTo>
                      <a:pt x="74" y="50"/>
                    </a:lnTo>
                    <a:lnTo>
                      <a:pt x="66" y="52"/>
                    </a:lnTo>
                    <a:lnTo>
                      <a:pt x="62" y="54"/>
                    </a:lnTo>
                    <a:lnTo>
                      <a:pt x="52" y="54"/>
                    </a:lnTo>
                    <a:lnTo>
                      <a:pt x="44" y="54"/>
                    </a:lnTo>
                    <a:lnTo>
                      <a:pt x="26" y="50"/>
                    </a:lnTo>
                    <a:lnTo>
                      <a:pt x="10" y="48"/>
                    </a:lnTo>
                    <a:lnTo>
                      <a:pt x="16" y="44"/>
                    </a:lnTo>
                    <a:lnTo>
                      <a:pt x="24" y="40"/>
                    </a:lnTo>
                    <a:lnTo>
                      <a:pt x="16" y="36"/>
                    </a:lnTo>
                    <a:lnTo>
                      <a:pt x="12" y="34"/>
                    </a:lnTo>
                    <a:lnTo>
                      <a:pt x="0" y="28"/>
                    </a:lnTo>
                    <a:lnTo>
                      <a:pt x="8" y="24"/>
                    </a:lnTo>
                    <a:lnTo>
                      <a:pt x="12" y="22"/>
                    </a:lnTo>
                    <a:lnTo>
                      <a:pt x="6" y="20"/>
                    </a:lnTo>
                    <a:lnTo>
                      <a:pt x="0" y="1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7" name="Freeform 129"/>
              <p:cNvSpPr>
                <a:spLocks noChangeAspect="1"/>
              </p:cNvSpPr>
              <p:nvPr/>
            </p:nvSpPr>
            <p:spPr bwMode="auto">
              <a:xfrm>
                <a:off x="3756981" y="2983966"/>
                <a:ext cx="197271" cy="58445"/>
              </a:xfrm>
              <a:custGeom>
                <a:avLst/>
                <a:gdLst/>
                <a:ahLst/>
                <a:cxnLst>
                  <a:cxn ang="0">
                    <a:pos x="8" y="20"/>
                  </a:cxn>
                  <a:cxn ang="0">
                    <a:pos x="6" y="20"/>
                  </a:cxn>
                  <a:cxn ang="0">
                    <a:pos x="2" y="16"/>
                  </a:cxn>
                  <a:cxn ang="0">
                    <a:pos x="0" y="8"/>
                  </a:cxn>
                  <a:cxn ang="0">
                    <a:pos x="0" y="2"/>
                  </a:cxn>
                  <a:cxn ang="0">
                    <a:pos x="4" y="2"/>
                  </a:cxn>
                  <a:cxn ang="0">
                    <a:pos x="12" y="2"/>
                  </a:cxn>
                  <a:cxn ang="0">
                    <a:pos x="26" y="2"/>
                  </a:cxn>
                  <a:cxn ang="0">
                    <a:pos x="36" y="4"/>
                  </a:cxn>
                  <a:cxn ang="0">
                    <a:pos x="54" y="10"/>
                  </a:cxn>
                  <a:cxn ang="0">
                    <a:pos x="50" y="4"/>
                  </a:cxn>
                  <a:cxn ang="0">
                    <a:pos x="54" y="2"/>
                  </a:cxn>
                  <a:cxn ang="0">
                    <a:pos x="60" y="0"/>
                  </a:cxn>
                  <a:cxn ang="0">
                    <a:pos x="62" y="0"/>
                  </a:cxn>
                  <a:cxn ang="0">
                    <a:pos x="66" y="2"/>
                  </a:cxn>
                  <a:cxn ang="0">
                    <a:pos x="70" y="2"/>
                  </a:cxn>
                  <a:cxn ang="0">
                    <a:pos x="74" y="2"/>
                  </a:cxn>
                  <a:cxn ang="0">
                    <a:pos x="78" y="10"/>
                  </a:cxn>
                  <a:cxn ang="0">
                    <a:pos x="82" y="12"/>
                  </a:cxn>
                  <a:cxn ang="0">
                    <a:pos x="93" y="12"/>
                  </a:cxn>
                  <a:cxn ang="0">
                    <a:pos x="119" y="20"/>
                  </a:cxn>
                  <a:cxn ang="0">
                    <a:pos x="133" y="26"/>
                  </a:cxn>
                  <a:cxn ang="0">
                    <a:pos x="143" y="30"/>
                  </a:cxn>
                  <a:cxn ang="0">
                    <a:pos x="135" y="36"/>
                  </a:cxn>
                  <a:cxn ang="0">
                    <a:pos x="127" y="38"/>
                  </a:cxn>
                  <a:cxn ang="0">
                    <a:pos x="119" y="38"/>
                  </a:cxn>
                  <a:cxn ang="0">
                    <a:pos x="115" y="34"/>
                  </a:cxn>
                  <a:cxn ang="0">
                    <a:pos x="107" y="28"/>
                  </a:cxn>
                  <a:cxn ang="0">
                    <a:pos x="97" y="20"/>
                  </a:cxn>
                  <a:cxn ang="0">
                    <a:pos x="93" y="18"/>
                  </a:cxn>
                  <a:cxn ang="0">
                    <a:pos x="89" y="16"/>
                  </a:cxn>
                  <a:cxn ang="0">
                    <a:pos x="82" y="18"/>
                  </a:cxn>
                  <a:cxn ang="0">
                    <a:pos x="80" y="22"/>
                  </a:cxn>
                  <a:cxn ang="0">
                    <a:pos x="80" y="34"/>
                  </a:cxn>
                  <a:cxn ang="0">
                    <a:pos x="76" y="34"/>
                  </a:cxn>
                  <a:cxn ang="0">
                    <a:pos x="74" y="36"/>
                  </a:cxn>
                  <a:cxn ang="0">
                    <a:pos x="70" y="42"/>
                  </a:cxn>
                  <a:cxn ang="0">
                    <a:pos x="68" y="48"/>
                  </a:cxn>
                  <a:cxn ang="0">
                    <a:pos x="66" y="50"/>
                  </a:cxn>
                  <a:cxn ang="0">
                    <a:pos x="62" y="50"/>
                  </a:cxn>
                  <a:cxn ang="0">
                    <a:pos x="56" y="48"/>
                  </a:cxn>
                  <a:cxn ang="0">
                    <a:pos x="48" y="46"/>
                  </a:cxn>
                  <a:cxn ang="0">
                    <a:pos x="34" y="34"/>
                  </a:cxn>
                  <a:cxn ang="0">
                    <a:pos x="24" y="26"/>
                  </a:cxn>
                  <a:cxn ang="0">
                    <a:pos x="16" y="22"/>
                  </a:cxn>
                  <a:cxn ang="0">
                    <a:pos x="8" y="20"/>
                  </a:cxn>
                </a:cxnLst>
                <a:rect l="0" t="0" r="r" b="b"/>
                <a:pathLst>
                  <a:path w="143" h="50">
                    <a:moveTo>
                      <a:pt x="8" y="20"/>
                    </a:moveTo>
                    <a:lnTo>
                      <a:pt x="6" y="20"/>
                    </a:lnTo>
                    <a:lnTo>
                      <a:pt x="2" y="16"/>
                    </a:lnTo>
                    <a:lnTo>
                      <a:pt x="0" y="8"/>
                    </a:lnTo>
                    <a:lnTo>
                      <a:pt x="0" y="2"/>
                    </a:lnTo>
                    <a:lnTo>
                      <a:pt x="4" y="2"/>
                    </a:lnTo>
                    <a:lnTo>
                      <a:pt x="12" y="2"/>
                    </a:lnTo>
                    <a:lnTo>
                      <a:pt x="26" y="2"/>
                    </a:lnTo>
                    <a:lnTo>
                      <a:pt x="36" y="4"/>
                    </a:lnTo>
                    <a:lnTo>
                      <a:pt x="54" y="10"/>
                    </a:lnTo>
                    <a:lnTo>
                      <a:pt x="50" y="4"/>
                    </a:lnTo>
                    <a:lnTo>
                      <a:pt x="54" y="2"/>
                    </a:lnTo>
                    <a:lnTo>
                      <a:pt x="60" y="0"/>
                    </a:lnTo>
                    <a:lnTo>
                      <a:pt x="62" y="0"/>
                    </a:lnTo>
                    <a:lnTo>
                      <a:pt x="66" y="2"/>
                    </a:lnTo>
                    <a:lnTo>
                      <a:pt x="70" y="2"/>
                    </a:lnTo>
                    <a:lnTo>
                      <a:pt x="74" y="2"/>
                    </a:lnTo>
                    <a:lnTo>
                      <a:pt x="78" y="10"/>
                    </a:lnTo>
                    <a:lnTo>
                      <a:pt x="82" y="12"/>
                    </a:lnTo>
                    <a:lnTo>
                      <a:pt x="93" y="12"/>
                    </a:lnTo>
                    <a:lnTo>
                      <a:pt x="119" y="20"/>
                    </a:lnTo>
                    <a:lnTo>
                      <a:pt x="133" y="26"/>
                    </a:lnTo>
                    <a:lnTo>
                      <a:pt x="143" y="30"/>
                    </a:lnTo>
                    <a:lnTo>
                      <a:pt x="135" y="36"/>
                    </a:lnTo>
                    <a:lnTo>
                      <a:pt x="127" y="38"/>
                    </a:lnTo>
                    <a:lnTo>
                      <a:pt x="119" y="38"/>
                    </a:lnTo>
                    <a:lnTo>
                      <a:pt x="115" y="34"/>
                    </a:lnTo>
                    <a:lnTo>
                      <a:pt x="107" y="28"/>
                    </a:lnTo>
                    <a:lnTo>
                      <a:pt x="97" y="20"/>
                    </a:lnTo>
                    <a:lnTo>
                      <a:pt x="93" y="18"/>
                    </a:lnTo>
                    <a:lnTo>
                      <a:pt x="89" y="16"/>
                    </a:lnTo>
                    <a:lnTo>
                      <a:pt x="82" y="18"/>
                    </a:lnTo>
                    <a:lnTo>
                      <a:pt x="80" y="22"/>
                    </a:lnTo>
                    <a:lnTo>
                      <a:pt x="80" y="34"/>
                    </a:lnTo>
                    <a:lnTo>
                      <a:pt x="76" y="34"/>
                    </a:lnTo>
                    <a:lnTo>
                      <a:pt x="74" y="36"/>
                    </a:lnTo>
                    <a:lnTo>
                      <a:pt x="70" y="42"/>
                    </a:lnTo>
                    <a:lnTo>
                      <a:pt x="68" y="48"/>
                    </a:lnTo>
                    <a:lnTo>
                      <a:pt x="66" y="50"/>
                    </a:lnTo>
                    <a:lnTo>
                      <a:pt x="62" y="50"/>
                    </a:lnTo>
                    <a:lnTo>
                      <a:pt x="56" y="48"/>
                    </a:lnTo>
                    <a:lnTo>
                      <a:pt x="48" y="46"/>
                    </a:lnTo>
                    <a:lnTo>
                      <a:pt x="34" y="34"/>
                    </a:lnTo>
                    <a:lnTo>
                      <a:pt x="24" y="26"/>
                    </a:lnTo>
                    <a:lnTo>
                      <a:pt x="16" y="22"/>
                    </a:lnTo>
                    <a:lnTo>
                      <a:pt x="8" y="2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8" name="Freeform 130"/>
              <p:cNvSpPr>
                <a:spLocks noChangeAspect="1"/>
              </p:cNvSpPr>
              <p:nvPr/>
            </p:nvSpPr>
            <p:spPr bwMode="auto">
              <a:xfrm>
                <a:off x="3863724" y="2975617"/>
                <a:ext cx="118903" cy="21469"/>
              </a:xfrm>
              <a:custGeom>
                <a:avLst/>
                <a:gdLst/>
                <a:ahLst/>
                <a:cxnLst>
                  <a:cxn ang="0">
                    <a:pos x="31" y="18"/>
                  </a:cxn>
                  <a:cxn ang="0">
                    <a:pos x="23" y="16"/>
                  </a:cxn>
                  <a:cxn ang="0">
                    <a:pos x="15" y="14"/>
                  </a:cxn>
                  <a:cxn ang="0">
                    <a:pos x="6" y="10"/>
                  </a:cxn>
                  <a:cxn ang="0">
                    <a:pos x="0" y="6"/>
                  </a:cxn>
                  <a:cxn ang="0">
                    <a:pos x="6" y="4"/>
                  </a:cxn>
                  <a:cxn ang="0">
                    <a:pos x="13" y="2"/>
                  </a:cxn>
                  <a:cxn ang="0">
                    <a:pos x="21" y="0"/>
                  </a:cxn>
                  <a:cxn ang="0">
                    <a:pos x="27" y="2"/>
                  </a:cxn>
                  <a:cxn ang="0">
                    <a:pos x="41" y="4"/>
                  </a:cxn>
                  <a:cxn ang="0">
                    <a:pos x="55" y="4"/>
                  </a:cxn>
                  <a:cxn ang="0">
                    <a:pos x="71" y="6"/>
                  </a:cxn>
                  <a:cxn ang="0">
                    <a:pos x="85" y="8"/>
                  </a:cxn>
                  <a:cxn ang="0">
                    <a:pos x="79" y="12"/>
                  </a:cxn>
                  <a:cxn ang="0">
                    <a:pos x="73" y="14"/>
                  </a:cxn>
                  <a:cxn ang="0">
                    <a:pos x="67" y="18"/>
                  </a:cxn>
                  <a:cxn ang="0">
                    <a:pos x="63" y="18"/>
                  </a:cxn>
                  <a:cxn ang="0">
                    <a:pos x="47" y="18"/>
                  </a:cxn>
                  <a:cxn ang="0">
                    <a:pos x="31" y="18"/>
                  </a:cxn>
                </a:cxnLst>
                <a:rect l="0" t="0" r="r" b="b"/>
                <a:pathLst>
                  <a:path w="85" h="18">
                    <a:moveTo>
                      <a:pt x="31" y="18"/>
                    </a:moveTo>
                    <a:lnTo>
                      <a:pt x="23" y="16"/>
                    </a:lnTo>
                    <a:lnTo>
                      <a:pt x="15" y="14"/>
                    </a:lnTo>
                    <a:lnTo>
                      <a:pt x="6" y="10"/>
                    </a:lnTo>
                    <a:lnTo>
                      <a:pt x="0" y="6"/>
                    </a:lnTo>
                    <a:lnTo>
                      <a:pt x="6" y="4"/>
                    </a:lnTo>
                    <a:lnTo>
                      <a:pt x="13" y="2"/>
                    </a:lnTo>
                    <a:lnTo>
                      <a:pt x="21" y="0"/>
                    </a:lnTo>
                    <a:lnTo>
                      <a:pt x="27" y="2"/>
                    </a:lnTo>
                    <a:lnTo>
                      <a:pt x="41" y="4"/>
                    </a:lnTo>
                    <a:lnTo>
                      <a:pt x="55" y="4"/>
                    </a:lnTo>
                    <a:lnTo>
                      <a:pt x="71" y="6"/>
                    </a:lnTo>
                    <a:lnTo>
                      <a:pt x="85" y="8"/>
                    </a:lnTo>
                    <a:lnTo>
                      <a:pt x="79" y="12"/>
                    </a:lnTo>
                    <a:lnTo>
                      <a:pt x="73" y="14"/>
                    </a:lnTo>
                    <a:lnTo>
                      <a:pt x="67" y="18"/>
                    </a:lnTo>
                    <a:lnTo>
                      <a:pt x="63" y="18"/>
                    </a:lnTo>
                    <a:lnTo>
                      <a:pt x="47" y="18"/>
                    </a:lnTo>
                    <a:lnTo>
                      <a:pt x="31" y="1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19" name="Freeform 131"/>
              <p:cNvSpPr>
                <a:spLocks noChangeAspect="1"/>
              </p:cNvSpPr>
              <p:nvPr/>
            </p:nvSpPr>
            <p:spPr bwMode="auto">
              <a:xfrm>
                <a:off x="3917770" y="3656674"/>
                <a:ext cx="77016" cy="47710"/>
              </a:xfrm>
              <a:custGeom>
                <a:avLst/>
                <a:gdLst/>
                <a:ahLst/>
                <a:cxnLst>
                  <a:cxn ang="0">
                    <a:pos x="46" y="6"/>
                  </a:cxn>
                  <a:cxn ang="0">
                    <a:pos x="48" y="16"/>
                  </a:cxn>
                  <a:cxn ang="0">
                    <a:pos x="54" y="22"/>
                  </a:cxn>
                  <a:cxn ang="0">
                    <a:pos x="52" y="28"/>
                  </a:cxn>
                  <a:cxn ang="0">
                    <a:pos x="44" y="30"/>
                  </a:cxn>
                  <a:cxn ang="0">
                    <a:pos x="40" y="38"/>
                  </a:cxn>
                  <a:cxn ang="0">
                    <a:pos x="30" y="32"/>
                  </a:cxn>
                  <a:cxn ang="0">
                    <a:pos x="28" y="30"/>
                  </a:cxn>
                  <a:cxn ang="0">
                    <a:pos x="16" y="26"/>
                  </a:cxn>
                  <a:cxn ang="0">
                    <a:pos x="10" y="20"/>
                  </a:cxn>
                  <a:cxn ang="0">
                    <a:pos x="6" y="14"/>
                  </a:cxn>
                  <a:cxn ang="0">
                    <a:pos x="0" y="6"/>
                  </a:cxn>
                  <a:cxn ang="0">
                    <a:pos x="0" y="2"/>
                  </a:cxn>
                  <a:cxn ang="0">
                    <a:pos x="6" y="2"/>
                  </a:cxn>
                  <a:cxn ang="0">
                    <a:pos x="12" y="0"/>
                  </a:cxn>
                  <a:cxn ang="0">
                    <a:pos x="20" y="0"/>
                  </a:cxn>
                  <a:cxn ang="0">
                    <a:pos x="36" y="0"/>
                  </a:cxn>
                  <a:cxn ang="0">
                    <a:pos x="40" y="6"/>
                  </a:cxn>
                  <a:cxn ang="0">
                    <a:pos x="46" y="6"/>
                  </a:cxn>
                </a:cxnLst>
                <a:rect l="0" t="0" r="r" b="b"/>
                <a:pathLst>
                  <a:path w="54" h="38">
                    <a:moveTo>
                      <a:pt x="46" y="6"/>
                    </a:moveTo>
                    <a:lnTo>
                      <a:pt x="48" y="16"/>
                    </a:lnTo>
                    <a:lnTo>
                      <a:pt x="54" y="22"/>
                    </a:lnTo>
                    <a:lnTo>
                      <a:pt x="52" y="28"/>
                    </a:lnTo>
                    <a:lnTo>
                      <a:pt x="44" y="30"/>
                    </a:lnTo>
                    <a:lnTo>
                      <a:pt x="40" y="38"/>
                    </a:lnTo>
                    <a:lnTo>
                      <a:pt x="30" y="32"/>
                    </a:lnTo>
                    <a:lnTo>
                      <a:pt x="28" y="30"/>
                    </a:lnTo>
                    <a:lnTo>
                      <a:pt x="16" y="26"/>
                    </a:lnTo>
                    <a:lnTo>
                      <a:pt x="10" y="20"/>
                    </a:lnTo>
                    <a:lnTo>
                      <a:pt x="6" y="14"/>
                    </a:lnTo>
                    <a:lnTo>
                      <a:pt x="0" y="6"/>
                    </a:lnTo>
                    <a:lnTo>
                      <a:pt x="0" y="2"/>
                    </a:lnTo>
                    <a:lnTo>
                      <a:pt x="6" y="2"/>
                    </a:lnTo>
                    <a:lnTo>
                      <a:pt x="12" y="0"/>
                    </a:lnTo>
                    <a:lnTo>
                      <a:pt x="20" y="0"/>
                    </a:lnTo>
                    <a:lnTo>
                      <a:pt x="36" y="0"/>
                    </a:lnTo>
                    <a:lnTo>
                      <a:pt x="40" y="6"/>
                    </a:lnTo>
                    <a:lnTo>
                      <a:pt x="46"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0" name="Freeform 132"/>
              <p:cNvSpPr>
                <a:spLocks noChangeAspect="1"/>
              </p:cNvSpPr>
              <p:nvPr/>
            </p:nvSpPr>
            <p:spPr bwMode="auto">
              <a:xfrm>
                <a:off x="3896152" y="3629241"/>
                <a:ext cx="89177" cy="64408"/>
              </a:xfrm>
              <a:custGeom>
                <a:avLst/>
                <a:gdLst/>
                <a:ahLst/>
                <a:cxnLst>
                  <a:cxn ang="0">
                    <a:pos x="28" y="0"/>
                  </a:cxn>
                  <a:cxn ang="0">
                    <a:pos x="38" y="10"/>
                  </a:cxn>
                  <a:cxn ang="0">
                    <a:pos x="44" y="12"/>
                  </a:cxn>
                  <a:cxn ang="0">
                    <a:pos x="48" y="12"/>
                  </a:cxn>
                  <a:cxn ang="0">
                    <a:pos x="58" y="10"/>
                  </a:cxn>
                  <a:cxn ang="0">
                    <a:pos x="64" y="24"/>
                  </a:cxn>
                  <a:cxn ang="0">
                    <a:pos x="62" y="30"/>
                  </a:cxn>
                  <a:cxn ang="0">
                    <a:pos x="56" y="30"/>
                  </a:cxn>
                  <a:cxn ang="0">
                    <a:pos x="52" y="24"/>
                  </a:cxn>
                  <a:cxn ang="0">
                    <a:pos x="36" y="24"/>
                  </a:cxn>
                  <a:cxn ang="0">
                    <a:pos x="28" y="24"/>
                  </a:cxn>
                  <a:cxn ang="0">
                    <a:pos x="22" y="26"/>
                  </a:cxn>
                  <a:cxn ang="0">
                    <a:pos x="16" y="26"/>
                  </a:cxn>
                  <a:cxn ang="0">
                    <a:pos x="16" y="30"/>
                  </a:cxn>
                  <a:cxn ang="0">
                    <a:pos x="22" y="38"/>
                  </a:cxn>
                  <a:cxn ang="0">
                    <a:pos x="26" y="44"/>
                  </a:cxn>
                  <a:cxn ang="0">
                    <a:pos x="32" y="50"/>
                  </a:cxn>
                  <a:cxn ang="0">
                    <a:pos x="18" y="52"/>
                  </a:cxn>
                  <a:cxn ang="0">
                    <a:pos x="8" y="36"/>
                  </a:cxn>
                  <a:cxn ang="0">
                    <a:pos x="0" y="18"/>
                  </a:cxn>
                  <a:cxn ang="0">
                    <a:pos x="8" y="18"/>
                  </a:cxn>
                  <a:cxn ang="0">
                    <a:pos x="12" y="10"/>
                  </a:cxn>
                  <a:cxn ang="0">
                    <a:pos x="14" y="4"/>
                  </a:cxn>
                  <a:cxn ang="0">
                    <a:pos x="28" y="0"/>
                  </a:cxn>
                </a:cxnLst>
                <a:rect l="0" t="0" r="r" b="b"/>
                <a:pathLst>
                  <a:path w="64" h="52">
                    <a:moveTo>
                      <a:pt x="28" y="0"/>
                    </a:moveTo>
                    <a:lnTo>
                      <a:pt x="38" y="10"/>
                    </a:lnTo>
                    <a:lnTo>
                      <a:pt x="44" y="12"/>
                    </a:lnTo>
                    <a:lnTo>
                      <a:pt x="48" y="12"/>
                    </a:lnTo>
                    <a:lnTo>
                      <a:pt x="58" y="10"/>
                    </a:lnTo>
                    <a:lnTo>
                      <a:pt x="64" y="24"/>
                    </a:lnTo>
                    <a:lnTo>
                      <a:pt x="62" y="30"/>
                    </a:lnTo>
                    <a:lnTo>
                      <a:pt x="56" y="30"/>
                    </a:lnTo>
                    <a:lnTo>
                      <a:pt x="52" y="24"/>
                    </a:lnTo>
                    <a:lnTo>
                      <a:pt x="36" y="24"/>
                    </a:lnTo>
                    <a:lnTo>
                      <a:pt x="28" y="24"/>
                    </a:lnTo>
                    <a:lnTo>
                      <a:pt x="22" y="26"/>
                    </a:lnTo>
                    <a:lnTo>
                      <a:pt x="16" y="26"/>
                    </a:lnTo>
                    <a:lnTo>
                      <a:pt x="16" y="30"/>
                    </a:lnTo>
                    <a:lnTo>
                      <a:pt x="22" y="38"/>
                    </a:lnTo>
                    <a:lnTo>
                      <a:pt x="26" y="44"/>
                    </a:lnTo>
                    <a:lnTo>
                      <a:pt x="32" y="50"/>
                    </a:lnTo>
                    <a:lnTo>
                      <a:pt x="18" y="52"/>
                    </a:lnTo>
                    <a:lnTo>
                      <a:pt x="8" y="36"/>
                    </a:lnTo>
                    <a:lnTo>
                      <a:pt x="0" y="18"/>
                    </a:lnTo>
                    <a:lnTo>
                      <a:pt x="8" y="18"/>
                    </a:lnTo>
                    <a:lnTo>
                      <a:pt x="12" y="10"/>
                    </a:lnTo>
                    <a:lnTo>
                      <a:pt x="14" y="4"/>
                    </a:lnTo>
                    <a:lnTo>
                      <a:pt x="28"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1" name="Freeform 133"/>
              <p:cNvSpPr>
                <a:spLocks noChangeAspect="1"/>
              </p:cNvSpPr>
              <p:nvPr/>
            </p:nvSpPr>
            <p:spPr bwMode="auto">
              <a:xfrm>
                <a:off x="3946145" y="3150951"/>
                <a:ext cx="204027" cy="199189"/>
              </a:xfrm>
              <a:custGeom>
                <a:avLst/>
                <a:gdLst/>
                <a:ahLst/>
                <a:cxnLst>
                  <a:cxn ang="0">
                    <a:pos x="92" y="20"/>
                  </a:cxn>
                  <a:cxn ang="0">
                    <a:pos x="90" y="26"/>
                  </a:cxn>
                  <a:cxn ang="0">
                    <a:pos x="92" y="32"/>
                  </a:cxn>
                  <a:cxn ang="0">
                    <a:pos x="108" y="36"/>
                  </a:cxn>
                  <a:cxn ang="0">
                    <a:pos x="110" y="40"/>
                  </a:cxn>
                  <a:cxn ang="0">
                    <a:pos x="108" y="48"/>
                  </a:cxn>
                  <a:cxn ang="0">
                    <a:pos x="104" y="54"/>
                  </a:cxn>
                  <a:cxn ang="0">
                    <a:pos x="108" y="54"/>
                  </a:cxn>
                  <a:cxn ang="0">
                    <a:pos x="114" y="64"/>
                  </a:cxn>
                  <a:cxn ang="0">
                    <a:pos x="120" y="82"/>
                  </a:cxn>
                  <a:cxn ang="0">
                    <a:pos x="126" y="88"/>
                  </a:cxn>
                  <a:cxn ang="0">
                    <a:pos x="128" y="98"/>
                  </a:cxn>
                  <a:cxn ang="0">
                    <a:pos x="130" y="108"/>
                  </a:cxn>
                  <a:cxn ang="0">
                    <a:pos x="146" y="118"/>
                  </a:cxn>
                  <a:cxn ang="0">
                    <a:pos x="136" y="132"/>
                  </a:cxn>
                  <a:cxn ang="0">
                    <a:pos x="122" y="144"/>
                  </a:cxn>
                  <a:cxn ang="0">
                    <a:pos x="112" y="154"/>
                  </a:cxn>
                  <a:cxn ang="0">
                    <a:pos x="96" y="158"/>
                  </a:cxn>
                  <a:cxn ang="0">
                    <a:pos x="88" y="162"/>
                  </a:cxn>
                  <a:cxn ang="0">
                    <a:pos x="78" y="162"/>
                  </a:cxn>
                  <a:cxn ang="0">
                    <a:pos x="64" y="164"/>
                  </a:cxn>
                  <a:cxn ang="0">
                    <a:pos x="44" y="166"/>
                  </a:cxn>
                  <a:cxn ang="0">
                    <a:pos x="36" y="160"/>
                  </a:cxn>
                  <a:cxn ang="0">
                    <a:pos x="32" y="156"/>
                  </a:cxn>
                  <a:cxn ang="0">
                    <a:pos x="24" y="138"/>
                  </a:cxn>
                  <a:cxn ang="0">
                    <a:pos x="22" y="108"/>
                  </a:cxn>
                  <a:cxn ang="0">
                    <a:pos x="34" y="100"/>
                  </a:cxn>
                  <a:cxn ang="0">
                    <a:pos x="50" y="90"/>
                  </a:cxn>
                  <a:cxn ang="0">
                    <a:pos x="62" y="80"/>
                  </a:cxn>
                  <a:cxn ang="0">
                    <a:pos x="54" y="74"/>
                  </a:cxn>
                  <a:cxn ang="0">
                    <a:pos x="40" y="62"/>
                  </a:cxn>
                  <a:cxn ang="0">
                    <a:pos x="36" y="46"/>
                  </a:cxn>
                  <a:cxn ang="0">
                    <a:pos x="26" y="28"/>
                  </a:cxn>
                  <a:cxn ang="0">
                    <a:pos x="8" y="22"/>
                  </a:cxn>
                  <a:cxn ang="0">
                    <a:pos x="4" y="16"/>
                  </a:cxn>
                  <a:cxn ang="0">
                    <a:pos x="8" y="16"/>
                  </a:cxn>
                  <a:cxn ang="0">
                    <a:pos x="26" y="20"/>
                  </a:cxn>
                  <a:cxn ang="0">
                    <a:pos x="46" y="26"/>
                  </a:cxn>
                  <a:cxn ang="0">
                    <a:pos x="56" y="22"/>
                  </a:cxn>
                  <a:cxn ang="0">
                    <a:pos x="60" y="14"/>
                  </a:cxn>
                  <a:cxn ang="0">
                    <a:pos x="62" y="4"/>
                  </a:cxn>
                  <a:cxn ang="0">
                    <a:pos x="70" y="0"/>
                  </a:cxn>
                  <a:cxn ang="0">
                    <a:pos x="90" y="6"/>
                  </a:cxn>
                  <a:cxn ang="0">
                    <a:pos x="104" y="14"/>
                  </a:cxn>
                </a:cxnLst>
                <a:rect l="0" t="0" r="r" b="b"/>
                <a:pathLst>
                  <a:path w="146" h="168">
                    <a:moveTo>
                      <a:pt x="98" y="16"/>
                    </a:moveTo>
                    <a:lnTo>
                      <a:pt x="92" y="20"/>
                    </a:lnTo>
                    <a:lnTo>
                      <a:pt x="90" y="24"/>
                    </a:lnTo>
                    <a:lnTo>
                      <a:pt x="90" y="26"/>
                    </a:lnTo>
                    <a:lnTo>
                      <a:pt x="90" y="30"/>
                    </a:lnTo>
                    <a:lnTo>
                      <a:pt x="92" y="32"/>
                    </a:lnTo>
                    <a:lnTo>
                      <a:pt x="100" y="34"/>
                    </a:lnTo>
                    <a:lnTo>
                      <a:pt x="108" y="36"/>
                    </a:lnTo>
                    <a:lnTo>
                      <a:pt x="110" y="38"/>
                    </a:lnTo>
                    <a:lnTo>
                      <a:pt x="110" y="40"/>
                    </a:lnTo>
                    <a:lnTo>
                      <a:pt x="110" y="44"/>
                    </a:lnTo>
                    <a:lnTo>
                      <a:pt x="108" y="48"/>
                    </a:lnTo>
                    <a:lnTo>
                      <a:pt x="104" y="50"/>
                    </a:lnTo>
                    <a:lnTo>
                      <a:pt x="104" y="54"/>
                    </a:lnTo>
                    <a:lnTo>
                      <a:pt x="106" y="56"/>
                    </a:lnTo>
                    <a:lnTo>
                      <a:pt x="108" y="54"/>
                    </a:lnTo>
                    <a:lnTo>
                      <a:pt x="114" y="54"/>
                    </a:lnTo>
                    <a:lnTo>
                      <a:pt x="114" y="64"/>
                    </a:lnTo>
                    <a:lnTo>
                      <a:pt x="118" y="76"/>
                    </a:lnTo>
                    <a:lnTo>
                      <a:pt x="120" y="82"/>
                    </a:lnTo>
                    <a:lnTo>
                      <a:pt x="122" y="86"/>
                    </a:lnTo>
                    <a:lnTo>
                      <a:pt x="126" y="88"/>
                    </a:lnTo>
                    <a:lnTo>
                      <a:pt x="126" y="92"/>
                    </a:lnTo>
                    <a:lnTo>
                      <a:pt x="128" y="98"/>
                    </a:lnTo>
                    <a:lnTo>
                      <a:pt x="130" y="102"/>
                    </a:lnTo>
                    <a:lnTo>
                      <a:pt x="130" y="108"/>
                    </a:lnTo>
                    <a:lnTo>
                      <a:pt x="140" y="112"/>
                    </a:lnTo>
                    <a:lnTo>
                      <a:pt x="146" y="118"/>
                    </a:lnTo>
                    <a:lnTo>
                      <a:pt x="146" y="130"/>
                    </a:lnTo>
                    <a:lnTo>
                      <a:pt x="136" y="132"/>
                    </a:lnTo>
                    <a:lnTo>
                      <a:pt x="128" y="138"/>
                    </a:lnTo>
                    <a:lnTo>
                      <a:pt x="122" y="144"/>
                    </a:lnTo>
                    <a:lnTo>
                      <a:pt x="118" y="150"/>
                    </a:lnTo>
                    <a:lnTo>
                      <a:pt x="112" y="154"/>
                    </a:lnTo>
                    <a:lnTo>
                      <a:pt x="106" y="158"/>
                    </a:lnTo>
                    <a:lnTo>
                      <a:pt x="96" y="158"/>
                    </a:lnTo>
                    <a:lnTo>
                      <a:pt x="90" y="160"/>
                    </a:lnTo>
                    <a:lnTo>
                      <a:pt x="88" y="162"/>
                    </a:lnTo>
                    <a:lnTo>
                      <a:pt x="86" y="162"/>
                    </a:lnTo>
                    <a:lnTo>
                      <a:pt x="78" y="162"/>
                    </a:lnTo>
                    <a:lnTo>
                      <a:pt x="70" y="164"/>
                    </a:lnTo>
                    <a:lnTo>
                      <a:pt x="64" y="164"/>
                    </a:lnTo>
                    <a:lnTo>
                      <a:pt x="50" y="168"/>
                    </a:lnTo>
                    <a:lnTo>
                      <a:pt x="44" y="166"/>
                    </a:lnTo>
                    <a:lnTo>
                      <a:pt x="40" y="162"/>
                    </a:lnTo>
                    <a:lnTo>
                      <a:pt x="36" y="160"/>
                    </a:lnTo>
                    <a:lnTo>
                      <a:pt x="34" y="158"/>
                    </a:lnTo>
                    <a:lnTo>
                      <a:pt x="32" y="156"/>
                    </a:lnTo>
                    <a:lnTo>
                      <a:pt x="28" y="152"/>
                    </a:lnTo>
                    <a:lnTo>
                      <a:pt x="24" y="138"/>
                    </a:lnTo>
                    <a:lnTo>
                      <a:pt x="20" y="118"/>
                    </a:lnTo>
                    <a:lnTo>
                      <a:pt x="22" y="108"/>
                    </a:lnTo>
                    <a:lnTo>
                      <a:pt x="26" y="104"/>
                    </a:lnTo>
                    <a:lnTo>
                      <a:pt x="34" y="100"/>
                    </a:lnTo>
                    <a:lnTo>
                      <a:pt x="40" y="94"/>
                    </a:lnTo>
                    <a:lnTo>
                      <a:pt x="50" y="90"/>
                    </a:lnTo>
                    <a:lnTo>
                      <a:pt x="58" y="86"/>
                    </a:lnTo>
                    <a:lnTo>
                      <a:pt x="62" y="80"/>
                    </a:lnTo>
                    <a:lnTo>
                      <a:pt x="64" y="74"/>
                    </a:lnTo>
                    <a:lnTo>
                      <a:pt x="54" y="74"/>
                    </a:lnTo>
                    <a:lnTo>
                      <a:pt x="44" y="74"/>
                    </a:lnTo>
                    <a:lnTo>
                      <a:pt x="40" y="62"/>
                    </a:lnTo>
                    <a:lnTo>
                      <a:pt x="38" y="54"/>
                    </a:lnTo>
                    <a:lnTo>
                      <a:pt x="36" y="46"/>
                    </a:lnTo>
                    <a:lnTo>
                      <a:pt x="32" y="34"/>
                    </a:lnTo>
                    <a:lnTo>
                      <a:pt x="26" y="28"/>
                    </a:lnTo>
                    <a:lnTo>
                      <a:pt x="16" y="26"/>
                    </a:lnTo>
                    <a:lnTo>
                      <a:pt x="8" y="22"/>
                    </a:lnTo>
                    <a:lnTo>
                      <a:pt x="0" y="18"/>
                    </a:lnTo>
                    <a:lnTo>
                      <a:pt x="4" y="16"/>
                    </a:lnTo>
                    <a:lnTo>
                      <a:pt x="6" y="16"/>
                    </a:lnTo>
                    <a:lnTo>
                      <a:pt x="8" y="16"/>
                    </a:lnTo>
                    <a:lnTo>
                      <a:pt x="16" y="18"/>
                    </a:lnTo>
                    <a:lnTo>
                      <a:pt x="26" y="20"/>
                    </a:lnTo>
                    <a:lnTo>
                      <a:pt x="36" y="24"/>
                    </a:lnTo>
                    <a:lnTo>
                      <a:pt x="46" y="26"/>
                    </a:lnTo>
                    <a:lnTo>
                      <a:pt x="52" y="26"/>
                    </a:lnTo>
                    <a:lnTo>
                      <a:pt x="56" y="22"/>
                    </a:lnTo>
                    <a:lnTo>
                      <a:pt x="58" y="18"/>
                    </a:lnTo>
                    <a:lnTo>
                      <a:pt x="60" y="14"/>
                    </a:lnTo>
                    <a:lnTo>
                      <a:pt x="60" y="8"/>
                    </a:lnTo>
                    <a:lnTo>
                      <a:pt x="62" y="4"/>
                    </a:lnTo>
                    <a:lnTo>
                      <a:pt x="64" y="2"/>
                    </a:lnTo>
                    <a:lnTo>
                      <a:pt x="70" y="0"/>
                    </a:lnTo>
                    <a:lnTo>
                      <a:pt x="82" y="2"/>
                    </a:lnTo>
                    <a:lnTo>
                      <a:pt x="90" y="6"/>
                    </a:lnTo>
                    <a:lnTo>
                      <a:pt x="96" y="10"/>
                    </a:lnTo>
                    <a:lnTo>
                      <a:pt x="104" y="14"/>
                    </a:lnTo>
                    <a:lnTo>
                      <a:pt x="98" y="1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2" name="Freeform 134"/>
              <p:cNvSpPr>
                <a:spLocks noChangeAspect="1"/>
              </p:cNvSpPr>
              <p:nvPr/>
            </p:nvSpPr>
            <p:spPr bwMode="auto">
              <a:xfrm>
                <a:off x="4101530" y="3866597"/>
                <a:ext cx="58100" cy="8350"/>
              </a:xfrm>
              <a:custGeom>
                <a:avLst/>
                <a:gdLst/>
                <a:ahLst/>
                <a:cxnLst>
                  <a:cxn ang="0">
                    <a:pos x="20" y="2"/>
                  </a:cxn>
                  <a:cxn ang="0">
                    <a:pos x="8" y="2"/>
                  </a:cxn>
                  <a:cxn ang="0">
                    <a:pos x="0" y="0"/>
                  </a:cxn>
                  <a:cxn ang="0">
                    <a:pos x="4" y="2"/>
                  </a:cxn>
                  <a:cxn ang="0">
                    <a:pos x="8" y="6"/>
                  </a:cxn>
                  <a:cxn ang="0">
                    <a:pos x="22" y="8"/>
                  </a:cxn>
                  <a:cxn ang="0">
                    <a:pos x="34" y="8"/>
                  </a:cxn>
                  <a:cxn ang="0">
                    <a:pos x="42" y="6"/>
                  </a:cxn>
                  <a:cxn ang="0">
                    <a:pos x="36" y="2"/>
                  </a:cxn>
                  <a:cxn ang="0">
                    <a:pos x="32" y="0"/>
                  </a:cxn>
                  <a:cxn ang="0">
                    <a:pos x="20" y="2"/>
                  </a:cxn>
                </a:cxnLst>
                <a:rect l="0" t="0" r="r" b="b"/>
                <a:pathLst>
                  <a:path w="42" h="8">
                    <a:moveTo>
                      <a:pt x="20" y="2"/>
                    </a:moveTo>
                    <a:lnTo>
                      <a:pt x="8" y="2"/>
                    </a:lnTo>
                    <a:lnTo>
                      <a:pt x="0" y="0"/>
                    </a:lnTo>
                    <a:lnTo>
                      <a:pt x="4" y="2"/>
                    </a:lnTo>
                    <a:lnTo>
                      <a:pt x="8" y="6"/>
                    </a:lnTo>
                    <a:lnTo>
                      <a:pt x="22" y="8"/>
                    </a:lnTo>
                    <a:lnTo>
                      <a:pt x="34" y="8"/>
                    </a:lnTo>
                    <a:lnTo>
                      <a:pt x="42" y="6"/>
                    </a:lnTo>
                    <a:lnTo>
                      <a:pt x="36" y="2"/>
                    </a:lnTo>
                    <a:lnTo>
                      <a:pt x="32" y="0"/>
                    </a:lnTo>
                    <a:lnTo>
                      <a:pt x="20"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3" name="Freeform 135"/>
              <p:cNvSpPr>
                <a:spLocks noChangeAspect="1"/>
              </p:cNvSpPr>
              <p:nvPr/>
            </p:nvSpPr>
            <p:spPr bwMode="auto">
              <a:xfrm>
                <a:off x="3650239" y="3769985"/>
                <a:ext cx="20267" cy="10734"/>
              </a:xfrm>
              <a:custGeom>
                <a:avLst/>
                <a:gdLst/>
                <a:ahLst/>
                <a:cxnLst>
                  <a:cxn ang="0">
                    <a:pos x="16" y="6"/>
                  </a:cxn>
                  <a:cxn ang="0">
                    <a:pos x="12" y="0"/>
                  </a:cxn>
                  <a:cxn ang="0">
                    <a:pos x="6" y="0"/>
                  </a:cxn>
                  <a:cxn ang="0">
                    <a:pos x="4" y="0"/>
                  </a:cxn>
                  <a:cxn ang="0">
                    <a:pos x="2" y="2"/>
                  </a:cxn>
                  <a:cxn ang="0">
                    <a:pos x="0" y="10"/>
                  </a:cxn>
                  <a:cxn ang="0">
                    <a:pos x="16" y="10"/>
                  </a:cxn>
                  <a:cxn ang="0">
                    <a:pos x="14" y="4"/>
                  </a:cxn>
                  <a:cxn ang="0">
                    <a:pos x="16" y="6"/>
                  </a:cxn>
                </a:cxnLst>
                <a:rect l="0" t="0" r="r" b="b"/>
                <a:pathLst>
                  <a:path w="16" h="10">
                    <a:moveTo>
                      <a:pt x="16" y="6"/>
                    </a:moveTo>
                    <a:lnTo>
                      <a:pt x="12" y="0"/>
                    </a:lnTo>
                    <a:lnTo>
                      <a:pt x="6" y="0"/>
                    </a:lnTo>
                    <a:lnTo>
                      <a:pt x="4" y="0"/>
                    </a:lnTo>
                    <a:lnTo>
                      <a:pt x="2" y="2"/>
                    </a:lnTo>
                    <a:lnTo>
                      <a:pt x="0" y="10"/>
                    </a:lnTo>
                    <a:lnTo>
                      <a:pt x="16" y="10"/>
                    </a:lnTo>
                    <a:lnTo>
                      <a:pt x="14" y="4"/>
                    </a:lnTo>
                    <a:lnTo>
                      <a:pt x="16"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4" name="Freeform 136"/>
              <p:cNvSpPr>
                <a:spLocks noChangeAspect="1"/>
              </p:cNvSpPr>
              <p:nvPr/>
            </p:nvSpPr>
            <p:spPr bwMode="auto">
              <a:xfrm>
                <a:off x="3478640" y="3365645"/>
                <a:ext cx="152683" cy="183683"/>
              </a:xfrm>
              <a:custGeom>
                <a:avLst/>
                <a:gdLst/>
                <a:ahLst/>
                <a:cxnLst>
                  <a:cxn ang="0">
                    <a:pos x="82" y="86"/>
                  </a:cxn>
                  <a:cxn ang="0">
                    <a:pos x="90" y="94"/>
                  </a:cxn>
                  <a:cxn ang="0">
                    <a:pos x="90" y="104"/>
                  </a:cxn>
                  <a:cxn ang="0">
                    <a:pos x="94" y="106"/>
                  </a:cxn>
                  <a:cxn ang="0">
                    <a:pos x="108" y="110"/>
                  </a:cxn>
                  <a:cxn ang="0">
                    <a:pos x="108" y="118"/>
                  </a:cxn>
                  <a:cxn ang="0">
                    <a:pos x="94" y="128"/>
                  </a:cxn>
                  <a:cxn ang="0">
                    <a:pos x="98" y="132"/>
                  </a:cxn>
                  <a:cxn ang="0">
                    <a:pos x="102" y="138"/>
                  </a:cxn>
                  <a:cxn ang="0">
                    <a:pos x="92" y="144"/>
                  </a:cxn>
                  <a:cxn ang="0">
                    <a:pos x="66" y="144"/>
                  </a:cxn>
                  <a:cxn ang="0">
                    <a:pos x="40" y="144"/>
                  </a:cxn>
                  <a:cxn ang="0">
                    <a:pos x="40" y="152"/>
                  </a:cxn>
                  <a:cxn ang="0">
                    <a:pos x="26" y="154"/>
                  </a:cxn>
                  <a:cxn ang="0">
                    <a:pos x="12" y="154"/>
                  </a:cxn>
                  <a:cxn ang="0">
                    <a:pos x="18" y="144"/>
                  </a:cxn>
                  <a:cxn ang="0">
                    <a:pos x="30" y="140"/>
                  </a:cxn>
                  <a:cxn ang="0">
                    <a:pos x="46" y="132"/>
                  </a:cxn>
                  <a:cxn ang="0">
                    <a:pos x="32" y="126"/>
                  </a:cxn>
                  <a:cxn ang="0">
                    <a:pos x="18" y="122"/>
                  </a:cxn>
                  <a:cxn ang="0">
                    <a:pos x="36" y="108"/>
                  </a:cxn>
                  <a:cxn ang="0">
                    <a:pos x="36" y="100"/>
                  </a:cxn>
                  <a:cxn ang="0">
                    <a:pos x="40" y="94"/>
                  </a:cxn>
                  <a:cxn ang="0">
                    <a:pos x="42" y="84"/>
                  </a:cxn>
                  <a:cxn ang="0">
                    <a:pos x="40" y="76"/>
                  </a:cxn>
                  <a:cxn ang="0">
                    <a:pos x="42" y="68"/>
                  </a:cxn>
                  <a:cxn ang="0">
                    <a:pos x="38" y="58"/>
                  </a:cxn>
                  <a:cxn ang="0">
                    <a:pos x="12" y="56"/>
                  </a:cxn>
                  <a:cxn ang="0">
                    <a:pos x="10" y="48"/>
                  </a:cxn>
                  <a:cxn ang="0">
                    <a:pos x="12" y="36"/>
                  </a:cxn>
                  <a:cxn ang="0">
                    <a:pos x="0" y="28"/>
                  </a:cxn>
                  <a:cxn ang="0">
                    <a:pos x="22" y="10"/>
                  </a:cxn>
                  <a:cxn ang="0">
                    <a:pos x="50" y="0"/>
                  </a:cxn>
                  <a:cxn ang="0">
                    <a:pos x="46" y="12"/>
                  </a:cxn>
                  <a:cxn ang="0">
                    <a:pos x="38" y="20"/>
                  </a:cxn>
                  <a:cxn ang="0">
                    <a:pos x="54" y="22"/>
                  </a:cxn>
                  <a:cxn ang="0">
                    <a:pos x="66" y="26"/>
                  </a:cxn>
                  <a:cxn ang="0">
                    <a:pos x="54" y="40"/>
                  </a:cxn>
                  <a:cxn ang="0">
                    <a:pos x="56" y="56"/>
                  </a:cxn>
                  <a:cxn ang="0">
                    <a:pos x="74" y="82"/>
                  </a:cxn>
                </a:cxnLst>
                <a:rect l="0" t="0" r="r" b="b"/>
                <a:pathLst>
                  <a:path w="110" h="154">
                    <a:moveTo>
                      <a:pt x="76" y="82"/>
                    </a:moveTo>
                    <a:lnTo>
                      <a:pt x="82" y="86"/>
                    </a:lnTo>
                    <a:lnTo>
                      <a:pt x="88" y="90"/>
                    </a:lnTo>
                    <a:lnTo>
                      <a:pt x="90" y="94"/>
                    </a:lnTo>
                    <a:lnTo>
                      <a:pt x="90" y="100"/>
                    </a:lnTo>
                    <a:lnTo>
                      <a:pt x="90" y="104"/>
                    </a:lnTo>
                    <a:lnTo>
                      <a:pt x="90" y="108"/>
                    </a:lnTo>
                    <a:lnTo>
                      <a:pt x="94" y="106"/>
                    </a:lnTo>
                    <a:lnTo>
                      <a:pt x="104" y="104"/>
                    </a:lnTo>
                    <a:lnTo>
                      <a:pt x="108" y="110"/>
                    </a:lnTo>
                    <a:lnTo>
                      <a:pt x="110" y="114"/>
                    </a:lnTo>
                    <a:lnTo>
                      <a:pt x="108" y="118"/>
                    </a:lnTo>
                    <a:lnTo>
                      <a:pt x="104" y="122"/>
                    </a:lnTo>
                    <a:lnTo>
                      <a:pt x="94" y="128"/>
                    </a:lnTo>
                    <a:lnTo>
                      <a:pt x="94" y="130"/>
                    </a:lnTo>
                    <a:lnTo>
                      <a:pt x="98" y="132"/>
                    </a:lnTo>
                    <a:lnTo>
                      <a:pt x="104" y="134"/>
                    </a:lnTo>
                    <a:lnTo>
                      <a:pt x="102" y="138"/>
                    </a:lnTo>
                    <a:lnTo>
                      <a:pt x="98" y="142"/>
                    </a:lnTo>
                    <a:lnTo>
                      <a:pt x="92" y="144"/>
                    </a:lnTo>
                    <a:lnTo>
                      <a:pt x="82" y="144"/>
                    </a:lnTo>
                    <a:lnTo>
                      <a:pt x="66" y="144"/>
                    </a:lnTo>
                    <a:lnTo>
                      <a:pt x="50" y="144"/>
                    </a:lnTo>
                    <a:lnTo>
                      <a:pt x="40" y="144"/>
                    </a:lnTo>
                    <a:lnTo>
                      <a:pt x="40" y="148"/>
                    </a:lnTo>
                    <a:lnTo>
                      <a:pt x="40" y="152"/>
                    </a:lnTo>
                    <a:lnTo>
                      <a:pt x="34" y="152"/>
                    </a:lnTo>
                    <a:lnTo>
                      <a:pt x="26" y="154"/>
                    </a:lnTo>
                    <a:lnTo>
                      <a:pt x="18" y="154"/>
                    </a:lnTo>
                    <a:lnTo>
                      <a:pt x="12" y="154"/>
                    </a:lnTo>
                    <a:lnTo>
                      <a:pt x="14" y="148"/>
                    </a:lnTo>
                    <a:lnTo>
                      <a:pt x="18" y="144"/>
                    </a:lnTo>
                    <a:lnTo>
                      <a:pt x="24" y="142"/>
                    </a:lnTo>
                    <a:lnTo>
                      <a:pt x="30" y="140"/>
                    </a:lnTo>
                    <a:lnTo>
                      <a:pt x="42" y="136"/>
                    </a:lnTo>
                    <a:lnTo>
                      <a:pt x="46" y="132"/>
                    </a:lnTo>
                    <a:lnTo>
                      <a:pt x="50" y="128"/>
                    </a:lnTo>
                    <a:lnTo>
                      <a:pt x="32" y="126"/>
                    </a:lnTo>
                    <a:lnTo>
                      <a:pt x="24" y="124"/>
                    </a:lnTo>
                    <a:lnTo>
                      <a:pt x="18" y="122"/>
                    </a:lnTo>
                    <a:lnTo>
                      <a:pt x="26" y="114"/>
                    </a:lnTo>
                    <a:lnTo>
                      <a:pt x="36" y="108"/>
                    </a:lnTo>
                    <a:lnTo>
                      <a:pt x="36" y="104"/>
                    </a:lnTo>
                    <a:lnTo>
                      <a:pt x="36" y="100"/>
                    </a:lnTo>
                    <a:lnTo>
                      <a:pt x="38" y="98"/>
                    </a:lnTo>
                    <a:lnTo>
                      <a:pt x="40" y="94"/>
                    </a:lnTo>
                    <a:lnTo>
                      <a:pt x="48" y="90"/>
                    </a:lnTo>
                    <a:lnTo>
                      <a:pt x="42" y="84"/>
                    </a:lnTo>
                    <a:lnTo>
                      <a:pt x="40" y="80"/>
                    </a:lnTo>
                    <a:lnTo>
                      <a:pt x="40" y="76"/>
                    </a:lnTo>
                    <a:lnTo>
                      <a:pt x="40" y="70"/>
                    </a:lnTo>
                    <a:lnTo>
                      <a:pt x="42" y="68"/>
                    </a:lnTo>
                    <a:lnTo>
                      <a:pt x="40" y="62"/>
                    </a:lnTo>
                    <a:lnTo>
                      <a:pt x="38" y="58"/>
                    </a:lnTo>
                    <a:lnTo>
                      <a:pt x="14" y="58"/>
                    </a:lnTo>
                    <a:lnTo>
                      <a:pt x="12" y="56"/>
                    </a:lnTo>
                    <a:lnTo>
                      <a:pt x="12" y="50"/>
                    </a:lnTo>
                    <a:lnTo>
                      <a:pt x="10" y="48"/>
                    </a:lnTo>
                    <a:lnTo>
                      <a:pt x="6" y="46"/>
                    </a:lnTo>
                    <a:lnTo>
                      <a:pt x="12" y="36"/>
                    </a:lnTo>
                    <a:lnTo>
                      <a:pt x="6" y="32"/>
                    </a:lnTo>
                    <a:lnTo>
                      <a:pt x="0" y="28"/>
                    </a:lnTo>
                    <a:lnTo>
                      <a:pt x="10" y="20"/>
                    </a:lnTo>
                    <a:lnTo>
                      <a:pt x="22" y="10"/>
                    </a:lnTo>
                    <a:lnTo>
                      <a:pt x="38" y="4"/>
                    </a:lnTo>
                    <a:lnTo>
                      <a:pt x="50" y="0"/>
                    </a:lnTo>
                    <a:lnTo>
                      <a:pt x="48" y="8"/>
                    </a:lnTo>
                    <a:lnTo>
                      <a:pt x="46" y="12"/>
                    </a:lnTo>
                    <a:lnTo>
                      <a:pt x="42" y="16"/>
                    </a:lnTo>
                    <a:lnTo>
                      <a:pt x="38" y="20"/>
                    </a:lnTo>
                    <a:lnTo>
                      <a:pt x="46" y="22"/>
                    </a:lnTo>
                    <a:lnTo>
                      <a:pt x="54" y="22"/>
                    </a:lnTo>
                    <a:lnTo>
                      <a:pt x="60" y="24"/>
                    </a:lnTo>
                    <a:lnTo>
                      <a:pt x="66" y="26"/>
                    </a:lnTo>
                    <a:lnTo>
                      <a:pt x="58" y="36"/>
                    </a:lnTo>
                    <a:lnTo>
                      <a:pt x="54" y="40"/>
                    </a:lnTo>
                    <a:lnTo>
                      <a:pt x="54" y="46"/>
                    </a:lnTo>
                    <a:lnTo>
                      <a:pt x="56" y="56"/>
                    </a:lnTo>
                    <a:lnTo>
                      <a:pt x="62" y="64"/>
                    </a:lnTo>
                    <a:lnTo>
                      <a:pt x="74" y="82"/>
                    </a:lnTo>
                    <a:lnTo>
                      <a:pt x="76" y="8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5" name="Freeform 137"/>
              <p:cNvSpPr>
                <a:spLocks noChangeAspect="1"/>
              </p:cNvSpPr>
              <p:nvPr/>
            </p:nvSpPr>
            <p:spPr bwMode="auto">
              <a:xfrm>
                <a:off x="3408378" y="3444366"/>
                <a:ext cx="85124" cy="75143"/>
              </a:xfrm>
              <a:custGeom>
                <a:avLst/>
                <a:gdLst/>
                <a:ahLst/>
                <a:cxnLst>
                  <a:cxn ang="0">
                    <a:pos x="32" y="20"/>
                  </a:cxn>
                  <a:cxn ang="0">
                    <a:pos x="32" y="4"/>
                  </a:cxn>
                  <a:cxn ang="0">
                    <a:pos x="32" y="2"/>
                  </a:cxn>
                  <a:cxn ang="0">
                    <a:pos x="34" y="0"/>
                  </a:cxn>
                  <a:cxn ang="0">
                    <a:pos x="44" y="0"/>
                  </a:cxn>
                  <a:cxn ang="0">
                    <a:pos x="56" y="0"/>
                  </a:cxn>
                  <a:cxn ang="0">
                    <a:pos x="60" y="2"/>
                  </a:cxn>
                  <a:cxn ang="0">
                    <a:pos x="60" y="6"/>
                  </a:cxn>
                  <a:cxn ang="0">
                    <a:pos x="58" y="14"/>
                  </a:cxn>
                  <a:cxn ang="0">
                    <a:pos x="54" y="18"/>
                  </a:cxn>
                  <a:cxn ang="0">
                    <a:pos x="50" y="20"/>
                  </a:cxn>
                  <a:cxn ang="0">
                    <a:pos x="48" y="24"/>
                  </a:cxn>
                  <a:cxn ang="0">
                    <a:pos x="50" y="26"/>
                  </a:cxn>
                  <a:cxn ang="0">
                    <a:pos x="52" y="30"/>
                  </a:cxn>
                  <a:cxn ang="0">
                    <a:pos x="54" y="32"/>
                  </a:cxn>
                  <a:cxn ang="0">
                    <a:pos x="56" y="36"/>
                  </a:cxn>
                  <a:cxn ang="0">
                    <a:pos x="54" y="42"/>
                  </a:cxn>
                  <a:cxn ang="0">
                    <a:pos x="50" y="46"/>
                  </a:cxn>
                  <a:cxn ang="0">
                    <a:pos x="38" y="54"/>
                  </a:cxn>
                  <a:cxn ang="0">
                    <a:pos x="24" y="62"/>
                  </a:cxn>
                  <a:cxn ang="0">
                    <a:pos x="16" y="64"/>
                  </a:cxn>
                  <a:cxn ang="0">
                    <a:pos x="10" y="64"/>
                  </a:cxn>
                  <a:cxn ang="0">
                    <a:pos x="6" y="64"/>
                  </a:cxn>
                  <a:cxn ang="0">
                    <a:pos x="4" y="62"/>
                  </a:cxn>
                  <a:cxn ang="0">
                    <a:pos x="0" y="56"/>
                  </a:cxn>
                  <a:cxn ang="0">
                    <a:pos x="2" y="52"/>
                  </a:cxn>
                  <a:cxn ang="0">
                    <a:pos x="6" y="48"/>
                  </a:cxn>
                  <a:cxn ang="0">
                    <a:pos x="14" y="40"/>
                  </a:cxn>
                  <a:cxn ang="0">
                    <a:pos x="6" y="34"/>
                  </a:cxn>
                  <a:cxn ang="0">
                    <a:pos x="2" y="30"/>
                  </a:cxn>
                  <a:cxn ang="0">
                    <a:pos x="6" y="26"/>
                  </a:cxn>
                  <a:cxn ang="0">
                    <a:pos x="4" y="20"/>
                  </a:cxn>
                  <a:cxn ang="0">
                    <a:pos x="10" y="18"/>
                  </a:cxn>
                  <a:cxn ang="0">
                    <a:pos x="20" y="16"/>
                  </a:cxn>
                  <a:cxn ang="0">
                    <a:pos x="26" y="18"/>
                  </a:cxn>
                  <a:cxn ang="0">
                    <a:pos x="32" y="20"/>
                  </a:cxn>
                </a:cxnLst>
                <a:rect l="0" t="0" r="r" b="b"/>
                <a:pathLst>
                  <a:path w="60" h="64">
                    <a:moveTo>
                      <a:pt x="32" y="20"/>
                    </a:moveTo>
                    <a:lnTo>
                      <a:pt x="32" y="4"/>
                    </a:lnTo>
                    <a:lnTo>
                      <a:pt x="32" y="2"/>
                    </a:lnTo>
                    <a:lnTo>
                      <a:pt x="34" y="0"/>
                    </a:lnTo>
                    <a:lnTo>
                      <a:pt x="44" y="0"/>
                    </a:lnTo>
                    <a:lnTo>
                      <a:pt x="56" y="0"/>
                    </a:lnTo>
                    <a:lnTo>
                      <a:pt x="60" y="2"/>
                    </a:lnTo>
                    <a:lnTo>
                      <a:pt x="60" y="6"/>
                    </a:lnTo>
                    <a:lnTo>
                      <a:pt x="58" y="14"/>
                    </a:lnTo>
                    <a:lnTo>
                      <a:pt x="54" y="18"/>
                    </a:lnTo>
                    <a:lnTo>
                      <a:pt x="50" y="20"/>
                    </a:lnTo>
                    <a:lnTo>
                      <a:pt x="48" y="24"/>
                    </a:lnTo>
                    <a:lnTo>
                      <a:pt x="50" y="26"/>
                    </a:lnTo>
                    <a:lnTo>
                      <a:pt x="52" y="30"/>
                    </a:lnTo>
                    <a:lnTo>
                      <a:pt x="54" y="32"/>
                    </a:lnTo>
                    <a:lnTo>
                      <a:pt x="56" y="36"/>
                    </a:lnTo>
                    <a:lnTo>
                      <a:pt x="54" y="42"/>
                    </a:lnTo>
                    <a:lnTo>
                      <a:pt x="50" y="46"/>
                    </a:lnTo>
                    <a:lnTo>
                      <a:pt x="38" y="54"/>
                    </a:lnTo>
                    <a:lnTo>
                      <a:pt x="24" y="62"/>
                    </a:lnTo>
                    <a:lnTo>
                      <a:pt x="16" y="64"/>
                    </a:lnTo>
                    <a:lnTo>
                      <a:pt x="10" y="64"/>
                    </a:lnTo>
                    <a:lnTo>
                      <a:pt x="6" y="64"/>
                    </a:lnTo>
                    <a:lnTo>
                      <a:pt x="4" y="62"/>
                    </a:lnTo>
                    <a:lnTo>
                      <a:pt x="0" y="56"/>
                    </a:lnTo>
                    <a:lnTo>
                      <a:pt x="2" y="52"/>
                    </a:lnTo>
                    <a:lnTo>
                      <a:pt x="6" y="48"/>
                    </a:lnTo>
                    <a:lnTo>
                      <a:pt x="14" y="40"/>
                    </a:lnTo>
                    <a:lnTo>
                      <a:pt x="6" y="34"/>
                    </a:lnTo>
                    <a:lnTo>
                      <a:pt x="2" y="30"/>
                    </a:lnTo>
                    <a:lnTo>
                      <a:pt x="6" y="26"/>
                    </a:lnTo>
                    <a:lnTo>
                      <a:pt x="4" y="20"/>
                    </a:lnTo>
                    <a:lnTo>
                      <a:pt x="10" y="18"/>
                    </a:lnTo>
                    <a:lnTo>
                      <a:pt x="20" y="16"/>
                    </a:lnTo>
                    <a:lnTo>
                      <a:pt x="26" y="18"/>
                    </a:lnTo>
                    <a:lnTo>
                      <a:pt x="32" y="2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6" name="Freeform 138"/>
              <p:cNvSpPr>
                <a:spLocks noChangeAspect="1"/>
              </p:cNvSpPr>
              <p:nvPr/>
            </p:nvSpPr>
            <p:spPr bwMode="auto">
              <a:xfrm>
                <a:off x="3784005" y="3704385"/>
                <a:ext cx="14863" cy="33397"/>
              </a:xfrm>
              <a:custGeom>
                <a:avLst/>
                <a:gdLst/>
                <a:ahLst/>
                <a:cxnLst>
                  <a:cxn ang="0">
                    <a:pos x="0" y="28"/>
                  </a:cxn>
                  <a:cxn ang="0">
                    <a:pos x="0" y="12"/>
                  </a:cxn>
                  <a:cxn ang="0">
                    <a:pos x="2" y="6"/>
                  </a:cxn>
                  <a:cxn ang="0">
                    <a:pos x="6" y="0"/>
                  </a:cxn>
                  <a:cxn ang="0">
                    <a:pos x="8" y="6"/>
                  </a:cxn>
                  <a:cxn ang="0">
                    <a:pos x="10" y="10"/>
                  </a:cxn>
                  <a:cxn ang="0">
                    <a:pos x="10" y="28"/>
                  </a:cxn>
                  <a:cxn ang="0">
                    <a:pos x="0" y="28"/>
                  </a:cxn>
                </a:cxnLst>
                <a:rect l="0" t="0" r="r" b="b"/>
                <a:pathLst>
                  <a:path w="10" h="28">
                    <a:moveTo>
                      <a:pt x="0" y="28"/>
                    </a:moveTo>
                    <a:lnTo>
                      <a:pt x="0" y="12"/>
                    </a:lnTo>
                    <a:lnTo>
                      <a:pt x="2" y="6"/>
                    </a:lnTo>
                    <a:lnTo>
                      <a:pt x="6" y="0"/>
                    </a:lnTo>
                    <a:lnTo>
                      <a:pt x="8" y="6"/>
                    </a:lnTo>
                    <a:lnTo>
                      <a:pt x="10" y="10"/>
                    </a:lnTo>
                    <a:lnTo>
                      <a:pt x="10" y="28"/>
                    </a:lnTo>
                    <a:lnTo>
                      <a:pt x="0" y="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7" name="Freeform 139"/>
              <p:cNvSpPr>
                <a:spLocks noChangeAspect="1"/>
              </p:cNvSpPr>
              <p:nvPr/>
            </p:nvSpPr>
            <p:spPr bwMode="auto">
              <a:xfrm>
                <a:off x="3765087" y="3742551"/>
                <a:ext cx="36482" cy="45324"/>
              </a:xfrm>
              <a:custGeom>
                <a:avLst/>
                <a:gdLst/>
                <a:ahLst/>
                <a:cxnLst>
                  <a:cxn ang="0">
                    <a:pos x="12" y="8"/>
                  </a:cxn>
                  <a:cxn ang="0">
                    <a:pos x="16" y="4"/>
                  </a:cxn>
                  <a:cxn ang="0">
                    <a:pos x="20" y="0"/>
                  </a:cxn>
                  <a:cxn ang="0">
                    <a:pos x="24" y="4"/>
                  </a:cxn>
                  <a:cxn ang="0">
                    <a:pos x="28" y="8"/>
                  </a:cxn>
                  <a:cxn ang="0">
                    <a:pos x="28" y="34"/>
                  </a:cxn>
                  <a:cxn ang="0">
                    <a:pos x="24" y="36"/>
                  </a:cxn>
                  <a:cxn ang="0">
                    <a:pos x="20" y="38"/>
                  </a:cxn>
                  <a:cxn ang="0">
                    <a:pos x="14" y="40"/>
                  </a:cxn>
                  <a:cxn ang="0">
                    <a:pos x="10" y="36"/>
                  </a:cxn>
                  <a:cxn ang="0">
                    <a:pos x="10" y="34"/>
                  </a:cxn>
                  <a:cxn ang="0">
                    <a:pos x="10" y="30"/>
                  </a:cxn>
                  <a:cxn ang="0">
                    <a:pos x="10" y="14"/>
                  </a:cxn>
                  <a:cxn ang="0">
                    <a:pos x="4" y="12"/>
                  </a:cxn>
                  <a:cxn ang="0">
                    <a:pos x="0" y="8"/>
                  </a:cxn>
                  <a:cxn ang="0">
                    <a:pos x="4" y="6"/>
                  </a:cxn>
                  <a:cxn ang="0">
                    <a:pos x="8" y="6"/>
                  </a:cxn>
                  <a:cxn ang="0">
                    <a:pos x="12" y="8"/>
                  </a:cxn>
                </a:cxnLst>
                <a:rect l="0" t="0" r="r" b="b"/>
                <a:pathLst>
                  <a:path w="28" h="40">
                    <a:moveTo>
                      <a:pt x="12" y="8"/>
                    </a:moveTo>
                    <a:lnTo>
                      <a:pt x="16" y="4"/>
                    </a:lnTo>
                    <a:lnTo>
                      <a:pt x="20" y="0"/>
                    </a:lnTo>
                    <a:lnTo>
                      <a:pt x="24" y="4"/>
                    </a:lnTo>
                    <a:lnTo>
                      <a:pt x="28" y="8"/>
                    </a:lnTo>
                    <a:lnTo>
                      <a:pt x="28" y="34"/>
                    </a:lnTo>
                    <a:lnTo>
                      <a:pt x="24" y="36"/>
                    </a:lnTo>
                    <a:lnTo>
                      <a:pt x="20" y="38"/>
                    </a:lnTo>
                    <a:lnTo>
                      <a:pt x="14" y="40"/>
                    </a:lnTo>
                    <a:lnTo>
                      <a:pt x="10" y="36"/>
                    </a:lnTo>
                    <a:lnTo>
                      <a:pt x="10" y="34"/>
                    </a:lnTo>
                    <a:lnTo>
                      <a:pt x="10" y="30"/>
                    </a:lnTo>
                    <a:lnTo>
                      <a:pt x="10" y="14"/>
                    </a:lnTo>
                    <a:lnTo>
                      <a:pt x="4" y="12"/>
                    </a:lnTo>
                    <a:lnTo>
                      <a:pt x="0" y="8"/>
                    </a:lnTo>
                    <a:lnTo>
                      <a:pt x="4" y="6"/>
                    </a:lnTo>
                    <a:lnTo>
                      <a:pt x="8" y="6"/>
                    </a:lnTo>
                    <a:lnTo>
                      <a:pt x="12"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8" name="Freeform 140"/>
              <p:cNvSpPr>
                <a:spLocks noChangeAspect="1"/>
              </p:cNvSpPr>
              <p:nvPr/>
            </p:nvSpPr>
            <p:spPr bwMode="auto">
              <a:xfrm>
                <a:off x="3866426" y="3806961"/>
                <a:ext cx="58100" cy="29819"/>
              </a:xfrm>
              <a:custGeom>
                <a:avLst/>
                <a:gdLst/>
                <a:ahLst/>
                <a:cxnLst>
                  <a:cxn ang="0">
                    <a:pos x="41" y="12"/>
                  </a:cxn>
                  <a:cxn ang="0">
                    <a:pos x="39" y="16"/>
                  </a:cxn>
                  <a:cxn ang="0">
                    <a:pos x="39" y="18"/>
                  </a:cxn>
                  <a:cxn ang="0">
                    <a:pos x="39" y="22"/>
                  </a:cxn>
                  <a:cxn ang="0">
                    <a:pos x="39" y="24"/>
                  </a:cxn>
                  <a:cxn ang="0">
                    <a:pos x="31" y="22"/>
                  </a:cxn>
                  <a:cxn ang="0">
                    <a:pos x="17" y="16"/>
                  </a:cxn>
                  <a:cxn ang="0">
                    <a:pos x="4" y="10"/>
                  </a:cxn>
                  <a:cxn ang="0">
                    <a:pos x="0" y="6"/>
                  </a:cxn>
                  <a:cxn ang="0">
                    <a:pos x="0" y="2"/>
                  </a:cxn>
                  <a:cxn ang="0">
                    <a:pos x="2" y="0"/>
                  </a:cxn>
                  <a:cxn ang="0">
                    <a:pos x="9" y="0"/>
                  </a:cxn>
                  <a:cxn ang="0">
                    <a:pos x="19" y="2"/>
                  </a:cxn>
                  <a:cxn ang="0">
                    <a:pos x="27" y="4"/>
                  </a:cxn>
                  <a:cxn ang="0">
                    <a:pos x="33" y="2"/>
                  </a:cxn>
                  <a:cxn ang="0">
                    <a:pos x="41" y="0"/>
                  </a:cxn>
                  <a:cxn ang="0">
                    <a:pos x="41" y="4"/>
                  </a:cxn>
                  <a:cxn ang="0">
                    <a:pos x="41" y="12"/>
                  </a:cxn>
                </a:cxnLst>
                <a:rect l="0" t="0" r="r" b="b"/>
                <a:pathLst>
                  <a:path w="41" h="24">
                    <a:moveTo>
                      <a:pt x="41" y="12"/>
                    </a:moveTo>
                    <a:lnTo>
                      <a:pt x="39" y="16"/>
                    </a:lnTo>
                    <a:lnTo>
                      <a:pt x="39" y="18"/>
                    </a:lnTo>
                    <a:lnTo>
                      <a:pt x="39" y="22"/>
                    </a:lnTo>
                    <a:lnTo>
                      <a:pt x="39" y="24"/>
                    </a:lnTo>
                    <a:lnTo>
                      <a:pt x="31" y="22"/>
                    </a:lnTo>
                    <a:lnTo>
                      <a:pt x="17" y="16"/>
                    </a:lnTo>
                    <a:lnTo>
                      <a:pt x="4" y="10"/>
                    </a:lnTo>
                    <a:lnTo>
                      <a:pt x="0" y="6"/>
                    </a:lnTo>
                    <a:lnTo>
                      <a:pt x="0" y="2"/>
                    </a:lnTo>
                    <a:lnTo>
                      <a:pt x="2" y="0"/>
                    </a:lnTo>
                    <a:lnTo>
                      <a:pt x="9" y="0"/>
                    </a:lnTo>
                    <a:lnTo>
                      <a:pt x="19" y="2"/>
                    </a:lnTo>
                    <a:lnTo>
                      <a:pt x="27" y="4"/>
                    </a:lnTo>
                    <a:lnTo>
                      <a:pt x="33" y="2"/>
                    </a:lnTo>
                    <a:lnTo>
                      <a:pt x="41" y="0"/>
                    </a:lnTo>
                    <a:lnTo>
                      <a:pt x="41" y="4"/>
                    </a:lnTo>
                    <a:lnTo>
                      <a:pt x="41"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29" name="Freeform 141"/>
              <p:cNvSpPr>
                <a:spLocks noChangeAspect="1"/>
              </p:cNvSpPr>
              <p:nvPr/>
            </p:nvSpPr>
            <p:spPr bwMode="auto">
              <a:xfrm>
                <a:off x="3798868" y="3422896"/>
                <a:ext cx="31077" cy="34590"/>
              </a:xfrm>
              <a:custGeom>
                <a:avLst/>
                <a:gdLst/>
                <a:ahLst/>
                <a:cxnLst>
                  <a:cxn ang="0">
                    <a:pos x="12" y="4"/>
                  </a:cxn>
                  <a:cxn ang="0">
                    <a:pos x="12" y="12"/>
                  </a:cxn>
                  <a:cxn ang="0">
                    <a:pos x="18" y="8"/>
                  </a:cxn>
                  <a:cxn ang="0">
                    <a:pos x="24" y="4"/>
                  </a:cxn>
                  <a:cxn ang="0">
                    <a:pos x="24" y="16"/>
                  </a:cxn>
                  <a:cxn ang="0">
                    <a:pos x="22" y="20"/>
                  </a:cxn>
                  <a:cxn ang="0">
                    <a:pos x="18" y="26"/>
                  </a:cxn>
                  <a:cxn ang="0">
                    <a:pos x="16" y="30"/>
                  </a:cxn>
                  <a:cxn ang="0">
                    <a:pos x="14" y="30"/>
                  </a:cxn>
                  <a:cxn ang="0">
                    <a:pos x="14" y="28"/>
                  </a:cxn>
                  <a:cxn ang="0">
                    <a:pos x="12" y="24"/>
                  </a:cxn>
                  <a:cxn ang="0">
                    <a:pos x="10" y="20"/>
                  </a:cxn>
                  <a:cxn ang="0">
                    <a:pos x="6" y="14"/>
                  </a:cxn>
                  <a:cxn ang="0">
                    <a:pos x="2" y="10"/>
                  </a:cxn>
                  <a:cxn ang="0">
                    <a:pos x="0" y="6"/>
                  </a:cxn>
                  <a:cxn ang="0">
                    <a:pos x="0" y="4"/>
                  </a:cxn>
                  <a:cxn ang="0">
                    <a:pos x="2" y="2"/>
                  </a:cxn>
                  <a:cxn ang="0">
                    <a:pos x="4" y="0"/>
                  </a:cxn>
                  <a:cxn ang="0">
                    <a:pos x="6" y="0"/>
                  </a:cxn>
                  <a:cxn ang="0">
                    <a:pos x="8" y="0"/>
                  </a:cxn>
                  <a:cxn ang="0">
                    <a:pos x="12" y="4"/>
                  </a:cxn>
                </a:cxnLst>
                <a:rect l="0" t="0" r="r" b="b"/>
                <a:pathLst>
                  <a:path w="24" h="30">
                    <a:moveTo>
                      <a:pt x="12" y="4"/>
                    </a:moveTo>
                    <a:lnTo>
                      <a:pt x="12" y="12"/>
                    </a:lnTo>
                    <a:lnTo>
                      <a:pt x="18" y="8"/>
                    </a:lnTo>
                    <a:lnTo>
                      <a:pt x="24" y="4"/>
                    </a:lnTo>
                    <a:lnTo>
                      <a:pt x="24" y="16"/>
                    </a:lnTo>
                    <a:lnTo>
                      <a:pt x="22" y="20"/>
                    </a:lnTo>
                    <a:lnTo>
                      <a:pt x="18" y="26"/>
                    </a:lnTo>
                    <a:lnTo>
                      <a:pt x="16" y="30"/>
                    </a:lnTo>
                    <a:lnTo>
                      <a:pt x="14" y="30"/>
                    </a:lnTo>
                    <a:lnTo>
                      <a:pt x="14" y="28"/>
                    </a:lnTo>
                    <a:lnTo>
                      <a:pt x="12" y="24"/>
                    </a:lnTo>
                    <a:lnTo>
                      <a:pt x="10" y="20"/>
                    </a:lnTo>
                    <a:lnTo>
                      <a:pt x="6" y="14"/>
                    </a:lnTo>
                    <a:lnTo>
                      <a:pt x="2" y="10"/>
                    </a:lnTo>
                    <a:lnTo>
                      <a:pt x="0" y="6"/>
                    </a:lnTo>
                    <a:lnTo>
                      <a:pt x="0" y="4"/>
                    </a:lnTo>
                    <a:lnTo>
                      <a:pt x="2" y="2"/>
                    </a:lnTo>
                    <a:lnTo>
                      <a:pt x="4" y="0"/>
                    </a:lnTo>
                    <a:lnTo>
                      <a:pt x="6" y="0"/>
                    </a:lnTo>
                    <a:lnTo>
                      <a:pt x="8" y="0"/>
                    </a:lnTo>
                    <a:lnTo>
                      <a:pt x="12"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0" name="Freeform 142"/>
              <p:cNvSpPr>
                <a:spLocks noChangeAspect="1"/>
              </p:cNvSpPr>
              <p:nvPr/>
            </p:nvSpPr>
            <p:spPr bwMode="auto">
              <a:xfrm>
                <a:off x="3798868" y="3172420"/>
                <a:ext cx="208081" cy="265983"/>
              </a:xfrm>
              <a:custGeom>
                <a:avLst/>
                <a:gdLst/>
                <a:ahLst/>
                <a:cxnLst>
                  <a:cxn ang="0">
                    <a:pos x="145" y="44"/>
                  </a:cxn>
                  <a:cxn ang="0">
                    <a:pos x="141" y="28"/>
                  </a:cxn>
                  <a:cxn ang="0">
                    <a:pos x="131" y="10"/>
                  </a:cxn>
                  <a:cxn ang="0">
                    <a:pos x="113" y="4"/>
                  </a:cxn>
                  <a:cxn ang="0">
                    <a:pos x="97" y="4"/>
                  </a:cxn>
                  <a:cxn ang="0">
                    <a:pos x="77" y="6"/>
                  </a:cxn>
                  <a:cxn ang="0">
                    <a:pos x="59" y="12"/>
                  </a:cxn>
                  <a:cxn ang="0">
                    <a:pos x="42" y="32"/>
                  </a:cxn>
                  <a:cxn ang="0">
                    <a:pos x="32" y="54"/>
                  </a:cxn>
                  <a:cxn ang="0">
                    <a:pos x="30" y="76"/>
                  </a:cxn>
                  <a:cxn ang="0">
                    <a:pos x="12" y="76"/>
                  </a:cxn>
                  <a:cxn ang="0">
                    <a:pos x="6" y="82"/>
                  </a:cxn>
                  <a:cxn ang="0">
                    <a:pos x="4" y="90"/>
                  </a:cxn>
                  <a:cxn ang="0">
                    <a:pos x="8" y="108"/>
                  </a:cxn>
                  <a:cxn ang="0">
                    <a:pos x="12" y="130"/>
                  </a:cxn>
                  <a:cxn ang="0">
                    <a:pos x="14" y="134"/>
                  </a:cxn>
                  <a:cxn ang="0">
                    <a:pos x="0" y="168"/>
                  </a:cxn>
                  <a:cxn ang="0">
                    <a:pos x="14" y="182"/>
                  </a:cxn>
                  <a:cxn ang="0">
                    <a:pos x="30" y="204"/>
                  </a:cxn>
                  <a:cxn ang="0">
                    <a:pos x="28" y="216"/>
                  </a:cxn>
                  <a:cxn ang="0">
                    <a:pos x="30" y="222"/>
                  </a:cxn>
                  <a:cxn ang="0">
                    <a:pos x="38" y="224"/>
                  </a:cxn>
                  <a:cxn ang="0">
                    <a:pos x="52" y="216"/>
                  </a:cxn>
                  <a:cxn ang="0">
                    <a:pos x="63" y="212"/>
                  </a:cxn>
                  <a:cxn ang="0">
                    <a:pos x="73" y="208"/>
                  </a:cxn>
                  <a:cxn ang="0">
                    <a:pos x="81" y="204"/>
                  </a:cxn>
                  <a:cxn ang="0">
                    <a:pos x="83" y="200"/>
                  </a:cxn>
                  <a:cxn ang="0">
                    <a:pos x="79" y="170"/>
                  </a:cxn>
                  <a:cxn ang="0">
                    <a:pos x="89" y="164"/>
                  </a:cxn>
                  <a:cxn ang="0">
                    <a:pos x="99" y="156"/>
                  </a:cxn>
                  <a:cxn ang="0">
                    <a:pos x="95" y="154"/>
                  </a:cxn>
                  <a:cxn ang="0">
                    <a:pos x="105" y="150"/>
                  </a:cxn>
                  <a:cxn ang="0">
                    <a:pos x="87" y="140"/>
                  </a:cxn>
                  <a:cxn ang="0">
                    <a:pos x="79" y="130"/>
                  </a:cxn>
                  <a:cxn ang="0">
                    <a:pos x="79" y="114"/>
                  </a:cxn>
                  <a:cxn ang="0">
                    <a:pos x="91" y="98"/>
                  </a:cxn>
                  <a:cxn ang="0">
                    <a:pos x="113" y="84"/>
                  </a:cxn>
                  <a:cxn ang="0">
                    <a:pos x="121" y="72"/>
                  </a:cxn>
                  <a:cxn ang="0">
                    <a:pos x="121" y="62"/>
                  </a:cxn>
                  <a:cxn ang="0">
                    <a:pos x="129" y="58"/>
                  </a:cxn>
                  <a:cxn ang="0">
                    <a:pos x="141" y="56"/>
                  </a:cxn>
                </a:cxnLst>
                <a:rect l="0" t="0" r="r" b="b"/>
                <a:pathLst>
                  <a:path w="149" h="224">
                    <a:moveTo>
                      <a:pt x="149" y="56"/>
                    </a:moveTo>
                    <a:lnTo>
                      <a:pt x="145" y="44"/>
                    </a:lnTo>
                    <a:lnTo>
                      <a:pt x="143" y="36"/>
                    </a:lnTo>
                    <a:lnTo>
                      <a:pt x="141" y="28"/>
                    </a:lnTo>
                    <a:lnTo>
                      <a:pt x="137" y="16"/>
                    </a:lnTo>
                    <a:lnTo>
                      <a:pt x="131" y="10"/>
                    </a:lnTo>
                    <a:lnTo>
                      <a:pt x="121" y="8"/>
                    </a:lnTo>
                    <a:lnTo>
                      <a:pt x="113" y="4"/>
                    </a:lnTo>
                    <a:lnTo>
                      <a:pt x="105" y="0"/>
                    </a:lnTo>
                    <a:lnTo>
                      <a:pt x="97" y="4"/>
                    </a:lnTo>
                    <a:lnTo>
                      <a:pt x="89" y="6"/>
                    </a:lnTo>
                    <a:lnTo>
                      <a:pt x="77" y="6"/>
                    </a:lnTo>
                    <a:lnTo>
                      <a:pt x="65" y="8"/>
                    </a:lnTo>
                    <a:lnTo>
                      <a:pt x="59" y="12"/>
                    </a:lnTo>
                    <a:lnTo>
                      <a:pt x="50" y="22"/>
                    </a:lnTo>
                    <a:lnTo>
                      <a:pt x="42" y="32"/>
                    </a:lnTo>
                    <a:lnTo>
                      <a:pt x="36" y="42"/>
                    </a:lnTo>
                    <a:lnTo>
                      <a:pt x="32" y="54"/>
                    </a:lnTo>
                    <a:lnTo>
                      <a:pt x="30" y="64"/>
                    </a:lnTo>
                    <a:lnTo>
                      <a:pt x="30" y="76"/>
                    </a:lnTo>
                    <a:lnTo>
                      <a:pt x="22" y="76"/>
                    </a:lnTo>
                    <a:lnTo>
                      <a:pt x="12" y="76"/>
                    </a:lnTo>
                    <a:lnTo>
                      <a:pt x="8" y="78"/>
                    </a:lnTo>
                    <a:lnTo>
                      <a:pt x="6" y="82"/>
                    </a:lnTo>
                    <a:lnTo>
                      <a:pt x="4" y="86"/>
                    </a:lnTo>
                    <a:lnTo>
                      <a:pt x="4" y="90"/>
                    </a:lnTo>
                    <a:lnTo>
                      <a:pt x="4" y="98"/>
                    </a:lnTo>
                    <a:lnTo>
                      <a:pt x="8" y="108"/>
                    </a:lnTo>
                    <a:lnTo>
                      <a:pt x="12" y="122"/>
                    </a:lnTo>
                    <a:lnTo>
                      <a:pt x="12" y="130"/>
                    </a:lnTo>
                    <a:lnTo>
                      <a:pt x="12" y="132"/>
                    </a:lnTo>
                    <a:lnTo>
                      <a:pt x="14" y="134"/>
                    </a:lnTo>
                    <a:lnTo>
                      <a:pt x="20" y="138"/>
                    </a:lnTo>
                    <a:lnTo>
                      <a:pt x="0" y="168"/>
                    </a:lnTo>
                    <a:lnTo>
                      <a:pt x="4" y="172"/>
                    </a:lnTo>
                    <a:lnTo>
                      <a:pt x="14" y="182"/>
                    </a:lnTo>
                    <a:lnTo>
                      <a:pt x="28" y="202"/>
                    </a:lnTo>
                    <a:lnTo>
                      <a:pt x="30" y="204"/>
                    </a:lnTo>
                    <a:lnTo>
                      <a:pt x="30" y="208"/>
                    </a:lnTo>
                    <a:lnTo>
                      <a:pt x="28" y="216"/>
                    </a:lnTo>
                    <a:lnTo>
                      <a:pt x="30" y="218"/>
                    </a:lnTo>
                    <a:lnTo>
                      <a:pt x="30" y="222"/>
                    </a:lnTo>
                    <a:lnTo>
                      <a:pt x="32" y="224"/>
                    </a:lnTo>
                    <a:lnTo>
                      <a:pt x="38" y="224"/>
                    </a:lnTo>
                    <a:lnTo>
                      <a:pt x="50" y="224"/>
                    </a:lnTo>
                    <a:lnTo>
                      <a:pt x="52" y="216"/>
                    </a:lnTo>
                    <a:lnTo>
                      <a:pt x="57" y="214"/>
                    </a:lnTo>
                    <a:lnTo>
                      <a:pt x="63" y="212"/>
                    </a:lnTo>
                    <a:lnTo>
                      <a:pt x="73" y="212"/>
                    </a:lnTo>
                    <a:lnTo>
                      <a:pt x="73" y="208"/>
                    </a:lnTo>
                    <a:lnTo>
                      <a:pt x="79" y="208"/>
                    </a:lnTo>
                    <a:lnTo>
                      <a:pt x="81" y="204"/>
                    </a:lnTo>
                    <a:lnTo>
                      <a:pt x="81" y="200"/>
                    </a:lnTo>
                    <a:lnTo>
                      <a:pt x="83" y="200"/>
                    </a:lnTo>
                    <a:lnTo>
                      <a:pt x="79" y="196"/>
                    </a:lnTo>
                    <a:lnTo>
                      <a:pt x="79" y="170"/>
                    </a:lnTo>
                    <a:lnTo>
                      <a:pt x="85" y="166"/>
                    </a:lnTo>
                    <a:lnTo>
                      <a:pt x="89" y="164"/>
                    </a:lnTo>
                    <a:lnTo>
                      <a:pt x="95" y="160"/>
                    </a:lnTo>
                    <a:lnTo>
                      <a:pt x="99" y="156"/>
                    </a:lnTo>
                    <a:lnTo>
                      <a:pt x="79" y="156"/>
                    </a:lnTo>
                    <a:lnTo>
                      <a:pt x="95" y="154"/>
                    </a:lnTo>
                    <a:lnTo>
                      <a:pt x="101" y="152"/>
                    </a:lnTo>
                    <a:lnTo>
                      <a:pt x="105" y="150"/>
                    </a:lnTo>
                    <a:lnTo>
                      <a:pt x="105" y="146"/>
                    </a:lnTo>
                    <a:lnTo>
                      <a:pt x="87" y="140"/>
                    </a:lnTo>
                    <a:lnTo>
                      <a:pt x="81" y="134"/>
                    </a:lnTo>
                    <a:lnTo>
                      <a:pt x="79" y="130"/>
                    </a:lnTo>
                    <a:lnTo>
                      <a:pt x="77" y="124"/>
                    </a:lnTo>
                    <a:lnTo>
                      <a:pt x="79" y="114"/>
                    </a:lnTo>
                    <a:lnTo>
                      <a:pt x="85" y="104"/>
                    </a:lnTo>
                    <a:lnTo>
                      <a:pt x="91" y="98"/>
                    </a:lnTo>
                    <a:lnTo>
                      <a:pt x="99" y="92"/>
                    </a:lnTo>
                    <a:lnTo>
                      <a:pt x="113" y="84"/>
                    </a:lnTo>
                    <a:lnTo>
                      <a:pt x="119" y="78"/>
                    </a:lnTo>
                    <a:lnTo>
                      <a:pt x="121" y="72"/>
                    </a:lnTo>
                    <a:lnTo>
                      <a:pt x="121" y="66"/>
                    </a:lnTo>
                    <a:lnTo>
                      <a:pt x="121" y="62"/>
                    </a:lnTo>
                    <a:lnTo>
                      <a:pt x="123" y="60"/>
                    </a:lnTo>
                    <a:lnTo>
                      <a:pt x="129" y="58"/>
                    </a:lnTo>
                    <a:lnTo>
                      <a:pt x="137" y="56"/>
                    </a:lnTo>
                    <a:lnTo>
                      <a:pt x="141" y="56"/>
                    </a:lnTo>
                    <a:lnTo>
                      <a:pt x="149" y="5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1" name="Freeform 143"/>
              <p:cNvSpPr>
                <a:spLocks noChangeAspect="1"/>
              </p:cNvSpPr>
              <p:nvPr/>
            </p:nvSpPr>
            <p:spPr bwMode="auto">
              <a:xfrm>
                <a:off x="3692124" y="3134251"/>
                <a:ext cx="412108" cy="252862"/>
              </a:xfrm>
              <a:custGeom>
                <a:avLst/>
                <a:gdLst/>
                <a:ahLst/>
                <a:cxnLst>
                  <a:cxn ang="0">
                    <a:pos x="271" y="20"/>
                  </a:cxn>
                  <a:cxn ang="0">
                    <a:pos x="245" y="16"/>
                  </a:cxn>
                  <a:cxn ang="0">
                    <a:pos x="241" y="28"/>
                  </a:cxn>
                  <a:cxn ang="0">
                    <a:pos x="233" y="40"/>
                  </a:cxn>
                  <a:cxn ang="0">
                    <a:pos x="207" y="34"/>
                  </a:cxn>
                  <a:cxn ang="0">
                    <a:pos x="187" y="30"/>
                  </a:cxn>
                  <a:cxn ang="0">
                    <a:pos x="173" y="36"/>
                  </a:cxn>
                  <a:cxn ang="0">
                    <a:pos x="141" y="40"/>
                  </a:cxn>
                  <a:cxn ang="0">
                    <a:pos x="118" y="64"/>
                  </a:cxn>
                  <a:cxn ang="0">
                    <a:pos x="106" y="96"/>
                  </a:cxn>
                  <a:cxn ang="0">
                    <a:pos x="88" y="108"/>
                  </a:cxn>
                  <a:cxn ang="0">
                    <a:pos x="80" y="118"/>
                  </a:cxn>
                  <a:cxn ang="0">
                    <a:pos x="84" y="140"/>
                  </a:cxn>
                  <a:cxn ang="0">
                    <a:pos x="88" y="164"/>
                  </a:cxn>
                  <a:cxn ang="0">
                    <a:pos x="76" y="200"/>
                  </a:cxn>
                  <a:cxn ang="0">
                    <a:pos x="64" y="188"/>
                  </a:cxn>
                  <a:cxn ang="0">
                    <a:pos x="50" y="206"/>
                  </a:cxn>
                  <a:cxn ang="0">
                    <a:pos x="26" y="212"/>
                  </a:cxn>
                  <a:cxn ang="0">
                    <a:pos x="8" y="202"/>
                  </a:cxn>
                  <a:cxn ang="0">
                    <a:pos x="12" y="194"/>
                  </a:cxn>
                  <a:cxn ang="0">
                    <a:pos x="2" y="188"/>
                  </a:cxn>
                  <a:cxn ang="0">
                    <a:pos x="8" y="174"/>
                  </a:cxn>
                  <a:cxn ang="0">
                    <a:pos x="0" y="144"/>
                  </a:cxn>
                  <a:cxn ang="0">
                    <a:pos x="22" y="136"/>
                  </a:cxn>
                  <a:cxn ang="0">
                    <a:pos x="38" y="124"/>
                  </a:cxn>
                  <a:cxn ang="0">
                    <a:pos x="54" y="120"/>
                  </a:cxn>
                  <a:cxn ang="0">
                    <a:pos x="64" y="118"/>
                  </a:cxn>
                  <a:cxn ang="0">
                    <a:pos x="62" y="116"/>
                  </a:cxn>
                  <a:cxn ang="0">
                    <a:pos x="60" y="106"/>
                  </a:cxn>
                  <a:cxn ang="0">
                    <a:pos x="80" y="94"/>
                  </a:cxn>
                  <a:cxn ang="0">
                    <a:pos x="94" y="68"/>
                  </a:cxn>
                  <a:cxn ang="0">
                    <a:pos x="106" y="60"/>
                  </a:cxn>
                  <a:cxn ang="0">
                    <a:pos x="112" y="50"/>
                  </a:cxn>
                  <a:cxn ang="0">
                    <a:pos x="106" y="44"/>
                  </a:cxn>
                  <a:cxn ang="0">
                    <a:pos x="106" y="42"/>
                  </a:cxn>
                  <a:cxn ang="0">
                    <a:pos x="114" y="34"/>
                  </a:cxn>
                  <a:cxn ang="0">
                    <a:pos x="135" y="36"/>
                  </a:cxn>
                  <a:cxn ang="0">
                    <a:pos x="139" y="26"/>
                  </a:cxn>
                  <a:cxn ang="0">
                    <a:pos x="161" y="16"/>
                  </a:cxn>
                  <a:cxn ang="0">
                    <a:pos x="169" y="16"/>
                  </a:cxn>
                  <a:cxn ang="0">
                    <a:pos x="185" y="12"/>
                  </a:cxn>
                  <a:cxn ang="0">
                    <a:pos x="227" y="0"/>
                  </a:cxn>
                  <a:cxn ang="0">
                    <a:pos x="243" y="8"/>
                  </a:cxn>
                  <a:cxn ang="0">
                    <a:pos x="251" y="2"/>
                  </a:cxn>
                  <a:cxn ang="0">
                    <a:pos x="271" y="4"/>
                  </a:cxn>
                  <a:cxn ang="0">
                    <a:pos x="289" y="14"/>
                  </a:cxn>
                  <a:cxn ang="0">
                    <a:pos x="287" y="18"/>
                  </a:cxn>
                  <a:cxn ang="0">
                    <a:pos x="295" y="26"/>
                  </a:cxn>
                </a:cxnLst>
                <a:rect l="0" t="0" r="r" b="b"/>
                <a:pathLst>
                  <a:path w="295" h="214">
                    <a:moveTo>
                      <a:pt x="285" y="28"/>
                    </a:moveTo>
                    <a:lnTo>
                      <a:pt x="277" y="24"/>
                    </a:lnTo>
                    <a:lnTo>
                      <a:pt x="271" y="20"/>
                    </a:lnTo>
                    <a:lnTo>
                      <a:pt x="263" y="16"/>
                    </a:lnTo>
                    <a:lnTo>
                      <a:pt x="251" y="14"/>
                    </a:lnTo>
                    <a:lnTo>
                      <a:pt x="245" y="16"/>
                    </a:lnTo>
                    <a:lnTo>
                      <a:pt x="243" y="18"/>
                    </a:lnTo>
                    <a:lnTo>
                      <a:pt x="241" y="22"/>
                    </a:lnTo>
                    <a:lnTo>
                      <a:pt x="241" y="28"/>
                    </a:lnTo>
                    <a:lnTo>
                      <a:pt x="239" y="32"/>
                    </a:lnTo>
                    <a:lnTo>
                      <a:pt x="237" y="36"/>
                    </a:lnTo>
                    <a:lnTo>
                      <a:pt x="233" y="40"/>
                    </a:lnTo>
                    <a:lnTo>
                      <a:pt x="227" y="40"/>
                    </a:lnTo>
                    <a:lnTo>
                      <a:pt x="217" y="38"/>
                    </a:lnTo>
                    <a:lnTo>
                      <a:pt x="207" y="34"/>
                    </a:lnTo>
                    <a:lnTo>
                      <a:pt x="197" y="32"/>
                    </a:lnTo>
                    <a:lnTo>
                      <a:pt x="189" y="30"/>
                    </a:lnTo>
                    <a:lnTo>
                      <a:pt x="187" y="30"/>
                    </a:lnTo>
                    <a:lnTo>
                      <a:pt x="185" y="30"/>
                    </a:lnTo>
                    <a:lnTo>
                      <a:pt x="181" y="32"/>
                    </a:lnTo>
                    <a:lnTo>
                      <a:pt x="173" y="36"/>
                    </a:lnTo>
                    <a:lnTo>
                      <a:pt x="165" y="38"/>
                    </a:lnTo>
                    <a:lnTo>
                      <a:pt x="153" y="38"/>
                    </a:lnTo>
                    <a:lnTo>
                      <a:pt x="141" y="40"/>
                    </a:lnTo>
                    <a:lnTo>
                      <a:pt x="135" y="44"/>
                    </a:lnTo>
                    <a:lnTo>
                      <a:pt x="126" y="54"/>
                    </a:lnTo>
                    <a:lnTo>
                      <a:pt x="118" y="64"/>
                    </a:lnTo>
                    <a:lnTo>
                      <a:pt x="112" y="74"/>
                    </a:lnTo>
                    <a:lnTo>
                      <a:pt x="108" y="86"/>
                    </a:lnTo>
                    <a:lnTo>
                      <a:pt x="106" y="96"/>
                    </a:lnTo>
                    <a:lnTo>
                      <a:pt x="106" y="108"/>
                    </a:lnTo>
                    <a:lnTo>
                      <a:pt x="98" y="108"/>
                    </a:lnTo>
                    <a:lnTo>
                      <a:pt x="88" y="108"/>
                    </a:lnTo>
                    <a:lnTo>
                      <a:pt x="84" y="110"/>
                    </a:lnTo>
                    <a:lnTo>
                      <a:pt x="82" y="114"/>
                    </a:lnTo>
                    <a:lnTo>
                      <a:pt x="80" y="118"/>
                    </a:lnTo>
                    <a:lnTo>
                      <a:pt x="80" y="122"/>
                    </a:lnTo>
                    <a:lnTo>
                      <a:pt x="80" y="130"/>
                    </a:lnTo>
                    <a:lnTo>
                      <a:pt x="84" y="140"/>
                    </a:lnTo>
                    <a:lnTo>
                      <a:pt x="88" y="154"/>
                    </a:lnTo>
                    <a:lnTo>
                      <a:pt x="88" y="162"/>
                    </a:lnTo>
                    <a:lnTo>
                      <a:pt x="88" y="164"/>
                    </a:lnTo>
                    <a:lnTo>
                      <a:pt x="90" y="166"/>
                    </a:lnTo>
                    <a:lnTo>
                      <a:pt x="96" y="170"/>
                    </a:lnTo>
                    <a:lnTo>
                      <a:pt x="76" y="200"/>
                    </a:lnTo>
                    <a:lnTo>
                      <a:pt x="70" y="198"/>
                    </a:lnTo>
                    <a:lnTo>
                      <a:pt x="68" y="196"/>
                    </a:lnTo>
                    <a:lnTo>
                      <a:pt x="64" y="188"/>
                    </a:lnTo>
                    <a:lnTo>
                      <a:pt x="62" y="192"/>
                    </a:lnTo>
                    <a:lnTo>
                      <a:pt x="62" y="196"/>
                    </a:lnTo>
                    <a:lnTo>
                      <a:pt x="50" y="206"/>
                    </a:lnTo>
                    <a:lnTo>
                      <a:pt x="42" y="210"/>
                    </a:lnTo>
                    <a:lnTo>
                      <a:pt x="36" y="214"/>
                    </a:lnTo>
                    <a:lnTo>
                      <a:pt x="26" y="212"/>
                    </a:lnTo>
                    <a:lnTo>
                      <a:pt x="18" y="208"/>
                    </a:lnTo>
                    <a:lnTo>
                      <a:pt x="10" y="204"/>
                    </a:lnTo>
                    <a:lnTo>
                      <a:pt x="8" y="202"/>
                    </a:lnTo>
                    <a:lnTo>
                      <a:pt x="8" y="200"/>
                    </a:lnTo>
                    <a:lnTo>
                      <a:pt x="10" y="196"/>
                    </a:lnTo>
                    <a:lnTo>
                      <a:pt x="12" y="194"/>
                    </a:lnTo>
                    <a:lnTo>
                      <a:pt x="6" y="192"/>
                    </a:lnTo>
                    <a:lnTo>
                      <a:pt x="2" y="190"/>
                    </a:lnTo>
                    <a:lnTo>
                      <a:pt x="2" y="188"/>
                    </a:lnTo>
                    <a:lnTo>
                      <a:pt x="2" y="184"/>
                    </a:lnTo>
                    <a:lnTo>
                      <a:pt x="4" y="178"/>
                    </a:lnTo>
                    <a:lnTo>
                      <a:pt x="8" y="174"/>
                    </a:lnTo>
                    <a:lnTo>
                      <a:pt x="4" y="168"/>
                    </a:lnTo>
                    <a:lnTo>
                      <a:pt x="2" y="160"/>
                    </a:lnTo>
                    <a:lnTo>
                      <a:pt x="0" y="144"/>
                    </a:lnTo>
                    <a:lnTo>
                      <a:pt x="10" y="144"/>
                    </a:lnTo>
                    <a:lnTo>
                      <a:pt x="16" y="140"/>
                    </a:lnTo>
                    <a:lnTo>
                      <a:pt x="22" y="136"/>
                    </a:lnTo>
                    <a:lnTo>
                      <a:pt x="24" y="128"/>
                    </a:lnTo>
                    <a:lnTo>
                      <a:pt x="32" y="128"/>
                    </a:lnTo>
                    <a:lnTo>
                      <a:pt x="38" y="124"/>
                    </a:lnTo>
                    <a:lnTo>
                      <a:pt x="44" y="122"/>
                    </a:lnTo>
                    <a:lnTo>
                      <a:pt x="52" y="122"/>
                    </a:lnTo>
                    <a:lnTo>
                      <a:pt x="54" y="120"/>
                    </a:lnTo>
                    <a:lnTo>
                      <a:pt x="58" y="116"/>
                    </a:lnTo>
                    <a:lnTo>
                      <a:pt x="60" y="118"/>
                    </a:lnTo>
                    <a:lnTo>
                      <a:pt x="64" y="118"/>
                    </a:lnTo>
                    <a:lnTo>
                      <a:pt x="70" y="118"/>
                    </a:lnTo>
                    <a:lnTo>
                      <a:pt x="72" y="116"/>
                    </a:lnTo>
                    <a:lnTo>
                      <a:pt x="62" y="116"/>
                    </a:lnTo>
                    <a:lnTo>
                      <a:pt x="60" y="114"/>
                    </a:lnTo>
                    <a:lnTo>
                      <a:pt x="58" y="110"/>
                    </a:lnTo>
                    <a:lnTo>
                      <a:pt x="60" y="106"/>
                    </a:lnTo>
                    <a:lnTo>
                      <a:pt x="66" y="102"/>
                    </a:lnTo>
                    <a:lnTo>
                      <a:pt x="76" y="98"/>
                    </a:lnTo>
                    <a:lnTo>
                      <a:pt x="80" y="94"/>
                    </a:lnTo>
                    <a:lnTo>
                      <a:pt x="86" y="86"/>
                    </a:lnTo>
                    <a:lnTo>
                      <a:pt x="92" y="70"/>
                    </a:lnTo>
                    <a:lnTo>
                      <a:pt x="94" y="68"/>
                    </a:lnTo>
                    <a:lnTo>
                      <a:pt x="96" y="68"/>
                    </a:lnTo>
                    <a:lnTo>
                      <a:pt x="102" y="64"/>
                    </a:lnTo>
                    <a:lnTo>
                      <a:pt x="106" y="60"/>
                    </a:lnTo>
                    <a:lnTo>
                      <a:pt x="108" y="56"/>
                    </a:lnTo>
                    <a:lnTo>
                      <a:pt x="108" y="52"/>
                    </a:lnTo>
                    <a:lnTo>
                      <a:pt x="112" y="50"/>
                    </a:lnTo>
                    <a:lnTo>
                      <a:pt x="116" y="48"/>
                    </a:lnTo>
                    <a:lnTo>
                      <a:pt x="116" y="40"/>
                    </a:lnTo>
                    <a:lnTo>
                      <a:pt x="106" y="44"/>
                    </a:lnTo>
                    <a:lnTo>
                      <a:pt x="104" y="44"/>
                    </a:lnTo>
                    <a:lnTo>
                      <a:pt x="100" y="42"/>
                    </a:lnTo>
                    <a:lnTo>
                      <a:pt x="106" y="42"/>
                    </a:lnTo>
                    <a:lnTo>
                      <a:pt x="106" y="40"/>
                    </a:lnTo>
                    <a:lnTo>
                      <a:pt x="112" y="38"/>
                    </a:lnTo>
                    <a:lnTo>
                      <a:pt x="114" y="34"/>
                    </a:lnTo>
                    <a:lnTo>
                      <a:pt x="116" y="34"/>
                    </a:lnTo>
                    <a:lnTo>
                      <a:pt x="120" y="36"/>
                    </a:lnTo>
                    <a:lnTo>
                      <a:pt x="135" y="36"/>
                    </a:lnTo>
                    <a:lnTo>
                      <a:pt x="135" y="28"/>
                    </a:lnTo>
                    <a:lnTo>
                      <a:pt x="135" y="26"/>
                    </a:lnTo>
                    <a:lnTo>
                      <a:pt x="139" y="26"/>
                    </a:lnTo>
                    <a:lnTo>
                      <a:pt x="145" y="28"/>
                    </a:lnTo>
                    <a:lnTo>
                      <a:pt x="155" y="22"/>
                    </a:lnTo>
                    <a:lnTo>
                      <a:pt x="161" y="16"/>
                    </a:lnTo>
                    <a:lnTo>
                      <a:pt x="165" y="12"/>
                    </a:lnTo>
                    <a:lnTo>
                      <a:pt x="167" y="14"/>
                    </a:lnTo>
                    <a:lnTo>
                      <a:pt x="169" y="16"/>
                    </a:lnTo>
                    <a:lnTo>
                      <a:pt x="175" y="18"/>
                    </a:lnTo>
                    <a:lnTo>
                      <a:pt x="181" y="16"/>
                    </a:lnTo>
                    <a:lnTo>
                      <a:pt x="185" y="12"/>
                    </a:lnTo>
                    <a:lnTo>
                      <a:pt x="189" y="8"/>
                    </a:lnTo>
                    <a:lnTo>
                      <a:pt x="209" y="4"/>
                    </a:lnTo>
                    <a:lnTo>
                      <a:pt x="227" y="0"/>
                    </a:lnTo>
                    <a:lnTo>
                      <a:pt x="233" y="2"/>
                    </a:lnTo>
                    <a:lnTo>
                      <a:pt x="239" y="4"/>
                    </a:lnTo>
                    <a:lnTo>
                      <a:pt x="243" y="8"/>
                    </a:lnTo>
                    <a:lnTo>
                      <a:pt x="245" y="12"/>
                    </a:lnTo>
                    <a:lnTo>
                      <a:pt x="249" y="6"/>
                    </a:lnTo>
                    <a:lnTo>
                      <a:pt x="251" y="2"/>
                    </a:lnTo>
                    <a:lnTo>
                      <a:pt x="257" y="2"/>
                    </a:lnTo>
                    <a:lnTo>
                      <a:pt x="265" y="2"/>
                    </a:lnTo>
                    <a:lnTo>
                      <a:pt x="271" y="4"/>
                    </a:lnTo>
                    <a:lnTo>
                      <a:pt x="279" y="6"/>
                    </a:lnTo>
                    <a:lnTo>
                      <a:pt x="289" y="6"/>
                    </a:lnTo>
                    <a:lnTo>
                      <a:pt x="289" y="14"/>
                    </a:lnTo>
                    <a:lnTo>
                      <a:pt x="277" y="14"/>
                    </a:lnTo>
                    <a:lnTo>
                      <a:pt x="281" y="16"/>
                    </a:lnTo>
                    <a:lnTo>
                      <a:pt x="287" y="18"/>
                    </a:lnTo>
                    <a:lnTo>
                      <a:pt x="291" y="18"/>
                    </a:lnTo>
                    <a:lnTo>
                      <a:pt x="295" y="14"/>
                    </a:lnTo>
                    <a:lnTo>
                      <a:pt x="295" y="26"/>
                    </a:lnTo>
                    <a:lnTo>
                      <a:pt x="279" y="30"/>
                    </a:lnTo>
                    <a:lnTo>
                      <a:pt x="285" y="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2" name="Freeform 144"/>
              <p:cNvSpPr>
                <a:spLocks noChangeAspect="1"/>
              </p:cNvSpPr>
              <p:nvPr/>
            </p:nvSpPr>
            <p:spPr bwMode="auto">
              <a:xfrm>
                <a:off x="4024512" y="3352525"/>
                <a:ext cx="79720" cy="40553"/>
              </a:xfrm>
              <a:custGeom>
                <a:avLst/>
                <a:gdLst/>
                <a:ahLst/>
                <a:cxnLst>
                  <a:cxn ang="0">
                    <a:pos x="58" y="34"/>
                  </a:cxn>
                  <a:cxn ang="0">
                    <a:pos x="52" y="24"/>
                  </a:cxn>
                  <a:cxn ang="0">
                    <a:pos x="48" y="16"/>
                  </a:cxn>
                  <a:cxn ang="0">
                    <a:pos x="52" y="16"/>
                  </a:cxn>
                  <a:cxn ang="0">
                    <a:pos x="54" y="14"/>
                  </a:cxn>
                  <a:cxn ang="0">
                    <a:pos x="54" y="4"/>
                  </a:cxn>
                  <a:cxn ang="0">
                    <a:pos x="48" y="6"/>
                  </a:cxn>
                  <a:cxn ang="0">
                    <a:pos x="44" y="6"/>
                  </a:cxn>
                  <a:cxn ang="0">
                    <a:pos x="40" y="4"/>
                  </a:cxn>
                  <a:cxn ang="0">
                    <a:pos x="32" y="0"/>
                  </a:cxn>
                  <a:cxn ang="0">
                    <a:pos x="24" y="0"/>
                  </a:cxn>
                  <a:cxn ang="0">
                    <a:pos x="14" y="2"/>
                  </a:cxn>
                  <a:cxn ang="0">
                    <a:pos x="6" y="6"/>
                  </a:cxn>
                  <a:cxn ang="0">
                    <a:pos x="2" y="8"/>
                  </a:cxn>
                  <a:cxn ang="0">
                    <a:pos x="0" y="10"/>
                  </a:cxn>
                  <a:cxn ang="0">
                    <a:pos x="2" y="16"/>
                  </a:cxn>
                  <a:cxn ang="0">
                    <a:pos x="6" y="20"/>
                  </a:cxn>
                  <a:cxn ang="0">
                    <a:pos x="10" y="22"/>
                  </a:cxn>
                  <a:cxn ang="0">
                    <a:pos x="18" y="24"/>
                  </a:cxn>
                  <a:cxn ang="0">
                    <a:pos x="26" y="22"/>
                  </a:cxn>
                  <a:cxn ang="0">
                    <a:pos x="30" y="22"/>
                  </a:cxn>
                  <a:cxn ang="0">
                    <a:pos x="34" y="24"/>
                  </a:cxn>
                  <a:cxn ang="0">
                    <a:pos x="36" y="28"/>
                  </a:cxn>
                  <a:cxn ang="0">
                    <a:pos x="38" y="32"/>
                  </a:cxn>
                  <a:cxn ang="0">
                    <a:pos x="42" y="34"/>
                  </a:cxn>
                  <a:cxn ang="0">
                    <a:pos x="44" y="34"/>
                  </a:cxn>
                  <a:cxn ang="0">
                    <a:pos x="46" y="30"/>
                  </a:cxn>
                  <a:cxn ang="0">
                    <a:pos x="50" y="30"/>
                  </a:cxn>
                  <a:cxn ang="0">
                    <a:pos x="54" y="32"/>
                  </a:cxn>
                  <a:cxn ang="0">
                    <a:pos x="58" y="34"/>
                  </a:cxn>
                </a:cxnLst>
                <a:rect l="0" t="0" r="r" b="b"/>
                <a:pathLst>
                  <a:path w="58" h="34">
                    <a:moveTo>
                      <a:pt x="58" y="34"/>
                    </a:moveTo>
                    <a:lnTo>
                      <a:pt x="52" y="24"/>
                    </a:lnTo>
                    <a:lnTo>
                      <a:pt x="48" y="16"/>
                    </a:lnTo>
                    <a:lnTo>
                      <a:pt x="52" y="16"/>
                    </a:lnTo>
                    <a:lnTo>
                      <a:pt x="54" y="14"/>
                    </a:lnTo>
                    <a:lnTo>
                      <a:pt x="54" y="4"/>
                    </a:lnTo>
                    <a:lnTo>
                      <a:pt x="48" y="6"/>
                    </a:lnTo>
                    <a:lnTo>
                      <a:pt x="44" y="6"/>
                    </a:lnTo>
                    <a:lnTo>
                      <a:pt x="40" y="4"/>
                    </a:lnTo>
                    <a:lnTo>
                      <a:pt x="32" y="0"/>
                    </a:lnTo>
                    <a:lnTo>
                      <a:pt x="24" y="0"/>
                    </a:lnTo>
                    <a:lnTo>
                      <a:pt x="14" y="2"/>
                    </a:lnTo>
                    <a:lnTo>
                      <a:pt x="6" y="6"/>
                    </a:lnTo>
                    <a:lnTo>
                      <a:pt x="2" y="8"/>
                    </a:lnTo>
                    <a:lnTo>
                      <a:pt x="0" y="10"/>
                    </a:lnTo>
                    <a:lnTo>
                      <a:pt x="2" y="16"/>
                    </a:lnTo>
                    <a:lnTo>
                      <a:pt x="6" y="20"/>
                    </a:lnTo>
                    <a:lnTo>
                      <a:pt x="10" y="22"/>
                    </a:lnTo>
                    <a:lnTo>
                      <a:pt x="18" y="24"/>
                    </a:lnTo>
                    <a:lnTo>
                      <a:pt x="26" y="22"/>
                    </a:lnTo>
                    <a:lnTo>
                      <a:pt x="30" y="22"/>
                    </a:lnTo>
                    <a:lnTo>
                      <a:pt x="34" y="24"/>
                    </a:lnTo>
                    <a:lnTo>
                      <a:pt x="36" y="28"/>
                    </a:lnTo>
                    <a:lnTo>
                      <a:pt x="38" y="32"/>
                    </a:lnTo>
                    <a:lnTo>
                      <a:pt x="42" y="34"/>
                    </a:lnTo>
                    <a:lnTo>
                      <a:pt x="44" y="34"/>
                    </a:lnTo>
                    <a:lnTo>
                      <a:pt x="46" y="30"/>
                    </a:lnTo>
                    <a:lnTo>
                      <a:pt x="50" y="30"/>
                    </a:lnTo>
                    <a:lnTo>
                      <a:pt x="54" y="32"/>
                    </a:lnTo>
                    <a:lnTo>
                      <a:pt x="58" y="3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3" name="Freeform 145"/>
              <p:cNvSpPr>
                <a:spLocks noChangeAspect="1"/>
              </p:cNvSpPr>
              <p:nvPr/>
            </p:nvSpPr>
            <p:spPr bwMode="auto">
              <a:xfrm>
                <a:off x="3994788" y="3378765"/>
                <a:ext cx="118903" cy="59637"/>
              </a:xfrm>
              <a:custGeom>
                <a:avLst/>
                <a:gdLst/>
                <a:ahLst/>
                <a:cxnLst>
                  <a:cxn ang="0">
                    <a:pos x="68" y="50"/>
                  </a:cxn>
                  <a:cxn ang="0">
                    <a:pos x="74" y="50"/>
                  </a:cxn>
                  <a:cxn ang="0">
                    <a:pos x="80" y="48"/>
                  </a:cxn>
                  <a:cxn ang="0">
                    <a:pos x="84" y="46"/>
                  </a:cxn>
                  <a:cxn ang="0">
                    <a:pos x="86" y="42"/>
                  </a:cxn>
                  <a:cxn ang="0">
                    <a:pos x="86" y="38"/>
                  </a:cxn>
                  <a:cxn ang="0">
                    <a:pos x="84" y="30"/>
                  </a:cxn>
                  <a:cxn ang="0">
                    <a:pos x="84" y="26"/>
                  </a:cxn>
                  <a:cxn ang="0">
                    <a:pos x="80" y="12"/>
                  </a:cxn>
                  <a:cxn ang="0">
                    <a:pos x="76" y="10"/>
                  </a:cxn>
                  <a:cxn ang="0">
                    <a:pos x="72" y="8"/>
                  </a:cxn>
                  <a:cxn ang="0">
                    <a:pos x="68" y="8"/>
                  </a:cxn>
                  <a:cxn ang="0">
                    <a:pos x="66" y="12"/>
                  </a:cxn>
                  <a:cxn ang="0">
                    <a:pos x="64" y="12"/>
                  </a:cxn>
                  <a:cxn ang="0">
                    <a:pos x="60" y="10"/>
                  </a:cxn>
                  <a:cxn ang="0">
                    <a:pos x="58" y="6"/>
                  </a:cxn>
                  <a:cxn ang="0">
                    <a:pos x="56" y="2"/>
                  </a:cxn>
                  <a:cxn ang="0">
                    <a:pos x="52" y="0"/>
                  </a:cxn>
                  <a:cxn ang="0">
                    <a:pos x="48" y="0"/>
                  </a:cxn>
                  <a:cxn ang="0">
                    <a:pos x="40" y="2"/>
                  </a:cxn>
                  <a:cxn ang="0">
                    <a:pos x="42" y="4"/>
                  </a:cxn>
                  <a:cxn ang="0">
                    <a:pos x="44" y="12"/>
                  </a:cxn>
                  <a:cxn ang="0">
                    <a:pos x="42" y="16"/>
                  </a:cxn>
                  <a:cxn ang="0">
                    <a:pos x="42" y="18"/>
                  </a:cxn>
                  <a:cxn ang="0">
                    <a:pos x="38" y="22"/>
                  </a:cxn>
                  <a:cxn ang="0">
                    <a:pos x="32" y="24"/>
                  </a:cxn>
                  <a:cxn ang="0">
                    <a:pos x="30" y="24"/>
                  </a:cxn>
                  <a:cxn ang="0">
                    <a:pos x="28" y="22"/>
                  </a:cxn>
                  <a:cxn ang="0">
                    <a:pos x="24" y="18"/>
                  </a:cxn>
                  <a:cxn ang="0">
                    <a:pos x="18" y="12"/>
                  </a:cxn>
                  <a:cxn ang="0">
                    <a:pos x="16" y="10"/>
                  </a:cxn>
                  <a:cxn ang="0">
                    <a:pos x="12" y="10"/>
                  </a:cxn>
                  <a:cxn ang="0">
                    <a:pos x="8" y="10"/>
                  </a:cxn>
                  <a:cxn ang="0">
                    <a:pos x="6" y="12"/>
                  </a:cxn>
                  <a:cxn ang="0">
                    <a:pos x="2" y="20"/>
                  </a:cxn>
                  <a:cxn ang="0">
                    <a:pos x="2" y="26"/>
                  </a:cxn>
                  <a:cxn ang="0">
                    <a:pos x="0" y="30"/>
                  </a:cxn>
                  <a:cxn ang="0">
                    <a:pos x="2" y="38"/>
                  </a:cxn>
                  <a:cxn ang="0">
                    <a:pos x="2" y="36"/>
                  </a:cxn>
                  <a:cxn ang="0">
                    <a:pos x="4" y="34"/>
                  </a:cxn>
                  <a:cxn ang="0">
                    <a:pos x="12" y="34"/>
                  </a:cxn>
                  <a:cxn ang="0">
                    <a:pos x="24" y="34"/>
                  </a:cxn>
                  <a:cxn ang="0">
                    <a:pos x="28" y="36"/>
                  </a:cxn>
                  <a:cxn ang="0">
                    <a:pos x="34" y="38"/>
                  </a:cxn>
                  <a:cxn ang="0">
                    <a:pos x="42" y="36"/>
                  </a:cxn>
                  <a:cxn ang="0">
                    <a:pos x="50" y="32"/>
                  </a:cxn>
                  <a:cxn ang="0">
                    <a:pos x="54" y="38"/>
                  </a:cxn>
                  <a:cxn ang="0">
                    <a:pos x="58" y="40"/>
                  </a:cxn>
                  <a:cxn ang="0">
                    <a:pos x="58" y="44"/>
                  </a:cxn>
                  <a:cxn ang="0">
                    <a:pos x="60" y="48"/>
                  </a:cxn>
                  <a:cxn ang="0">
                    <a:pos x="66" y="50"/>
                  </a:cxn>
                  <a:cxn ang="0">
                    <a:pos x="68" y="50"/>
                  </a:cxn>
                </a:cxnLst>
                <a:rect l="0" t="0" r="r" b="b"/>
                <a:pathLst>
                  <a:path w="86" h="50">
                    <a:moveTo>
                      <a:pt x="68" y="50"/>
                    </a:moveTo>
                    <a:lnTo>
                      <a:pt x="74" y="50"/>
                    </a:lnTo>
                    <a:lnTo>
                      <a:pt x="80" y="48"/>
                    </a:lnTo>
                    <a:lnTo>
                      <a:pt x="84" y="46"/>
                    </a:lnTo>
                    <a:lnTo>
                      <a:pt x="86" y="42"/>
                    </a:lnTo>
                    <a:lnTo>
                      <a:pt x="86" y="38"/>
                    </a:lnTo>
                    <a:lnTo>
                      <a:pt x="84" y="30"/>
                    </a:lnTo>
                    <a:lnTo>
                      <a:pt x="84" y="26"/>
                    </a:lnTo>
                    <a:lnTo>
                      <a:pt x="80" y="12"/>
                    </a:lnTo>
                    <a:lnTo>
                      <a:pt x="76" y="10"/>
                    </a:lnTo>
                    <a:lnTo>
                      <a:pt x="72" y="8"/>
                    </a:lnTo>
                    <a:lnTo>
                      <a:pt x="68" y="8"/>
                    </a:lnTo>
                    <a:lnTo>
                      <a:pt x="66" y="12"/>
                    </a:lnTo>
                    <a:lnTo>
                      <a:pt x="64" y="12"/>
                    </a:lnTo>
                    <a:lnTo>
                      <a:pt x="60" y="10"/>
                    </a:lnTo>
                    <a:lnTo>
                      <a:pt x="58" y="6"/>
                    </a:lnTo>
                    <a:lnTo>
                      <a:pt x="56" y="2"/>
                    </a:lnTo>
                    <a:lnTo>
                      <a:pt x="52" y="0"/>
                    </a:lnTo>
                    <a:lnTo>
                      <a:pt x="48" y="0"/>
                    </a:lnTo>
                    <a:lnTo>
                      <a:pt x="40" y="2"/>
                    </a:lnTo>
                    <a:lnTo>
                      <a:pt x="42" y="4"/>
                    </a:lnTo>
                    <a:lnTo>
                      <a:pt x="44" y="12"/>
                    </a:lnTo>
                    <a:lnTo>
                      <a:pt x="42" y="16"/>
                    </a:lnTo>
                    <a:lnTo>
                      <a:pt x="42" y="18"/>
                    </a:lnTo>
                    <a:lnTo>
                      <a:pt x="38" y="22"/>
                    </a:lnTo>
                    <a:lnTo>
                      <a:pt x="32" y="24"/>
                    </a:lnTo>
                    <a:lnTo>
                      <a:pt x="30" y="24"/>
                    </a:lnTo>
                    <a:lnTo>
                      <a:pt x="28" y="22"/>
                    </a:lnTo>
                    <a:lnTo>
                      <a:pt x="24" y="18"/>
                    </a:lnTo>
                    <a:lnTo>
                      <a:pt x="18" y="12"/>
                    </a:lnTo>
                    <a:lnTo>
                      <a:pt x="16" y="10"/>
                    </a:lnTo>
                    <a:lnTo>
                      <a:pt x="12" y="10"/>
                    </a:lnTo>
                    <a:lnTo>
                      <a:pt x="8" y="10"/>
                    </a:lnTo>
                    <a:lnTo>
                      <a:pt x="6" y="12"/>
                    </a:lnTo>
                    <a:lnTo>
                      <a:pt x="2" y="20"/>
                    </a:lnTo>
                    <a:lnTo>
                      <a:pt x="2" y="26"/>
                    </a:lnTo>
                    <a:lnTo>
                      <a:pt x="0" y="30"/>
                    </a:lnTo>
                    <a:lnTo>
                      <a:pt x="2" y="38"/>
                    </a:lnTo>
                    <a:lnTo>
                      <a:pt x="2" y="36"/>
                    </a:lnTo>
                    <a:lnTo>
                      <a:pt x="4" y="34"/>
                    </a:lnTo>
                    <a:lnTo>
                      <a:pt x="12" y="34"/>
                    </a:lnTo>
                    <a:lnTo>
                      <a:pt x="24" y="34"/>
                    </a:lnTo>
                    <a:lnTo>
                      <a:pt x="28" y="36"/>
                    </a:lnTo>
                    <a:lnTo>
                      <a:pt x="34" y="38"/>
                    </a:lnTo>
                    <a:lnTo>
                      <a:pt x="42" y="36"/>
                    </a:lnTo>
                    <a:lnTo>
                      <a:pt x="50" y="32"/>
                    </a:lnTo>
                    <a:lnTo>
                      <a:pt x="54" y="38"/>
                    </a:lnTo>
                    <a:lnTo>
                      <a:pt x="58" y="40"/>
                    </a:lnTo>
                    <a:lnTo>
                      <a:pt x="58" y="44"/>
                    </a:lnTo>
                    <a:lnTo>
                      <a:pt x="60" y="48"/>
                    </a:lnTo>
                    <a:lnTo>
                      <a:pt x="66" y="50"/>
                    </a:lnTo>
                    <a:lnTo>
                      <a:pt x="68" y="5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4" name="Freeform 146"/>
              <p:cNvSpPr>
                <a:spLocks noChangeAspect="1"/>
              </p:cNvSpPr>
              <p:nvPr/>
            </p:nvSpPr>
            <p:spPr bwMode="auto">
              <a:xfrm>
                <a:off x="3994788" y="3416933"/>
                <a:ext cx="87827" cy="56059"/>
              </a:xfrm>
              <a:custGeom>
                <a:avLst/>
                <a:gdLst/>
                <a:ahLst/>
                <a:cxnLst>
                  <a:cxn ang="0">
                    <a:pos x="64" y="18"/>
                  </a:cxn>
                  <a:cxn ang="0">
                    <a:pos x="60" y="16"/>
                  </a:cxn>
                  <a:cxn ang="0">
                    <a:pos x="58" y="12"/>
                  </a:cxn>
                  <a:cxn ang="0">
                    <a:pos x="58" y="8"/>
                  </a:cxn>
                  <a:cxn ang="0">
                    <a:pos x="54" y="6"/>
                  </a:cxn>
                  <a:cxn ang="0">
                    <a:pos x="50" y="0"/>
                  </a:cxn>
                  <a:cxn ang="0">
                    <a:pos x="42" y="4"/>
                  </a:cxn>
                  <a:cxn ang="0">
                    <a:pos x="34" y="6"/>
                  </a:cxn>
                  <a:cxn ang="0">
                    <a:pos x="28" y="4"/>
                  </a:cxn>
                  <a:cxn ang="0">
                    <a:pos x="24" y="2"/>
                  </a:cxn>
                  <a:cxn ang="0">
                    <a:pos x="12" y="2"/>
                  </a:cxn>
                  <a:cxn ang="0">
                    <a:pos x="4" y="2"/>
                  </a:cxn>
                  <a:cxn ang="0">
                    <a:pos x="2" y="4"/>
                  </a:cxn>
                  <a:cxn ang="0">
                    <a:pos x="0" y="6"/>
                  </a:cxn>
                  <a:cxn ang="0">
                    <a:pos x="0" y="20"/>
                  </a:cxn>
                  <a:cxn ang="0">
                    <a:pos x="8" y="20"/>
                  </a:cxn>
                  <a:cxn ang="0">
                    <a:pos x="16" y="20"/>
                  </a:cxn>
                  <a:cxn ang="0">
                    <a:pos x="22" y="22"/>
                  </a:cxn>
                  <a:cxn ang="0">
                    <a:pos x="28" y="24"/>
                  </a:cxn>
                  <a:cxn ang="0">
                    <a:pos x="26" y="36"/>
                  </a:cxn>
                  <a:cxn ang="0">
                    <a:pos x="30" y="40"/>
                  </a:cxn>
                  <a:cxn ang="0">
                    <a:pos x="32" y="40"/>
                  </a:cxn>
                  <a:cxn ang="0">
                    <a:pos x="34" y="42"/>
                  </a:cxn>
                  <a:cxn ang="0">
                    <a:pos x="38" y="46"/>
                  </a:cxn>
                  <a:cxn ang="0">
                    <a:pos x="40" y="48"/>
                  </a:cxn>
                  <a:cxn ang="0">
                    <a:pos x="44" y="46"/>
                  </a:cxn>
                  <a:cxn ang="0">
                    <a:pos x="50" y="46"/>
                  </a:cxn>
                  <a:cxn ang="0">
                    <a:pos x="56" y="34"/>
                  </a:cxn>
                  <a:cxn ang="0">
                    <a:pos x="58" y="30"/>
                  </a:cxn>
                  <a:cxn ang="0">
                    <a:pos x="64" y="24"/>
                  </a:cxn>
                  <a:cxn ang="0">
                    <a:pos x="64" y="20"/>
                  </a:cxn>
                  <a:cxn ang="0">
                    <a:pos x="64" y="18"/>
                  </a:cxn>
                </a:cxnLst>
                <a:rect l="0" t="0" r="r" b="b"/>
                <a:pathLst>
                  <a:path w="64" h="48">
                    <a:moveTo>
                      <a:pt x="64" y="18"/>
                    </a:moveTo>
                    <a:lnTo>
                      <a:pt x="60" y="16"/>
                    </a:lnTo>
                    <a:lnTo>
                      <a:pt x="58" y="12"/>
                    </a:lnTo>
                    <a:lnTo>
                      <a:pt x="58" y="8"/>
                    </a:lnTo>
                    <a:lnTo>
                      <a:pt x="54" y="6"/>
                    </a:lnTo>
                    <a:lnTo>
                      <a:pt x="50" y="0"/>
                    </a:lnTo>
                    <a:lnTo>
                      <a:pt x="42" y="4"/>
                    </a:lnTo>
                    <a:lnTo>
                      <a:pt x="34" y="6"/>
                    </a:lnTo>
                    <a:lnTo>
                      <a:pt x="28" y="4"/>
                    </a:lnTo>
                    <a:lnTo>
                      <a:pt x="24" y="2"/>
                    </a:lnTo>
                    <a:lnTo>
                      <a:pt x="12" y="2"/>
                    </a:lnTo>
                    <a:lnTo>
                      <a:pt x="4" y="2"/>
                    </a:lnTo>
                    <a:lnTo>
                      <a:pt x="2" y="4"/>
                    </a:lnTo>
                    <a:lnTo>
                      <a:pt x="0" y="6"/>
                    </a:lnTo>
                    <a:lnTo>
                      <a:pt x="0" y="20"/>
                    </a:lnTo>
                    <a:lnTo>
                      <a:pt x="8" y="20"/>
                    </a:lnTo>
                    <a:lnTo>
                      <a:pt x="16" y="20"/>
                    </a:lnTo>
                    <a:lnTo>
                      <a:pt x="22" y="22"/>
                    </a:lnTo>
                    <a:lnTo>
                      <a:pt x="28" y="24"/>
                    </a:lnTo>
                    <a:lnTo>
                      <a:pt x="26" y="36"/>
                    </a:lnTo>
                    <a:lnTo>
                      <a:pt x="30" y="40"/>
                    </a:lnTo>
                    <a:lnTo>
                      <a:pt x="32" y="40"/>
                    </a:lnTo>
                    <a:lnTo>
                      <a:pt x="34" y="42"/>
                    </a:lnTo>
                    <a:lnTo>
                      <a:pt x="38" y="46"/>
                    </a:lnTo>
                    <a:lnTo>
                      <a:pt x="40" y="48"/>
                    </a:lnTo>
                    <a:lnTo>
                      <a:pt x="44" y="46"/>
                    </a:lnTo>
                    <a:lnTo>
                      <a:pt x="50" y="46"/>
                    </a:lnTo>
                    <a:lnTo>
                      <a:pt x="56" y="34"/>
                    </a:lnTo>
                    <a:lnTo>
                      <a:pt x="58" y="30"/>
                    </a:lnTo>
                    <a:lnTo>
                      <a:pt x="64" y="24"/>
                    </a:lnTo>
                    <a:lnTo>
                      <a:pt x="64" y="20"/>
                    </a:lnTo>
                    <a:lnTo>
                      <a:pt x="64" y="1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5" name="Freeform 147"/>
              <p:cNvSpPr>
                <a:spLocks noChangeAspect="1"/>
              </p:cNvSpPr>
              <p:nvPr/>
            </p:nvSpPr>
            <p:spPr bwMode="auto">
              <a:xfrm>
                <a:off x="3975870" y="3438402"/>
                <a:ext cx="55398" cy="19084"/>
              </a:xfrm>
              <a:custGeom>
                <a:avLst/>
                <a:gdLst/>
                <a:ahLst/>
                <a:cxnLst>
                  <a:cxn ang="0">
                    <a:pos x="38" y="16"/>
                  </a:cxn>
                  <a:cxn ang="0">
                    <a:pos x="40" y="4"/>
                  </a:cxn>
                  <a:cxn ang="0">
                    <a:pos x="34" y="2"/>
                  </a:cxn>
                  <a:cxn ang="0">
                    <a:pos x="28" y="0"/>
                  </a:cxn>
                  <a:cxn ang="0">
                    <a:pos x="20" y="0"/>
                  </a:cxn>
                  <a:cxn ang="0">
                    <a:pos x="14" y="0"/>
                  </a:cxn>
                  <a:cxn ang="0">
                    <a:pos x="12" y="6"/>
                  </a:cxn>
                  <a:cxn ang="0">
                    <a:pos x="8" y="6"/>
                  </a:cxn>
                  <a:cxn ang="0">
                    <a:pos x="4" y="8"/>
                  </a:cxn>
                  <a:cxn ang="0">
                    <a:pos x="2" y="12"/>
                  </a:cxn>
                  <a:cxn ang="0">
                    <a:pos x="0" y="16"/>
                  </a:cxn>
                  <a:cxn ang="0">
                    <a:pos x="38" y="16"/>
                  </a:cxn>
                </a:cxnLst>
                <a:rect l="0" t="0" r="r" b="b"/>
                <a:pathLst>
                  <a:path w="40" h="16">
                    <a:moveTo>
                      <a:pt x="38" y="16"/>
                    </a:moveTo>
                    <a:lnTo>
                      <a:pt x="40" y="4"/>
                    </a:lnTo>
                    <a:lnTo>
                      <a:pt x="34" y="2"/>
                    </a:lnTo>
                    <a:lnTo>
                      <a:pt x="28" y="0"/>
                    </a:lnTo>
                    <a:lnTo>
                      <a:pt x="20" y="0"/>
                    </a:lnTo>
                    <a:lnTo>
                      <a:pt x="14" y="0"/>
                    </a:lnTo>
                    <a:lnTo>
                      <a:pt x="12" y="6"/>
                    </a:lnTo>
                    <a:lnTo>
                      <a:pt x="8" y="6"/>
                    </a:lnTo>
                    <a:lnTo>
                      <a:pt x="4" y="8"/>
                    </a:lnTo>
                    <a:lnTo>
                      <a:pt x="2" y="12"/>
                    </a:lnTo>
                    <a:lnTo>
                      <a:pt x="0" y="16"/>
                    </a:lnTo>
                    <a:lnTo>
                      <a:pt x="38" y="1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6" name="Freeform 148"/>
              <p:cNvSpPr>
                <a:spLocks noChangeAspect="1"/>
              </p:cNvSpPr>
              <p:nvPr/>
            </p:nvSpPr>
            <p:spPr bwMode="auto">
              <a:xfrm>
                <a:off x="3408379" y="3723468"/>
                <a:ext cx="58101" cy="108540"/>
              </a:xfrm>
              <a:custGeom>
                <a:avLst/>
                <a:gdLst/>
                <a:ahLst/>
                <a:cxnLst>
                  <a:cxn ang="0">
                    <a:pos x="24" y="90"/>
                  </a:cxn>
                  <a:cxn ang="0">
                    <a:pos x="16" y="90"/>
                  </a:cxn>
                  <a:cxn ang="0">
                    <a:pos x="12" y="90"/>
                  </a:cxn>
                  <a:cxn ang="0">
                    <a:pos x="8" y="90"/>
                  </a:cxn>
                  <a:cxn ang="0">
                    <a:pos x="6" y="76"/>
                  </a:cxn>
                  <a:cxn ang="0">
                    <a:pos x="8" y="66"/>
                  </a:cxn>
                  <a:cxn ang="0">
                    <a:pos x="6" y="64"/>
                  </a:cxn>
                  <a:cxn ang="0">
                    <a:pos x="4" y="64"/>
                  </a:cxn>
                  <a:cxn ang="0">
                    <a:pos x="0" y="62"/>
                  </a:cxn>
                  <a:cxn ang="0">
                    <a:pos x="0" y="58"/>
                  </a:cxn>
                  <a:cxn ang="0">
                    <a:pos x="0" y="52"/>
                  </a:cxn>
                  <a:cxn ang="0">
                    <a:pos x="2" y="48"/>
                  </a:cxn>
                  <a:cxn ang="0">
                    <a:pos x="6" y="38"/>
                  </a:cxn>
                  <a:cxn ang="0">
                    <a:pos x="10" y="32"/>
                  </a:cxn>
                  <a:cxn ang="0">
                    <a:pos x="12" y="26"/>
                  </a:cxn>
                  <a:cxn ang="0">
                    <a:pos x="12" y="22"/>
                  </a:cxn>
                  <a:cxn ang="0">
                    <a:pos x="12" y="18"/>
                  </a:cxn>
                  <a:cxn ang="0">
                    <a:pos x="10" y="16"/>
                  </a:cxn>
                  <a:cxn ang="0">
                    <a:pos x="8" y="14"/>
                  </a:cxn>
                  <a:cxn ang="0">
                    <a:pos x="8" y="12"/>
                  </a:cxn>
                  <a:cxn ang="0">
                    <a:pos x="10" y="6"/>
                  </a:cxn>
                  <a:cxn ang="0">
                    <a:pos x="12" y="0"/>
                  </a:cxn>
                  <a:cxn ang="0">
                    <a:pos x="16" y="4"/>
                  </a:cxn>
                  <a:cxn ang="0">
                    <a:pos x="22" y="6"/>
                  </a:cxn>
                  <a:cxn ang="0">
                    <a:pos x="36" y="6"/>
                  </a:cxn>
                  <a:cxn ang="0">
                    <a:pos x="38" y="8"/>
                  </a:cxn>
                  <a:cxn ang="0">
                    <a:pos x="40" y="12"/>
                  </a:cxn>
                  <a:cxn ang="0">
                    <a:pos x="38" y="24"/>
                  </a:cxn>
                  <a:cxn ang="0">
                    <a:pos x="34" y="34"/>
                  </a:cxn>
                  <a:cxn ang="0">
                    <a:pos x="30" y="40"/>
                  </a:cxn>
                  <a:cxn ang="0">
                    <a:pos x="28" y="50"/>
                  </a:cxn>
                  <a:cxn ang="0">
                    <a:pos x="30" y="54"/>
                  </a:cxn>
                  <a:cxn ang="0">
                    <a:pos x="30" y="60"/>
                  </a:cxn>
                  <a:cxn ang="0">
                    <a:pos x="30" y="64"/>
                  </a:cxn>
                  <a:cxn ang="0">
                    <a:pos x="28" y="68"/>
                  </a:cxn>
                  <a:cxn ang="0">
                    <a:pos x="30" y="70"/>
                  </a:cxn>
                  <a:cxn ang="0">
                    <a:pos x="32" y="74"/>
                  </a:cxn>
                  <a:cxn ang="0">
                    <a:pos x="30" y="78"/>
                  </a:cxn>
                  <a:cxn ang="0">
                    <a:pos x="28" y="80"/>
                  </a:cxn>
                  <a:cxn ang="0">
                    <a:pos x="26" y="84"/>
                  </a:cxn>
                  <a:cxn ang="0">
                    <a:pos x="24" y="86"/>
                  </a:cxn>
                  <a:cxn ang="0">
                    <a:pos x="24" y="90"/>
                  </a:cxn>
                </a:cxnLst>
                <a:rect l="0" t="0" r="r" b="b"/>
                <a:pathLst>
                  <a:path w="40" h="90">
                    <a:moveTo>
                      <a:pt x="24" y="90"/>
                    </a:moveTo>
                    <a:lnTo>
                      <a:pt x="16" y="90"/>
                    </a:lnTo>
                    <a:lnTo>
                      <a:pt x="12" y="90"/>
                    </a:lnTo>
                    <a:lnTo>
                      <a:pt x="8" y="90"/>
                    </a:lnTo>
                    <a:lnTo>
                      <a:pt x="6" y="76"/>
                    </a:lnTo>
                    <a:lnTo>
                      <a:pt x="8" y="66"/>
                    </a:lnTo>
                    <a:lnTo>
                      <a:pt x="6" y="64"/>
                    </a:lnTo>
                    <a:lnTo>
                      <a:pt x="4" y="64"/>
                    </a:lnTo>
                    <a:lnTo>
                      <a:pt x="0" y="62"/>
                    </a:lnTo>
                    <a:lnTo>
                      <a:pt x="0" y="58"/>
                    </a:lnTo>
                    <a:lnTo>
                      <a:pt x="0" y="52"/>
                    </a:lnTo>
                    <a:lnTo>
                      <a:pt x="2" y="48"/>
                    </a:lnTo>
                    <a:lnTo>
                      <a:pt x="6" y="38"/>
                    </a:lnTo>
                    <a:lnTo>
                      <a:pt x="10" y="32"/>
                    </a:lnTo>
                    <a:lnTo>
                      <a:pt x="12" y="26"/>
                    </a:lnTo>
                    <a:lnTo>
                      <a:pt x="12" y="22"/>
                    </a:lnTo>
                    <a:lnTo>
                      <a:pt x="12" y="18"/>
                    </a:lnTo>
                    <a:lnTo>
                      <a:pt x="10" y="16"/>
                    </a:lnTo>
                    <a:lnTo>
                      <a:pt x="8" y="14"/>
                    </a:lnTo>
                    <a:lnTo>
                      <a:pt x="8" y="12"/>
                    </a:lnTo>
                    <a:lnTo>
                      <a:pt x="10" y="6"/>
                    </a:lnTo>
                    <a:lnTo>
                      <a:pt x="12" y="0"/>
                    </a:lnTo>
                    <a:lnTo>
                      <a:pt x="16" y="4"/>
                    </a:lnTo>
                    <a:lnTo>
                      <a:pt x="22" y="6"/>
                    </a:lnTo>
                    <a:lnTo>
                      <a:pt x="36" y="6"/>
                    </a:lnTo>
                    <a:lnTo>
                      <a:pt x="38" y="8"/>
                    </a:lnTo>
                    <a:lnTo>
                      <a:pt x="40" y="12"/>
                    </a:lnTo>
                    <a:lnTo>
                      <a:pt x="38" y="24"/>
                    </a:lnTo>
                    <a:lnTo>
                      <a:pt x="34" y="34"/>
                    </a:lnTo>
                    <a:lnTo>
                      <a:pt x="30" y="40"/>
                    </a:lnTo>
                    <a:lnTo>
                      <a:pt x="28" y="50"/>
                    </a:lnTo>
                    <a:lnTo>
                      <a:pt x="30" y="54"/>
                    </a:lnTo>
                    <a:lnTo>
                      <a:pt x="30" y="60"/>
                    </a:lnTo>
                    <a:lnTo>
                      <a:pt x="30" y="64"/>
                    </a:lnTo>
                    <a:lnTo>
                      <a:pt x="28" y="68"/>
                    </a:lnTo>
                    <a:lnTo>
                      <a:pt x="30" y="70"/>
                    </a:lnTo>
                    <a:lnTo>
                      <a:pt x="32" y="74"/>
                    </a:lnTo>
                    <a:lnTo>
                      <a:pt x="30" y="78"/>
                    </a:lnTo>
                    <a:lnTo>
                      <a:pt x="28" y="80"/>
                    </a:lnTo>
                    <a:lnTo>
                      <a:pt x="26" y="84"/>
                    </a:lnTo>
                    <a:lnTo>
                      <a:pt x="24" y="86"/>
                    </a:lnTo>
                    <a:lnTo>
                      <a:pt x="24" y="9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7" name="Freeform 149"/>
              <p:cNvSpPr>
                <a:spLocks noChangeAspect="1"/>
              </p:cNvSpPr>
              <p:nvPr/>
            </p:nvSpPr>
            <p:spPr bwMode="auto">
              <a:xfrm>
                <a:off x="3417836" y="3688879"/>
                <a:ext cx="247264" cy="164599"/>
              </a:xfrm>
              <a:custGeom>
                <a:avLst/>
                <a:gdLst/>
                <a:ahLst/>
                <a:cxnLst>
                  <a:cxn ang="0">
                    <a:pos x="174" y="34"/>
                  </a:cxn>
                  <a:cxn ang="0">
                    <a:pos x="164" y="44"/>
                  </a:cxn>
                  <a:cxn ang="0">
                    <a:pos x="138" y="56"/>
                  </a:cxn>
                  <a:cxn ang="0">
                    <a:pos x="128" y="68"/>
                  </a:cxn>
                  <a:cxn ang="0">
                    <a:pos x="128" y="86"/>
                  </a:cxn>
                  <a:cxn ang="0">
                    <a:pos x="124" y="96"/>
                  </a:cxn>
                  <a:cxn ang="0">
                    <a:pos x="106" y="118"/>
                  </a:cxn>
                  <a:cxn ang="0">
                    <a:pos x="102" y="126"/>
                  </a:cxn>
                  <a:cxn ang="0">
                    <a:pos x="64" y="128"/>
                  </a:cxn>
                  <a:cxn ang="0">
                    <a:pos x="56" y="134"/>
                  </a:cxn>
                  <a:cxn ang="0">
                    <a:pos x="50" y="140"/>
                  </a:cxn>
                  <a:cxn ang="0">
                    <a:pos x="42" y="140"/>
                  </a:cxn>
                  <a:cxn ang="0">
                    <a:pos x="36" y="130"/>
                  </a:cxn>
                  <a:cxn ang="0">
                    <a:pos x="34" y="122"/>
                  </a:cxn>
                  <a:cxn ang="0">
                    <a:pos x="24" y="120"/>
                  </a:cxn>
                  <a:cxn ang="0">
                    <a:pos x="20" y="116"/>
                  </a:cxn>
                  <a:cxn ang="0">
                    <a:pos x="24" y="108"/>
                  </a:cxn>
                  <a:cxn ang="0">
                    <a:pos x="24" y="100"/>
                  </a:cxn>
                  <a:cxn ang="0">
                    <a:pos x="24" y="94"/>
                  </a:cxn>
                  <a:cxn ang="0">
                    <a:pos x="24" y="84"/>
                  </a:cxn>
                  <a:cxn ang="0">
                    <a:pos x="24" y="70"/>
                  </a:cxn>
                  <a:cxn ang="0">
                    <a:pos x="32" y="54"/>
                  </a:cxn>
                  <a:cxn ang="0">
                    <a:pos x="32" y="38"/>
                  </a:cxn>
                  <a:cxn ang="0">
                    <a:pos x="16" y="36"/>
                  </a:cxn>
                  <a:cxn ang="0">
                    <a:pos x="6" y="30"/>
                  </a:cxn>
                  <a:cxn ang="0">
                    <a:pos x="4" y="22"/>
                  </a:cxn>
                  <a:cxn ang="0">
                    <a:pos x="0" y="16"/>
                  </a:cxn>
                  <a:cxn ang="0">
                    <a:pos x="0" y="10"/>
                  </a:cxn>
                  <a:cxn ang="0">
                    <a:pos x="12" y="6"/>
                  </a:cxn>
                  <a:cxn ang="0">
                    <a:pos x="14" y="0"/>
                  </a:cxn>
                  <a:cxn ang="0">
                    <a:pos x="40" y="2"/>
                  </a:cxn>
                  <a:cxn ang="0">
                    <a:pos x="80" y="8"/>
                  </a:cxn>
                  <a:cxn ang="0">
                    <a:pos x="124" y="16"/>
                  </a:cxn>
                  <a:cxn ang="0">
                    <a:pos x="150" y="20"/>
                  </a:cxn>
                  <a:cxn ang="0">
                    <a:pos x="154" y="22"/>
                  </a:cxn>
                  <a:cxn ang="0">
                    <a:pos x="174" y="32"/>
                  </a:cxn>
                </a:cxnLst>
                <a:rect l="0" t="0" r="r" b="b"/>
                <a:pathLst>
                  <a:path w="174" h="140">
                    <a:moveTo>
                      <a:pt x="174" y="32"/>
                    </a:moveTo>
                    <a:lnTo>
                      <a:pt x="174" y="34"/>
                    </a:lnTo>
                    <a:lnTo>
                      <a:pt x="168" y="38"/>
                    </a:lnTo>
                    <a:lnTo>
                      <a:pt x="164" y="44"/>
                    </a:lnTo>
                    <a:lnTo>
                      <a:pt x="146" y="52"/>
                    </a:lnTo>
                    <a:lnTo>
                      <a:pt x="138" y="56"/>
                    </a:lnTo>
                    <a:lnTo>
                      <a:pt x="134" y="62"/>
                    </a:lnTo>
                    <a:lnTo>
                      <a:pt x="128" y="68"/>
                    </a:lnTo>
                    <a:lnTo>
                      <a:pt x="126" y="80"/>
                    </a:lnTo>
                    <a:lnTo>
                      <a:pt x="128" y="86"/>
                    </a:lnTo>
                    <a:lnTo>
                      <a:pt x="132" y="90"/>
                    </a:lnTo>
                    <a:lnTo>
                      <a:pt x="124" y="96"/>
                    </a:lnTo>
                    <a:lnTo>
                      <a:pt x="112" y="108"/>
                    </a:lnTo>
                    <a:lnTo>
                      <a:pt x="106" y="118"/>
                    </a:lnTo>
                    <a:lnTo>
                      <a:pt x="102" y="122"/>
                    </a:lnTo>
                    <a:lnTo>
                      <a:pt x="102" y="126"/>
                    </a:lnTo>
                    <a:lnTo>
                      <a:pt x="70" y="126"/>
                    </a:lnTo>
                    <a:lnTo>
                      <a:pt x="64" y="128"/>
                    </a:lnTo>
                    <a:lnTo>
                      <a:pt x="62" y="132"/>
                    </a:lnTo>
                    <a:lnTo>
                      <a:pt x="56" y="134"/>
                    </a:lnTo>
                    <a:lnTo>
                      <a:pt x="54" y="136"/>
                    </a:lnTo>
                    <a:lnTo>
                      <a:pt x="50" y="140"/>
                    </a:lnTo>
                    <a:lnTo>
                      <a:pt x="48" y="140"/>
                    </a:lnTo>
                    <a:lnTo>
                      <a:pt x="42" y="140"/>
                    </a:lnTo>
                    <a:lnTo>
                      <a:pt x="38" y="136"/>
                    </a:lnTo>
                    <a:lnTo>
                      <a:pt x="36" y="130"/>
                    </a:lnTo>
                    <a:lnTo>
                      <a:pt x="36" y="124"/>
                    </a:lnTo>
                    <a:lnTo>
                      <a:pt x="34" y="122"/>
                    </a:lnTo>
                    <a:lnTo>
                      <a:pt x="30" y="120"/>
                    </a:lnTo>
                    <a:lnTo>
                      <a:pt x="24" y="120"/>
                    </a:lnTo>
                    <a:lnTo>
                      <a:pt x="18" y="120"/>
                    </a:lnTo>
                    <a:lnTo>
                      <a:pt x="20" y="116"/>
                    </a:lnTo>
                    <a:lnTo>
                      <a:pt x="22" y="112"/>
                    </a:lnTo>
                    <a:lnTo>
                      <a:pt x="24" y="108"/>
                    </a:lnTo>
                    <a:lnTo>
                      <a:pt x="26" y="104"/>
                    </a:lnTo>
                    <a:lnTo>
                      <a:pt x="24" y="100"/>
                    </a:lnTo>
                    <a:lnTo>
                      <a:pt x="22" y="98"/>
                    </a:lnTo>
                    <a:lnTo>
                      <a:pt x="24" y="94"/>
                    </a:lnTo>
                    <a:lnTo>
                      <a:pt x="24" y="90"/>
                    </a:lnTo>
                    <a:lnTo>
                      <a:pt x="24" y="84"/>
                    </a:lnTo>
                    <a:lnTo>
                      <a:pt x="22" y="80"/>
                    </a:lnTo>
                    <a:lnTo>
                      <a:pt x="24" y="70"/>
                    </a:lnTo>
                    <a:lnTo>
                      <a:pt x="28" y="64"/>
                    </a:lnTo>
                    <a:lnTo>
                      <a:pt x="32" y="54"/>
                    </a:lnTo>
                    <a:lnTo>
                      <a:pt x="34" y="42"/>
                    </a:lnTo>
                    <a:lnTo>
                      <a:pt x="32" y="38"/>
                    </a:lnTo>
                    <a:lnTo>
                      <a:pt x="30" y="36"/>
                    </a:lnTo>
                    <a:lnTo>
                      <a:pt x="16" y="36"/>
                    </a:lnTo>
                    <a:lnTo>
                      <a:pt x="10" y="34"/>
                    </a:lnTo>
                    <a:lnTo>
                      <a:pt x="6" y="30"/>
                    </a:lnTo>
                    <a:lnTo>
                      <a:pt x="6" y="26"/>
                    </a:lnTo>
                    <a:lnTo>
                      <a:pt x="4" y="22"/>
                    </a:lnTo>
                    <a:lnTo>
                      <a:pt x="2" y="18"/>
                    </a:lnTo>
                    <a:lnTo>
                      <a:pt x="0" y="16"/>
                    </a:lnTo>
                    <a:lnTo>
                      <a:pt x="0" y="12"/>
                    </a:lnTo>
                    <a:lnTo>
                      <a:pt x="0" y="10"/>
                    </a:lnTo>
                    <a:lnTo>
                      <a:pt x="4" y="8"/>
                    </a:lnTo>
                    <a:lnTo>
                      <a:pt x="12" y="6"/>
                    </a:lnTo>
                    <a:lnTo>
                      <a:pt x="12" y="2"/>
                    </a:lnTo>
                    <a:lnTo>
                      <a:pt x="14" y="0"/>
                    </a:lnTo>
                    <a:lnTo>
                      <a:pt x="20" y="0"/>
                    </a:lnTo>
                    <a:lnTo>
                      <a:pt x="40" y="2"/>
                    </a:lnTo>
                    <a:lnTo>
                      <a:pt x="60" y="4"/>
                    </a:lnTo>
                    <a:lnTo>
                      <a:pt x="80" y="8"/>
                    </a:lnTo>
                    <a:lnTo>
                      <a:pt x="102" y="10"/>
                    </a:lnTo>
                    <a:lnTo>
                      <a:pt x="124" y="16"/>
                    </a:lnTo>
                    <a:lnTo>
                      <a:pt x="136" y="18"/>
                    </a:lnTo>
                    <a:lnTo>
                      <a:pt x="150" y="20"/>
                    </a:lnTo>
                    <a:lnTo>
                      <a:pt x="152" y="20"/>
                    </a:lnTo>
                    <a:lnTo>
                      <a:pt x="154" y="22"/>
                    </a:lnTo>
                    <a:lnTo>
                      <a:pt x="160" y="26"/>
                    </a:lnTo>
                    <a:lnTo>
                      <a:pt x="174" y="3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8" name="Freeform 150"/>
              <p:cNvSpPr>
                <a:spLocks noChangeAspect="1"/>
              </p:cNvSpPr>
              <p:nvPr/>
            </p:nvSpPr>
            <p:spPr bwMode="auto">
              <a:xfrm>
                <a:off x="3509716" y="3532628"/>
                <a:ext cx="249966" cy="194418"/>
              </a:xfrm>
              <a:custGeom>
                <a:avLst/>
                <a:gdLst/>
                <a:ahLst/>
                <a:cxnLst>
                  <a:cxn ang="0">
                    <a:pos x="174" y="128"/>
                  </a:cxn>
                  <a:cxn ang="0">
                    <a:pos x="162" y="136"/>
                  </a:cxn>
                  <a:cxn ang="0">
                    <a:pos x="154" y="142"/>
                  </a:cxn>
                  <a:cxn ang="0">
                    <a:pos x="138" y="138"/>
                  </a:cxn>
                  <a:cxn ang="0">
                    <a:pos x="126" y="134"/>
                  </a:cxn>
                  <a:cxn ang="0">
                    <a:pos x="114" y="138"/>
                  </a:cxn>
                  <a:cxn ang="0">
                    <a:pos x="110" y="150"/>
                  </a:cxn>
                  <a:cxn ang="0">
                    <a:pos x="96" y="156"/>
                  </a:cxn>
                  <a:cxn ang="0">
                    <a:pos x="88" y="150"/>
                  </a:cxn>
                  <a:cxn ang="0">
                    <a:pos x="72" y="148"/>
                  </a:cxn>
                  <a:cxn ang="0">
                    <a:pos x="38" y="140"/>
                  </a:cxn>
                  <a:cxn ang="0">
                    <a:pos x="44" y="136"/>
                  </a:cxn>
                  <a:cxn ang="0">
                    <a:pos x="48" y="114"/>
                  </a:cxn>
                  <a:cxn ang="0">
                    <a:pos x="48" y="92"/>
                  </a:cxn>
                  <a:cxn ang="0">
                    <a:pos x="38" y="68"/>
                  </a:cxn>
                  <a:cxn ang="0">
                    <a:pos x="30" y="62"/>
                  </a:cxn>
                  <a:cxn ang="0">
                    <a:pos x="8" y="58"/>
                  </a:cxn>
                  <a:cxn ang="0">
                    <a:pos x="2" y="50"/>
                  </a:cxn>
                  <a:cxn ang="0">
                    <a:pos x="6" y="42"/>
                  </a:cxn>
                  <a:cxn ang="0">
                    <a:pos x="16" y="36"/>
                  </a:cxn>
                  <a:cxn ang="0">
                    <a:pos x="24" y="36"/>
                  </a:cxn>
                  <a:cxn ang="0">
                    <a:pos x="32" y="40"/>
                  </a:cxn>
                  <a:cxn ang="0">
                    <a:pos x="42" y="42"/>
                  </a:cxn>
                  <a:cxn ang="0">
                    <a:pos x="44" y="36"/>
                  </a:cxn>
                  <a:cxn ang="0">
                    <a:pos x="40" y="32"/>
                  </a:cxn>
                  <a:cxn ang="0">
                    <a:pos x="46" y="26"/>
                  </a:cxn>
                  <a:cxn ang="0">
                    <a:pos x="56" y="30"/>
                  </a:cxn>
                  <a:cxn ang="0">
                    <a:pos x="66" y="30"/>
                  </a:cxn>
                  <a:cxn ang="0">
                    <a:pos x="68" y="22"/>
                  </a:cxn>
                  <a:cxn ang="0">
                    <a:pos x="80" y="14"/>
                  </a:cxn>
                  <a:cxn ang="0">
                    <a:pos x="86" y="6"/>
                  </a:cxn>
                  <a:cxn ang="0">
                    <a:pos x="98" y="0"/>
                  </a:cxn>
                  <a:cxn ang="0">
                    <a:pos x="106" y="8"/>
                  </a:cxn>
                  <a:cxn ang="0">
                    <a:pos x="120" y="12"/>
                  </a:cxn>
                  <a:cxn ang="0">
                    <a:pos x="122" y="18"/>
                  </a:cxn>
                  <a:cxn ang="0">
                    <a:pos x="130" y="20"/>
                  </a:cxn>
                  <a:cxn ang="0">
                    <a:pos x="132" y="22"/>
                  </a:cxn>
                  <a:cxn ang="0">
                    <a:pos x="140" y="28"/>
                  </a:cxn>
                  <a:cxn ang="0">
                    <a:pos x="154" y="30"/>
                  </a:cxn>
                  <a:cxn ang="0">
                    <a:pos x="168" y="34"/>
                  </a:cxn>
                  <a:cxn ang="0">
                    <a:pos x="174" y="44"/>
                  </a:cxn>
                  <a:cxn ang="0">
                    <a:pos x="168" y="60"/>
                  </a:cxn>
                  <a:cxn ang="0">
                    <a:pos x="164" y="64"/>
                  </a:cxn>
                  <a:cxn ang="0">
                    <a:pos x="158" y="70"/>
                  </a:cxn>
                  <a:cxn ang="0">
                    <a:pos x="150" y="82"/>
                  </a:cxn>
                  <a:cxn ang="0">
                    <a:pos x="154" y="88"/>
                  </a:cxn>
                  <a:cxn ang="0">
                    <a:pos x="154" y="84"/>
                  </a:cxn>
                  <a:cxn ang="0">
                    <a:pos x="160" y="84"/>
                  </a:cxn>
                  <a:cxn ang="0">
                    <a:pos x="162" y="96"/>
                  </a:cxn>
                  <a:cxn ang="0">
                    <a:pos x="166" y="100"/>
                  </a:cxn>
                  <a:cxn ang="0">
                    <a:pos x="158" y="108"/>
                  </a:cxn>
                  <a:cxn ang="0">
                    <a:pos x="170" y="124"/>
                  </a:cxn>
                  <a:cxn ang="0">
                    <a:pos x="178" y="128"/>
                  </a:cxn>
                </a:cxnLst>
                <a:rect l="0" t="0" r="r" b="b"/>
                <a:pathLst>
                  <a:path w="178" h="162">
                    <a:moveTo>
                      <a:pt x="178" y="128"/>
                    </a:moveTo>
                    <a:lnTo>
                      <a:pt x="174" y="128"/>
                    </a:lnTo>
                    <a:lnTo>
                      <a:pt x="168" y="132"/>
                    </a:lnTo>
                    <a:lnTo>
                      <a:pt x="162" y="136"/>
                    </a:lnTo>
                    <a:lnTo>
                      <a:pt x="158" y="140"/>
                    </a:lnTo>
                    <a:lnTo>
                      <a:pt x="154" y="142"/>
                    </a:lnTo>
                    <a:lnTo>
                      <a:pt x="146" y="140"/>
                    </a:lnTo>
                    <a:lnTo>
                      <a:pt x="138" y="138"/>
                    </a:lnTo>
                    <a:lnTo>
                      <a:pt x="132" y="134"/>
                    </a:lnTo>
                    <a:lnTo>
                      <a:pt x="126" y="134"/>
                    </a:lnTo>
                    <a:lnTo>
                      <a:pt x="120" y="134"/>
                    </a:lnTo>
                    <a:lnTo>
                      <a:pt x="114" y="138"/>
                    </a:lnTo>
                    <a:lnTo>
                      <a:pt x="110" y="142"/>
                    </a:lnTo>
                    <a:lnTo>
                      <a:pt x="110" y="150"/>
                    </a:lnTo>
                    <a:lnTo>
                      <a:pt x="110" y="162"/>
                    </a:lnTo>
                    <a:lnTo>
                      <a:pt x="96" y="156"/>
                    </a:lnTo>
                    <a:lnTo>
                      <a:pt x="90" y="152"/>
                    </a:lnTo>
                    <a:lnTo>
                      <a:pt x="88" y="150"/>
                    </a:lnTo>
                    <a:lnTo>
                      <a:pt x="86" y="150"/>
                    </a:lnTo>
                    <a:lnTo>
                      <a:pt x="72" y="148"/>
                    </a:lnTo>
                    <a:lnTo>
                      <a:pt x="60" y="146"/>
                    </a:lnTo>
                    <a:lnTo>
                      <a:pt x="38" y="140"/>
                    </a:lnTo>
                    <a:lnTo>
                      <a:pt x="42" y="138"/>
                    </a:lnTo>
                    <a:lnTo>
                      <a:pt x="44" y="136"/>
                    </a:lnTo>
                    <a:lnTo>
                      <a:pt x="46" y="126"/>
                    </a:lnTo>
                    <a:lnTo>
                      <a:pt x="48" y="114"/>
                    </a:lnTo>
                    <a:lnTo>
                      <a:pt x="48" y="106"/>
                    </a:lnTo>
                    <a:lnTo>
                      <a:pt x="48" y="92"/>
                    </a:lnTo>
                    <a:lnTo>
                      <a:pt x="44" y="80"/>
                    </a:lnTo>
                    <a:lnTo>
                      <a:pt x="38" y="68"/>
                    </a:lnTo>
                    <a:lnTo>
                      <a:pt x="34" y="64"/>
                    </a:lnTo>
                    <a:lnTo>
                      <a:pt x="30" y="62"/>
                    </a:lnTo>
                    <a:lnTo>
                      <a:pt x="12" y="60"/>
                    </a:lnTo>
                    <a:lnTo>
                      <a:pt x="8" y="58"/>
                    </a:lnTo>
                    <a:lnTo>
                      <a:pt x="4" y="54"/>
                    </a:lnTo>
                    <a:lnTo>
                      <a:pt x="2" y="50"/>
                    </a:lnTo>
                    <a:lnTo>
                      <a:pt x="0" y="44"/>
                    </a:lnTo>
                    <a:lnTo>
                      <a:pt x="6" y="42"/>
                    </a:lnTo>
                    <a:lnTo>
                      <a:pt x="12" y="40"/>
                    </a:lnTo>
                    <a:lnTo>
                      <a:pt x="16" y="36"/>
                    </a:lnTo>
                    <a:lnTo>
                      <a:pt x="20" y="36"/>
                    </a:lnTo>
                    <a:lnTo>
                      <a:pt x="24" y="36"/>
                    </a:lnTo>
                    <a:lnTo>
                      <a:pt x="28" y="38"/>
                    </a:lnTo>
                    <a:lnTo>
                      <a:pt x="32" y="40"/>
                    </a:lnTo>
                    <a:lnTo>
                      <a:pt x="38" y="42"/>
                    </a:lnTo>
                    <a:lnTo>
                      <a:pt x="42" y="42"/>
                    </a:lnTo>
                    <a:lnTo>
                      <a:pt x="44" y="40"/>
                    </a:lnTo>
                    <a:lnTo>
                      <a:pt x="44" y="36"/>
                    </a:lnTo>
                    <a:lnTo>
                      <a:pt x="44" y="34"/>
                    </a:lnTo>
                    <a:lnTo>
                      <a:pt x="40" y="32"/>
                    </a:lnTo>
                    <a:lnTo>
                      <a:pt x="40" y="26"/>
                    </a:lnTo>
                    <a:lnTo>
                      <a:pt x="46" y="26"/>
                    </a:lnTo>
                    <a:lnTo>
                      <a:pt x="50" y="28"/>
                    </a:lnTo>
                    <a:lnTo>
                      <a:pt x="56" y="30"/>
                    </a:lnTo>
                    <a:lnTo>
                      <a:pt x="62" y="30"/>
                    </a:lnTo>
                    <a:lnTo>
                      <a:pt x="66" y="30"/>
                    </a:lnTo>
                    <a:lnTo>
                      <a:pt x="66" y="28"/>
                    </a:lnTo>
                    <a:lnTo>
                      <a:pt x="68" y="22"/>
                    </a:lnTo>
                    <a:lnTo>
                      <a:pt x="72" y="18"/>
                    </a:lnTo>
                    <a:lnTo>
                      <a:pt x="80" y="14"/>
                    </a:lnTo>
                    <a:lnTo>
                      <a:pt x="86" y="10"/>
                    </a:lnTo>
                    <a:lnTo>
                      <a:pt x="86" y="6"/>
                    </a:lnTo>
                    <a:lnTo>
                      <a:pt x="88" y="2"/>
                    </a:lnTo>
                    <a:lnTo>
                      <a:pt x="98" y="0"/>
                    </a:lnTo>
                    <a:lnTo>
                      <a:pt x="100" y="4"/>
                    </a:lnTo>
                    <a:lnTo>
                      <a:pt x="106" y="8"/>
                    </a:lnTo>
                    <a:lnTo>
                      <a:pt x="112" y="10"/>
                    </a:lnTo>
                    <a:lnTo>
                      <a:pt x="120" y="12"/>
                    </a:lnTo>
                    <a:lnTo>
                      <a:pt x="120" y="16"/>
                    </a:lnTo>
                    <a:lnTo>
                      <a:pt x="122" y="18"/>
                    </a:lnTo>
                    <a:lnTo>
                      <a:pt x="126" y="20"/>
                    </a:lnTo>
                    <a:lnTo>
                      <a:pt x="130" y="20"/>
                    </a:lnTo>
                    <a:lnTo>
                      <a:pt x="130" y="22"/>
                    </a:lnTo>
                    <a:lnTo>
                      <a:pt x="132" y="22"/>
                    </a:lnTo>
                    <a:lnTo>
                      <a:pt x="136" y="26"/>
                    </a:lnTo>
                    <a:lnTo>
                      <a:pt x="140" y="28"/>
                    </a:lnTo>
                    <a:lnTo>
                      <a:pt x="150" y="28"/>
                    </a:lnTo>
                    <a:lnTo>
                      <a:pt x="154" y="30"/>
                    </a:lnTo>
                    <a:lnTo>
                      <a:pt x="160" y="32"/>
                    </a:lnTo>
                    <a:lnTo>
                      <a:pt x="168" y="34"/>
                    </a:lnTo>
                    <a:lnTo>
                      <a:pt x="176" y="36"/>
                    </a:lnTo>
                    <a:lnTo>
                      <a:pt x="174" y="44"/>
                    </a:lnTo>
                    <a:lnTo>
                      <a:pt x="172" y="54"/>
                    </a:lnTo>
                    <a:lnTo>
                      <a:pt x="168" y="60"/>
                    </a:lnTo>
                    <a:lnTo>
                      <a:pt x="166" y="62"/>
                    </a:lnTo>
                    <a:lnTo>
                      <a:pt x="164" y="64"/>
                    </a:lnTo>
                    <a:lnTo>
                      <a:pt x="162" y="68"/>
                    </a:lnTo>
                    <a:lnTo>
                      <a:pt x="158" y="70"/>
                    </a:lnTo>
                    <a:lnTo>
                      <a:pt x="154" y="74"/>
                    </a:lnTo>
                    <a:lnTo>
                      <a:pt x="150" y="82"/>
                    </a:lnTo>
                    <a:lnTo>
                      <a:pt x="150" y="88"/>
                    </a:lnTo>
                    <a:lnTo>
                      <a:pt x="154" y="88"/>
                    </a:lnTo>
                    <a:lnTo>
                      <a:pt x="154" y="86"/>
                    </a:lnTo>
                    <a:lnTo>
                      <a:pt x="154" y="84"/>
                    </a:lnTo>
                    <a:lnTo>
                      <a:pt x="158" y="86"/>
                    </a:lnTo>
                    <a:lnTo>
                      <a:pt x="160" y="84"/>
                    </a:lnTo>
                    <a:lnTo>
                      <a:pt x="162" y="94"/>
                    </a:lnTo>
                    <a:lnTo>
                      <a:pt x="162" y="96"/>
                    </a:lnTo>
                    <a:lnTo>
                      <a:pt x="164" y="98"/>
                    </a:lnTo>
                    <a:lnTo>
                      <a:pt x="166" y="100"/>
                    </a:lnTo>
                    <a:lnTo>
                      <a:pt x="166" y="102"/>
                    </a:lnTo>
                    <a:lnTo>
                      <a:pt x="158" y="108"/>
                    </a:lnTo>
                    <a:lnTo>
                      <a:pt x="166" y="118"/>
                    </a:lnTo>
                    <a:lnTo>
                      <a:pt x="170" y="124"/>
                    </a:lnTo>
                    <a:lnTo>
                      <a:pt x="176" y="128"/>
                    </a:lnTo>
                    <a:lnTo>
                      <a:pt x="178" y="1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39" name="Freeform 151"/>
              <p:cNvSpPr>
                <a:spLocks noChangeAspect="1"/>
              </p:cNvSpPr>
              <p:nvPr/>
            </p:nvSpPr>
            <p:spPr bwMode="auto">
              <a:xfrm>
                <a:off x="3646185" y="3524280"/>
                <a:ext cx="77017" cy="40553"/>
              </a:xfrm>
              <a:custGeom>
                <a:avLst/>
                <a:gdLst/>
                <a:ahLst/>
                <a:cxnLst>
                  <a:cxn ang="0">
                    <a:pos x="46" y="34"/>
                  </a:cxn>
                  <a:cxn ang="0">
                    <a:pos x="46" y="32"/>
                  </a:cxn>
                  <a:cxn ang="0">
                    <a:pos x="46" y="30"/>
                  </a:cxn>
                  <a:cxn ang="0">
                    <a:pos x="44" y="28"/>
                  </a:cxn>
                  <a:cxn ang="0">
                    <a:pos x="46" y="26"/>
                  </a:cxn>
                  <a:cxn ang="0">
                    <a:pos x="48" y="22"/>
                  </a:cxn>
                  <a:cxn ang="0">
                    <a:pos x="52" y="20"/>
                  </a:cxn>
                  <a:cxn ang="0">
                    <a:pos x="54" y="16"/>
                  </a:cxn>
                  <a:cxn ang="0">
                    <a:pos x="52" y="12"/>
                  </a:cxn>
                  <a:cxn ang="0">
                    <a:pos x="50" y="10"/>
                  </a:cxn>
                  <a:cxn ang="0">
                    <a:pos x="44" y="6"/>
                  </a:cxn>
                  <a:cxn ang="0">
                    <a:pos x="30" y="0"/>
                  </a:cxn>
                  <a:cxn ang="0">
                    <a:pos x="16" y="4"/>
                  </a:cxn>
                  <a:cxn ang="0">
                    <a:pos x="12" y="2"/>
                  </a:cxn>
                  <a:cxn ang="0">
                    <a:pos x="10" y="0"/>
                  </a:cxn>
                  <a:cxn ang="0">
                    <a:pos x="0" y="6"/>
                  </a:cxn>
                  <a:cxn ang="0">
                    <a:pos x="2" y="10"/>
                  </a:cxn>
                  <a:cxn ang="0">
                    <a:pos x="8" y="14"/>
                  </a:cxn>
                  <a:cxn ang="0">
                    <a:pos x="14" y="16"/>
                  </a:cxn>
                  <a:cxn ang="0">
                    <a:pos x="22" y="18"/>
                  </a:cxn>
                  <a:cxn ang="0">
                    <a:pos x="22" y="22"/>
                  </a:cxn>
                  <a:cxn ang="0">
                    <a:pos x="24" y="24"/>
                  </a:cxn>
                  <a:cxn ang="0">
                    <a:pos x="28" y="26"/>
                  </a:cxn>
                  <a:cxn ang="0">
                    <a:pos x="32" y="26"/>
                  </a:cxn>
                  <a:cxn ang="0">
                    <a:pos x="32" y="28"/>
                  </a:cxn>
                  <a:cxn ang="0">
                    <a:pos x="34" y="28"/>
                  </a:cxn>
                  <a:cxn ang="0">
                    <a:pos x="38" y="32"/>
                  </a:cxn>
                  <a:cxn ang="0">
                    <a:pos x="42" y="34"/>
                  </a:cxn>
                  <a:cxn ang="0">
                    <a:pos x="46" y="34"/>
                  </a:cxn>
                </a:cxnLst>
                <a:rect l="0" t="0" r="r" b="b"/>
                <a:pathLst>
                  <a:path w="54" h="34">
                    <a:moveTo>
                      <a:pt x="46" y="34"/>
                    </a:moveTo>
                    <a:lnTo>
                      <a:pt x="46" y="32"/>
                    </a:lnTo>
                    <a:lnTo>
                      <a:pt x="46" y="30"/>
                    </a:lnTo>
                    <a:lnTo>
                      <a:pt x="44" y="28"/>
                    </a:lnTo>
                    <a:lnTo>
                      <a:pt x="46" y="26"/>
                    </a:lnTo>
                    <a:lnTo>
                      <a:pt x="48" y="22"/>
                    </a:lnTo>
                    <a:lnTo>
                      <a:pt x="52" y="20"/>
                    </a:lnTo>
                    <a:lnTo>
                      <a:pt x="54" y="16"/>
                    </a:lnTo>
                    <a:lnTo>
                      <a:pt x="52" y="12"/>
                    </a:lnTo>
                    <a:lnTo>
                      <a:pt x="50" y="10"/>
                    </a:lnTo>
                    <a:lnTo>
                      <a:pt x="44" y="6"/>
                    </a:lnTo>
                    <a:lnTo>
                      <a:pt x="30" y="0"/>
                    </a:lnTo>
                    <a:lnTo>
                      <a:pt x="16" y="4"/>
                    </a:lnTo>
                    <a:lnTo>
                      <a:pt x="12" y="2"/>
                    </a:lnTo>
                    <a:lnTo>
                      <a:pt x="10" y="0"/>
                    </a:lnTo>
                    <a:lnTo>
                      <a:pt x="0" y="6"/>
                    </a:lnTo>
                    <a:lnTo>
                      <a:pt x="2" y="10"/>
                    </a:lnTo>
                    <a:lnTo>
                      <a:pt x="8" y="14"/>
                    </a:lnTo>
                    <a:lnTo>
                      <a:pt x="14" y="16"/>
                    </a:lnTo>
                    <a:lnTo>
                      <a:pt x="22" y="18"/>
                    </a:lnTo>
                    <a:lnTo>
                      <a:pt x="22" y="22"/>
                    </a:lnTo>
                    <a:lnTo>
                      <a:pt x="24" y="24"/>
                    </a:lnTo>
                    <a:lnTo>
                      <a:pt x="28" y="26"/>
                    </a:lnTo>
                    <a:lnTo>
                      <a:pt x="32" y="26"/>
                    </a:lnTo>
                    <a:lnTo>
                      <a:pt x="32" y="28"/>
                    </a:lnTo>
                    <a:lnTo>
                      <a:pt x="34" y="28"/>
                    </a:lnTo>
                    <a:lnTo>
                      <a:pt x="38" y="32"/>
                    </a:lnTo>
                    <a:lnTo>
                      <a:pt x="42" y="34"/>
                    </a:lnTo>
                    <a:lnTo>
                      <a:pt x="46" y="3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0" name="Freeform 152"/>
              <p:cNvSpPr>
                <a:spLocks noChangeAspect="1"/>
              </p:cNvSpPr>
              <p:nvPr/>
            </p:nvSpPr>
            <p:spPr bwMode="auto">
              <a:xfrm>
                <a:off x="3658346" y="3476570"/>
                <a:ext cx="70261" cy="58444"/>
              </a:xfrm>
              <a:custGeom>
                <a:avLst/>
                <a:gdLst/>
                <a:ahLst/>
                <a:cxnLst>
                  <a:cxn ang="0">
                    <a:pos x="50" y="0"/>
                  </a:cxn>
                  <a:cxn ang="0">
                    <a:pos x="50" y="10"/>
                  </a:cxn>
                  <a:cxn ang="0">
                    <a:pos x="48" y="18"/>
                  </a:cxn>
                  <a:cxn ang="0">
                    <a:pos x="48" y="24"/>
                  </a:cxn>
                  <a:cxn ang="0">
                    <a:pos x="50" y="24"/>
                  </a:cxn>
                  <a:cxn ang="0">
                    <a:pos x="46" y="30"/>
                  </a:cxn>
                  <a:cxn ang="0">
                    <a:pos x="44" y="34"/>
                  </a:cxn>
                  <a:cxn ang="0">
                    <a:pos x="42" y="38"/>
                  </a:cxn>
                  <a:cxn ang="0">
                    <a:pos x="40" y="44"/>
                  </a:cxn>
                  <a:cxn ang="0">
                    <a:pos x="38" y="48"/>
                  </a:cxn>
                  <a:cxn ang="0">
                    <a:pos x="36" y="50"/>
                  </a:cxn>
                  <a:cxn ang="0">
                    <a:pos x="26" y="46"/>
                  </a:cxn>
                  <a:cxn ang="0">
                    <a:pos x="20" y="42"/>
                  </a:cxn>
                  <a:cxn ang="0">
                    <a:pos x="6" y="46"/>
                  </a:cxn>
                  <a:cxn ang="0">
                    <a:pos x="2" y="44"/>
                  </a:cxn>
                  <a:cxn ang="0">
                    <a:pos x="0" y="42"/>
                  </a:cxn>
                  <a:cxn ang="0">
                    <a:pos x="10" y="36"/>
                  </a:cxn>
                  <a:cxn ang="0">
                    <a:pos x="14" y="30"/>
                  </a:cxn>
                  <a:cxn ang="0">
                    <a:pos x="18" y="24"/>
                  </a:cxn>
                  <a:cxn ang="0">
                    <a:pos x="20" y="18"/>
                  </a:cxn>
                  <a:cxn ang="0">
                    <a:pos x="22" y="14"/>
                  </a:cxn>
                  <a:cxn ang="0">
                    <a:pos x="28" y="14"/>
                  </a:cxn>
                  <a:cxn ang="0">
                    <a:pos x="32" y="6"/>
                  </a:cxn>
                  <a:cxn ang="0">
                    <a:pos x="38" y="4"/>
                  </a:cxn>
                  <a:cxn ang="0">
                    <a:pos x="42" y="2"/>
                  </a:cxn>
                  <a:cxn ang="0">
                    <a:pos x="50" y="0"/>
                  </a:cxn>
                </a:cxnLst>
                <a:rect l="0" t="0" r="r" b="b"/>
                <a:pathLst>
                  <a:path w="50" h="50">
                    <a:moveTo>
                      <a:pt x="50" y="0"/>
                    </a:moveTo>
                    <a:lnTo>
                      <a:pt x="50" y="10"/>
                    </a:lnTo>
                    <a:lnTo>
                      <a:pt x="48" y="18"/>
                    </a:lnTo>
                    <a:lnTo>
                      <a:pt x="48" y="24"/>
                    </a:lnTo>
                    <a:lnTo>
                      <a:pt x="50" y="24"/>
                    </a:lnTo>
                    <a:lnTo>
                      <a:pt x="46" y="30"/>
                    </a:lnTo>
                    <a:lnTo>
                      <a:pt x="44" y="34"/>
                    </a:lnTo>
                    <a:lnTo>
                      <a:pt x="42" y="38"/>
                    </a:lnTo>
                    <a:lnTo>
                      <a:pt x="40" y="44"/>
                    </a:lnTo>
                    <a:lnTo>
                      <a:pt x="38" y="48"/>
                    </a:lnTo>
                    <a:lnTo>
                      <a:pt x="36" y="50"/>
                    </a:lnTo>
                    <a:lnTo>
                      <a:pt x="26" y="46"/>
                    </a:lnTo>
                    <a:lnTo>
                      <a:pt x="20" y="42"/>
                    </a:lnTo>
                    <a:lnTo>
                      <a:pt x="6" y="46"/>
                    </a:lnTo>
                    <a:lnTo>
                      <a:pt x="2" y="44"/>
                    </a:lnTo>
                    <a:lnTo>
                      <a:pt x="0" y="42"/>
                    </a:lnTo>
                    <a:lnTo>
                      <a:pt x="10" y="36"/>
                    </a:lnTo>
                    <a:lnTo>
                      <a:pt x="14" y="30"/>
                    </a:lnTo>
                    <a:lnTo>
                      <a:pt x="18" y="24"/>
                    </a:lnTo>
                    <a:lnTo>
                      <a:pt x="20" y="18"/>
                    </a:lnTo>
                    <a:lnTo>
                      <a:pt x="22" y="14"/>
                    </a:lnTo>
                    <a:lnTo>
                      <a:pt x="28" y="14"/>
                    </a:lnTo>
                    <a:lnTo>
                      <a:pt x="32" y="6"/>
                    </a:lnTo>
                    <a:lnTo>
                      <a:pt x="38" y="4"/>
                    </a:lnTo>
                    <a:lnTo>
                      <a:pt x="42" y="2"/>
                    </a:lnTo>
                    <a:lnTo>
                      <a:pt x="50"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1" name="Freeform 153"/>
              <p:cNvSpPr>
                <a:spLocks noChangeAspect="1"/>
              </p:cNvSpPr>
              <p:nvPr/>
            </p:nvSpPr>
            <p:spPr bwMode="auto">
              <a:xfrm>
                <a:off x="3752927" y="3393078"/>
                <a:ext cx="45940" cy="62023"/>
              </a:xfrm>
              <a:custGeom>
                <a:avLst/>
                <a:gdLst/>
                <a:ahLst/>
                <a:cxnLst>
                  <a:cxn ang="0">
                    <a:pos x="22" y="52"/>
                  </a:cxn>
                  <a:cxn ang="0">
                    <a:pos x="8" y="52"/>
                  </a:cxn>
                  <a:cxn ang="0">
                    <a:pos x="10" y="52"/>
                  </a:cxn>
                  <a:cxn ang="0">
                    <a:pos x="12" y="50"/>
                  </a:cxn>
                  <a:cxn ang="0">
                    <a:pos x="6" y="50"/>
                  </a:cxn>
                  <a:cxn ang="0">
                    <a:pos x="6" y="42"/>
                  </a:cxn>
                  <a:cxn ang="0">
                    <a:pos x="4" y="38"/>
                  </a:cxn>
                  <a:cxn ang="0">
                    <a:pos x="2" y="32"/>
                  </a:cxn>
                  <a:cxn ang="0">
                    <a:pos x="0" y="26"/>
                  </a:cxn>
                  <a:cxn ang="0">
                    <a:pos x="2" y="22"/>
                  </a:cxn>
                  <a:cxn ang="0">
                    <a:pos x="4" y="18"/>
                  </a:cxn>
                  <a:cxn ang="0">
                    <a:pos x="12" y="12"/>
                  </a:cxn>
                  <a:cxn ang="0">
                    <a:pos x="28" y="0"/>
                  </a:cxn>
                  <a:cxn ang="0">
                    <a:pos x="28" y="14"/>
                  </a:cxn>
                  <a:cxn ang="0">
                    <a:pos x="26" y="16"/>
                  </a:cxn>
                  <a:cxn ang="0">
                    <a:pos x="28" y="18"/>
                  </a:cxn>
                  <a:cxn ang="0">
                    <a:pos x="32" y="20"/>
                  </a:cxn>
                  <a:cxn ang="0">
                    <a:pos x="30" y="24"/>
                  </a:cxn>
                  <a:cxn ang="0">
                    <a:pos x="28" y="28"/>
                  </a:cxn>
                  <a:cxn ang="0">
                    <a:pos x="26" y="28"/>
                  </a:cxn>
                  <a:cxn ang="0">
                    <a:pos x="22" y="30"/>
                  </a:cxn>
                  <a:cxn ang="0">
                    <a:pos x="24" y="36"/>
                  </a:cxn>
                  <a:cxn ang="0">
                    <a:pos x="28" y="40"/>
                  </a:cxn>
                  <a:cxn ang="0">
                    <a:pos x="22" y="40"/>
                  </a:cxn>
                  <a:cxn ang="0">
                    <a:pos x="22" y="52"/>
                  </a:cxn>
                </a:cxnLst>
                <a:rect l="0" t="0" r="r" b="b"/>
                <a:pathLst>
                  <a:path w="32" h="52">
                    <a:moveTo>
                      <a:pt x="22" y="52"/>
                    </a:moveTo>
                    <a:lnTo>
                      <a:pt x="8" y="52"/>
                    </a:lnTo>
                    <a:lnTo>
                      <a:pt x="10" y="52"/>
                    </a:lnTo>
                    <a:lnTo>
                      <a:pt x="12" y="50"/>
                    </a:lnTo>
                    <a:lnTo>
                      <a:pt x="6" y="50"/>
                    </a:lnTo>
                    <a:lnTo>
                      <a:pt x="6" y="42"/>
                    </a:lnTo>
                    <a:lnTo>
                      <a:pt x="4" y="38"/>
                    </a:lnTo>
                    <a:lnTo>
                      <a:pt x="2" y="32"/>
                    </a:lnTo>
                    <a:lnTo>
                      <a:pt x="0" y="26"/>
                    </a:lnTo>
                    <a:lnTo>
                      <a:pt x="2" y="22"/>
                    </a:lnTo>
                    <a:lnTo>
                      <a:pt x="4" y="18"/>
                    </a:lnTo>
                    <a:lnTo>
                      <a:pt x="12" y="12"/>
                    </a:lnTo>
                    <a:lnTo>
                      <a:pt x="28" y="0"/>
                    </a:lnTo>
                    <a:lnTo>
                      <a:pt x="28" y="14"/>
                    </a:lnTo>
                    <a:lnTo>
                      <a:pt x="26" y="16"/>
                    </a:lnTo>
                    <a:lnTo>
                      <a:pt x="28" y="18"/>
                    </a:lnTo>
                    <a:lnTo>
                      <a:pt x="32" y="20"/>
                    </a:lnTo>
                    <a:lnTo>
                      <a:pt x="30" y="24"/>
                    </a:lnTo>
                    <a:lnTo>
                      <a:pt x="28" y="28"/>
                    </a:lnTo>
                    <a:lnTo>
                      <a:pt x="26" y="28"/>
                    </a:lnTo>
                    <a:lnTo>
                      <a:pt x="22" y="30"/>
                    </a:lnTo>
                    <a:lnTo>
                      <a:pt x="24" y="36"/>
                    </a:lnTo>
                    <a:lnTo>
                      <a:pt x="28" y="40"/>
                    </a:lnTo>
                    <a:lnTo>
                      <a:pt x="22" y="40"/>
                    </a:lnTo>
                    <a:lnTo>
                      <a:pt x="22" y="5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2" name="Freeform 154"/>
              <p:cNvSpPr>
                <a:spLocks noChangeAspect="1"/>
              </p:cNvSpPr>
              <p:nvPr/>
            </p:nvSpPr>
            <p:spPr bwMode="auto">
              <a:xfrm>
                <a:off x="3711040" y="3455101"/>
                <a:ext cx="179706" cy="152671"/>
              </a:xfrm>
              <a:custGeom>
                <a:avLst/>
                <a:gdLst/>
                <a:ahLst/>
                <a:cxnLst>
                  <a:cxn ang="0">
                    <a:pos x="22" y="128"/>
                  </a:cxn>
                  <a:cxn ang="0">
                    <a:pos x="40" y="126"/>
                  </a:cxn>
                  <a:cxn ang="0">
                    <a:pos x="52" y="130"/>
                  </a:cxn>
                  <a:cxn ang="0">
                    <a:pos x="62" y="130"/>
                  </a:cxn>
                  <a:cxn ang="0">
                    <a:pos x="80" y="130"/>
                  </a:cxn>
                  <a:cxn ang="0">
                    <a:pos x="102" y="126"/>
                  </a:cxn>
                  <a:cxn ang="0">
                    <a:pos x="102" y="116"/>
                  </a:cxn>
                  <a:cxn ang="0">
                    <a:pos x="110" y="110"/>
                  </a:cxn>
                  <a:cxn ang="0">
                    <a:pos x="108" y="102"/>
                  </a:cxn>
                  <a:cxn ang="0">
                    <a:pos x="92" y="90"/>
                  </a:cxn>
                  <a:cxn ang="0">
                    <a:pos x="90" y="80"/>
                  </a:cxn>
                  <a:cxn ang="0">
                    <a:pos x="121" y="70"/>
                  </a:cxn>
                  <a:cxn ang="0">
                    <a:pos x="127" y="60"/>
                  </a:cxn>
                  <a:cxn ang="0">
                    <a:pos x="114" y="34"/>
                  </a:cxn>
                  <a:cxn ang="0">
                    <a:pos x="110" y="12"/>
                  </a:cxn>
                  <a:cxn ang="0">
                    <a:pos x="102" y="6"/>
                  </a:cxn>
                  <a:cxn ang="0">
                    <a:pos x="92" y="4"/>
                  </a:cxn>
                  <a:cxn ang="0">
                    <a:pos x="80" y="10"/>
                  </a:cxn>
                  <a:cxn ang="0">
                    <a:pos x="70" y="12"/>
                  </a:cxn>
                  <a:cxn ang="0">
                    <a:pos x="52" y="0"/>
                  </a:cxn>
                  <a:cxn ang="0">
                    <a:pos x="40" y="8"/>
                  </a:cxn>
                  <a:cxn ang="0">
                    <a:pos x="50" y="20"/>
                  </a:cxn>
                  <a:cxn ang="0">
                    <a:pos x="42" y="16"/>
                  </a:cxn>
                  <a:cxn ang="0">
                    <a:pos x="38" y="18"/>
                  </a:cxn>
                  <a:cxn ang="0">
                    <a:pos x="34" y="20"/>
                  </a:cxn>
                  <a:cxn ang="0">
                    <a:pos x="26" y="18"/>
                  </a:cxn>
                  <a:cxn ang="0">
                    <a:pos x="14" y="18"/>
                  </a:cxn>
                  <a:cxn ang="0">
                    <a:pos x="12" y="36"/>
                  </a:cxn>
                  <a:cxn ang="0">
                    <a:pos x="14" y="42"/>
                  </a:cxn>
                  <a:cxn ang="0">
                    <a:pos x="8" y="52"/>
                  </a:cxn>
                  <a:cxn ang="0">
                    <a:pos x="4" y="62"/>
                  </a:cxn>
                  <a:cxn ang="0">
                    <a:pos x="0" y="68"/>
                  </a:cxn>
                  <a:cxn ang="0">
                    <a:pos x="8" y="76"/>
                  </a:cxn>
                  <a:cxn ang="0">
                    <a:pos x="6" y="80"/>
                  </a:cxn>
                  <a:cxn ang="0">
                    <a:pos x="10" y="92"/>
                  </a:cxn>
                  <a:cxn ang="0">
                    <a:pos x="10" y="96"/>
                  </a:cxn>
                  <a:cxn ang="0">
                    <a:pos x="24" y="100"/>
                  </a:cxn>
                  <a:cxn ang="0">
                    <a:pos x="30" y="112"/>
                  </a:cxn>
                  <a:cxn ang="0">
                    <a:pos x="24" y="126"/>
                  </a:cxn>
                </a:cxnLst>
                <a:rect l="0" t="0" r="r" b="b"/>
                <a:pathLst>
                  <a:path w="127" h="130">
                    <a:moveTo>
                      <a:pt x="24" y="128"/>
                    </a:moveTo>
                    <a:lnTo>
                      <a:pt x="22" y="128"/>
                    </a:lnTo>
                    <a:lnTo>
                      <a:pt x="32" y="126"/>
                    </a:lnTo>
                    <a:lnTo>
                      <a:pt x="40" y="126"/>
                    </a:lnTo>
                    <a:lnTo>
                      <a:pt x="48" y="128"/>
                    </a:lnTo>
                    <a:lnTo>
                      <a:pt x="52" y="130"/>
                    </a:lnTo>
                    <a:lnTo>
                      <a:pt x="58" y="130"/>
                    </a:lnTo>
                    <a:lnTo>
                      <a:pt x="62" y="130"/>
                    </a:lnTo>
                    <a:lnTo>
                      <a:pt x="74" y="130"/>
                    </a:lnTo>
                    <a:lnTo>
                      <a:pt x="80" y="130"/>
                    </a:lnTo>
                    <a:lnTo>
                      <a:pt x="88" y="126"/>
                    </a:lnTo>
                    <a:lnTo>
                      <a:pt x="102" y="126"/>
                    </a:lnTo>
                    <a:lnTo>
                      <a:pt x="100" y="122"/>
                    </a:lnTo>
                    <a:lnTo>
                      <a:pt x="102" y="116"/>
                    </a:lnTo>
                    <a:lnTo>
                      <a:pt x="106" y="114"/>
                    </a:lnTo>
                    <a:lnTo>
                      <a:pt x="110" y="110"/>
                    </a:lnTo>
                    <a:lnTo>
                      <a:pt x="114" y="108"/>
                    </a:lnTo>
                    <a:lnTo>
                      <a:pt x="108" y="102"/>
                    </a:lnTo>
                    <a:lnTo>
                      <a:pt x="100" y="96"/>
                    </a:lnTo>
                    <a:lnTo>
                      <a:pt x="92" y="90"/>
                    </a:lnTo>
                    <a:lnTo>
                      <a:pt x="92" y="84"/>
                    </a:lnTo>
                    <a:lnTo>
                      <a:pt x="90" y="80"/>
                    </a:lnTo>
                    <a:lnTo>
                      <a:pt x="119" y="70"/>
                    </a:lnTo>
                    <a:lnTo>
                      <a:pt x="121" y="70"/>
                    </a:lnTo>
                    <a:lnTo>
                      <a:pt x="127" y="70"/>
                    </a:lnTo>
                    <a:lnTo>
                      <a:pt x="127" y="60"/>
                    </a:lnTo>
                    <a:lnTo>
                      <a:pt x="121" y="46"/>
                    </a:lnTo>
                    <a:lnTo>
                      <a:pt x="114" y="34"/>
                    </a:lnTo>
                    <a:lnTo>
                      <a:pt x="114" y="16"/>
                    </a:lnTo>
                    <a:lnTo>
                      <a:pt x="110" y="12"/>
                    </a:lnTo>
                    <a:lnTo>
                      <a:pt x="108" y="8"/>
                    </a:lnTo>
                    <a:lnTo>
                      <a:pt x="102" y="6"/>
                    </a:lnTo>
                    <a:lnTo>
                      <a:pt x="96" y="4"/>
                    </a:lnTo>
                    <a:lnTo>
                      <a:pt x="92" y="4"/>
                    </a:lnTo>
                    <a:lnTo>
                      <a:pt x="86" y="8"/>
                    </a:lnTo>
                    <a:lnTo>
                      <a:pt x="80" y="10"/>
                    </a:lnTo>
                    <a:lnTo>
                      <a:pt x="76" y="16"/>
                    </a:lnTo>
                    <a:lnTo>
                      <a:pt x="70" y="12"/>
                    </a:lnTo>
                    <a:lnTo>
                      <a:pt x="66" y="8"/>
                    </a:lnTo>
                    <a:lnTo>
                      <a:pt x="52" y="0"/>
                    </a:lnTo>
                    <a:lnTo>
                      <a:pt x="38" y="0"/>
                    </a:lnTo>
                    <a:lnTo>
                      <a:pt x="40" y="8"/>
                    </a:lnTo>
                    <a:lnTo>
                      <a:pt x="42" y="12"/>
                    </a:lnTo>
                    <a:lnTo>
                      <a:pt x="50" y="20"/>
                    </a:lnTo>
                    <a:lnTo>
                      <a:pt x="46" y="20"/>
                    </a:lnTo>
                    <a:lnTo>
                      <a:pt x="42" y="16"/>
                    </a:lnTo>
                    <a:lnTo>
                      <a:pt x="38" y="16"/>
                    </a:lnTo>
                    <a:lnTo>
                      <a:pt x="38" y="18"/>
                    </a:lnTo>
                    <a:lnTo>
                      <a:pt x="36" y="20"/>
                    </a:lnTo>
                    <a:lnTo>
                      <a:pt x="34" y="20"/>
                    </a:lnTo>
                    <a:lnTo>
                      <a:pt x="30" y="18"/>
                    </a:lnTo>
                    <a:lnTo>
                      <a:pt x="26" y="18"/>
                    </a:lnTo>
                    <a:lnTo>
                      <a:pt x="22" y="16"/>
                    </a:lnTo>
                    <a:lnTo>
                      <a:pt x="14" y="18"/>
                    </a:lnTo>
                    <a:lnTo>
                      <a:pt x="14" y="28"/>
                    </a:lnTo>
                    <a:lnTo>
                      <a:pt x="12" y="36"/>
                    </a:lnTo>
                    <a:lnTo>
                      <a:pt x="12" y="42"/>
                    </a:lnTo>
                    <a:lnTo>
                      <a:pt x="14" y="42"/>
                    </a:lnTo>
                    <a:lnTo>
                      <a:pt x="10" y="48"/>
                    </a:lnTo>
                    <a:lnTo>
                      <a:pt x="8" y="52"/>
                    </a:lnTo>
                    <a:lnTo>
                      <a:pt x="6" y="56"/>
                    </a:lnTo>
                    <a:lnTo>
                      <a:pt x="4" y="62"/>
                    </a:lnTo>
                    <a:lnTo>
                      <a:pt x="2" y="66"/>
                    </a:lnTo>
                    <a:lnTo>
                      <a:pt x="0" y="68"/>
                    </a:lnTo>
                    <a:lnTo>
                      <a:pt x="4" y="72"/>
                    </a:lnTo>
                    <a:lnTo>
                      <a:pt x="8" y="76"/>
                    </a:lnTo>
                    <a:lnTo>
                      <a:pt x="6" y="78"/>
                    </a:lnTo>
                    <a:lnTo>
                      <a:pt x="6" y="80"/>
                    </a:lnTo>
                    <a:lnTo>
                      <a:pt x="10" y="88"/>
                    </a:lnTo>
                    <a:lnTo>
                      <a:pt x="10" y="92"/>
                    </a:lnTo>
                    <a:lnTo>
                      <a:pt x="10" y="94"/>
                    </a:lnTo>
                    <a:lnTo>
                      <a:pt x="10" y="96"/>
                    </a:lnTo>
                    <a:lnTo>
                      <a:pt x="20" y="98"/>
                    </a:lnTo>
                    <a:lnTo>
                      <a:pt x="24" y="100"/>
                    </a:lnTo>
                    <a:lnTo>
                      <a:pt x="32" y="102"/>
                    </a:lnTo>
                    <a:lnTo>
                      <a:pt x="30" y="112"/>
                    </a:lnTo>
                    <a:lnTo>
                      <a:pt x="28" y="120"/>
                    </a:lnTo>
                    <a:lnTo>
                      <a:pt x="24" y="126"/>
                    </a:lnTo>
                    <a:lnTo>
                      <a:pt x="24" y="1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3" name="Freeform 155"/>
              <p:cNvSpPr>
                <a:spLocks noChangeAspect="1"/>
              </p:cNvSpPr>
              <p:nvPr/>
            </p:nvSpPr>
            <p:spPr bwMode="auto">
              <a:xfrm>
                <a:off x="3719147" y="3603002"/>
                <a:ext cx="82422" cy="34589"/>
              </a:xfrm>
              <a:custGeom>
                <a:avLst/>
                <a:gdLst/>
                <a:ahLst/>
                <a:cxnLst>
                  <a:cxn ang="0">
                    <a:pos x="50" y="4"/>
                  </a:cxn>
                  <a:cxn ang="0">
                    <a:pos x="44" y="2"/>
                  </a:cxn>
                  <a:cxn ang="0">
                    <a:pos x="34" y="0"/>
                  </a:cxn>
                  <a:cxn ang="0">
                    <a:pos x="26" y="0"/>
                  </a:cxn>
                  <a:cxn ang="0">
                    <a:pos x="16" y="2"/>
                  </a:cxn>
                  <a:cxn ang="0">
                    <a:pos x="18" y="2"/>
                  </a:cxn>
                  <a:cxn ang="0">
                    <a:pos x="18" y="0"/>
                  </a:cxn>
                  <a:cxn ang="0">
                    <a:pos x="16" y="2"/>
                  </a:cxn>
                  <a:cxn ang="0">
                    <a:pos x="14" y="4"/>
                  </a:cxn>
                  <a:cxn ang="0">
                    <a:pos x="12" y="8"/>
                  </a:cxn>
                  <a:cxn ang="0">
                    <a:pos x="8" y="10"/>
                  </a:cxn>
                  <a:cxn ang="0">
                    <a:pos x="4" y="14"/>
                  </a:cxn>
                  <a:cxn ang="0">
                    <a:pos x="0" y="22"/>
                  </a:cxn>
                  <a:cxn ang="0">
                    <a:pos x="0" y="28"/>
                  </a:cxn>
                  <a:cxn ang="0">
                    <a:pos x="4" y="28"/>
                  </a:cxn>
                  <a:cxn ang="0">
                    <a:pos x="4" y="26"/>
                  </a:cxn>
                  <a:cxn ang="0">
                    <a:pos x="4" y="24"/>
                  </a:cxn>
                  <a:cxn ang="0">
                    <a:pos x="8" y="26"/>
                  </a:cxn>
                  <a:cxn ang="0">
                    <a:pos x="10" y="24"/>
                  </a:cxn>
                  <a:cxn ang="0">
                    <a:pos x="12" y="30"/>
                  </a:cxn>
                  <a:cxn ang="0">
                    <a:pos x="26" y="30"/>
                  </a:cxn>
                  <a:cxn ang="0">
                    <a:pos x="28" y="28"/>
                  </a:cxn>
                  <a:cxn ang="0">
                    <a:pos x="30" y="26"/>
                  </a:cxn>
                  <a:cxn ang="0">
                    <a:pos x="32" y="26"/>
                  </a:cxn>
                  <a:cxn ang="0">
                    <a:pos x="36" y="28"/>
                  </a:cxn>
                  <a:cxn ang="0">
                    <a:pos x="40" y="30"/>
                  </a:cxn>
                  <a:cxn ang="0">
                    <a:pos x="44" y="30"/>
                  </a:cxn>
                  <a:cxn ang="0">
                    <a:pos x="44" y="26"/>
                  </a:cxn>
                  <a:cxn ang="0">
                    <a:pos x="48" y="24"/>
                  </a:cxn>
                  <a:cxn ang="0">
                    <a:pos x="54" y="22"/>
                  </a:cxn>
                  <a:cxn ang="0">
                    <a:pos x="60" y="20"/>
                  </a:cxn>
                  <a:cxn ang="0">
                    <a:pos x="60" y="14"/>
                  </a:cxn>
                  <a:cxn ang="0">
                    <a:pos x="58" y="14"/>
                  </a:cxn>
                  <a:cxn ang="0">
                    <a:pos x="54" y="12"/>
                  </a:cxn>
                  <a:cxn ang="0">
                    <a:pos x="50" y="8"/>
                  </a:cxn>
                  <a:cxn ang="0">
                    <a:pos x="50" y="4"/>
                  </a:cxn>
                </a:cxnLst>
                <a:rect l="0" t="0" r="r" b="b"/>
                <a:pathLst>
                  <a:path w="60" h="30">
                    <a:moveTo>
                      <a:pt x="50" y="4"/>
                    </a:moveTo>
                    <a:lnTo>
                      <a:pt x="44" y="2"/>
                    </a:lnTo>
                    <a:lnTo>
                      <a:pt x="34" y="0"/>
                    </a:lnTo>
                    <a:lnTo>
                      <a:pt x="26" y="0"/>
                    </a:lnTo>
                    <a:lnTo>
                      <a:pt x="16" y="2"/>
                    </a:lnTo>
                    <a:lnTo>
                      <a:pt x="18" y="2"/>
                    </a:lnTo>
                    <a:lnTo>
                      <a:pt x="18" y="0"/>
                    </a:lnTo>
                    <a:lnTo>
                      <a:pt x="16" y="2"/>
                    </a:lnTo>
                    <a:lnTo>
                      <a:pt x="14" y="4"/>
                    </a:lnTo>
                    <a:lnTo>
                      <a:pt x="12" y="8"/>
                    </a:lnTo>
                    <a:lnTo>
                      <a:pt x="8" y="10"/>
                    </a:lnTo>
                    <a:lnTo>
                      <a:pt x="4" y="14"/>
                    </a:lnTo>
                    <a:lnTo>
                      <a:pt x="0" y="22"/>
                    </a:lnTo>
                    <a:lnTo>
                      <a:pt x="0" y="28"/>
                    </a:lnTo>
                    <a:lnTo>
                      <a:pt x="4" y="28"/>
                    </a:lnTo>
                    <a:lnTo>
                      <a:pt x="4" y="26"/>
                    </a:lnTo>
                    <a:lnTo>
                      <a:pt x="4" y="24"/>
                    </a:lnTo>
                    <a:lnTo>
                      <a:pt x="8" y="26"/>
                    </a:lnTo>
                    <a:lnTo>
                      <a:pt x="10" y="24"/>
                    </a:lnTo>
                    <a:lnTo>
                      <a:pt x="12" y="30"/>
                    </a:lnTo>
                    <a:lnTo>
                      <a:pt x="26" y="30"/>
                    </a:lnTo>
                    <a:lnTo>
                      <a:pt x="28" y="28"/>
                    </a:lnTo>
                    <a:lnTo>
                      <a:pt x="30" y="26"/>
                    </a:lnTo>
                    <a:lnTo>
                      <a:pt x="32" y="26"/>
                    </a:lnTo>
                    <a:lnTo>
                      <a:pt x="36" y="28"/>
                    </a:lnTo>
                    <a:lnTo>
                      <a:pt x="40" y="30"/>
                    </a:lnTo>
                    <a:lnTo>
                      <a:pt x="44" y="30"/>
                    </a:lnTo>
                    <a:lnTo>
                      <a:pt x="44" y="26"/>
                    </a:lnTo>
                    <a:lnTo>
                      <a:pt x="48" y="24"/>
                    </a:lnTo>
                    <a:lnTo>
                      <a:pt x="54" y="22"/>
                    </a:lnTo>
                    <a:lnTo>
                      <a:pt x="60" y="20"/>
                    </a:lnTo>
                    <a:lnTo>
                      <a:pt x="60" y="14"/>
                    </a:lnTo>
                    <a:lnTo>
                      <a:pt x="58" y="14"/>
                    </a:lnTo>
                    <a:lnTo>
                      <a:pt x="54" y="12"/>
                    </a:lnTo>
                    <a:lnTo>
                      <a:pt x="50" y="8"/>
                    </a:lnTo>
                    <a:lnTo>
                      <a:pt x="50"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4" name="Freeform 156"/>
              <p:cNvSpPr>
                <a:spLocks noChangeAspect="1"/>
              </p:cNvSpPr>
              <p:nvPr/>
            </p:nvSpPr>
            <p:spPr bwMode="auto">
              <a:xfrm>
                <a:off x="3789409" y="3575567"/>
                <a:ext cx="149981" cy="53674"/>
              </a:xfrm>
              <a:custGeom>
                <a:avLst/>
                <a:gdLst/>
                <a:ahLst/>
                <a:cxnLst>
                  <a:cxn ang="0">
                    <a:pos x="65" y="8"/>
                  </a:cxn>
                  <a:cxn ang="0">
                    <a:pos x="69" y="6"/>
                  </a:cxn>
                  <a:cxn ang="0">
                    <a:pos x="71" y="4"/>
                  </a:cxn>
                  <a:cxn ang="0">
                    <a:pos x="75" y="2"/>
                  </a:cxn>
                  <a:cxn ang="0">
                    <a:pos x="79" y="0"/>
                  </a:cxn>
                  <a:cxn ang="0">
                    <a:pos x="85" y="2"/>
                  </a:cxn>
                  <a:cxn ang="0">
                    <a:pos x="91" y="4"/>
                  </a:cxn>
                  <a:cxn ang="0">
                    <a:pos x="95" y="6"/>
                  </a:cxn>
                  <a:cxn ang="0">
                    <a:pos x="101" y="6"/>
                  </a:cxn>
                  <a:cxn ang="0">
                    <a:pos x="103" y="14"/>
                  </a:cxn>
                  <a:cxn ang="0">
                    <a:pos x="107" y="18"/>
                  </a:cxn>
                  <a:cxn ang="0">
                    <a:pos x="101" y="24"/>
                  </a:cxn>
                  <a:cxn ang="0">
                    <a:pos x="99" y="30"/>
                  </a:cxn>
                  <a:cxn ang="0">
                    <a:pos x="95" y="38"/>
                  </a:cxn>
                  <a:cxn ang="0">
                    <a:pos x="93" y="40"/>
                  </a:cxn>
                  <a:cxn ang="0">
                    <a:pos x="79" y="42"/>
                  </a:cxn>
                  <a:cxn ang="0">
                    <a:pos x="75" y="44"/>
                  </a:cxn>
                  <a:cxn ang="0">
                    <a:pos x="73" y="44"/>
                  </a:cxn>
                  <a:cxn ang="0">
                    <a:pos x="65" y="46"/>
                  </a:cxn>
                  <a:cxn ang="0">
                    <a:pos x="52" y="44"/>
                  </a:cxn>
                  <a:cxn ang="0">
                    <a:pos x="42" y="40"/>
                  </a:cxn>
                  <a:cxn ang="0">
                    <a:pos x="36" y="38"/>
                  </a:cxn>
                  <a:cxn ang="0">
                    <a:pos x="26" y="36"/>
                  </a:cxn>
                  <a:cxn ang="0">
                    <a:pos x="22" y="36"/>
                  </a:cxn>
                  <a:cxn ang="0">
                    <a:pos x="22" y="38"/>
                  </a:cxn>
                  <a:cxn ang="0">
                    <a:pos x="10" y="38"/>
                  </a:cxn>
                  <a:cxn ang="0">
                    <a:pos x="8" y="38"/>
                  </a:cxn>
                  <a:cxn ang="0">
                    <a:pos x="4" y="36"/>
                  </a:cxn>
                  <a:cxn ang="0">
                    <a:pos x="0" y="32"/>
                  </a:cxn>
                  <a:cxn ang="0">
                    <a:pos x="0" y="28"/>
                  </a:cxn>
                  <a:cxn ang="0">
                    <a:pos x="6" y="28"/>
                  </a:cxn>
                  <a:cxn ang="0">
                    <a:pos x="18" y="28"/>
                  </a:cxn>
                  <a:cxn ang="0">
                    <a:pos x="24" y="28"/>
                  </a:cxn>
                  <a:cxn ang="0">
                    <a:pos x="32" y="24"/>
                  </a:cxn>
                  <a:cxn ang="0">
                    <a:pos x="46" y="24"/>
                  </a:cxn>
                  <a:cxn ang="0">
                    <a:pos x="44" y="20"/>
                  </a:cxn>
                  <a:cxn ang="0">
                    <a:pos x="46" y="14"/>
                  </a:cxn>
                  <a:cxn ang="0">
                    <a:pos x="50" y="12"/>
                  </a:cxn>
                  <a:cxn ang="0">
                    <a:pos x="54" y="8"/>
                  </a:cxn>
                  <a:cxn ang="0">
                    <a:pos x="58" y="6"/>
                  </a:cxn>
                  <a:cxn ang="0">
                    <a:pos x="56" y="6"/>
                  </a:cxn>
                  <a:cxn ang="0">
                    <a:pos x="65" y="8"/>
                  </a:cxn>
                </a:cxnLst>
                <a:rect l="0" t="0" r="r" b="b"/>
                <a:pathLst>
                  <a:path w="107" h="46">
                    <a:moveTo>
                      <a:pt x="65" y="8"/>
                    </a:moveTo>
                    <a:lnTo>
                      <a:pt x="69" y="6"/>
                    </a:lnTo>
                    <a:lnTo>
                      <a:pt x="71" y="4"/>
                    </a:lnTo>
                    <a:lnTo>
                      <a:pt x="75" y="2"/>
                    </a:lnTo>
                    <a:lnTo>
                      <a:pt x="79" y="0"/>
                    </a:lnTo>
                    <a:lnTo>
                      <a:pt x="85" y="2"/>
                    </a:lnTo>
                    <a:lnTo>
                      <a:pt x="91" y="4"/>
                    </a:lnTo>
                    <a:lnTo>
                      <a:pt x="95" y="6"/>
                    </a:lnTo>
                    <a:lnTo>
                      <a:pt x="101" y="6"/>
                    </a:lnTo>
                    <a:lnTo>
                      <a:pt x="103" y="14"/>
                    </a:lnTo>
                    <a:lnTo>
                      <a:pt x="107" y="18"/>
                    </a:lnTo>
                    <a:lnTo>
                      <a:pt x="101" y="24"/>
                    </a:lnTo>
                    <a:lnTo>
                      <a:pt x="99" y="30"/>
                    </a:lnTo>
                    <a:lnTo>
                      <a:pt x="95" y="38"/>
                    </a:lnTo>
                    <a:lnTo>
                      <a:pt x="93" y="40"/>
                    </a:lnTo>
                    <a:lnTo>
                      <a:pt x="79" y="42"/>
                    </a:lnTo>
                    <a:lnTo>
                      <a:pt x="75" y="44"/>
                    </a:lnTo>
                    <a:lnTo>
                      <a:pt x="73" y="44"/>
                    </a:lnTo>
                    <a:lnTo>
                      <a:pt x="65" y="46"/>
                    </a:lnTo>
                    <a:lnTo>
                      <a:pt x="52" y="44"/>
                    </a:lnTo>
                    <a:lnTo>
                      <a:pt x="42" y="40"/>
                    </a:lnTo>
                    <a:lnTo>
                      <a:pt x="36" y="38"/>
                    </a:lnTo>
                    <a:lnTo>
                      <a:pt x="26" y="36"/>
                    </a:lnTo>
                    <a:lnTo>
                      <a:pt x="22" y="36"/>
                    </a:lnTo>
                    <a:lnTo>
                      <a:pt x="22" y="38"/>
                    </a:lnTo>
                    <a:lnTo>
                      <a:pt x="10" y="38"/>
                    </a:lnTo>
                    <a:lnTo>
                      <a:pt x="8" y="38"/>
                    </a:lnTo>
                    <a:lnTo>
                      <a:pt x="4" y="36"/>
                    </a:lnTo>
                    <a:lnTo>
                      <a:pt x="0" y="32"/>
                    </a:lnTo>
                    <a:lnTo>
                      <a:pt x="0" y="28"/>
                    </a:lnTo>
                    <a:lnTo>
                      <a:pt x="6" y="28"/>
                    </a:lnTo>
                    <a:lnTo>
                      <a:pt x="18" y="28"/>
                    </a:lnTo>
                    <a:lnTo>
                      <a:pt x="24" y="28"/>
                    </a:lnTo>
                    <a:lnTo>
                      <a:pt x="32" y="24"/>
                    </a:lnTo>
                    <a:lnTo>
                      <a:pt x="46" y="24"/>
                    </a:lnTo>
                    <a:lnTo>
                      <a:pt x="44" y="20"/>
                    </a:lnTo>
                    <a:lnTo>
                      <a:pt x="46" y="14"/>
                    </a:lnTo>
                    <a:lnTo>
                      <a:pt x="50" y="12"/>
                    </a:lnTo>
                    <a:lnTo>
                      <a:pt x="54" y="8"/>
                    </a:lnTo>
                    <a:lnTo>
                      <a:pt x="58" y="6"/>
                    </a:lnTo>
                    <a:lnTo>
                      <a:pt x="56" y="6"/>
                    </a:lnTo>
                    <a:lnTo>
                      <a:pt x="65"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5" name="Freeform 157"/>
              <p:cNvSpPr>
                <a:spLocks noChangeAspect="1"/>
              </p:cNvSpPr>
              <p:nvPr/>
            </p:nvSpPr>
            <p:spPr bwMode="auto">
              <a:xfrm>
                <a:off x="3728607" y="3618506"/>
                <a:ext cx="262127" cy="194418"/>
              </a:xfrm>
              <a:custGeom>
                <a:avLst/>
                <a:gdLst/>
                <a:ahLst/>
                <a:cxnLst>
                  <a:cxn ang="0">
                    <a:pos x="12" y="52"/>
                  </a:cxn>
                  <a:cxn ang="0">
                    <a:pos x="0" y="36"/>
                  </a:cxn>
                  <a:cxn ang="0">
                    <a:pos x="8" y="28"/>
                  </a:cxn>
                  <a:cxn ang="0">
                    <a:pos x="4" y="24"/>
                  </a:cxn>
                  <a:cxn ang="0">
                    <a:pos x="4" y="18"/>
                  </a:cxn>
                  <a:cxn ang="0">
                    <a:pos x="20" y="16"/>
                  </a:cxn>
                  <a:cxn ang="0">
                    <a:pos x="24" y="14"/>
                  </a:cxn>
                  <a:cxn ang="0">
                    <a:pos x="32" y="18"/>
                  </a:cxn>
                  <a:cxn ang="0">
                    <a:pos x="36" y="14"/>
                  </a:cxn>
                  <a:cxn ang="0">
                    <a:pos x="46" y="10"/>
                  </a:cxn>
                  <a:cxn ang="0">
                    <a:pos x="52" y="2"/>
                  </a:cxn>
                  <a:cxn ang="0">
                    <a:pos x="64" y="0"/>
                  </a:cxn>
                  <a:cxn ang="0">
                    <a:pos x="74" y="2"/>
                  </a:cxn>
                  <a:cxn ang="0">
                    <a:pos x="94" y="8"/>
                  </a:cxn>
                  <a:cxn ang="0">
                    <a:pos x="96" y="16"/>
                  </a:cxn>
                  <a:cxn ang="0">
                    <a:pos x="86" y="28"/>
                  </a:cxn>
                  <a:cxn ang="0">
                    <a:pos x="84" y="38"/>
                  </a:cxn>
                  <a:cxn ang="0">
                    <a:pos x="84" y="48"/>
                  </a:cxn>
                  <a:cxn ang="0">
                    <a:pos x="96" y="58"/>
                  </a:cxn>
                  <a:cxn ang="0">
                    <a:pos x="109" y="64"/>
                  </a:cxn>
                  <a:cxn ang="0">
                    <a:pos x="119" y="72"/>
                  </a:cxn>
                  <a:cxn ang="0">
                    <a:pos x="125" y="86"/>
                  </a:cxn>
                  <a:cxn ang="0">
                    <a:pos x="135" y="92"/>
                  </a:cxn>
                  <a:cxn ang="0">
                    <a:pos x="139" y="90"/>
                  </a:cxn>
                  <a:cxn ang="0">
                    <a:pos x="145" y="98"/>
                  </a:cxn>
                  <a:cxn ang="0">
                    <a:pos x="161" y="108"/>
                  </a:cxn>
                  <a:cxn ang="0">
                    <a:pos x="179" y="120"/>
                  </a:cxn>
                  <a:cxn ang="0">
                    <a:pos x="179" y="124"/>
                  </a:cxn>
                  <a:cxn ang="0">
                    <a:pos x="169" y="122"/>
                  </a:cxn>
                  <a:cxn ang="0">
                    <a:pos x="159" y="118"/>
                  </a:cxn>
                  <a:cxn ang="0">
                    <a:pos x="153" y="124"/>
                  </a:cxn>
                  <a:cxn ang="0">
                    <a:pos x="155" y="128"/>
                  </a:cxn>
                  <a:cxn ang="0">
                    <a:pos x="161" y="136"/>
                  </a:cxn>
                  <a:cxn ang="0">
                    <a:pos x="163" y="140"/>
                  </a:cxn>
                  <a:cxn ang="0">
                    <a:pos x="161" y="146"/>
                  </a:cxn>
                  <a:cxn ang="0">
                    <a:pos x="155" y="152"/>
                  </a:cxn>
                  <a:cxn ang="0">
                    <a:pos x="151" y="158"/>
                  </a:cxn>
                  <a:cxn ang="0">
                    <a:pos x="141" y="162"/>
                  </a:cxn>
                  <a:cxn ang="0">
                    <a:pos x="145" y="152"/>
                  </a:cxn>
                  <a:cxn ang="0">
                    <a:pos x="147" y="142"/>
                  </a:cxn>
                  <a:cxn ang="0">
                    <a:pos x="145" y="132"/>
                  </a:cxn>
                  <a:cxn ang="0">
                    <a:pos x="135" y="124"/>
                  </a:cxn>
                  <a:cxn ang="0">
                    <a:pos x="119" y="112"/>
                  </a:cxn>
                  <a:cxn ang="0">
                    <a:pos x="84" y="92"/>
                  </a:cxn>
                  <a:cxn ang="0">
                    <a:pos x="64" y="74"/>
                  </a:cxn>
                  <a:cxn ang="0">
                    <a:pos x="52" y="50"/>
                  </a:cxn>
                  <a:cxn ang="0">
                    <a:pos x="36" y="44"/>
                  </a:cxn>
                  <a:cxn ang="0">
                    <a:pos x="28" y="50"/>
                  </a:cxn>
                  <a:cxn ang="0">
                    <a:pos x="20" y="56"/>
                  </a:cxn>
                </a:cxnLst>
                <a:rect l="0" t="0" r="r" b="b"/>
                <a:pathLst>
                  <a:path w="185" h="162">
                    <a:moveTo>
                      <a:pt x="18" y="56"/>
                    </a:moveTo>
                    <a:lnTo>
                      <a:pt x="12" y="52"/>
                    </a:lnTo>
                    <a:lnTo>
                      <a:pt x="8" y="46"/>
                    </a:lnTo>
                    <a:lnTo>
                      <a:pt x="0" y="36"/>
                    </a:lnTo>
                    <a:lnTo>
                      <a:pt x="8" y="30"/>
                    </a:lnTo>
                    <a:lnTo>
                      <a:pt x="8" y="28"/>
                    </a:lnTo>
                    <a:lnTo>
                      <a:pt x="6" y="26"/>
                    </a:lnTo>
                    <a:lnTo>
                      <a:pt x="4" y="24"/>
                    </a:lnTo>
                    <a:lnTo>
                      <a:pt x="4" y="22"/>
                    </a:lnTo>
                    <a:lnTo>
                      <a:pt x="4" y="18"/>
                    </a:lnTo>
                    <a:lnTo>
                      <a:pt x="18" y="18"/>
                    </a:lnTo>
                    <a:lnTo>
                      <a:pt x="20" y="16"/>
                    </a:lnTo>
                    <a:lnTo>
                      <a:pt x="22" y="14"/>
                    </a:lnTo>
                    <a:lnTo>
                      <a:pt x="24" y="14"/>
                    </a:lnTo>
                    <a:lnTo>
                      <a:pt x="28" y="16"/>
                    </a:lnTo>
                    <a:lnTo>
                      <a:pt x="32" y="18"/>
                    </a:lnTo>
                    <a:lnTo>
                      <a:pt x="36" y="18"/>
                    </a:lnTo>
                    <a:lnTo>
                      <a:pt x="36" y="14"/>
                    </a:lnTo>
                    <a:lnTo>
                      <a:pt x="40" y="12"/>
                    </a:lnTo>
                    <a:lnTo>
                      <a:pt x="46" y="10"/>
                    </a:lnTo>
                    <a:lnTo>
                      <a:pt x="52" y="8"/>
                    </a:lnTo>
                    <a:lnTo>
                      <a:pt x="52" y="2"/>
                    </a:lnTo>
                    <a:lnTo>
                      <a:pt x="64" y="2"/>
                    </a:lnTo>
                    <a:lnTo>
                      <a:pt x="64" y="0"/>
                    </a:lnTo>
                    <a:lnTo>
                      <a:pt x="68" y="0"/>
                    </a:lnTo>
                    <a:lnTo>
                      <a:pt x="74" y="2"/>
                    </a:lnTo>
                    <a:lnTo>
                      <a:pt x="80" y="2"/>
                    </a:lnTo>
                    <a:lnTo>
                      <a:pt x="94" y="8"/>
                    </a:lnTo>
                    <a:lnTo>
                      <a:pt x="96" y="8"/>
                    </a:lnTo>
                    <a:lnTo>
                      <a:pt x="96" y="16"/>
                    </a:lnTo>
                    <a:lnTo>
                      <a:pt x="88" y="24"/>
                    </a:lnTo>
                    <a:lnTo>
                      <a:pt x="86" y="28"/>
                    </a:lnTo>
                    <a:lnTo>
                      <a:pt x="86" y="32"/>
                    </a:lnTo>
                    <a:lnTo>
                      <a:pt x="84" y="38"/>
                    </a:lnTo>
                    <a:lnTo>
                      <a:pt x="84" y="44"/>
                    </a:lnTo>
                    <a:lnTo>
                      <a:pt x="84" y="48"/>
                    </a:lnTo>
                    <a:lnTo>
                      <a:pt x="88" y="52"/>
                    </a:lnTo>
                    <a:lnTo>
                      <a:pt x="96" y="58"/>
                    </a:lnTo>
                    <a:lnTo>
                      <a:pt x="107" y="62"/>
                    </a:lnTo>
                    <a:lnTo>
                      <a:pt x="109" y="64"/>
                    </a:lnTo>
                    <a:lnTo>
                      <a:pt x="115" y="68"/>
                    </a:lnTo>
                    <a:lnTo>
                      <a:pt x="119" y="72"/>
                    </a:lnTo>
                    <a:lnTo>
                      <a:pt x="121" y="80"/>
                    </a:lnTo>
                    <a:lnTo>
                      <a:pt x="125" y="86"/>
                    </a:lnTo>
                    <a:lnTo>
                      <a:pt x="131" y="90"/>
                    </a:lnTo>
                    <a:lnTo>
                      <a:pt x="135" y="92"/>
                    </a:lnTo>
                    <a:lnTo>
                      <a:pt x="137" y="92"/>
                    </a:lnTo>
                    <a:lnTo>
                      <a:pt x="139" y="90"/>
                    </a:lnTo>
                    <a:lnTo>
                      <a:pt x="141" y="94"/>
                    </a:lnTo>
                    <a:lnTo>
                      <a:pt x="145" y="98"/>
                    </a:lnTo>
                    <a:lnTo>
                      <a:pt x="149" y="102"/>
                    </a:lnTo>
                    <a:lnTo>
                      <a:pt x="161" y="108"/>
                    </a:lnTo>
                    <a:lnTo>
                      <a:pt x="173" y="114"/>
                    </a:lnTo>
                    <a:lnTo>
                      <a:pt x="179" y="120"/>
                    </a:lnTo>
                    <a:lnTo>
                      <a:pt x="185" y="124"/>
                    </a:lnTo>
                    <a:lnTo>
                      <a:pt x="179" y="124"/>
                    </a:lnTo>
                    <a:lnTo>
                      <a:pt x="173" y="124"/>
                    </a:lnTo>
                    <a:lnTo>
                      <a:pt x="169" y="122"/>
                    </a:lnTo>
                    <a:lnTo>
                      <a:pt x="163" y="118"/>
                    </a:lnTo>
                    <a:lnTo>
                      <a:pt x="159" y="118"/>
                    </a:lnTo>
                    <a:lnTo>
                      <a:pt x="153" y="120"/>
                    </a:lnTo>
                    <a:lnTo>
                      <a:pt x="153" y="124"/>
                    </a:lnTo>
                    <a:lnTo>
                      <a:pt x="153" y="126"/>
                    </a:lnTo>
                    <a:lnTo>
                      <a:pt x="155" y="128"/>
                    </a:lnTo>
                    <a:lnTo>
                      <a:pt x="159" y="132"/>
                    </a:lnTo>
                    <a:lnTo>
                      <a:pt x="161" y="136"/>
                    </a:lnTo>
                    <a:lnTo>
                      <a:pt x="163" y="138"/>
                    </a:lnTo>
                    <a:lnTo>
                      <a:pt x="163" y="140"/>
                    </a:lnTo>
                    <a:lnTo>
                      <a:pt x="163" y="144"/>
                    </a:lnTo>
                    <a:lnTo>
                      <a:pt x="161" y="146"/>
                    </a:lnTo>
                    <a:lnTo>
                      <a:pt x="155" y="144"/>
                    </a:lnTo>
                    <a:lnTo>
                      <a:pt x="155" y="152"/>
                    </a:lnTo>
                    <a:lnTo>
                      <a:pt x="155" y="154"/>
                    </a:lnTo>
                    <a:lnTo>
                      <a:pt x="151" y="158"/>
                    </a:lnTo>
                    <a:lnTo>
                      <a:pt x="147" y="162"/>
                    </a:lnTo>
                    <a:lnTo>
                      <a:pt x="141" y="162"/>
                    </a:lnTo>
                    <a:lnTo>
                      <a:pt x="141" y="156"/>
                    </a:lnTo>
                    <a:lnTo>
                      <a:pt x="145" y="152"/>
                    </a:lnTo>
                    <a:lnTo>
                      <a:pt x="147" y="148"/>
                    </a:lnTo>
                    <a:lnTo>
                      <a:pt x="147" y="142"/>
                    </a:lnTo>
                    <a:lnTo>
                      <a:pt x="147" y="136"/>
                    </a:lnTo>
                    <a:lnTo>
                      <a:pt x="145" y="132"/>
                    </a:lnTo>
                    <a:lnTo>
                      <a:pt x="141" y="126"/>
                    </a:lnTo>
                    <a:lnTo>
                      <a:pt x="135" y="124"/>
                    </a:lnTo>
                    <a:lnTo>
                      <a:pt x="129" y="120"/>
                    </a:lnTo>
                    <a:lnTo>
                      <a:pt x="119" y="112"/>
                    </a:lnTo>
                    <a:lnTo>
                      <a:pt x="107" y="104"/>
                    </a:lnTo>
                    <a:lnTo>
                      <a:pt x="84" y="92"/>
                    </a:lnTo>
                    <a:lnTo>
                      <a:pt x="74" y="84"/>
                    </a:lnTo>
                    <a:lnTo>
                      <a:pt x="64" y="74"/>
                    </a:lnTo>
                    <a:lnTo>
                      <a:pt x="56" y="64"/>
                    </a:lnTo>
                    <a:lnTo>
                      <a:pt x="52" y="50"/>
                    </a:lnTo>
                    <a:lnTo>
                      <a:pt x="42" y="48"/>
                    </a:lnTo>
                    <a:lnTo>
                      <a:pt x="36" y="44"/>
                    </a:lnTo>
                    <a:lnTo>
                      <a:pt x="30" y="46"/>
                    </a:lnTo>
                    <a:lnTo>
                      <a:pt x="28" y="50"/>
                    </a:lnTo>
                    <a:lnTo>
                      <a:pt x="24" y="54"/>
                    </a:lnTo>
                    <a:lnTo>
                      <a:pt x="20" y="56"/>
                    </a:lnTo>
                    <a:lnTo>
                      <a:pt x="18" y="5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6" name="Freeform 158"/>
              <p:cNvSpPr>
                <a:spLocks noChangeAspect="1"/>
              </p:cNvSpPr>
              <p:nvPr/>
            </p:nvSpPr>
            <p:spPr bwMode="auto">
              <a:xfrm>
                <a:off x="3871830" y="3451523"/>
                <a:ext cx="195920" cy="119275"/>
              </a:xfrm>
              <a:custGeom>
                <a:avLst/>
                <a:gdLst/>
                <a:ahLst/>
                <a:cxnLst>
                  <a:cxn ang="0">
                    <a:pos x="121" y="100"/>
                  </a:cxn>
                  <a:cxn ang="0">
                    <a:pos x="117" y="100"/>
                  </a:cxn>
                  <a:cxn ang="0">
                    <a:pos x="111" y="100"/>
                  </a:cxn>
                  <a:cxn ang="0">
                    <a:pos x="101" y="98"/>
                  </a:cxn>
                  <a:cxn ang="0">
                    <a:pos x="91" y="100"/>
                  </a:cxn>
                  <a:cxn ang="0">
                    <a:pos x="85" y="100"/>
                  </a:cxn>
                  <a:cxn ang="0">
                    <a:pos x="83" y="100"/>
                  </a:cxn>
                  <a:cxn ang="0">
                    <a:pos x="81" y="96"/>
                  </a:cxn>
                  <a:cxn ang="0">
                    <a:pos x="75" y="96"/>
                  </a:cxn>
                  <a:cxn ang="0">
                    <a:pos x="71" y="96"/>
                  </a:cxn>
                  <a:cxn ang="0">
                    <a:pos x="69" y="96"/>
                  </a:cxn>
                  <a:cxn ang="0">
                    <a:pos x="67" y="94"/>
                  </a:cxn>
                  <a:cxn ang="0">
                    <a:pos x="65" y="88"/>
                  </a:cxn>
                  <a:cxn ang="0">
                    <a:pos x="61" y="86"/>
                  </a:cxn>
                  <a:cxn ang="0">
                    <a:pos x="55" y="84"/>
                  </a:cxn>
                  <a:cxn ang="0">
                    <a:pos x="47" y="82"/>
                  </a:cxn>
                  <a:cxn ang="0">
                    <a:pos x="43" y="78"/>
                  </a:cxn>
                  <a:cxn ang="0">
                    <a:pos x="41" y="82"/>
                  </a:cxn>
                  <a:cxn ang="0">
                    <a:pos x="37" y="82"/>
                  </a:cxn>
                  <a:cxn ang="0">
                    <a:pos x="35" y="82"/>
                  </a:cxn>
                  <a:cxn ang="0">
                    <a:pos x="35" y="78"/>
                  </a:cxn>
                  <a:cxn ang="0">
                    <a:pos x="13" y="72"/>
                  </a:cxn>
                  <a:cxn ang="0">
                    <a:pos x="13" y="62"/>
                  </a:cxn>
                  <a:cxn ang="0">
                    <a:pos x="7" y="48"/>
                  </a:cxn>
                  <a:cxn ang="0">
                    <a:pos x="0" y="36"/>
                  </a:cxn>
                  <a:cxn ang="0">
                    <a:pos x="0" y="18"/>
                  </a:cxn>
                  <a:cxn ang="0">
                    <a:pos x="5" y="18"/>
                  </a:cxn>
                  <a:cxn ang="0">
                    <a:pos x="13" y="16"/>
                  </a:cxn>
                  <a:cxn ang="0">
                    <a:pos x="25" y="10"/>
                  </a:cxn>
                  <a:cxn ang="0">
                    <a:pos x="41" y="0"/>
                  </a:cxn>
                  <a:cxn ang="0">
                    <a:pos x="59" y="0"/>
                  </a:cxn>
                  <a:cxn ang="0">
                    <a:pos x="61" y="4"/>
                  </a:cxn>
                  <a:cxn ang="0">
                    <a:pos x="61" y="6"/>
                  </a:cxn>
                  <a:cxn ang="0">
                    <a:pos x="65" y="8"/>
                  </a:cxn>
                  <a:cxn ang="0">
                    <a:pos x="75" y="6"/>
                  </a:cxn>
                  <a:cxn ang="0">
                    <a:pos x="113" y="6"/>
                  </a:cxn>
                  <a:cxn ang="0">
                    <a:pos x="117" y="10"/>
                  </a:cxn>
                  <a:cxn ang="0">
                    <a:pos x="119" y="12"/>
                  </a:cxn>
                  <a:cxn ang="0">
                    <a:pos x="123" y="14"/>
                  </a:cxn>
                  <a:cxn ang="0">
                    <a:pos x="125" y="16"/>
                  </a:cxn>
                  <a:cxn ang="0">
                    <a:pos x="129" y="22"/>
                  </a:cxn>
                  <a:cxn ang="0">
                    <a:pos x="131" y="28"/>
                  </a:cxn>
                  <a:cxn ang="0">
                    <a:pos x="131" y="34"/>
                  </a:cxn>
                  <a:cxn ang="0">
                    <a:pos x="135" y="40"/>
                  </a:cxn>
                  <a:cxn ang="0">
                    <a:pos x="129" y="44"/>
                  </a:cxn>
                  <a:cxn ang="0">
                    <a:pos x="127" y="46"/>
                  </a:cxn>
                  <a:cxn ang="0">
                    <a:pos x="125" y="46"/>
                  </a:cxn>
                  <a:cxn ang="0">
                    <a:pos x="125" y="50"/>
                  </a:cxn>
                  <a:cxn ang="0">
                    <a:pos x="127" y="54"/>
                  </a:cxn>
                  <a:cxn ang="0">
                    <a:pos x="133" y="62"/>
                  </a:cxn>
                  <a:cxn ang="0">
                    <a:pos x="141" y="76"/>
                  </a:cxn>
                  <a:cxn ang="0">
                    <a:pos x="135" y="80"/>
                  </a:cxn>
                  <a:cxn ang="0">
                    <a:pos x="131" y="88"/>
                  </a:cxn>
                  <a:cxn ang="0">
                    <a:pos x="121" y="98"/>
                  </a:cxn>
                  <a:cxn ang="0">
                    <a:pos x="121" y="100"/>
                  </a:cxn>
                </a:cxnLst>
                <a:rect l="0" t="0" r="r" b="b"/>
                <a:pathLst>
                  <a:path w="141" h="100">
                    <a:moveTo>
                      <a:pt x="121" y="100"/>
                    </a:moveTo>
                    <a:lnTo>
                      <a:pt x="117" y="100"/>
                    </a:lnTo>
                    <a:lnTo>
                      <a:pt x="111" y="100"/>
                    </a:lnTo>
                    <a:lnTo>
                      <a:pt x="101" y="98"/>
                    </a:lnTo>
                    <a:lnTo>
                      <a:pt x="91" y="100"/>
                    </a:lnTo>
                    <a:lnTo>
                      <a:pt x="85" y="100"/>
                    </a:lnTo>
                    <a:lnTo>
                      <a:pt x="83" y="100"/>
                    </a:lnTo>
                    <a:lnTo>
                      <a:pt x="81" y="96"/>
                    </a:lnTo>
                    <a:lnTo>
                      <a:pt x="75" y="96"/>
                    </a:lnTo>
                    <a:lnTo>
                      <a:pt x="71" y="96"/>
                    </a:lnTo>
                    <a:lnTo>
                      <a:pt x="69" y="96"/>
                    </a:lnTo>
                    <a:lnTo>
                      <a:pt x="67" y="94"/>
                    </a:lnTo>
                    <a:lnTo>
                      <a:pt x="65" y="88"/>
                    </a:lnTo>
                    <a:lnTo>
                      <a:pt x="61" y="86"/>
                    </a:lnTo>
                    <a:lnTo>
                      <a:pt x="55" y="84"/>
                    </a:lnTo>
                    <a:lnTo>
                      <a:pt x="47" y="82"/>
                    </a:lnTo>
                    <a:lnTo>
                      <a:pt x="43" y="78"/>
                    </a:lnTo>
                    <a:lnTo>
                      <a:pt x="41" y="82"/>
                    </a:lnTo>
                    <a:lnTo>
                      <a:pt x="37" y="82"/>
                    </a:lnTo>
                    <a:lnTo>
                      <a:pt x="35" y="82"/>
                    </a:lnTo>
                    <a:lnTo>
                      <a:pt x="35" y="78"/>
                    </a:lnTo>
                    <a:lnTo>
                      <a:pt x="13" y="72"/>
                    </a:lnTo>
                    <a:lnTo>
                      <a:pt x="13" y="62"/>
                    </a:lnTo>
                    <a:lnTo>
                      <a:pt x="7" y="48"/>
                    </a:lnTo>
                    <a:lnTo>
                      <a:pt x="0" y="36"/>
                    </a:lnTo>
                    <a:lnTo>
                      <a:pt x="0" y="18"/>
                    </a:lnTo>
                    <a:lnTo>
                      <a:pt x="5" y="18"/>
                    </a:lnTo>
                    <a:lnTo>
                      <a:pt x="13" y="16"/>
                    </a:lnTo>
                    <a:lnTo>
                      <a:pt x="25" y="10"/>
                    </a:lnTo>
                    <a:lnTo>
                      <a:pt x="41" y="0"/>
                    </a:lnTo>
                    <a:lnTo>
                      <a:pt x="59" y="0"/>
                    </a:lnTo>
                    <a:lnTo>
                      <a:pt x="61" y="4"/>
                    </a:lnTo>
                    <a:lnTo>
                      <a:pt x="61" y="6"/>
                    </a:lnTo>
                    <a:lnTo>
                      <a:pt x="65" y="8"/>
                    </a:lnTo>
                    <a:lnTo>
                      <a:pt x="75" y="6"/>
                    </a:lnTo>
                    <a:lnTo>
                      <a:pt x="113" y="6"/>
                    </a:lnTo>
                    <a:lnTo>
                      <a:pt x="117" y="10"/>
                    </a:lnTo>
                    <a:lnTo>
                      <a:pt x="119" y="12"/>
                    </a:lnTo>
                    <a:lnTo>
                      <a:pt x="123" y="14"/>
                    </a:lnTo>
                    <a:lnTo>
                      <a:pt x="125" y="16"/>
                    </a:lnTo>
                    <a:lnTo>
                      <a:pt x="129" y="22"/>
                    </a:lnTo>
                    <a:lnTo>
                      <a:pt x="131" y="28"/>
                    </a:lnTo>
                    <a:lnTo>
                      <a:pt x="131" y="34"/>
                    </a:lnTo>
                    <a:lnTo>
                      <a:pt x="135" y="40"/>
                    </a:lnTo>
                    <a:lnTo>
                      <a:pt x="129" y="44"/>
                    </a:lnTo>
                    <a:lnTo>
                      <a:pt x="127" y="46"/>
                    </a:lnTo>
                    <a:lnTo>
                      <a:pt x="125" y="46"/>
                    </a:lnTo>
                    <a:lnTo>
                      <a:pt x="125" y="50"/>
                    </a:lnTo>
                    <a:lnTo>
                      <a:pt x="127" y="54"/>
                    </a:lnTo>
                    <a:lnTo>
                      <a:pt x="133" y="62"/>
                    </a:lnTo>
                    <a:lnTo>
                      <a:pt x="141" y="76"/>
                    </a:lnTo>
                    <a:lnTo>
                      <a:pt x="135" y="80"/>
                    </a:lnTo>
                    <a:lnTo>
                      <a:pt x="131" y="88"/>
                    </a:lnTo>
                    <a:lnTo>
                      <a:pt x="121" y="98"/>
                    </a:lnTo>
                    <a:lnTo>
                      <a:pt x="121" y="10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7" name="Freeform 159"/>
              <p:cNvSpPr>
                <a:spLocks noChangeAspect="1"/>
              </p:cNvSpPr>
              <p:nvPr/>
            </p:nvSpPr>
            <p:spPr bwMode="auto">
              <a:xfrm>
                <a:off x="3997489" y="3712734"/>
                <a:ext cx="39184" cy="62023"/>
              </a:xfrm>
              <a:custGeom>
                <a:avLst/>
                <a:gdLst/>
                <a:ahLst/>
                <a:cxnLst>
                  <a:cxn ang="0">
                    <a:pos x="28" y="30"/>
                  </a:cxn>
                  <a:cxn ang="0">
                    <a:pos x="28" y="38"/>
                  </a:cxn>
                  <a:cxn ang="0">
                    <a:pos x="24" y="42"/>
                  </a:cxn>
                  <a:cxn ang="0">
                    <a:pos x="20" y="46"/>
                  </a:cxn>
                  <a:cxn ang="0">
                    <a:pos x="16" y="52"/>
                  </a:cxn>
                  <a:cxn ang="0">
                    <a:pos x="12" y="46"/>
                  </a:cxn>
                  <a:cxn ang="0">
                    <a:pos x="8" y="42"/>
                  </a:cxn>
                  <a:cxn ang="0">
                    <a:pos x="6" y="26"/>
                  </a:cxn>
                  <a:cxn ang="0">
                    <a:pos x="4" y="16"/>
                  </a:cxn>
                  <a:cxn ang="0">
                    <a:pos x="0" y="8"/>
                  </a:cxn>
                  <a:cxn ang="0">
                    <a:pos x="2" y="6"/>
                  </a:cxn>
                  <a:cxn ang="0">
                    <a:pos x="2" y="2"/>
                  </a:cxn>
                  <a:cxn ang="0">
                    <a:pos x="2" y="0"/>
                  </a:cxn>
                  <a:cxn ang="0">
                    <a:pos x="6" y="0"/>
                  </a:cxn>
                  <a:cxn ang="0">
                    <a:pos x="10" y="0"/>
                  </a:cxn>
                  <a:cxn ang="0">
                    <a:pos x="12" y="2"/>
                  </a:cxn>
                  <a:cxn ang="0">
                    <a:pos x="18" y="8"/>
                  </a:cxn>
                  <a:cxn ang="0">
                    <a:pos x="18" y="16"/>
                  </a:cxn>
                  <a:cxn ang="0">
                    <a:pos x="18" y="22"/>
                  </a:cxn>
                  <a:cxn ang="0">
                    <a:pos x="22" y="28"/>
                  </a:cxn>
                  <a:cxn ang="0">
                    <a:pos x="26" y="28"/>
                  </a:cxn>
                  <a:cxn ang="0">
                    <a:pos x="28" y="30"/>
                  </a:cxn>
                </a:cxnLst>
                <a:rect l="0" t="0" r="r" b="b"/>
                <a:pathLst>
                  <a:path w="28" h="52">
                    <a:moveTo>
                      <a:pt x="28" y="30"/>
                    </a:moveTo>
                    <a:lnTo>
                      <a:pt x="28" y="38"/>
                    </a:lnTo>
                    <a:lnTo>
                      <a:pt x="24" y="42"/>
                    </a:lnTo>
                    <a:lnTo>
                      <a:pt x="20" y="46"/>
                    </a:lnTo>
                    <a:lnTo>
                      <a:pt x="16" y="52"/>
                    </a:lnTo>
                    <a:lnTo>
                      <a:pt x="12" y="46"/>
                    </a:lnTo>
                    <a:lnTo>
                      <a:pt x="8" y="42"/>
                    </a:lnTo>
                    <a:lnTo>
                      <a:pt x="6" y="26"/>
                    </a:lnTo>
                    <a:lnTo>
                      <a:pt x="4" y="16"/>
                    </a:lnTo>
                    <a:lnTo>
                      <a:pt x="0" y="8"/>
                    </a:lnTo>
                    <a:lnTo>
                      <a:pt x="2" y="6"/>
                    </a:lnTo>
                    <a:lnTo>
                      <a:pt x="2" y="2"/>
                    </a:lnTo>
                    <a:lnTo>
                      <a:pt x="2" y="0"/>
                    </a:lnTo>
                    <a:lnTo>
                      <a:pt x="6" y="0"/>
                    </a:lnTo>
                    <a:lnTo>
                      <a:pt x="10" y="0"/>
                    </a:lnTo>
                    <a:lnTo>
                      <a:pt x="12" y="2"/>
                    </a:lnTo>
                    <a:lnTo>
                      <a:pt x="18" y="8"/>
                    </a:lnTo>
                    <a:lnTo>
                      <a:pt x="18" y="16"/>
                    </a:lnTo>
                    <a:lnTo>
                      <a:pt x="18" y="22"/>
                    </a:lnTo>
                    <a:lnTo>
                      <a:pt x="22" y="28"/>
                    </a:lnTo>
                    <a:lnTo>
                      <a:pt x="26" y="28"/>
                    </a:lnTo>
                    <a:lnTo>
                      <a:pt x="28" y="3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8" name="Freeform 160"/>
              <p:cNvSpPr>
                <a:spLocks noChangeAspect="1"/>
              </p:cNvSpPr>
              <p:nvPr/>
            </p:nvSpPr>
            <p:spPr bwMode="auto">
              <a:xfrm>
                <a:off x="4019108" y="3734203"/>
                <a:ext cx="131064" cy="115696"/>
              </a:xfrm>
              <a:custGeom>
                <a:avLst/>
                <a:gdLst/>
                <a:ahLst/>
                <a:cxnLst>
                  <a:cxn ang="0">
                    <a:pos x="20" y="12"/>
                  </a:cxn>
                  <a:cxn ang="0">
                    <a:pos x="36" y="8"/>
                  </a:cxn>
                  <a:cxn ang="0">
                    <a:pos x="38" y="2"/>
                  </a:cxn>
                  <a:cxn ang="0">
                    <a:pos x="42" y="4"/>
                  </a:cxn>
                  <a:cxn ang="0">
                    <a:pos x="54" y="2"/>
                  </a:cxn>
                  <a:cxn ang="0">
                    <a:pos x="64" y="2"/>
                  </a:cxn>
                  <a:cxn ang="0">
                    <a:pos x="70" y="6"/>
                  </a:cxn>
                  <a:cxn ang="0">
                    <a:pos x="78" y="6"/>
                  </a:cxn>
                  <a:cxn ang="0">
                    <a:pos x="84" y="4"/>
                  </a:cxn>
                  <a:cxn ang="0">
                    <a:pos x="88" y="0"/>
                  </a:cxn>
                  <a:cxn ang="0">
                    <a:pos x="90" y="4"/>
                  </a:cxn>
                  <a:cxn ang="0">
                    <a:pos x="94" y="16"/>
                  </a:cxn>
                  <a:cxn ang="0">
                    <a:pos x="60" y="20"/>
                  </a:cxn>
                  <a:cxn ang="0">
                    <a:pos x="58" y="24"/>
                  </a:cxn>
                  <a:cxn ang="0">
                    <a:pos x="56" y="28"/>
                  </a:cxn>
                  <a:cxn ang="0">
                    <a:pos x="46" y="26"/>
                  </a:cxn>
                  <a:cxn ang="0">
                    <a:pos x="38" y="22"/>
                  </a:cxn>
                  <a:cxn ang="0">
                    <a:pos x="40" y="28"/>
                  </a:cxn>
                  <a:cxn ang="0">
                    <a:pos x="44" y="38"/>
                  </a:cxn>
                  <a:cxn ang="0">
                    <a:pos x="54" y="48"/>
                  </a:cxn>
                  <a:cxn ang="0">
                    <a:pos x="70" y="60"/>
                  </a:cxn>
                  <a:cxn ang="0">
                    <a:pos x="66" y="64"/>
                  </a:cxn>
                  <a:cxn ang="0">
                    <a:pos x="60" y="68"/>
                  </a:cxn>
                  <a:cxn ang="0">
                    <a:pos x="52" y="64"/>
                  </a:cxn>
                  <a:cxn ang="0">
                    <a:pos x="58" y="74"/>
                  </a:cxn>
                  <a:cxn ang="0">
                    <a:pos x="46" y="74"/>
                  </a:cxn>
                  <a:cxn ang="0">
                    <a:pos x="50" y="84"/>
                  </a:cxn>
                  <a:cxn ang="0">
                    <a:pos x="54" y="98"/>
                  </a:cxn>
                  <a:cxn ang="0">
                    <a:pos x="42" y="90"/>
                  </a:cxn>
                  <a:cxn ang="0">
                    <a:pos x="38" y="84"/>
                  </a:cxn>
                  <a:cxn ang="0">
                    <a:pos x="30" y="82"/>
                  </a:cxn>
                  <a:cxn ang="0">
                    <a:pos x="24" y="78"/>
                  </a:cxn>
                  <a:cxn ang="0">
                    <a:pos x="18" y="58"/>
                  </a:cxn>
                  <a:cxn ang="0">
                    <a:pos x="12" y="46"/>
                  </a:cxn>
                  <a:cxn ang="0">
                    <a:pos x="4" y="30"/>
                  </a:cxn>
                  <a:cxn ang="0">
                    <a:pos x="12" y="22"/>
                  </a:cxn>
                </a:cxnLst>
                <a:rect l="0" t="0" r="r" b="b"/>
                <a:pathLst>
                  <a:path w="94" h="98">
                    <a:moveTo>
                      <a:pt x="12" y="14"/>
                    </a:moveTo>
                    <a:lnTo>
                      <a:pt x="20" y="12"/>
                    </a:lnTo>
                    <a:lnTo>
                      <a:pt x="30" y="10"/>
                    </a:lnTo>
                    <a:lnTo>
                      <a:pt x="36" y="8"/>
                    </a:lnTo>
                    <a:lnTo>
                      <a:pt x="38" y="6"/>
                    </a:lnTo>
                    <a:lnTo>
                      <a:pt x="38" y="2"/>
                    </a:lnTo>
                    <a:lnTo>
                      <a:pt x="38" y="4"/>
                    </a:lnTo>
                    <a:lnTo>
                      <a:pt x="42" y="4"/>
                    </a:lnTo>
                    <a:lnTo>
                      <a:pt x="48" y="4"/>
                    </a:lnTo>
                    <a:lnTo>
                      <a:pt x="54" y="2"/>
                    </a:lnTo>
                    <a:lnTo>
                      <a:pt x="60" y="0"/>
                    </a:lnTo>
                    <a:lnTo>
                      <a:pt x="64" y="2"/>
                    </a:lnTo>
                    <a:lnTo>
                      <a:pt x="66" y="4"/>
                    </a:lnTo>
                    <a:lnTo>
                      <a:pt x="70" y="6"/>
                    </a:lnTo>
                    <a:lnTo>
                      <a:pt x="76" y="6"/>
                    </a:lnTo>
                    <a:lnTo>
                      <a:pt x="78" y="6"/>
                    </a:lnTo>
                    <a:lnTo>
                      <a:pt x="80" y="4"/>
                    </a:lnTo>
                    <a:lnTo>
                      <a:pt x="84" y="4"/>
                    </a:lnTo>
                    <a:lnTo>
                      <a:pt x="86" y="0"/>
                    </a:lnTo>
                    <a:lnTo>
                      <a:pt x="88" y="0"/>
                    </a:lnTo>
                    <a:lnTo>
                      <a:pt x="90" y="2"/>
                    </a:lnTo>
                    <a:lnTo>
                      <a:pt x="90" y="4"/>
                    </a:lnTo>
                    <a:lnTo>
                      <a:pt x="94" y="6"/>
                    </a:lnTo>
                    <a:lnTo>
                      <a:pt x="94" y="16"/>
                    </a:lnTo>
                    <a:lnTo>
                      <a:pt x="58" y="16"/>
                    </a:lnTo>
                    <a:lnTo>
                      <a:pt x="60" y="20"/>
                    </a:lnTo>
                    <a:lnTo>
                      <a:pt x="62" y="24"/>
                    </a:lnTo>
                    <a:lnTo>
                      <a:pt x="58" y="24"/>
                    </a:lnTo>
                    <a:lnTo>
                      <a:pt x="56" y="26"/>
                    </a:lnTo>
                    <a:lnTo>
                      <a:pt x="56" y="28"/>
                    </a:lnTo>
                    <a:lnTo>
                      <a:pt x="50" y="28"/>
                    </a:lnTo>
                    <a:lnTo>
                      <a:pt x="46" y="26"/>
                    </a:lnTo>
                    <a:lnTo>
                      <a:pt x="40" y="20"/>
                    </a:lnTo>
                    <a:lnTo>
                      <a:pt x="38" y="22"/>
                    </a:lnTo>
                    <a:lnTo>
                      <a:pt x="38" y="24"/>
                    </a:lnTo>
                    <a:lnTo>
                      <a:pt x="40" y="28"/>
                    </a:lnTo>
                    <a:lnTo>
                      <a:pt x="40" y="32"/>
                    </a:lnTo>
                    <a:lnTo>
                      <a:pt x="44" y="38"/>
                    </a:lnTo>
                    <a:lnTo>
                      <a:pt x="48" y="44"/>
                    </a:lnTo>
                    <a:lnTo>
                      <a:pt x="54" y="48"/>
                    </a:lnTo>
                    <a:lnTo>
                      <a:pt x="66" y="56"/>
                    </a:lnTo>
                    <a:lnTo>
                      <a:pt x="70" y="60"/>
                    </a:lnTo>
                    <a:lnTo>
                      <a:pt x="74" y="64"/>
                    </a:lnTo>
                    <a:lnTo>
                      <a:pt x="66" y="64"/>
                    </a:lnTo>
                    <a:lnTo>
                      <a:pt x="64" y="68"/>
                    </a:lnTo>
                    <a:lnTo>
                      <a:pt x="60" y="68"/>
                    </a:lnTo>
                    <a:lnTo>
                      <a:pt x="56" y="66"/>
                    </a:lnTo>
                    <a:lnTo>
                      <a:pt x="52" y="64"/>
                    </a:lnTo>
                    <a:lnTo>
                      <a:pt x="54" y="70"/>
                    </a:lnTo>
                    <a:lnTo>
                      <a:pt x="58" y="74"/>
                    </a:lnTo>
                    <a:lnTo>
                      <a:pt x="52" y="76"/>
                    </a:lnTo>
                    <a:lnTo>
                      <a:pt x="46" y="74"/>
                    </a:lnTo>
                    <a:lnTo>
                      <a:pt x="48" y="82"/>
                    </a:lnTo>
                    <a:lnTo>
                      <a:pt x="50" y="84"/>
                    </a:lnTo>
                    <a:lnTo>
                      <a:pt x="52" y="90"/>
                    </a:lnTo>
                    <a:lnTo>
                      <a:pt x="54" y="98"/>
                    </a:lnTo>
                    <a:lnTo>
                      <a:pt x="48" y="92"/>
                    </a:lnTo>
                    <a:lnTo>
                      <a:pt x="42" y="90"/>
                    </a:lnTo>
                    <a:lnTo>
                      <a:pt x="38" y="88"/>
                    </a:lnTo>
                    <a:lnTo>
                      <a:pt x="38" y="84"/>
                    </a:lnTo>
                    <a:lnTo>
                      <a:pt x="34" y="84"/>
                    </a:lnTo>
                    <a:lnTo>
                      <a:pt x="30" y="82"/>
                    </a:lnTo>
                    <a:lnTo>
                      <a:pt x="26" y="82"/>
                    </a:lnTo>
                    <a:lnTo>
                      <a:pt x="24" y="78"/>
                    </a:lnTo>
                    <a:lnTo>
                      <a:pt x="20" y="68"/>
                    </a:lnTo>
                    <a:lnTo>
                      <a:pt x="18" y="58"/>
                    </a:lnTo>
                    <a:lnTo>
                      <a:pt x="14" y="48"/>
                    </a:lnTo>
                    <a:lnTo>
                      <a:pt x="12" y="46"/>
                    </a:lnTo>
                    <a:lnTo>
                      <a:pt x="0" y="36"/>
                    </a:lnTo>
                    <a:lnTo>
                      <a:pt x="4" y="30"/>
                    </a:lnTo>
                    <a:lnTo>
                      <a:pt x="8" y="26"/>
                    </a:lnTo>
                    <a:lnTo>
                      <a:pt x="12" y="22"/>
                    </a:lnTo>
                    <a:lnTo>
                      <a:pt x="12" y="1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49" name="Freeform 161"/>
              <p:cNvSpPr>
                <a:spLocks noChangeAspect="1"/>
              </p:cNvSpPr>
              <p:nvPr/>
            </p:nvSpPr>
            <p:spPr bwMode="auto">
              <a:xfrm>
                <a:off x="3929931" y="3554099"/>
                <a:ext cx="109445" cy="48903"/>
              </a:xfrm>
              <a:custGeom>
                <a:avLst/>
                <a:gdLst/>
                <a:ahLst/>
                <a:cxnLst>
                  <a:cxn ang="0">
                    <a:pos x="22" y="0"/>
                  </a:cxn>
                  <a:cxn ang="0">
                    <a:pos x="24" y="6"/>
                  </a:cxn>
                  <a:cxn ang="0">
                    <a:pos x="26" y="8"/>
                  </a:cxn>
                  <a:cxn ang="0">
                    <a:pos x="28" y="8"/>
                  </a:cxn>
                  <a:cxn ang="0">
                    <a:pos x="32" y="8"/>
                  </a:cxn>
                  <a:cxn ang="0">
                    <a:pos x="38" y="8"/>
                  </a:cxn>
                  <a:cxn ang="0">
                    <a:pos x="40" y="12"/>
                  </a:cxn>
                  <a:cxn ang="0">
                    <a:pos x="42" y="12"/>
                  </a:cxn>
                  <a:cxn ang="0">
                    <a:pos x="48" y="12"/>
                  </a:cxn>
                  <a:cxn ang="0">
                    <a:pos x="58" y="10"/>
                  </a:cxn>
                  <a:cxn ang="0">
                    <a:pos x="68" y="12"/>
                  </a:cxn>
                  <a:cxn ang="0">
                    <a:pos x="74" y="12"/>
                  </a:cxn>
                  <a:cxn ang="0">
                    <a:pos x="78" y="12"/>
                  </a:cxn>
                  <a:cxn ang="0">
                    <a:pos x="78" y="16"/>
                  </a:cxn>
                  <a:cxn ang="0">
                    <a:pos x="76" y="24"/>
                  </a:cxn>
                  <a:cxn ang="0">
                    <a:pos x="76" y="26"/>
                  </a:cxn>
                  <a:cxn ang="0">
                    <a:pos x="72" y="26"/>
                  </a:cxn>
                  <a:cxn ang="0">
                    <a:pos x="64" y="24"/>
                  </a:cxn>
                  <a:cxn ang="0">
                    <a:pos x="56" y="24"/>
                  </a:cxn>
                  <a:cxn ang="0">
                    <a:pos x="52" y="24"/>
                  </a:cxn>
                  <a:cxn ang="0">
                    <a:pos x="50" y="26"/>
                  </a:cxn>
                  <a:cxn ang="0">
                    <a:pos x="46" y="30"/>
                  </a:cxn>
                  <a:cxn ang="0">
                    <a:pos x="36" y="34"/>
                  </a:cxn>
                  <a:cxn ang="0">
                    <a:pos x="20" y="40"/>
                  </a:cxn>
                  <a:cxn ang="0">
                    <a:pos x="12" y="38"/>
                  </a:cxn>
                  <a:cxn ang="0">
                    <a:pos x="6" y="34"/>
                  </a:cxn>
                  <a:cxn ang="0">
                    <a:pos x="2" y="30"/>
                  </a:cxn>
                  <a:cxn ang="0">
                    <a:pos x="0" y="22"/>
                  </a:cxn>
                  <a:cxn ang="0">
                    <a:pos x="6" y="16"/>
                  </a:cxn>
                  <a:cxn ang="0">
                    <a:pos x="12" y="14"/>
                  </a:cxn>
                  <a:cxn ang="0">
                    <a:pos x="18" y="12"/>
                  </a:cxn>
                  <a:cxn ang="0">
                    <a:pos x="18" y="10"/>
                  </a:cxn>
                  <a:cxn ang="0">
                    <a:pos x="18" y="6"/>
                  </a:cxn>
                  <a:cxn ang="0">
                    <a:pos x="20" y="6"/>
                  </a:cxn>
                  <a:cxn ang="0">
                    <a:pos x="22" y="0"/>
                  </a:cxn>
                </a:cxnLst>
                <a:rect l="0" t="0" r="r" b="b"/>
                <a:pathLst>
                  <a:path w="78" h="40">
                    <a:moveTo>
                      <a:pt x="22" y="0"/>
                    </a:moveTo>
                    <a:lnTo>
                      <a:pt x="24" y="6"/>
                    </a:lnTo>
                    <a:lnTo>
                      <a:pt x="26" y="8"/>
                    </a:lnTo>
                    <a:lnTo>
                      <a:pt x="28" y="8"/>
                    </a:lnTo>
                    <a:lnTo>
                      <a:pt x="32" y="8"/>
                    </a:lnTo>
                    <a:lnTo>
                      <a:pt x="38" y="8"/>
                    </a:lnTo>
                    <a:lnTo>
                      <a:pt x="40" y="12"/>
                    </a:lnTo>
                    <a:lnTo>
                      <a:pt x="42" y="12"/>
                    </a:lnTo>
                    <a:lnTo>
                      <a:pt x="48" y="12"/>
                    </a:lnTo>
                    <a:lnTo>
                      <a:pt x="58" y="10"/>
                    </a:lnTo>
                    <a:lnTo>
                      <a:pt x="68" y="12"/>
                    </a:lnTo>
                    <a:lnTo>
                      <a:pt x="74" y="12"/>
                    </a:lnTo>
                    <a:lnTo>
                      <a:pt x="78" y="12"/>
                    </a:lnTo>
                    <a:lnTo>
                      <a:pt x="78" y="16"/>
                    </a:lnTo>
                    <a:lnTo>
                      <a:pt x="76" y="24"/>
                    </a:lnTo>
                    <a:lnTo>
                      <a:pt x="76" y="26"/>
                    </a:lnTo>
                    <a:lnTo>
                      <a:pt x="72" y="26"/>
                    </a:lnTo>
                    <a:lnTo>
                      <a:pt x="64" y="24"/>
                    </a:lnTo>
                    <a:lnTo>
                      <a:pt x="56" y="24"/>
                    </a:lnTo>
                    <a:lnTo>
                      <a:pt x="52" y="24"/>
                    </a:lnTo>
                    <a:lnTo>
                      <a:pt x="50" y="26"/>
                    </a:lnTo>
                    <a:lnTo>
                      <a:pt x="46" y="30"/>
                    </a:lnTo>
                    <a:lnTo>
                      <a:pt x="36" y="34"/>
                    </a:lnTo>
                    <a:lnTo>
                      <a:pt x="20" y="40"/>
                    </a:lnTo>
                    <a:lnTo>
                      <a:pt x="12" y="38"/>
                    </a:lnTo>
                    <a:lnTo>
                      <a:pt x="6" y="34"/>
                    </a:lnTo>
                    <a:lnTo>
                      <a:pt x="2" y="30"/>
                    </a:lnTo>
                    <a:lnTo>
                      <a:pt x="0" y="22"/>
                    </a:lnTo>
                    <a:lnTo>
                      <a:pt x="6" y="16"/>
                    </a:lnTo>
                    <a:lnTo>
                      <a:pt x="12" y="14"/>
                    </a:lnTo>
                    <a:lnTo>
                      <a:pt x="18" y="12"/>
                    </a:lnTo>
                    <a:lnTo>
                      <a:pt x="18" y="10"/>
                    </a:lnTo>
                    <a:lnTo>
                      <a:pt x="18" y="6"/>
                    </a:lnTo>
                    <a:lnTo>
                      <a:pt x="20" y="6"/>
                    </a:lnTo>
                    <a:lnTo>
                      <a:pt x="22"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0" name="Freeform 162"/>
              <p:cNvSpPr>
                <a:spLocks noChangeAspect="1"/>
              </p:cNvSpPr>
              <p:nvPr/>
            </p:nvSpPr>
            <p:spPr bwMode="auto">
              <a:xfrm>
                <a:off x="3835349" y="3535015"/>
                <a:ext cx="125659" cy="48903"/>
              </a:xfrm>
              <a:custGeom>
                <a:avLst/>
                <a:gdLst/>
                <a:ahLst/>
                <a:cxnLst>
                  <a:cxn ang="0">
                    <a:pos x="89" y="16"/>
                  </a:cxn>
                  <a:cxn ang="0">
                    <a:pos x="85" y="14"/>
                  </a:cxn>
                  <a:cxn ang="0">
                    <a:pos x="79" y="12"/>
                  </a:cxn>
                  <a:cxn ang="0">
                    <a:pos x="71" y="10"/>
                  </a:cxn>
                  <a:cxn ang="0">
                    <a:pos x="67" y="6"/>
                  </a:cxn>
                  <a:cxn ang="0">
                    <a:pos x="65" y="10"/>
                  </a:cxn>
                  <a:cxn ang="0">
                    <a:pos x="61" y="10"/>
                  </a:cxn>
                  <a:cxn ang="0">
                    <a:pos x="59" y="10"/>
                  </a:cxn>
                  <a:cxn ang="0">
                    <a:pos x="59" y="6"/>
                  </a:cxn>
                  <a:cxn ang="0">
                    <a:pos x="37" y="0"/>
                  </a:cxn>
                  <a:cxn ang="0">
                    <a:pos x="31" y="0"/>
                  </a:cxn>
                  <a:cxn ang="0">
                    <a:pos x="29" y="0"/>
                  </a:cxn>
                  <a:cxn ang="0">
                    <a:pos x="0" y="10"/>
                  </a:cxn>
                  <a:cxn ang="0">
                    <a:pos x="2" y="14"/>
                  </a:cxn>
                  <a:cxn ang="0">
                    <a:pos x="2" y="20"/>
                  </a:cxn>
                  <a:cxn ang="0">
                    <a:pos x="10" y="26"/>
                  </a:cxn>
                  <a:cxn ang="0">
                    <a:pos x="18" y="32"/>
                  </a:cxn>
                  <a:cxn ang="0">
                    <a:pos x="24" y="38"/>
                  </a:cxn>
                  <a:cxn ang="0">
                    <a:pos x="31" y="40"/>
                  </a:cxn>
                  <a:cxn ang="0">
                    <a:pos x="35" y="38"/>
                  </a:cxn>
                  <a:cxn ang="0">
                    <a:pos x="37" y="36"/>
                  </a:cxn>
                  <a:cxn ang="0">
                    <a:pos x="41" y="34"/>
                  </a:cxn>
                  <a:cxn ang="0">
                    <a:pos x="45" y="32"/>
                  </a:cxn>
                  <a:cxn ang="0">
                    <a:pos x="51" y="34"/>
                  </a:cxn>
                  <a:cxn ang="0">
                    <a:pos x="55" y="36"/>
                  </a:cxn>
                  <a:cxn ang="0">
                    <a:pos x="61" y="38"/>
                  </a:cxn>
                  <a:cxn ang="0">
                    <a:pos x="65" y="38"/>
                  </a:cxn>
                  <a:cxn ang="0">
                    <a:pos x="67" y="38"/>
                  </a:cxn>
                  <a:cxn ang="0">
                    <a:pos x="73" y="32"/>
                  </a:cxn>
                  <a:cxn ang="0">
                    <a:pos x="79" y="30"/>
                  </a:cxn>
                  <a:cxn ang="0">
                    <a:pos x="85" y="28"/>
                  </a:cxn>
                  <a:cxn ang="0">
                    <a:pos x="85" y="26"/>
                  </a:cxn>
                  <a:cxn ang="0">
                    <a:pos x="85" y="22"/>
                  </a:cxn>
                  <a:cxn ang="0">
                    <a:pos x="87" y="22"/>
                  </a:cxn>
                  <a:cxn ang="0">
                    <a:pos x="89" y="16"/>
                  </a:cxn>
                </a:cxnLst>
                <a:rect l="0" t="0" r="r" b="b"/>
                <a:pathLst>
                  <a:path w="89" h="40">
                    <a:moveTo>
                      <a:pt x="89" y="16"/>
                    </a:moveTo>
                    <a:lnTo>
                      <a:pt x="85" y="14"/>
                    </a:lnTo>
                    <a:lnTo>
                      <a:pt x="79" y="12"/>
                    </a:lnTo>
                    <a:lnTo>
                      <a:pt x="71" y="10"/>
                    </a:lnTo>
                    <a:lnTo>
                      <a:pt x="67" y="6"/>
                    </a:lnTo>
                    <a:lnTo>
                      <a:pt x="65" y="10"/>
                    </a:lnTo>
                    <a:lnTo>
                      <a:pt x="61" y="10"/>
                    </a:lnTo>
                    <a:lnTo>
                      <a:pt x="59" y="10"/>
                    </a:lnTo>
                    <a:lnTo>
                      <a:pt x="59" y="6"/>
                    </a:lnTo>
                    <a:lnTo>
                      <a:pt x="37" y="0"/>
                    </a:lnTo>
                    <a:lnTo>
                      <a:pt x="31" y="0"/>
                    </a:lnTo>
                    <a:lnTo>
                      <a:pt x="29" y="0"/>
                    </a:lnTo>
                    <a:lnTo>
                      <a:pt x="0" y="10"/>
                    </a:lnTo>
                    <a:lnTo>
                      <a:pt x="2" y="14"/>
                    </a:lnTo>
                    <a:lnTo>
                      <a:pt x="2" y="20"/>
                    </a:lnTo>
                    <a:lnTo>
                      <a:pt x="10" y="26"/>
                    </a:lnTo>
                    <a:lnTo>
                      <a:pt x="18" y="32"/>
                    </a:lnTo>
                    <a:lnTo>
                      <a:pt x="24" y="38"/>
                    </a:lnTo>
                    <a:lnTo>
                      <a:pt x="31" y="40"/>
                    </a:lnTo>
                    <a:lnTo>
                      <a:pt x="35" y="38"/>
                    </a:lnTo>
                    <a:lnTo>
                      <a:pt x="37" y="36"/>
                    </a:lnTo>
                    <a:lnTo>
                      <a:pt x="41" y="34"/>
                    </a:lnTo>
                    <a:lnTo>
                      <a:pt x="45" y="32"/>
                    </a:lnTo>
                    <a:lnTo>
                      <a:pt x="51" y="34"/>
                    </a:lnTo>
                    <a:lnTo>
                      <a:pt x="55" y="36"/>
                    </a:lnTo>
                    <a:lnTo>
                      <a:pt x="61" y="38"/>
                    </a:lnTo>
                    <a:lnTo>
                      <a:pt x="65" y="38"/>
                    </a:lnTo>
                    <a:lnTo>
                      <a:pt x="67" y="38"/>
                    </a:lnTo>
                    <a:lnTo>
                      <a:pt x="73" y="32"/>
                    </a:lnTo>
                    <a:lnTo>
                      <a:pt x="79" y="30"/>
                    </a:lnTo>
                    <a:lnTo>
                      <a:pt x="85" y="28"/>
                    </a:lnTo>
                    <a:lnTo>
                      <a:pt x="85" y="26"/>
                    </a:lnTo>
                    <a:lnTo>
                      <a:pt x="85" y="22"/>
                    </a:lnTo>
                    <a:lnTo>
                      <a:pt x="87" y="22"/>
                    </a:lnTo>
                    <a:lnTo>
                      <a:pt x="89" y="1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1" name="Freeform 163"/>
              <p:cNvSpPr>
                <a:spLocks noChangeAspect="1"/>
              </p:cNvSpPr>
              <p:nvPr/>
            </p:nvSpPr>
            <p:spPr bwMode="auto">
              <a:xfrm>
                <a:off x="4131256" y="3581532"/>
                <a:ext cx="70261" cy="62023"/>
              </a:xfrm>
              <a:custGeom>
                <a:avLst/>
                <a:gdLst/>
                <a:ahLst/>
                <a:cxnLst>
                  <a:cxn ang="0">
                    <a:pos x="26" y="50"/>
                  </a:cxn>
                  <a:cxn ang="0">
                    <a:pos x="22" y="34"/>
                  </a:cxn>
                  <a:cxn ang="0">
                    <a:pos x="18" y="24"/>
                  </a:cxn>
                  <a:cxn ang="0">
                    <a:pos x="14" y="16"/>
                  </a:cxn>
                  <a:cxn ang="0">
                    <a:pos x="8" y="10"/>
                  </a:cxn>
                  <a:cxn ang="0">
                    <a:pos x="0" y="8"/>
                  </a:cxn>
                  <a:cxn ang="0">
                    <a:pos x="16" y="0"/>
                  </a:cxn>
                  <a:cxn ang="0">
                    <a:pos x="24" y="2"/>
                  </a:cxn>
                  <a:cxn ang="0">
                    <a:pos x="32" y="6"/>
                  </a:cxn>
                  <a:cxn ang="0">
                    <a:pos x="40" y="18"/>
                  </a:cxn>
                  <a:cxn ang="0">
                    <a:pos x="44" y="24"/>
                  </a:cxn>
                  <a:cxn ang="0">
                    <a:pos x="50" y="36"/>
                  </a:cxn>
                  <a:cxn ang="0">
                    <a:pos x="34" y="34"/>
                  </a:cxn>
                  <a:cxn ang="0">
                    <a:pos x="34" y="44"/>
                  </a:cxn>
                  <a:cxn ang="0">
                    <a:pos x="26" y="48"/>
                  </a:cxn>
                  <a:cxn ang="0">
                    <a:pos x="26" y="50"/>
                  </a:cxn>
                </a:cxnLst>
                <a:rect l="0" t="0" r="r" b="b"/>
                <a:pathLst>
                  <a:path w="50" h="50">
                    <a:moveTo>
                      <a:pt x="26" y="50"/>
                    </a:moveTo>
                    <a:lnTo>
                      <a:pt x="22" y="34"/>
                    </a:lnTo>
                    <a:lnTo>
                      <a:pt x="18" y="24"/>
                    </a:lnTo>
                    <a:lnTo>
                      <a:pt x="14" y="16"/>
                    </a:lnTo>
                    <a:lnTo>
                      <a:pt x="8" y="10"/>
                    </a:lnTo>
                    <a:lnTo>
                      <a:pt x="0" y="8"/>
                    </a:lnTo>
                    <a:lnTo>
                      <a:pt x="16" y="0"/>
                    </a:lnTo>
                    <a:lnTo>
                      <a:pt x="24" y="2"/>
                    </a:lnTo>
                    <a:lnTo>
                      <a:pt x="32" y="6"/>
                    </a:lnTo>
                    <a:lnTo>
                      <a:pt x="40" y="18"/>
                    </a:lnTo>
                    <a:lnTo>
                      <a:pt x="44" y="24"/>
                    </a:lnTo>
                    <a:lnTo>
                      <a:pt x="50" y="36"/>
                    </a:lnTo>
                    <a:lnTo>
                      <a:pt x="34" y="34"/>
                    </a:lnTo>
                    <a:lnTo>
                      <a:pt x="34" y="44"/>
                    </a:lnTo>
                    <a:lnTo>
                      <a:pt x="26" y="48"/>
                    </a:lnTo>
                    <a:lnTo>
                      <a:pt x="26" y="5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2" name="Freeform 164"/>
              <p:cNvSpPr>
                <a:spLocks noChangeAspect="1"/>
              </p:cNvSpPr>
              <p:nvPr/>
            </p:nvSpPr>
            <p:spPr bwMode="auto">
              <a:xfrm>
                <a:off x="3917770" y="3583918"/>
                <a:ext cx="137820" cy="59637"/>
              </a:xfrm>
              <a:custGeom>
                <a:avLst/>
                <a:gdLst/>
                <a:ahLst/>
                <a:cxnLst>
                  <a:cxn ang="0">
                    <a:pos x="58" y="46"/>
                  </a:cxn>
                  <a:cxn ang="0">
                    <a:pos x="56" y="44"/>
                  </a:cxn>
                  <a:cxn ang="0">
                    <a:pos x="54" y="42"/>
                  </a:cxn>
                  <a:cxn ang="0">
                    <a:pos x="44" y="46"/>
                  </a:cxn>
                  <a:cxn ang="0">
                    <a:pos x="38" y="48"/>
                  </a:cxn>
                  <a:cxn ang="0">
                    <a:pos x="30" y="50"/>
                  </a:cxn>
                  <a:cxn ang="0">
                    <a:pos x="26" y="50"/>
                  </a:cxn>
                  <a:cxn ang="0">
                    <a:pos x="22" y="48"/>
                  </a:cxn>
                  <a:cxn ang="0">
                    <a:pos x="16" y="44"/>
                  </a:cxn>
                  <a:cxn ang="0">
                    <a:pos x="8" y="38"/>
                  </a:cxn>
                  <a:cxn ang="0">
                    <a:pos x="0" y="32"/>
                  </a:cxn>
                  <a:cxn ang="0">
                    <a:pos x="2" y="30"/>
                  </a:cxn>
                  <a:cxn ang="0">
                    <a:pos x="6" y="22"/>
                  </a:cxn>
                  <a:cxn ang="0">
                    <a:pos x="8" y="16"/>
                  </a:cxn>
                  <a:cxn ang="0">
                    <a:pos x="14" y="10"/>
                  </a:cxn>
                  <a:cxn ang="0">
                    <a:pos x="20" y="14"/>
                  </a:cxn>
                  <a:cxn ang="0">
                    <a:pos x="28" y="16"/>
                  </a:cxn>
                  <a:cxn ang="0">
                    <a:pos x="44" y="10"/>
                  </a:cxn>
                  <a:cxn ang="0">
                    <a:pos x="54" y="6"/>
                  </a:cxn>
                  <a:cxn ang="0">
                    <a:pos x="58" y="2"/>
                  </a:cxn>
                  <a:cxn ang="0">
                    <a:pos x="60" y="0"/>
                  </a:cxn>
                  <a:cxn ang="0">
                    <a:pos x="64" y="0"/>
                  </a:cxn>
                  <a:cxn ang="0">
                    <a:pos x="72" y="0"/>
                  </a:cxn>
                  <a:cxn ang="0">
                    <a:pos x="80" y="2"/>
                  </a:cxn>
                  <a:cxn ang="0">
                    <a:pos x="84" y="2"/>
                  </a:cxn>
                  <a:cxn ang="0">
                    <a:pos x="86" y="4"/>
                  </a:cxn>
                  <a:cxn ang="0">
                    <a:pos x="90" y="6"/>
                  </a:cxn>
                  <a:cxn ang="0">
                    <a:pos x="96" y="8"/>
                  </a:cxn>
                  <a:cxn ang="0">
                    <a:pos x="94" y="14"/>
                  </a:cxn>
                  <a:cxn ang="0">
                    <a:pos x="90" y="16"/>
                  </a:cxn>
                  <a:cxn ang="0">
                    <a:pos x="86" y="18"/>
                  </a:cxn>
                  <a:cxn ang="0">
                    <a:pos x="82" y="22"/>
                  </a:cxn>
                  <a:cxn ang="0">
                    <a:pos x="82" y="30"/>
                  </a:cxn>
                  <a:cxn ang="0">
                    <a:pos x="80" y="36"/>
                  </a:cxn>
                  <a:cxn ang="0">
                    <a:pos x="78" y="38"/>
                  </a:cxn>
                  <a:cxn ang="0">
                    <a:pos x="74" y="42"/>
                  </a:cxn>
                  <a:cxn ang="0">
                    <a:pos x="68" y="42"/>
                  </a:cxn>
                  <a:cxn ang="0">
                    <a:pos x="62" y="42"/>
                  </a:cxn>
                  <a:cxn ang="0">
                    <a:pos x="58" y="46"/>
                  </a:cxn>
                </a:cxnLst>
                <a:rect l="0" t="0" r="r" b="b"/>
                <a:pathLst>
                  <a:path w="96" h="50">
                    <a:moveTo>
                      <a:pt x="58" y="46"/>
                    </a:moveTo>
                    <a:lnTo>
                      <a:pt x="56" y="44"/>
                    </a:lnTo>
                    <a:lnTo>
                      <a:pt x="54" y="42"/>
                    </a:lnTo>
                    <a:lnTo>
                      <a:pt x="44" y="46"/>
                    </a:lnTo>
                    <a:lnTo>
                      <a:pt x="38" y="48"/>
                    </a:lnTo>
                    <a:lnTo>
                      <a:pt x="30" y="50"/>
                    </a:lnTo>
                    <a:lnTo>
                      <a:pt x="26" y="50"/>
                    </a:lnTo>
                    <a:lnTo>
                      <a:pt x="22" y="48"/>
                    </a:lnTo>
                    <a:lnTo>
                      <a:pt x="16" y="44"/>
                    </a:lnTo>
                    <a:lnTo>
                      <a:pt x="8" y="38"/>
                    </a:lnTo>
                    <a:lnTo>
                      <a:pt x="0" y="32"/>
                    </a:lnTo>
                    <a:lnTo>
                      <a:pt x="2" y="30"/>
                    </a:lnTo>
                    <a:lnTo>
                      <a:pt x="6" y="22"/>
                    </a:lnTo>
                    <a:lnTo>
                      <a:pt x="8" y="16"/>
                    </a:lnTo>
                    <a:lnTo>
                      <a:pt x="14" y="10"/>
                    </a:lnTo>
                    <a:lnTo>
                      <a:pt x="20" y="14"/>
                    </a:lnTo>
                    <a:lnTo>
                      <a:pt x="28" y="16"/>
                    </a:lnTo>
                    <a:lnTo>
                      <a:pt x="44" y="10"/>
                    </a:lnTo>
                    <a:lnTo>
                      <a:pt x="54" y="6"/>
                    </a:lnTo>
                    <a:lnTo>
                      <a:pt x="58" y="2"/>
                    </a:lnTo>
                    <a:lnTo>
                      <a:pt x="60" y="0"/>
                    </a:lnTo>
                    <a:lnTo>
                      <a:pt x="64" y="0"/>
                    </a:lnTo>
                    <a:lnTo>
                      <a:pt x="72" y="0"/>
                    </a:lnTo>
                    <a:lnTo>
                      <a:pt x="80" y="2"/>
                    </a:lnTo>
                    <a:lnTo>
                      <a:pt x="84" y="2"/>
                    </a:lnTo>
                    <a:lnTo>
                      <a:pt x="86" y="4"/>
                    </a:lnTo>
                    <a:lnTo>
                      <a:pt x="90" y="6"/>
                    </a:lnTo>
                    <a:lnTo>
                      <a:pt x="96" y="8"/>
                    </a:lnTo>
                    <a:lnTo>
                      <a:pt x="94" y="14"/>
                    </a:lnTo>
                    <a:lnTo>
                      <a:pt x="90" y="16"/>
                    </a:lnTo>
                    <a:lnTo>
                      <a:pt x="86" y="18"/>
                    </a:lnTo>
                    <a:lnTo>
                      <a:pt x="82" y="22"/>
                    </a:lnTo>
                    <a:lnTo>
                      <a:pt x="82" y="30"/>
                    </a:lnTo>
                    <a:lnTo>
                      <a:pt x="80" y="36"/>
                    </a:lnTo>
                    <a:lnTo>
                      <a:pt x="78" y="38"/>
                    </a:lnTo>
                    <a:lnTo>
                      <a:pt x="74" y="42"/>
                    </a:lnTo>
                    <a:lnTo>
                      <a:pt x="68" y="42"/>
                    </a:lnTo>
                    <a:lnTo>
                      <a:pt x="62" y="42"/>
                    </a:lnTo>
                    <a:lnTo>
                      <a:pt x="58" y="4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3" name="Freeform 165"/>
              <p:cNvSpPr>
                <a:spLocks noChangeAspect="1"/>
              </p:cNvSpPr>
              <p:nvPr/>
            </p:nvSpPr>
            <p:spPr bwMode="auto">
              <a:xfrm>
                <a:off x="4036674" y="3494460"/>
                <a:ext cx="366167" cy="175334"/>
              </a:xfrm>
              <a:custGeom>
                <a:avLst/>
                <a:gdLst/>
                <a:ahLst/>
                <a:cxnLst>
                  <a:cxn ang="0">
                    <a:pos x="60" y="84"/>
                  </a:cxn>
                  <a:cxn ang="0">
                    <a:pos x="44" y="90"/>
                  </a:cxn>
                  <a:cxn ang="0">
                    <a:pos x="26" y="88"/>
                  </a:cxn>
                  <a:cxn ang="0">
                    <a:pos x="12" y="84"/>
                  </a:cxn>
                  <a:cxn ang="0">
                    <a:pos x="2" y="80"/>
                  </a:cxn>
                  <a:cxn ang="0">
                    <a:pos x="2" y="66"/>
                  </a:cxn>
                  <a:cxn ang="0">
                    <a:pos x="12" y="52"/>
                  </a:cxn>
                  <a:cxn ang="0">
                    <a:pos x="22" y="38"/>
                  </a:cxn>
                  <a:cxn ang="0">
                    <a:pos x="8" y="20"/>
                  </a:cxn>
                  <a:cxn ang="0">
                    <a:pos x="24" y="10"/>
                  </a:cxn>
                  <a:cxn ang="0">
                    <a:pos x="64" y="10"/>
                  </a:cxn>
                  <a:cxn ang="0">
                    <a:pos x="96" y="14"/>
                  </a:cxn>
                  <a:cxn ang="0">
                    <a:pos x="116" y="8"/>
                  </a:cxn>
                  <a:cxn ang="0">
                    <a:pos x="138" y="6"/>
                  </a:cxn>
                  <a:cxn ang="0">
                    <a:pos x="166" y="8"/>
                  </a:cxn>
                  <a:cxn ang="0">
                    <a:pos x="168" y="22"/>
                  </a:cxn>
                  <a:cxn ang="0">
                    <a:pos x="186" y="30"/>
                  </a:cxn>
                  <a:cxn ang="0">
                    <a:pos x="198" y="36"/>
                  </a:cxn>
                  <a:cxn ang="0">
                    <a:pos x="216" y="36"/>
                  </a:cxn>
                  <a:cxn ang="0">
                    <a:pos x="234" y="48"/>
                  </a:cxn>
                  <a:cxn ang="0">
                    <a:pos x="260" y="56"/>
                  </a:cxn>
                  <a:cxn ang="0">
                    <a:pos x="254" y="64"/>
                  </a:cxn>
                  <a:cxn ang="0">
                    <a:pos x="260" y="78"/>
                  </a:cxn>
                  <a:cxn ang="0">
                    <a:pos x="244" y="84"/>
                  </a:cxn>
                  <a:cxn ang="0">
                    <a:pos x="236" y="92"/>
                  </a:cxn>
                  <a:cxn ang="0">
                    <a:pos x="226" y="100"/>
                  </a:cxn>
                  <a:cxn ang="0">
                    <a:pos x="208" y="106"/>
                  </a:cxn>
                  <a:cxn ang="0">
                    <a:pos x="190" y="112"/>
                  </a:cxn>
                  <a:cxn ang="0">
                    <a:pos x="184" y="118"/>
                  </a:cxn>
                  <a:cxn ang="0">
                    <a:pos x="194" y="128"/>
                  </a:cxn>
                  <a:cxn ang="0">
                    <a:pos x="212" y="138"/>
                  </a:cxn>
                  <a:cxn ang="0">
                    <a:pos x="200" y="140"/>
                  </a:cxn>
                  <a:cxn ang="0">
                    <a:pos x="186" y="146"/>
                  </a:cxn>
                  <a:cxn ang="0">
                    <a:pos x="174" y="138"/>
                  </a:cxn>
                  <a:cxn ang="0">
                    <a:pos x="160" y="128"/>
                  </a:cxn>
                  <a:cxn ang="0">
                    <a:pos x="172" y="118"/>
                  </a:cxn>
                  <a:cxn ang="0">
                    <a:pos x="160" y="118"/>
                  </a:cxn>
                  <a:cxn ang="0">
                    <a:pos x="146" y="114"/>
                  </a:cxn>
                  <a:cxn ang="0">
                    <a:pos x="140" y="108"/>
                  </a:cxn>
                  <a:cxn ang="0">
                    <a:pos x="130" y="112"/>
                  </a:cxn>
                  <a:cxn ang="0">
                    <a:pos x="124" y="120"/>
                  </a:cxn>
                  <a:cxn ang="0">
                    <a:pos x="114" y="128"/>
                  </a:cxn>
                  <a:cxn ang="0">
                    <a:pos x="102" y="128"/>
                  </a:cxn>
                  <a:cxn ang="0">
                    <a:pos x="92" y="124"/>
                  </a:cxn>
                  <a:cxn ang="0">
                    <a:pos x="100" y="108"/>
                  </a:cxn>
                  <a:cxn ang="0">
                    <a:pos x="116" y="110"/>
                  </a:cxn>
                  <a:cxn ang="0">
                    <a:pos x="106" y="92"/>
                  </a:cxn>
                  <a:cxn ang="0">
                    <a:pos x="90" y="76"/>
                  </a:cxn>
                  <a:cxn ang="0">
                    <a:pos x="74" y="78"/>
                  </a:cxn>
                </a:cxnLst>
                <a:rect l="0" t="0" r="r" b="b"/>
                <a:pathLst>
                  <a:path w="260" h="148">
                    <a:moveTo>
                      <a:pt x="66" y="82"/>
                    </a:moveTo>
                    <a:lnTo>
                      <a:pt x="60" y="84"/>
                    </a:lnTo>
                    <a:lnTo>
                      <a:pt x="54" y="88"/>
                    </a:lnTo>
                    <a:lnTo>
                      <a:pt x="44" y="90"/>
                    </a:lnTo>
                    <a:lnTo>
                      <a:pt x="36" y="90"/>
                    </a:lnTo>
                    <a:lnTo>
                      <a:pt x="26" y="88"/>
                    </a:lnTo>
                    <a:lnTo>
                      <a:pt x="18" y="84"/>
                    </a:lnTo>
                    <a:lnTo>
                      <a:pt x="12" y="84"/>
                    </a:lnTo>
                    <a:lnTo>
                      <a:pt x="6" y="82"/>
                    </a:lnTo>
                    <a:lnTo>
                      <a:pt x="2" y="80"/>
                    </a:lnTo>
                    <a:lnTo>
                      <a:pt x="0" y="78"/>
                    </a:lnTo>
                    <a:lnTo>
                      <a:pt x="2" y="66"/>
                    </a:lnTo>
                    <a:lnTo>
                      <a:pt x="2" y="62"/>
                    </a:lnTo>
                    <a:lnTo>
                      <a:pt x="12" y="52"/>
                    </a:lnTo>
                    <a:lnTo>
                      <a:pt x="16" y="44"/>
                    </a:lnTo>
                    <a:lnTo>
                      <a:pt x="22" y="38"/>
                    </a:lnTo>
                    <a:lnTo>
                      <a:pt x="16" y="30"/>
                    </a:lnTo>
                    <a:lnTo>
                      <a:pt x="8" y="20"/>
                    </a:lnTo>
                    <a:lnTo>
                      <a:pt x="6" y="14"/>
                    </a:lnTo>
                    <a:lnTo>
                      <a:pt x="24" y="10"/>
                    </a:lnTo>
                    <a:lnTo>
                      <a:pt x="46" y="10"/>
                    </a:lnTo>
                    <a:lnTo>
                      <a:pt x="64" y="10"/>
                    </a:lnTo>
                    <a:lnTo>
                      <a:pt x="80" y="16"/>
                    </a:lnTo>
                    <a:lnTo>
                      <a:pt x="96" y="14"/>
                    </a:lnTo>
                    <a:lnTo>
                      <a:pt x="112" y="16"/>
                    </a:lnTo>
                    <a:lnTo>
                      <a:pt x="116" y="8"/>
                    </a:lnTo>
                    <a:lnTo>
                      <a:pt x="128" y="6"/>
                    </a:lnTo>
                    <a:lnTo>
                      <a:pt x="138" y="6"/>
                    </a:lnTo>
                    <a:lnTo>
                      <a:pt x="156" y="0"/>
                    </a:lnTo>
                    <a:lnTo>
                      <a:pt x="166" y="8"/>
                    </a:lnTo>
                    <a:lnTo>
                      <a:pt x="166" y="14"/>
                    </a:lnTo>
                    <a:lnTo>
                      <a:pt x="168" y="22"/>
                    </a:lnTo>
                    <a:lnTo>
                      <a:pt x="184" y="24"/>
                    </a:lnTo>
                    <a:lnTo>
                      <a:pt x="186" y="30"/>
                    </a:lnTo>
                    <a:lnTo>
                      <a:pt x="188" y="36"/>
                    </a:lnTo>
                    <a:lnTo>
                      <a:pt x="198" y="36"/>
                    </a:lnTo>
                    <a:lnTo>
                      <a:pt x="202" y="40"/>
                    </a:lnTo>
                    <a:lnTo>
                      <a:pt x="216" y="36"/>
                    </a:lnTo>
                    <a:lnTo>
                      <a:pt x="222" y="44"/>
                    </a:lnTo>
                    <a:lnTo>
                      <a:pt x="234" y="48"/>
                    </a:lnTo>
                    <a:lnTo>
                      <a:pt x="248" y="50"/>
                    </a:lnTo>
                    <a:lnTo>
                      <a:pt x="260" y="56"/>
                    </a:lnTo>
                    <a:lnTo>
                      <a:pt x="260" y="58"/>
                    </a:lnTo>
                    <a:lnTo>
                      <a:pt x="254" y="64"/>
                    </a:lnTo>
                    <a:lnTo>
                      <a:pt x="258" y="72"/>
                    </a:lnTo>
                    <a:lnTo>
                      <a:pt x="260" y="78"/>
                    </a:lnTo>
                    <a:lnTo>
                      <a:pt x="260" y="84"/>
                    </a:lnTo>
                    <a:lnTo>
                      <a:pt x="244" y="84"/>
                    </a:lnTo>
                    <a:lnTo>
                      <a:pt x="240" y="88"/>
                    </a:lnTo>
                    <a:lnTo>
                      <a:pt x="236" y="92"/>
                    </a:lnTo>
                    <a:lnTo>
                      <a:pt x="236" y="100"/>
                    </a:lnTo>
                    <a:lnTo>
                      <a:pt x="226" y="100"/>
                    </a:lnTo>
                    <a:lnTo>
                      <a:pt x="216" y="100"/>
                    </a:lnTo>
                    <a:lnTo>
                      <a:pt x="208" y="106"/>
                    </a:lnTo>
                    <a:lnTo>
                      <a:pt x="204" y="108"/>
                    </a:lnTo>
                    <a:lnTo>
                      <a:pt x="190" y="112"/>
                    </a:lnTo>
                    <a:lnTo>
                      <a:pt x="182" y="116"/>
                    </a:lnTo>
                    <a:lnTo>
                      <a:pt x="184" y="118"/>
                    </a:lnTo>
                    <a:lnTo>
                      <a:pt x="186" y="122"/>
                    </a:lnTo>
                    <a:lnTo>
                      <a:pt x="194" y="128"/>
                    </a:lnTo>
                    <a:lnTo>
                      <a:pt x="204" y="130"/>
                    </a:lnTo>
                    <a:lnTo>
                      <a:pt x="212" y="138"/>
                    </a:lnTo>
                    <a:lnTo>
                      <a:pt x="204" y="138"/>
                    </a:lnTo>
                    <a:lnTo>
                      <a:pt x="200" y="140"/>
                    </a:lnTo>
                    <a:lnTo>
                      <a:pt x="192" y="144"/>
                    </a:lnTo>
                    <a:lnTo>
                      <a:pt x="186" y="146"/>
                    </a:lnTo>
                    <a:lnTo>
                      <a:pt x="176" y="148"/>
                    </a:lnTo>
                    <a:lnTo>
                      <a:pt x="174" y="138"/>
                    </a:lnTo>
                    <a:lnTo>
                      <a:pt x="170" y="134"/>
                    </a:lnTo>
                    <a:lnTo>
                      <a:pt x="160" y="128"/>
                    </a:lnTo>
                    <a:lnTo>
                      <a:pt x="166" y="120"/>
                    </a:lnTo>
                    <a:lnTo>
                      <a:pt x="172" y="118"/>
                    </a:lnTo>
                    <a:lnTo>
                      <a:pt x="164" y="118"/>
                    </a:lnTo>
                    <a:lnTo>
                      <a:pt x="160" y="118"/>
                    </a:lnTo>
                    <a:lnTo>
                      <a:pt x="152" y="116"/>
                    </a:lnTo>
                    <a:lnTo>
                      <a:pt x="146" y="114"/>
                    </a:lnTo>
                    <a:lnTo>
                      <a:pt x="144" y="112"/>
                    </a:lnTo>
                    <a:lnTo>
                      <a:pt x="140" y="108"/>
                    </a:lnTo>
                    <a:lnTo>
                      <a:pt x="132" y="108"/>
                    </a:lnTo>
                    <a:lnTo>
                      <a:pt x="130" y="112"/>
                    </a:lnTo>
                    <a:lnTo>
                      <a:pt x="128" y="116"/>
                    </a:lnTo>
                    <a:lnTo>
                      <a:pt x="124" y="120"/>
                    </a:lnTo>
                    <a:lnTo>
                      <a:pt x="118" y="126"/>
                    </a:lnTo>
                    <a:lnTo>
                      <a:pt x="114" y="128"/>
                    </a:lnTo>
                    <a:lnTo>
                      <a:pt x="110" y="126"/>
                    </a:lnTo>
                    <a:lnTo>
                      <a:pt x="102" y="128"/>
                    </a:lnTo>
                    <a:lnTo>
                      <a:pt x="94" y="132"/>
                    </a:lnTo>
                    <a:lnTo>
                      <a:pt x="92" y="124"/>
                    </a:lnTo>
                    <a:lnTo>
                      <a:pt x="100" y="118"/>
                    </a:lnTo>
                    <a:lnTo>
                      <a:pt x="100" y="108"/>
                    </a:lnTo>
                    <a:lnTo>
                      <a:pt x="106" y="108"/>
                    </a:lnTo>
                    <a:lnTo>
                      <a:pt x="116" y="110"/>
                    </a:lnTo>
                    <a:lnTo>
                      <a:pt x="110" y="98"/>
                    </a:lnTo>
                    <a:lnTo>
                      <a:pt x="106" y="92"/>
                    </a:lnTo>
                    <a:lnTo>
                      <a:pt x="98" y="80"/>
                    </a:lnTo>
                    <a:lnTo>
                      <a:pt x="90" y="76"/>
                    </a:lnTo>
                    <a:lnTo>
                      <a:pt x="82" y="74"/>
                    </a:lnTo>
                    <a:lnTo>
                      <a:pt x="74" y="78"/>
                    </a:lnTo>
                    <a:lnTo>
                      <a:pt x="66" y="8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4" name="Freeform 166"/>
              <p:cNvSpPr>
                <a:spLocks noChangeAspect="1"/>
              </p:cNvSpPr>
              <p:nvPr/>
            </p:nvSpPr>
            <p:spPr bwMode="auto">
              <a:xfrm>
                <a:off x="4046131" y="3416932"/>
                <a:ext cx="186462" cy="96612"/>
              </a:xfrm>
              <a:custGeom>
                <a:avLst/>
                <a:gdLst/>
                <a:ahLst/>
                <a:cxnLst>
                  <a:cxn ang="0">
                    <a:pos x="122" y="72"/>
                  </a:cxn>
                  <a:cxn ang="0">
                    <a:pos x="110" y="74"/>
                  </a:cxn>
                  <a:cxn ang="0">
                    <a:pos x="106" y="82"/>
                  </a:cxn>
                  <a:cxn ang="0">
                    <a:pos x="98" y="82"/>
                  </a:cxn>
                  <a:cxn ang="0">
                    <a:pos x="90" y="80"/>
                  </a:cxn>
                  <a:cxn ang="0">
                    <a:pos x="80" y="82"/>
                  </a:cxn>
                  <a:cxn ang="0">
                    <a:pos x="74" y="82"/>
                  </a:cxn>
                  <a:cxn ang="0">
                    <a:pos x="62" y="78"/>
                  </a:cxn>
                  <a:cxn ang="0">
                    <a:pos x="58" y="76"/>
                  </a:cxn>
                  <a:cxn ang="0">
                    <a:pos x="40" y="76"/>
                  </a:cxn>
                  <a:cxn ang="0">
                    <a:pos x="30" y="76"/>
                  </a:cxn>
                  <a:cxn ang="0">
                    <a:pos x="22" y="76"/>
                  </a:cxn>
                  <a:cxn ang="0">
                    <a:pos x="16" y="78"/>
                  </a:cxn>
                  <a:cxn ang="0">
                    <a:pos x="0" y="80"/>
                  </a:cxn>
                  <a:cxn ang="0">
                    <a:pos x="0" y="76"/>
                  </a:cxn>
                  <a:cxn ang="0">
                    <a:pos x="10" y="70"/>
                  </a:cxn>
                  <a:cxn ang="0">
                    <a:pos x="6" y="64"/>
                  </a:cxn>
                  <a:cxn ang="0">
                    <a:pos x="4" y="52"/>
                  </a:cxn>
                  <a:cxn ang="0">
                    <a:pos x="2" y="48"/>
                  </a:cxn>
                  <a:cxn ang="0">
                    <a:pos x="12" y="46"/>
                  </a:cxn>
                  <a:cxn ang="0">
                    <a:pos x="18" y="34"/>
                  </a:cxn>
                  <a:cxn ang="0">
                    <a:pos x="26" y="24"/>
                  </a:cxn>
                  <a:cxn ang="0">
                    <a:pos x="26" y="18"/>
                  </a:cxn>
                  <a:cxn ang="0">
                    <a:pos x="30" y="18"/>
                  </a:cxn>
                  <a:cxn ang="0">
                    <a:pos x="36" y="18"/>
                  </a:cxn>
                  <a:cxn ang="0">
                    <a:pos x="46" y="14"/>
                  </a:cxn>
                  <a:cxn ang="0">
                    <a:pos x="48" y="6"/>
                  </a:cxn>
                  <a:cxn ang="0">
                    <a:pos x="60" y="4"/>
                  </a:cxn>
                  <a:cxn ang="0">
                    <a:pos x="68" y="0"/>
                  </a:cxn>
                  <a:cxn ang="0">
                    <a:pos x="76" y="4"/>
                  </a:cxn>
                  <a:cxn ang="0">
                    <a:pos x="98" y="4"/>
                  </a:cxn>
                  <a:cxn ang="0">
                    <a:pos x="106" y="16"/>
                  </a:cxn>
                  <a:cxn ang="0">
                    <a:pos x="106" y="24"/>
                  </a:cxn>
                  <a:cxn ang="0">
                    <a:pos x="112" y="28"/>
                  </a:cxn>
                  <a:cxn ang="0">
                    <a:pos x="116" y="34"/>
                  </a:cxn>
                  <a:cxn ang="0">
                    <a:pos x="120" y="40"/>
                  </a:cxn>
                  <a:cxn ang="0">
                    <a:pos x="122" y="42"/>
                  </a:cxn>
                  <a:cxn ang="0">
                    <a:pos x="130" y="44"/>
                  </a:cxn>
                  <a:cxn ang="0">
                    <a:pos x="132" y="50"/>
                  </a:cxn>
                  <a:cxn ang="0">
                    <a:pos x="126" y="52"/>
                  </a:cxn>
                  <a:cxn ang="0">
                    <a:pos x="114" y="54"/>
                  </a:cxn>
                  <a:cxn ang="0">
                    <a:pos x="118" y="62"/>
                  </a:cxn>
                  <a:cxn ang="0">
                    <a:pos x="122" y="72"/>
                  </a:cxn>
                </a:cxnLst>
                <a:rect l="0" t="0" r="r" b="b"/>
                <a:pathLst>
                  <a:path w="132" h="82">
                    <a:moveTo>
                      <a:pt x="122" y="72"/>
                    </a:moveTo>
                    <a:lnTo>
                      <a:pt x="110" y="74"/>
                    </a:lnTo>
                    <a:lnTo>
                      <a:pt x="106" y="82"/>
                    </a:lnTo>
                    <a:lnTo>
                      <a:pt x="98" y="82"/>
                    </a:lnTo>
                    <a:lnTo>
                      <a:pt x="90" y="80"/>
                    </a:lnTo>
                    <a:lnTo>
                      <a:pt x="80" y="82"/>
                    </a:lnTo>
                    <a:lnTo>
                      <a:pt x="74" y="82"/>
                    </a:lnTo>
                    <a:lnTo>
                      <a:pt x="62" y="78"/>
                    </a:lnTo>
                    <a:lnTo>
                      <a:pt x="58" y="76"/>
                    </a:lnTo>
                    <a:lnTo>
                      <a:pt x="40" y="76"/>
                    </a:lnTo>
                    <a:lnTo>
                      <a:pt x="30" y="76"/>
                    </a:lnTo>
                    <a:lnTo>
                      <a:pt x="22" y="76"/>
                    </a:lnTo>
                    <a:lnTo>
                      <a:pt x="16" y="78"/>
                    </a:lnTo>
                    <a:lnTo>
                      <a:pt x="0" y="80"/>
                    </a:lnTo>
                    <a:lnTo>
                      <a:pt x="0" y="76"/>
                    </a:lnTo>
                    <a:lnTo>
                      <a:pt x="10" y="70"/>
                    </a:lnTo>
                    <a:lnTo>
                      <a:pt x="6" y="64"/>
                    </a:lnTo>
                    <a:lnTo>
                      <a:pt x="4" y="52"/>
                    </a:lnTo>
                    <a:lnTo>
                      <a:pt x="2" y="48"/>
                    </a:lnTo>
                    <a:lnTo>
                      <a:pt x="12" y="46"/>
                    </a:lnTo>
                    <a:lnTo>
                      <a:pt x="18" y="34"/>
                    </a:lnTo>
                    <a:lnTo>
                      <a:pt x="26" y="24"/>
                    </a:lnTo>
                    <a:lnTo>
                      <a:pt x="26" y="18"/>
                    </a:lnTo>
                    <a:lnTo>
                      <a:pt x="30" y="18"/>
                    </a:lnTo>
                    <a:lnTo>
                      <a:pt x="36" y="18"/>
                    </a:lnTo>
                    <a:lnTo>
                      <a:pt x="46" y="14"/>
                    </a:lnTo>
                    <a:lnTo>
                      <a:pt x="48" y="6"/>
                    </a:lnTo>
                    <a:lnTo>
                      <a:pt x="60" y="4"/>
                    </a:lnTo>
                    <a:lnTo>
                      <a:pt x="68" y="0"/>
                    </a:lnTo>
                    <a:lnTo>
                      <a:pt x="76" y="4"/>
                    </a:lnTo>
                    <a:lnTo>
                      <a:pt x="98" y="4"/>
                    </a:lnTo>
                    <a:lnTo>
                      <a:pt x="106" y="16"/>
                    </a:lnTo>
                    <a:lnTo>
                      <a:pt x="106" y="24"/>
                    </a:lnTo>
                    <a:lnTo>
                      <a:pt x="112" y="28"/>
                    </a:lnTo>
                    <a:lnTo>
                      <a:pt x="116" y="34"/>
                    </a:lnTo>
                    <a:lnTo>
                      <a:pt x="120" y="40"/>
                    </a:lnTo>
                    <a:lnTo>
                      <a:pt x="122" y="42"/>
                    </a:lnTo>
                    <a:lnTo>
                      <a:pt x="130" y="44"/>
                    </a:lnTo>
                    <a:lnTo>
                      <a:pt x="132" y="50"/>
                    </a:lnTo>
                    <a:lnTo>
                      <a:pt x="126" y="52"/>
                    </a:lnTo>
                    <a:lnTo>
                      <a:pt x="114" y="54"/>
                    </a:lnTo>
                    <a:lnTo>
                      <a:pt x="118" y="62"/>
                    </a:lnTo>
                    <a:lnTo>
                      <a:pt x="122" y="7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5" name="Freeform 167"/>
              <p:cNvSpPr>
                <a:spLocks noChangeAspect="1"/>
              </p:cNvSpPr>
              <p:nvPr/>
            </p:nvSpPr>
            <p:spPr bwMode="auto">
              <a:xfrm>
                <a:off x="3866427" y="3622085"/>
                <a:ext cx="66207" cy="45324"/>
              </a:xfrm>
              <a:custGeom>
                <a:avLst/>
                <a:gdLst/>
                <a:ahLst/>
                <a:cxnLst>
                  <a:cxn ang="0">
                    <a:pos x="0" y="4"/>
                  </a:cxn>
                  <a:cxn ang="0">
                    <a:pos x="13" y="6"/>
                  </a:cxn>
                  <a:cxn ang="0">
                    <a:pos x="21" y="4"/>
                  </a:cxn>
                  <a:cxn ang="0">
                    <a:pos x="25" y="2"/>
                  </a:cxn>
                  <a:cxn ang="0">
                    <a:pos x="39" y="0"/>
                  </a:cxn>
                  <a:cxn ang="0">
                    <a:pos x="49" y="6"/>
                  </a:cxn>
                  <a:cxn ang="0">
                    <a:pos x="35" y="10"/>
                  </a:cxn>
                  <a:cxn ang="0">
                    <a:pos x="33" y="16"/>
                  </a:cxn>
                  <a:cxn ang="0">
                    <a:pos x="29" y="24"/>
                  </a:cxn>
                  <a:cxn ang="0">
                    <a:pos x="21" y="24"/>
                  </a:cxn>
                  <a:cxn ang="0">
                    <a:pos x="17" y="28"/>
                  </a:cxn>
                  <a:cxn ang="0">
                    <a:pos x="15" y="36"/>
                  </a:cxn>
                  <a:cxn ang="0">
                    <a:pos x="11" y="32"/>
                  </a:cxn>
                  <a:cxn ang="0">
                    <a:pos x="7" y="26"/>
                  </a:cxn>
                  <a:cxn ang="0">
                    <a:pos x="4" y="18"/>
                  </a:cxn>
                  <a:cxn ang="0">
                    <a:pos x="0" y="14"/>
                  </a:cxn>
                  <a:cxn ang="0">
                    <a:pos x="0" y="4"/>
                  </a:cxn>
                </a:cxnLst>
                <a:rect l="0" t="0" r="r" b="b"/>
                <a:pathLst>
                  <a:path w="49" h="36">
                    <a:moveTo>
                      <a:pt x="0" y="4"/>
                    </a:moveTo>
                    <a:lnTo>
                      <a:pt x="13" y="6"/>
                    </a:lnTo>
                    <a:lnTo>
                      <a:pt x="21" y="4"/>
                    </a:lnTo>
                    <a:lnTo>
                      <a:pt x="25" y="2"/>
                    </a:lnTo>
                    <a:lnTo>
                      <a:pt x="39" y="0"/>
                    </a:lnTo>
                    <a:lnTo>
                      <a:pt x="49" y="6"/>
                    </a:lnTo>
                    <a:lnTo>
                      <a:pt x="35" y="10"/>
                    </a:lnTo>
                    <a:lnTo>
                      <a:pt x="33" y="16"/>
                    </a:lnTo>
                    <a:lnTo>
                      <a:pt x="29" y="24"/>
                    </a:lnTo>
                    <a:lnTo>
                      <a:pt x="21" y="24"/>
                    </a:lnTo>
                    <a:lnTo>
                      <a:pt x="17" y="28"/>
                    </a:lnTo>
                    <a:lnTo>
                      <a:pt x="15" y="36"/>
                    </a:lnTo>
                    <a:lnTo>
                      <a:pt x="11" y="32"/>
                    </a:lnTo>
                    <a:lnTo>
                      <a:pt x="7" y="26"/>
                    </a:lnTo>
                    <a:lnTo>
                      <a:pt x="4" y="18"/>
                    </a:lnTo>
                    <a:lnTo>
                      <a:pt x="0" y="14"/>
                    </a:lnTo>
                    <a:lnTo>
                      <a:pt x="0"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6" name="Freeform 168"/>
              <p:cNvSpPr>
                <a:spLocks noChangeAspect="1"/>
              </p:cNvSpPr>
              <p:nvPr/>
            </p:nvSpPr>
            <p:spPr bwMode="auto">
              <a:xfrm>
                <a:off x="4021811" y="3721082"/>
                <a:ext cx="51345" cy="27434"/>
              </a:xfrm>
              <a:custGeom>
                <a:avLst/>
                <a:gdLst/>
                <a:ahLst/>
                <a:cxnLst>
                  <a:cxn ang="0">
                    <a:pos x="26" y="0"/>
                  </a:cxn>
                  <a:cxn ang="0">
                    <a:pos x="36" y="4"/>
                  </a:cxn>
                  <a:cxn ang="0">
                    <a:pos x="36" y="16"/>
                  </a:cxn>
                  <a:cxn ang="0">
                    <a:pos x="30" y="20"/>
                  </a:cxn>
                  <a:cxn ang="0">
                    <a:pos x="10" y="24"/>
                  </a:cxn>
                  <a:cxn ang="0">
                    <a:pos x="6" y="22"/>
                  </a:cxn>
                  <a:cxn ang="0">
                    <a:pos x="4" y="22"/>
                  </a:cxn>
                  <a:cxn ang="0">
                    <a:pos x="0" y="16"/>
                  </a:cxn>
                  <a:cxn ang="0">
                    <a:pos x="0" y="2"/>
                  </a:cxn>
                  <a:cxn ang="0">
                    <a:pos x="8" y="2"/>
                  </a:cxn>
                  <a:cxn ang="0">
                    <a:pos x="12" y="0"/>
                  </a:cxn>
                  <a:cxn ang="0">
                    <a:pos x="26" y="0"/>
                  </a:cxn>
                </a:cxnLst>
                <a:rect l="0" t="0" r="r" b="b"/>
                <a:pathLst>
                  <a:path w="36" h="24">
                    <a:moveTo>
                      <a:pt x="26" y="0"/>
                    </a:moveTo>
                    <a:lnTo>
                      <a:pt x="36" y="4"/>
                    </a:lnTo>
                    <a:lnTo>
                      <a:pt x="36" y="16"/>
                    </a:lnTo>
                    <a:lnTo>
                      <a:pt x="30" y="20"/>
                    </a:lnTo>
                    <a:lnTo>
                      <a:pt x="10" y="24"/>
                    </a:lnTo>
                    <a:lnTo>
                      <a:pt x="6" y="22"/>
                    </a:lnTo>
                    <a:lnTo>
                      <a:pt x="4" y="22"/>
                    </a:lnTo>
                    <a:lnTo>
                      <a:pt x="0" y="16"/>
                    </a:lnTo>
                    <a:lnTo>
                      <a:pt x="0" y="2"/>
                    </a:lnTo>
                    <a:lnTo>
                      <a:pt x="8" y="2"/>
                    </a:lnTo>
                    <a:lnTo>
                      <a:pt x="12" y="0"/>
                    </a:lnTo>
                    <a:lnTo>
                      <a:pt x="26"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7" name="Freeform 169"/>
              <p:cNvSpPr>
                <a:spLocks noChangeAspect="1"/>
              </p:cNvSpPr>
              <p:nvPr/>
            </p:nvSpPr>
            <p:spPr bwMode="auto">
              <a:xfrm>
                <a:off x="4000192" y="3592267"/>
                <a:ext cx="201325" cy="96613"/>
              </a:xfrm>
              <a:custGeom>
                <a:avLst/>
                <a:gdLst/>
                <a:ahLst/>
                <a:cxnLst>
                  <a:cxn ang="0">
                    <a:pos x="36" y="68"/>
                  </a:cxn>
                  <a:cxn ang="0">
                    <a:pos x="28" y="64"/>
                  </a:cxn>
                  <a:cxn ang="0">
                    <a:pos x="26" y="64"/>
                  </a:cxn>
                  <a:cxn ang="0">
                    <a:pos x="24" y="62"/>
                  </a:cxn>
                  <a:cxn ang="0">
                    <a:pos x="22" y="58"/>
                  </a:cxn>
                  <a:cxn ang="0">
                    <a:pos x="20" y="54"/>
                  </a:cxn>
                  <a:cxn ang="0">
                    <a:pos x="16" y="52"/>
                  </a:cxn>
                  <a:cxn ang="0">
                    <a:pos x="14" y="52"/>
                  </a:cxn>
                  <a:cxn ang="0">
                    <a:pos x="14" y="48"/>
                  </a:cxn>
                  <a:cxn ang="0">
                    <a:pos x="10" y="46"/>
                  </a:cxn>
                  <a:cxn ang="0">
                    <a:pos x="8" y="40"/>
                  </a:cxn>
                  <a:cxn ang="0">
                    <a:pos x="0" y="40"/>
                  </a:cxn>
                  <a:cxn ang="0">
                    <a:pos x="4" y="36"/>
                  </a:cxn>
                  <a:cxn ang="0">
                    <a:pos x="10" y="36"/>
                  </a:cxn>
                  <a:cxn ang="0">
                    <a:pos x="16" y="36"/>
                  </a:cxn>
                  <a:cxn ang="0">
                    <a:pos x="20" y="32"/>
                  </a:cxn>
                  <a:cxn ang="0">
                    <a:pos x="22" y="30"/>
                  </a:cxn>
                  <a:cxn ang="0">
                    <a:pos x="24" y="24"/>
                  </a:cxn>
                  <a:cxn ang="0">
                    <a:pos x="24" y="16"/>
                  </a:cxn>
                  <a:cxn ang="0">
                    <a:pos x="28" y="12"/>
                  </a:cxn>
                  <a:cxn ang="0">
                    <a:pos x="32" y="10"/>
                  </a:cxn>
                  <a:cxn ang="0">
                    <a:pos x="36" y="8"/>
                  </a:cxn>
                  <a:cxn ang="0">
                    <a:pos x="38" y="2"/>
                  </a:cxn>
                  <a:cxn ang="0">
                    <a:pos x="56" y="6"/>
                  </a:cxn>
                  <a:cxn ang="0">
                    <a:pos x="70" y="10"/>
                  </a:cxn>
                  <a:cxn ang="0">
                    <a:pos x="76" y="8"/>
                  </a:cxn>
                  <a:cxn ang="0">
                    <a:pos x="80" y="6"/>
                  </a:cxn>
                  <a:cxn ang="0">
                    <a:pos x="86" y="2"/>
                  </a:cxn>
                  <a:cxn ang="0">
                    <a:pos x="92" y="0"/>
                  </a:cxn>
                  <a:cxn ang="0">
                    <a:pos x="100" y="2"/>
                  </a:cxn>
                  <a:cxn ang="0">
                    <a:pos x="106" y="8"/>
                  </a:cxn>
                  <a:cxn ang="0">
                    <a:pos x="108" y="12"/>
                  </a:cxn>
                  <a:cxn ang="0">
                    <a:pos x="112" y="20"/>
                  </a:cxn>
                  <a:cxn ang="0">
                    <a:pos x="116" y="36"/>
                  </a:cxn>
                  <a:cxn ang="0">
                    <a:pos x="118" y="44"/>
                  </a:cxn>
                  <a:cxn ang="0">
                    <a:pos x="120" y="50"/>
                  </a:cxn>
                  <a:cxn ang="0">
                    <a:pos x="128" y="46"/>
                  </a:cxn>
                  <a:cxn ang="0">
                    <a:pos x="136" y="44"/>
                  </a:cxn>
                  <a:cxn ang="0">
                    <a:pos x="140" y="46"/>
                  </a:cxn>
                  <a:cxn ang="0">
                    <a:pos x="142" y="50"/>
                  </a:cxn>
                  <a:cxn ang="0">
                    <a:pos x="142" y="54"/>
                  </a:cxn>
                  <a:cxn ang="0">
                    <a:pos x="140" y="56"/>
                  </a:cxn>
                  <a:cxn ang="0">
                    <a:pos x="138" y="56"/>
                  </a:cxn>
                  <a:cxn ang="0">
                    <a:pos x="132" y="56"/>
                  </a:cxn>
                  <a:cxn ang="0">
                    <a:pos x="130" y="68"/>
                  </a:cxn>
                  <a:cxn ang="0">
                    <a:pos x="126" y="80"/>
                  </a:cxn>
                  <a:cxn ang="0">
                    <a:pos x="116" y="74"/>
                  </a:cxn>
                  <a:cxn ang="0">
                    <a:pos x="110" y="72"/>
                  </a:cxn>
                  <a:cxn ang="0">
                    <a:pos x="106" y="72"/>
                  </a:cxn>
                  <a:cxn ang="0">
                    <a:pos x="100" y="74"/>
                  </a:cxn>
                  <a:cxn ang="0">
                    <a:pos x="96" y="76"/>
                  </a:cxn>
                  <a:cxn ang="0">
                    <a:pos x="92" y="80"/>
                  </a:cxn>
                  <a:cxn ang="0">
                    <a:pos x="86" y="80"/>
                  </a:cxn>
                  <a:cxn ang="0">
                    <a:pos x="64" y="80"/>
                  </a:cxn>
                  <a:cxn ang="0">
                    <a:pos x="60" y="78"/>
                  </a:cxn>
                  <a:cxn ang="0">
                    <a:pos x="54" y="78"/>
                  </a:cxn>
                  <a:cxn ang="0">
                    <a:pos x="50" y="78"/>
                  </a:cxn>
                  <a:cxn ang="0">
                    <a:pos x="46" y="76"/>
                  </a:cxn>
                  <a:cxn ang="0">
                    <a:pos x="44" y="76"/>
                  </a:cxn>
                  <a:cxn ang="0">
                    <a:pos x="42" y="74"/>
                  </a:cxn>
                  <a:cxn ang="0">
                    <a:pos x="42" y="72"/>
                  </a:cxn>
                  <a:cxn ang="0">
                    <a:pos x="36" y="68"/>
                  </a:cxn>
                </a:cxnLst>
                <a:rect l="0" t="0" r="r" b="b"/>
                <a:pathLst>
                  <a:path w="142" h="80">
                    <a:moveTo>
                      <a:pt x="36" y="68"/>
                    </a:moveTo>
                    <a:lnTo>
                      <a:pt x="28" y="64"/>
                    </a:lnTo>
                    <a:lnTo>
                      <a:pt x="26" y="64"/>
                    </a:lnTo>
                    <a:lnTo>
                      <a:pt x="24" y="62"/>
                    </a:lnTo>
                    <a:lnTo>
                      <a:pt x="22" y="58"/>
                    </a:lnTo>
                    <a:lnTo>
                      <a:pt x="20" y="54"/>
                    </a:lnTo>
                    <a:lnTo>
                      <a:pt x="16" y="52"/>
                    </a:lnTo>
                    <a:lnTo>
                      <a:pt x="14" y="52"/>
                    </a:lnTo>
                    <a:lnTo>
                      <a:pt x="14" y="48"/>
                    </a:lnTo>
                    <a:lnTo>
                      <a:pt x="10" y="46"/>
                    </a:lnTo>
                    <a:lnTo>
                      <a:pt x="8" y="40"/>
                    </a:lnTo>
                    <a:lnTo>
                      <a:pt x="0" y="40"/>
                    </a:lnTo>
                    <a:lnTo>
                      <a:pt x="4" y="36"/>
                    </a:lnTo>
                    <a:lnTo>
                      <a:pt x="10" y="36"/>
                    </a:lnTo>
                    <a:lnTo>
                      <a:pt x="16" y="36"/>
                    </a:lnTo>
                    <a:lnTo>
                      <a:pt x="20" y="32"/>
                    </a:lnTo>
                    <a:lnTo>
                      <a:pt x="22" y="30"/>
                    </a:lnTo>
                    <a:lnTo>
                      <a:pt x="24" y="24"/>
                    </a:lnTo>
                    <a:lnTo>
                      <a:pt x="24" y="16"/>
                    </a:lnTo>
                    <a:lnTo>
                      <a:pt x="28" y="12"/>
                    </a:lnTo>
                    <a:lnTo>
                      <a:pt x="32" y="10"/>
                    </a:lnTo>
                    <a:lnTo>
                      <a:pt x="36" y="8"/>
                    </a:lnTo>
                    <a:lnTo>
                      <a:pt x="38" y="2"/>
                    </a:lnTo>
                    <a:lnTo>
                      <a:pt x="56" y="6"/>
                    </a:lnTo>
                    <a:lnTo>
                      <a:pt x="70" y="10"/>
                    </a:lnTo>
                    <a:lnTo>
                      <a:pt x="76" y="8"/>
                    </a:lnTo>
                    <a:lnTo>
                      <a:pt x="80" y="6"/>
                    </a:lnTo>
                    <a:lnTo>
                      <a:pt x="86" y="2"/>
                    </a:lnTo>
                    <a:lnTo>
                      <a:pt x="92" y="0"/>
                    </a:lnTo>
                    <a:lnTo>
                      <a:pt x="100" y="2"/>
                    </a:lnTo>
                    <a:lnTo>
                      <a:pt x="106" y="8"/>
                    </a:lnTo>
                    <a:lnTo>
                      <a:pt x="108" y="12"/>
                    </a:lnTo>
                    <a:lnTo>
                      <a:pt x="112" y="20"/>
                    </a:lnTo>
                    <a:lnTo>
                      <a:pt x="116" y="36"/>
                    </a:lnTo>
                    <a:lnTo>
                      <a:pt x="118" y="44"/>
                    </a:lnTo>
                    <a:lnTo>
                      <a:pt x="120" y="50"/>
                    </a:lnTo>
                    <a:lnTo>
                      <a:pt x="128" y="46"/>
                    </a:lnTo>
                    <a:lnTo>
                      <a:pt x="136" y="44"/>
                    </a:lnTo>
                    <a:lnTo>
                      <a:pt x="140" y="46"/>
                    </a:lnTo>
                    <a:lnTo>
                      <a:pt x="142" y="50"/>
                    </a:lnTo>
                    <a:lnTo>
                      <a:pt x="142" y="54"/>
                    </a:lnTo>
                    <a:lnTo>
                      <a:pt x="140" y="56"/>
                    </a:lnTo>
                    <a:lnTo>
                      <a:pt x="138" y="56"/>
                    </a:lnTo>
                    <a:lnTo>
                      <a:pt x="132" y="56"/>
                    </a:lnTo>
                    <a:lnTo>
                      <a:pt x="130" y="68"/>
                    </a:lnTo>
                    <a:lnTo>
                      <a:pt x="126" y="80"/>
                    </a:lnTo>
                    <a:lnTo>
                      <a:pt x="116" y="74"/>
                    </a:lnTo>
                    <a:lnTo>
                      <a:pt x="110" y="72"/>
                    </a:lnTo>
                    <a:lnTo>
                      <a:pt x="106" y="72"/>
                    </a:lnTo>
                    <a:lnTo>
                      <a:pt x="100" y="74"/>
                    </a:lnTo>
                    <a:lnTo>
                      <a:pt x="96" y="76"/>
                    </a:lnTo>
                    <a:lnTo>
                      <a:pt x="92" y="80"/>
                    </a:lnTo>
                    <a:lnTo>
                      <a:pt x="86" y="80"/>
                    </a:lnTo>
                    <a:lnTo>
                      <a:pt x="64" y="80"/>
                    </a:lnTo>
                    <a:lnTo>
                      <a:pt x="60" y="78"/>
                    </a:lnTo>
                    <a:lnTo>
                      <a:pt x="54" y="78"/>
                    </a:lnTo>
                    <a:lnTo>
                      <a:pt x="50" y="78"/>
                    </a:lnTo>
                    <a:lnTo>
                      <a:pt x="46" y="76"/>
                    </a:lnTo>
                    <a:lnTo>
                      <a:pt x="44" y="76"/>
                    </a:lnTo>
                    <a:lnTo>
                      <a:pt x="42" y="74"/>
                    </a:lnTo>
                    <a:lnTo>
                      <a:pt x="42" y="72"/>
                    </a:lnTo>
                    <a:lnTo>
                      <a:pt x="36" y="6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8" name="Freeform 170"/>
              <p:cNvSpPr>
                <a:spLocks noChangeAspect="1"/>
              </p:cNvSpPr>
              <p:nvPr/>
            </p:nvSpPr>
            <p:spPr bwMode="auto">
              <a:xfrm>
                <a:off x="3973168" y="3632820"/>
                <a:ext cx="94582" cy="90649"/>
              </a:xfrm>
              <a:custGeom>
                <a:avLst/>
                <a:gdLst/>
                <a:ahLst/>
                <a:cxnLst>
                  <a:cxn ang="0">
                    <a:pos x="2" y="8"/>
                  </a:cxn>
                  <a:cxn ang="0">
                    <a:pos x="6" y="6"/>
                  </a:cxn>
                  <a:cxn ang="0">
                    <a:pos x="16" y="0"/>
                  </a:cxn>
                  <a:cxn ang="0">
                    <a:pos x="20" y="6"/>
                  </a:cxn>
                  <a:cxn ang="0">
                    <a:pos x="28" y="6"/>
                  </a:cxn>
                  <a:cxn ang="0">
                    <a:pos x="30" y="12"/>
                  </a:cxn>
                  <a:cxn ang="0">
                    <a:pos x="34" y="14"/>
                  </a:cxn>
                  <a:cxn ang="0">
                    <a:pos x="34" y="18"/>
                  </a:cxn>
                  <a:cxn ang="0">
                    <a:pos x="36" y="18"/>
                  </a:cxn>
                  <a:cxn ang="0">
                    <a:pos x="40" y="20"/>
                  </a:cxn>
                  <a:cxn ang="0">
                    <a:pos x="42" y="28"/>
                  </a:cxn>
                  <a:cxn ang="0">
                    <a:pos x="48" y="30"/>
                  </a:cxn>
                  <a:cxn ang="0">
                    <a:pos x="56" y="34"/>
                  </a:cxn>
                  <a:cxn ang="0">
                    <a:pos x="62" y="38"/>
                  </a:cxn>
                  <a:cxn ang="0">
                    <a:pos x="62" y="44"/>
                  </a:cxn>
                  <a:cxn ang="0">
                    <a:pos x="64" y="48"/>
                  </a:cxn>
                  <a:cxn ang="0">
                    <a:pos x="68" y="56"/>
                  </a:cxn>
                  <a:cxn ang="0">
                    <a:pos x="64" y="62"/>
                  </a:cxn>
                  <a:cxn ang="0">
                    <a:pos x="60" y="70"/>
                  </a:cxn>
                  <a:cxn ang="0">
                    <a:pos x="60" y="74"/>
                  </a:cxn>
                  <a:cxn ang="0">
                    <a:pos x="46" y="74"/>
                  </a:cxn>
                  <a:cxn ang="0">
                    <a:pos x="42" y="76"/>
                  </a:cxn>
                  <a:cxn ang="0">
                    <a:pos x="34" y="76"/>
                  </a:cxn>
                  <a:cxn ang="0">
                    <a:pos x="26" y="68"/>
                  </a:cxn>
                  <a:cxn ang="0">
                    <a:pos x="18" y="68"/>
                  </a:cxn>
                  <a:cxn ang="0">
                    <a:pos x="18" y="70"/>
                  </a:cxn>
                  <a:cxn ang="0">
                    <a:pos x="16" y="74"/>
                  </a:cxn>
                  <a:cxn ang="0">
                    <a:pos x="16" y="76"/>
                  </a:cxn>
                  <a:cxn ang="0">
                    <a:pos x="10" y="66"/>
                  </a:cxn>
                  <a:cxn ang="0">
                    <a:pos x="0" y="60"/>
                  </a:cxn>
                  <a:cxn ang="0">
                    <a:pos x="4" y="52"/>
                  </a:cxn>
                  <a:cxn ang="0">
                    <a:pos x="12" y="50"/>
                  </a:cxn>
                  <a:cxn ang="0">
                    <a:pos x="14" y="44"/>
                  </a:cxn>
                  <a:cxn ang="0">
                    <a:pos x="8" y="38"/>
                  </a:cxn>
                  <a:cxn ang="0">
                    <a:pos x="6" y="28"/>
                  </a:cxn>
                  <a:cxn ang="0">
                    <a:pos x="8" y="22"/>
                  </a:cxn>
                  <a:cxn ang="0">
                    <a:pos x="2" y="8"/>
                  </a:cxn>
                </a:cxnLst>
                <a:rect l="0" t="0" r="r" b="b"/>
                <a:pathLst>
                  <a:path w="68" h="76">
                    <a:moveTo>
                      <a:pt x="2" y="8"/>
                    </a:moveTo>
                    <a:lnTo>
                      <a:pt x="6" y="6"/>
                    </a:lnTo>
                    <a:lnTo>
                      <a:pt x="16" y="0"/>
                    </a:lnTo>
                    <a:lnTo>
                      <a:pt x="20" y="6"/>
                    </a:lnTo>
                    <a:lnTo>
                      <a:pt x="28" y="6"/>
                    </a:lnTo>
                    <a:lnTo>
                      <a:pt x="30" y="12"/>
                    </a:lnTo>
                    <a:lnTo>
                      <a:pt x="34" y="14"/>
                    </a:lnTo>
                    <a:lnTo>
                      <a:pt x="34" y="18"/>
                    </a:lnTo>
                    <a:lnTo>
                      <a:pt x="36" y="18"/>
                    </a:lnTo>
                    <a:lnTo>
                      <a:pt x="40" y="20"/>
                    </a:lnTo>
                    <a:lnTo>
                      <a:pt x="42" y="28"/>
                    </a:lnTo>
                    <a:lnTo>
                      <a:pt x="48" y="30"/>
                    </a:lnTo>
                    <a:lnTo>
                      <a:pt x="56" y="34"/>
                    </a:lnTo>
                    <a:lnTo>
                      <a:pt x="62" y="38"/>
                    </a:lnTo>
                    <a:lnTo>
                      <a:pt x="62" y="44"/>
                    </a:lnTo>
                    <a:lnTo>
                      <a:pt x="64" y="48"/>
                    </a:lnTo>
                    <a:lnTo>
                      <a:pt x="68" y="56"/>
                    </a:lnTo>
                    <a:lnTo>
                      <a:pt x="64" y="62"/>
                    </a:lnTo>
                    <a:lnTo>
                      <a:pt x="60" y="70"/>
                    </a:lnTo>
                    <a:lnTo>
                      <a:pt x="60" y="74"/>
                    </a:lnTo>
                    <a:lnTo>
                      <a:pt x="46" y="74"/>
                    </a:lnTo>
                    <a:lnTo>
                      <a:pt x="42" y="76"/>
                    </a:lnTo>
                    <a:lnTo>
                      <a:pt x="34" y="76"/>
                    </a:lnTo>
                    <a:lnTo>
                      <a:pt x="26" y="68"/>
                    </a:lnTo>
                    <a:lnTo>
                      <a:pt x="18" y="68"/>
                    </a:lnTo>
                    <a:lnTo>
                      <a:pt x="18" y="70"/>
                    </a:lnTo>
                    <a:lnTo>
                      <a:pt x="16" y="74"/>
                    </a:lnTo>
                    <a:lnTo>
                      <a:pt x="16" y="76"/>
                    </a:lnTo>
                    <a:lnTo>
                      <a:pt x="10" y="66"/>
                    </a:lnTo>
                    <a:lnTo>
                      <a:pt x="0" y="60"/>
                    </a:lnTo>
                    <a:lnTo>
                      <a:pt x="4" y="52"/>
                    </a:lnTo>
                    <a:lnTo>
                      <a:pt x="12" y="50"/>
                    </a:lnTo>
                    <a:lnTo>
                      <a:pt x="14" y="44"/>
                    </a:lnTo>
                    <a:lnTo>
                      <a:pt x="8" y="38"/>
                    </a:lnTo>
                    <a:lnTo>
                      <a:pt x="6" y="28"/>
                    </a:lnTo>
                    <a:lnTo>
                      <a:pt x="8" y="22"/>
                    </a:lnTo>
                    <a:lnTo>
                      <a:pt x="2"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59" name="Freeform 171"/>
              <p:cNvSpPr>
                <a:spLocks noChangeAspect="1"/>
              </p:cNvSpPr>
              <p:nvPr/>
            </p:nvSpPr>
            <p:spPr bwMode="auto">
              <a:xfrm>
                <a:off x="4058293" y="3678144"/>
                <a:ext cx="121605" cy="62023"/>
              </a:xfrm>
              <a:custGeom>
                <a:avLst/>
                <a:gdLst/>
                <a:ahLst/>
                <a:cxnLst>
                  <a:cxn ang="0">
                    <a:pos x="10" y="48"/>
                  </a:cxn>
                  <a:cxn ang="0">
                    <a:pos x="8" y="40"/>
                  </a:cxn>
                  <a:cxn ang="0">
                    <a:pos x="6" y="38"/>
                  </a:cxn>
                  <a:cxn ang="0">
                    <a:pos x="0" y="36"/>
                  </a:cxn>
                  <a:cxn ang="0">
                    <a:pos x="2" y="32"/>
                  </a:cxn>
                  <a:cxn ang="0">
                    <a:pos x="4" y="24"/>
                  </a:cxn>
                  <a:cxn ang="0">
                    <a:pos x="8" y="18"/>
                  </a:cxn>
                  <a:cxn ang="0">
                    <a:pos x="4" y="12"/>
                  </a:cxn>
                  <a:cxn ang="0">
                    <a:pos x="2" y="6"/>
                  </a:cxn>
                  <a:cxn ang="0">
                    <a:pos x="2" y="4"/>
                  </a:cxn>
                  <a:cxn ang="0">
                    <a:pos x="2" y="2"/>
                  </a:cxn>
                  <a:cxn ang="0">
                    <a:pos x="4" y="4"/>
                  </a:cxn>
                  <a:cxn ang="0">
                    <a:pos x="6" y="4"/>
                  </a:cxn>
                  <a:cxn ang="0">
                    <a:pos x="10" y="6"/>
                  </a:cxn>
                  <a:cxn ang="0">
                    <a:pos x="14" y="6"/>
                  </a:cxn>
                  <a:cxn ang="0">
                    <a:pos x="20" y="6"/>
                  </a:cxn>
                  <a:cxn ang="0">
                    <a:pos x="24" y="8"/>
                  </a:cxn>
                  <a:cxn ang="0">
                    <a:pos x="46" y="8"/>
                  </a:cxn>
                  <a:cxn ang="0">
                    <a:pos x="52" y="8"/>
                  </a:cxn>
                  <a:cxn ang="0">
                    <a:pos x="56" y="4"/>
                  </a:cxn>
                  <a:cxn ang="0">
                    <a:pos x="60" y="2"/>
                  </a:cxn>
                  <a:cxn ang="0">
                    <a:pos x="66" y="0"/>
                  </a:cxn>
                  <a:cxn ang="0">
                    <a:pos x="70" y="0"/>
                  </a:cxn>
                  <a:cxn ang="0">
                    <a:pos x="76" y="2"/>
                  </a:cxn>
                  <a:cxn ang="0">
                    <a:pos x="86" y="8"/>
                  </a:cxn>
                  <a:cxn ang="0">
                    <a:pos x="84" y="14"/>
                  </a:cxn>
                  <a:cxn ang="0">
                    <a:pos x="84" y="22"/>
                  </a:cxn>
                  <a:cxn ang="0">
                    <a:pos x="84" y="30"/>
                  </a:cxn>
                  <a:cxn ang="0">
                    <a:pos x="88" y="38"/>
                  </a:cxn>
                  <a:cxn ang="0">
                    <a:pos x="70" y="40"/>
                  </a:cxn>
                  <a:cxn ang="0">
                    <a:pos x="64" y="42"/>
                  </a:cxn>
                  <a:cxn ang="0">
                    <a:pos x="62" y="44"/>
                  </a:cxn>
                  <a:cxn ang="0">
                    <a:pos x="60" y="46"/>
                  </a:cxn>
                  <a:cxn ang="0">
                    <a:pos x="58" y="46"/>
                  </a:cxn>
                  <a:cxn ang="0">
                    <a:pos x="56" y="50"/>
                  </a:cxn>
                  <a:cxn ang="0">
                    <a:pos x="52" y="50"/>
                  </a:cxn>
                  <a:cxn ang="0">
                    <a:pos x="50" y="52"/>
                  </a:cxn>
                  <a:cxn ang="0">
                    <a:pos x="48" y="52"/>
                  </a:cxn>
                  <a:cxn ang="0">
                    <a:pos x="42" y="52"/>
                  </a:cxn>
                  <a:cxn ang="0">
                    <a:pos x="38" y="50"/>
                  </a:cxn>
                  <a:cxn ang="0">
                    <a:pos x="36" y="48"/>
                  </a:cxn>
                  <a:cxn ang="0">
                    <a:pos x="32" y="46"/>
                  </a:cxn>
                  <a:cxn ang="0">
                    <a:pos x="26" y="48"/>
                  </a:cxn>
                  <a:cxn ang="0">
                    <a:pos x="20" y="50"/>
                  </a:cxn>
                  <a:cxn ang="0">
                    <a:pos x="14" y="50"/>
                  </a:cxn>
                  <a:cxn ang="0">
                    <a:pos x="10" y="50"/>
                  </a:cxn>
                  <a:cxn ang="0">
                    <a:pos x="10" y="48"/>
                  </a:cxn>
                </a:cxnLst>
                <a:rect l="0" t="0" r="r" b="b"/>
                <a:pathLst>
                  <a:path w="88" h="52">
                    <a:moveTo>
                      <a:pt x="10" y="48"/>
                    </a:moveTo>
                    <a:lnTo>
                      <a:pt x="8" y="40"/>
                    </a:lnTo>
                    <a:lnTo>
                      <a:pt x="6" y="38"/>
                    </a:lnTo>
                    <a:lnTo>
                      <a:pt x="0" y="36"/>
                    </a:lnTo>
                    <a:lnTo>
                      <a:pt x="2" y="32"/>
                    </a:lnTo>
                    <a:lnTo>
                      <a:pt x="4" y="24"/>
                    </a:lnTo>
                    <a:lnTo>
                      <a:pt x="8" y="18"/>
                    </a:lnTo>
                    <a:lnTo>
                      <a:pt x="4" y="12"/>
                    </a:lnTo>
                    <a:lnTo>
                      <a:pt x="2" y="6"/>
                    </a:lnTo>
                    <a:lnTo>
                      <a:pt x="2" y="4"/>
                    </a:lnTo>
                    <a:lnTo>
                      <a:pt x="2" y="2"/>
                    </a:lnTo>
                    <a:lnTo>
                      <a:pt x="4" y="4"/>
                    </a:lnTo>
                    <a:lnTo>
                      <a:pt x="6" y="4"/>
                    </a:lnTo>
                    <a:lnTo>
                      <a:pt x="10" y="6"/>
                    </a:lnTo>
                    <a:lnTo>
                      <a:pt x="14" y="6"/>
                    </a:lnTo>
                    <a:lnTo>
                      <a:pt x="20" y="6"/>
                    </a:lnTo>
                    <a:lnTo>
                      <a:pt x="24" y="8"/>
                    </a:lnTo>
                    <a:lnTo>
                      <a:pt x="46" y="8"/>
                    </a:lnTo>
                    <a:lnTo>
                      <a:pt x="52" y="8"/>
                    </a:lnTo>
                    <a:lnTo>
                      <a:pt x="56" y="4"/>
                    </a:lnTo>
                    <a:lnTo>
                      <a:pt x="60" y="2"/>
                    </a:lnTo>
                    <a:lnTo>
                      <a:pt x="66" y="0"/>
                    </a:lnTo>
                    <a:lnTo>
                      <a:pt x="70" y="0"/>
                    </a:lnTo>
                    <a:lnTo>
                      <a:pt x="76" y="2"/>
                    </a:lnTo>
                    <a:lnTo>
                      <a:pt x="86" y="8"/>
                    </a:lnTo>
                    <a:lnTo>
                      <a:pt x="84" y="14"/>
                    </a:lnTo>
                    <a:lnTo>
                      <a:pt x="84" y="22"/>
                    </a:lnTo>
                    <a:lnTo>
                      <a:pt x="84" y="30"/>
                    </a:lnTo>
                    <a:lnTo>
                      <a:pt x="88" y="38"/>
                    </a:lnTo>
                    <a:lnTo>
                      <a:pt x="70" y="40"/>
                    </a:lnTo>
                    <a:lnTo>
                      <a:pt x="64" y="42"/>
                    </a:lnTo>
                    <a:lnTo>
                      <a:pt x="62" y="44"/>
                    </a:lnTo>
                    <a:lnTo>
                      <a:pt x="60" y="46"/>
                    </a:lnTo>
                    <a:lnTo>
                      <a:pt x="58" y="46"/>
                    </a:lnTo>
                    <a:lnTo>
                      <a:pt x="56" y="50"/>
                    </a:lnTo>
                    <a:lnTo>
                      <a:pt x="52" y="50"/>
                    </a:lnTo>
                    <a:lnTo>
                      <a:pt x="50" y="52"/>
                    </a:lnTo>
                    <a:lnTo>
                      <a:pt x="48" y="52"/>
                    </a:lnTo>
                    <a:lnTo>
                      <a:pt x="42" y="52"/>
                    </a:lnTo>
                    <a:lnTo>
                      <a:pt x="38" y="50"/>
                    </a:lnTo>
                    <a:lnTo>
                      <a:pt x="36" y="48"/>
                    </a:lnTo>
                    <a:lnTo>
                      <a:pt x="32" y="46"/>
                    </a:lnTo>
                    <a:lnTo>
                      <a:pt x="26" y="48"/>
                    </a:lnTo>
                    <a:lnTo>
                      <a:pt x="20" y="50"/>
                    </a:lnTo>
                    <a:lnTo>
                      <a:pt x="14" y="50"/>
                    </a:lnTo>
                    <a:lnTo>
                      <a:pt x="10" y="50"/>
                    </a:lnTo>
                    <a:lnTo>
                      <a:pt x="10" y="4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0" name="Freeform 172"/>
              <p:cNvSpPr>
                <a:spLocks noChangeAspect="1"/>
              </p:cNvSpPr>
              <p:nvPr/>
            </p:nvSpPr>
            <p:spPr bwMode="auto">
              <a:xfrm>
                <a:off x="3793463" y="3446752"/>
                <a:ext cx="17565" cy="4771"/>
              </a:xfrm>
              <a:custGeom>
                <a:avLst/>
                <a:gdLst/>
                <a:ahLst/>
                <a:cxnLst>
                  <a:cxn ang="0">
                    <a:pos x="0" y="2"/>
                  </a:cxn>
                  <a:cxn ang="0">
                    <a:pos x="6" y="4"/>
                  </a:cxn>
                  <a:cxn ang="0">
                    <a:pos x="8" y="4"/>
                  </a:cxn>
                  <a:cxn ang="0">
                    <a:pos x="14" y="2"/>
                  </a:cxn>
                  <a:cxn ang="0">
                    <a:pos x="8" y="0"/>
                  </a:cxn>
                  <a:cxn ang="0">
                    <a:pos x="4" y="0"/>
                  </a:cxn>
                  <a:cxn ang="0">
                    <a:pos x="0" y="2"/>
                  </a:cxn>
                </a:cxnLst>
                <a:rect l="0" t="0" r="r" b="b"/>
                <a:pathLst>
                  <a:path w="14" h="4">
                    <a:moveTo>
                      <a:pt x="0" y="2"/>
                    </a:moveTo>
                    <a:lnTo>
                      <a:pt x="6" y="4"/>
                    </a:lnTo>
                    <a:lnTo>
                      <a:pt x="8" y="4"/>
                    </a:lnTo>
                    <a:lnTo>
                      <a:pt x="14" y="2"/>
                    </a:lnTo>
                    <a:lnTo>
                      <a:pt x="8" y="0"/>
                    </a:lnTo>
                    <a:lnTo>
                      <a:pt x="4" y="0"/>
                    </a:lnTo>
                    <a:lnTo>
                      <a:pt x="0"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1" name="Freeform 173"/>
              <p:cNvSpPr>
                <a:spLocks noChangeAspect="1"/>
              </p:cNvSpPr>
              <p:nvPr/>
            </p:nvSpPr>
            <p:spPr bwMode="auto">
              <a:xfrm>
                <a:off x="3621864" y="3710348"/>
                <a:ext cx="21619" cy="10734"/>
              </a:xfrm>
              <a:custGeom>
                <a:avLst/>
                <a:gdLst/>
                <a:ahLst/>
                <a:cxnLst>
                  <a:cxn ang="0">
                    <a:pos x="14" y="4"/>
                  </a:cxn>
                  <a:cxn ang="0">
                    <a:pos x="12" y="6"/>
                  </a:cxn>
                  <a:cxn ang="0">
                    <a:pos x="6" y="8"/>
                  </a:cxn>
                  <a:cxn ang="0">
                    <a:pos x="2" y="8"/>
                  </a:cxn>
                  <a:cxn ang="0">
                    <a:pos x="0" y="6"/>
                  </a:cxn>
                  <a:cxn ang="0">
                    <a:pos x="0" y="4"/>
                  </a:cxn>
                  <a:cxn ang="0">
                    <a:pos x="2" y="0"/>
                  </a:cxn>
                  <a:cxn ang="0">
                    <a:pos x="6" y="0"/>
                  </a:cxn>
                  <a:cxn ang="0">
                    <a:pos x="8" y="0"/>
                  </a:cxn>
                  <a:cxn ang="0">
                    <a:pos x="10" y="2"/>
                  </a:cxn>
                  <a:cxn ang="0">
                    <a:pos x="16" y="6"/>
                  </a:cxn>
                  <a:cxn ang="0">
                    <a:pos x="14" y="4"/>
                  </a:cxn>
                </a:cxnLst>
                <a:rect l="0" t="0" r="r" b="b"/>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2" name="Freeform 174"/>
              <p:cNvSpPr>
                <a:spLocks noChangeAspect="1"/>
              </p:cNvSpPr>
              <p:nvPr/>
            </p:nvSpPr>
            <p:spPr bwMode="auto">
              <a:xfrm>
                <a:off x="3706987" y="3549327"/>
                <a:ext cx="16214" cy="17892"/>
              </a:xfrm>
              <a:custGeom>
                <a:avLst/>
                <a:gdLst/>
                <a:ahLst/>
                <a:cxnLst>
                  <a:cxn ang="0">
                    <a:pos x="8" y="0"/>
                  </a:cxn>
                  <a:cxn ang="0">
                    <a:pos x="6" y="2"/>
                  </a:cxn>
                  <a:cxn ang="0">
                    <a:pos x="4" y="4"/>
                  </a:cxn>
                  <a:cxn ang="0">
                    <a:pos x="2" y="6"/>
                  </a:cxn>
                  <a:cxn ang="0">
                    <a:pos x="0" y="8"/>
                  </a:cxn>
                  <a:cxn ang="0">
                    <a:pos x="2" y="12"/>
                  </a:cxn>
                  <a:cxn ang="0">
                    <a:pos x="2" y="14"/>
                  </a:cxn>
                  <a:cxn ang="0">
                    <a:pos x="8" y="14"/>
                  </a:cxn>
                  <a:cxn ang="0">
                    <a:pos x="12" y="16"/>
                  </a:cxn>
                  <a:cxn ang="0">
                    <a:pos x="12" y="12"/>
                  </a:cxn>
                  <a:cxn ang="0">
                    <a:pos x="12" y="8"/>
                  </a:cxn>
                  <a:cxn ang="0">
                    <a:pos x="8" y="0"/>
                  </a:cxn>
                </a:cxnLst>
                <a:rect l="0" t="0" r="r" b="b"/>
                <a:pathLst>
                  <a:path w="12" h="16">
                    <a:moveTo>
                      <a:pt x="8" y="0"/>
                    </a:moveTo>
                    <a:lnTo>
                      <a:pt x="6" y="2"/>
                    </a:lnTo>
                    <a:lnTo>
                      <a:pt x="4" y="4"/>
                    </a:lnTo>
                    <a:lnTo>
                      <a:pt x="2" y="6"/>
                    </a:lnTo>
                    <a:lnTo>
                      <a:pt x="0" y="8"/>
                    </a:lnTo>
                    <a:lnTo>
                      <a:pt x="2" y="12"/>
                    </a:lnTo>
                    <a:lnTo>
                      <a:pt x="2" y="14"/>
                    </a:lnTo>
                    <a:lnTo>
                      <a:pt x="8" y="14"/>
                    </a:lnTo>
                    <a:lnTo>
                      <a:pt x="12" y="16"/>
                    </a:lnTo>
                    <a:lnTo>
                      <a:pt x="12" y="12"/>
                    </a:lnTo>
                    <a:lnTo>
                      <a:pt x="12" y="8"/>
                    </a:lnTo>
                    <a:lnTo>
                      <a:pt x="8"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3" name="Freeform 175"/>
              <p:cNvSpPr>
                <a:spLocks noChangeAspect="1"/>
              </p:cNvSpPr>
              <p:nvPr/>
            </p:nvSpPr>
            <p:spPr bwMode="auto">
              <a:xfrm>
                <a:off x="4356901" y="3939356"/>
                <a:ext cx="467506" cy="353053"/>
              </a:xfrm>
              <a:custGeom>
                <a:avLst/>
                <a:gdLst/>
                <a:ahLst/>
                <a:cxnLst>
                  <a:cxn ang="0">
                    <a:pos x="224" y="72"/>
                  </a:cxn>
                  <a:cxn ang="0">
                    <a:pos x="230" y="80"/>
                  </a:cxn>
                  <a:cxn ang="0">
                    <a:pos x="236" y="88"/>
                  </a:cxn>
                  <a:cxn ang="0">
                    <a:pos x="244" y="102"/>
                  </a:cxn>
                  <a:cxn ang="0">
                    <a:pos x="254" y="118"/>
                  </a:cxn>
                  <a:cxn ang="0">
                    <a:pos x="260" y="130"/>
                  </a:cxn>
                  <a:cxn ang="0">
                    <a:pos x="268" y="144"/>
                  </a:cxn>
                  <a:cxn ang="0">
                    <a:pos x="280" y="156"/>
                  </a:cxn>
                  <a:cxn ang="0">
                    <a:pos x="332" y="164"/>
                  </a:cxn>
                  <a:cxn ang="0">
                    <a:pos x="282" y="242"/>
                  </a:cxn>
                  <a:cxn ang="0">
                    <a:pos x="190" y="298"/>
                  </a:cxn>
                  <a:cxn ang="0">
                    <a:pos x="168" y="270"/>
                  </a:cxn>
                  <a:cxn ang="0">
                    <a:pos x="162" y="270"/>
                  </a:cxn>
                  <a:cxn ang="0">
                    <a:pos x="152" y="264"/>
                  </a:cxn>
                  <a:cxn ang="0">
                    <a:pos x="148" y="270"/>
                  </a:cxn>
                  <a:cxn ang="0">
                    <a:pos x="144" y="280"/>
                  </a:cxn>
                  <a:cxn ang="0">
                    <a:pos x="134" y="264"/>
                  </a:cxn>
                  <a:cxn ang="0">
                    <a:pos x="118" y="248"/>
                  </a:cxn>
                  <a:cxn ang="0">
                    <a:pos x="108" y="228"/>
                  </a:cxn>
                  <a:cxn ang="0">
                    <a:pos x="98" y="214"/>
                  </a:cxn>
                  <a:cxn ang="0">
                    <a:pos x="82" y="200"/>
                  </a:cxn>
                  <a:cxn ang="0">
                    <a:pos x="82" y="200"/>
                  </a:cxn>
                  <a:cxn ang="0">
                    <a:pos x="76" y="162"/>
                  </a:cxn>
                  <a:cxn ang="0">
                    <a:pos x="58" y="142"/>
                  </a:cxn>
                  <a:cxn ang="0">
                    <a:pos x="42" y="124"/>
                  </a:cxn>
                  <a:cxn ang="0">
                    <a:pos x="16" y="76"/>
                  </a:cxn>
                  <a:cxn ang="0">
                    <a:pos x="4" y="66"/>
                  </a:cxn>
                  <a:cxn ang="0">
                    <a:pos x="16" y="56"/>
                  </a:cxn>
                  <a:cxn ang="0">
                    <a:pos x="24" y="46"/>
                  </a:cxn>
                  <a:cxn ang="0">
                    <a:pos x="34" y="42"/>
                  </a:cxn>
                  <a:cxn ang="0">
                    <a:pos x="44" y="36"/>
                  </a:cxn>
                  <a:cxn ang="0">
                    <a:pos x="62" y="0"/>
                  </a:cxn>
                  <a:cxn ang="0">
                    <a:pos x="122" y="26"/>
                  </a:cxn>
                  <a:cxn ang="0">
                    <a:pos x="128" y="32"/>
                  </a:cxn>
                  <a:cxn ang="0">
                    <a:pos x="134" y="44"/>
                  </a:cxn>
                  <a:cxn ang="0">
                    <a:pos x="180" y="54"/>
                  </a:cxn>
                  <a:cxn ang="0">
                    <a:pos x="200" y="60"/>
                  </a:cxn>
                  <a:cxn ang="0">
                    <a:pos x="222" y="64"/>
                  </a:cxn>
                </a:cxnLst>
                <a:rect l="0" t="0" r="r" b="b"/>
                <a:pathLst>
                  <a:path w="332" h="298">
                    <a:moveTo>
                      <a:pt x="222" y="62"/>
                    </a:moveTo>
                    <a:lnTo>
                      <a:pt x="224" y="72"/>
                    </a:lnTo>
                    <a:lnTo>
                      <a:pt x="226" y="78"/>
                    </a:lnTo>
                    <a:lnTo>
                      <a:pt x="230" y="80"/>
                    </a:lnTo>
                    <a:lnTo>
                      <a:pt x="234" y="84"/>
                    </a:lnTo>
                    <a:lnTo>
                      <a:pt x="236" y="88"/>
                    </a:lnTo>
                    <a:lnTo>
                      <a:pt x="242" y="96"/>
                    </a:lnTo>
                    <a:lnTo>
                      <a:pt x="244" y="102"/>
                    </a:lnTo>
                    <a:lnTo>
                      <a:pt x="248" y="110"/>
                    </a:lnTo>
                    <a:lnTo>
                      <a:pt x="254" y="118"/>
                    </a:lnTo>
                    <a:lnTo>
                      <a:pt x="258" y="126"/>
                    </a:lnTo>
                    <a:lnTo>
                      <a:pt x="260" y="130"/>
                    </a:lnTo>
                    <a:lnTo>
                      <a:pt x="258" y="136"/>
                    </a:lnTo>
                    <a:lnTo>
                      <a:pt x="268" y="144"/>
                    </a:lnTo>
                    <a:lnTo>
                      <a:pt x="280" y="148"/>
                    </a:lnTo>
                    <a:lnTo>
                      <a:pt x="280" y="156"/>
                    </a:lnTo>
                    <a:lnTo>
                      <a:pt x="324" y="158"/>
                    </a:lnTo>
                    <a:lnTo>
                      <a:pt x="332" y="164"/>
                    </a:lnTo>
                    <a:lnTo>
                      <a:pt x="332" y="198"/>
                    </a:lnTo>
                    <a:lnTo>
                      <a:pt x="282" y="242"/>
                    </a:lnTo>
                    <a:lnTo>
                      <a:pt x="234" y="254"/>
                    </a:lnTo>
                    <a:lnTo>
                      <a:pt x="190" y="298"/>
                    </a:lnTo>
                    <a:lnTo>
                      <a:pt x="188" y="276"/>
                    </a:lnTo>
                    <a:lnTo>
                      <a:pt x="168" y="270"/>
                    </a:lnTo>
                    <a:lnTo>
                      <a:pt x="164" y="268"/>
                    </a:lnTo>
                    <a:lnTo>
                      <a:pt x="162" y="270"/>
                    </a:lnTo>
                    <a:lnTo>
                      <a:pt x="156" y="268"/>
                    </a:lnTo>
                    <a:lnTo>
                      <a:pt x="152" y="264"/>
                    </a:lnTo>
                    <a:lnTo>
                      <a:pt x="150" y="266"/>
                    </a:lnTo>
                    <a:lnTo>
                      <a:pt x="148" y="270"/>
                    </a:lnTo>
                    <a:lnTo>
                      <a:pt x="146" y="276"/>
                    </a:lnTo>
                    <a:lnTo>
                      <a:pt x="144" y="280"/>
                    </a:lnTo>
                    <a:lnTo>
                      <a:pt x="142" y="274"/>
                    </a:lnTo>
                    <a:lnTo>
                      <a:pt x="134" y="264"/>
                    </a:lnTo>
                    <a:lnTo>
                      <a:pt x="124" y="254"/>
                    </a:lnTo>
                    <a:lnTo>
                      <a:pt x="118" y="248"/>
                    </a:lnTo>
                    <a:lnTo>
                      <a:pt x="116" y="240"/>
                    </a:lnTo>
                    <a:lnTo>
                      <a:pt x="108" y="228"/>
                    </a:lnTo>
                    <a:lnTo>
                      <a:pt x="102" y="220"/>
                    </a:lnTo>
                    <a:lnTo>
                      <a:pt x="98" y="214"/>
                    </a:lnTo>
                    <a:lnTo>
                      <a:pt x="90" y="210"/>
                    </a:lnTo>
                    <a:lnTo>
                      <a:pt x="82" y="200"/>
                    </a:lnTo>
                    <a:lnTo>
                      <a:pt x="84" y="200"/>
                    </a:lnTo>
                    <a:lnTo>
                      <a:pt x="82" y="200"/>
                    </a:lnTo>
                    <a:lnTo>
                      <a:pt x="76" y="200"/>
                    </a:lnTo>
                    <a:lnTo>
                      <a:pt x="76" y="162"/>
                    </a:lnTo>
                    <a:lnTo>
                      <a:pt x="68" y="152"/>
                    </a:lnTo>
                    <a:lnTo>
                      <a:pt x="58" y="142"/>
                    </a:lnTo>
                    <a:lnTo>
                      <a:pt x="48" y="134"/>
                    </a:lnTo>
                    <a:lnTo>
                      <a:pt x="42" y="124"/>
                    </a:lnTo>
                    <a:lnTo>
                      <a:pt x="24" y="92"/>
                    </a:lnTo>
                    <a:lnTo>
                      <a:pt x="16" y="76"/>
                    </a:lnTo>
                    <a:lnTo>
                      <a:pt x="10" y="72"/>
                    </a:lnTo>
                    <a:lnTo>
                      <a:pt x="4" y="66"/>
                    </a:lnTo>
                    <a:lnTo>
                      <a:pt x="0" y="54"/>
                    </a:lnTo>
                    <a:lnTo>
                      <a:pt x="16" y="56"/>
                    </a:lnTo>
                    <a:lnTo>
                      <a:pt x="20" y="52"/>
                    </a:lnTo>
                    <a:lnTo>
                      <a:pt x="24" y="46"/>
                    </a:lnTo>
                    <a:lnTo>
                      <a:pt x="30" y="42"/>
                    </a:lnTo>
                    <a:lnTo>
                      <a:pt x="34" y="42"/>
                    </a:lnTo>
                    <a:lnTo>
                      <a:pt x="38" y="36"/>
                    </a:lnTo>
                    <a:lnTo>
                      <a:pt x="44" y="36"/>
                    </a:lnTo>
                    <a:lnTo>
                      <a:pt x="32" y="10"/>
                    </a:lnTo>
                    <a:lnTo>
                      <a:pt x="62" y="0"/>
                    </a:lnTo>
                    <a:lnTo>
                      <a:pt x="118" y="24"/>
                    </a:lnTo>
                    <a:lnTo>
                      <a:pt x="122" y="26"/>
                    </a:lnTo>
                    <a:lnTo>
                      <a:pt x="124" y="30"/>
                    </a:lnTo>
                    <a:lnTo>
                      <a:pt x="128" y="32"/>
                    </a:lnTo>
                    <a:lnTo>
                      <a:pt x="134" y="34"/>
                    </a:lnTo>
                    <a:lnTo>
                      <a:pt x="134" y="44"/>
                    </a:lnTo>
                    <a:lnTo>
                      <a:pt x="152" y="54"/>
                    </a:lnTo>
                    <a:lnTo>
                      <a:pt x="180" y="54"/>
                    </a:lnTo>
                    <a:lnTo>
                      <a:pt x="196" y="58"/>
                    </a:lnTo>
                    <a:lnTo>
                      <a:pt x="200" y="60"/>
                    </a:lnTo>
                    <a:lnTo>
                      <a:pt x="204" y="64"/>
                    </a:lnTo>
                    <a:lnTo>
                      <a:pt x="222" y="64"/>
                    </a:lnTo>
                    <a:lnTo>
                      <a:pt x="222" y="6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4" name="Freeform 176"/>
              <p:cNvSpPr>
                <a:spLocks noChangeAspect="1"/>
              </p:cNvSpPr>
              <p:nvPr/>
            </p:nvSpPr>
            <p:spPr bwMode="auto">
              <a:xfrm>
                <a:off x="4296099" y="3858248"/>
                <a:ext cx="27023" cy="13120"/>
              </a:xfrm>
              <a:custGeom>
                <a:avLst/>
                <a:gdLst/>
                <a:ahLst/>
                <a:cxnLst>
                  <a:cxn ang="0">
                    <a:pos x="8" y="12"/>
                  </a:cxn>
                  <a:cxn ang="0">
                    <a:pos x="0" y="12"/>
                  </a:cxn>
                  <a:cxn ang="0">
                    <a:pos x="0" y="8"/>
                  </a:cxn>
                  <a:cxn ang="0">
                    <a:pos x="2" y="6"/>
                  </a:cxn>
                  <a:cxn ang="0">
                    <a:pos x="4" y="4"/>
                  </a:cxn>
                  <a:cxn ang="0">
                    <a:pos x="6" y="0"/>
                  </a:cxn>
                  <a:cxn ang="0">
                    <a:pos x="8" y="4"/>
                  </a:cxn>
                  <a:cxn ang="0">
                    <a:pos x="12" y="4"/>
                  </a:cxn>
                  <a:cxn ang="0">
                    <a:pos x="20" y="0"/>
                  </a:cxn>
                  <a:cxn ang="0">
                    <a:pos x="20" y="4"/>
                  </a:cxn>
                  <a:cxn ang="0">
                    <a:pos x="16" y="8"/>
                  </a:cxn>
                  <a:cxn ang="0">
                    <a:pos x="8" y="12"/>
                  </a:cxn>
                </a:cxnLst>
                <a:rect l="0" t="0" r="r" b="b"/>
                <a:pathLst>
                  <a:path w="20" h="12">
                    <a:moveTo>
                      <a:pt x="8" y="12"/>
                    </a:moveTo>
                    <a:lnTo>
                      <a:pt x="0" y="12"/>
                    </a:lnTo>
                    <a:lnTo>
                      <a:pt x="0" y="8"/>
                    </a:lnTo>
                    <a:lnTo>
                      <a:pt x="2" y="6"/>
                    </a:lnTo>
                    <a:lnTo>
                      <a:pt x="4" y="4"/>
                    </a:lnTo>
                    <a:lnTo>
                      <a:pt x="6" y="0"/>
                    </a:lnTo>
                    <a:lnTo>
                      <a:pt x="8" y="4"/>
                    </a:lnTo>
                    <a:lnTo>
                      <a:pt x="12" y="4"/>
                    </a:lnTo>
                    <a:lnTo>
                      <a:pt x="20" y="0"/>
                    </a:lnTo>
                    <a:lnTo>
                      <a:pt x="20" y="4"/>
                    </a:lnTo>
                    <a:lnTo>
                      <a:pt x="16" y="8"/>
                    </a:lnTo>
                    <a:lnTo>
                      <a:pt x="8"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5" name="Freeform 177"/>
              <p:cNvSpPr>
                <a:spLocks noChangeAspect="1"/>
              </p:cNvSpPr>
              <p:nvPr/>
            </p:nvSpPr>
            <p:spPr bwMode="auto">
              <a:xfrm>
                <a:off x="4140713" y="3723469"/>
                <a:ext cx="45940" cy="29819"/>
              </a:xfrm>
              <a:custGeom>
                <a:avLst/>
                <a:gdLst/>
                <a:ahLst/>
                <a:cxnLst>
                  <a:cxn ang="0">
                    <a:pos x="28" y="0"/>
                  </a:cxn>
                  <a:cxn ang="0">
                    <a:pos x="10" y="2"/>
                  </a:cxn>
                  <a:cxn ang="0">
                    <a:pos x="4" y="4"/>
                  </a:cxn>
                  <a:cxn ang="0">
                    <a:pos x="2" y="6"/>
                  </a:cxn>
                  <a:cxn ang="0">
                    <a:pos x="0" y="8"/>
                  </a:cxn>
                  <a:cxn ang="0">
                    <a:pos x="2" y="10"/>
                  </a:cxn>
                  <a:cxn ang="0">
                    <a:pos x="2" y="12"/>
                  </a:cxn>
                  <a:cxn ang="0">
                    <a:pos x="6" y="14"/>
                  </a:cxn>
                  <a:cxn ang="0">
                    <a:pos x="6" y="24"/>
                  </a:cxn>
                  <a:cxn ang="0">
                    <a:pos x="12" y="22"/>
                  </a:cxn>
                  <a:cxn ang="0">
                    <a:pos x="20" y="18"/>
                  </a:cxn>
                  <a:cxn ang="0">
                    <a:pos x="32" y="8"/>
                  </a:cxn>
                  <a:cxn ang="0">
                    <a:pos x="30" y="6"/>
                  </a:cxn>
                  <a:cxn ang="0">
                    <a:pos x="26" y="0"/>
                  </a:cxn>
                  <a:cxn ang="0">
                    <a:pos x="28" y="0"/>
                  </a:cxn>
                </a:cxnLst>
                <a:rect l="0" t="0" r="r" b="b"/>
                <a:pathLst>
                  <a:path w="32" h="24">
                    <a:moveTo>
                      <a:pt x="28" y="0"/>
                    </a:moveTo>
                    <a:lnTo>
                      <a:pt x="10" y="2"/>
                    </a:lnTo>
                    <a:lnTo>
                      <a:pt x="4" y="4"/>
                    </a:lnTo>
                    <a:lnTo>
                      <a:pt x="2" y="6"/>
                    </a:lnTo>
                    <a:lnTo>
                      <a:pt x="0" y="8"/>
                    </a:lnTo>
                    <a:lnTo>
                      <a:pt x="2" y="10"/>
                    </a:lnTo>
                    <a:lnTo>
                      <a:pt x="2" y="12"/>
                    </a:lnTo>
                    <a:lnTo>
                      <a:pt x="6" y="14"/>
                    </a:lnTo>
                    <a:lnTo>
                      <a:pt x="6" y="24"/>
                    </a:lnTo>
                    <a:lnTo>
                      <a:pt x="12" y="22"/>
                    </a:lnTo>
                    <a:lnTo>
                      <a:pt x="20" y="18"/>
                    </a:lnTo>
                    <a:lnTo>
                      <a:pt x="32" y="8"/>
                    </a:lnTo>
                    <a:lnTo>
                      <a:pt x="30" y="6"/>
                    </a:lnTo>
                    <a:lnTo>
                      <a:pt x="26" y="0"/>
                    </a:lnTo>
                    <a:lnTo>
                      <a:pt x="28"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6" name="Freeform 178"/>
              <p:cNvSpPr>
                <a:spLocks noChangeAspect="1"/>
              </p:cNvSpPr>
              <p:nvPr/>
            </p:nvSpPr>
            <p:spPr bwMode="auto">
              <a:xfrm>
                <a:off x="4335283" y="3917886"/>
                <a:ext cx="31077" cy="75143"/>
              </a:xfrm>
              <a:custGeom>
                <a:avLst/>
                <a:gdLst/>
                <a:ahLst/>
                <a:cxnLst>
                  <a:cxn ang="0">
                    <a:pos x="14" y="0"/>
                  </a:cxn>
                  <a:cxn ang="0">
                    <a:pos x="20" y="0"/>
                  </a:cxn>
                  <a:cxn ang="0">
                    <a:pos x="20" y="8"/>
                  </a:cxn>
                  <a:cxn ang="0">
                    <a:pos x="16" y="8"/>
                  </a:cxn>
                  <a:cxn ang="0">
                    <a:pos x="12" y="28"/>
                  </a:cxn>
                  <a:cxn ang="0">
                    <a:pos x="22" y="28"/>
                  </a:cxn>
                  <a:cxn ang="0">
                    <a:pos x="16" y="64"/>
                  </a:cxn>
                  <a:cxn ang="0">
                    <a:pos x="10" y="48"/>
                  </a:cxn>
                  <a:cxn ang="0">
                    <a:pos x="4" y="40"/>
                  </a:cxn>
                  <a:cxn ang="0">
                    <a:pos x="2" y="36"/>
                  </a:cxn>
                  <a:cxn ang="0">
                    <a:pos x="0" y="30"/>
                  </a:cxn>
                  <a:cxn ang="0">
                    <a:pos x="2" y="26"/>
                  </a:cxn>
                  <a:cxn ang="0">
                    <a:pos x="4" y="20"/>
                  </a:cxn>
                  <a:cxn ang="0">
                    <a:pos x="10" y="12"/>
                  </a:cxn>
                  <a:cxn ang="0">
                    <a:pos x="14" y="0"/>
                  </a:cxn>
                </a:cxnLst>
                <a:rect l="0" t="0" r="r" b="b"/>
                <a:pathLst>
                  <a:path w="22" h="64">
                    <a:moveTo>
                      <a:pt x="14" y="0"/>
                    </a:moveTo>
                    <a:lnTo>
                      <a:pt x="20" y="0"/>
                    </a:lnTo>
                    <a:lnTo>
                      <a:pt x="20" y="8"/>
                    </a:lnTo>
                    <a:lnTo>
                      <a:pt x="16" y="8"/>
                    </a:lnTo>
                    <a:lnTo>
                      <a:pt x="12" y="28"/>
                    </a:lnTo>
                    <a:lnTo>
                      <a:pt x="22" y="28"/>
                    </a:lnTo>
                    <a:lnTo>
                      <a:pt x="16" y="64"/>
                    </a:lnTo>
                    <a:lnTo>
                      <a:pt x="10" y="48"/>
                    </a:lnTo>
                    <a:lnTo>
                      <a:pt x="4" y="40"/>
                    </a:lnTo>
                    <a:lnTo>
                      <a:pt x="2" y="36"/>
                    </a:lnTo>
                    <a:lnTo>
                      <a:pt x="0" y="30"/>
                    </a:lnTo>
                    <a:lnTo>
                      <a:pt x="2" y="26"/>
                    </a:lnTo>
                    <a:lnTo>
                      <a:pt x="4" y="20"/>
                    </a:lnTo>
                    <a:lnTo>
                      <a:pt x="10" y="12"/>
                    </a:lnTo>
                    <a:lnTo>
                      <a:pt x="14"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7" name="Freeform 179"/>
              <p:cNvSpPr>
                <a:spLocks noChangeAspect="1"/>
              </p:cNvSpPr>
              <p:nvPr/>
            </p:nvSpPr>
            <p:spPr bwMode="auto">
              <a:xfrm>
                <a:off x="4363658" y="3826045"/>
                <a:ext cx="131063" cy="107347"/>
              </a:xfrm>
              <a:custGeom>
                <a:avLst/>
                <a:gdLst/>
                <a:ahLst/>
                <a:cxnLst>
                  <a:cxn ang="0">
                    <a:pos x="0" y="82"/>
                  </a:cxn>
                  <a:cxn ang="0">
                    <a:pos x="10" y="84"/>
                  </a:cxn>
                  <a:cxn ang="0">
                    <a:pos x="14" y="88"/>
                  </a:cxn>
                  <a:cxn ang="0">
                    <a:pos x="18" y="88"/>
                  </a:cxn>
                  <a:cxn ang="0">
                    <a:pos x="20" y="88"/>
                  </a:cxn>
                  <a:cxn ang="0">
                    <a:pos x="80" y="54"/>
                  </a:cxn>
                  <a:cxn ang="0">
                    <a:pos x="80" y="46"/>
                  </a:cxn>
                  <a:cxn ang="0">
                    <a:pos x="80" y="40"/>
                  </a:cxn>
                  <a:cxn ang="0">
                    <a:pos x="82" y="34"/>
                  </a:cxn>
                  <a:cxn ang="0">
                    <a:pos x="84" y="28"/>
                  </a:cxn>
                  <a:cxn ang="0">
                    <a:pos x="82" y="26"/>
                  </a:cxn>
                  <a:cxn ang="0">
                    <a:pos x="80" y="22"/>
                  </a:cxn>
                  <a:cxn ang="0">
                    <a:pos x="82" y="16"/>
                  </a:cxn>
                  <a:cxn ang="0">
                    <a:pos x="84" y="14"/>
                  </a:cxn>
                  <a:cxn ang="0">
                    <a:pos x="88" y="14"/>
                  </a:cxn>
                  <a:cxn ang="0">
                    <a:pos x="94" y="4"/>
                  </a:cxn>
                  <a:cxn ang="0">
                    <a:pos x="94" y="0"/>
                  </a:cxn>
                  <a:cxn ang="0">
                    <a:pos x="86" y="2"/>
                  </a:cxn>
                  <a:cxn ang="0">
                    <a:pos x="74" y="4"/>
                  </a:cxn>
                  <a:cxn ang="0">
                    <a:pos x="68" y="2"/>
                  </a:cxn>
                  <a:cxn ang="0">
                    <a:pos x="66" y="2"/>
                  </a:cxn>
                  <a:cxn ang="0">
                    <a:pos x="62" y="4"/>
                  </a:cxn>
                  <a:cxn ang="0">
                    <a:pos x="56" y="8"/>
                  </a:cxn>
                  <a:cxn ang="0">
                    <a:pos x="52" y="10"/>
                  </a:cxn>
                  <a:cxn ang="0">
                    <a:pos x="46" y="10"/>
                  </a:cxn>
                  <a:cxn ang="0">
                    <a:pos x="40" y="8"/>
                  </a:cxn>
                  <a:cxn ang="0">
                    <a:pos x="36" y="6"/>
                  </a:cxn>
                  <a:cxn ang="0">
                    <a:pos x="30" y="8"/>
                  </a:cxn>
                  <a:cxn ang="0">
                    <a:pos x="24" y="10"/>
                  </a:cxn>
                  <a:cxn ang="0">
                    <a:pos x="16" y="8"/>
                  </a:cxn>
                  <a:cxn ang="0">
                    <a:pos x="12" y="8"/>
                  </a:cxn>
                  <a:cxn ang="0">
                    <a:pos x="12" y="4"/>
                  </a:cxn>
                  <a:cxn ang="0">
                    <a:pos x="8" y="4"/>
                  </a:cxn>
                  <a:cxn ang="0">
                    <a:pos x="8" y="22"/>
                  </a:cxn>
                  <a:cxn ang="0">
                    <a:pos x="4" y="24"/>
                  </a:cxn>
                  <a:cxn ang="0">
                    <a:pos x="4" y="30"/>
                  </a:cxn>
                  <a:cxn ang="0">
                    <a:pos x="2" y="46"/>
                  </a:cxn>
                  <a:cxn ang="0">
                    <a:pos x="12" y="50"/>
                  </a:cxn>
                  <a:cxn ang="0">
                    <a:pos x="10" y="58"/>
                  </a:cxn>
                  <a:cxn ang="0">
                    <a:pos x="6" y="60"/>
                  </a:cxn>
                  <a:cxn ang="0">
                    <a:pos x="2" y="60"/>
                  </a:cxn>
                  <a:cxn ang="0">
                    <a:pos x="4" y="64"/>
                  </a:cxn>
                  <a:cxn ang="0">
                    <a:pos x="6" y="66"/>
                  </a:cxn>
                  <a:cxn ang="0">
                    <a:pos x="4" y="72"/>
                  </a:cxn>
                  <a:cxn ang="0">
                    <a:pos x="0" y="76"/>
                  </a:cxn>
                  <a:cxn ang="0">
                    <a:pos x="0" y="82"/>
                  </a:cxn>
                </a:cxnLst>
                <a:rect l="0" t="0" r="r" b="b"/>
                <a:pathLst>
                  <a:path w="94" h="88">
                    <a:moveTo>
                      <a:pt x="0" y="82"/>
                    </a:moveTo>
                    <a:lnTo>
                      <a:pt x="10" y="84"/>
                    </a:lnTo>
                    <a:lnTo>
                      <a:pt x="14" y="88"/>
                    </a:lnTo>
                    <a:lnTo>
                      <a:pt x="18" y="88"/>
                    </a:lnTo>
                    <a:lnTo>
                      <a:pt x="20" y="88"/>
                    </a:lnTo>
                    <a:lnTo>
                      <a:pt x="80" y="54"/>
                    </a:lnTo>
                    <a:lnTo>
                      <a:pt x="80" y="46"/>
                    </a:lnTo>
                    <a:lnTo>
                      <a:pt x="80" y="40"/>
                    </a:lnTo>
                    <a:lnTo>
                      <a:pt x="82" y="34"/>
                    </a:lnTo>
                    <a:lnTo>
                      <a:pt x="84" y="28"/>
                    </a:lnTo>
                    <a:lnTo>
                      <a:pt x="82" y="26"/>
                    </a:lnTo>
                    <a:lnTo>
                      <a:pt x="80" y="22"/>
                    </a:lnTo>
                    <a:lnTo>
                      <a:pt x="82" y="16"/>
                    </a:lnTo>
                    <a:lnTo>
                      <a:pt x="84" y="14"/>
                    </a:lnTo>
                    <a:lnTo>
                      <a:pt x="88" y="14"/>
                    </a:lnTo>
                    <a:lnTo>
                      <a:pt x="94" y="4"/>
                    </a:lnTo>
                    <a:lnTo>
                      <a:pt x="94" y="0"/>
                    </a:lnTo>
                    <a:lnTo>
                      <a:pt x="86" y="2"/>
                    </a:lnTo>
                    <a:lnTo>
                      <a:pt x="74" y="4"/>
                    </a:lnTo>
                    <a:lnTo>
                      <a:pt x="68" y="2"/>
                    </a:lnTo>
                    <a:lnTo>
                      <a:pt x="66" y="2"/>
                    </a:lnTo>
                    <a:lnTo>
                      <a:pt x="62" y="4"/>
                    </a:lnTo>
                    <a:lnTo>
                      <a:pt x="56" y="8"/>
                    </a:lnTo>
                    <a:lnTo>
                      <a:pt x="52" y="10"/>
                    </a:lnTo>
                    <a:lnTo>
                      <a:pt x="46" y="10"/>
                    </a:lnTo>
                    <a:lnTo>
                      <a:pt x="40" y="8"/>
                    </a:lnTo>
                    <a:lnTo>
                      <a:pt x="36" y="6"/>
                    </a:lnTo>
                    <a:lnTo>
                      <a:pt x="30" y="8"/>
                    </a:lnTo>
                    <a:lnTo>
                      <a:pt x="24" y="10"/>
                    </a:lnTo>
                    <a:lnTo>
                      <a:pt x="16" y="8"/>
                    </a:lnTo>
                    <a:lnTo>
                      <a:pt x="12" y="8"/>
                    </a:lnTo>
                    <a:lnTo>
                      <a:pt x="12" y="4"/>
                    </a:lnTo>
                    <a:lnTo>
                      <a:pt x="8" y="4"/>
                    </a:lnTo>
                    <a:lnTo>
                      <a:pt x="8" y="22"/>
                    </a:lnTo>
                    <a:lnTo>
                      <a:pt x="4" y="24"/>
                    </a:lnTo>
                    <a:lnTo>
                      <a:pt x="4" y="30"/>
                    </a:lnTo>
                    <a:lnTo>
                      <a:pt x="2" y="46"/>
                    </a:lnTo>
                    <a:lnTo>
                      <a:pt x="12" y="50"/>
                    </a:lnTo>
                    <a:lnTo>
                      <a:pt x="10" y="58"/>
                    </a:lnTo>
                    <a:lnTo>
                      <a:pt x="6" y="60"/>
                    </a:lnTo>
                    <a:lnTo>
                      <a:pt x="2" y="60"/>
                    </a:lnTo>
                    <a:lnTo>
                      <a:pt x="4" y="64"/>
                    </a:lnTo>
                    <a:lnTo>
                      <a:pt x="6" y="66"/>
                    </a:lnTo>
                    <a:lnTo>
                      <a:pt x="4" y="72"/>
                    </a:lnTo>
                    <a:lnTo>
                      <a:pt x="0" y="76"/>
                    </a:lnTo>
                    <a:lnTo>
                      <a:pt x="0" y="8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8" name="Freeform 180"/>
              <p:cNvSpPr>
                <a:spLocks noChangeAspect="1"/>
              </p:cNvSpPr>
              <p:nvPr/>
            </p:nvSpPr>
            <p:spPr bwMode="auto">
              <a:xfrm>
                <a:off x="4433918" y="3826045"/>
                <a:ext cx="216188" cy="177719"/>
              </a:xfrm>
              <a:custGeom>
                <a:avLst/>
                <a:gdLst/>
                <a:ahLst/>
                <a:cxnLst>
                  <a:cxn ang="0">
                    <a:pos x="48" y="2"/>
                  </a:cxn>
                  <a:cxn ang="0">
                    <a:pos x="62" y="2"/>
                  </a:cxn>
                  <a:cxn ang="0">
                    <a:pos x="66" y="0"/>
                  </a:cxn>
                  <a:cxn ang="0">
                    <a:pos x="70" y="2"/>
                  </a:cxn>
                  <a:cxn ang="0">
                    <a:pos x="76" y="2"/>
                  </a:cxn>
                  <a:cxn ang="0">
                    <a:pos x="80" y="12"/>
                  </a:cxn>
                  <a:cxn ang="0">
                    <a:pos x="88" y="20"/>
                  </a:cxn>
                  <a:cxn ang="0">
                    <a:pos x="98" y="24"/>
                  </a:cxn>
                  <a:cxn ang="0">
                    <a:pos x="108" y="28"/>
                  </a:cxn>
                  <a:cxn ang="0">
                    <a:pos x="102" y="40"/>
                  </a:cxn>
                  <a:cxn ang="0">
                    <a:pos x="100" y="48"/>
                  </a:cxn>
                  <a:cxn ang="0">
                    <a:pos x="98" y="56"/>
                  </a:cxn>
                  <a:cxn ang="0">
                    <a:pos x="100" y="62"/>
                  </a:cxn>
                  <a:cxn ang="0">
                    <a:pos x="102" y="68"/>
                  </a:cxn>
                  <a:cxn ang="0">
                    <a:pos x="108" y="74"/>
                  </a:cxn>
                  <a:cxn ang="0">
                    <a:pos x="112" y="78"/>
                  </a:cxn>
                  <a:cxn ang="0">
                    <a:pos x="124" y="86"/>
                  </a:cxn>
                  <a:cxn ang="0">
                    <a:pos x="132" y="92"/>
                  </a:cxn>
                  <a:cxn ang="0">
                    <a:pos x="136" y="96"/>
                  </a:cxn>
                  <a:cxn ang="0">
                    <a:pos x="136" y="102"/>
                  </a:cxn>
                  <a:cxn ang="0">
                    <a:pos x="138" y="112"/>
                  </a:cxn>
                  <a:cxn ang="0">
                    <a:pos x="142" y="116"/>
                  </a:cxn>
                  <a:cxn ang="0">
                    <a:pos x="148" y="122"/>
                  </a:cxn>
                  <a:cxn ang="0">
                    <a:pos x="152" y="126"/>
                  </a:cxn>
                  <a:cxn ang="0">
                    <a:pos x="154" y="132"/>
                  </a:cxn>
                  <a:cxn ang="0">
                    <a:pos x="152" y="134"/>
                  </a:cxn>
                  <a:cxn ang="0">
                    <a:pos x="148" y="132"/>
                  </a:cxn>
                  <a:cxn ang="0">
                    <a:pos x="142" y="132"/>
                  </a:cxn>
                  <a:cxn ang="0">
                    <a:pos x="138" y="132"/>
                  </a:cxn>
                  <a:cxn ang="0">
                    <a:pos x="134" y="136"/>
                  </a:cxn>
                  <a:cxn ang="0">
                    <a:pos x="130" y="142"/>
                  </a:cxn>
                  <a:cxn ang="0">
                    <a:pos x="126" y="150"/>
                  </a:cxn>
                  <a:cxn ang="0">
                    <a:pos x="98" y="150"/>
                  </a:cxn>
                  <a:cxn ang="0">
                    <a:pos x="80" y="140"/>
                  </a:cxn>
                  <a:cxn ang="0">
                    <a:pos x="80" y="130"/>
                  </a:cxn>
                  <a:cxn ang="0">
                    <a:pos x="74" y="128"/>
                  </a:cxn>
                  <a:cxn ang="0">
                    <a:pos x="70" y="126"/>
                  </a:cxn>
                  <a:cxn ang="0">
                    <a:pos x="68" y="122"/>
                  </a:cxn>
                  <a:cxn ang="0">
                    <a:pos x="64" y="120"/>
                  </a:cxn>
                  <a:cxn ang="0">
                    <a:pos x="8" y="96"/>
                  </a:cxn>
                  <a:cxn ang="0">
                    <a:pos x="0" y="74"/>
                  </a:cxn>
                  <a:cxn ang="0">
                    <a:pos x="30" y="56"/>
                  </a:cxn>
                  <a:cxn ang="0">
                    <a:pos x="30" y="48"/>
                  </a:cxn>
                  <a:cxn ang="0">
                    <a:pos x="30" y="42"/>
                  </a:cxn>
                  <a:cxn ang="0">
                    <a:pos x="32" y="36"/>
                  </a:cxn>
                  <a:cxn ang="0">
                    <a:pos x="34" y="30"/>
                  </a:cxn>
                  <a:cxn ang="0">
                    <a:pos x="32" y="28"/>
                  </a:cxn>
                  <a:cxn ang="0">
                    <a:pos x="30" y="24"/>
                  </a:cxn>
                  <a:cxn ang="0">
                    <a:pos x="32" y="18"/>
                  </a:cxn>
                  <a:cxn ang="0">
                    <a:pos x="34" y="16"/>
                  </a:cxn>
                  <a:cxn ang="0">
                    <a:pos x="38" y="16"/>
                  </a:cxn>
                  <a:cxn ang="0">
                    <a:pos x="44" y="6"/>
                  </a:cxn>
                  <a:cxn ang="0">
                    <a:pos x="44" y="2"/>
                  </a:cxn>
                  <a:cxn ang="0">
                    <a:pos x="48" y="2"/>
                  </a:cxn>
                </a:cxnLst>
                <a:rect l="0" t="0" r="r" b="b"/>
                <a:pathLst>
                  <a:path w="154" h="150">
                    <a:moveTo>
                      <a:pt x="48" y="2"/>
                    </a:moveTo>
                    <a:lnTo>
                      <a:pt x="62" y="2"/>
                    </a:lnTo>
                    <a:lnTo>
                      <a:pt x="66" y="0"/>
                    </a:lnTo>
                    <a:lnTo>
                      <a:pt x="70" y="2"/>
                    </a:lnTo>
                    <a:lnTo>
                      <a:pt x="76" y="2"/>
                    </a:lnTo>
                    <a:lnTo>
                      <a:pt x="80" y="12"/>
                    </a:lnTo>
                    <a:lnTo>
                      <a:pt x="88" y="20"/>
                    </a:lnTo>
                    <a:lnTo>
                      <a:pt x="98" y="24"/>
                    </a:lnTo>
                    <a:lnTo>
                      <a:pt x="108" y="28"/>
                    </a:lnTo>
                    <a:lnTo>
                      <a:pt x="102" y="40"/>
                    </a:lnTo>
                    <a:lnTo>
                      <a:pt x="100" y="48"/>
                    </a:lnTo>
                    <a:lnTo>
                      <a:pt x="98" y="56"/>
                    </a:lnTo>
                    <a:lnTo>
                      <a:pt x="100" y="62"/>
                    </a:lnTo>
                    <a:lnTo>
                      <a:pt x="102" y="68"/>
                    </a:lnTo>
                    <a:lnTo>
                      <a:pt x="108" y="74"/>
                    </a:lnTo>
                    <a:lnTo>
                      <a:pt x="112" y="78"/>
                    </a:lnTo>
                    <a:lnTo>
                      <a:pt x="124" y="86"/>
                    </a:lnTo>
                    <a:lnTo>
                      <a:pt x="132" y="92"/>
                    </a:lnTo>
                    <a:lnTo>
                      <a:pt x="136" y="96"/>
                    </a:lnTo>
                    <a:lnTo>
                      <a:pt x="136" y="102"/>
                    </a:lnTo>
                    <a:lnTo>
                      <a:pt x="138" y="112"/>
                    </a:lnTo>
                    <a:lnTo>
                      <a:pt x="142" y="116"/>
                    </a:lnTo>
                    <a:lnTo>
                      <a:pt x="148" y="122"/>
                    </a:lnTo>
                    <a:lnTo>
                      <a:pt x="152" y="126"/>
                    </a:lnTo>
                    <a:lnTo>
                      <a:pt x="154" y="132"/>
                    </a:lnTo>
                    <a:lnTo>
                      <a:pt x="152" y="134"/>
                    </a:lnTo>
                    <a:lnTo>
                      <a:pt x="148" y="132"/>
                    </a:lnTo>
                    <a:lnTo>
                      <a:pt x="142" y="132"/>
                    </a:lnTo>
                    <a:lnTo>
                      <a:pt x="138" y="132"/>
                    </a:lnTo>
                    <a:lnTo>
                      <a:pt x="134" y="136"/>
                    </a:lnTo>
                    <a:lnTo>
                      <a:pt x="130" y="142"/>
                    </a:lnTo>
                    <a:lnTo>
                      <a:pt x="126" y="150"/>
                    </a:lnTo>
                    <a:lnTo>
                      <a:pt x="98" y="150"/>
                    </a:lnTo>
                    <a:lnTo>
                      <a:pt x="80" y="140"/>
                    </a:lnTo>
                    <a:lnTo>
                      <a:pt x="80" y="130"/>
                    </a:lnTo>
                    <a:lnTo>
                      <a:pt x="74" y="128"/>
                    </a:lnTo>
                    <a:lnTo>
                      <a:pt x="70" y="126"/>
                    </a:lnTo>
                    <a:lnTo>
                      <a:pt x="68" y="122"/>
                    </a:lnTo>
                    <a:lnTo>
                      <a:pt x="64" y="120"/>
                    </a:lnTo>
                    <a:lnTo>
                      <a:pt x="8" y="96"/>
                    </a:lnTo>
                    <a:lnTo>
                      <a:pt x="0" y="74"/>
                    </a:lnTo>
                    <a:lnTo>
                      <a:pt x="30" y="56"/>
                    </a:lnTo>
                    <a:lnTo>
                      <a:pt x="30" y="48"/>
                    </a:lnTo>
                    <a:lnTo>
                      <a:pt x="30" y="42"/>
                    </a:lnTo>
                    <a:lnTo>
                      <a:pt x="32" y="36"/>
                    </a:lnTo>
                    <a:lnTo>
                      <a:pt x="34" y="30"/>
                    </a:lnTo>
                    <a:lnTo>
                      <a:pt x="32" y="28"/>
                    </a:lnTo>
                    <a:lnTo>
                      <a:pt x="30" y="24"/>
                    </a:lnTo>
                    <a:lnTo>
                      <a:pt x="32" y="18"/>
                    </a:lnTo>
                    <a:lnTo>
                      <a:pt x="34" y="16"/>
                    </a:lnTo>
                    <a:lnTo>
                      <a:pt x="38" y="16"/>
                    </a:lnTo>
                    <a:lnTo>
                      <a:pt x="44" y="6"/>
                    </a:lnTo>
                    <a:lnTo>
                      <a:pt x="44" y="2"/>
                    </a:lnTo>
                    <a:lnTo>
                      <a:pt x="48"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69" name="Freeform 181"/>
              <p:cNvSpPr>
                <a:spLocks noChangeAspect="1"/>
              </p:cNvSpPr>
              <p:nvPr/>
            </p:nvSpPr>
            <p:spPr bwMode="auto">
              <a:xfrm>
                <a:off x="4140714" y="3718697"/>
                <a:ext cx="390489" cy="137166"/>
              </a:xfrm>
              <a:custGeom>
                <a:avLst/>
                <a:gdLst/>
                <a:ahLst/>
                <a:cxnLst>
                  <a:cxn ang="0">
                    <a:pos x="166" y="96"/>
                  </a:cxn>
                  <a:cxn ang="0">
                    <a:pos x="170" y="100"/>
                  </a:cxn>
                  <a:cxn ang="0">
                    <a:pos x="182" y="102"/>
                  </a:cxn>
                  <a:cxn ang="0">
                    <a:pos x="194" y="98"/>
                  </a:cxn>
                  <a:cxn ang="0">
                    <a:pos x="204" y="102"/>
                  </a:cxn>
                  <a:cxn ang="0">
                    <a:pos x="214" y="100"/>
                  </a:cxn>
                  <a:cxn ang="0">
                    <a:pos x="224" y="94"/>
                  </a:cxn>
                  <a:cxn ang="0">
                    <a:pos x="232" y="96"/>
                  </a:cxn>
                  <a:cxn ang="0">
                    <a:pos x="252" y="92"/>
                  </a:cxn>
                  <a:cxn ang="0">
                    <a:pos x="270" y="92"/>
                  </a:cxn>
                  <a:cxn ang="0">
                    <a:pos x="278" y="90"/>
                  </a:cxn>
                  <a:cxn ang="0">
                    <a:pos x="274" y="70"/>
                  </a:cxn>
                  <a:cxn ang="0">
                    <a:pos x="270" y="52"/>
                  </a:cxn>
                  <a:cxn ang="0">
                    <a:pos x="274" y="44"/>
                  </a:cxn>
                  <a:cxn ang="0">
                    <a:pos x="268" y="36"/>
                  </a:cxn>
                  <a:cxn ang="0">
                    <a:pos x="260" y="32"/>
                  </a:cxn>
                  <a:cxn ang="0">
                    <a:pos x="258" y="20"/>
                  </a:cxn>
                  <a:cxn ang="0">
                    <a:pos x="252" y="10"/>
                  </a:cxn>
                  <a:cxn ang="0">
                    <a:pos x="226" y="10"/>
                  </a:cxn>
                  <a:cxn ang="0">
                    <a:pos x="194" y="16"/>
                  </a:cxn>
                  <a:cxn ang="0">
                    <a:pos x="170" y="18"/>
                  </a:cxn>
                  <a:cxn ang="0">
                    <a:pos x="148" y="10"/>
                  </a:cxn>
                  <a:cxn ang="0">
                    <a:pos x="124" y="0"/>
                  </a:cxn>
                  <a:cxn ang="0">
                    <a:pos x="102" y="2"/>
                  </a:cxn>
                  <a:cxn ang="0">
                    <a:pos x="84" y="12"/>
                  </a:cxn>
                  <a:cxn ang="0">
                    <a:pos x="64" y="14"/>
                  </a:cxn>
                  <a:cxn ang="0">
                    <a:pos x="60" y="12"/>
                  </a:cxn>
                  <a:cxn ang="0">
                    <a:pos x="46" y="12"/>
                  </a:cxn>
                  <a:cxn ang="0">
                    <a:pos x="34" y="14"/>
                  </a:cxn>
                  <a:cxn ang="0">
                    <a:pos x="44" y="24"/>
                  </a:cxn>
                  <a:cxn ang="0">
                    <a:pos x="12" y="28"/>
                  </a:cxn>
                  <a:cxn ang="0">
                    <a:pos x="0" y="40"/>
                  </a:cxn>
                  <a:cxn ang="0">
                    <a:pos x="4" y="42"/>
                  </a:cxn>
                  <a:cxn ang="0">
                    <a:pos x="8" y="46"/>
                  </a:cxn>
                  <a:cxn ang="0">
                    <a:pos x="14" y="54"/>
                  </a:cxn>
                  <a:cxn ang="0">
                    <a:pos x="10" y="60"/>
                  </a:cxn>
                  <a:cxn ang="0">
                    <a:pos x="18" y="66"/>
                  </a:cxn>
                  <a:cxn ang="0">
                    <a:pos x="22" y="76"/>
                  </a:cxn>
                  <a:cxn ang="0">
                    <a:pos x="30" y="86"/>
                  </a:cxn>
                  <a:cxn ang="0">
                    <a:pos x="46" y="96"/>
                  </a:cxn>
                  <a:cxn ang="0">
                    <a:pos x="76" y="104"/>
                  </a:cxn>
                  <a:cxn ang="0">
                    <a:pos x="78" y="96"/>
                  </a:cxn>
                  <a:cxn ang="0">
                    <a:pos x="74" y="94"/>
                  </a:cxn>
                  <a:cxn ang="0">
                    <a:pos x="82" y="92"/>
                  </a:cxn>
                  <a:cxn ang="0">
                    <a:pos x="90" y="94"/>
                  </a:cxn>
                  <a:cxn ang="0">
                    <a:pos x="104" y="106"/>
                  </a:cxn>
                  <a:cxn ang="0">
                    <a:pos x="114" y="108"/>
                  </a:cxn>
                  <a:cxn ang="0">
                    <a:pos x="120" y="106"/>
                  </a:cxn>
                  <a:cxn ang="0">
                    <a:pos x="132" y="94"/>
                  </a:cxn>
                  <a:cxn ang="0">
                    <a:pos x="138" y="92"/>
                  </a:cxn>
                  <a:cxn ang="0">
                    <a:pos x="142" y="94"/>
                  </a:cxn>
                  <a:cxn ang="0">
                    <a:pos x="148" y="96"/>
                  </a:cxn>
                  <a:cxn ang="0">
                    <a:pos x="154" y="94"/>
                  </a:cxn>
                  <a:cxn ang="0">
                    <a:pos x="162" y="96"/>
                  </a:cxn>
                  <a:cxn ang="0">
                    <a:pos x="156" y="98"/>
                  </a:cxn>
                  <a:cxn ang="0">
                    <a:pos x="162" y="116"/>
                  </a:cxn>
                </a:cxnLst>
                <a:rect l="0" t="0" r="r" b="b"/>
                <a:pathLst>
                  <a:path w="278" h="116">
                    <a:moveTo>
                      <a:pt x="166" y="114"/>
                    </a:moveTo>
                    <a:lnTo>
                      <a:pt x="166" y="96"/>
                    </a:lnTo>
                    <a:lnTo>
                      <a:pt x="170" y="96"/>
                    </a:lnTo>
                    <a:lnTo>
                      <a:pt x="170" y="100"/>
                    </a:lnTo>
                    <a:lnTo>
                      <a:pt x="174" y="100"/>
                    </a:lnTo>
                    <a:lnTo>
                      <a:pt x="182" y="102"/>
                    </a:lnTo>
                    <a:lnTo>
                      <a:pt x="188" y="100"/>
                    </a:lnTo>
                    <a:lnTo>
                      <a:pt x="194" y="98"/>
                    </a:lnTo>
                    <a:lnTo>
                      <a:pt x="198" y="100"/>
                    </a:lnTo>
                    <a:lnTo>
                      <a:pt x="204" y="102"/>
                    </a:lnTo>
                    <a:lnTo>
                      <a:pt x="210" y="102"/>
                    </a:lnTo>
                    <a:lnTo>
                      <a:pt x="214" y="100"/>
                    </a:lnTo>
                    <a:lnTo>
                      <a:pt x="220" y="96"/>
                    </a:lnTo>
                    <a:lnTo>
                      <a:pt x="224" y="94"/>
                    </a:lnTo>
                    <a:lnTo>
                      <a:pt x="226" y="94"/>
                    </a:lnTo>
                    <a:lnTo>
                      <a:pt x="232" y="96"/>
                    </a:lnTo>
                    <a:lnTo>
                      <a:pt x="244" y="94"/>
                    </a:lnTo>
                    <a:lnTo>
                      <a:pt x="252" y="92"/>
                    </a:lnTo>
                    <a:lnTo>
                      <a:pt x="256" y="92"/>
                    </a:lnTo>
                    <a:lnTo>
                      <a:pt x="270" y="92"/>
                    </a:lnTo>
                    <a:lnTo>
                      <a:pt x="274" y="90"/>
                    </a:lnTo>
                    <a:lnTo>
                      <a:pt x="278" y="90"/>
                    </a:lnTo>
                    <a:lnTo>
                      <a:pt x="276" y="80"/>
                    </a:lnTo>
                    <a:lnTo>
                      <a:pt x="274" y="70"/>
                    </a:lnTo>
                    <a:lnTo>
                      <a:pt x="272" y="62"/>
                    </a:lnTo>
                    <a:lnTo>
                      <a:pt x="270" y="52"/>
                    </a:lnTo>
                    <a:lnTo>
                      <a:pt x="272" y="52"/>
                    </a:lnTo>
                    <a:lnTo>
                      <a:pt x="274" y="44"/>
                    </a:lnTo>
                    <a:lnTo>
                      <a:pt x="274" y="40"/>
                    </a:lnTo>
                    <a:lnTo>
                      <a:pt x="268" y="36"/>
                    </a:lnTo>
                    <a:lnTo>
                      <a:pt x="260" y="36"/>
                    </a:lnTo>
                    <a:lnTo>
                      <a:pt x="260" y="32"/>
                    </a:lnTo>
                    <a:lnTo>
                      <a:pt x="260" y="28"/>
                    </a:lnTo>
                    <a:lnTo>
                      <a:pt x="258" y="20"/>
                    </a:lnTo>
                    <a:lnTo>
                      <a:pt x="256" y="14"/>
                    </a:lnTo>
                    <a:lnTo>
                      <a:pt x="252" y="10"/>
                    </a:lnTo>
                    <a:lnTo>
                      <a:pt x="242" y="8"/>
                    </a:lnTo>
                    <a:lnTo>
                      <a:pt x="226" y="10"/>
                    </a:lnTo>
                    <a:lnTo>
                      <a:pt x="210" y="12"/>
                    </a:lnTo>
                    <a:lnTo>
                      <a:pt x="194" y="16"/>
                    </a:lnTo>
                    <a:lnTo>
                      <a:pt x="176" y="18"/>
                    </a:lnTo>
                    <a:lnTo>
                      <a:pt x="170" y="18"/>
                    </a:lnTo>
                    <a:lnTo>
                      <a:pt x="162" y="14"/>
                    </a:lnTo>
                    <a:lnTo>
                      <a:pt x="148" y="10"/>
                    </a:lnTo>
                    <a:lnTo>
                      <a:pt x="134" y="2"/>
                    </a:lnTo>
                    <a:lnTo>
                      <a:pt x="124" y="0"/>
                    </a:lnTo>
                    <a:lnTo>
                      <a:pt x="114" y="0"/>
                    </a:lnTo>
                    <a:lnTo>
                      <a:pt x="102" y="2"/>
                    </a:lnTo>
                    <a:lnTo>
                      <a:pt x="92" y="6"/>
                    </a:lnTo>
                    <a:lnTo>
                      <a:pt x="84" y="12"/>
                    </a:lnTo>
                    <a:lnTo>
                      <a:pt x="76" y="14"/>
                    </a:lnTo>
                    <a:lnTo>
                      <a:pt x="64" y="14"/>
                    </a:lnTo>
                    <a:lnTo>
                      <a:pt x="60" y="14"/>
                    </a:lnTo>
                    <a:lnTo>
                      <a:pt x="60" y="12"/>
                    </a:lnTo>
                    <a:lnTo>
                      <a:pt x="52" y="12"/>
                    </a:lnTo>
                    <a:lnTo>
                      <a:pt x="46" y="12"/>
                    </a:lnTo>
                    <a:lnTo>
                      <a:pt x="34" y="12"/>
                    </a:lnTo>
                    <a:lnTo>
                      <a:pt x="34" y="14"/>
                    </a:lnTo>
                    <a:lnTo>
                      <a:pt x="38" y="18"/>
                    </a:lnTo>
                    <a:lnTo>
                      <a:pt x="44" y="24"/>
                    </a:lnTo>
                    <a:lnTo>
                      <a:pt x="32" y="26"/>
                    </a:lnTo>
                    <a:lnTo>
                      <a:pt x="12" y="28"/>
                    </a:lnTo>
                    <a:lnTo>
                      <a:pt x="6" y="34"/>
                    </a:lnTo>
                    <a:lnTo>
                      <a:pt x="0" y="40"/>
                    </a:lnTo>
                    <a:lnTo>
                      <a:pt x="2" y="40"/>
                    </a:lnTo>
                    <a:lnTo>
                      <a:pt x="4" y="42"/>
                    </a:lnTo>
                    <a:lnTo>
                      <a:pt x="8" y="44"/>
                    </a:lnTo>
                    <a:lnTo>
                      <a:pt x="8" y="46"/>
                    </a:lnTo>
                    <a:lnTo>
                      <a:pt x="10" y="50"/>
                    </a:lnTo>
                    <a:lnTo>
                      <a:pt x="14" y="54"/>
                    </a:lnTo>
                    <a:lnTo>
                      <a:pt x="12" y="58"/>
                    </a:lnTo>
                    <a:lnTo>
                      <a:pt x="10" y="60"/>
                    </a:lnTo>
                    <a:lnTo>
                      <a:pt x="10" y="66"/>
                    </a:lnTo>
                    <a:lnTo>
                      <a:pt x="18" y="66"/>
                    </a:lnTo>
                    <a:lnTo>
                      <a:pt x="18" y="70"/>
                    </a:lnTo>
                    <a:lnTo>
                      <a:pt x="22" y="76"/>
                    </a:lnTo>
                    <a:lnTo>
                      <a:pt x="30" y="84"/>
                    </a:lnTo>
                    <a:lnTo>
                      <a:pt x="30" y="86"/>
                    </a:lnTo>
                    <a:lnTo>
                      <a:pt x="32" y="90"/>
                    </a:lnTo>
                    <a:lnTo>
                      <a:pt x="46" y="96"/>
                    </a:lnTo>
                    <a:lnTo>
                      <a:pt x="60" y="100"/>
                    </a:lnTo>
                    <a:lnTo>
                      <a:pt x="76" y="104"/>
                    </a:lnTo>
                    <a:lnTo>
                      <a:pt x="78" y="100"/>
                    </a:lnTo>
                    <a:lnTo>
                      <a:pt x="78" y="96"/>
                    </a:lnTo>
                    <a:lnTo>
                      <a:pt x="76" y="94"/>
                    </a:lnTo>
                    <a:lnTo>
                      <a:pt x="74" y="94"/>
                    </a:lnTo>
                    <a:lnTo>
                      <a:pt x="78" y="94"/>
                    </a:lnTo>
                    <a:lnTo>
                      <a:pt x="82" y="92"/>
                    </a:lnTo>
                    <a:lnTo>
                      <a:pt x="88" y="92"/>
                    </a:lnTo>
                    <a:lnTo>
                      <a:pt x="90" y="94"/>
                    </a:lnTo>
                    <a:lnTo>
                      <a:pt x="98" y="98"/>
                    </a:lnTo>
                    <a:lnTo>
                      <a:pt x="104" y="106"/>
                    </a:lnTo>
                    <a:lnTo>
                      <a:pt x="108" y="108"/>
                    </a:lnTo>
                    <a:lnTo>
                      <a:pt x="114" y="108"/>
                    </a:lnTo>
                    <a:lnTo>
                      <a:pt x="116" y="108"/>
                    </a:lnTo>
                    <a:lnTo>
                      <a:pt x="120" y="106"/>
                    </a:lnTo>
                    <a:lnTo>
                      <a:pt x="126" y="98"/>
                    </a:lnTo>
                    <a:lnTo>
                      <a:pt x="132" y="94"/>
                    </a:lnTo>
                    <a:lnTo>
                      <a:pt x="134" y="92"/>
                    </a:lnTo>
                    <a:lnTo>
                      <a:pt x="138" y="92"/>
                    </a:lnTo>
                    <a:lnTo>
                      <a:pt x="142" y="92"/>
                    </a:lnTo>
                    <a:lnTo>
                      <a:pt x="142" y="94"/>
                    </a:lnTo>
                    <a:lnTo>
                      <a:pt x="146" y="94"/>
                    </a:lnTo>
                    <a:lnTo>
                      <a:pt x="148" y="96"/>
                    </a:lnTo>
                    <a:lnTo>
                      <a:pt x="152" y="94"/>
                    </a:lnTo>
                    <a:lnTo>
                      <a:pt x="154" y="94"/>
                    </a:lnTo>
                    <a:lnTo>
                      <a:pt x="164" y="94"/>
                    </a:lnTo>
                    <a:lnTo>
                      <a:pt x="162" y="96"/>
                    </a:lnTo>
                    <a:lnTo>
                      <a:pt x="160" y="98"/>
                    </a:lnTo>
                    <a:lnTo>
                      <a:pt x="156" y="98"/>
                    </a:lnTo>
                    <a:lnTo>
                      <a:pt x="158" y="108"/>
                    </a:lnTo>
                    <a:lnTo>
                      <a:pt x="162" y="116"/>
                    </a:lnTo>
                    <a:lnTo>
                      <a:pt x="166" y="11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0" name="Freeform 182"/>
              <p:cNvSpPr>
                <a:spLocks noChangeAspect="1"/>
              </p:cNvSpPr>
              <p:nvPr/>
            </p:nvSpPr>
            <p:spPr bwMode="auto">
              <a:xfrm>
                <a:off x="4713611" y="4065786"/>
                <a:ext cx="21619" cy="26240"/>
              </a:xfrm>
              <a:custGeom>
                <a:avLst/>
                <a:gdLst/>
                <a:ahLst/>
                <a:cxnLst>
                  <a:cxn ang="0">
                    <a:pos x="0" y="12"/>
                  </a:cxn>
                  <a:cxn ang="0">
                    <a:pos x="2" y="10"/>
                  </a:cxn>
                  <a:cxn ang="0">
                    <a:pos x="4" y="8"/>
                  </a:cxn>
                  <a:cxn ang="0">
                    <a:pos x="2" y="0"/>
                  </a:cxn>
                  <a:cxn ang="0">
                    <a:pos x="10" y="0"/>
                  </a:cxn>
                  <a:cxn ang="0">
                    <a:pos x="12" y="6"/>
                  </a:cxn>
                  <a:cxn ang="0">
                    <a:pos x="14" y="10"/>
                  </a:cxn>
                  <a:cxn ang="0">
                    <a:pos x="16" y="12"/>
                  </a:cxn>
                  <a:cxn ang="0">
                    <a:pos x="14" y="16"/>
                  </a:cxn>
                  <a:cxn ang="0">
                    <a:pos x="10" y="20"/>
                  </a:cxn>
                  <a:cxn ang="0">
                    <a:pos x="6" y="24"/>
                  </a:cxn>
                  <a:cxn ang="0">
                    <a:pos x="4" y="20"/>
                  </a:cxn>
                  <a:cxn ang="0">
                    <a:pos x="0" y="12"/>
                  </a:cxn>
                </a:cxnLst>
                <a:rect l="0" t="0" r="r" b="b"/>
                <a:pathLst>
                  <a:path w="16" h="24">
                    <a:moveTo>
                      <a:pt x="0" y="12"/>
                    </a:moveTo>
                    <a:lnTo>
                      <a:pt x="2" y="10"/>
                    </a:lnTo>
                    <a:lnTo>
                      <a:pt x="4" y="8"/>
                    </a:lnTo>
                    <a:lnTo>
                      <a:pt x="2" y="0"/>
                    </a:lnTo>
                    <a:lnTo>
                      <a:pt x="10" y="0"/>
                    </a:lnTo>
                    <a:lnTo>
                      <a:pt x="12" y="6"/>
                    </a:lnTo>
                    <a:lnTo>
                      <a:pt x="14" y="10"/>
                    </a:lnTo>
                    <a:lnTo>
                      <a:pt x="16" y="12"/>
                    </a:lnTo>
                    <a:lnTo>
                      <a:pt x="14" y="16"/>
                    </a:lnTo>
                    <a:lnTo>
                      <a:pt x="10" y="20"/>
                    </a:lnTo>
                    <a:lnTo>
                      <a:pt x="6" y="24"/>
                    </a:lnTo>
                    <a:lnTo>
                      <a:pt x="4" y="20"/>
                    </a:lnTo>
                    <a:lnTo>
                      <a:pt x="0"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1" name="Freeform 183"/>
              <p:cNvSpPr>
                <a:spLocks noChangeAspect="1"/>
              </p:cNvSpPr>
              <p:nvPr/>
            </p:nvSpPr>
            <p:spPr bwMode="auto">
              <a:xfrm>
                <a:off x="4754146" y="4084870"/>
                <a:ext cx="167545" cy="180104"/>
              </a:xfrm>
              <a:custGeom>
                <a:avLst/>
                <a:gdLst/>
                <a:ahLst/>
                <a:cxnLst>
                  <a:cxn ang="0">
                    <a:pos x="66" y="4"/>
                  </a:cxn>
                  <a:cxn ang="0">
                    <a:pos x="72" y="12"/>
                  </a:cxn>
                  <a:cxn ang="0">
                    <a:pos x="76" y="22"/>
                  </a:cxn>
                  <a:cxn ang="0">
                    <a:pos x="82" y="26"/>
                  </a:cxn>
                  <a:cxn ang="0">
                    <a:pos x="88" y="28"/>
                  </a:cxn>
                  <a:cxn ang="0">
                    <a:pos x="102" y="30"/>
                  </a:cxn>
                  <a:cxn ang="0">
                    <a:pos x="110" y="34"/>
                  </a:cxn>
                  <a:cxn ang="0">
                    <a:pos x="116" y="38"/>
                  </a:cxn>
                  <a:cxn ang="0">
                    <a:pos x="118" y="42"/>
                  </a:cxn>
                  <a:cxn ang="0">
                    <a:pos x="120" y="50"/>
                  </a:cxn>
                  <a:cxn ang="0">
                    <a:pos x="118" y="58"/>
                  </a:cxn>
                  <a:cxn ang="0">
                    <a:pos x="116" y="64"/>
                  </a:cxn>
                  <a:cxn ang="0">
                    <a:pos x="104" y="76"/>
                  </a:cxn>
                  <a:cxn ang="0">
                    <a:pos x="98" y="82"/>
                  </a:cxn>
                  <a:cxn ang="0">
                    <a:pos x="94" y="86"/>
                  </a:cxn>
                  <a:cxn ang="0">
                    <a:pos x="92" y="90"/>
                  </a:cxn>
                  <a:cxn ang="0">
                    <a:pos x="92" y="98"/>
                  </a:cxn>
                  <a:cxn ang="0">
                    <a:pos x="92" y="110"/>
                  </a:cxn>
                  <a:cxn ang="0">
                    <a:pos x="84" y="112"/>
                  </a:cxn>
                  <a:cxn ang="0">
                    <a:pos x="78" y="110"/>
                  </a:cxn>
                  <a:cxn ang="0">
                    <a:pos x="78" y="120"/>
                  </a:cxn>
                  <a:cxn ang="0">
                    <a:pos x="78" y="122"/>
                  </a:cxn>
                  <a:cxn ang="0">
                    <a:pos x="78" y="126"/>
                  </a:cxn>
                  <a:cxn ang="0">
                    <a:pos x="72" y="128"/>
                  </a:cxn>
                  <a:cxn ang="0">
                    <a:pos x="66" y="130"/>
                  </a:cxn>
                  <a:cxn ang="0">
                    <a:pos x="64" y="132"/>
                  </a:cxn>
                  <a:cxn ang="0">
                    <a:pos x="62" y="136"/>
                  </a:cxn>
                  <a:cxn ang="0">
                    <a:pos x="58" y="140"/>
                  </a:cxn>
                  <a:cxn ang="0">
                    <a:pos x="56" y="144"/>
                  </a:cxn>
                  <a:cxn ang="0">
                    <a:pos x="44" y="146"/>
                  </a:cxn>
                  <a:cxn ang="0">
                    <a:pos x="36" y="148"/>
                  </a:cxn>
                  <a:cxn ang="0">
                    <a:pos x="30" y="148"/>
                  </a:cxn>
                  <a:cxn ang="0">
                    <a:pos x="20" y="150"/>
                  </a:cxn>
                  <a:cxn ang="0">
                    <a:pos x="0" y="126"/>
                  </a:cxn>
                  <a:cxn ang="0">
                    <a:pos x="0" y="118"/>
                  </a:cxn>
                  <a:cxn ang="0">
                    <a:pos x="50" y="74"/>
                  </a:cxn>
                  <a:cxn ang="0">
                    <a:pos x="50" y="40"/>
                  </a:cxn>
                  <a:cxn ang="0">
                    <a:pos x="42" y="34"/>
                  </a:cxn>
                  <a:cxn ang="0">
                    <a:pos x="66" y="0"/>
                  </a:cxn>
                  <a:cxn ang="0">
                    <a:pos x="66" y="4"/>
                  </a:cxn>
                </a:cxnLst>
                <a:rect l="0" t="0" r="r" b="b"/>
                <a:pathLst>
                  <a:path w="120" h="150">
                    <a:moveTo>
                      <a:pt x="66" y="4"/>
                    </a:moveTo>
                    <a:lnTo>
                      <a:pt x="72" y="12"/>
                    </a:lnTo>
                    <a:lnTo>
                      <a:pt x="76" y="22"/>
                    </a:lnTo>
                    <a:lnTo>
                      <a:pt x="82" y="26"/>
                    </a:lnTo>
                    <a:lnTo>
                      <a:pt x="88" y="28"/>
                    </a:lnTo>
                    <a:lnTo>
                      <a:pt x="102" y="30"/>
                    </a:lnTo>
                    <a:lnTo>
                      <a:pt x="110" y="34"/>
                    </a:lnTo>
                    <a:lnTo>
                      <a:pt x="116" y="38"/>
                    </a:lnTo>
                    <a:lnTo>
                      <a:pt x="118" y="42"/>
                    </a:lnTo>
                    <a:lnTo>
                      <a:pt x="120" y="50"/>
                    </a:lnTo>
                    <a:lnTo>
                      <a:pt x="118" y="58"/>
                    </a:lnTo>
                    <a:lnTo>
                      <a:pt x="116" y="64"/>
                    </a:lnTo>
                    <a:lnTo>
                      <a:pt x="104" y="76"/>
                    </a:lnTo>
                    <a:lnTo>
                      <a:pt x="98" y="82"/>
                    </a:lnTo>
                    <a:lnTo>
                      <a:pt x="94" y="86"/>
                    </a:lnTo>
                    <a:lnTo>
                      <a:pt x="92" y="90"/>
                    </a:lnTo>
                    <a:lnTo>
                      <a:pt x="92" y="98"/>
                    </a:lnTo>
                    <a:lnTo>
                      <a:pt x="92" y="110"/>
                    </a:lnTo>
                    <a:lnTo>
                      <a:pt x="84" y="112"/>
                    </a:lnTo>
                    <a:lnTo>
                      <a:pt x="78" y="110"/>
                    </a:lnTo>
                    <a:lnTo>
                      <a:pt x="78" y="120"/>
                    </a:lnTo>
                    <a:lnTo>
                      <a:pt x="78" y="122"/>
                    </a:lnTo>
                    <a:lnTo>
                      <a:pt x="78" y="126"/>
                    </a:lnTo>
                    <a:lnTo>
                      <a:pt x="72" y="128"/>
                    </a:lnTo>
                    <a:lnTo>
                      <a:pt x="66" y="130"/>
                    </a:lnTo>
                    <a:lnTo>
                      <a:pt x="64" y="132"/>
                    </a:lnTo>
                    <a:lnTo>
                      <a:pt x="62" y="136"/>
                    </a:lnTo>
                    <a:lnTo>
                      <a:pt x="58" y="140"/>
                    </a:lnTo>
                    <a:lnTo>
                      <a:pt x="56" y="144"/>
                    </a:lnTo>
                    <a:lnTo>
                      <a:pt x="44" y="146"/>
                    </a:lnTo>
                    <a:lnTo>
                      <a:pt x="36" y="148"/>
                    </a:lnTo>
                    <a:lnTo>
                      <a:pt x="30" y="148"/>
                    </a:lnTo>
                    <a:lnTo>
                      <a:pt x="20" y="150"/>
                    </a:lnTo>
                    <a:lnTo>
                      <a:pt x="0" y="126"/>
                    </a:lnTo>
                    <a:lnTo>
                      <a:pt x="0" y="118"/>
                    </a:lnTo>
                    <a:lnTo>
                      <a:pt x="50" y="74"/>
                    </a:lnTo>
                    <a:lnTo>
                      <a:pt x="50" y="40"/>
                    </a:lnTo>
                    <a:lnTo>
                      <a:pt x="42" y="34"/>
                    </a:lnTo>
                    <a:lnTo>
                      <a:pt x="66" y="0"/>
                    </a:lnTo>
                    <a:lnTo>
                      <a:pt x="66"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2" name="Freeform 184"/>
              <p:cNvSpPr>
                <a:spLocks noChangeAspect="1"/>
              </p:cNvSpPr>
              <p:nvPr/>
            </p:nvSpPr>
            <p:spPr bwMode="auto">
              <a:xfrm>
                <a:off x="4827110" y="4057437"/>
                <a:ext cx="14863" cy="21469"/>
              </a:xfrm>
              <a:custGeom>
                <a:avLst/>
                <a:gdLst/>
                <a:ahLst/>
                <a:cxnLst>
                  <a:cxn ang="0">
                    <a:pos x="0" y="8"/>
                  </a:cxn>
                  <a:cxn ang="0">
                    <a:pos x="6" y="0"/>
                  </a:cxn>
                  <a:cxn ang="0">
                    <a:pos x="10" y="6"/>
                  </a:cxn>
                  <a:cxn ang="0">
                    <a:pos x="10" y="14"/>
                  </a:cxn>
                  <a:cxn ang="0">
                    <a:pos x="6" y="18"/>
                  </a:cxn>
                  <a:cxn ang="0">
                    <a:pos x="4" y="16"/>
                  </a:cxn>
                  <a:cxn ang="0">
                    <a:pos x="2" y="12"/>
                  </a:cxn>
                  <a:cxn ang="0">
                    <a:pos x="0" y="8"/>
                  </a:cxn>
                </a:cxnLst>
                <a:rect l="0" t="0" r="r" b="b"/>
                <a:pathLst>
                  <a:path w="10" h="18">
                    <a:moveTo>
                      <a:pt x="0" y="8"/>
                    </a:moveTo>
                    <a:lnTo>
                      <a:pt x="6" y="0"/>
                    </a:lnTo>
                    <a:lnTo>
                      <a:pt x="10" y="6"/>
                    </a:lnTo>
                    <a:lnTo>
                      <a:pt x="10" y="14"/>
                    </a:lnTo>
                    <a:lnTo>
                      <a:pt x="6" y="18"/>
                    </a:lnTo>
                    <a:lnTo>
                      <a:pt x="4" y="16"/>
                    </a:lnTo>
                    <a:lnTo>
                      <a:pt x="2" y="12"/>
                    </a:lnTo>
                    <a:lnTo>
                      <a:pt x="0"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3" name="Freeform 185"/>
              <p:cNvSpPr>
                <a:spLocks noChangeAspect="1"/>
              </p:cNvSpPr>
              <p:nvPr/>
            </p:nvSpPr>
            <p:spPr bwMode="auto">
              <a:xfrm>
                <a:off x="4720367" y="4065787"/>
                <a:ext cx="128361" cy="59637"/>
              </a:xfrm>
              <a:custGeom>
                <a:avLst/>
                <a:gdLst/>
                <a:ahLst/>
                <a:cxnLst>
                  <a:cxn ang="0">
                    <a:pos x="66" y="50"/>
                  </a:cxn>
                  <a:cxn ang="0">
                    <a:pos x="90" y="16"/>
                  </a:cxn>
                  <a:cxn ang="0">
                    <a:pos x="86" y="6"/>
                  </a:cxn>
                  <a:cxn ang="0">
                    <a:pos x="82" y="10"/>
                  </a:cxn>
                  <a:cxn ang="0">
                    <a:pos x="80" y="8"/>
                  </a:cxn>
                  <a:cxn ang="0">
                    <a:pos x="78" y="4"/>
                  </a:cxn>
                  <a:cxn ang="0">
                    <a:pos x="76" y="0"/>
                  </a:cxn>
                  <a:cxn ang="0">
                    <a:pos x="66" y="12"/>
                  </a:cxn>
                  <a:cxn ang="0">
                    <a:pos x="58" y="22"/>
                  </a:cxn>
                  <a:cxn ang="0">
                    <a:pos x="52" y="28"/>
                  </a:cxn>
                  <a:cxn ang="0">
                    <a:pos x="44" y="30"/>
                  </a:cxn>
                  <a:cxn ang="0">
                    <a:pos x="36" y="34"/>
                  </a:cxn>
                  <a:cxn ang="0">
                    <a:pos x="26" y="34"/>
                  </a:cxn>
                  <a:cxn ang="0">
                    <a:pos x="20" y="34"/>
                  </a:cxn>
                  <a:cxn ang="0">
                    <a:pos x="12" y="30"/>
                  </a:cxn>
                  <a:cxn ang="0">
                    <a:pos x="2" y="22"/>
                  </a:cxn>
                  <a:cxn ang="0">
                    <a:pos x="0" y="28"/>
                  </a:cxn>
                  <a:cxn ang="0">
                    <a:pos x="10" y="36"/>
                  </a:cxn>
                  <a:cxn ang="0">
                    <a:pos x="22" y="40"/>
                  </a:cxn>
                  <a:cxn ang="0">
                    <a:pos x="22" y="48"/>
                  </a:cxn>
                  <a:cxn ang="0">
                    <a:pos x="66" y="50"/>
                  </a:cxn>
                </a:cxnLst>
                <a:rect l="0" t="0" r="r" b="b"/>
                <a:pathLst>
                  <a:path w="90" h="50">
                    <a:moveTo>
                      <a:pt x="66" y="50"/>
                    </a:moveTo>
                    <a:lnTo>
                      <a:pt x="90" y="16"/>
                    </a:lnTo>
                    <a:lnTo>
                      <a:pt x="86" y="6"/>
                    </a:lnTo>
                    <a:lnTo>
                      <a:pt x="82" y="10"/>
                    </a:lnTo>
                    <a:lnTo>
                      <a:pt x="80" y="8"/>
                    </a:lnTo>
                    <a:lnTo>
                      <a:pt x="78" y="4"/>
                    </a:lnTo>
                    <a:lnTo>
                      <a:pt x="76" y="0"/>
                    </a:lnTo>
                    <a:lnTo>
                      <a:pt x="66" y="12"/>
                    </a:lnTo>
                    <a:lnTo>
                      <a:pt x="58" y="22"/>
                    </a:lnTo>
                    <a:lnTo>
                      <a:pt x="52" y="28"/>
                    </a:lnTo>
                    <a:lnTo>
                      <a:pt x="44" y="30"/>
                    </a:lnTo>
                    <a:lnTo>
                      <a:pt x="36" y="34"/>
                    </a:lnTo>
                    <a:lnTo>
                      <a:pt x="26" y="34"/>
                    </a:lnTo>
                    <a:lnTo>
                      <a:pt x="20" y="34"/>
                    </a:lnTo>
                    <a:lnTo>
                      <a:pt x="12" y="30"/>
                    </a:lnTo>
                    <a:lnTo>
                      <a:pt x="2" y="22"/>
                    </a:lnTo>
                    <a:lnTo>
                      <a:pt x="0" y="28"/>
                    </a:lnTo>
                    <a:lnTo>
                      <a:pt x="10" y="36"/>
                    </a:lnTo>
                    <a:lnTo>
                      <a:pt x="22" y="40"/>
                    </a:lnTo>
                    <a:lnTo>
                      <a:pt x="22" y="48"/>
                    </a:lnTo>
                    <a:lnTo>
                      <a:pt x="66" y="5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4" name="Freeform 186"/>
              <p:cNvSpPr>
                <a:spLocks noChangeAspect="1"/>
              </p:cNvSpPr>
              <p:nvPr/>
            </p:nvSpPr>
            <p:spPr bwMode="auto">
              <a:xfrm>
                <a:off x="4552821" y="4226806"/>
                <a:ext cx="228348" cy="124046"/>
              </a:xfrm>
              <a:custGeom>
                <a:avLst/>
                <a:gdLst/>
                <a:ahLst/>
                <a:cxnLst>
                  <a:cxn ang="0">
                    <a:pos x="164" y="32"/>
                  </a:cxn>
                  <a:cxn ang="0">
                    <a:pos x="144" y="8"/>
                  </a:cxn>
                  <a:cxn ang="0">
                    <a:pos x="144" y="0"/>
                  </a:cxn>
                  <a:cxn ang="0">
                    <a:pos x="96" y="12"/>
                  </a:cxn>
                  <a:cxn ang="0">
                    <a:pos x="52" y="56"/>
                  </a:cxn>
                  <a:cxn ang="0">
                    <a:pos x="50" y="34"/>
                  </a:cxn>
                  <a:cxn ang="0">
                    <a:pos x="30" y="28"/>
                  </a:cxn>
                  <a:cxn ang="0">
                    <a:pos x="26" y="26"/>
                  </a:cxn>
                  <a:cxn ang="0">
                    <a:pos x="24" y="28"/>
                  </a:cxn>
                  <a:cxn ang="0">
                    <a:pos x="18" y="26"/>
                  </a:cxn>
                  <a:cxn ang="0">
                    <a:pos x="14" y="22"/>
                  </a:cxn>
                  <a:cxn ang="0">
                    <a:pos x="12" y="24"/>
                  </a:cxn>
                  <a:cxn ang="0">
                    <a:pos x="10" y="28"/>
                  </a:cxn>
                  <a:cxn ang="0">
                    <a:pos x="8" y="34"/>
                  </a:cxn>
                  <a:cxn ang="0">
                    <a:pos x="6" y="38"/>
                  </a:cxn>
                  <a:cxn ang="0">
                    <a:pos x="4" y="46"/>
                  </a:cxn>
                  <a:cxn ang="0">
                    <a:pos x="0" y="54"/>
                  </a:cxn>
                  <a:cxn ang="0">
                    <a:pos x="10" y="78"/>
                  </a:cxn>
                  <a:cxn ang="0">
                    <a:pos x="14" y="92"/>
                  </a:cxn>
                  <a:cxn ang="0">
                    <a:pos x="14" y="106"/>
                  </a:cxn>
                  <a:cxn ang="0">
                    <a:pos x="20" y="106"/>
                  </a:cxn>
                  <a:cxn ang="0">
                    <a:pos x="30" y="106"/>
                  </a:cxn>
                  <a:cxn ang="0">
                    <a:pos x="40" y="102"/>
                  </a:cxn>
                  <a:cxn ang="0">
                    <a:pos x="44" y="98"/>
                  </a:cxn>
                  <a:cxn ang="0">
                    <a:pos x="52" y="94"/>
                  </a:cxn>
                  <a:cxn ang="0">
                    <a:pos x="66" y="90"/>
                  </a:cxn>
                  <a:cxn ang="0">
                    <a:pos x="76" y="88"/>
                  </a:cxn>
                  <a:cxn ang="0">
                    <a:pos x="86" y="84"/>
                  </a:cxn>
                  <a:cxn ang="0">
                    <a:pos x="96" y="82"/>
                  </a:cxn>
                  <a:cxn ang="0">
                    <a:pos x="100" y="78"/>
                  </a:cxn>
                  <a:cxn ang="0">
                    <a:pos x="104" y="76"/>
                  </a:cxn>
                  <a:cxn ang="0">
                    <a:pos x="106" y="70"/>
                  </a:cxn>
                  <a:cxn ang="0">
                    <a:pos x="112" y="68"/>
                  </a:cxn>
                  <a:cxn ang="0">
                    <a:pos x="130" y="64"/>
                  </a:cxn>
                  <a:cxn ang="0">
                    <a:pos x="140" y="60"/>
                  </a:cxn>
                  <a:cxn ang="0">
                    <a:pos x="150" y="54"/>
                  </a:cxn>
                  <a:cxn ang="0">
                    <a:pos x="152" y="50"/>
                  </a:cxn>
                  <a:cxn ang="0">
                    <a:pos x="154" y="44"/>
                  </a:cxn>
                  <a:cxn ang="0">
                    <a:pos x="158" y="36"/>
                  </a:cxn>
                  <a:cxn ang="0">
                    <a:pos x="160" y="34"/>
                  </a:cxn>
                  <a:cxn ang="0">
                    <a:pos x="164" y="32"/>
                  </a:cxn>
                </a:cxnLst>
                <a:rect l="0" t="0" r="r" b="b"/>
                <a:pathLst>
                  <a:path w="164" h="106">
                    <a:moveTo>
                      <a:pt x="164" y="32"/>
                    </a:moveTo>
                    <a:lnTo>
                      <a:pt x="144" y="8"/>
                    </a:lnTo>
                    <a:lnTo>
                      <a:pt x="144" y="0"/>
                    </a:lnTo>
                    <a:lnTo>
                      <a:pt x="96" y="12"/>
                    </a:lnTo>
                    <a:lnTo>
                      <a:pt x="52" y="56"/>
                    </a:lnTo>
                    <a:lnTo>
                      <a:pt x="50" y="34"/>
                    </a:lnTo>
                    <a:lnTo>
                      <a:pt x="30" y="28"/>
                    </a:lnTo>
                    <a:lnTo>
                      <a:pt x="26" y="26"/>
                    </a:lnTo>
                    <a:lnTo>
                      <a:pt x="24" y="28"/>
                    </a:lnTo>
                    <a:lnTo>
                      <a:pt x="18" y="26"/>
                    </a:lnTo>
                    <a:lnTo>
                      <a:pt x="14" y="22"/>
                    </a:lnTo>
                    <a:lnTo>
                      <a:pt x="12" y="24"/>
                    </a:lnTo>
                    <a:lnTo>
                      <a:pt x="10" y="28"/>
                    </a:lnTo>
                    <a:lnTo>
                      <a:pt x="8" y="34"/>
                    </a:lnTo>
                    <a:lnTo>
                      <a:pt x="6" y="38"/>
                    </a:lnTo>
                    <a:lnTo>
                      <a:pt x="4" y="46"/>
                    </a:lnTo>
                    <a:lnTo>
                      <a:pt x="0" y="54"/>
                    </a:lnTo>
                    <a:lnTo>
                      <a:pt x="10" y="78"/>
                    </a:lnTo>
                    <a:lnTo>
                      <a:pt x="14" y="92"/>
                    </a:lnTo>
                    <a:lnTo>
                      <a:pt x="14" y="106"/>
                    </a:lnTo>
                    <a:lnTo>
                      <a:pt x="20" y="106"/>
                    </a:lnTo>
                    <a:lnTo>
                      <a:pt x="30" y="106"/>
                    </a:lnTo>
                    <a:lnTo>
                      <a:pt x="40" y="102"/>
                    </a:lnTo>
                    <a:lnTo>
                      <a:pt x="44" y="98"/>
                    </a:lnTo>
                    <a:lnTo>
                      <a:pt x="52" y="94"/>
                    </a:lnTo>
                    <a:lnTo>
                      <a:pt x="66" y="90"/>
                    </a:lnTo>
                    <a:lnTo>
                      <a:pt x="76" y="88"/>
                    </a:lnTo>
                    <a:lnTo>
                      <a:pt x="86" y="84"/>
                    </a:lnTo>
                    <a:lnTo>
                      <a:pt x="96" y="82"/>
                    </a:lnTo>
                    <a:lnTo>
                      <a:pt x="100" y="78"/>
                    </a:lnTo>
                    <a:lnTo>
                      <a:pt x="104" y="76"/>
                    </a:lnTo>
                    <a:lnTo>
                      <a:pt x="106" y="70"/>
                    </a:lnTo>
                    <a:lnTo>
                      <a:pt x="112" y="68"/>
                    </a:lnTo>
                    <a:lnTo>
                      <a:pt x="130" y="64"/>
                    </a:lnTo>
                    <a:lnTo>
                      <a:pt x="140" y="60"/>
                    </a:lnTo>
                    <a:lnTo>
                      <a:pt x="150" y="54"/>
                    </a:lnTo>
                    <a:lnTo>
                      <a:pt x="152" y="50"/>
                    </a:lnTo>
                    <a:lnTo>
                      <a:pt x="154" y="44"/>
                    </a:lnTo>
                    <a:lnTo>
                      <a:pt x="158" y="36"/>
                    </a:lnTo>
                    <a:lnTo>
                      <a:pt x="160" y="34"/>
                    </a:lnTo>
                    <a:lnTo>
                      <a:pt x="164" y="3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5" name="Freeform 187"/>
              <p:cNvSpPr>
                <a:spLocks noChangeAspect="1"/>
              </p:cNvSpPr>
              <p:nvPr/>
            </p:nvSpPr>
            <p:spPr bwMode="auto">
              <a:xfrm>
                <a:off x="4610922" y="3982294"/>
                <a:ext cx="60803" cy="32204"/>
              </a:xfrm>
              <a:custGeom>
                <a:avLst/>
                <a:gdLst/>
                <a:ahLst/>
                <a:cxnLst>
                  <a:cxn ang="0">
                    <a:pos x="42" y="28"/>
                  </a:cxn>
                  <a:cxn ang="0">
                    <a:pos x="24" y="28"/>
                  </a:cxn>
                  <a:cxn ang="0">
                    <a:pos x="20" y="24"/>
                  </a:cxn>
                  <a:cxn ang="0">
                    <a:pos x="16" y="22"/>
                  </a:cxn>
                  <a:cxn ang="0">
                    <a:pos x="0" y="18"/>
                  </a:cxn>
                  <a:cxn ang="0">
                    <a:pos x="4" y="10"/>
                  </a:cxn>
                  <a:cxn ang="0">
                    <a:pos x="8" y="4"/>
                  </a:cxn>
                  <a:cxn ang="0">
                    <a:pos x="12" y="0"/>
                  </a:cxn>
                  <a:cxn ang="0">
                    <a:pos x="18" y="0"/>
                  </a:cxn>
                  <a:cxn ang="0">
                    <a:pos x="22" y="0"/>
                  </a:cxn>
                  <a:cxn ang="0">
                    <a:pos x="26" y="2"/>
                  </a:cxn>
                  <a:cxn ang="0">
                    <a:pos x="28" y="0"/>
                  </a:cxn>
                  <a:cxn ang="0">
                    <a:pos x="30" y="2"/>
                  </a:cxn>
                  <a:cxn ang="0">
                    <a:pos x="24" y="4"/>
                  </a:cxn>
                  <a:cxn ang="0">
                    <a:pos x="26" y="10"/>
                  </a:cxn>
                  <a:cxn ang="0">
                    <a:pos x="28" y="14"/>
                  </a:cxn>
                  <a:cxn ang="0">
                    <a:pos x="38" y="20"/>
                  </a:cxn>
                  <a:cxn ang="0">
                    <a:pos x="40" y="24"/>
                  </a:cxn>
                  <a:cxn ang="0">
                    <a:pos x="42" y="26"/>
                  </a:cxn>
                  <a:cxn ang="0">
                    <a:pos x="42" y="28"/>
                  </a:cxn>
                </a:cxnLst>
                <a:rect l="0" t="0" r="r" b="b"/>
                <a:pathLst>
                  <a:path w="42" h="28">
                    <a:moveTo>
                      <a:pt x="42" y="28"/>
                    </a:moveTo>
                    <a:lnTo>
                      <a:pt x="24" y="28"/>
                    </a:lnTo>
                    <a:lnTo>
                      <a:pt x="20" y="24"/>
                    </a:lnTo>
                    <a:lnTo>
                      <a:pt x="16" y="22"/>
                    </a:lnTo>
                    <a:lnTo>
                      <a:pt x="0" y="18"/>
                    </a:lnTo>
                    <a:lnTo>
                      <a:pt x="4" y="10"/>
                    </a:lnTo>
                    <a:lnTo>
                      <a:pt x="8" y="4"/>
                    </a:lnTo>
                    <a:lnTo>
                      <a:pt x="12" y="0"/>
                    </a:lnTo>
                    <a:lnTo>
                      <a:pt x="18" y="0"/>
                    </a:lnTo>
                    <a:lnTo>
                      <a:pt x="22" y="0"/>
                    </a:lnTo>
                    <a:lnTo>
                      <a:pt x="26" y="2"/>
                    </a:lnTo>
                    <a:lnTo>
                      <a:pt x="28" y="0"/>
                    </a:lnTo>
                    <a:lnTo>
                      <a:pt x="30" y="2"/>
                    </a:lnTo>
                    <a:lnTo>
                      <a:pt x="24" y="4"/>
                    </a:lnTo>
                    <a:lnTo>
                      <a:pt x="26" y="10"/>
                    </a:lnTo>
                    <a:lnTo>
                      <a:pt x="28" y="14"/>
                    </a:lnTo>
                    <a:lnTo>
                      <a:pt x="38" y="20"/>
                    </a:lnTo>
                    <a:lnTo>
                      <a:pt x="40" y="24"/>
                    </a:lnTo>
                    <a:lnTo>
                      <a:pt x="42" y="26"/>
                    </a:lnTo>
                    <a:lnTo>
                      <a:pt x="42" y="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6" name="Freeform 188"/>
              <p:cNvSpPr>
                <a:spLocks noChangeAspect="1"/>
              </p:cNvSpPr>
              <p:nvPr/>
            </p:nvSpPr>
            <p:spPr bwMode="auto">
              <a:xfrm>
                <a:off x="4521744" y="3766407"/>
                <a:ext cx="467506" cy="314885"/>
              </a:xfrm>
              <a:custGeom>
                <a:avLst/>
                <a:gdLst/>
                <a:ahLst/>
                <a:cxnLst>
                  <a:cxn ang="0">
                    <a:pos x="100" y="172"/>
                  </a:cxn>
                  <a:cxn ang="0">
                    <a:pos x="144" y="212"/>
                  </a:cxn>
                  <a:cxn ang="0">
                    <a:pos x="180" y="238"/>
                  </a:cxn>
                  <a:cxn ang="0">
                    <a:pos x="206" y="238"/>
                  </a:cxn>
                  <a:cxn ang="0">
                    <a:pos x="228" y="228"/>
                  </a:cxn>
                  <a:cxn ang="0">
                    <a:pos x="236" y="234"/>
                  </a:cxn>
                  <a:cxn ang="0">
                    <a:pos x="240" y="248"/>
                  </a:cxn>
                  <a:cxn ang="0">
                    <a:pos x="282" y="264"/>
                  </a:cxn>
                  <a:cxn ang="0">
                    <a:pos x="308" y="266"/>
                  </a:cxn>
                  <a:cxn ang="0">
                    <a:pos x="312" y="248"/>
                  </a:cxn>
                  <a:cxn ang="0">
                    <a:pos x="330" y="238"/>
                  </a:cxn>
                  <a:cxn ang="0">
                    <a:pos x="322" y="226"/>
                  </a:cxn>
                  <a:cxn ang="0">
                    <a:pos x="314" y="210"/>
                  </a:cxn>
                  <a:cxn ang="0">
                    <a:pos x="298" y="196"/>
                  </a:cxn>
                  <a:cxn ang="0">
                    <a:pos x="282" y="186"/>
                  </a:cxn>
                  <a:cxn ang="0">
                    <a:pos x="288" y="172"/>
                  </a:cxn>
                  <a:cxn ang="0">
                    <a:pos x="296" y="158"/>
                  </a:cxn>
                  <a:cxn ang="0">
                    <a:pos x="280" y="148"/>
                  </a:cxn>
                  <a:cxn ang="0">
                    <a:pos x="270" y="118"/>
                  </a:cxn>
                  <a:cxn ang="0">
                    <a:pos x="272" y="94"/>
                  </a:cxn>
                  <a:cxn ang="0">
                    <a:pos x="274" y="72"/>
                  </a:cxn>
                  <a:cxn ang="0">
                    <a:pos x="264" y="62"/>
                  </a:cxn>
                  <a:cxn ang="0">
                    <a:pos x="226" y="40"/>
                  </a:cxn>
                  <a:cxn ang="0">
                    <a:pos x="194" y="28"/>
                  </a:cxn>
                  <a:cxn ang="0">
                    <a:pos x="162" y="42"/>
                  </a:cxn>
                  <a:cxn ang="0">
                    <a:pos x="140" y="54"/>
                  </a:cxn>
                  <a:cxn ang="0">
                    <a:pos x="94" y="46"/>
                  </a:cxn>
                  <a:cxn ang="0">
                    <a:pos x="78" y="30"/>
                  </a:cxn>
                  <a:cxn ang="0">
                    <a:pos x="64" y="18"/>
                  </a:cxn>
                  <a:cxn ang="0">
                    <a:pos x="54" y="4"/>
                  </a:cxn>
                  <a:cxn ang="0">
                    <a:pos x="32" y="20"/>
                  </a:cxn>
                  <a:cxn ang="0">
                    <a:pos x="18" y="18"/>
                  </a:cxn>
                  <a:cxn ang="0">
                    <a:pos x="4" y="0"/>
                  </a:cxn>
                  <a:cxn ang="0">
                    <a:pos x="0" y="12"/>
                  </a:cxn>
                  <a:cxn ang="0">
                    <a:pos x="6" y="40"/>
                  </a:cxn>
                  <a:cxn ang="0">
                    <a:pos x="18" y="62"/>
                  </a:cxn>
                  <a:cxn ang="0">
                    <a:pos x="46" y="78"/>
                  </a:cxn>
                  <a:cxn ang="0">
                    <a:pos x="36" y="106"/>
                  </a:cxn>
                  <a:cxn ang="0">
                    <a:pos x="46" y="124"/>
                  </a:cxn>
                  <a:cxn ang="0">
                    <a:pos x="70" y="142"/>
                  </a:cxn>
                  <a:cxn ang="0">
                    <a:pos x="76" y="162"/>
                  </a:cxn>
                  <a:cxn ang="0">
                    <a:pos x="90" y="176"/>
                  </a:cxn>
                </a:cxnLst>
                <a:rect l="0" t="0" r="r" b="b"/>
                <a:pathLst>
                  <a:path w="332" h="266">
                    <a:moveTo>
                      <a:pt x="94" y="184"/>
                    </a:moveTo>
                    <a:lnTo>
                      <a:pt x="98" y="180"/>
                    </a:lnTo>
                    <a:lnTo>
                      <a:pt x="100" y="172"/>
                    </a:lnTo>
                    <a:lnTo>
                      <a:pt x="112" y="180"/>
                    </a:lnTo>
                    <a:lnTo>
                      <a:pt x="122" y="190"/>
                    </a:lnTo>
                    <a:lnTo>
                      <a:pt x="144" y="212"/>
                    </a:lnTo>
                    <a:lnTo>
                      <a:pt x="154" y="222"/>
                    </a:lnTo>
                    <a:lnTo>
                      <a:pt x="166" y="230"/>
                    </a:lnTo>
                    <a:lnTo>
                      <a:pt x="180" y="238"/>
                    </a:lnTo>
                    <a:lnTo>
                      <a:pt x="188" y="238"/>
                    </a:lnTo>
                    <a:lnTo>
                      <a:pt x="198" y="240"/>
                    </a:lnTo>
                    <a:lnTo>
                      <a:pt x="206" y="238"/>
                    </a:lnTo>
                    <a:lnTo>
                      <a:pt x="214" y="234"/>
                    </a:lnTo>
                    <a:lnTo>
                      <a:pt x="222" y="230"/>
                    </a:lnTo>
                    <a:lnTo>
                      <a:pt x="228" y="228"/>
                    </a:lnTo>
                    <a:lnTo>
                      <a:pt x="234" y="228"/>
                    </a:lnTo>
                    <a:lnTo>
                      <a:pt x="236" y="230"/>
                    </a:lnTo>
                    <a:lnTo>
                      <a:pt x="236" y="234"/>
                    </a:lnTo>
                    <a:lnTo>
                      <a:pt x="238" y="240"/>
                    </a:lnTo>
                    <a:lnTo>
                      <a:pt x="236" y="246"/>
                    </a:lnTo>
                    <a:lnTo>
                      <a:pt x="240" y="248"/>
                    </a:lnTo>
                    <a:lnTo>
                      <a:pt x="246" y="252"/>
                    </a:lnTo>
                    <a:lnTo>
                      <a:pt x="262" y="258"/>
                    </a:lnTo>
                    <a:lnTo>
                      <a:pt x="282" y="264"/>
                    </a:lnTo>
                    <a:lnTo>
                      <a:pt x="294" y="266"/>
                    </a:lnTo>
                    <a:lnTo>
                      <a:pt x="302" y="266"/>
                    </a:lnTo>
                    <a:lnTo>
                      <a:pt x="308" y="266"/>
                    </a:lnTo>
                    <a:lnTo>
                      <a:pt x="308" y="258"/>
                    </a:lnTo>
                    <a:lnTo>
                      <a:pt x="310" y="254"/>
                    </a:lnTo>
                    <a:lnTo>
                      <a:pt x="312" y="248"/>
                    </a:lnTo>
                    <a:lnTo>
                      <a:pt x="316" y="246"/>
                    </a:lnTo>
                    <a:lnTo>
                      <a:pt x="326" y="240"/>
                    </a:lnTo>
                    <a:lnTo>
                      <a:pt x="330" y="238"/>
                    </a:lnTo>
                    <a:lnTo>
                      <a:pt x="332" y="234"/>
                    </a:lnTo>
                    <a:lnTo>
                      <a:pt x="328" y="230"/>
                    </a:lnTo>
                    <a:lnTo>
                      <a:pt x="322" y="226"/>
                    </a:lnTo>
                    <a:lnTo>
                      <a:pt x="320" y="218"/>
                    </a:lnTo>
                    <a:lnTo>
                      <a:pt x="318" y="212"/>
                    </a:lnTo>
                    <a:lnTo>
                      <a:pt x="314" y="210"/>
                    </a:lnTo>
                    <a:lnTo>
                      <a:pt x="310" y="210"/>
                    </a:lnTo>
                    <a:lnTo>
                      <a:pt x="304" y="204"/>
                    </a:lnTo>
                    <a:lnTo>
                      <a:pt x="298" y="196"/>
                    </a:lnTo>
                    <a:lnTo>
                      <a:pt x="292" y="192"/>
                    </a:lnTo>
                    <a:lnTo>
                      <a:pt x="286" y="190"/>
                    </a:lnTo>
                    <a:lnTo>
                      <a:pt x="282" y="186"/>
                    </a:lnTo>
                    <a:lnTo>
                      <a:pt x="282" y="182"/>
                    </a:lnTo>
                    <a:lnTo>
                      <a:pt x="284" y="178"/>
                    </a:lnTo>
                    <a:lnTo>
                      <a:pt x="288" y="172"/>
                    </a:lnTo>
                    <a:lnTo>
                      <a:pt x="294" y="164"/>
                    </a:lnTo>
                    <a:lnTo>
                      <a:pt x="296" y="162"/>
                    </a:lnTo>
                    <a:lnTo>
                      <a:pt x="296" y="158"/>
                    </a:lnTo>
                    <a:lnTo>
                      <a:pt x="288" y="156"/>
                    </a:lnTo>
                    <a:lnTo>
                      <a:pt x="282" y="152"/>
                    </a:lnTo>
                    <a:lnTo>
                      <a:pt x="280" y="148"/>
                    </a:lnTo>
                    <a:lnTo>
                      <a:pt x="278" y="142"/>
                    </a:lnTo>
                    <a:lnTo>
                      <a:pt x="274" y="130"/>
                    </a:lnTo>
                    <a:lnTo>
                      <a:pt x="270" y="118"/>
                    </a:lnTo>
                    <a:lnTo>
                      <a:pt x="270" y="110"/>
                    </a:lnTo>
                    <a:lnTo>
                      <a:pt x="270" y="104"/>
                    </a:lnTo>
                    <a:lnTo>
                      <a:pt x="272" y="94"/>
                    </a:lnTo>
                    <a:lnTo>
                      <a:pt x="274" y="84"/>
                    </a:lnTo>
                    <a:lnTo>
                      <a:pt x="274" y="76"/>
                    </a:lnTo>
                    <a:lnTo>
                      <a:pt x="274" y="72"/>
                    </a:lnTo>
                    <a:lnTo>
                      <a:pt x="272" y="68"/>
                    </a:lnTo>
                    <a:lnTo>
                      <a:pt x="268" y="64"/>
                    </a:lnTo>
                    <a:lnTo>
                      <a:pt x="264" y="62"/>
                    </a:lnTo>
                    <a:lnTo>
                      <a:pt x="256" y="60"/>
                    </a:lnTo>
                    <a:lnTo>
                      <a:pt x="250" y="56"/>
                    </a:lnTo>
                    <a:lnTo>
                      <a:pt x="226" y="40"/>
                    </a:lnTo>
                    <a:lnTo>
                      <a:pt x="210" y="32"/>
                    </a:lnTo>
                    <a:lnTo>
                      <a:pt x="200" y="28"/>
                    </a:lnTo>
                    <a:lnTo>
                      <a:pt x="194" y="28"/>
                    </a:lnTo>
                    <a:lnTo>
                      <a:pt x="184" y="30"/>
                    </a:lnTo>
                    <a:lnTo>
                      <a:pt x="174" y="32"/>
                    </a:lnTo>
                    <a:lnTo>
                      <a:pt x="162" y="42"/>
                    </a:lnTo>
                    <a:lnTo>
                      <a:pt x="156" y="46"/>
                    </a:lnTo>
                    <a:lnTo>
                      <a:pt x="148" y="50"/>
                    </a:lnTo>
                    <a:lnTo>
                      <a:pt x="140" y="54"/>
                    </a:lnTo>
                    <a:lnTo>
                      <a:pt x="126" y="54"/>
                    </a:lnTo>
                    <a:lnTo>
                      <a:pt x="112" y="52"/>
                    </a:lnTo>
                    <a:lnTo>
                      <a:pt x="94" y="46"/>
                    </a:lnTo>
                    <a:lnTo>
                      <a:pt x="88" y="40"/>
                    </a:lnTo>
                    <a:lnTo>
                      <a:pt x="82" y="34"/>
                    </a:lnTo>
                    <a:lnTo>
                      <a:pt x="78" y="30"/>
                    </a:lnTo>
                    <a:lnTo>
                      <a:pt x="76" y="26"/>
                    </a:lnTo>
                    <a:lnTo>
                      <a:pt x="68" y="22"/>
                    </a:lnTo>
                    <a:lnTo>
                      <a:pt x="64" y="18"/>
                    </a:lnTo>
                    <a:lnTo>
                      <a:pt x="64" y="12"/>
                    </a:lnTo>
                    <a:lnTo>
                      <a:pt x="62" y="4"/>
                    </a:lnTo>
                    <a:lnTo>
                      <a:pt x="54" y="4"/>
                    </a:lnTo>
                    <a:lnTo>
                      <a:pt x="44" y="14"/>
                    </a:lnTo>
                    <a:lnTo>
                      <a:pt x="36" y="20"/>
                    </a:lnTo>
                    <a:lnTo>
                      <a:pt x="32" y="20"/>
                    </a:lnTo>
                    <a:lnTo>
                      <a:pt x="28" y="22"/>
                    </a:lnTo>
                    <a:lnTo>
                      <a:pt x="24" y="22"/>
                    </a:lnTo>
                    <a:lnTo>
                      <a:pt x="18" y="18"/>
                    </a:lnTo>
                    <a:lnTo>
                      <a:pt x="14" y="12"/>
                    </a:lnTo>
                    <a:lnTo>
                      <a:pt x="8" y="4"/>
                    </a:lnTo>
                    <a:lnTo>
                      <a:pt x="4" y="0"/>
                    </a:lnTo>
                    <a:lnTo>
                      <a:pt x="4" y="4"/>
                    </a:lnTo>
                    <a:lnTo>
                      <a:pt x="2" y="12"/>
                    </a:lnTo>
                    <a:lnTo>
                      <a:pt x="0" y="12"/>
                    </a:lnTo>
                    <a:lnTo>
                      <a:pt x="2" y="22"/>
                    </a:lnTo>
                    <a:lnTo>
                      <a:pt x="4" y="30"/>
                    </a:lnTo>
                    <a:lnTo>
                      <a:pt x="6" y="40"/>
                    </a:lnTo>
                    <a:lnTo>
                      <a:pt x="8" y="52"/>
                    </a:lnTo>
                    <a:lnTo>
                      <a:pt x="14" y="52"/>
                    </a:lnTo>
                    <a:lnTo>
                      <a:pt x="18" y="62"/>
                    </a:lnTo>
                    <a:lnTo>
                      <a:pt x="26" y="70"/>
                    </a:lnTo>
                    <a:lnTo>
                      <a:pt x="36" y="74"/>
                    </a:lnTo>
                    <a:lnTo>
                      <a:pt x="46" y="78"/>
                    </a:lnTo>
                    <a:lnTo>
                      <a:pt x="40" y="90"/>
                    </a:lnTo>
                    <a:lnTo>
                      <a:pt x="38" y="98"/>
                    </a:lnTo>
                    <a:lnTo>
                      <a:pt x="36" y="106"/>
                    </a:lnTo>
                    <a:lnTo>
                      <a:pt x="38" y="112"/>
                    </a:lnTo>
                    <a:lnTo>
                      <a:pt x="40" y="118"/>
                    </a:lnTo>
                    <a:lnTo>
                      <a:pt x="46" y="124"/>
                    </a:lnTo>
                    <a:lnTo>
                      <a:pt x="50" y="128"/>
                    </a:lnTo>
                    <a:lnTo>
                      <a:pt x="62" y="136"/>
                    </a:lnTo>
                    <a:lnTo>
                      <a:pt x="70" y="142"/>
                    </a:lnTo>
                    <a:lnTo>
                      <a:pt x="74" y="146"/>
                    </a:lnTo>
                    <a:lnTo>
                      <a:pt x="74" y="152"/>
                    </a:lnTo>
                    <a:lnTo>
                      <a:pt x="76" y="162"/>
                    </a:lnTo>
                    <a:lnTo>
                      <a:pt x="80" y="166"/>
                    </a:lnTo>
                    <a:lnTo>
                      <a:pt x="86" y="172"/>
                    </a:lnTo>
                    <a:lnTo>
                      <a:pt x="90" y="176"/>
                    </a:lnTo>
                    <a:lnTo>
                      <a:pt x="92" y="182"/>
                    </a:lnTo>
                    <a:lnTo>
                      <a:pt x="94" y="18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7" name="Freeform 189"/>
              <p:cNvSpPr>
                <a:spLocks noChangeAspect="1"/>
              </p:cNvSpPr>
              <p:nvPr/>
            </p:nvSpPr>
            <p:spPr bwMode="auto">
              <a:xfrm>
                <a:off x="4356902" y="3915501"/>
                <a:ext cx="89177" cy="90649"/>
              </a:xfrm>
              <a:custGeom>
                <a:avLst/>
                <a:gdLst/>
                <a:ahLst/>
                <a:cxnLst>
                  <a:cxn ang="0">
                    <a:pos x="0" y="76"/>
                  </a:cxn>
                  <a:cxn ang="0">
                    <a:pos x="16" y="78"/>
                  </a:cxn>
                  <a:cxn ang="0">
                    <a:pos x="20" y="74"/>
                  </a:cxn>
                  <a:cxn ang="0">
                    <a:pos x="24" y="68"/>
                  </a:cxn>
                  <a:cxn ang="0">
                    <a:pos x="30" y="64"/>
                  </a:cxn>
                  <a:cxn ang="0">
                    <a:pos x="34" y="64"/>
                  </a:cxn>
                  <a:cxn ang="0">
                    <a:pos x="38" y="58"/>
                  </a:cxn>
                  <a:cxn ang="0">
                    <a:pos x="44" y="58"/>
                  </a:cxn>
                  <a:cxn ang="0">
                    <a:pos x="32" y="32"/>
                  </a:cxn>
                  <a:cxn ang="0">
                    <a:pos x="62" y="22"/>
                  </a:cxn>
                  <a:cxn ang="0">
                    <a:pos x="54" y="0"/>
                  </a:cxn>
                  <a:cxn ang="0">
                    <a:pos x="24" y="16"/>
                  </a:cxn>
                  <a:cxn ang="0">
                    <a:pos x="22" y="16"/>
                  </a:cxn>
                  <a:cxn ang="0">
                    <a:pos x="18" y="16"/>
                  </a:cxn>
                  <a:cxn ang="0">
                    <a:pos x="14" y="12"/>
                  </a:cxn>
                  <a:cxn ang="0">
                    <a:pos x="4" y="10"/>
                  </a:cxn>
                  <a:cxn ang="0">
                    <a:pos x="4" y="12"/>
                  </a:cxn>
                  <a:cxn ang="0">
                    <a:pos x="4" y="32"/>
                  </a:cxn>
                  <a:cxn ang="0">
                    <a:pos x="6" y="32"/>
                  </a:cxn>
                  <a:cxn ang="0">
                    <a:pos x="0" y="68"/>
                  </a:cxn>
                  <a:cxn ang="0">
                    <a:pos x="0" y="72"/>
                  </a:cxn>
                  <a:cxn ang="0">
                    <a:pos x="0" y="76"/>
                  </a:cxn>
                </a:cxnLst>
                <a:rect l="0" t="0" r="r" b="b"/>
                <a:pathLst>
                  <a:path w="62" h="78">
                    <a:moveTo>
                      <a:pt x="0" y="76"/>
                    </a:moveTo>
                    <a:lnTo>
                      <a:pt x="16" y="78"/>
                    </a:lnTo>
                    <a:lnTo>
                      <a:pt x="20" y="74"/>
                    </a:lnTo>
                    <a:lnTo>
                      <a:pt x="24" y="68"/>
                    </a:lnTo>
                    <a:lnTo>
                      <a:pt x="30" y="64"/>
                    </a:lnTo>
                    <a:lnTo>
                      <a:pt x="34" y="64"/>
                    </a:lnTo>
                    <a:lnTo>
                      <a:pt x="38" y="58"/>
                    </a:lnTo>
                    <a:lnTo>
                      <a:pt x="44" y="58"/>
                    </a:lnTo>
                    <a:lnTo>
                      <a:pt x="32" y="32"/>
                    </a:lnTo>
                    <a:lnTo>
                      <a:pt x="62" y="22"/>
                    </a:lnTo>
                    <a:lnTo>
                      <a:pt x="54" y="0"/>
                    </a:lnTo>
                    <a:lnTo>
                      <a:pt x="24" y="16"/>
                    </a:lnTo>
                    <a:lnTo>
                      <a:pt x="22" y="16"/>
                    </a:lnTo>
                    <a:lnTo>
                      <a:pt x="18" y="16"/>
                    </a:lnTo>
                    <a:lnTo>
                      <a:pt x="14" y="12"/>
                    </a:lnTo>
                    <a:lnTo>
                      <a:pt x="4" y="10"/>
                    </a:lnTo>
                    <a:lnTo>
                      <a:pt x="4" y="12"/>
                    </a:lnTo>
                    <a:lnTo>
                      <a:pt x="4" y="32"/>
                    </a:lnTo>
                    <a:lnTo>
                      <a:pt x="6" y="32"/>
                    </a:lnTo>
                    <a:lnTo>
                      <a:pt x="0" y="68"/>
                    </a:lnTo>
                    <a:lnTo>
                      <a:pt x="0" y="72"/>
                    </a:lnTo>
                    <a:lnTo>
                      <a:pt x="0" y="7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8" name="Freeform 190"/>
              <p:cNvSpPr>
                <a:spLocks noChangeAspect="1"/>
              </p:cNvSpPr>
              <p:nvPr/>
            </p:nvSpPr>
            <p:spPr bwMode="auto">
              <a:xfrm>
                <a:off x="4354199" y="3882103"/>
                <a:ext cx="27023" cy="35782"/>
              </a:xfrm>
              <a:custGeom>
                <a:avLst/>
                <a:gdLst/>
                <a:ahLst/>
                <a:cxnLst>
                  <a:cxn ang="0">
                    <a:pos x="0" y="30"/>
                  </a:cxn>
                  <a:cxn ang="0">
                    <a:pos x="8" y="0"/>
                  </a:cxn>
                  <a:cxn ang="0">
                    <a:pos x="18" y="4"/>
                  </a:cxn>
                  <a:cxn ang="0">
                    <a:pos x="16" y="12"/>
                  </a:cxn>
                  <a:cxn ang="0">
                    <a:pos x="12" y="14"/>
                  </a:cxn>
                  <a:cxn ang="0">
                    <a:pos x="8" y="14"/>
                  </a:cxn>
                  <a:cxn ang="0">
                    <a:pos x="10" y="18"/>
                  </a:cxn>
                  <a:cxn ang="0">
                    <a:pos x="12" y="20"/>
                  </a:cxn>
                  <a:cxn ang="0">
                    <a:pos x="10" y="26"/>
                  </a:cxn>
                  <a:cxn ang="0">
                    <a:pos x="6" y="30"/>
                  </a:cxn>
                  <a:cxn ang="0">
                    <a:pos x="0" y="30"/>
                  </a:cxn>
                </a:cxnLst>
                <a:rect l="0" t="0" r="r" b="b"/>
                <a:pathLst>
                  <a:path w="18" h="30">
                    <a:moveTo>
                      <a:pt x="0" y="30"/>
                    </a:moveTo>
                    <a:lnTo>
                      <a:pt x="8" y="0"/>
                    </a:lnTo>
                    <a:lnTo>
                      <a:pt x="18" y="4"/>
                    </a:lnTo>
                    <a:lnTo>
                      <a:pt x="16" y="12"/>
                    </a:lnTo>
                    <a:lnTo>
                      <a:pt x="12" y="14"/>
                    </a:lnTo>
                    <a:lnTo>
                      <a:pt x="8" y="14"/>
                    </a:lnTo>
                    <a:lnTo>
                      <a:pt x="10" y="18"/>
                    </a:lnTo>
                    <a:lnTo>
                      <a:pt x="12" y="20"/>
                    </a:lnTo>
                    <a:lnTo>
                      <a:pt x="10" y="26"/>
                    </a:lnTo>
                    <a:lnTo>
                      <a:pt x="6" y="30"/>
                    </a:lnTo>
                    <a:lnTo>
                      <a:pt x="0" y="3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79" name="Freeform 191"/>
              <p:cNvSpPr>
                <a:spLocks noChangeAspect="1"/>
              </p:cNvSpPr>
              <p:nvPr/>
            </p:nvSpPr>
            <p:spPr bwMode="auto">
              <a:xfrm>
                <a:off x="4351497" y="3928621"/>
                <a:ext cx="14863" cy="21469"/>
              </a:xfrm>
              <a:custGeom>
                <a:avLst/>
                <a:gdLst/>
                <a:ahLst/>
                <a:cxnLst>
                  <a:cxn ang="0">
                    <a:pos x="8" y="20"/>
                  </a:cxn>
                  <a:cxn ang="0">
                    <a:pos x="8" y="0"/>
                  </a:cxn>
                  <a:cxn ang="0">
                    <a:pos x="4" y="0"/>
                  </a:cxn>
                  <a:cxn ang="0">
                    <a:pos x="0" y="20"/>
                  </a:cxn>
                  <a:cxn ang="0">
                    <a:pos x="10" y="20"/>
                  </a:cxn>
                  <a:cxn ang="0">
                    <a:pos x="8" y="20"/>
                  </a:cxn>
                </a:cxnLst>
                <a:rect l="0" t="0" r="r" b="b"/>
                <a:pathLst>
                  <a:path w="10" h="20">
                    <a:moveTo>
                      <a:pt x="8" y="20"/>
                    </a:moveTo>
                    <a:lnTo>
                      <a:pt x="8" y="0"/>
                    </a:lnTo>
                    <a:lnTo>
                      <a:pt x="4" y="0"/>
                    </a:lnTo>
                    <a:lnTo>
                      <a:pt x="0" y="20"/>
                    </a:lnTo>
                    <a:lnTo>
                      <a:pt x="10" y="20"/>
                    </a:lnTo>
                    <a:lnTo>
                      <a:pt x="8" y="2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0" name="Freeform 192"/>
              <p:cNvSpPr>
                <a:spLocks noChangeAspect="1"/>
              </p:cNvSpPr>
              <p:nvPr/>
            </p:nvSpPr>
            <p:spPr bwMode="auto">
              <a:xfrm>
                <a:off x="4387979" y="3158107"/>
                <a:ext cx="36481" cy="21469"/>
              </a:xfrm>
              <a:custGeom>
                <a:avLst/>
                <a:gdLst/>
                <a:ahLst/>
                <a:cxnLst>
                  <a:cxn ang="0">
                    <a:pos x="26" y="10"/>
                  </a:cxn>
                  <a:cxn ang="0">
                    <a:pos x="20" y="14"/>
                  </a:cxn>
                  <a:cxn ang="0">
                    <a:pos x="14" y="16"/>
                  </a:cxn>
                  <a:cxn ang="0">
                    <a:pos x="8" y="16"/>
                  </a:cxn>
                  <a:cxn ang="0">
                    <a:pos x="4" y="12"/>
                  </a:cxn>
                  <a:cxn ang="0">
                    <a:pos x="2" y="8"/>
                  </a:cxn>
                  <a:cxn ang="0">
                    <a:pos x="0" y="2"/>
                  </a:cxn>
                  <a:cxn ang="0">
                    <a:pos x="8" y="0"/>
                  </a:cxn>
                  <a:cxn ang="0">
                    <a:pos x="12" y="2"/>
                  </a:cxn>
                  <a:cxn ang="0">
                    <a:pos x="16" y="2"/>
                  </a:cxn>
                  <a:cxn ang="0">
                    <a:pos x="20" y="4"/>
                  </a:cxn>
                  <a:cxn ang="0">
                    <a:pos x="26" y="10"/>
                  </a:cxn>
                </a:cxnLst>
                <a:rect l="0" t="0" r="r" b="b"/>
                <a:pathLst>
                  <a:path w="26" h="16">
                    <a:moveTo>
                      <a:pt x="26" y="10"/>
                    </a:moveTo>
                    <a:lnTo>
                      <a:pt x="20" y="14"/>
                    </a:lnTo>
                    <a:lnTo>
                      <a:pt x="14" y="16"/>
                    </a:lnTo>
                    <a:lnTo>
                      <a:pt x="8" y="16"/>
                    </a:lnTo>
                    <a:lnTo>
                      <a:pt x="4" y="12"/>
                    </a:lnTo>
                    <a:lnTo>
                      <a:pt x="2" y="8"/>
                    </a:lnTo>
                    <a:lnTo>
                      <a:pt x="0" y="2"/>
                    </a:lnTo>
                    <a:lnTo>
                      <a:pt x="8" y="0"/>
                    </a:lnTo>
                    <a:lnTo>
                      <a:pt x="12" y="2"/>
                    </a:lnTo>
                    <a:lnTo>
                      <a:pt x="16" y="2"/>
                    </a:lnTo>
                    <a:lnTo>
                      <a:pt x="20" y="4"/>
                    </a:lnTo>
                    <a:lnTo>
                      <a:pt x="26" y="1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1" name="Freeform 193"/>
              <p:cNvSpPr>
                <a:spLocks noChangeAspect="1"/>
              </p:cNvSpPr>
              <p:nvPr/>
            </p:nvSpPr>
            <p:spPr bwMode="auto">
              <a:xfrm>
                <a:off x="4415003" y="3031676"/>
                <a:ext cx="208081" cy="113311"/>
              </a:xfrm>
              <a:custGeom>
                <a:avLst/>
                <a:gdLst/>
                <a:ahLst/>
                <a:cxnLst>
                  <a:cxn ang="0">
                    <a:pos x="38" y="94"/>
                  </a:cxn>
                  <a:cxn ang="0">
                    <a:pos x="34" y="92"/>
                  </a:cxn>
                  <a:cxn ang="0">
                    <a:pos x="30" y="86"/>
                  </a:cxn>
                  <a:cxn ang="0">
                    <a:pos x="24" y="76"/>
                  </a:cxn>
                  <a:cxn ang="0">
                    <a:pos x="16" y="76"/>
                  </a:cxn>
                  <a:cxn ang="0">
                    <a:pos x="8" y="76"/>
                  </a:cxn>
                  <a:cxn ang="0">
                    <a:pos x="4" y="74"/>
                  </a:cxn>
                  <a:cxn ang="0">
                    <a:pos x="0" y="72"/>
                  </a:cxn>
                  <a:cxn ang="0">
                    <a:pos x="0" y="70"/>
                  </a:cxn>
                  <a:cxn ang="0">
                    <a:pos x="4" y="68"/>
                  </a:cxn>
                  <a:cxn ang="0">
                    <a:pos x="6" y="66"/>
                  </a:cxn>
                  <a:cxn ang="0">
                    <a:pos x="10" y="60"/>
                  </a:cxn>
                  <a:cxn ang="0">
                    <a:pos x="12" y="54"/>
                  </a:cxn>
                  <a:cxn ang="0">
                    <a:pos x="16" y="54"/>
                  </a:cxn>
                  <a:cxn ang="0">
                    <a:pos x="22" y="52"/>
                  </a:cxn>
                  <a:cxn ang="0">
                    <a:pos x="24" y="42"/>
                  </a:cxn>
                  <a:cxn ang="0">
                    <a:pos x="26" y="34"/>
                  </a:cxn>
                  <a:cxn ang="0">
                    <a:pos x="30" y="28"/>
                  </a:cxn>
                  <a:cxn ang="0">
                    <a:pos x="36" y="22"/>
                  </a:cxn>
                  <a:cxn ang="0">
                    <a:pos x="52" y="16"/>
                  </a:cxn>
                  <a:cxn ang="0">
                    <a:pos x="68" y="10"/>
                  </a:cxn>
                  <a:cxn ang="0">
                    <a:pos x="100" y="10"/>
                  </a:cxn>
                  <a:cxn ang="0">
                    <a:pos x="114" y="2"/>
                  </a:cxn>
                  <a:cxn ang="0">
                    <a:pos x="122" y="0"/>
                  </a:cxn>
                  <a:cxn ang="0">
                    <a:pos x="132" y="0"/>
                  </a:cxn>
                  <a:cxn ang="0">
                    <a:pos x="140" y="0"/>
                  </a:cxn>
                  <a:cxn ang="0">
                    <a:pos x="146" y="2"/>
                  </a:cxn>
                  <a:cxn ang="0">
                    <a:pos x="146" y="6"/>
                  </a:cxn>
                  <a:cxn ang="0">
                    <a:pos x="144" y="10"/>
                  </a:cxn>
                  <a:cxn ang="0">
                    <a:pos x="138" y="12"/>
                  </a:cxn>
                  <a:cxn ang="0">
                    <a:pos x="124" y="16"/>
                  </a:cxn>
                  <a:cxn ang="0">
                    <a:pos x="86" y="26"/>
                  </a:cxn>
                  <a:cxn ang="0">
                    <a:pos x="70" y="32"/>
                  </a:cxn>
                  <a:cxn ang="0">
                    <a:pos x="56" y="40"/>
                  </a:cxn>
                  <a:cxn ang="0">
                    <a:pos x="52" y="44"/>
                  </a:cxn>
                  <a:cxn ang="0">
                    <a:pos x="46" y="50"/>
                  </a:cxn>
                  <a:cxn ang="0">
                    <a:pos x="42" y="56"/>
                  </a:cxn>
                  <a:cxn ang="0">
                    <a:pos x="40" y="62"/>
                  </a:cxn>
                  <a:cxn ang="0">
                    <a:pos x="42" y="70"/>
                  </a:cxn>
                  <a:cxn ang="0">
                    <a:pos x="46" y="74"/>
                  </a:cxn>
                  <a:cxn ang="0">
                    <a:pos x="50" y="78"/>
                  </a:cxn>
                  <a:cxn ang="0">
                    <a:pos x="56" y="80"/>
                  </a:cxn>
                  <a:cxn ang="0">
                    <a:pos x="68" y="86"/>
                  </a:cxn>
                  <a:cxn ang="0">
                    <a:pos x="74" y="88"/>
                  </a:cxn>
                  <a:cxn ang="0">
                    <a:pos x="78" y="92"/>
                  </a:cxn>
                  <a:cxn ang="0">
                    <a:pos x="68" y="92"/>
                  </a:cxn>
                  <a:cxn ang="0">
                    <a:pos x="58" y="92"/>
                  </a:cxn>
                  <a:cxn ang="0">
                    <a:pos x="38" y="94"/>
                  </a:cxn>
                </a:cxnLst>
                <a:rect l="0" t="0" r="r" b="b"/>
                <a:pathLst>
                  <a:path w="146" h="94">
                    <a:moveTo>
                      <a:pt x="38" y="94"/>
                    </a:moveTo>
                    <a:lnTo>
                      <a:pt x="34" y="92"/>
                    </a:lnTo>
                    <a:lnTo>
                      <a:pt x="30" y="86"/>
                    </a:lnTo>
                    <a:lnTo>
                      <a:pt x="24" y="76"/>
                    </a:lnTo>
                    <a:lnTo>
                      <a:pt x="16" y="76"/>
                    </a:lnTo>
                    <a:lnTo>
                      <a:pt x="8" y="76"/>
                    </a:lnTo>
                    <a:lnTo>
                      <a:pt x="4" y="74"/>
                    </a:lnTo>
                    <a:lnTo>
                      <a:pt x="0" y="72"/>
                    </a:lnTo>
                    <a:lnTo>
                      <a:pt x="0" y="70"/>
                    </a:lnTo>
                    <a:lnTo>
                      <a:pt x="4" y="68"/>
                    </a:lnTo>
                    <a:lnTo>
                      <a:pt x="6" y="66"/>
                    </a:lnTo>
                    <a:lnTo>
                      <a:pt x="10" y="60"/>
                    </a:lnTo>
                    <a:lnTo>
                      <a:pt x="12" y="54"/>
                    </a:lnTo>
                    <a:lnTo>
                      <a:pt x="16" y="54"/>
                    </a:lnTo>
                    <a:lnTo>
                      <a:pt x="22" y="52"/>
                    </a:lnTo>
                    <a:lnTo>
                      <a:pt x="24" y="42"/>
                    </a:lnTo>
                    <a:lnTo>
                      <a:pt x="26" y="34"/>
                    </a:lnTo>
                    <a:lnTo>
                      <a:pt x="30" y="28"/>
                    </a:lnTo>
                    <a:lnTo>
                      <a:pt x="36" y="22"/>
                    </a:lnTo>
                    <a:lnTo>
                      <a:pt x="52" y="16"/>
                    </a:lnTo>
                    <a:lnTo>
                      <a:pt x="68" y="10"/>
                    </a:lnTo>
                    <a:lnTo>
                      <a:pt x="100" y="10"/>
                    </a:lnTo>
                    <a:lnTo>
                      <a:pt x="114" y="2"/>
                    </a:lnTo>
                    <a:lnTo>
                      <a:pt x="122" y="0"/>
                    </a:lnTo>
                    <a:lnTo>
                      <a:pt x="132" y="0"/>
                    </a:lnTo>
                    <a:lnTo>
                      <a:pt x="140" y="0"/>
                    </a:lnTo>
                    <a:lnTo>
                      <a:pt x="146" y="2"/>
                    </a:lnTo>
                    <a:lnTo>
                      <a:pt x="146" y="6"/>
                    </a:lnTo>
                    <a:lnTo>
                      <a:pt x="144" y="10"/>
                    </a:lnTo>
                    <a:lnTo>
                      <a:pt x="138" y="12"/>
                    </a:lnTo>
                    <a:lnTo>
                      <a:pt x="124" y="16"/>
                    </a:lnTo>
                    <a:lnTo>
                      <a:pt x="86" y="26"/>
                    </a:lnTo>
                    <a:lnTo>
                      <a:pt x="70" y="32"/>
                    </a:lnTo>
                    <a:lnTo>
                      <a:pt x="56" y="40"/>
                    </a:lnTo>
                    <a:lnTo>
                      <a:pt x="52" y="44"/>
                    </a:lnTo>
                    <a:lnTo>
                      <a:pt x="46" y="50"/>
                    </a:lnTo>
                    <a:lnTo>
                      <a:pt x="42" y="56"/>
                    </a:lnTo>
                    <a:lnTo>
                      <a:pt x="40" y="62"/>
                    </a:lnTo>
                    <a:lnTo>
                      <a:pt x="42" y="70"/>
                    </a:lnTo>
                    <a:lnTo>
                      <a:pt x="46" y="74"/>
                    </a:lnTo>
                    <a:lnTo>
                      <a:pt x="50" y="78"/>
                    </a:lnTo>
                    <a:lnTo>
                      <a:pt x="56" y="80"/>
                    </a:lnTo>
                    <a:lnTo>
                      <a:pt x="68" y="86"/>
                    </a:lnTo>
                    <a:lnTo>
                      <a:pt x="74" y="88"/>
                    </a:lnTo>
                    <a:lnTo>
                      <a:pt x="78" y="92"/>
                    </a:lnTo>
                    <a:lnTo>
                      <a:pt x="68" y="92"/>
                    </a:lnTo>
                    <a:lnTo>
                      <a:pt x="58" y="92"/>
                    </a:lnTo>
                    <a:lnTo>
                      <a:pt x="38" y="9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2" name="Freeform 194"/>
              <p:cNvSpPr>
                <a:spLocks noChangeAspect="1"/>
              </p:cNvSpPr>
              <p:nvPr/>
            </p:nvSpPr>
            <p:spPr bwMode="auto">
              <a:xfrm>
                <a:off x="4885210" y="2969652"/>
                <a:ext cx="148629" cy="38168"/>
              </a:xfrm>
              <a:custGeom>
                <a:avLst/>
                <a:gdLst/>
                <a:ahLst/>
                <a:cxnLst>
                  <a:cxn ang="0">
                    <a:pos x="106" y="26"/>
                  </a:cxn>
                  <a:cxn ang="0">
                    <a:pos x="98" y="28"/>
                  </a:cxn>
                  <a:cxn ang="0">
                    <a:pos x="92" y="28"/>
                  </a:cxn>
                  <a:cxn ang="0">
                    <a:pos x="82" y="26"/>
                  </a:cxn>
                  <a:cxn ang="0">
                    <a:pos x="80" y="28"/>
                  </a:cxn>
                  <a:cxn ang="0">
                    <a:pos x="78" y="30"/>
                  </a:cxn>
                  <a:cxn ang="0">
                    <a:pos x="64" y="28"/>
                  </a:cxn>
                  <a:cxn ang="0">
                    <a:pos x="50" y="24"/>
                  </a:cxn>
                  <a:cxn ang="0">
                    <a:pos x="44" y="22"/>
                  </a:cxn>
                  <a:cxn ang="0">
                    <a:pos x="38" y="18"/>
                  </a:cxn>
                  <a:cxn ang="0">
                    <a:pos x="36" y="14"/>
                  </a:cxn>
                  <a:cxn ang="0">
                    <a:pos x="36" y="10"/>
                  </a:cxn>
                  <a:cxn ang="0">
                    <a:pos x="20" y="10"/>
                  </a:cxn>
                  <a:cxn ang="0">
                    <a:pos x="10" y="10"/>
                  </a:cxn>
                  <a:cxn ang="0">
                    <a:pos x="4" y="8"/>
                  </a:cxn>
                  <a:cxn ang="0">
                    <a:pos x="2" y="6"/>
                  </a:cxn>
                  <a:cxn ang="0">
                    <a:pos x="0" y="4"/>
                  </a:cxn>
                  <a:cxn ang="0">
                    <a:pos x="2" y="2"/>
                  </a:cxn>
                  <a:cxn ang="0">
                    <a:pos x="4" y="2"/>
                  </a:cxn>
                  <a:cxn ang="0">
                    <a:pos x="12" y="0"/>
                  </a:cxn>
                  <a:cxn ang="0">
                    <a:pos x="24" y="0"/>
                  </a:cxn>
                  <a:cxn ang="0">
                    <a:pos x="34" y="0"/>
                  </a:cxn>
                  <a:cxn ang="0">
                    <a:pos x="44" y="2"/>
                  </a:cxn>
                  <a:cxn ang="0">
                    <a:pos x="52" y="4"/>
                  </a:cxn>
                  <a:cxn ang="0">
                    <a:pos x="54" y="8"/>
                  </a:cxn>
                  <a:cxn ang="0">
                    <a:pos x="54" y="10"/>
                  </a:cxn>
                  <a:cxn ang="0">
                    <a:pos x="48" y="10"/>
                  </a:cxn>
                  <a:cxn ang="0">
                    <a:pos x="60" y="12"/>
                  </a:cxn>
                  <a:cxn ang="0">
                    <a:pos x="66" y="14"/>
                  </a:cxn>
                  <a:cxn ang="0">
                    <a:pos x="70" y="14"/>
                  </a:cxn>
                  <a:cxn ang="0">
                    <a:pos x="74" y="14"/>
                  </a:cxn>
                  <a:cxn ang="0">
                    <a:pos x="78" y="12"/>
                  </a:cxn>
                  <a:cxn ang="0">
                    <a:pos x="86" y="14"/>
                  </a:cxn>
                  <a:cxn ang="0">
                    <a:pos x="92" y="16"/>
                  </a:cxn>
                  <a:cxn ang="0">
                    <a:pos x="102" y="26"/>
                  </a:cxn>
                  <a:cxn ang="0">
                    <a:pos x="106" y="26"/>
                  </a:cxn>
                </a:cxnLst>
                <a:rect l="0" t="0" r="r" b="b"/>
                <a:pathLst>
                  <a:path w="106" h="30">
                    <a:moveTo>
                      <a:pt x="106" y="26"/>
                    </a:moveTo>
                    <a:lnTo>
                      <a:pt x="98" y="28"/>
                    </a:lnTo>
                    <a:lnTo>
                      <a:pt x="92" y="28"/>
                    </a:lnTo>
                    <a:lnTo>
                      <a:pt x="82" y="26"/>
                    </a:lnTo>
                    <a:lnTo>
                      <a:pt x="80" y="28"/>
                    </a:lnTo>
                    <a:lnTo>
                      <a:pt x="78" y="30"/>
                    </a:lnTo>
                    <a:lnTo>
                      <a:pt x="64" y="28"/>
                    </a:lnTo>
                    <a:lnTo>
                      <a:pt x="50" y="24"/>
                    </a:lnTo>
                    <a:lnTo>
                      <a:pt x="44" y="22"/>
                    </a:lnTo>
                    <a:lnTo>
                      <a:pt x="38" y="18"/>
                    </a:lnTo>
                    <a:lnTo>
                      <a:pt x="36" y="14"/>
                    </a:lnTo>
                    <a:lnTo>
                      <a:pt x="36" y="10"/>
                    </a:lnTo>
                    <a:lnTo>
                      <a:pt x="20" y="10"/>
                    </a:lnTo>
                    <a:lnTo>
                      <a:pt x="10" y="10"/>
                    </a:lnTo>
                    <a:lnTo>
                      <a:pt x="4" y="8"/>
                    </a:lnTo>
                    <a:lnTo>
                      <a:pt x="2" y="6"/>
                    </a:lnTo>
                    <a:lnTo>
                      <a:pt x="0" y="4"/>
                    </a:lnTo>
                    <a:lnTo>
                      <a:pt x="2" y="2"/>
                    </a:lnTo>
                    <a:lnTo>
                      <a:pt x="4" y="2"/>
                    </a:lnTo>
                    <a:lnTo>
                      <a:pt x="12" y="0"/>
                    </a:lnTo>
                    <a:lnTo>
                      <a:pt x="24" y="0"/>
                    </a:lnTo>
                    <a:lnTo>
                      <a:pt x="34" y="0"/>
                    </a:lnTo>
                    <a:lnTo>
                      <a:pt x="44" y="2"/>
                    </a:lnTo>
                    <a:lnTo>
                      <a:pt x="52" y="4"/>
                    </a:lnTo>
                    <a:lnTo>
                      <a:pt x="54" y="8"/>
                    </a:lnTo>
                    <a:lnTo>
                      <a:pt x="54" y="10"/>
                    </a:lnTo>
                    <a:lnTo>
                      <a:pt x="48" y="10"/>
                    </a:lnTo>
                    <a:lnTo>
                      <a:pt x="60" y="12"/>
                    </a:lnTo>
                    <a:lnTo>
                      <a:pt x="66" y="14"/>
                    </a:lnTo>
                    <a:lnTo>
                      <a:pt x="70" y="14"/>
                    </a:lnTo>
                    <a:lnTo>
                      <a:pt x="74" y="14"/>
                    </a:lnTo>
                    <a:lnTo>
                      <a:pt x="78" y="12"/>
                    </a:lnTo>
                    <a:lnTo>
                      <a:pt x="86" y="14"/>
                    </a:lnTo>
                    <a:lnTo>
                      <a:pt x="92" y="16"/>
                    </a:lnTo>
                    <a:lnTo>
                      <a:pt x="102" y="26"/>
                    </a:lnTo>
                    <a:lnTo>
                      <a:pt x="106" y="2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3" name="Freeform 195"/>
              <p:cNvSpPr>
                <a:spLocks noChangeAspect="1"/>
              </p:cNvSpPr>
              <p:nvPr/>
            </p:nvSpPr>
            <p:spPr bwMode="auto">
              <a:xfrm>
                <a:off x="5050053" y="2994700"/>
                <a:ext cx="70261" cy="26240"/>
              </a:xfrm>
              <a:custGeom>
                <a:avLst/>
                <a:gdLst/>
                <a:ahLst/>
                <a:cxnLst>
                  <a:cxn ang="0">
                    <a:pos x="6" y="22"/>
                  </a:cxn>
                  <a:cxn ang="0">
                    <a:pos x="4" y="22"/>
                  </a:cxn>
                  <a:cxn ang="0">
                    <a:pos x="2" y="20"/>
                  </a:cxn>
                  <a:cxn ang="0">
                    <a:pos x="0" y="18"/>
                  </a:cxn>
                  <a:cxn ang="0">
                    <a:pos x="0" y="6"/>
                  </a:cxn>
                  <a:cxn ang="0">
                    <a:pos x="4" y="2"/>
                  </a:cxn>
                  <a:cxn ang="0">
                    <a:pos x="6" y="0"/>
                  </a:cxn>
                  <a:cxn ang="0">
                    <a:pos x="14" y="0"/>
                  </a:cxn>
                  <a:cxn ang="0">
                    <a:pos x="20" y="4"/>
                  </a:cxn>
                  <a:cxn ang="0">
                    <a:pos x="32" y="6"/>
                  </a:cxn>
                  <a:cxn ang="0">
                    <a:pos x="52" y="10"/>
                  </a:cxn>
                  <a:cxn ang="0">
                    <a:pos x="50" y="14"/>
                  </a:cxn>
                  <a:cxn ang="0">
                    <a:pos x="46" y="16"/>
                  </a:cxn>
                  <a:cxn ang="0">
                    <a:pos x="40" y="18"/>
                  </a:cxn>
                  <a:cxn ang="0">
                    <a:pos x="28" y="18"/>
                  </a:cxn>
                  <a:cxn ang="0">
                    <a:pos x="20" y="20"/>
                  </a:cxn>
                  <a:cxn ang="0">
                    <a:pos x="14" y="22"/>
                  </a:cxn>
                  <a:cxn ang="0">
                    <a:pos x="6" y="22"/>
                  </a:cxn>
                </a:cxnLst>
                <a:rect l="0" t="0" r="r" b="b"/>
                <a:pathLst>
                  <a:path w="52" h="22">
                    <a:moveTo>
                      <a:pt x="6" y="22"/>
                    </a:moveTo>
                    <a:lnTo>
                      <a:pt x="4" y="22"/>
                    </a:lnTo>
                    <a:lnTo>
                      <a:pt x="2" y="20"/>
                    </a:lnTo>
                    <a:lnTo>
                      <a:pt x="0" y="18"/>
                    </a:lnTo>
                    <a:lnTo>
                      <a:pt x="0" y="6"/>
                    </a:lnTo>
                    <a:lnTo>
                      <a:pt x="4" y="2"/>
                    </a:lnTo>
                    <a:lnTo>
                      <a:pt x="6" y="0"/>
                    </a:lnTo>
                    <a:lnTo>
                      <a:pt x="14" y="0"/>
                    </a:lnTo>
                    <a:lnTo>
                      <a:pt x="20" y="4"/>
                    </a:lnTo>
                    <a:lnTo>
                      <a:pt x="32" y="6"/>
                    </a:lnTo>
                    <a:lnTo>
                      <a:pt x="52" y="10"/>
                    </a:lnTo>
                    <a:lnTo>
                      <a:pt x="50" y="14"/>
                    </a:lnTo>
                    <a:lnTo>
                      <a:pt x="46" y="16"/>
                    </a:lnTo>
                    <a:lnTo>
                      <a:pt x="40" y="18"/>
                    </a:lnTo>
                    <a:lnTo>
                      <a:pt x="28" y="18"/>
                    </a:lnTo>
                    <a:lnTo>
                      <a:pt x="20" y="20"/>
                    </a:lnTo>
                    <a:lnTo>
                      <a:pt x="14" y="22"/>
                    </a:lnTo>
                    <a:lnTo>
                      <a:pt x="6" y="2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4" name="Freeform 196"/>
              <p:cNvSpPr>
                <a:spLocks noChangeAspect="1"/>
              </p:cNvSpPr>
              <p:nvPr/>
            </p:nvSpPr>
            <p:spPr bwMode="auto">
              <a:xfrm>
                <a:off x="5671593" y="3042411"/>
                <a:ext cx="128361" cy="25047"/>
              </a:xfrm>
              <a:custGeom>
                <a:avLst/>
                <a:gdLst/>
                <a:ahLst/>
                <a:cxnLst>
                  <a:cxn ang="0">
                    <a:pos x="72" y="12"/>
                  </a:cxn>
                  <a:cxn ang="0">
                    <a:pos x="72" y="18"/>
                  </a:cxn>
                  <a:cxn ang="0">
                    <a:pos x="38" y="18"/>
                  </a:cxn>
                  <a:cxn ang="0">
                    <a:pos x="28" y="18"/>
                  </a:cxn>
                  <a:cxn ang="0">
                    <a:pos x="14" y="18"/>
                  </a:cxn>
                  <a:cxn ang="0">
                    <a:pos x="10" y="16"/>
                  </a:cxn>
                  <a:cxn ang="0">
                    <a:pos x="4" y="12"/>
                  </a:cxn>
                  <a:cxn ang="0">
                    <a:pos x="0" y="10"/>
                  </a:cxn>
                  <a:cxn ang="0">
                    <a:pos x="0" y="6"/>
                  </a:cxn>
                  <a:cxn ang="0">
                    <a:pos x="0" y="4"/>
                  </a:cxn>
                  <a:cxn ang="0">
                    <a:pos x="4" y="2"/>
                  </a:cxn>
                  <a:cxn ang="0">
                    <a:pos x="10" y="0"/>
                  </a:cxn>
                  <a:cxn ang="0">
                    <a:pos x="14" y="0"/>
                  </a:cxn>
                  <a:cxn ang="0">
                    <a:pos x="20" y="4"/>
                  </a:cxn>
                  <a:cxn ang="0">
                    <a:pos x="26" y="6"/>
                  </a:cxn>
                  <a:cxn ang="0">
                    <a:pos x="32" y="6"/>
                  </a:cxn>
                  <a:cxn ang="0">
                    <a:pos x="36" y="6"/>
                  </a:cxn>
                  <a:cxn ang="0">
                    <a:pos x="36" y="4"/>
                  </a:cxn>
                  <a:cxn ang="0">
                    <a:pos x="38" y="2"/>
                  </a:cxn>
                  <a:cxn ang="0">
                    <a:pos x="40" y="2"/>
                  </a:cxn>
                  <a:cxn ang="0">
                    <a:pos x="54" y="2"/>
                  </a:cxn>
                  <a:cxn ang="0">
                    <a:pos x="68" y="4"/>
                  </a:cxn>
                  <a:cxn ang="0">
                    <a:pos x="84" y="6"/>
                  </a:cxn>
                  <a:cxn ang="0">
                    <a:pos x="90" y="8"/>
                  </a:cxn>
                  <a:cxn ang="0">
                    <a:pos x="92" y="12"/>
                  </a:cxn>
                  <a:cxn ang="0">
                    <a:pos x="82" y="16"/>
                  </a:cxn>
                  <a:cxn ang="0">
                    <a:pos x="76" y="16"/>
                  </a:cxn>
                  <a:cxn ang="0">
                    <a:pos x="72" y="12"/>
                  </a:cxn>
                </a:cxnLst>
                <a:rect l="0" t="0" r="r" b="b"/>
                <a:pathLst>
                  <a:path w="92" h="18">
                    <a:moveTo>
                      <a:pt x="72" y="12"/>
                    </a:moveTo>
                    <a:lnTo>
                      <a:pt x="72" y="18"/>
                    </a:lnTo>
                    <a:lnTo>
                      <a:pt x="38" y="18"/>
                    </a:lnTo>
                    <a:lnTo>
                      <a:pt x="28" y="18"/>
                    </a:lnTo>
                    <a:lnTo>
                      <a:pt x="14" y="18"/>
                    </a:lnTo>
                    <a:lnTo>
                      <a:pt x="10" y="16"/>
                    </a:lnTo>
                    <a:lnTo>
                      <a:pt x="4" y="12"/>
                    </a:lnTo>
                    <a:lnTo>
                      <a:pt x="0" y="10"/>
                    </a:lnTo>
                    <a:lnTo>
                      <a:pt x="0" y="6"/>
                    </a:lnTo>
                    <a:lnTo>
                      <a:pt x="0" y="4"/>
                    </a:lnTo>
                    <a:lnTo>
                      <a:pt x="4" y="2"/>
                    </a:lnTo>
                    <a:lnTo>
                      <a:pt x="10" y="0"/>
                    </a:lnTo>
                    <a:lnTo>
                      <a:pt x="14" y="0"/>
                    </a:lnTo>
                    <a:lnTo>
                      <a:pt x="20" y="4"/>
                    </a:lnTo>
                    <a:lnTo>
                      <a:pt x="26" y="6"/>
                    </a:lnTo>
                    <a:lnTo>
                      <a:pt x="32" y="6"/>
                    </a:lnTo>
                    <a:lnTo>
                      <a:pt x="36" y="6"/>
                    </a:lnTo>
                    <a:lnTo>
                      <a:pt x="36" y="4"/>
                    </a:lnTo>
                    <a:lnTo>
                      <a:pt x="38" y="2"/>
                    </a:lnTo>
                    <a:lnTo>
                      <a:pt x="40" y="2"/>
                    </a:lnTo>
                    <a:lnTo>
                      <a:pt x="54" y="2"/>
                    </a:lnTo>
                    <a:lnTo>
                      <a:pt x="68" y="4"/>
                    </a:lnTo>
                    <a:lnTo>
                      <a:pt x="84" y="6"/>
                    </a:lnTo>
                    <a:lnTo>
                      <a:pt x="90" y="8"/>
                    </a:lnTo>
                    <a:lnTo>
                      <a:pt x="92" y="12"/>
                    </a:lnTo>
                    <a:lnTo>
                      <a:pt x="82" y="16"/>
                    </a:lnTo>
                    <a:lnTo>
                      <a:pt x="76" y="16"/>
                    </a:lnTo>
                    <a:lnTo>
                      <a:pt x="72"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5" name="Freeform 197"/>
              <p:cNvSpPr>
                <a:spLocks noChangeAspect="1"/>
              </p:cNvSpPr>
              <p:nvPr/>
            </p:nvSpPr>
            <p:spPr bwMode="auto">
              <a:xfrm>
                <a:off x="5818870" y="3050759"/>
                <a:ext cx="72963" cy="19084"/>
              </a:xfrm>
              <a:custGeom>
                <a:avLst/>
                <a:gdLst/>
                <a:ahLst/>
                <a:cxnLst>
                  <a:cxn ang="0">
                    <a:pos x="42" y="16"/>
                  </a:cxn>
                  <a:cxn ang="0">
                    <a:pos x="32" y="16"/>
                  </a:cxn>
                  <a:cxn ang="0">
                    <a:pos x="18" y="12"/>
                  </a:cxn>
                  <a:cxn ang="0">
                    <a:pos x="6" y="8"/>
                  </a:cxn>
                  <a:cxn ang="0">
                    <a:pos x="2" y="4"/>
                  </a:cxn>
                  <a:cxn ang="0">
                    <a:pos x="0" y="0"/>
                  </a:cxn>
                  <a:cxn ang="0">
                    <a:pos x="8" y="0"/>
                  </a:cxn>
                  <a:cxn ang="0">
                    <a:pos x="18" y="4"/>
                  </a:cxn>
                  <a:cxn ang="0">
                    <a:pos x="30" y="4"/>
                  </a:cxn>
                  <a:cxn ang="0">
                    <a:pos x="42" y="6"/>
                  </a:cxn>
                  <a:cxn ang="0">
                    <a:pos x="46" y="6"/>
                  </a:cxn>
                  <a:cxn ang="0">
                    <a:pos x="52" y="8"/>
                  </a:cxn>
                  <a:cxn ang="0">
                    <a:pos x="48" y="14"/>
                  </a:cxn>
                  <a:cxn ang="0">
                    <a:pos x="42" y="16"/>
                  </a:cxn>
                </a:cxnLst>
                <a:rect l="0" t="0" r="r" b="b"/>
                <a:pathLst>
                  <a:path w="52" h="16">
                    <a:moveTo>
                      <a:pt x="42" y="16"/>
                    </a:moveTo>
                    <a:lnTo>
                      <a:pt x="32" y="16"/>
                    </a:lnTo>
                    <a:lnTo>
                      <a:pt x="18" y="12"/>
                    </a:lnTo>
                    <a:lnTo>
                      <a:pt x="6" y="8"/>
                    </a:lnTo>
                    <a:lnTo>
                      <a:pt x="2" y="4"/>
                    </a:lnTo>
                    <a:lnTo>
                      <a:pt x="0" y="0"/>
                    </a:lnTo>
                    <a:lnTo>
                      <a:pt x="8" y="0"/>
                    </a:lnTo>
                    <a:lnTo>
                      <a:pt x="18" y="4"/>
                    </a:lnTo>
                    <a:lnTo>
                      <a:pt x="30" y="4"/>
                    </a:lnTo>
                    <a:lnTo>
                      <a:pt x="42" y="6"/>
                    </a:lnTo>
                    <a:lnTo>
                      <a:pt x="46" y="6"/>
                    </a:lnTo>
                    <a:lnTo>
                      <a:pt x="52" y="8"/>
                    </a:lnTo>
                    <a:lnTo>
                      <a:pt x="48" y="14"/>
                    </a:lnTo>
                    <a:lnTo>
                      <a:pt x="42" y="1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6" name="Freeform 198"/>
              <p:cNvSpPr>
                <a:spLocks noChangeAspect="1"/>
              </p:cNvSpPr>
              <p:nvPr/>
            </p:nvSpPr>
            <p:spPr bwMode="auto">
              <a:xfrm>
                <a:off x="6471487" y="3121131"/>
                <a:ext cx="51345" cy="19084"/>
              </a:xfrm>
              <a:custGeom>
                <a:avLst/>
                <a:gdLst/>
                <a:ahLst/>
                <a:cxnLst>
                  <a:cxn ang="0">
                    <a:pos x="18" y="10"/>
                  </a:cxn>
                  <a:cxn ang="0">
                    <a:pos x="14" y="12"/>
                  </a:cxn>
                  <a:cxn ang="0">
                    <a:pos x="10" y="14"/>
                  </a:cxn>
                  <a:cxn ang="0">
                    <a:pos x="6" y="14"/>
                  </a:cxn>
                  <a:cxn ang="0">
                    <a:pos x="2" y="12"/>
                  </a:cxn>
                  <a:cxn ang="0">
                    <a:pos x="0" y="8"/>
                  </a:cxn>
                  <a:cxn ang="0">
                    <a:pos x="2" y="6"/>
                  </a:cxn>
                  <a:cxn ang="0">
                    <a:pos x="8" y="2"/>
                  </a:cxn>
                  <a:cxn ang="0">
                    <a:pos x="14" y="0"/>
                  </a:cxn>
                  <a:cxn ang="0">
                    <a:pos x="22" y="0"/>
                  </a:cxn>
                  <a:cxn ang="0">
                    <a:pos x="28" y="4"/>
                  </a:cxn>
                  <a:cxn ang="0">
                    <a:pos x="38" y="10"/>
                  </a:cxn>
                  <a:cxn ang="0">
                    <a:pos x="28" y="12"/>
                  </a:cxn>
                  <a:cxn ang="0">
                    <a:pos x="18" y="10"/>
                  </a:cxn>
                </a:cxnLst>
                <a:rect l="0" t="0" r="r" b="b"/>
                <a:pathLst>
                  <a:path w="38" h="14">
                    <a:moveTo>
                      <a:pt x="18" y="10"/>
                    </a:moveTo>
                    <a:lnTo>
                      <a:pt x="14" y="12"/>
                    </a:lnTo>
                    <a:lnTo>
                      <a:pt x="10" y="14"/>
                    </a:lnTo>
                    <a:lnTo>
                      <a:pt x="6" y="14"/>
                    </a:lnTo>
                    <a:lnTo>
                      <a:pt x="2" y="12"/>
                    </a:lnTo>
                    <a:lnTo>
                      <a:pt x="0" y="8"/>
                    </a:lnTo>
                    <a:lnTo>
                      <a:pt x="2" y="6"/>
                    </a:lnTo>
                    <a:lnTo>
                      <a:pt x="8" y="2"/>
                    </a:lnTo>
                    <a:lnTo>
                      <a:pt x="14" y="0"/>
                    </a:lnTo>
                    <a:lnTo>
                      <a:pt x="22" y="0"/>
                    </a:lnTo>
                    <a:lnTo>
                      <a:pt x="28" y="4"/>
                    </a:lnTo>
                    <a:lnTo>
                      <a:pt x="38" y="10"/>
                    </a:lnTo>
                    <a:lnTo>
                      <a:pt x="28" y="12"/>
                    </a:lnTo>
                    <a:lnTo>
                      <a:pt x="18" y="1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7" name="Freeform 199"/>
              <p:cNvSpPr>
                <a:spLocks noChangeAspect="1"/>
              </p:cNvSpPr>
              <p:nvPr/>
            </p:nvSpPr>
            <p:spPr bwMode="auto">
              <a:xfrm>
                <a:off x="6321506" y="3462258"/>
                <a:ext cx="167545" cy="175333"/>
              </a:xfrm>
              <a:custGeom>
                <a:avLst/>
                <a:gdLst/>
                <a:ahLst/>
                <a:cxnLst>
                  <a:cxn ang="0">
                    <a:pos x="0" y="0"/>
                  </a:cxn>
                  <a:cxn ang="0">
                    <a:pos x="98" y="90"/>
                  </a:cxn>
                  <a:cxn ang="0">
                    <a:pos x="94" y="90"/>
                  </a:cxn>
                  <a:cxn ang="0">
                    <a:pos x="92" y="90"/>
                  </a:cxn>
                  <a:cxn ang="0">
                    <a:pos x="88" y="88"/>
                  </a:cxn>
                  <a:cxn ang="0">
                    <a:pos x="82" y="86"/>
                  </a:cxn>
                  <a:cxn ang="0">
                    <a:pos x="78" y="88"/>
                  </a:cxn>
                  <a:cxn ang="0">
                    <a:pos x="76" y="90"/>
                  </a:cxn>
                  <a:cxn ang="0">
                    <a:pos x="78" y="98"/>
                  </a:cxn>
                  <a:cxn ang="0">
                    <a:pos x="82" y="106"/>
                  </a:cxn>
                  <a:cxn ang="0">
                    <a:pos x="88" y="114"/>
                  </a:cxn>
                  <a:cxn ang="0">
                    <a:pos x="92" y="118"/>
                  </a:cxn>
                  <a:cxn ang="0">
                    <a:pos x="108" y="130"/>
                  </a:cxn>
                  <a:cxn ang="0">
                    <a:pos x="120" y="138"/>
                  </a:cxn>
                  <a:cxn ang="0">
                    <a:pos x="112" y="138"/>
                  </a:cxn>
                  <a:cxn ang="0">
                    <a:pos x="108" y="136"/>
                  </a:cxn>
                  <a:cxn ang="0">
                    <a:pos x="102" y="134"/>
                  </a:cxn>
                  <a:cxn ang="0">
                    <a:pos x="102" y="146"/>
                  </a:cxn>
                  <a:cxn ang="0">
                    <a:pos x="94" y="140"/>
                  </a:cxn>
                  <a:cxn ang="0">
                    <a:pos x="88" y="130"/>
                  </a:cxn>
                  <a:cxn ang="0">
                    <a:pos x="76" y="114"/>
                  </a:cxn>
                  <a:cxn ang="0">
                    <a:pos x="66" y="94"/>
                  </a:cxn>
                  <a:cxn ang="0">
                    <a:pos x="54" y="76"/>
                  </a:cxn>
                  <a:cxn ang="0">
                    <a:pos x="44" y="62"/>
                  </a:cxn>
                  <a:cxn ang="0">
                    <a:pos x="34" y="50"/>
                  </a:cxn>
                  <a:cxn ang="0">
                    <a:pos x="24" y="42"/>
                  </a:cxn>
                  <a:cxn ang="0">
                    <a:pos x="12" y="36"/>
                  </a:cxn>
                  <a:cxn ang="0">
                    <a:pos x="10" y="32"/>
                  </a:cxn>
                  <a:cxn ang="0">
                    <a:pos x="6" y="28"/>
                  </a:cxn>
                  <a:cxn ang="0">
                    <a:pos x="4" y="22"/>
                  </a:cxn>
                  <a:cxn ang="0">
                    <a:pos x="2" y="16"/>
                  </a:cxn>
                  <a:cxn ang="0">
                    <a:pos x="0" y="0"/>
                  </a:cxn>
                </a:cxnLst>
                <a:rect l="0" t="0" r="r" b="b"/>
                <a:pathLst>
                  <a:path w="120" h="146">
                    <a:moveTo>
                      <a:pt x="0" y="0"/>
                    </a:moveTo>
                    <a:lnTo>
                      <a:pt x="98" y="90"/>
                    </a:lnTo>
                    <a:lnTo>
                      <a:pt x="94" y="90"/>
                    </a:lnTo>
                    <a:lnTo>
                      <a:pt x="92" y="90"/>
                    </a:lnTo>
                    <a:lnTo>
                      <a:pt x="88" y="88"/>
                    </a:lnTo>
                    <a:lnTo>
                      <a:pt x="82" y="86"/>
                    </a:lnTo>
                    <a:lnTo>
                      <a:pt x="78" y="88"/>
                    </a:lnTo>
                    <a:lnTo>
                      <a:pt x="76" y="90"/>
                    </a:lnTo>
                    <a:lnTo>
                      <a:pt x="78" y="98"/>
                    </a:lnTo>
                    <a:lnTo>
                      <a:pt x="82" y="106"/>
                    </a:lnTo>
                    <a:lnTo>
                      <a:pt x="88" y="114"/>
                    </a:lnTo>
                    <a:lnTo>
                      <a:pt x="92" y="118"/>
                    </a:lnTo>
                    <a:lnTo>
                      <a:pt x="108" y="130"/>
                    </a:lnTo>
                    <a:lnTo>
                      <a:pt x="120" y="138"/>
                    </a:lnTo>
                    <a:lnTo>
                      <a:pt x="112" y="138"/>
                    </a:lnTo>
                    <a:lnTo>
                      <a:pt x="108" y="136"/>
                    </a:lnTo>
                    <a:lnTo>
                      <a:pt x="102" y="134"/>
                    </a:lnTo>
                    <a:lnTo>
                      <a:pt x="102" y="146"/>
                    </a:lnTo>
                    <a:lnTo>
                      <a:pt x="94" y="140"/>
                    </a:lnTo>
                    <a:lnTo>
                      <a:pt x="88" y="130"/>
                    </a:lnTo>
                    <a:lnTo>
                      <a:pt x="76" y="114"/>
                    </a:lnTo>
                    <a:lnTo>
                      <a:pt x="66" y="94"/>
                    </a:lnTo>
                    <a:lnTo>
                      <a:pt x="54" y="76"/>
                    </a:lnTo>
                    <a:lnTo>
                      <a:pt x="44" y="62"/>
                    </a:lnTo>
                    <a:lnTo>
                      <a:pt x="34" y="50"/>
                    </a:lnTo>
                    <a:lnTo>
                      <a:pt x="24" y="42"/>
                    </a:lnTo>
                    <a:lnTo>
                      <a:pt x="12" y="36"/>
                    </a:lnTo>
                    <a:lnTo>
                      <a:pt x="10" y="32"/>
                    </a:lnTo>
                    <a:lnTo>
                      <a:pt x="6" y="28"/>
                    </a:lnTo>
                    <a:lnTo>
                      <a:pt x="4" y="22"/>
                    </a:lnTo>
                    <a:lnTo>
                      <a:pt x="2" y="16"/>
                    </a:lnTo>
                    <a:lnTo>
                      <a:pt x="0"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8" name="Freeform 200"/>
              <p:cNvSpPr>
                <a:spLocks noChangeAspect="1"/>
              </p:cNvSpPr>
              <p:nvPr/>
            </p:nvSpPr>
            <p:spPr bwMode="auto">
              <a:xfrm>
                <a:off x="4696045" y="3710349"/>
                <a:ext cx="322930" cy="156249"/>
              </a:xfrm>
              <a:custGeom>
                <a:avLst/>
                <a:gdLst/>
                <a:ahLst/>
                <a:cxnLst>
                  <a:cxn ang="0">
                    <a:pos x="18" y="6"/>
                  </a:cxn>
                  <a:cxn ang="0">
                    <a:pos x="42" y="22"/>
                  </a:cxn>
                  <a:cxn ang="0">
                    <a:pos x="66" y="24"/>
                  </a:cxn>
                  <a:cxn ang="0">
                    <a:pos x="78" y="4"/>
                  </a:cxn>
                  <a:cxn ang="0">
                    <a:pos x="104" y="6"/>
                  </a:cxn>
                  <a:cxn ang="0">
                    <a:pos x="112" y="18"/>
                  </a:cxn>
                  <a:cxn ang="0">
                    <a:pos x="114" y="26"/>
                  </a:cxn>
                  <a:cxn ang="0">
                    <a:pos x="130" y="28"/>
                  </a:cxn>
                  <a:cxn ang="0">
                    <a:pos x="146" y="38"/>
                  </a:cxn>
                  <a:cxn ang="0">
                    <a:pos x="170" y="60"/>
                  </a:cxn>
                  <a:cxn ang="0">
                    <a:pos x="192" y="70"/>
                  </a:cxn>
                  <a:cxn ang="0">
                    <a:pos x="216" y="84"/>
                  </a:cxn>
                  <a:cxn ang="0">
                    <a:pos x="226" y="86"/>
                  </a:cxn>
                  <a:cxn ang="0">
                    <a:pos x="230" y="96"/>
                  </a:cxn>
                  <a:cxn ang="0">
                    <a:pos x="220" y="100"/>
                  </a:cxn>
                  <a:cxn ang="0">
                    <a:pos x="206" y="92"/>
                  </a:cxn>
                  <a:cxn ang="0">
                    <a:pos x="186" y="122"/>
                  </a:cxn>
                  <a:cxn ang="0">
                    <a:pos x="170" y="130"/>
                  </a:cxn>
                  <a:cxn ang="0">
                    <a:pos x="150" y="128"/>
                  </a:cxn>
                  <a:cxn ang="0">
                    <a:pos x="148" y="112"/>
                  </a:cxn>
                  <a:cxn ang="0">
                    <a:pos x="132" y="106"/>
                  </a:cxn>
                  <a:cxn ang="0">
                    <a:pos x="108" y="92"/>
                  </a:cxn>
                  <a:cxn ang="0">
                    <a:pos x="78" y="74"/>
                  </a:cxn>
                  <a:cxn ang="0">
                    <a:pos x="54" y="76"/>
                  </a:cxn>
                  <a:cxn ang="0">
                    <a:pos x="30" y="92"/>
                  </a:cxn>
                  <a:cxn ang="0">
                    <a:pos x="24" y="68"/>
                  </a:cxn>
                  <a:cxn ang="0">
                    <a:pos x="8" y="52"/>
                  </a:cxn>
                  <a:cxn ang="0">
                    <a:pos x="0" y="36"/>
                  </a:cxn>
                  <a:cxn ang="0">
                    <a:pos x="8" y="30"/>
                  </a:cxn>
                  <a:cxn ang="0">
                    <a:pos x="22" y="36"/>
                  </a:cxn>
                  <a:cxn ang="0">
                    <a:pos x="22" y="22"/>
                  </a:cxn>
                  <a:cxn ang="0">
                    <a:pos x="10" y="10"/>
                  </a:cxn>
                </a:cxnLst>
                <a:rect l="0" t="0" r="r" b="b"/>
                <a:pathLst>
                  <a:path w="230" h="130">
                    <a:moveTo>
                      <a:pt x="6" y="6"/>
                    </a:moveTo>
                    <a:lnTo>
                      <a:pt x="18" y="6"/>
                    </a:lnTo>
                    <a:lnTo>
                      <a:pt x="28" y="10"/>
                    </a:lnTo>
                    <a:lnTo>
                      <a:pt x="42" y="22"/>
                    </a:lnTo>
                    <a:lnTo>
                      <a:pt x="50" y="22"/>
                    </a:lnTo>
                    <a:lnTo>
                      <a:pt x="66" y="24"/>
                    </a:lnTo>
                    <a:lnTo>
                      <a:pt x="66" y="14"/>
                    </a:lnTo>
                    <a:lnTo>
                      <a:pt x="78" y="4"/>
                    </a:lnTo>
                    <a:lnTo>
                      <a:pt x="88" y="0"/>
                    </a:lnTo>
                    <a:lnTo>
                      <a:pt x="104" y="6"/>
                    </a:lnTo>
                    <a:lnTo>
                      <a:pt x="110" y="12"/>
                    </a:lnTo>
                    <a:lnTo>
                      <a:pt x="112" y="18"/>
                    </a:lnTo>
                    <a:lnTo>
                      <a:pt x="114" y="22"/>
                    </a:lnTo>
                    <a:lnTo>
                      <a:pt x="114" y="26"/>
                    </a:lnTo>
                    <a:lnTo>
                      <a:pt x="120" y="28"/>
                    </a:lnTo>
                    <a:lnTo>
                      <a:pt x="130" y="28"/>
                    </a:lnTo>
                    <a:lnTo>
                      <a:pt x="140" y="28"/>
                    </a:lnTo>
                    <a:lnTo>
                      <a:pt x="146" y="38"/>
                    </a:lnTo>
                    <a:lnTo>
                      <a:pt x="158" y="52"/>
                    </a:lnTo>
                    <a:lnTo>
                      <a:pt x="170" y="60"/>
                    </a:lnTo>
                    <a:lnTo>
                      <a:pt x="180" y="68"/>
                    </a:lnTo>
                    <a:lnTo>
                      <a:pt x="192" y="70"/>
                    </a:lnTo>
                    <a:lnTo>
                      <a:pt x="204" y="80"/>
                    </a:lnTo>
                    <a:lnTo>
                      <a:pt x="216" y="84"/>
                    </a:lnTo>
                    <a:lnTo>
                      <a:pt x="222" y="86"/>
                    </a:lnTo>
                    <a:lnTo>
                      <a:pt x="226" y="86"/>
                    </a:lnTo>
                    <a:lnTo>
                      <a:pt x="228" y="88"/>
                    </a:lnTo>
                    <a:lnTo>
                      <a:pt x="230" y="96"/>
                    </a:lnTo>
                    <a:lnTo>
                      <a:pt x="230" y="100"/>
                    </a:lnTo>
                    <a:lnTo>
                      <a:pt x="220" y="100"/>
                    </a:lnTo>
                    <a:lnTo>
                      <a:pt x="212" y="96"/>
                    </a:lnTo>
                    <a:lnTo>
                      <a:pt x="206" y="92"/>
                    </a:lnTo>
                    <a:lnTo>
                      <a:pt x="196" y="108"/>
                    </a:lnTo>
                    <a:lnTo>
                      <a:pt x="186" y="122"/>
                    </a:lnTo>
                    <a:lnTo>
                      <a:pt x="178" y="128"/>
                    </a:lnTo>
                    <a:lnTo>
                      <a:pt x="170" y="130"/>
                    </a:lnTo>
                    <a:lnTo>
                      <a:pt x="160" y="128"/>
                    </a:lnTo>
                    <a:lnTo>
                      <a:pt x="150" y="128"/>
                    </a:lnTo>
                    <a:lnTo>
                      <a:pt x="150" y="120"/>
                    </a:lnTo>
                    <a:lnTo>
                      <a:pt x="148" y="112"/>
                    </a:lnTo>
                    <a:lnTo>
                      <a:pt x="140" y="108"/>
                    </a:lnTo>
                    <a:lnTo>
                      <a:pt x="132" y="106"/>
                    </a:lnTo>
                    <a:lnTo>
                      <a:pt x="122" y="100"/>
                    </a:lnTo>
                    <a:lnTo>
                      <a:pt x="108" y="92"/>
                    </a:lnTo>
                    <a:lnTo>
                      <a:pt x="92" y="80"/>
                    </a:lnTo>
                    <a:lnTo>
                      <a:pt x="78" y="74"/>
                    </a:lnTo>
                    <a:lnTo>
                      <a:pt x="66" y="76"/>
                    </a:lnTo>
                    <a:lnTo>
                      <a:pt x="54" y="76"/>
                    </a:lnTo>
                    <a:lnTo>
                      <a:pt x="46" y="82"/>
                    </a:lnTo>
                    <a:lnTo>
                      <a:pt x="30" y="92"/>
                    </a:lnTo>
                    <a:lnTo>
                      <a:pt x="28" y="80"/>
                    </a:lnTo>
                    <a:lnTo>
                      <a:pt x="24" y="68"/>
                    </a:lnTo>
                    <a:lnTo>
                      <a:pt x="18" y="62"/>
                    </a:lnTo>
                    <a:lnTo>
                      <a:pt x="8" y="52"/>
                    </a:lnTo>
                    <a:lnTo>
                      <a:pt x="0" y="42"/>
                    </a:lnTo>
                    <a:lnTo>
                      <a:pt x="0" y="36"/>
                    </a:lnTo>
                    <a:lnTo>
                      <a:pt x="2" y="28"/>
                    </a:lnTo>
                    <a:lnTo>
                      <a:pt x="8" y="30"/>
                    </a:lnTo>
                    <a:lnTo>
                      <a:pt x="12" y="36"/>
                    </a:lnTo>
                    <a:lnTo>
                      <a:pt x="22" y="36"/>
                    </a:lnTo>
                    <a:lnTo>
                      <a:pt x="24" y="32"/>
                    </a:lnTo>
                    <a:lnTo>
                      <a:pt x="22" y="22"/>
                    </a:lnTo>
                    <a:lnTo>
                      <a:pt x="18" y="16"/>
                    </a:lnTo>
                    <a:lnTo>
                      <a:pt x="10" y="10"/>
                    </a:lnTo>
                    <a:lnTo>
                      <a:pt x="6"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89" name="Freeform 201"/>
              <p:cNvSpPr>
                <a:spLocks noChangeAspect="1"/>
              </p:cNvSpPr>
              <p:nvPr/>
            </p:nvSpPr>
            <p:spPr bwMode="auto">
              <a:xfrm>
                <a:off x="5074375" y="3699613"/>
                <a:ext cx="177003" cy="85878"/>
              </a:xfrm>
              <a:custGeom>
                <a:avLst/>
                <a:gdLst/>
                <a:ahLst/>
                <a:cxnLst>
                  <a:cxn ang="0">
                    <a:pos x="12" y="60"/>
                  </a:cxn>
                  <a:cxn ang="0">
                    <a:pos x="20" y="58"/>
                  </a:cxn>
                  <a:cxn ang="0">
                    <a:pos x="28" y="56"/>
                  </a:cxn>
                  <a:cxn ang="0">
                    <a:pos x="36" y="52"/>
                  </a:cxn>
                  <a:cxn ang="0">
                    <a:pos x="42" y="44"/>
                  </a:cxn>
                  <a:cxn ang="0">
                    <a:pos x="32" y="40"/>
                  </a:cxn>
                  <a:cxn ang="0">
                    <a:pos x="20" y="32"/>
                  </a:cxn>
                  <a:cxn ang="0">
                    <a:pos x="16" y="36"/>
                  </a:cxn>
                  <a:cxn ang="0">
                    <a:pos x="6" y="34"/>
                  </a:cxn>
                  <a:cxn ang="0">
                    <a:pos x="0" y="32"/>
                  </a:cxn>
                  <a:cxn ang="0">
                    <a:pos x="2" y="28"/>
                  </a:cxn>
                  <a:cxn ang="0">
                    <a:pos x="6" y="20"/>
                  </a:cxn>
                  <a:cxn ang="0">
                    <a:pos x="6" y="8"/>
                  </a:cxn>
                  <a:cxn ang="0">
                    <a:pos x="18" y="6"/>
                  </a:cxn>
                  <a:cxn ang="0">
                    <a:pos x="24" y="8"/>
                  </a:cxn>
                  <a:cxn ang="0">
                    <a:pos x="30" y="10"/>
                  </a:cxn>
                  <a:cxn ang="0">
                    <a:pos x="38" y="12"/>
                  </a:cxn>
                  <a:cxn ang="0">
                    <a:pos x="38" y="4"/>
                  </a:cxn>
                  <a:cxn ang="0">
                    <a:pos x="48" y="0"/>
                  </a:cxn>
                  <a:cxn ang="0">
                    <a:pos x="56" y="2"/>
                  </a:cxn>
                  <a:cxn ang="0">
                    <a:pos x="62" y="4"/>
                  </a:cxn>
                  <a:cxn ang="0">
                    <a:pos x="68" y="6"/>
                  </a:cxn>
                  <a:cxn ang="0">
                    <a:pos x="86" y="6"/>
                  </a:cxn>
                  <a:cxn ang="0">
                    <a:pos x="100" y="6"/>
                  </a:cxn>
                  <a:cxn ang="0">
                    <a:pos x="112" y="6"/>
                  </a:cxn>
                  <a:cxn ang="0">
                    <a:pos x="126" y="12"/>
                  </a:cxn>
                  <a:cxn ang="0">
                    <a:pos x="122" y="18"/>
                  </a:cxn>
                  <a:cxn ang="0">
                    <a:pos x="118" y="24"/>
                  </a:cxn>
                  <a:cxn ang="0">
                    <a:pos x="114" y="30"/>
                  </a:cxn>
                  <a:cxn ang="0">
                    <a:pos x="106" y="36"/>
                  </a:cxn>
                  <a:cxn ang="0">
                    <a:pos x="100" y="42"/>
                  </a:cxn>
                  <a:cxn ang="0">
                    <a:pos x="88" y="50"/>
                  </a:cxn>
                  <a:cxn ang="0">
                    <a:pos x="76" y="52"/>
                  </a:cxn>
                  <a:cxn ang="0">
                    <a:pos x="68" y="52"/>
                  </a:cxn>
                  <a:cxn ang="0">
                    <a:pos x="60" y="56"/>
                  </a:cxn>
                  <a:cxn ang="0">
                    <a:pos x="56" y="58"/>
                  </a:cxn>
                  <a:cxn ang="0">
                    <a:pos x="50" y="64"/>
                  </a:cxn>
                  <a:cxn ang="0">
                    <a:pos x="50" y="68"/>
                  </a:cxn>
                  <a:cxn ang="0">
                    <a:pos x="44" y="72"/>
                  </a:cxn>
                  <a:cxn ang="0">
                    <a:pos x="38" y="72"/>
                  </a:cxn>
                  <a:cxn ang="0">
                    <a:pos x="30" y="72"/>
                  </a:cxn>
                  <a:cxn ang="0">
                    <a:pos x="24" y="70"/>
                  </a:cxn>
                  <a:cxn ang="0">
                    <a:pos x="18" y="70"/>
                  </a:cxn>
                  <a:cxn ang="0">
                    <a:pos x="10" y="70"/>
                  </a:cxn>
                  <a:cxn ang="0">
                    <a:pos x="12" y="60"/>
                  </a:cxn>
                </a:cxnLst>
                <a:rect l="0" t="0" r="r" b="b"/>
                <a:pathLst>
                  <a:path w="126" h="72">
                    <a:moveTo>
                      <a:pt x="12" y="60"/>
                    </a:moveTo>
                    <a:lnTo>
                      <a:pt x="20" y="58"/>
                    </a:lnTo>
                    <a:lnTo>
                      <a:pt x="28" y="56"/>
                    </a:lnTo>
                    <a:lnTo>
                      <a:pt x="36" y="52"/>
                    </a:lnTo>
                    <a:lnTo>
                      <a:pt x="42" y="44"/>
                    </a:lnTo>
                    <a:lnTo>
                      <a:pt x="32" y="40"/>
                    </a:lnTo>
                    <a:lnTo>
                      <a:pt x="20" y="32"/>
                    </a:lnTo>
                    <a:lnTo>
                      <a:pt x="16" y="36"/>
                    </a:lnTo>
                    <a:lnTo>
                      <a:pt x="6" y="34"/>
                    </a:lnTo>
                    <a:lnTo>
                      <a:pt x="0" y="32"/>
                    </a:lnTo>
                    <a:lnTo>
                      <a:pt x="2" y="28"/>
                    </a:lnTo>
                    <a:lnTo>
                      <a:pt x="6" y="20"/>
                    </a:lnTo>
                    <a:lnTo>
                      <a:pt x="6" y="8"/>
                    </a:lnTo>
                    <a:lnTo>
                      <a:pt x="18" y="6"/>
                    </a:lnTo>
                    <a:lnTo>
                      <a:pt x="24" y="8"/>
                    </a:lnTo>
                    <a:lnTo>
                      <a:pt x="30" y="10"/>
                    </a:lnTo>
                    <a:lnTo>
                      <a:pt x="38" y="12"/>
                    </a:lnTo>
                    <a:lnTo>
                      <a:pt x="38" y="4"/>
                    </a:lnTo>
                    <a:lnTo>
                      <a:pt x="48" y="0"/>
                    </a:lnTo>
                    <a:lnTo>
                      <a:pt x="56" y="2"/>
                    </a:lnTo>
                    <a:lnTo>
                      <a:pt x="62" y="4"/>
                    </a:lnTo>
                    <a:lnTo>
                      <a:pt x="68" y="6"/>
                    </a:lnTo>
                    <a:lnTo>
                      <a:pt x="86" y="6"/>
                    </a:lnTo>
                    <a:lnTo>
                      <a:pt x="100" y="6"/>
                    </a:lnTo>
                    <a:lnTo>
                      <a:pt x="112" y="6"/>
                    </a:lnTo>
                    <a:lnTo>
                      <a:pt x="126" y="12"/>
                    </a:lnTo>
                    <a:lnTo>
                      <a:pt x="122" y="18"/>
                    </a:lnTo>
                    <a:lnTo>
                      <a:pt x="118" y="24"/>
                    </a:lnTo>
                    <a:lnTo>
                      <a:pt x="114" y="30"/>
                    </a:lnTo>
                    <a:lnTo>
                      <a:pt x="106" y="36"/>
                    </a:lnTo>
                    <a:lnTo>
                      <a:pt x="100" y="42"/>
                    </a:lnTo>
                    <a:lnTo>
                      <a:pt x="88" y="50"/>
                    </a:lnTo>
                    <a:lnTo>
                      <a:pt x="76" y="52"/>
                    </a:lnTo>
                    <a:lnTo>
                      <a:pt x="68" y="52"/>
                    </a:lnTo>
                    <a:lnTo>
                      <a:pt x="60" y="56"/>
                    </a:lnTo>
                    <a:lnTo>
                      <a:pt x="56" y="58"/>
                    </a:lnTo>
                    <a:lnTo>
                      <a:pt x="50" y="64"/>
                    </a:lnTo>
                    <a:lnTo>
                      <a:pt x="50" y="68"/>
                    </a:lnTo>
                    <a:lnTo>
                      <a:pt x="44" y="72"/>
                    </a:lnTo>
                    <a:lnTo>
                      <a:pt x="38" y="72"/>
                    </a:lnTo>
                    <a:lnTo>
                      <a:pt x="30" y="72"/>
                    </a:lnTo>
                    <a:lnTo>
                      <a:pt x="24" y="70"/>
                    </a:lnTo>
                    <a:lnTo>
                      <a:pt x="18" y="70"/>
                    </a:lnTo>
                    <a:lnTo>
                      <a:pt x="10" y="70"/>
                    </a:lnTo>
                    <a:lnTo>
                      <a:pt x="12" y="6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0" name="Freeform 202"/>
              <p:cNvSpPr>
                <a:spLocks noChangeAspect="1"/>
              </p:cNvSpPr>
              <p:nvPr/>
            </p:nvSpPr>
            <p:spPr bwMode="auto">
              <a:xfrm>
                <a:off x="4750093" y="3645939"/>
                <a:ext cx="382381" cy="186068"/>
              </a:xfrm>
              <a:custGeom>
                <a:avLst/>
                <a:gdLst/>
                <a:ahLst/>
                <a:cxnLst>
                  <a:cxn ang="0">
                    <a:pos x="0" y="10"/>
                  </a:cxn>
                  <a:cxn ang="0">
                    <a:pos x="74" y="18"/>
                  </a:cxn>
                  <a:cxn ang="0">
                    <a:pos x="110" y="38"/>
                  </a:cxn>
                  <a:cxn ang="0">
                    <a:pos x="136" y="36"/>
                  </a:cxn>
                  <a:cxn ang="0">
                    <a:pos x="152" y="50"/>
                  </a:cxn>
                  <a:cxn ang="0">
                    <a:pos x="160" y="62"/>
                  </a:cxn>
                  <a:cxn ang="0">
                    <a:pos x="170" y="68"/>
                  </a:cxn>
                  <a:cxn ang="0">
                    <a:pos x="194" y="82"/>
                  </a:cxn>
                  <a:cxn ang="0">
                    <a:pos x="202" y="92"/>
                  </a:cxn>
                  <a:cxn ang="0">
                    <a:pos x="214" y="74"/>
                  </a:cxn>
                  <a:cxn ang="0">
                    <a:pos x="228" y="64"/>
                  </a:cxn>
                  <a:cxn ang="0">
                    <a:pos x="230" y="72"/>
                  </a:cxn>
                  <a:cxn ang="0">
                    <a:pos x="232" y="78"/>
                  </a:cxn>
                  <a:cxn ang="0">
                    <a:pos x="244" y="80"/>
                  </a:cxn>
                  <a:cxn ang="0">
                    <a:pos x="260" y="84"/>
                  </a:cxn>
                  <a:cxn ang="0">
                    <a:pos x="264" y="96"/>
                  </a:cxn>
                  <a:cxn ang="0">
                    <a:pos x="240" y="104"/>
                  </a:cxn>
                  <a:cxn ang="0">
                    <a:pos x="226" y="102"/>
                  </a:cxn>
                  <a:cxn ang="0">
                    <a:pos x="238" y="92"/>
                  </a:cxn>
                  <a:cxn ang="0">
                    <a:pos x="226" y="92"/>
                  </a:cxn>
                  <a:cxn ang="0">
                    <a:pos x="216" y="100"/>
                  </a:cxn>
                  <a:cxn ang="0">
                    <a:pos x="208" y="112"/>
                  </a:cxn>
                  <a:cxn ang="0">
                    <a:pos x="194" y="118"/>
                  </a:cxn>
                  <a:cxn ang="0">
                    <a:pos x="200" y="124"/>
                  </a:cxn>
                  <a:cxn ang="0">
                    <a:pos x="210" y="132"/>
                  </a:cxn>
                  <a:cxn ang="0">
                    <a:pos x="206" y="152"/>
                  </a:cxn>
                  <a:cxn ang="0">
                    <a:pos x="190" y="152"/>
                  </a:cxn>
                  <a:cxn ang="0">
                    <a:pos x="182" y="138"/>
                  </a:cxn>
                  <a:cxn ang="0">
                    <a:pos x="164" y="134"/>
                  </a:cxn>
                  <a:cxn ang="0">
                    <a:pos x="140" y="122"/>
                  </a:cxn>
                  <a:cxn ang="0">
                    <a:pos x="118" y="106"/>
                  </a:cxn>
                  <a:cxn ang="0">
                    <a:pos x="104" y="88"/>
                  </a:cxn>
                  <a:cxn ang="0">
                    <a:pos x="80" y="82"/>
                  </a:cxn>
                  <a:cxn ang="0">
                    <a:pos x="72" y="72"/>
                  </a:cxn>
                  <a:cxn ang="0">
                    <a:pos x="64" y="60"/>
                  </a:cxn>
                  <a:cxn ang="0">
                    <a:pos x="38" y="58"/>
                  </a:cxn>
                  <a:cxn ang="0">
                    <a:pos x="26" y="74"/>
                  </a:cxn>
                  <a:cxn ang="0">
                    <a:pos x="10" y="76"/>
                  </a:cxn>
                </a:cxnLst>
                <a:rect l="0" t="0" r="r" b="b"/>
                <a:pathLst>
                  <a:path w="270" h="154">
                    <a:moveTo>
                      <a:pt x="10" y="76"/>
                    </a:moveTo>
                    <a:lnTo>
                      <a:pt x="0" y="10"/>
                    </a:lnTo>
                    <a:lnTo>
                      <a:pt x="34" y="0"/>
                    </a:lnTo>
                    <a:lnTo>
                      <a:pt x="74" y="18"/>
                    </a:lnTo>
                    <a:lnTo>
                      <a:pt x="92" y="40"/>
                    </a:lnTo>
                    <a:lnTo>
                      <a:pt x="110" y="38"/>
                    </a:lnTo>
                    <a:lnTo>
                      <a:pt x="124" y="36"/>
                    </a:lnTo>
                    <a:lnTo>
                      <a:pt x="136" y="36"/>
                    </a:lnTo>
                    <a:lnTo>
                      <a:pt x="146" y="44"/>
                    </a:lnTo>
                    <a:lnTo>
                      <a:pt x="152" y="50"/>
                    </a:lnTo>
                    <a:lnTo>
                      <a:pt x="158" y="56"/>
                    </a:lnTo>
                    <a:lnTo>
                      <a:pt x="160" y="62"/>
                    </a:lnTo>
                    <a:lnTo>
                      <a:pt x="162" y="66"/>
                    </a:lnTo>
                    <a:lnTo>
                      <a:pt x="170" y="68"/>
                    </a:lnTo>
                    <a:lnTo>
                      <a:pt x="174" y="82"/>
                    </a:lnTo>
                    <a:lnTo>
                      <a:pt x="194" y="82"/>
                    </a:lnTo>
                    <a:lnTo>
                      <a:pt x="196" y="90"/>
                    </a:lnTo>
                    <a:lnTo>
                      <a:pt x="202" y="92"/>
                    </a:lnTo>
                    <a:lnTo>
                      <a:pt x="208" y="82"/>
                    </a:lnTo>
                    <a:lnTo>
                      <a:pt x="214" y="74"/>
                    </a:lnTo>
                    <a:lnTo>
                      <a:pt x="218" y="72"/>
                    </a:lnTo>
                    <a:lnTo>
                      <a:pt x="228" y="64"/>
                    </a:lnTo>
                    <a:lnTo>
                      <a:pt x="234" y="64"/>
                    </a:lnTo>
                    <a:lnTo>
                      <a:pt x="230" y="72"/>
                    </a:lnTo>
                    <a:lnTo>
                      <a:pt x="228" y="76"/>
                    </a:lnTo>
                    <a:lnTo>
                      <a:pt x="232" y="78"/>
                    </a:lnTo>
                    <a:lnTo>
                      <a:pt x="234" y="78"/>
                    </a:lnTo>
                    <a:lnTo>
                      <a:pt x="244" y="80"/>
                    </a:lnTo>
                    <a:lnTo>
                      <a:pt x="248" y="76"/>
                    </a:lnTo>
                    <a:lnTo>
                      <a:pt x="260" y="84"/>
                    </a:lnTo>
                    <a:lnTo>
                      <a:pt x="270" y="88"/>
                    </a:lnTo>
                    <a:lnTo>
                      <a:pt x="264" y="96"/>
                    </a:lnTo>
                    <a:lnTo>
                      <a:pt x="254" y="100"/>
                    </a:lnTo>
                    <a:lnTo>
                      <a:pt x="240" y="104"/>
                    </a:lnTo>
                    <a:lnTo>
                      <a:pt x="234" y="102"/>
                    </a:lnTo>
                    <a:lnTo>
                      <a:pt x="226" y="102"/>
                    </a:lnTo>
                    <a:lnTo>
                      <a:pt x="238" y="96"/>
                    </a:lnTo>
                    <a:lnTo>
                      <a:pt x="238" y="92"/>
                    </a:lnTo>
                    <a:lnTo>
                      <a:pt x="230" y="86"/>
                    </a:lnTo>
                    <a:lnTo>
                      <a:pt x="226" y="92"/>
                    </a:lnTo>
                    <a:lnTo>
                      <a:pt x="216" y="90"/>
                    </a:lnTo>
                    <a:lnTo>
                      <a:pt x="216" y="100"/>
                    </a:lnTo>
                    <a:lnTo>
                      <a:pt x="210" y="102"/>
                    </a:lnTo>
                    <a:lnTo>
                      <a:pt x="208" y="112"/>
                    </a:lnTo>
                    <a:lnTo>
                      <a:pt x="194" y="112"/>
                    </a:lnTo>
                    <a:lnTo>
                      <a:pt x="194" y="118"/>
                    </a:lnTo>
                    <a:lnTo>
                      <a:pt x="196" y="120"/>
                    </a:lnTo>
                    <a:lnTo>
                      <a:pt x="200" y="124"/>
                    </a:lnTo>
                    <a:lnTo>
                      <a:pt x="206" y="128"/>
                    </a:lnTo>
                    <a:lnTo>
                      <a:pt x="210" y="132"/>
                    </a:lnTo>
                    <a:lnTo>
                      <a:pt x="210" y="142"/>
                    </a:lnTo>
                    <a:lnTo>
                      <a:pt x="206" y="152"/>
                    </a:lnTo>
                    <a:lnTo>
                      <a:pt x="200" y="154"/>
                    </a:lnTo>
                    <a:lnTo>
                      <a:pt x="190" y="152"/>
                    </a:lnTo>
                    <a:lnTo>
                      <a:pt x="188" y="142"/>
                    </a:lnTo>
                    <a:lnTo>
                      <a:pt x="182" y="138"/>
                    </a:lnTo>
                    <a:lnTo>
                      <a:pt x="176" y="138"/>
                    </a:lnTo>
                    <a:lnTo>
                      <a:pt x="164" y="134"/>
                    </a:lnTo>
                    <a:lnTo>
                      <a:pt x="152" y="124"/>
                    </a:lnTo>
                    <a:lnTo>
                      <a:pt x="140" y="122"/>
                    </a:lnTo>
                    <a:lnTo>
                      <a:pt x="130" y="114"/>
                    </a:lnTo>
                    <a:lnTo>
                      <a:pt x="118" y="106"/>
                    </a:lnTo>
                    <a:lnTo>
                      <a:pt x="110" y="96"/>
                    </a:lnTo>
                    <a:lnTo>
                      <a:pt x="104" y="88"/>
                    </a:lnTo>
                    <a:lnTo>
                      <a:pt x="100" y="82"/>
                    </a:lnTo>
                    <a:lnTo>
                      <a:pt x="80" y="82"/>
                    </a:lnTo>
                    <a:lnTo>
                      <a:pt x="74" y="80"/>
                    </a:lnTo>
                    <a:lnTo>
                      <a:pt x="72" y="72"/>
                    </a:lnTo>
                    <a:lnTo>
                      <a:pt x="70" y="66"/>
                    </a:lnTo>
                    <a:lnTo>
                      <a:pt x="64" y="60"/>
                    </a:lnTo>
                    <a:lnTo>
                      <a:pt x="48" y="54"/>
                    </a:lnTo>
                    <a:lnTo>
                      <a:pt x="38" y="58"/>
                    </a:lnTo>
                    <a:lnTo>
                      <a:pt x="26" y="68"/>
                    </a:lnTo>
                    <a:lnTo>
                      <a:pt x="26" y="74"/>
                    </a:lnTo>
                    <a:lnTo>
                      <a:pt x="26" y="78"/>
                    </a:lnTo>
                    <a:lnTo>
                      <a:pt x="10" y="7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1" name="Freeform 203"/>
              <p:cNvSpPr>
                <a:spLocks noChangeAspect="1"/>
              </p:cNvSpPr>
              <p:nvPr/>
            </p:nvSpPr>
            <p:spPr bwMode="auto">
              <a:xfrm>
                <a:off x="4536607" y="3436016"/>
                <a:ext cx="802596" cy="319656"/>
              </a:xfrm>
              <a:custGeom>
                <a:avLst/>
                <a:gdLst/>
                <a:ahLst/>
                <a:cxnLst>
                  <a:cxn ang="0">
                    <a:pos x="108" y="248"/>
                  </a:cxn>
                  <a:cxn ang="0">
                    <a:pos x="102" y="236"/>
                  </a:cxn>
                  <a:cxn ang="0">
                    <a:pos x="84" y="222"/>
                  </a:cxn>
                  <a:cxn ang="0">
                    <a:pos x="58" y="194"/>
                  </a:cxn>
                  <a:cxn ang="0">
                    <a:pos x="70" y="184"/>
                  </a:cxn>
                  <a:cxn ang="0">
                    <a:pos x="92" y="168"/>
                  </a:cxn>
                  <a:cxn ang="0">
                    <a:pos x="80" y="152"/>
                  </a:cxn>
                  <a:cxn ang="0">
                    <a:pos x="64" y="152"/>
                  </a:cxn>
                  <a:cxn ang="0">
                    <a:pos x="36" y="152"/>
                  </a:cxn>
                  <a:cxn ang="0">
                    <a:pos x="10" y="126"/>
                  </a:cxn>
                  <a:cxn ang="0">
                    <a:pos x="0" y="126"/>
                  </a:cxn>
                  <a:cxn ang="0">
                    <a:pos x="10" y="88"/>
                  </a:cxn>
                  <a:cxn ang="0">
                    <a:pos x="24" y="82"/>
                  </a:cxn>
                  <a:cxn ang="0">
                    <a:pos x="86" y="72"/>
                  </a:cxn>
                  <a:cxn ang="0">
                    <a:pos x="122" y="86"/>
                  </a:cxn>
                  <a:cxn ang="0">
                    <a:pos x="170" y="86"/>
                  </a:cxn>
                  <a:cxn ang="0">
                    <a:pos x="202" y="84"/>
                  </a:cxn>
                  <a:cxn ang="0">
                    <a:pos x="184" y="56"/>
                  </a:cxn>
                  <a:cxn ang="0">
                    <a:pos x="188" y="36"/>
                  </a:cxn>
                  <a:cxn ang="0">
                    <a:pos x="270" y="10"/>
                  </a:cxn>
                  <a:cxn ang="0">
                    <a:pos x="320" y="22"/>
                  </a:cxn>
                  <a:cxn ang="0">
                    <a:pos x="370" y="32"/>
                  </a:cxn>
                  <a:cxn ang="0">
                    <a:pos x="396" y="28"/>
                  </a:cxn>
                  <a:cxn ang="0">
                    <a:pos x="472" y="84"/>
                  </a:cxn>
                  <a:cxn ang="0">
                    <a:pos x="486" y="84"/>
                  </a:cxn>
                  <a:cxn ang="0">
                    <a:pos x="534" y="94"/>
                  </a:cxn>
                  <a:cxn ang="0">
                    <a:pos x="564" y="112"/>
                  </a:cxn>
                  <a:cxn ang="0">
                    <a:pos x="544" y="130"/>
                  </a:cxn>
                  <a:cxn ang="0">
                    <a:pos x="540" y="154"/>
                  </a:cxn>
                  <a:cxn ang="0">
                    <a:pos x="522" y="160"/>
                  </a:cxn>
                  <a:cxn ang="0">
                    <a:pos x="510" y="186"/>
                  </a:cxn>
                  <a:cxn ang="0">
                    <a:pos x="510" y="210"/>
                  </a:cxn>
                  <a:cxn ang="0">
                    <a:pos x="492" y="228"/>
                  </a:cxn>
                  <a:cxn ang="0">
                    <a:pos x="448" y="228"/>
                  </a:cxn>
                  <a:cxn ang="0">
                    <a:pos x="418" y="234"/>
                  </a:cxn>
                  <a:cxn ang="0">
                    <a:pos x="386" y="242"/>
                  </a:cxn>
                  <a:cxn ang="0">
                    <a:pos x="358" y="264"/>
                  </a:cxn>
                  <a:cxn ang="0">
                    <a:pos x="346" y="260"/>
                  </a:cxn>
                  <a:cxn ang="0">
                    <a:pos x="314" y="244"/>
                  </a:cxn>
                  <a:cxn ang="0">
                    <a:pos x="244" y="218"/>
                  </a:cxn>
                  <a:cxn ang="0">
                    <a:pos x="152" y="188"/>
                  </a:cxn>
                  <a:cxn ang="0">
                    <a:pos x="140" y="242"/>
                  </a:cxn>
                </a:cxnLst>
                <a:rect l="0" t="0" r="r" b="b"/>
                <a:pathLst>
                  <a:path w="570" h="270">
                    <a:moveTo>
                      <a:pt x="118" y="238"/>
                    </a:moveTo>
                    <a:lnTo>
                      <a:pt x="110" y="240"/>
                    </a:lnTo>
                    <a:lnTo>
                      <a:pt x="108" y="248"/>
                    </a:lnTo>
                    <a:lnTo>
                      <a:pt x="108" y="252"/>
                    </a:lnTo>
                    <a:lnTo>
                      <a:pt x="104" y="248"/>
                    </a:lnTo>
                    <a:lnTo>
                      <a:pt x="102" y="236"/>
                    </a:lnTo>
                    <a:lnTo>
                      <a:pt x="102" y="230"/>
                    </a:lnTo>
                    <a:lnTo>
                      <a:pt x="92" y="224"/>
                    </a:lnTo>
                    <a:lnTo>
                      <a:pt x="84" y="222"/>
                    </a:lnTo>
                    <a:lnTo>
                      <a:pt x="72" y="210"/>
                    </a:lnTo>
                    <a:lnTo>
                      <a:pt x="62" y="200"/>
                    </a:lnTo>
                    <a:lnTo>
                      <a:pt x="58" y="194"/>
                    </a:lnTo>
                    <a:lnTo>
                      <a:pt x="64" y="194"/>
                    </a:lnTo>
                    <a:lnTo>
                      <a:pt x="76" y="196"/>
                    </a:lnTo>
                    <a:lnTo>
                      <a:pt x="70" y="184"/>
                    </a:lnTo>
                    <a:lnTo>
                      <a:pt x="82" y="182"/>
                    </a:lnTo>
                    <a:lnTo>
                      <a:pt x="94" y="182"/>
                    </a:lnTo>
                    <a:lnTo>
                      <a:pt x="92" y="168"/>
                    </a:lnTo>
                    <a:lnTo>
                      <a:pt x="92" y="158"/>
                    </a:lnTo>
                    <a:lnTo>
                      <a:pt x="88" y="152"/>
                    </a:lnTo>
                    <a:lnTo>
                      <a:pt x="80" y="152"/>
                    </a:lnTo>
                    <a:lnTo>
                      <a:pt x="74" y="156"/>
                    </a:lnTo>
                    <a:lnTo>
                      <a:pt x="70" y="154"/>
                    </a:lnTo>
                    <a:lnTo>
                      <a:pt x="64" y="152"/>
                    </a:lnTo>
                    <a:lnTo>
                      <a:pt x="52" y="152"/>
                    </a:lnTo>
                    <a:lnTo>
                      <a:pt x="42" y="162"/>
                    </a:lnTo>
                    <a:lnTo>
                      <a:pt x="36" y="152"/>
                    </a:lnTo>
                    <a:lnTo>
                      <a:pt x="24" y="136"/>
                    </a:lnTo>
                    <a:lnTo>
                      <a:pt x="10" y="136"/>
                    </a:lnTo>
                    <a:lnTo>
                      <a:pt x="10" y="126"/>
                    </a:lnTo>
                    <a:lnTo>
                      <a:pt x="4" y="128"/>
                    </a:lnTo>
                    <a:lnTo>
                      <a:pt x="0" y="128"/>
                    </a:lnTo>
                    <a:lnTo>
                      <a:pt x="0" y="126"/>
                    </a:lnTo>
                    <a:lnTo>
                      <a:pt x="0" y="110"/>
                    </a:lnTo>
                    <a:lnTo>
                      <a:pt x="0" y="96"/>
                    </a:lnTo>
                    <a:lnTo>
                      <a:pt x="10" y="88"/>
                    </a:lnTo>
                    <a:lnTo>
                      <a:pt x="18" y="98"/>
                    </a:lnTo>
                    <a:lnTo>
                      <a:pt x="26" y="94"/>
                    </a:lnTo>
                    <a:lnTo>
                      <a:pt x="24" y="82"/>
                    </a:lnTo>
                    <a:lnTo>
                      <a:pt x="48" y="62"/>
                    </a:lnTo>
                    <a:lnTo>
                      <a:pt x="68" y="66"/>
                    </a:lnTo>
                    <a:lnTo>
                      <a:pt x="86" y="72"/>
                    </a:lnTo>
                    <a:lnTo>
                      <a:pt x="102" y="84"/>
                    </a:lnTo>
                    <a:lnTo>
                      <a:pt x="110" y="82"/>
                    </a:lnTo>
                    <a:lnTo>
                      <a:pt x="122" y="86"/>
                    </a:lnTo>
                    <a:lnTo>
                      <a:pt x="128" y="78"/>
                    </a:lnTo>
                    <a:lnTo>
                      <a:pt x="160" y="78"/>
                    </a:lnTo>
                    <a:lnTo>
                      <a:pt x="170" y="86"/>
                    </a:lnTo>
                    <a:lnTo>
                      <a:pt x="176" y="86"/>
                    </a:lnTo>
                    <a:lnTo>
                      <a:pt x="186" y="84"/>
                    </a:lnTo>
                    <a:lnTo>
                      <a:pt x="202" y="84"/>
                    </a:lnTo>
                    <a:lnTo>
                      <a:pt x="204" y="70"/>
                    </a:lnTo>
                    <a:lnTo>
                      <a:pt x="180" y="62"/>
                    </a:lnTo>
                    <a:lnTo>
                      <a:pt x="184" y="56"/>
                    </a:lnTo>
                    <a:lnTo>
                      <a:pt x="186" y="44"/>
                    </a:lnTo>
                    <a:lnTo>
                      <a:pt x="200" y="42"/>
                    </a:lnTo>
                    <a:lnTo>
                      <a:pt x="188" y="36"/>
                    </a:lnTo>
                    <a:lnTo>
                      <a:pt x="182" y="26"/>
                    </a:lnTo>
                    <a:lnTo>
                      <a:pt x="204" y="24"/>
                    </a:lnTo>
                    <a:lnTo>
                      <a:pt x="270" y="10"/>
                    </a:lnTo>
                    <a:lnTo>
                      <a:pt x="280" y="0"/>
                    </a:lnTo>
                    <a:lnTo>
                      <a:pt x="308" y="4"/>
                    </a:lnTo>
                    <a:lnTo>
                      <a:pt x="320" y="22"/>
                    </a:lnTo>
                    <a:lnTo>
                      <a:pt x="354" y="26"/>
                    </a:lnTo>
                    <a:lnTo>
                      <a:pt x="352" y="32"/>
                    </a:lnTo>
                    <a:lnTo>
                      <a:pt x="370" y="32"/>
                    </a:lnTo>
                    <a:lnTo>
                      <a:pt x="388" y="18"/>
                    </a:lnTo>
                    <a:lnTo>
                      <a:pt x="396" y="18"/>
                    </a:lnTo>
                    <a:lnTo>
                      <a:pt x="396" y="28"/>
                    </a:lnTo>
                    <a:lnTo>
                      <a:pt x="412" y="34"/>
                    </a:lnTo>
                    <a:lnTo>
                      <a:pt x="464" y="82"/>
                    </a:lnTo>
                    <a:lnTo>
                      <a:pt x="472" y="84"/>
                    </a:lnTo>
                    <a:lnTo>
                      <a:pt x="472" y="74"/>
                    </a:lnTo>
                    <a:lnTo>
                      <a:pt x="484" y="76"/>
                    </a:lnTo>
                    <a:lnTo>
                      <a:pt x="486" y="84"/>
                    </a:lnTo>
                    <a:lnTo>
                      <a:pt x="506" y="86"/>
                    </a:lnTo>
                    <a:lnTo>
                      <a:pt x="510" y="78"/>
                    </a:lnTo>
                    <a:lnTo>
                      <a:pt x="534" y="94"/>
                    </a:lnTo>
                    <a:lnTo>
                      <a:pt x="550" y="104"/>
                    </a:lnTo>
                    <a:lnTo>
                      <a:pt x="570" y="108"/>
                    </a:lnTo>
                    <a:lnTo>
                      <a:pt x="564" y="112"/>
                    </a:lnTo>
                    <a:lnTo>
                      <a:pt x="562" y="116"/>
                    </a:lnTo>
                    <a:lnTo>
                      <a:pt x="558" y="120"/>
                    </a:lnTo>
                    <a:lnTo>
                      <a:pt x="544" y="130"/>
                    </a:lnTo>
                    <a:lnTo>
                      <a:pt x="556" y="144"/>
                    </a:lnTo>
                    <a:lnTo>
                      <a:pt x="548" y="152"/>
                    </a:lnTo>
                    <a:lnTo>
                      <a:pt x="540" y="154"/>
                    </a:lnTo>
                    <a:lnTo>
                      <a:pt x="532" y="152"/>
                    </a:lnTo>
                    <a:lnTo>
                      <a:pt x="518" y="148"/>
                    </a:lnTo>
                    <a:lnTo>
                      <a:pt x="522" y="160"/>
                    </a:lnTo>
                    <a:lnTo>
                      <a:pt x="522" y="176"/>
                    </a:lnTo>
                    <a:lnTo>
                      <a:pt x="520" y="184"/>
                    </a:lnTo>
                    <a:lnTo>
                      <a:pt x="510" y="186"/>
                    </a:lnTo>
                    <a:lnTo>
                      <a:pt x="498" y="182"/>
                    </a:lnTo>
                    <a:lnTo>
                      <a:pt x="500" y="190"/>
                    </a:lnTo>
                    <a:lnTo>
                      <a:pt x="510" y="210"/>
                    </a:lnTo>
                    <a:lnTo>
                      <a:pt x="512" y="224"/>
                    </a:lnTo>
                    <a:lnTo>
                      <a:pt x="506" y="234"/>
                    </a:lnTo>
                    <a:lnTo>
                      <a:pt x="492" y="228"/>
                    </a:lnTo>
                    <a:lnTo>
                      <a:pt x="480" y="228"/>
                    </a:lnTo>
                    <a:lnTo>
                      <a:pt x="460" y="228"/>
                    </a:lnTo>
                    <a:lnTo>
                      <a:pt x="448" y="228"/>
                    </a:lnTo>
                    <a:lnTo>
                      <a:pt x="428" y="222"/>
                    </a:lnTo>
                    <a:lnTo>
                      <a:pt x="418" y="226"/>
                    </a:lnTo>
                    <a:lnTo>
                      <a:pt x="418" y="234"/>
                    </a:lnTo>
                    <a:lnTo>
                      <a:pt x="398" y="228"/>
                    </a:lnTo>
                    <a:lnTo>
                      <a:pt x="386" y="230"/>
                    </a:lnTo>
                    <a:lnTo>
                      <a:pt x="386" y="242"/>
                    </a:lnTo>
                    <a:lnTo>
                      <a:pt x="380" y="242"/>
                    </a:lnTo>
                    <a:lnTo>
                      <a:pt x="360" y="260"/>
                    </a:lnTo>
                    <a:lnTo>
                      <a:pt x="358" y="264"/>
                    </a:lnTo>
                    <a:lnTo>
                      <a:pt x="354" y="270"/>
                    </a:lnTo>
                    <a:lnTo>
                      <a:pt x="348" y="268"/>
                    </a:lnTo>
                    <a:lnTo>
                      <a:pt x="346" y="260"/>
                    </a:lnTo>
                    <a:lnTo>
                      <a:pt x="326" y="260"/>
                    </a:lnTo>
                    <a:lnTo>
                      <a:pt x="322" y="246"/>
                    </a:lnTo>
                    <a:lnTo>
                      <a:pt x="314" y="244"/>
                    </a:lnTo>
                    <a:lnTo>
                      <a:pt x="310" y="234"/>
                    </a:lnTo>
                    <a:lnTo>
                      <a:pt x="288" y="214"/>
                    </a:lnTo>
                    <a:lnTo>
                      <a:pt x="244" y="218"/>
                    </a:lnTo>
                    <a:lnTo>
                      <a:pt x="226" y="196"/>
                    </a:lnTo>
                    <a:lnTo>
                      <a:pt x="186" y="178"/>
                    </a:lnTo>
                    <a:lnTo>
                      <a:pt x="152" y="188"/>
                    </a:lnTo>
                    <a:lnTo>
                      <a:pt x="162" y="254"/>
                    </a:lnTo>
                    <a:lnTo>
                      <a:pt x="154" y="254"/>
                    </a:lnTo>
                    <a:lnTo>
                      <a:pt x="140" y="242"/>
                    </a:lnTo>
                    <a:lnTo>
                      <a:pt x="130" y="238"/>
                    </a:lnTo>
                    <a:lnTo>
                      <a:pt x="118" y="23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2" name="Freeform 204"/>
              <p:cNvSpPr>
                <a:spLocks noChangeAspect="1"/>
              </p:cNvSpPr>
              <p:nvPr/>
            </p:nvSpPr>
            <p:spPr bwMode="auto">
              <a:xfrm>
                <a:off x="4536608" y="3774756"/>
                <a:ext cx="33779" cy="16698"/>
              </a:xfrm>
              <a:custGeom>
                <a:avLst/>
                <a:gdLst/>
                <a:ahLst/>
                <a:cxnLst>
                  <a:cxn ang="0">
                    <a:pos x="0" y="2"/>
                  </a:cxn>
                  <a:cxn ang="0">
                    <a:pos x="8" y="0"/>
                  </a:cxn>
                  <a:cxn ang="0">
                    <a:pos x="18" y="8"/>
                  </a:cxn>
                  <a:cxn ang="0">
                    <a:pos x="24" y="12"/>
                  </a:cxn>
                  <a:cxn ang="0">
                    <a:pos x="16" y="14"/>
                  </a:cxn>
                  <a:cxn ang="0">
                    <a:pos x="12" y="14"/>
                  </a:cxn>
                  <a:cxn ang="0">
                    <a:pos x="6" y="10"/>
                  </a:cxn>
                  <a:cxn ang="0">
                    <a:pos x="0" y="2"/>
                  </a:cxn>
                </a:cxnLst>
                <a:rect l="0" t="0" r="r" b="b"/>
                <a:pathLst>
                  <a:path w="24" h="14">
                    <a:moveTo>
                      <a:pt x="0" y="2"/>
                    </a:moveTo>
                    <a:lnTo>
                      <a:pt x="8" y="0"/>
                    </a:lnTo>
                    <a:lnTo>
                      <a:pt x="18" y="8"/>
                    </a:lnTo>
                    <a:lnTo>
                      <a:pt x="24" y="12"/>
                    </a:lnTo>
                    <a:lnTo>
                      <a:pt x="16" y="14"/>
                    </a:lnTo>
                    <a:lnTo>
                      <a:pt x="12" y="14"/>
                    </a:lnTo>
                    <a:lnTo>
                      <a:pt x="6" y="10"/>
                    </a:lnTo>
                    <a:lnTo>
                      <a:pt x="0"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3" name="Freeform 205"/>
              <p:cNvSpPr>
                <a:spLocks noChangeAspect="1"/>
              </p:cNvSpPr>
              <p:nvPr/>
            </p:nvSpPr>
            <p:spPr bwMode="auto">
              <a:xfrm>
                <a:off x="4073155" y="3020942"/>
                <a:ext cx="2763148" cy="719225"/>
              </a:xfrm>
              <a:custGeom>
                <a:avLst/>
                <a:gdLst/>
                <a:ahLst/>
                <a:cxnLst>
                  <a:cxn ang="0">
                    <a:pos x="1020" y="450"/>
                  </a:cxn>
                  <a:cxn ang="0">
                    <a:pos x="1022" y="414"/>
                  </a:cxn>
                  <a:cxn ang="0">
                    <a:pos x="1108" y="438"/>
                  </a:cxn>
                  <a:cxn ang="0">
                    <a:pos x="1252" y="444"/>
                  </a:cxn>
                  <a:cxn ang="0">
                    <a:pos x="1328" y="436"/>
                  </a:cxn>
                  <a:cxn ang="0">
                    <a:pos x="1346" y="386"/>
                  </a:cxn>
                  <a:cxn ang="0">
                    <a:pos x="1506" y="466"/>
                  </a:cxn>
                  <a:cxn ang="0">
                    <a:pos x="1580" y="496"/>
                  </a:cxn>
                  <a:cxn ang="0">
                    <a:pos x="1590" y="576"/>
                  </a:cxn>
                  <a:cxn ang="0">
                    <a:pos x="1642" y="494"/>
                  </a:cxn>
                  <a:cxn ang="0">
                    <a:pos x="1550" y="376"/>
                  </a:cxn>
                  <a:cxn ang="0">
                    <a:pos x="1494" y="354"/>
                  </a:cxn>
                  <a:cxn ang="0">
                    <a:pos x="1534" y="286"/>
                  </a:cxn>
                  <a:cxn ang="0">
                    <a:pos x="1670" y="286"/>
                  </a:cxn>
                  <a:cxn ang="0">
                    <a:pos x="1694" y="250"/>
                  </a:cxn>
                  <a:cxn ang="0">
                    <a:pos x="1750" y="254"/>
                  </a:cxn>
                  <a:cxn ang="0">
                    <a:pos x="1776" y="378"/>
                  </a:cxn>
                  <a:cxn ang="0">
                    <a:pos x="1850" y="390"/>
                  </a:cxn>
                  <a:cxn ang="0">
                    <a:pos x="1846" y="354"/>
                  </a:cxn>
                  <a:cxn ang="0">
                    <a:pos x="1786" y="274"/>
                  </a:cxn>
                  <a:cxn ang="0">
                    <a:pos x="1906" y="218"/>
                  </a:cxn>
                  <a:cxn ang="0">
                    <a:pos x="1868" y="176"/>
                  </a:cxn>
                  <a:cxn ang="0">
                    <a:pos x="1962" y="182"/>
                  </a:cxn>
                  <a:cxn ang="0">
                    <a:pos x="1818" y="134"/>
                  </a:cxn>
                  <a:cxn ang="0">
                    <a:pos x="1660" y="130"/>
                  </a:cxn>
                  <a:cxn ang="0">
                    <a:pos x="1514" y="108"/>
                  </a:cxn>
                  <a:cxn ang="0">
                    <a:pos x="1354" y="68"/>
                  </a:cxn>
                  <a:cxn ang="0">
                    <a:pos x="1260" y="64"/>
                  </a:cxn>
                  <a:cxn ang="0">
                    <a:pos x="1136" y="94"/>
                  </a:cxn>
                  <a:cxn ang="0">
                    <a:pos x="924" y="56"/>
                  </a:cxn>
                  <a:cxn ang="0">
                    <a:pos x="764" y="0"/>
                  </a:cxn>
                  <a:cxn ang="0">
                    <a:pos x="618" y="32"/>
                  </a:cxn>
                  <a:cxn ang="0">
                    <a:pos x="552" y="76"/>
                  </a:cxn>
                  <a:cxn ang="0">
                    <a:pos x="502" y="68"/>
                  </a:cxn>
                  <a:cxn ang="0">
                    <a:pos x="486" y="82"/>
                  </a:cxn>
                  <a:cxn ang="0">
                    <a:pos x="446" y="114"/>
                  </a:cxn>
                  <a:cxn ang="0">
                    <a:pos x="400" y="116"/>
                  </a:cxn>
                  <a:cxn ang="0">
                    <a:pos x="334" y="128"/>
                  </a:cxn>
                  <a:cxn ang="0">
                    <a:pos x="250" y="142"/>
                  </a:cxn>
                  <a:cxn ang="0">
                    <a:pos x="198" y="166"/>
                  </a:cxn>
                  <a:cxn ang="0">
                    <a:pos x="132" y="210"/>
                  </a:cxn>
                  <a:cxn ang="0">
                    <a:pos x="134" y="172"/>
                  </a:cxn>
                  <a:cxn ang="0">
                    <a:pos x="28" y="114"/>
                  </a:cxn>
                  <a:cxn ang="0">
                    <a:pos x="20" y="148"/>
                  </a:cxn>
                  <a:cxn ang="0">
                    <a:pos x="30" y="192"/>
                  </a:cxn>
                  <a:cxn ang="0">
                    <a:pos x="38" y="246"/>
                  </a:cxn>
                  <a:cxn ang="0">
                    <a:pos x="16" y="300"/>
                  </a:cxn>
                  <a:cxn ang="0">
                    <a:pos x="68" y="338"/>
                  </a:cxn>
                  <a:cxn ang="0">
                    <a:pos x="110" y="386"/>
                  </a:cxn>
                  <a:cxn ang="0">
                    <a:pos x="178" y="440"/>
                  </a:cxn>
                  <a:cxn ang="0">
                    <a:pos x="230" y="464"/>
                  </a:cxn>
                  <a:cxn ang="0">
                    <a:pos x="206" y="520"/>
                  </a:cxn>
                  <a:cxn ang="0">
                    <a:pos x="284" y="570"/>
                  </a:cxn>
                  <a:cxn ang="0">
                    <a:pos x="364" y="606"/>
                  </a:cxn>
                  <a:cxn ang="0">
                    <a:pos x="350" y="526"/>
                  </a:cxn>
                  <a:cxn ang="0">
                    <a:pos x="332" y="478"/>
                  </a:cxn>
                  <a:cxn ang="0">
                    <a:pos x="402" y="416"/>
                  </a:cxn>
                  <a:cxn ang="0">
                    <a:pos x="516" y="406"/>
                  </a:cxn>
                  <a:cxn ang="0">
                    <a:pos x="684" y="382"/>
                  </a:cxn>
                  <a:cxn ang="0">
                    <a:pos x="836" y="436"/>
                  </a:cxn>
                </a:cxnLst>
                <a:rect l="0" t="0" r="r" b="b"/>
                <a:pathLst>
                  <a:path w="1968" h="606">
                    <a:moveTo>
                      <a:pt x="902" y="458"/>
                    </a:moveTo>
                    <a:lnTo>
                      <a:pt x="912" y="448"/>
                    </a:lnTo>
                    <a:lnTo>
                      <a:pt x="924" y="440"/>
                    </a:lnTo>
                    <a:lnTo>
                      <a:pt x="936" y="436"/>
                    </a:lnTo>
                    <a:lnTo>
                      <a:pt x="950" y="434"/>
                    </a:lnTo>
                    <a:lnTo>
                      <a:pt x="958" y="436"/>
                    </a:lnTo>
                    <a:lnTo>
                      <a:pt x="964" y="436"/>
                    </a:lnTo>
                    <a:lnTo>
                      <a:pt x="982" y="442"/>
                    </a:lnTo>
                    <a:lnTo>
                      <a:pt x="1000" y="448"/>
                    </a:lnTo>
                    <a:lnTo>
                      <a:pt x="1010" y="450"/>
                    </a:lnTo>
                    <a:lnTo>
                      <a:pt x="1020" y="450"/>
                    </a:lnTo>
                    <a:lnTo>
                      <a:pt x="1026" y="450"/>
                    </a:lnTo>
                    <a:lnTo>
                      <a:pt x="1030" y="448"/>
                    </a:lnTo>
                    <a:lnTo>
                      <a:pt x="1034" y="446"/>
                    </a:lnTo>
                    <a:lnTo>
                      <a:pt x="1036" y="442"/>
                    </a:lnTo>
                    <a:lnTo>
                      <a:pt x="1036" y="438"/>
                    </a:lnTo>
                    <a:lnTo>
                      <a:pt x="1034" y="436"/>
                    </a:lnTo>
                    <a:lnTo>
                      <a:pt x="1028" y="430"/>
                    </a:lnTo>
                    <a:lnTo>
                      <a:pt x="1024" y="424"/>
                    </a:lnTo>
                    <a:lnTo>
                      <a:pt x="1022" y="420"/>
                    </a:lnTo>
                    <a:lnTo>
                      <a:pt x="1020" y="416"/>
                    </a:lnTo>
                    <a:lnTo>
                      <a:pt x="1022" y="414"/>
                    </a:lnTo>
                    <a:lnTo>
                      <a:pt x="1024" y="414"/>
                    </a:lnTo>
                    <a:lnTo>
                      <a:pt x="1030" y="412"/>
                    </a:lnTo>
                    <a:lnTo>
                      <a:pt x="1048" y="412"/>
                    </a:lnTo>
                    <a:lnTo>
                      <a:pt x="1066" y="416"/>
                    </a:lnTo>
                    <a:lnTo>
                      <a:pt x="1076" y="420"/>
                    </a:lnTo>
                    <a:lnTo>
                      <a:pt x="1082" y="426"/>
                    </a:lnTo>
                    <a:lnTo>
                      <a:pt x="1088" y="434"/>
                    </a:lnTo>
                    <a:lnTo>
                      <a:pt x="1092" y="436"/>
                    </a:lnTo>
                    <a:lnTo>
                      <a:pt x="1094" y="438"/>
                    </a:lnTo>
                    <a:lnTo>
                      <a:pt x="1100" y="440"/>
                    </a:lnTo>
                    <a:lnTo>
                      <a:pt x="1108" y="438"/>
                    </a:lnTo>
                    <a:lnTo>
                      <a:pt x="1122" y="436"/>
                    </a:lnTo>
                    <a:lnTo>
                      <a:pt x="1136" y="438"/>
                    </a:lnTo>
                    <a:lnTo>
                      <a:pt x="1148" y="440"/>
                    </a:lnTo>
                    <a:lnTo>
                      <a:pt x="1160" y="446"/>
                    </a:lnTo>
                    <a:lnTo>
                      <a:pt x="1186" y="458"/>
                    </a:lnTo>
                    <a:lnTo>
                      <a:pt x="1200" y="460"/>
                    </a:lnTo>
                    <a:lnTo>
                      <a:pt x="1214" y="462"/>
                    </a:lnTo>
                    <a:lnTo>
                      <a:pt x="1222" y="462"/>
                    </a:lnTo>
                    <a:lnTo>
                      <a:pt x="1230" y="460"/>
                    </a:lnTo>
                    <a:lnTo>
                      <a:pt x="1240" y="452"/>
                    </a:lnTo>
                    <a:lnTo>
                      <a:pt x="1252" y="444"/>
                    </a:lnTo>
                    <a:lnTo>
                      <a:pt x="1258" y="442"/>
                    </a:lnTo>
                    <a:lnTo>
                      <a:pt x="1264" y="442"/>
                    </a:lnTo>
                    <a:lnTo>
                      <a:pt x="1272" y="442"/>
                    </a:lnTo>
                    <a:lnTo>
                      <a:pt x="1284" y="446"/>
                    </a:lnTo>
                    <a:lnTo>
                      <a:pt x="1306" y="454"/>
                    </a:lnTo>
                    <a:lnTo>
                      <a:pt x="1314" y="454"/>
                    </a:lnTo>
                    <a:lnTo>
                      <a:pt x="1324" y="452"/>
                    </a:lnTo>
                    <a:lnTo>
                      <a:pt x="1326" y="450"/>
                    </a:lnTo>
                    <a:lnTo>
                      <a:pt x="1328" y="446"/>
                    </a:lnTo>
                    <a:lnTo>
                      <a:pt x="1328" y="442"/>
                    </a:lnTo>
                    <a:lnTo>
                      <a:pt x="1328" y="436"/>
                    </a:lnTo>
                    <a:lnTo>
                      <a:pt x="1326" y="426"/>
                    </a:lnTo>
                    <a:lnTo>
                      <a:pt x="1324" y="416"/>
                    </a:lnTo>
                    <a:lnTo>
                      <a:pt x="1318" y="410"/>
                    </a:lnTo>
                    <a:lnTo>
                      <a:pt x="1314" y="406"/>
                    </a:lnTo>
                    <a:lnTo>
                      <a:pt x="1312" y="404"/>
                    </a:lnTo>
                    <a:lnTo>
                      <a:pt x="1312" y="398"/>
                    </a:lnTo>
                    <a:lnTo>
                      <a:pt x="1314" y="394"/>
                    </a:lnTo>
                    <a:lnTo>
                      <a:pt x="1318" y="390"/>
                    </a:lnTo>
                    <a:lnTo>
                      <a:pt x="1324" y="388"/>
                    </a:lnTo>
                    <a:lnTo>
                      <a:pt x="1334" y="386"/>
                    </a:lnTo>
                    <a:lnTo>
                      <a:pt x="1346" y="386"/>
                    </a:lnTo>
                    <a:lnTo>
                      <a:pt x="1368" y="388"/>
                    </a:lnTo>
                    <a:lnTo>
                      <a:pt x="1384" y="394"/>
                    </a:lnTo>
                    <a:lnTo>
                      <a:pt x="1396" y="402"/>
                    </a:lnTo>
                    <a:lnTo>
                      <a:pt x="1408" y="410"/>
                    </a:lnTo>
                    <a:lnTo>
                      <a:pt x="1430" y="432"/>
                    </a:lnTo>
                    <a:lnTo>
                      <a:pt x="1442" y="440"/>
                    </a:lnTo>
                    <a:lnTo>
                      <a:pt x="1452" y="448"/>
                    </a:lnTo>
                    <a:lnTo>
                      <a:pt x="1466" y="454"/>
                    </a:lnTo>
                    <a:lnTo>
                      <a:pt x="1480" y="458"/>
                    </a:lnTo>
                    <a:lnTo>
                      <a:pt x="1494" y="462"/>
                    </a:lnTo>
                    <a:lnTo>
                      <a:pt x="1506" y="466"/>
                    </a:lnTo>
                    <a:lnTo>
                      <a:pt x="1512" y="474"/>
                    </a:lnTo>
                    <a:lnTo>
                      <a:pt x="1518" y="482"/>
                    </a:lnTo>
                    <a:lnTo>
                      <a:pt x="1526" y="488"/>
                    </a:lnTo>
                    <a:lnTo>
                      <a:pt x="1532" y="490"/>
                    </a:lnTo>
                    <a:lnTo>
                      <a:pt x="1536" y="490"/>
                    </a:lnTo>
                    <a:lnTo>
                      <a:pt x="1548" y="488"/>
                    </a:lnTo>
                    <a:lnTo>
                      <a:pt x="1554" y="484"/>
                    </a:lnTo>
                    <a:lnTo>
                      <a:pt x="1560" y="478"/>
                    </a:lnTo>
                    <a:lnTo>
                      <a:pt x="1568" y="472"/>
                    </a:lnTo>
                    <a:lnTo>
                      <a:pt x="1576" y="486"/>
                    </a:lnTo>
                    <a:lnTo>
                      <a:pt x="1580" y="496"/>
                    </a:lnTo>
                    <a:lnTo>
                      <a:pt x="1582" y="510"/>
                    </a:lnTo>
                    <a:lnTo>
                      <a:pt x="1582" y="522"/>
                    </a:lnTo>
                    <a:lnTo>
                      <a:pt x="1582" y="528"/>
                    </a:lnTo>
                    <a:lnTo>
                      <a:pt x="1582" y="538"/>
                    </a:lnTo>
                    <a:lnTo>
                      <a:pt x="1574" y="532"/>
                    </a:lnTo>
                    <a:lnTo>
                      <a:pt x="1562" y="528"/>
                    </a:lnTo>
                    <a:lnTo>
                      <a:pt x="1562" y="544"/>
                    </a:lnTo>
                    <a:lnTo>
                      <a:pt x="1570" y="550"/>
                    </a:lnTo>
                    <a:lnTo>
                      <a:pt x="1576" y="558"/>
                    </a:lnTo>
                    <a:lnTo>
                      <a:pt x="1584" y="580"/>
                    </a:lnTo>
                    <a:lnTo>
                      <a:pt x="1590" y="576"/>
                    </a:lnTo>
                    <a:lnTo>
                      <a:pt x="1600" y="574"/>
                    </a:lnTo>
                    <a:lnTo>
                      <a:pt x="1612" y="576"/>
                    </a:lnTo>
                    <a:lnTo>
                      <a:pt x="1618" y="576"/>
                    </a:lnTo>
                    <a:lnTo>
                      <a:pt x="1624" y="574"/>
                    </a:lnTo>
                    <a:lnTo>
                      <a:pt x="1630" y="574"/>
                    </a:lnTo>
                    <a:lnTo>
                      <a:pt x="1634" y="570"/>
                    </a:lnTo>
                    <a:lnTo>
                      <a:pt x="1640" y="558"/>
                    </a:lnTo>
                    <a:lnTo>
                      <a:pt x="1640" y="546"/>
                    </a:lnTo>
                    <a:lnTo>
                      <a:pt x="1642" y="532"/>
                    </a:lnTo>
                    <a:lnTo>
                      <a:pt x="1642" y="518"/>
                    </a:lnTo>
                    <a:lnTo>
                      <a:pt x="1642" y="494"/>
                    </a:lnTo>
                    <a:lnTo>
                      <a:pt x="1640" y="476"/>
                    </a:lnTo>
                    <a:lnTo>
                      <a:pt x="1636" y="458"/>
                    </a:lnTo>
                    <a:lnTo>
                      <a:pt x="1628" y="436"/>
                    </a:lnTo>
                    <a:lnTo>
                      <a:pt x="1616" y="418"/>
                    </a:lnTo>
                    <a:lnTo>
                      <a:pt x="1604" y="402"/>
                    </a:lnTo>
                    <a:lnTo>
                      <a:pt x="1588" y="386"/>
                    </a:lnTo>
                    <a:lnTo>
                      <a:pt x="1580" y="382"/>
                    </a:lnTo>
                    <a:lnTo>
                      <a:pt x="1572" y="380"/>
                    </a:lnTo>
                    <a:lnTo>
                      <a:pt x="1562" y="376"/>
                    </a:lnTo>
                    <a:lnTo>
                      <a:pt x="1554" y="376"/>
                    </a:lnTo>
                    <a:lnTo>
                      <a:pt x="1550" y="376"/>
                    </a:lnTo>
                    <a:lnTo>
                      <a:pt x="1548" y="376"/>
                    </a:lnTo>
                    <a:lnTo>
                      <a:pt x="1544" y="382"/>
                    </a:lnTo>
                    <a:lnTo>
                      <a:pt x="1534" y="378"/>
                    </a:lnTo>
                    <a:lnTo>
                      <a:pt x="1530" y="370"/>
                    </a:lnTo>
                    <a:lnTo>
                      <a:pt x="1524" y="362"/>
                    </a:lnTo>
                    <a:lnTo>
                      <a:pt x="1516" y="354"/>
                    </a:lnTo>
                    <a:lnTo>
                      <a:pt x="1510" y="358"/>
                    </a:lnTo>
                    <a:lnTo>
                      <a:pt x="1502" y="362"/>
                    </a:lnTo>
                    <a:lnTo>
                      <a:pt x="1492" y="366"/>
                    </a:lnTo>
                    <a:lnTo>
                      <a:pt x="1492" y="354"/>
                    </a:lnTo>
                    <a:lnTo>
                      <a:pt x="1494" y="354"/>
                    </a:lnTo>
                    <a:lnTo>
                      <a:pt x="1496" y="350"/>
                    </a:lnTo>
                    <a:lnTo>
                      <a:pt x="1502" y="344"/>
                    </a:lnTo>
                    <a:lnTo>
                      <a:pt x="1504" y="340"/>
                    </a:lnTo>
                    <a:lnTo>
                      <a:pt x="1504" y="334"/>
                    </a:lnTo>
                    <a:lnTo>
                      <a:pt x="1504" y="324"/>
                    </a:lnTo>
                    <a:lnTo>
                      <a:pt x="1506" y="312"/>
                    </a:lnTo>
                    <a:lnTo>
                      <a:pt x="1506" y="308"/>
                    </a:lnTo>
                    <a:lnTo>
                      <a:pt x="1508" y="302"/>
                    </a:lnTo>
                    <a:lnTo>
                      <a:pt x="1516" y="296"/>
                    </a:lnTo>
                    <a:lnTo>
                      <a:pt x="1524" y="290"/>
                    </a:lnTo>
                    <a:lnTo>
                      <a:pt x="1534" y="286"/>
                    </a:lnTo>
                    <a:lnTo>
                      <a:pt x="1546" y="284"/>
                    </a:lnTo>
                    <a:lnTo>
                      <a:pt x="1570" y="286"/>
                    </a:lnTo>
                    <a:lnTo>
                      <a:pt x="1592" y="286"/>
                    </a:lnTo>
                    <a:lnTo>
                      <a:pt x="1610" y="288"/>
                    </a:lnTo>
                    <a:lnTo>
                      <a:pt x="1624" y="292"/>
                    </a:lnTo>
                    <a:lnTo>
                      <a:pt x="1636" y="296"/>
                    </a:lnTo>
                    <a:lnTo>
                      <a:pt x="1648" y="298"/>
                    </a:lnTo>
                    <a:lnTo>
                      <a:pt x="1656" y="296"/>
                    </a:lnTo>
                    <a:lnTo>
                      <a:pt x="1662" y="294"/>
                    </a:lnTo>
                    <a:lnTo>
                      <a:pt x="1668" y="290"/>
                    </a:lnTo>
                    <a:lnTo>
                      <a:pt x="1670" y="286"/>
                    </a:lnTo>
                    <a:lnTo>
                      <a:pt x="1666" y="284"/>
                    </a:lnTo>
                    <a:lnTo>
                      <a:pt x="1660" y="278"/>
                    </a:lnTo>
                    <a:lnTo>
                      <a:pt x="1656" y="272"/>
                    </a:lnTo>
                    <a:lnTo>
                      <a:pt x="1654" y="262"/>
                    </a:lnTo>
                    <a:lnTo>
                      <a:pt x="1654" y="254"/>
                    </a:lnTo>
                    <a:lnTo>
                      <a:pt x="1656" y="252"/>
                    </a:lnTo>
                    <a:lnTo>
                      <a:pt x="1658" y="248"/>
                    </a:lnTo>
                    <a:lnTo>
                      <a:pt x="1662" y="246"/>
                    </a:lnTo>
                    <a:lnTo>
                      <a:pt x="1668" y="246"/>
                    </a:lnTo>
                    <a:lnTo>
                      <a:pt x="1682" y="246"/>
                    </a:lnTo>
                    <a:lnTo>
                      <a:pt x="1694" y="250"/>
                    </a:lnTo>
                    <a:lnTo>
                      <a:pt x="1704" y="256"/>
                    </a:lnTo>
                    <a:lnTo>
                      <a:pt x="1714" y="262"/>
                    </a:lnTo>
                    <a:lnTo>
                      <a:pt x="1722" y="264"/>
                    </a:lnTo>
                    <a:lnTo>
                      <a:pt x="1722" y="256"/>
                    </a:lnTo>
                    <a:lnTo>
                      <a:pt x="1722" y="250"/>
                    </a:lnTo>
                    <a:lnTo>
                      <a:pt x="1724" y="244"/>
                    </a:lnTo>
                    <a:lnTo>
                      <a:pt x="1722" y="230"/>
                    </a:lnTo>
                    <a:lnTo>
                      <a:pt x="1738" y="230"/>
                    </a:lnTo>
                    <a:lnTo>
                      <a:pt x="1740" y="240"/>
                    </a:lnTo>
                    <a:lnTo>
                      <a:pt x="1744" y="246"/>
                    </a:lnTo>
                    <a:lnTo>
                      <a:pt x="1750" y="254"/>
                    </a:lnTo>
                    <a:lnTo>
                      <a:pt x="1754" y="260"/>
                    </a:lnTo>
                    <a:lnTo>
                      <a:pt x="1748" y="270"/>
                    </a:lnTo>
                    <a:lnTo>
                      <a:pt x="1740" y="284"/>
                    </a:lnTo>
                    <a:lnTo>
                      <a:pt x="1734" y="300"/>
                    </a:lnTo>
                    <a:lnTo>
                      <a:pt x="1732" y="314"/>
                    </a:lnTo>
                    <a:lnTo>
                      <a:pt x="1732" y="322"/>
                    </a:lnTo>
                    <a:lnTo>
                      <a:pt x="1736" y="330"/>
                    </a:lnTo>
                    <a:lnTo>
                      <a:pt x="1740" y="338"/>
                    </a:lnTo>
                    <a:lnTo>
                      <a:pt x="1746" y="346"/>
                    </a:lnTo>
                    <a:lnTo>
                      <a:pt x="1760" y="362"/>
                    </a:lnTo>
                    <a:lnTo>
                      <a:pt x="1776" y="378"/>
                    </a:lnTo>
                    <a:lnTo>
                      <a:pt x="1814" y="406"/>
                    </a:lnTo>
                    <a:lnTo>
                      <a:pt x="1830" y="420"/>
                    </a:lnTo>
                    <a:lnTo>
                      <a:pt x="1840" y="434"/>
                    </a:lnTo>
                    <a:lnTo>
                      <a:pt x="1846" y="424"/>
                    </a:lnTo>
                    <a:lnTo>
                      <a:pt x="1848" y="416"/>
                    </a:lnTo>
                    <a:lnTo>
                      <a:pt x="1846" y="410"/>
                    </a:lnTo>
                    <a:lnTo>
                      <a:pt x="1840" y="404"/>
                    </a:lnTo>
                    <a:lnTo>
                      <a:pt x="1838" y="400"/>
                    </a:lnTo>
                    <a:lnTo>
                      <a:pt x="1840" y="398"/>
                    </a:lnTo>
                    <a:lnTo>
                      <a:pt x="1844" y="394"/>
                    </a:lnTo>
                    <a:lnTo>
                      <a:pt x="1850" y="390"/>
                    </a:lnTo>
                    <a:lnTo>
                      <a:pt x="1842" y="384"/>
                    </a:lnTo>
                    <a:lnTo>
                      <a:pt x="1838" y="382"/>
                    </a:lnTo>
                    <a:lnTo>
                      <a:pt x="1838" y="376"/>
                    </a:lnTo>
                    <a:lnTo>
                      <a:pt x="1838" y="372"/>
                    </a:lnTo>
                    <a:lnTo>
                      <a:pt x="1840" y="368"/>
                    </a:lnTo>
                    <a:lnTo>
                      <a:pt x="1850" y="366"/>
                    </a:lnTo>
                    <a:lnTo>
                      <a:pt x="1850" y="364"/>
                    </a:lnTo>
                    <a:lnTo>
                      <a:pt x="1852" y="362"/>
                    </a:lnTo>
                    <a:lnTo>
                      <a:pt x="1852" y="358"/>
                    </a:lnTo>
                    <a:lnTo>
                      <a:pt x="1850" y="356"/>
                    </a:lnTo>
                    <a:lnTo>
                      <a:pt x="1846" y="354"/>
                    </a:lnTo>
                    <a:lnTo>
                      <a:pt x="1838" y="354"/>
                    </a:lnTo>
                    <a:lnTo>
                      <a:pt x="1828" y="354"/>
                    </a:lnTo>
                    <a:lnTo>
                      <a:pt x="1840" y="338"/>
                    </a:lnTo>
                    <a:lnTo>
                      <a:pt x="1828" y="328"/>
                    </a:lnTo>
                    <a:lnTo>
                      <a:pt x="1806" y="316"/>
                    </a:lnTo>
                    <a:lnTo>
                      <a:pt x="1798" y="308"/>
                    </a:lnTo>
                    <a:lnTo>
                      <a:pt x="1790" y="302"/>
                    </a:lnTo>
                    <a:lnTo>
                      <a:pt x="1784" y="296"/>
                    </a:lnTo>
                    <a:lnTo>
                      <a:pt x="1782" y="290"/>
                    </a:lnTo>
                    <a:lnTo>
                      <a:pt x="1784" y="282"/>
                    </a:lnTo>
                    <a:lnTo>
                      <a:pt x="1786" y="274"/>
                    </a:lnTo>
                    <a:lnTo>
                      <a:pt x="1792" y="270"/>
                    </a:lnTo>
                    <a:lnTo>
                      <a:pt x="1796" y="268"/>
                    </a:lnTo>
                    <a:lnTo>
                      <a:pt x="1828" y="268"/>
                    </a:lnTo>
                    <a:lnTo>
                      <a:pt x="1838" y="266"/>
                    </a:lnTo>
                    <a:lnTo>
                      <a:pt x="1850" y="262"/>
                    </a:lnTo>
                    <a:lnTo>
                      <a:pt x="1858" y="258"/>
                    </a:lnTo>
                    <a:lnTo>
                      <a:pt x="1868" y="252"/>
                    </a:lnTo>
                    <a:lnTo>
                      <a:pt x="1888" y="240"/>
                    </a:lnTo>
                    <a:lnTo>
                      <a:pt x="1898" y="234"/>
                    </a:lnTo>
                    <a:lnTo>
                      <a:pt x="1912" y="228"/>
                    </a:lnTo>
                    <a:lnTo>
                      <a:pt x="1906" y="218"/>
                    </a:lnTo>
                    <a:lnTo>
                      <a:pt x="1900" y="214"/>
                    </a:lnTo>
                    <a:lnTo>
                      <a:pt x="1892" y="210"/>
                    </a:lnTo>
                    <a:lnTo>
                      <a:pt x="1884" y="208"/>
                    </a:lnTo>
                    <a:lnTo>
                      <a:pt x="1864" y="206"/>
                    </a:lnTo>
                    <a:lnTo>
                      <a:pt x="1856" y="204"/>
                    </a:lnTo>
                    <a:lnTo>
                      <a:pt x="1846" y="198"/>
                    </a:lnTo>
                    <a:lnTo>
                      <a:pt x="1858" y="194"/>
                    </a:lnTo>
                    <a:lnTo>
                      <a:pt x="1868" y="190"/>
                    </a:lnTo>
                    <a:lnTo>
                      <a:pt x="1862" y="184"/>
                    </a:lnTo>
                    <a:lnTo>
                      <a:pt x="1858" y="178"/>
                    </a:lnTo>
                    <a:lnTo>
                      <a:pt x="1868" y="176"/>
                    </a:lnTo>
                    <a:lnTo>
                      <a:pt x="1882" y="180"/>
                    </a:lnTo>
                    <a:lnTo>
                      <a:pt x="1912" y="188"/>
                    </a:lnTo>
                    <a:lnTo>
                      <a:pt x="1940" y="194"/>
                    </a:lnTo>
                    <a:lnTo>
                      <a:pt x="1950" y="198"/>
                    </a:lnTo>
                    <a:lnTo>
                      <a:pt x="1962" y="198"/>
                    </a:lnTo>
                    <a:lnTo>
                      <a:pt x="1966" y="198"/>
                    </a:lnTo>
                    <a:lnTo>
                      <a:pt x="1968" y="196"/>
                    </a:lnTo>
                    <a:lnTo>
                      <a:pt x="1968" y="194"/>
                    </a:lnTo>
                    <a:lnTo>
                      <a:pt x="1968" y="190"/>
                    </a:lnTo>
                    <a:lnTo>
                      <a:pt x="1968" y="188"/>
                    </a:lnTo>
                    <a:lnTo>
                      <a:pt x="1962" y="182"/>
                    </a:lnTo>
                    <a:lnTo>
                      <a:pt x="1960" y="178"/>
                    </a:lnTo>
                    <a:lnTo>
                      <a:pt x="1956" y="174"/>
                    </a:lnTo>
                    <a:lnTo>
                      <a:pt x="1940" y="166"/>
                    </a:lnTo>
                    <a:lnTo>
                      <a:pt x="1924" y="164"/>
                    </a:lnTo>
                    <a:lnTo>
                      <a:pt x="1906" y="162"/>
                    </a:lnTo>
                    <a:lnTo>
                      <a:pt x="1896" y="162"/>
                    </a:lnTo>
                    <a:lnTo>
                      <a:pt x="1892" y="162"/>
                    </a:lnTo>
                    <a:lnTo>
                      <a:pt x="1888" y="164"/>
                    </a:lnTo>
                    <a:lnTo>
                      <a:pt x="1868" y="152"/>
                    </a:lnTo>
                    <a:lnTo>
                      <a:pt x="1844" y="142"/>
                    </a:lnTo>
                    <a:lnTo>
                      <a:pt x="1818" y="134"/>
                    </a:lnTo>
                    <a:lnTo>
                      <a:pt x="1788" y="126"/>
                    </a:lnTo>
                    <a:lnTo>
                      <a:pt x="1760" y="122"/>
                    </a:lnTo>
                    <a:lnTo>
                      <a:pt x="1730" y="118"/>
                    </a:lnTo>
                    <a:lnTo>
                      <a:pt x="1700" y="114"/>
                    </a:lnTo>
                    <a:lnTo>
                      <a:pt x="1674" y="114"/>
                    </a:lnTo>
                    <a:lnTo>
                      <a:pt x="1668" y="112"/>
                    </a:lnTo>
                    <a:lnTo>
                      <a:pt x="1656" y="110"/>
                    </a:lnTo>
                    <a:lnTo>
                      <a:pt x="1652" y="110"/>
                    </a:lnTo>
                    <a:lnTo>
                      <a:pt x="1650" y="114"/>
                    </a:lnTo>
                    <a:lnTo>
                      <a:pt x="1652" y="120"/>
                    </a:lnTo>
                    <a:lnTo>
                      <a:pt x="1660" y="130"/>
                    </a:lnTo>
                    <a:lnTo>
                      <a:pt x="1644" y="130"/>
                    </a:lnTo>
                    <a:lnTo>
                      <a:pt x="1636" y="124"/>
                    </a:lnTo>
                    <a:lnTo>
                      <a:pt x="1622" y="120"/>
                    </a:lnTo>
                    <a:lnTo>
                      <a:pt x="1610" y="118"/>
                    </a:lnTo>
                    <a:lnTo>
                      <a:pt x="1594" y="118"/>
                    </a:lnTo>
                    <a:lnTo>
                      <a:pt x="1562" y="120"/>
                    </a:lnTo>
                    <a:lnTo>
                      <a:pt x="1548" y="120"/>
                    </a:lnTo>
                    <a:lnTo>
                      <a:pt x="1534" y="118"/>
                    </a:lnTo>
                    <a:lnTo>
                      <a:pt x="1526" y="116"/>
                    </a:lnTo>
                    <a:lnTo>
                      <a:pt x="1520" y="112"/>
                    </a:lnTo>
                    <a:lnTo>
                      <a:pt x="1514" y="108"/>
                    </a:lnTo>
                    <a:lnTo>
                      <a:pt x="1508" y="102"/>
                    </a:lnTo>
                    <a:lnTo>
                      <a:pt x="1500" y="98"/>
                    </a:lnTo>
                    <a:lnTo>
                      <a:pt x="1480" y="96"/>
                    </a:lnTo>
                    <a:lnTo>
                      <a:pt x="1454" y="96"/>
                    </a:lnTo>
                    <a:lnTo>
                      <a:pt x="1418" y="100"/>
                    </a:lnTo>
                    <a:lnTo>
                      <a:pt x="1406" y="100"/>
                    </a:lnTo>
                    <a:lnTo>
                      <a:pt x="1394" y="96"/>
                    </a:lnTo>
                    <a:lnTo>
                      <a:pt x="1388" y="90"/>
                    </a:lnTo>
                    <a:lnTo>
                      <a:pt x="1378" y="84"/>
                    </a:lnTo>
                    <a:lnTo>
                      <a:pt x="1364" y="72"/>
                    </a:lnTo>
                    <a:lnTo>
                      <a:pt x="1354" y="68"/>
                    </a:lnTo>
                    <a:lnTo>
                      <a:pt x="1344" y="66"/>
                    </a:lnTo>
                    <a:lnTo>
                      <a:pt x="1340" y="68"/>
                    </a:lnTo>
                    <a:lnTo>
                      <a:pt x="1336" y="70"/>
                    </a:lnTo>
                    <a:lnTo>
                      <a:pt x="1334" y="78"/>
                    </a:lnTo>
                    <a:lnTo>
                      <a:pt x="1328" y="78"/>
                    </a:lnTo>
                    <a:lnTo>
                      <a:pt x="1312" y="80"/>
                    </a:lnTo>
                    <a:lnTo>
                      <a:pt x="1304" y="78"/>
                    </a:lnTo>
                    <a:lnTo>
                      <a:pt x="1292" y="76"/>
                    </a:lnTo>
                    <a:lnTo>
                      <a:pt x="1280" y="72"/>
                    </a:lnTo>
                    <a:lnTo>
                      <a:pt x="1266" y="66"/>
                    </a:lnTo>
                    <a:lnTo>
                      <a:pt x="1260" y="64"/>
                    </a:lnTo>
                    <a:lnTo>
                      <a:pt x="1256" y="64"/>
                    </a:lnTo>
                    <a:lnTo>
                      <a:pt x="1250" y="68"/>
                    </a:lnTo>
                    <a:lnTo>
                      <a:pt x="1246" y="74"/>
                    </a:lnTo>
                    <a:lnTo>
                      <a:pt x="1240" y="82"/>
                    </a:lnTo>
                    <a:lnTo>
                      <a:pt x="1236" y="88"/>
                    </a:lnTo>
                    <a:lnTo>
                      <a:pt x="1232" y="90"/>
                    </a:lnTo>
                    <a:lnTo>
                      <a:pt x="1224" y="94"/>
                    </a:lnTo>
                    <a:lnTo>
                      <a:pt x="1212" y="96"/>
                    </a:lnTo>
                    <a:lnTo>
                      <a:pt x="1190" y="98"/>
                    </a:lnTo>
                    <a:lnTo>
                      <a:pt x="1148" y="96"/>
                    </a:lnTo>
                    <a:lnTo>
                      <a:pt x="1136" y="94"/>
                    </a:lnTo>
                    <a:lnTo>
                      <a:pt x="1124" y="90"/>
                    </a:lnTo>
                    <a:lnTo>
                      <a:pt x="1114" y="84"/>
                    </a:lnTo>
                    <a:lnTo>
                      <a:pt x="1104" y="80"/>
                    </a:lnTo>
                    <a:lnTo>
                      <a:pt x="1094" y="72"/>
                    </a:lnTo>
                    <a:lnTo>
                      <a:pt x="1082" y="66"/>
                    </a:lnTo>
                    <a:lnTo>
                      <a:pt x="1066" y="62"/>
                    </a:lnTo>
                    <a:lnTo>
                      <a:pt x="1048" y="60"/>
                    </a:lnTo>
                    <a:lnTo>
                      <a:pt x="1038" y="58"/>
                    </a:lnTo>
                    <a:lnTo>
                      <a:pt x="1018" y="56"/>
                    </a:lnTo>
                    <a:lnTo>
                      <a:pt x="980" y="54"/>
                    </a:lnTo>
                    <a:lnTo>
                      <a:pt x="924" y="56"/>
                    </a:lnTo>
                    <a:lnTo>
                      <a:pt x="898" y="54"/>
                    </a:lnTo>
                    <a:lnTo>
                      <a:pt x="868" y="54"/>
                    </a:lnTo>
                    <a:lnTo>
                      <a:pt x="880" y="46"/>
                    </a:lnTo>
                    <a:lnTo>
                      <a:pt x="886" y="40"/>
                    </a:lnTo>
                    <a:lnTo>
                      <a:pt x="890" y="34"/>
                    </a:lnTo>
                    <a:lnTo>
                      <a:pt x="876" y="26"/>
                    </a:lnTo>
                    <a:lnTo>
                      <a:pt x="852" y="20"/>
                    </a:lnTo>
                    <a:lnTo>
                      <a:pt x="828" y="12"/>
                    </a:lnTo>
                    <a:lnTo>
                      <a:pt x="800" y="4"/>
                    </a:lnTo>
                    <a:lnTo>
                      <a:pt x="774" y="2"/>
                    </a:lnTo>
                    <a:lnTo>
                      <a:pt x="764" y="0"/>
                    </a:lnTo>
                    <a:lnTo>
                      <a:pt x="752" y="2"/>
                    </a:lnTo>
                    <a:lnTo>
                      <a:pt x="742" y="4"/>
                    </a:lnTo>
                    <a:lnTo>
                      <a:pt x="736" y="8"/>
                    </a:lnTo>
                    <a:lnTo>
                      <a:pt x="732" y="14"/>
                    </a:lnTo>
                    <a:lnTo>
                      <a:pt x="728" y="22"/>
                    </a:lnTo>
                    <a:lnTo>
                      <a:pt x="712" y="20"/>
                    </a:lnTo>
                    <a:lnTo>
                      <a:pt x="692" y="18"/>
                    </a:lnTo>
                    <a:lnTo>
                      <a:pt x="668" y="20"/>
                    </a:lnTo>
                    <a:lnTo>
                      <a:pt x="642" y="26"/>
                    </a:lnTo>
                    <a:lnTo>
                      <a:pt x="630" y="28"/>
                    </a:lnTo>
                    <a:lnTo>
                      <a:pt x="618" y="32"/>
                    </a:lnTo>
                    <a:lnTo>
                      <a:pt x="608" y="38"/>
                    </a:lnTo>
                    <a:lnTo>
                      <a:pt x="602" y="46"/>
                    </a:lnTo>
                    <a:lnTo>
                      <a:pt x="608" y="46"/>
                    </a:lnTo>
                    <a:lnTo>
                      <a:pt x="618" y="52"/>
                    </a:lnTo>
                    <a:lnTo>
                      <a:pt x="606" y="54"/>
                    </a:lnTo>
                    <a:lnTo>
                      <a:pt x="596" y="54"/>
                    </a:lnTo>
                    <a:lnTo>
                      <a:pt x="578" y="54"/>
                    </a:lnTo>
                    <a:lnTo>
                      <a:pt x="564" y="56"/>
                    </a:lnTo>
                    <a:lnTo>
                      <a:pt x="574" y="74"/>
                    </a:lnTo>
                    <a:lnTo>
                      <a:pt x="562" y="74"/>
                    </a:lnTo>
                    <a:lnTo>
                      <a:pt x="552" y="76"/>
                    </a:lnTo>
                    <a:lnTo>
                      <a:pt x="548" y="80"/>
                    </a:lnTo>
                    <a:lnTo>
                      <a:pt x="548" y="82"/>
                    </a:lnTo>
                    <a:lnTo>
                      <a:pt x="546" y="86"/>
                    </a:lnTo>
                    <a:lnTo>
                      <a:pt x="548" y="90"/>
                    </a:lnTo>
                    <a:lnTo>
                      <a:pt x="548" y="96"/>
                    </a:lnTo>
                    <a:lnTo>
                      <a:pt x="542" y="94"/>
                    </a:lnTo>
                    <a:lnTo>
                      <a:pt x="536" y="90"/>
                    </a:lnTo>
                    <a:lnTo>
                      <a:pt x="524" y="82"/>
                    </a:lnTo>
                    <a:lnTo>
                      <a:pt x="516" y="74"/>
                    </a:lnTo>
                    <a:lnTo>
                      <a:pt x="510" y="72"/>
                    </a:lnTo>
                    <a:lnTo>
                      <a:pt x="502" y="68"/>
                    </a:lnTo>
                    <a:lnTo>
                      <a:pt x="502" y="72"/>
                    </a:lnTo>
                    <a:lnTo>
                      <a:pt x="500" y="80"/>
                    </a:lnTo>
                    <a:lnTo>
                      <a:pt x="502" y="84"/>
                    </a:lnTo>
                    <a:lnTo>
                      <a:pt x="506" y="90"/>
                    </a:lnTo>
                    <a:lnTo>
                      <a:pt x="514" y="96"/>
                    </a:lnTo>
                    <a:lnTo>
                      <a:pt x="522" y="102"/>
                    </a:lnTo>
                    <a:lnTo>
                      <a:pt x="522" y="124"/>
                    </a:lnTo>
                    <a:lnTo>
                      <a:pt x="512" y="116"/>
                    </a:lnTo>
                    <a:lnTo>
                      <a:pt x="504" y="108"/>
                    </a:lnTo>
                    <a:lnTo>
                      <a:pt x="492" y="88"/>
                    </a:lnTo>
                    <a:lnTo>
                      <a:pt x="486" y="82"/>
                    </a:lnTo>
                    <a:lnTo>
                      <a:pt x="478" y="74"/>
                    </a:lnTo>
                    <a:lnTo>
                      <a:pt x="466" y="68"/>
                    </a:lnTo>
                    <a:lnTo>
                      <a:pt x="450" y="66"/>
                    </a:lnTo>
                    <a:lnTo>
                      <a:pt x="442" y="68"/>
                    </a:lnTo>
                    <a:lnTo>
                      <a:pt x="438" y="72"/>
                    </a:lnTo>
                    <a:lnTo>
                      <a:pt x="434" y="80"/>
                    </a:lnTo>
                    <a:lnTo>
                      <a:pt x="434" y="88"/>
                    </a:lnTo>
                    <a:lnTo>
                      <a:pt x="434" y="94"/>
                    </a:lnTo>
                    <a:lnTo>
                      <a:pt x="438" y="102"/>
                    </a:lnTo>
                    <a:lnTo>
                      <a:pt x="440" y="108"/>
                    </a:lnTo>
                    <a:lnTo>
                      <a:pt x="446" y="114"/>
                    </a:lnTo>
                    <a:lnTo>
                      <a:pt x="454" y="120"/>
                    </a:lnTo>
                    <a:lnTo>
                      <a:pt x="462" y="126"/>
                    </a:lnTo>
                    <a:lnTo>
                      <a:pt x="468" y="128"/>
                    </a:lnTo>
                    <a:lnTo>
                      <a:pt x="478" y="130"/>
                    </a:lnTo>
                    <a:lnTo>
                      <a:pt x="468" y="136"/>
                    </a:lnTo>
                    <a:lnTo>
                      <a:pt x="460" y="136"/>
                    </a:lnTo>
                    <a:lnTo>
                      <a:pt x="450" y="134"/>
                    </a:lnTo>
                    <a:lnTo>
                      <a:pt x="440" y="132"/>
                    </a:lnTo>
                    <a:lnTo>
                      <a:pt x="420" y="122"/>
                    </a:lnTo>
                    <a:lnTo>
                      <a:pt x="410" y="118"/>
                    </a:lnTo>
                    <a:lnTo>
                      <a:pt x="400" y="116"/>
                    </a:lnTo>
                    <a:lnTo>
                      <a:pt x="366" y="116"/>
                    </a:lnTo>
                    <a:lnTo>
                      <a:pt x="368" y="120"/>
                    </a:lnTo>
                    <a:lnTo>
                      <a:pt x="370" y="130"/>
                    </a:lnTo>
                    <a:lnTo>
                      <a:pt x="370" y="134"/>
                    </a:lnTo>
                    <a:lnTo>
                      <a:pt x="368" y="134"/>
                    </a:lnTo>
                    <a:lnTo>
                      <a:pt x="362" y="132"/>
                    </a:lnTo>
                    <a:lnTo>
                      <a:pt x="356" y="124"/>
                    </a:lnTo>
                    <a:lnTo>
                      <a:pt x="350" y="122"/>
                    </a:lnTo>
                    <a:lnTo>
                      <a:pt x="346" y="122"/>
                    </a:lnTo>
                    <a:lnTo>
                      <a:pt x="340" y="124"/>
                    </a:lnTo>
                    <a:lnTo>
                      <a:pt x="334" y="128"/>
                    </a:lnTo>
                    <a:lnTo>
                      <a:pt x="322" y="136"/>
                    </a:lnTo>
                    <a:lnTo>
                      <a:pt x="314" y="136"/>
                    </a:lnTo>
                    <a:lnTo>
                      <a:pt x="306" y="138"/>
                    </a:lnTo>
                    <a:lnTo>
                      <a:pt x="302" y="136"/>
                    </a:lnTo>
                    <a:lnTo>
                      <a:pt x="302" y="134"/>
                    </a:lnTo>
                    <a:lnTo>
                      <a:pt x="298" y="132"/>
                    </a:lnTo>
                    <a:lnTo>
                      <a:pt x="290" y="130"/>
                    </a:lnTo>
                    <a:lnTo>
                      <a:pt x="280" y="132"/>
                    </a:lnTo>
                    <a:lnTo>
                      <a:pt x="270" y="134"/>
                    </a:lnTo>
                    <a:lnTo>
                      <a:pt x="260" y="136"/>
                    </a:lnTo>
                    <a:lnTo>
                      <a:pt x="250" y="142"/>
                    </a:lnTo>
                    <a:lnTo>
                      <a:pt x="236" y="152"/>
                    </a:lnTo>
                    <a:lnTo>
                      <a:pt x="222" y="164"/>
                    </a:lnTo>
                    <a:lnTo>
                      <a:pt x="218" y="158"/>
                    </a:lnTo>
                    <a:lnTo>
                      <a:pt x="216" y="152"/>
                    </a:lnTo>
                    <a:lnTo>
                      <a:pt x="214" y="144"/>
                    </a:lnTo>
                    <a:lnTo>
                      <a:pt x="214" y="136"/>
                    </a:lnTo>
                    <a:lnTo>
                      <a:pt x="192" y="136"/>
                    </a:lnTo>
                    <a:lnTo>
                      <a:pt x="192" y="144"/>
                    </a:lnTo>
                    <a:lnTo>
                      <a:pt x="194" y="150"/>
                    </a:lnTo>
                    <a:lnTo>
                      <a:pt x="196" y="158"/>
                    </a:lnTo>
                    <a:lnTo>
                      <a:pt x="198" y="166"/>
                    </a:lnTo>
                    <a:lnTo>
                      <a:pt x="190" y="166"/>
                    </a:lnTo>
                    <a:lnTo>
                      <a:pt x="180" y="168"/>
                    </a:lnTo>
                    <a:lnTo>
                      <a:pt x="172" y="172"/>
                    </a:lnTo>
                    <a:lnTo>
                      <a:pt x="166" y="176"/>
                    </a:lnTo>
                    <a:lnTo>
                      <a:pt x="158" y="186"/>
                    </a:lnTo>
                    <a:lnTo>
                      <a:pt x="148" y="196"/>
                    </a:lnTo>
                    <a:lnTo>
                      <a:pt x="132" y="190"/>
                    </a:lnTo>
                    <a:lnTo>
                      <a:pt x="118" y="190"/>
                    </a:lnTo>
                    <a:lnTo>
                      <a:pt x="126" y="198"/>
                    </a:lnTo>
                    <a:lnTo>
                      <a:pt x="130" y="206"/>
                    </a:lnTo>
                    <a:lnTo>
                      <a:pt x="132" y="210"/>
                    </a:lnTo>
                    <a:lnTo>
                      <a:pt x="118" y="210"/>
                    </a:lnTo>
                    <a:lnTo>
                      <a:pt x="110" y="208"/>
                    </a:lnTo>
                    <a:lnTo>
                      <a:pt x="102" y="202"/>
                    </a:lnTo>
                    <a:lnTo>
                      <a:pt x="94" y="196"/>
                    </a:lnTo>
                    <a:lnTo>
                      <a:pt x="84" y="180"/>
                    </a:lnTo>
                    <a:lnTo>
                      <a:pt x="76" y="166"/>
                    </a:lnTo>
                    <a:lnTo>
                      <a:pt x="84" y="166"/>
                    </a:lnTo>
                    <a:lnTo>
                      <a:pt x="96" y="170"/>
                    </a:lnTo>
                    <a:lnTo>
                      <a:pt x="110" y="172"/>
                    </a:lnTo>
                    <a:lnTo>
                      <a:pt x="124" y="174"/>
                    </a:lnTo>
                    <a:lnTo>
                      <a:pt x="134" y="172"/>
                    </a:lnTo>
                    <a:lnTo>
                      <a:pt x="142" y="170"/>
                    </a:lnTo>
                    <a:lnTo>
                      <a:pt x="158" y="164"/>
                    </a:lnTo>
                    <a:lnTo>
                      <a:pt x="156" y="158"/>
                    </a:lnTo>
                    <a:lnTo>
                      <a:pt x="150" y="152"/>
                    </a:lnTo>
                    <a:lnTo>
                      <a:pt x="144" y="146"/>
                    </a:lnTo>
                    <a:lnTo>
                      <a:pt x="138" y="142"/>
                    </a:lnTo>
                    <a:lnTo>
                      <a:pt x="120" y="136"/>
                    </a:lnTo>
                    <a:lnTo>
                      <a:pt x="100" y="132"/>
                    </a:lnTo>
                    <a:lnTo>
                      <a:pt x="56" y="124"/>
                    </a:lnTo>
                    <a:lnTo>
                      <a:pt x="36" y="118"/>
                    </a:lnTo>
                    <a:lnTo>
                      <a:pt x="28" y="114"/>
                    </a:lnTo>
                    <a:lnTo>
                      <a:pt x="24" y="110"/>
                    </a:lnTo>
                    <a:lnTo>
                      <a:pt x="24" y="122"/>
                    </a:lnTo>
                    <a:lnTo>
                      <a:pt x="8" y="126"/>
                    </a:lnTo>
                    <a:lnTo>
                      <a:pt x="2" y="130"/>
                    </a:lnTo>
                    <a:lnTo>
                      <a:pt x="0" y="134"/>
                    </a:lnTo>
                    <a:lnTo>
                      <a:pt x="0" y="136"/>
                    </a:lnTo>
                    <a:lnTo>
                      <a:pt x="0" y="140"/>
                    </a:lnTo>
                    <a:lnTo>
                      <a:pt x="2" y="142"/>
                    </a:lnTo>
                    <a:lnTo>
                      <a:pt x="10" y="144"/>
                    </a:lnTo>
                    <a:lnTo>
                      <a:pt x="18" y="146"/>
                    </a:lnTo>
                    <a:lnTo>
                      <a:pt x="20" y="148"/>
                    </a:lnTo>
                    <a:lnTo>
                      <a:pt x="20" y="150"/>
                    </a:lnTo>
                    <a:lnTo>
                      <a:pt x="20" y="154"/>
                    </a:lnTo>
                    <a:lnTo>
                      <a:pt x="18" y="158"/>
                    </a:lnTo>
                    <a:lnTo>
                      <a:pt x="14" y="160"/>
                    </a:lnTo>
                    <a:lnTo>
                      <a:pt x="14" y="164"/>
                    </a:lnTo>
                    <a:lnTo>
                      <a:pt x="16" y="166"/>
                    </a:lnTo>
                    <a:lnTo>
                      <a:pt x="18" y="164"/>
                    </a:lnTo>
                    <a:lnTo>
                      <a:pt x="24" y="164"/>
                    </a:lnTo>
                    <a:lnTo>
                      <a:pt x="24" y="174"/>
                    </a:lnTo>
                    <a:lnTo>
                      <a:pt x="28" y="186"/>
                    </a:lnTo>
                    <a:lnTo>
                      <a:pt x="30" y="192"/>
                    </a:lnTo>
                    <a:lnTo>
                      <a:pt x="32" y="196"/>
                    </a:lnTo>
                    <a:lnTo>
                      <a:pt x="36" y="198"/>
                    </a:lnTo>
                    <a:lnTo>
                      <a:pt x="36" y="202"/>
                    </a:lnTo>
                    <a:lnTo>
                      <a:pt x="38" y="208"/>
                    </a:lnTo>
                    <a:lnTo>
                      <a:pt x="40" y="212"/>
                    </a:lnTo>
                    <a:lnTo>
                      <a:pt x="40" y="218"/>
                    </a:lnTo>
                    <a:lnTo>
                      <a:pt x="50" y="222"/>
                    </a:lnTo>
                    <a:lnTo>
                      <a:pt x="56" y="228"/>
                    </a:lnTo>
                    <a:lnTo>
                      <a:pt x="56" y="240"/>
                    </a:lnTo>
                    <a:lnTo>
                      <a:pt x="46" y="242"/>
                    </a:lnTo>
                    <a:lnTo>
                      <a:pt x="38" y="246"/>
                    </a:lnTo>
                    <a:lnTo>
                      <a:pt x="28" y="260"/>
                    </a:lnTo>
                    <a:lnTo>
                      <a:pt x="32" y="266"/>
                    </a:lnTo>
                    <a:lnTo>
                      <a:pt x="36" y="268"/>
                    </a:lnTo>
                    <a:lnTo>
                      <a:pt x="40" y="270"/>
                    </a:lnTo>
                    <a:lnTo>
                      <a:pt x="34" y="276"/>
                    </a:lnTo>
                    <a:lnTo>
                      <a:pt x="26" y="282"/>
                    </a:lnTo>
                    <a:lnTo>
                      <a:pt x="20" y="284"/>
                    </a:lnTo>
                    <a:lnTo>
                      <a:pt x="20" y="294"/>
                    </a:lnTo>
                    <a:lnTo>
                      <a:pt x="18" y="296"/>
                    </a:lnTo>
                    <a:lnTo>
                      <a:pt x="14" y="296"/>
                    </a:lnTo>
                    <a:lnTo>
                      <a:pt x="16" y="300"/>
                    </a:lnTo>
                    <a:lnTo>
                      <a:pt x="24" y="314"/>
                    </a:lnTo>
                    <a:lnTo>
                      <a:pt x="26" y="320"/>
                    </a:lnTo>
                    <a:lnTo>
                      <a:pt x="28" y="330"/>
                    </a:lnTo>
                    <a:lnTo>
                      <a:pt x="30" y="338"/>
                    </a:lnTo>
                    <a:lnTo>
                      <a:pt x="30" y="340"/>
                    </a:lnTo>
                    <a:lnTo>
                      <a:pt x="32" y="340"/>
                    </a:lnTo>
                    <a:lnTo>
                      <a:pt x="34" y="340"/>
                    </a:lnTo>
                    <a:lnTo>
                      <a:pt x="42" y="338"/>
                    </a:lnTo>
                    <a:lnTo>
                      <a:pt x="50" y="334"/>
                    </a:lnTo>
                    <a:lnTo>
                      <a:pt x="58" y="338"/>
                    </a:lnTo>
                    <a:lnTo>
                      <a:pt x="68" y="338"/>
                    </a:lnTo>
                    <a:lnTo>
                      <a:pt x="80" y="338"/>
                    </a:lnTo>
                    <a:lnTo>
                      <a:pt x="88" y="350"/>
                    </a:lnTo>
                    <a:lnTo>
                      <a:pt x="88" y="358"/>
                    </a:lnTo>
                    <a:lnTo>
                      <a:pt x="94" y="362"/>
                    </a:lnTo>
                    <a:lnTo>
                      <a:pt x="100" y="372"/>
                    </a:lnTo>
                    <a:lnTo>
                      <a:pt x="104" y="376"/>
                    </a:lnTo>
                    <a:lnTo>
                      <a:pt x="108" y="376"/>
                    </a:lnTo>
                    <a:lnTo>
                      <a:pt x="112" y="378"/>
                    </a:lnTo>
                    <a:lnTo>
                      <a:pt x="112" y="376"/>
                    </a:lnTo>
                    <a:lnTo>
                      <a:pt x="114" y="384"/>
                    </a:lnTo>
                    <a:lnTo>
                      <a:pt x="110" y="386"/>
                    </a:lnTo>
                    <a:lnTo>
                      <a:pt x="96" y="390"/>
                    </a:lnTo>
                    <a:lnTo>
                      <a:pt x="104" y="406"/>
                    </a:lnTo>
                    <a:lnTo>
                      <a:pt x="112" y="406"/>
                    </a:lnTo>
                    <a:lnTo>
                      <a:pt x="132" y="400"/>
                    </a:lnTo>
                    <a:lnTo>
                      <a:pt x="142" y="408"/>
                    </a:lnTo>
                    <a:lnTo>
                      <a:pt x="142" y="414"/>
                    </a:lnTo>
                    <a:lnTo>
                      <a:pt x="144" y="422"/>
                    </a:lnTo>
                    <a:lnTo>
                      <a:pt x="160" y="424"/>
                    </a:lnTo>
                    <a:lnTo>
                      <a:pt x="164" y="436"/>
                    </a:lnTo>
                    <a:lnTo>
                      <a:pt x="174" y="436"/>
                    </a:lnTo>
                    <a:lnTo>
                      <a:pt x="178" y="440"/>
                    </a:lnTo>
                    <a:lnTo>
                      <a:pt x="192" y="436"/>
                    </a:lnTo>
                    <a:lnTo>
                      <a:pt x="198" y="444"/>
                    </a:lnTo>
                    <a:lnTo>
                      <a:pt x="210" y="448"/>
                    </a:lnTo>
                    <a:lnTo>
                      <a:pt x="214" y="448"/>
                    </a:lnTo>
                    <a:lnTo>
                      <a:pt x="222" y="450"/>
                    </a:lnTo>
                    <a:lnTo>
                      <a:pt x="228" y="452"/>
                    </a:lnTo>
                    <a:lnTo>
                      <a:pt x="234" y="454"/>
                    </a:lnTo>
                    <a:lnTo>
                      <a:pt x="236" y="456"/>
                    </a:lnTo>
                    <a:lnTo>
                      <a:pt x="236" y="458"/>
                    </a:lnTo>
                    <a:lnTo>
                      <a:pt x="234" y="460"/>
                    </a:lnTo>
                    <a:lnTo>
                      <a:pt x="230" y="464"/>
                    </a:lnTo>
                    <a:lnTo>
                      <a:pt x="234" y="472"/>
                    </a:lnTo>
                    <a:lnTo>
                      <a:pt x="236" y="480"/>
                    </a:lnTo>
                    <a:lnTo>
                      <a:pt x="236" y="484"/>
                    </a:lnTo>
                    <a:lnTo>
                      <a:pt x="220" y="484"/>
                    </a:lnTo>
                    <a:lnTo>
                      <a:pt x="212" y="492"/>
                    </a:lnTo>
                    <a:lnTo>
                      <a:pt x="212" y="500"/>
                    </a:lnTo>
                    <a:lnTo>
                      <a:pt x="216" y="500"/>
                    </a:lnTo>
                    <a:lnTo>
                      <a:pt x="224" y="500"/>
                    </a:lnTo>
                    <a:lnTo>
                      <a:pt x="206" y="510"/>
                    </a:lnTo>
                    <a:lnTo>
                      <a:pt x="214" y="518"/>
                    </a:lnTo>
                    <a:lnTo>
                      <a:pt x="206" y="520"/>
                    </a:lnTo>
                    <a:lnTo>
                      <a:pt x="206" y="532"/>
                    </a:lnTo>
                    <a:lnTo>
                      <a:pt x="192" y="534"/>
                    </a:lnTo>
                    <a:lnTo>
                      <a:pt x="198" y="536"/>
                    </a:lnTo>
                    <a:lnTo>
                      <a:pt x="202" y="540"/>
                    </a:lnTo>
                    <a:lnTo>
                      <a:pt x="208" y="544"/>
                    </a:lnTo>
                    <a:lnTo>
                      <a:pt x="216" y="548"/>
                    </a:lnTo>
                    <a:lnTo>
                      <a:pt x="242" y="562"/>
                    </a:lnTo>
                    <a:lnTo>
                      <a:pt x="250" y="564"/>
                    </a:lnTo>
                    <a:lnTo>
                      <a:pt x="260" y="564"/>
                    </a:lnTo>
                    <a:lnTo>
                      <a:pt x="272" y="568"/>
                    </a:lnTo>
                    <a:lnTo>
                      <a:pt x="284" y="570"/>
                    </a:lnTo>
                    <a:lnTo>
                      <a:pt x="294" y="572"/>
                    </a:lnTo>
                    <a:lnTo>
                      <a:pt x="304" y="578"/>
                    </a:lnTo>
                    <a:lnTo>
                      <a:pt x="318" y="578"/>
                    </a:lnTo>
                    <a:lnTo>
                      <a:pt x="334" y="584"/>
                    </a:lnTo>
                    <a:lnTo>
                      <a:pt x="340" y="592"/>
                    </a:lnTo>
                    <a:lnTo>
                      <a:pt x="350" y="594"/>
                    </a:lnTo>
                    <a:lnTo>
                      <a:pt x="354" y="598"/>
                    </a:lnTo>
                    <a:lnTo>
                      <a:pt x="356" y="600"/>
                    </a:lnTo>
                    <a:lnTo>
                      <a:pt x="358" y="602"/>
                    </a:lnTo>
                    <a:lnTo>
                      <a:pt x="362" y="604"/>
                    </a:lnTo>
                    <a:lnTo>
                      <a:pt x="364" y="606"/>
                    </a:lnTo>
                    <a:lnTo>
                      <a:pt x="370" y="606"/>
                    </a:lnTo>
                    <a:lnTo>
                      <a:pt x="376" y="600"/>
                    </a:lnTo>
                    <a:lnTo>
                      <a:pt x="380" y="596"/>
                    </a:lnTo>
                    <a:lnTo>
                      <a:pt x="372" y="582"/>
                    </a:lnTo>
                    <a:lnTo>
                      <a:pt x="362" y="568"/>
                    </a:lnTo>
                    <a:lnTo>
                      <a:pt x="352" y="558"/>
                    </a:lnTo>
                    <a:lnTo>
                      <a:pt x="350" y="556"/>
                    </a:lnTo>
                    <a:lnTo>
                      <a:pt x="342" y="544"/>
                    </a:lnTo>
                    <a:lnTo>
                      <a:pt x="344" y="542"/>
                    </a:lnTo>
                    <a:lnTo>
                      <a:pt x="348" y="530"/>
                    </a:lnTo>
                    <a:lnTo>
                      <a:pt x="350" y="526"/>
                    </a:lnTo>
                    <a:lnTo>
                      <a:pt x="354" y="526"/>
                    </a:lnTo>
                    <a:lnTo>
                      <a:pt x="358" y="524"/>
                    </a:lnTo>
                    <a:lnTo>
                      <a:pt x="366" y="518"/>
                    </a:lnTo>
                    <a:lnTo>
                      <a:pt x="374" y="512"/>
                    </a:lnTo>
                    <a:lnTo>
                      <a:pt x="370" y="506"/>
                    </a:lnTo>
                    <a:lnTo>
                      <a:pt x="366" y="498"/>
                    </a:lnTo>
                    <a:lnTo>
                      <a:pt x="358" y="486"/>
                    </a:lnTo>
                    <a:lnTo>
                      <a:pt x="342" y="486"/>
                    </a:lnTo>
                    <a:lnTo>
                      <a:pt x="342" y="476"/>
                    </a:lnTo>
                    <a:lnTo>
                      <a:pt x="336" y="478"/>
                    </a:lnTo>
                    <a:lnTo>
                      <a:pt x="332" y="478"/>
                    </a:lnTo>
                    <a:lnTo>
                      <a:pt x="332" y="476"/>
                    </a:lnTo>
                    <a:lnTo>
                      <a:pt x="332" y="474"/>
                    </a:lnTo>
                    <a:lnTo>
                      <a:pt x="332" y="464"/>
                    </a:lnTo>
                    <a:lnTo>
                      <a:pt x="332" y="462"/>
                    </a:lnTo>
                    <a:lnTo>
                      <a:pt x="332" y="446"/>
                    </a:lnTo>
                    <a:lnTo>
                      <a:pt x="342" y="436"/>
                    </a:lnTo>
                    <a:lnTo>
                      <a:pt x="350" y="448"/>
                    </a:lnTo>
                    <a:lnTo>
                      <a:pt x="358" y="444"/>
                    </a:lnTo>
                    <a:lnTo>
                      <a:pt x="356" y="432"/>
                    </a:lnTo>
                    <a:lnTo>
                      <a:pt x="380" y="412"/>
                    </a:lnTo>
                    <a:lnTo>
                      <a:pt x="402" y="416"/>
                    </a:lnTo>
                    <a:lnTo>
                      <a:pt x="418" y="422"/>
                    </a:lnTo>
                    <a:lnTo>
                      <a:pt x="434" y="434"/>
                    </a:lnTo>
                    <a:lnTo>
                      <a:pt x="442" y="432"/>
                    </a:lnTo>
                    <a:lnTo>
                      <a:pt x="454" y="436"/>
                    </a:lnTo>
                    <a:lnTo>
                      <a:pt x="460" y="428"/>
                    </a:lnTo>
                    <a:lnTo>
                      <a:pt x="492" y="428"/>
                    </a:lnTo>
                    <a:lnTo>
                      <a:pt x="502" y="436"/>
                    </a:lnTo>
                    <a:lnTo>
                      <a:pt x="534" y="434"/>
                    </a:lnTo>
                    <a:lnTo>
                      <a:pt x="536" y="420"/>
                    </a:lnTo>
                    <a:lnTo>
                      <a:pt x="512" y="412"/>
                    </a:lnTo>
                    <a:lnTo>
                      <a:pt x="516" y="406"/>
                    </a:lnTo>
                    <a:lnTo>
                      <a:pt x="518" y="394"/>
                    </a:lnTo>
                    <a:lnTo>
                      <a:pt x="532" y="392"/>
                    </a:lnTo>
                    <a:lnTo>
                      <a:pt x="520" y="386"/>
                    </a:lnTo>
                    <a:lnTo>
                      <a:pt x="514" y="376"/>
                    </a:lnTo>
                    <a:lnTo>
                      <a:pt x="534" y="376"/>
                    </a:lnTo>
                    <a:lnTo>
                      <a:pt x="602" y="360"/>
                    </a:lnTo>
                    <a:lnTo>
                      <a:pt x="612" y="350"/>
                    </a:lnTo>
                    <a:lnTo>
                      <a:pt x="640" y="354"/>
                    </a:lnTo>
                    <a:lnTo>
                      <a:pt x="652" y="372"/>
                    </a:lnTo>
                    <a:lnTo>
                      <a:pt x="684" y="376"/>
                    </a:lnTo>
                    <a:lnTo>
                      <a:pt x="684" y="382"/>
                    </a:lnTo>
                    <a:lnTo>
                      <a:pt x="702" y="382"/>
                    </a:lnTo>
                    <a:lnTo>
                      <a:pt x="720" y="368"/>
                    </a:lnTo>
                    <a:lnTo>
                      <a:pt x="728" y="368"/>
                    </a:lnTo>
                    <a:lnTo>
                      <a:pt x="728" y="378"/>
                    </a:lnTo>
                    <a:lnTo>
                      <a:pt x="744" y="384"/>
                    </a:lnTo>
                    <a:lnTo>
                      <a:pt x="796" y="432"/>
                    </a:lnTo>
                    <a:lnTo>
                      <a:pt x="804" y="434"/>
                    </a:lnTo>
                    <a:lnTo>
                      <a:pt x="804" y="424"/>
                    </a:lnTo>
                    <a:lnTo>
                      <a:pt x="816" y="426"/>
                    </a:lnTo>
                    <a:lnTo>
                      <a:pt x="818" y="434"/>
                    </a:lnTo>
                    <a:lnTo>
                      <a:pt x="836" y="436"/>
                    </a:lnTo>
                    <a:lnTo>
                      <a:pt x="842" y="428"/>
                    </a:lnTo>
                    <a:lnTo>
                      <a:pt x="866" y="446"/>
                    </a:lnTo>
                    <a:lnTo>
                      <a:pt x="884" y="454"/>
                    </a:lnTo>
                    <a:lnTo>
                      <a:pt x="902" y="45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4" name="Freeform 206"/>
              <p:cNvSpPr>
                <a:spLocks noChangeAspect="1"/>
              </p:cNvSpPr>
              <p:nvPr/>
            </p:nvSpPr>
            <p:spPr bwMode="auto">
              <a:xfrm>
                <a:off x="5025731" y="3748516"/>
                <a:ext cx="155384" cy="83492"/>
              </a:xfrm>
              <a:custGeom>
                <a:avLst/>
                <a:gdLst/>
                <a:ahLst/>
                <a:cxnLst>
                  <a:cxn ang="0">
                    <a:pos x="0" y="26"/>
                  </a:cxn>
                  <a:cxn ang="0">
                    <a:pos x="14" y="26"/>
                  </a:cxn>
                  <a:cxn ang="0">
                    <a:pos x="16" y="16"/>
                  </a:cxn>
                  <a:cxn ang="0">
                    <a:pos x="22" y="14"/>
                  </a:cxn>
                  <a:cxn ang="0">
                    <a:pos x="22" y="4"/>
                  </a:cxn>
                  <a:cxn ang="0">
                    <a:pos x="32" y="6"/>
                  </a:cxn>
                  <a:cxn ang="0">
                    <a:pos x="36" y="0"/>
                  </a:cxn>
                  <a:cxn ang="0">
                    <a:pos x="44" y="6"/>
                  </a:cxn>
                  <a:cxn ang="0">
                    <a:pos x="44" y="10"/>
                  </a:cxn>
                  <a:cxn ang="0">
                    <a:pos x="36" y="14"/>
                  </a:cxn>
                  <a:cxn ang="0">
                    <a:pos x="32" y="16"/>
                  </a:cxn>
                  <a:cxn ang="0">
                    <a:pos x="40" y="16"/>
                  </a:cxn>
                  <a:cxn ang="0">
                    <a:pos x="46" y="18"/>
                  </a:cxn>
                  <a:cxn ang="0">
                    <a:pos x="44" y="28"/>
                  </a:cxn>
                  <a:cxn ang="0">
                    <a:pos x="58" y="28"/>
                  </a:cxn>
                  <a:cxn ang="0">
                    <a:pos x="64" y="30"/>
                  </a:cxn>
                  <a:cxn ang="0">
                    <a:pos x="78" y="30"/>
                  </a:cxn>
                  <a:cxn ang="0">
                    <a:pos x="84" y="26"/>
                  </a:cxn>
                  <a:cxn ang="0">
                    <a:pos x="84" y="30"/>
                  </a:cxn>
                  <a:cxn ang="0">
                    <a:pos x="88" y="32"/>
                  </a:cxn>
                  <a:cxn ang="0">
                    <a:pos x="98" y="38"/>
                  </a:cxn>
                  <a:cxn ang="0">
                    <a:pos x="102" y="44"/>
                  </a:cxn>
                  <a:cxn ang="0">
                    <a:pos x="108" y="48"/>
                  </a:cxn>
                  <a:cxn ang="0">
                    <a:pos x="112" y="58"/>
                  </a:cxn>
                  <a:cxn ang="0">
                    <a:pos x="106" y="60"/>
                  </a:cxn>
                  <a:cxn ang="0">
                    <a:pos x="98" y="62"/>
                  </a:cxn>
                  <a:cxn ang="0">
                    <a:pos x="90" y="64"/>
                  </a:cxn>
                  <a:cxn ang="0">
                    <a:pos x="82" y="66"/>
                  </a:cxn>
                  <a:cxn ang="0">
                    <a:pos x="76" y="68"/>
                  </a:cxn>
                  <a:cxn ang="0">
                    <a:pos x="74" y="68"/>
                  </a:cxn>
                  <a:cxn ang="0">
                    <a:pos x="70" y="68"/>
                  </a:cxn>
                  <a:cxn ang="0">
                    <a:pos x="66" y="64"/>
                  </a:cxn>
                  <a:cxn ang="0">
                    <a:pos x="60" y="58"/>
                  </a:cxn>
                  <a:cxn ang="0">
                    <a:pos x="58" y="50"/>
                  </a:cxn>
                  <a:cxn ang="0">
                    <a:pos x="54" y="40"/>
                  </a:cxn>
                  <a:cxn ang="0">
                    <a:pos x="48" y="40"/>
                  </a:cxn>
                  <a:cxn ang="0">
                    <a:pos x="44" y="46"/>
                  </a:cxn>
                  <a:cxn ang="0">
                    <a:pos x="40" y="50"/>
                  </a:cxn>
                  <a:cxn ang="0">
                    <a:pos x="34" y="56"/>
                  </a:cxn>
                  <a:cxn ang="0">
                    <a:pos x="30" y="60"/>
                  </a:cxn>
                  <a:cxn ang="0">
                    <a:pos x="20" y="66"/>
                  </a:cxn>
                  <a:cxn ang="0">
                    <a:pos x="12" y="66"/>
                  </a:cxn>
                  <a:cxn ang="0">
                    <a:pos x="16" y="56"/>
                  </a:cxn>
                  <a:cxn ang="0">
                    <a:pos x="16" y="46"/>
                  </a:cxn>
                  <a:cxn ang="0">
                    <a:pos x="12" y="42"/>
                  </a:cxn>
                  <a:cxn ang="0">
                    <a:pos x="6" y="38"/>
                  </a:cxn>
                  <a:cxn ang="0">
                    <a:pos x="0" y="32"/>
                  </a:cxn>
                  <a:cxn ang="0">
                    <a:pos x="0" y="26"/>
                  </a:cxn>
                </a:cxnLst>
                <a:rect l="0" t="0" r="r" b="b"/>
                <a:pathLst>
                  <a:path w="112" h="68">
                    <a:moveTo>
                      <a:pt x="0" y="26"/>
                    </a:moveTo>
                    <a:lnTo>
                      <a:pt x="14" y="26"/>
                    </a:lnTo>
                    <a:lnTo>
                      <a:pt x="16" y="16"/>
                    </a:lnTo>
                    <a:lnTo>
                      <a:pt x="22" y="14"/>
                    </a:lnTo>
                    <a:lnTo>
                      <a:pt x="22" y="4"/>
                    </a:lnTo>
                    <a:lnTo>
                      <a:pt x="32" y="6"/>
                    </a:lnTo>
                    <a:lnTo>
                      <a:pt x="36" y="0"/>
                    </a:lnTo>
                    <a:lnTo>
                      <a:pt x="44" y="6"/>
                    </a:lnTo>
                    <a:lnTo>
                      <a:pt x="44" y="10"/>
                    </a:lnTo>
                    <a:lnTo>
                      <a:pt x="36" y="14"/>
                    </a:lnTo>
                    <a:lnTo>
                      <a:pt x="32" y="16"/>
                    </a:lnTo>
                    <a:lnTo>
                      <a:pt x="40" y="16"/>
                    </a:lnTo>
                    <a:lnTo>
                      <a:pt x="46" y="18"/>
                    </a:lnTo>
                    <a:lnTo>
                      <a:pt x="44" y="28"/>
                    </a:lnTo>
                    <a:lnTo>
                      <a:pt x="58" y="28"/>
                    </a:lnTo>
                    <a:lnTo>
                      <a:pt x="64" y="30"/>
                    </a:lnTo>
                    <a:lnTo>
                      <a:pt x="78" y="30"/>
                    </a:lnTo>
                    <a:lnTo>
                      <a:pt x="84" y="26"/>
                    </a:lnTo>
                    <a:lnTo>
                      <a:pt x="84" y="30"/>
                    </a:lnTo>
                    <a:lnTo>
                      <a:pt x="88" y="32"/>
                    </a:lnTo>
                    <a:lnTo>
                      <a:pt x="98" y="38"/>
                    </a:lnTo>
                    <a:lnTo>
                      <a:pt x="102" y="44"/>
                    </a:lnTo>
                    <a:lnTo>
                      <a:pt x="108" y="48"/>
                    </a:lnTo>
                    <a:lnTo>
                      <a:pt x="112" y="58"/>
                    </a:lnTo>
                    <a:lnTo>
                      <a:pt x="106" y="60"/>
                    </a:lnTo>
                    <a:lnTo>
                      <a:pt x="98" y="62"/>
                    </a:lnTo>
                    <a:lnTo>
                      <a:pt x="90" y="64"/>
                    </a:lnTo>
                    <a:lnTo>
                      <a:pt x="82" y="66"/>
                    </a:lnTo>
                    <a:lnTo>
                      <a:pt x="76" y="68"/>
                    </a:lnTo>
                    <a:lnTo>
                      <a:pt x="74" y="68"/>
                    </a:lnTo>
                    <a:lnTo>
                      <a:pt x="70" y="68"/>
                    </a:lnTo>
                    <a:lnTo>
                      <a:pt x="66" y="64"/>
                    </a:lnTo>
                    <a:lnTo>
                      <a:pt x="60" y="58"/>
                    </a:lnTo>
                    <a:lnTo>
                      <a:pt x="58" y="50"/>
                    </a:lnTo>
                    <a:lnTo>
                      <a:pt x="54" y="40"/>
                    </a:lnTo>
                    <a:lnTo>
                      <a:pt x="48" y="40"/>
                    </a:lnTo>
                    <a:lnTo>
                      <a:pt x="44" y="46"/>
                    </a:lnTo>
                    <a:lnTo>
                      <a:pt x="40" y="50"/>
                    </a:lnTo>
                    <a:lnTo>
                      <a:pt x="34" y="56"/>
                    </a:lnTo>
                    <a:lnTo>
                      <a:pt x="30" y="60"/>
                    </a:lnTo>
                    <a:lnTo>
                      <a:pt x="20" y="66"/>
                    </a:lnTo>
                    <a:lnTo>
                      <a:pt x="12" y="66"/>
                    </a:lnTo>
                    <a:lnTo>
                      <a:pt x="16" y="56"/>
                    </a:lnTo>
                    <a:lnTo>
                      <a:pt x="16" y="46"/>
                    </a:lnTo>
                    <a:lnTo>
                      <a:pt x="12" y="42"/>
                    </a:lnTo>
                    <a:lnTo>
                      <a:pt x="6" y="38"/>
                    </a:lnTo>
                    <a:lnTo>
                      <a:pt x="0" y="32"/>
                    </a:lnTo>
                    <a:lnTo>
                      <a:pt x="0" y="2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5" name="Freeform 207"/>
              <p:cNvSpPr>
                <a:spLocks noChangeAspect="1"/>
              </p:cNvSpPr>
              <p:nvPr/>
            </p:nvSpPr>
            <p:spPr bwMode="auto">
              <a:xfrm>
                <a:off x="4409597" y="3688879"/>
                <a:ext cx="155384" cy="53673"/>
              </a:xfrm>
              <a:custGeom>
                <a:avLst/>
                <a:gdLst/>
                <a:ahLst/>
                <a:cxnLst>
                  <a:cxn ang="0">
                    <a:pos x="36" y="36"/>
                  </a:cxn>
                  <a:cxn ang="0">
                    <a:pos x="44" y="34"/>
                  </a:cxn>
                  <a:cxn ang="0">
                    <a:pos x="50" y="34"/>
                  </a:cxn>
                  <a:cxn ang="0">
                    <a:pos x="60" y="36"/>
                  </a:cxn>
                  <a:cxn ang="0">
                    <a:pos x="64" y="40"/>
                  </a:cxn>
                  <a:cxn ang="0">
                    <a:pos x="66" y="42"/>
                  </a:cxn>
                  <a:cxn ang="0">
                    <a:pos x="66" y="44"/>
                  </a:cxn>
                  <a:cxn ang="0">
                    <a:pos x="78" y="44"/>
                  </a:cxn>
                  <a:cxn ang="0">
                    <a:pos x="86" y="44"/>
                  </a:cxn>
                  <a:cxn ang="0">
                    <a:pos x="88" y="38"/>
                  </a:cxn>
                  <a:cxn ang="0">
                    <a:pos x="96" y="42"/>
                  </a:cxn>
                  <a:cxn ang="0">
                    <a:pos x="100" y="46"/>
                  </a:cxn>
                  <a:cxn ang="0">
                    <a:pos x="110" y="46"/>
                  </a:cxn>
                  <a:cxn ang="0">
                    <a:pos x="106" y="40"/>
                  </a:cxn>
                  <a:cxn ang="0">
                    <a:pos x="104" y="36"/>
                  </a:cxn>
                  <a:cxn ang="0">
                    <a:pos x="108" y="32"/>
                  </a:cxn>
                  <a:cxn ang="0">
                    <a:pos x="98" y="30"/>
                  </a:cxn>
                  <a:cxn ang="0">
                    <a:pos x="92" y="22"/>
                  </a:cxn>
                  <a:cxn ang="0">
                    <a:pos x="76" y="16"/>
                  </a:cxn>
                  <a:cxn ang="0">
                    <a:pos x="62" y="16"/>
                  </a:cxn>
                  <a:cxn ang="0">
                    <a:pos x="52" y="10"/>
                  </a:cxn>
                  <a:cxn ang="0">
                    <a:pos x="40" y="8"/>
                  </a:cxn>
                  <a:cxn ang="0">
                    <a:pos x="30" y="6"/>
                  </a:cxn>
                  <a:cxn ang="0">
                    <a:pos x="18" y="2"/>
                  </a:cxn>
                  <a:cxn ang="0">
                    <a:pos x="0" y="0"/>
                  </a:cxn>
                  <a:cxn ang="0">
                    <a:pos x="6" y="4"/>
                  </a:cxn>
                  <a:cxn ang="0">
                    <a:pos x="12" y="8"/>
                  </a:cxn>
                  <a:cxn ang="0">
                    <a:pos x="20" y="12"/>
                  </a:cxn>
                  <a:cxn ang="0">
                    <a:pos x="24" y="14"/>
                  </a:cxn>
                  <a:cxn ang="0">
                    <a:pos x="30" y="16"/>
                  </a:cxn>
                  <a:cxn ang="0">
                    <a:pos x="32" y="20"/>
                  </a:cxn>
                  <a:cxn ang="0">
                    <a:pos x="34" y="24"/>
                  </a:cxn>
                  <a:cxn ang="0">
                    <a:pos x="34" y="26"/>
                  </a:cxn>
                  <a:cxn ang="0">
                    <a:pos x="36" y="30"/>
                  </a:cxn>
                  <a:cxn ang="0">
                    <a:pos x="36" y="32"/>
                  </a:cxn>
                  <a:cxn ang="0">
                    <a:pos x="36" y="36"/>
                  </a:cxn>
                </a:cxnLst>
                <a:rect l="0" t="0" r="r" b="b"/>
                <a:pathLst>
                  <a:path w="110" h="46">
                    <a:moveTo>
                      <a:pt x="36" y="36"/>
                    </a:moveTo>
                    <a:lnTo>
                      <a:pt x="44" y="34"/>
                    </a:lnTo>
                    <a:lnTo>
                      <a:pt x="50" y="34"/>
                    </a:lnTo>
                    <a:lnTo>
                      <a:pt x="60" y="36"/>
                    </a:lnTo>
                    <a:lnTo>
                      <a:pt x="64" y="40"/>
                    </a:lnTo>
                    <a:lnTo>
                      <a:pt x="66" y="42"/>
                    </a:lnTo>
                    <a:lnTo>
                      <a:pt x="66" y="44"/>
                    </a:lnTo>
                    <a:lnTo>
                      <a:pt x="78" y="44"/>
                    </a:lnTo>
                    <a:lnTo>
                      <a:pt x="86" y="44"/>
                    </a:lnTo>
                    <a:lnTo>
                      <a:pt x="88" y="38"/>
                    </a:lnTo>
                    <a:lnTo>
                      <a:pt x="96" y="42"/>
                    </a:lnTo>
                    <a:lnTo>
                      <a:pt x="100" y="46"/>
                    </a:lnTo>
                    <a:lnTo>
                      <a:pt x="110" y="46"/>
                    </a:lnTo>
                    <a:lnTo>
                      <a:pt x="106" y="40"/>
                    </a:lnTo>
                    <a:lnTo>
                      <a:pt x="104" y="36"/>
                    </a:lnTo>
                    <a:lnTo>
                      <a:pt x="108" y="32"/>
                    </a:lnTo>
                    <a:lnTo>
                      <a:pt x="98" y="30"/>
                    </a:lnTo>
                    <a:lnTo>
                      <a:pt x="92" y="22"/>
                    </a:lnTo>
                    <a:lnTo>
                      <a:pt x="76" y="16"/>
                    </a:lnTo>
                    <a:lnTo>
                      <a:pt x="62" y="16"/>
                    </a:lnTo>
                    <a:lnTo>
                      <a:pt x="52" y="10"/>
                    </a:lnTo>
                    <a:lnTo>
                      <a:pt x="40" y="8"/>
                    </a:lnTo>
                    <a:lnTo>
                      <a:pt x="30" y="6"/>
                    </a:lnTo>
                    <a:lnTo>
                      <a:pt x="18" y="2"/>
                    </a:lnTo>
                    <a:lnTo>
                      <a:pt x="0" y="0"/>
                    </a:lnTo>
                    <a:lnTo>
                      <a:pt x="6" y="4"/>
                    </a:lnTo>
                    <a:lnTo>
                      <a:pt x="12" y="8"/>
                    </a:lnTo>
                    <a:lnTo>
                      <a:pt x="20" y="12"/>
                    </a:lnTo>
                    <a:lnTo>
                      <a:pt x="24" y="14"/>
                    </a:lnTo>
                    <a:lnTo>
                      <a:pt x="30" y="16"/>
                    </a:lnTo>
                    <a:lnTo>
                      <a:pt x="32" y="20"/>
                    </a:lnTo>
                    <a:lnTo>
                      <a:pt x="34" y="24"/>
                    </a:lnTo>
                    <a:lnTo>
                      <a:pt x="34" y="26"/>
                    </a:lnTo>
                    <a:lnTo>
                      <a:pt x="36" y="30"/>
                    </a:lnTo>
                    <a:lnTo>
                      <a:pt x="36" y="32"/>
                    </a:lnTo>
                    <a:lnTo>
                      <a:pt x="36" y="3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6" name="Freeform 208"/>
              <p:cNvSpPr>
                <a:spLocks noChangeAspect="1"/>
              </p:cNvSpPr>
              <p:nvPr/>
            </p:nvSpPr>
            <p:spPr bwMode="auto">
              <a:xfrm>
                <a:off x="4504180" y="3740166"/>
                <a:ext cx="72963" cy="47710"/>
              </a:xfrm>
              <a:custGeom>
                <a:avLst/>
                <a:gdLst/>
                <a:ahLst/>
                <a:cxnLst>
                  <a:cxn ang="0">
                    <a:pos x="0" y="0"/>
                  </a:cxn>
                  <a:cxn ang="0">
                    <a:pos x="20" y="0"/>
                  </a:cxn>
                  <a:cxn ang="0">
                    <a:pos x="26" y="6"/>
                  </a:cxn>
                  <a:cxn ang="0">
                    <a:pos x="28" y="6"/>
                  </a:cxn>
                  <a:cxn ang="0">
                    <a:pos x="30" y="10"/>
                  </a:cxn>
                  <a:cxn ang="0">
                    <a:pos x="32" y="16"/>
                  </a:cxn>
                  <a:cxn ang="0">
                    <a:pos x="38" y="22"/>
                  </a:cxn>
                  <a:cxn ang="0">
                    <a:pos x="40" y="22"/>
                  </a:cxn>
                  <a:cxn ang="0">
                    <a:pos x="48" y="26"/>
                  </a:cxn>
                  <a:cxn ang="0">
                    <a:pos x="52" y="38"/>
                  </a:cxn>
                  <a:cxn ang="0">
                    <a:pos x="48" y="42"/>
                  </a:cxn>
                  <a:cxn ang="0">
                    <a:pos x="42" y="38"/>
                  </a:cxn>
                  <a:cxn ang="0">
                    <a:pos x="38" y="34"/>
                  </a:cxn>
                  <a:cxn ang="0">
                    <a:pos x="32" y="30"/>
                  </a:cxn>
                  <a:cxn ang="0">
                    <a:pos x="24" y="32"/>
                  </a:cxn>
                  <a:cxn ang="0">
                    <a:pos x="20" y="26"/>
                  </a:cxn>
                  <a:cxn ang="0">
                    <a:pos x="16" y="22"/>
                  </a:cxn>
                  <a:cxn ang="0">
                    <a:pos x="12" y="20"/>
                  </a:cxn>
                  <a:cxn ang="0">
                    <a:pos x="2" y="18"/>
                  </a:cxn>
                  <a:cxn ang="0">
                    <a:pos x="2" y="10"/>
                  </a:cxn>
                  <a:cxn ang="0">
                    <a:pos x="0" y="0"/>
                  </a:cxn>
                </a:cxnLst>
                <a:rect l="0" t="0" r="r" b="b"/>
                <a:pathLst>
                  <a:path w="52" h="42">
                    <a:moveTo>
                      <a:pt x="0" y="0"/>
                    </a:moveTo>
                    <a:lnTo>
                      <a:pt x="20" y="0"/>
                    </a:lnTo>
                    <a:lnTo>
                      <a:pt x="26" y="6"/>
                    </a:lnTo>
                    <a:lnTo>
                      <a:pt x="28" y="6"/>
                    </a:lnTo>
                    <a:lnTo>
                      <a:pt x="30" y="10"/>
                    </a:lnTo>
                    <a:lnTo>
                      <a:pt x="32" y="16"/>
                    </a:lnTo>
                    <a:lnTo>
                      <a:pt x="38" y="22"/>
                    </a:lnTo>
                    <a:lnTo>
                      <a:pt x="40" y="22"/>
                    </a:lnTo>
                    <a:lnTo>
                      <a:pt x="48" y="26"/>
                    </a:lnTo>
                    <a:lnTo>
                      <a:pt x="52" y="38"/>
                    </a:lnTo>
                    <a:lnTo>
                      <a:pt x="48" y="42"/>
                    </a:lnTo>
                    <a:lnTo>
                      <a:pt x="42" y="38"/>
                    </a:lnTo>
                    <a:lnTo>
                      <a:pt x="38" y="34"/>
                    </a:lnTo>
                    <a:lnTo>
                      <a:pt x="32" y="30"/>
                    </a:lnTo>
                    <a:lnTo>
                      <a:pt x="24" y="32"/>
                    </a:lnTo>
                    <a:lnTo>
                      <a:pt x="20" y="26"/>
                    </a:lnTo>
                    <a:lnTo>
                      <a:pt x="16" y="22"/>
                    </a:lnTo>
                    <a:lnTo>
                      <a:pt x="12" y="20"/>
                    </a:lnTo>
                    <a:lnTo>
                      <a:pt x="2" y="18"/>
                    </a:lnTo>
                    <a:lnTo>
                      <a:pt x="2" y="10"/>
                    </a:lnTo>
                    <a:lnTo>
                      <a:pt x="0"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7" name="Freeform 209"/>
              <p:cNvSpPr>
                <a:spLocks noChangeAspect="1"/>
              </p:cNvSpPr>
              <p:nvPr/>
            </p:nvSpPr>
            <p:spPr bwMode="auto">
              <a:xfrm>
                <a:off x="4531203" y="3727047"/>
                <a:ext cx="109445" cy="69179"/>
              </a:xfrm>
              <a:custGeom>
                <a:avLst/>
                <a:gdLst/>
                <a:ahLst/>
                <a:cxnLst>
                  <a:cxn ang="0">
                    <a:pos x="52" y="2"/>
                  </a:cxn>
                  <a:cxn ang="0">
                    <a:pos x="48" y="6"/>
                  </a:cxn>
                  <a:cxn ang="0">
                    <a:pos x="42" y="12"/>
                  </a:cxn>
                  <a:cxn ang="0">
                    <a:pos x="36" y="12"/>
                  </a:cxn>
                  <a:cxn ang="0">
                    <a:pos x="32" y="8"/>
                  </a:cxn>
                  <a:cxn ang="0">
                    <a:pos x="28" y="6"/>
                  </a:cxn>
                  <a:cxn ang="0">
                    <a:pos x="22" y="0"/>
                  </a:cxn>
                  <a:cxn ang="0">
                    <a:pos x="18" y="4"/>
                  </a:cxn>
                  <a:cxn ang="0">
                    <a:pos x="20" y="8"/>
                  </a:cxn>
                  <a:cxn ang="0">
                    <a:pos x="24" y="14"/>
                  </a:cxn>
                  <a:cxn ang="0">
                    <a:pos x="20" y="14"/>
                  </a:cxn>
                  <a:cxn ang="0">
                    <a:pos x="14" y="14"/>
                  </a:cxn>
                  <a:cxn ang="0">
                    <a:pos x="10" y="10"/>
                  </a:cxn>
                  <a:cxn ang="0">
                    <a:pos x="2" y="6"/>
                  </a:cxn>
                  <a:cxn ang="0">
                    <a:pos x="0" y="12"/>
                  </a:cxn>
                  <a:cxn ang="0">
                    <a:pos x="6" y="18"/>
                  </a:cxn>
                  <a:cxn ang="0">
                    <a:pos x="8" y="18"/>
                  </a:cxn>
                  <a:cxn ang="0">
                    <a:pos x="10" y="24"/>
                  </a:cxn>
                  <a:cxn ang="0">
                    <a:pos x="12" y="28"/>
                  </a:cxn>
                  <a:cxn ang="0">
                    <a:pos x="14" y="30"/>
                  </a:cxn>
                  <a:cxn ang="0">
                    <a:pos x="20" y="34"/>
                  </a:cxn>
                  <a:cxn ang="0">
                    <a:pos x="28" y="38"/>
                  </a:cxn>
                  <a:cxn ang="0">
                    <a:pos x="32" y="50"/>
                  </a:cxn>
                  <a:cxn ang="0">
                    <a:pos x="36" y="46"/>
                  </a:cxn>
                  <a:cxn ang="0">
                    <a:pos x="42" y="42"/>
                  </a:cxn>
                  <a:cxn ang="0">
                    <a:pos x="46" y="38"/>
                  </a:cxn>
                  <a:cxn ang="0">
                    <a:pos x="54" y="38"/>
                  </a:cxn>
                  <a:cxn ang="0">
                    <a:pos x="54" y="44"/>
                  </a:cxn>
                  <a:cxn ang="0">
                    <a:pos x="56" y="46"/>
                  </a:cxn>
                  <a:cxn ang="0">
                    <a:pos x="56" y="52"/>
                  </a:cxn>
                  <a:cxn ang="0">
                    <a:pos x="58" y="54"/>
                  </a:cxn>
                  <a:cxn ang="0">
                    <a:pos x="60" y="56"/>
                  </a:cxn>
                  <a:cxn ang="0">
                    <a:pos x="64" y="56"/>
                  </a:cxn>
                  <a:cxn ang="0">
                    <a:pos x="68" y="60"/>
                  </a:cxn>
                  <a:cxn ang="0">
                    <a:pos x="72" y="28"/>
                  </a:cxn>
                  <a:cxn ang="0">
                    <a:pos x="78" y="28"/>
                  </a:cxn>
                  <a:cxn ang="0">
                    <a:pos x="64" y="18"/>
                  </a:cxn>
                  <a:cxn ang="0">
                    <a:pos x="62" y="14"/>
                  </a:cxn>
                  <a:cxn ang="0">
                    <a:pos x="56" y="8"/>
                  </a:cxn>
                  <a:cxn ang="0">
                    <a:pos x="56" y="6"/>
                  </a:cxn>
                  <a:cxn ang="0">
                    <a:pos x="52" y="2"/>
                  </a:cxn>
                </a:cxnLst>
                <a:rect l="0" t="0" r="r" b="b"/>
                <a:pathLst>
                  <a:path w="78" h="60">
                    <a:moveTo>
                      <a:pt x="52" y="2"/>
                    </a:moveTo>
                    <a:lnTo>
                      <a:pt x="48" y="6"/>
                    </a:lnTo>
                    <a:lnTo>
                      <a:pt x="42" y="12"/>
                    </a:lnTo>
                    <a:lnTo>
                      <a:pt x="36" y="12"/>
                    </a:lnTo>
                    <a:lnTo>
                      <a:pt x="32" y="8"/>
                    </a:lnTo>
                    <a:lnTo>
                      <a:pt x="28" y="6"/>
                    </a:lnTo>
                    <a:lnTo>
                      <a:pt x="22" y="0"/>
                    </a:lnTo>
                    <a:lnTo>
                      <a:pt x="18" y="4"/>
                    </a:lnTo>
                    <a:lnTo>
                      <a:pt x="20" y="8"/>
                    </a:lnTo>
                    <a:lnTo>
                      <a:pt x="24" y="14"/>
                    </a:lnTo>
                    <a:lnTo>
                      <a:pt x="20" y="14"/>
                    </a:lnTo>
                    <a:lnTo>
                      <a:pt x="14" y="14"/>
                    </a:lnTo>
                    <a:lnTo>
                      <a:pt x="10" y="10"/>
                    </a:lnTo>
                    <a:lnTo>
                      <a:pt x="2" y="6"/>
                    </a:lnTo>
                    <a:lnTo>
                      <a:pt x="0" y="12"/>
                    </a:lnTo>
                    <a:lnTo>
                      <a:pt x="6" y="18"/>
                    </a:lnTo>
                    <a:lnTo>
                      <a:pt x="8" y="18"/>
                    </a:lnTo>
                    <a:lnTo>
                      <a:pt x="10" y="24"/>
                    </a:lnTo>
                    <a:lnTo>
                      <a:pt x="12" y="28"/>
                    </a:lnTo>
                    <a:lnTo>
                      <a:pt x="14" y="30"/>
                    </a:lnTo>
                    <a:lnTo>
                      <a:pt x="20" y="34"/>
                    </a:lnTo>
                    <a:lnTo>
                      <a:pt x="28" y="38"/>
                    </a:lnTo>
                    <a:lnTo>
                      <a:pt x="32" y="50"/>
                    </a:lnTo>
                    <a:lnTo>
                      <a:pt x="36" y="46"/>
                    </a:lnTo>
                    <a:lnTo>
                      <a:pt x="42" y="42"/>
                    </a:lnTo>
                    <a:lnTo>
                      <a:pt x="46" y="38"/>
                    </a:lnTo>
                    <a:lnTo>
                      <a:pt x="54" y="38"/>
                    </a:lnTo>
                    <a:lnTo>
                      <a:pt x="54" y="44"/>
                    </a:lnTo>
                    <a:lnTo>
                      <a:pt x="56" y="46"/>
                    </a:lnTo>
                    <a:lnTo>
                      <a:pt x="56" y="52"/>
                    </a:lnTo>
                    <a:lnTo>
                      <a:pt x="58" y="54"/>
                    </a:lnTo>
                    <a:lnTo>
                      <a:pt x="60" y="56"/>
                    </a:lnTo>
                    <a:lnTo>
                      <a:pt x="64" y="56"/>
                    </a:lnTo>
                    <a:lnTo>
                      <a:pt x="68" y="60"/>
                    </a:lnTo>
                    <a:lnTo>
                      <a:pt x="72" y="28"/>
                    </a:lnTo>
                    <a:lnTo>
                      <a:pt x="78" y="28"/>
                    </a:lnTo>
                    <a:lnTo>
                      <a:pt x="64" y="18"/>
                    </a:lnTo>
                    <a:lnTo>
                      <a:pt x="62" y="14"/>
                    </a:lnTo>
                    <a:lnTo>
                      <a:pt x="56" y="8"/>
                    </a:lnTo>
                    <a:lnTo>
                      <a:pt x="56" y="6"/>
                    </a:lnTo>
                    <a:lnTo>
                      <a:pt x="52"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8" name="Freeform 210"/>
              <p:cNvSpPr>
                <a:spLocks noChangeAspect="1"/>
              </p:cNvSpPr>
              <p:nvPr/>
            </p:nvSpPr>
            <p:spPr bwMode="auto">
              <a:xfrm>
                <a:off x="6779554" y="4684821"/>
                <a:ext cx="213485" cy="182490"/>
              </a:xfrm>
              <a:custGeom>
                <a:avLst/>
                <a:gdLst/>
                <a:ahLst/>
                <a:cxnLst>
                  <a:cxn ang="0">
                    <a:pos x="4" y="76"/>
                  </a:cxn>
                  <a:cxn ang="0">
                    <a:pos x="0" y="84"/>
                  </a:cxn>
                  <a:cxn ang="0">
                    <a:pos x="4" y="126"/>
                  </a:cxn>
                  <a:cxn ang="0">
                    <a:pos x="24" y="130"/>
                  </a:cxn>
                  <a:cxn ang="0">
                    <a:pos x="32" y="126"/>
                  </a:cxn>
                  <a:cxn ang="0">
                    <a:pos x="38" y="118"/>
                  </a:cxn>
                  <a:cxn ang="0">
                    <a:pos x="42" y="118"/>
                  </a:cxn>
                  <a:cxn ang="0">
                    <a:pos x="42" y="104"/>
                  </a:cxn>
                  <a:cxn ang="0">
                    <a:pos x="52" y="98"/>
                  </a:cxn>
                  <a:cxn ang="0">
                    <a:pos x="82" y="106"/>
                  </a:cxn>
                  <a:cxn ang="0">
                    <a:pos x="88" y="114"/>
                  </a:cxn>
                  <a:cxn ang="0">
                    <a:pos x="92" y="126"/>
                  </a:cxn>
                  <a:cxn ang="0">
                    <a:pos x="92" y="130"/>
                  </a:cxn>
                  <a:cxn ang="0">
                    <a:pos x="98" y="138"/>
                  </a:cxn>
                  <a:cxn ang="0">
                    <a:pos x="120" y="146"/>
                  </a:cxn>
                  <a:cxn ang="0">
                    <a:pos x="136" y="152"/>
                  </a:cxn>
                  <a:cxn ang="0">
                    <a:pos x="142" y="154"/>
                  </a:cxn>
                  <a:cxn ang="0">
                    <a:pos x="150" y="152"/>
                  </a:cxn>
                  <a:cxn ang="0">
                    <a:pos x="150" y="146"/>
                  </a:cxn>
                  <a:cxn ang="0">
                    <a:pos x="144" y="138"/>
                  </a:cxn>
                  <a:cxn ang="0">
                    <a:pos x="136" y="132"/>
                  </a:cxn>
                  <a:cxn ang="0">
                    <a:pos x="130" y="122"/>
                  </a:cxn>
                  <a:cxn ang="0">
                    <a:pos x="124" y="118"/>
                  </a:cxn>
                  <a:cxn ang="0">
                    <a:pos x="118" y="116"/>
                  </a:cxn>
                  <a:cxn ang="0">
                    <a:pos x="112" y="104"/>
                  </a:cxn>
                  <a:cxn ang="0">
                    <a:pos x="108" y="98"/>
                  </a:cxn>
                  <a:cxn ang="0">
                    <a:pos x="96" y="84"/>
                  </a:cxn>
                  <a:cxn ang="0">
                    <a:pos x="112" y="84"/>
                  </a:cxn>
                  <a:cxn ang="0">
                    <a:pos x="122" y="82"/>
                  </a:cxn>
                  <a:cxn ang="0">
                    <a:pos x="126" y="76"/>
                  </a:cxn>
                  <a:cxn ang="0">
                    <a:pos x="116" y="72"/>
                  </a:cxn>
                  <a:cxn ang="0">
                    <a:pos x="96" y="62"/>
                  </a:cxn>
                  <a:cxn ang="0">
                    <a:pos x="90" y="58"/>
                  </a:cxn>
                  <a:cxn ang="0">
                    <a:pos x="82" y="58"/>
                  </a:cxn>
                  <a:cxn ang="0">
                    <a:pos x="80" y="52"/>
                  </a:cxn>
                  <a:cxn ang="0">
                    <a:pos x="80" y="44"/>
                  </a:cxn>
                  <a:cxn ang="0">
                    <a:pos x="56" y="22"/>
                  </a:cxn>
                  <a:cxn ang="0">
                    <a:pos x="4" y="0"/>
                  </a:cxn>
                </a:cxnLst>
                <a:rect l="0" t="0" r="r" b="b"/>
                <a:pathLst>
                  <a:path w="152" h="154">
                    <a:moveTo>
                      <a:pt x="4" y="0"/>
                    </a:moveTo>
                    <a:lnTo>
                      <a:pt x="4" y="76"/>
                    </a:lnTo>
                    <a:lnTo>
                      <a:pt x="0" y="80"/>
                    </a:lnTo>
                    <a:lnTo>
                      <a:pt x="0" y="84"/>
                    </a:lnTo>
                    <a:lnTo>
                      <a:pt x="4" y="88"/>
                    </a:lnTo>
                    <a:lnTo>
                      <a:pt x="4" y="126"/>
                    </a:lnTo>
                    <a:lnTo>
                      <a:pt x="14" y="130"/>
                    </a:lnTo>
                    <a:lnTo>
                      <a:pt x="24" y="130"/>
                    </a:lnTo>
                    <a:lnTo>
                      <a:pt x="28" y="130"/>
                    </a:lnTo>
                    <a:lnTo>
                      <a:pt x="32" y="126"/>
                    </a:lnTo>
                    <a:lnTo>
                      <a:pt x="36" y="122"/>
                    </a:lnTo>
                    <a:lnTo>
                      <a:pt x="38" y="118"/>
                    </a:lnTo>
                    <a:lnTo>
                      <a:pt x="32" y="118"/>
                    </a:lnTo>
                    <a:lnTo>
                      <a:pt x="42" y="118"/>
                    </a:lnTo>
                    <a:lnTo>
                      <a:pt x="42" y="110"/>
                    </a:lnTo>
                    <a:lnTo>
                      <a:pt x="42" y="104"/>
                    </a:lnTo>
                    <a:lnTo>
                      <a:pt x="46" y="98"/>
                    </a:lnTo>
                    <a:lnTo>
                      <a:pt x="52" y="98"/>
                    </a:lnTo>
                    <a:lnTo>
                      <a:pt x="68" y="98"/>
                    </a:lnTo>
                    <a:lnTo>
                      <a:pt x="82" y="106"/>
                    </a:lnTo>
                    <a:lnTo>
                      <a:pt x="86" y="110"/>
                    </a:lnTo>
                    <a:lnTo>
                      <a:pt x="88" y="114"/>
                    </a:lnTo>
                    <a:lnTo>
                      <a:pt x="90" y="120"/>
                    </a:lnTo>
                    <a:lnTo>
                      <a:pt x="92" y="126"/>
                    </a:lnTo>
                    <a:lnTo>
                      <a:pt x="90" y="124"/>
                    </a:lnTo>
                    <a:lnTo>
                      <a:pt x="92" y="130"/>
                    </a:lnTo>
                    <a:lnTo>
                      <a:pt x="96" y="134"/>
                    </a:lnTo>
                    <a:lnTo>
                      <a:pt x="98" y="138"/>
                    </a:lnTo>
                    <a:lnTo>
                      <a:pt x="104" y="142"/>
                    </a:lnTo>
                    <a:lnTo>
                      <a:pt x="120" y="146"/>
                    </a:lnTo>
                    <a:lnTo>
                      <a:pt x="132" y="150"/>
                    </a:lnTo>
                    <a:lnTo>
                      <a:pt x="136" y="152"/>
                    </a:lnTo>
                    <a:lnTo>
                      <a:pt x="138" y="154"/>
                    </a:lnTo>
                    <a:lnTo>
                      <a:pt x="142" y="154"/>
                    </a:lnTo>
                    <a:lnTo>
                      <a:pt x="148" y="154"/>
                    </a:lnTo>
                    <a:lnTo>
                      <a:pt x="150" y="152"/>
                    </a:lnTo>
                    <a:lnTo>
                      <a:pt x="152" y="150"/>
                    </a:lnTo>
                    <a:lnTo>
                      <a:pt x="150" y="146"/>
                    </a:lnTo>
                    <a:lnTo>
                      <a:pt x="148" y="142"/>
                    </a:lnTo>
                    <a:lnTo>
                      <a:pt x="144" y="138"/>
                    </a:lnTo>
                    <a:lnTo>
                      <a:pt x="142" y="134"/>
                    </a:lnTo>
                    <a:lnTo>
                      <a:pt x="136" y="132"/>
                    </a:lnTo>
                    <a:lnTo>
                      <a:pt x="132" y="130"/>
                    </a:lnTo>
                    <a:lnTo>
                      <a:pt x="130" y="122"/>
                    </a:lnTo>
                    <a:lnTo>
                      <a:pt x="128" y="120"/>
                    </a:lnTo>
                    <a:lnTo>
                      <a:pt x="124" y="118"/>
                    </a:lnTo>
                    <a:lnTo>
                      <a:pt x="122" y="118"/>
                    </a:lnTo>
                    <a:lnTo>
                      <a:pt x="118" y="116"/>
                    </a:lnTo>
                    <a:lnTo>
                      <a:pt x="114" y="108"/>
                    </a:lnTo>
                    <a:lnTo>
                      <a:pt x="112" y="104"/>
                    </a:lnTo>
                    <a:lnTo>
                      <a:pt x="112" y="98"/>
                    </a:lnTo>
                    <a:lnTo>
                      <a:pt x="108" y="98"/>
                    </a:lnTo>
                    <a:lnTo>
                      <a:pt x="102" y="94"/>
                    </a:lnTo>
                    <a:lnTo>
                      <a:pt x="96" y="84"/>
                    </a:lnTo>
                    <a:lnTo>
                      <a:pt x="102" y="84"/>
                    </a:lnTo>
                    <a:lnTo>
                      <a:pt x="112" y="84"/>
                    </a:lnTo>
                    <a:lnTo>
                      <a:pt x="118" y="84"/>
                    </a:lnTo>
                    <a:lnTo>
                      <a:pt x="122" y="82"/>
                    </a:lnTo>
                    <a:lnTo>
                      <a:pt x="124" y="80"/>
                    </a:lnTo>
                    <a:lnTo>
                      <a:pt x="126" y="76"/>
                    </a:lnTo>
                    <a:lnTo>
                      <a:pt x="122" y="74"/>
                    </a:lnTo>
                    <a:lnTo>
                      <a:pt x="116" y="72"/>
                    </a:lnTo>
                    <a:lnTo>
                      <a:pt x="104" y="66"/>
                    </a:lnTo>
                    <a:lnTo>
                      <a:pt x="96" y="62"/>
                    </a:lnTo>
                    <a:lnTo>
                      <a:pt x="94" y="60"/>
                    </a:lnTo>
                    <a:lnTo>
                      <a:pt x="90" y="58"/>
                    </a:lnTo>
                    <a:lnTo>
                      <a:pt x="86" y="58"/>
                    </a:lnTo>
                    <a:lnTo>
                      <a:pt x="82" y="58"/>
                    </a:lnTo>
                    <a:lnTo>
                      <a:pt x="82" y="56"/>
                    </a:lnTo>
                    <a:lnTo>
                      <a:pt x="80" y="52"/>
                    </a:lnTo>
                    <a:lnTo>
                      <a:pt x="80" y="46"/>
                    </a:lnTo>
                    <a:lnTo>
                      <a:pt x="80" y="44"/>
                    </a:lnTo>
                    <a:lnTo>
                      <a:pt x="78" y="38"/>
                    </a:lnTo>
                    <a:lnTo>
                      <a:pt x="56" y="22"/>
                    </a:lnTo>
                    <a:lnTo>
                      <a:pt x="32" y="12"/>
                    </a:lnTo>
                    <a:lnTo>
                      <a:pt x="4"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199" name="Freeform 211"/>
              <p:cNvSpPr>
                <a:spLocks noChangeAspect="1"/>
              </p:cNvSpPr>
              <p:nvPr/>
            </p:nvSpPr>
            <p:spPr bwMode="auto">
              <a:xfrm>
                <a:off x="5748609" y="4509487"/>
                <a:ext cx="249967" cy="245706"/>
              </a:xfrm>
              <a:custGeom>
                <a:avLst/>
                <a:gdLst/>
                <a:ahLst/>
                <a:cxnLst>
                  <a:cxn ang="0">
                    <a:pos x="36" y="46"/>
                  </a:cxn>
                  <a:cxn ang="0">
                    <a:pos x="22" y="28"/>
                  </a:cxn>
                  <a:cxn ang="0">
                    <a:pos x="6" y="14"/>
                  </a:cxn>
                  <a:cxn ang="0">
                    <a:pos x="0" y="4"/>
                  </a:cxn>
                  <a:cxn ang="0">
                    <a:pos x="4" y="0"/>
                  </a:cxn>
                  <a:cxn ang="0">
                    <a:pos x="10" y="0"/>
                  </a:cxn>
                  <a:cxn ang="0">
                    <a:pos x="18" y="6"/>
                  </a:cxn>
                  <a:cxn ang="0">
                    <a:pos x="36" y="6"/>
                  </a:cxn>
                  <a:cxn ang="0">
                    <a:pos x="44" y="14"/>
                  </a:cxn>
                  <a:cxn ang="0">
                    <a:pos x="52" y="28"/>
                  </a:cxn>
                  <a:cxn ang="0">
                    <a:pos x="62" y="34"/>
                  </a:cxn>
                  <a:cxn ang="0">
                    <a:pos x="70" y="38"/>
                  </a:cxn>
                  <a:cxn ang="0">
                    <a:pos x="82" y="52"/>
                  </a:cxn>
                  <a:cxn ang="0">
                    <a:pos x="90" y="62"/>
                  </a:cxn>
                  <a:cxn ang="0">
                    <a:pos x="98" y="62"/>
                  </a:cxn>
                  <a:cxn ang="0">
                    <a:pos x="108" y="72"/>
                  </a:cxn>
                  <a:cxn ang="0">
                    <a:pos x="120" y="82"/>
                  </a:cxn>
                  <a:cxn ang="0">
                    <a:pos x="124" y="84"/>
                  </a:cxn>
                  <a:cxn ang="0">
                    <a:pos x="128" y="86"/>
                  </a:cxn>
                  <a:cxn ang="0">
                    <a:pos x="124" y="94"/>
                  </a:cxn>
                  <a:cxn ang="0">
                    <a:pos x="140" y="102"/>
                  </a:cxn>
                  <a:cxn ang="0">
                    <a:pos x="138" y="118"/>
                  </a:cxn>
                  <a:cxn ang="0">
                    <a:pos x="146" y="122"/>
                  </a:cxn>
                  <a:cxn ang="0">
                    <a:pos x="152" y="134"/>
                  </a:cxn>
                  <a:cxn ang="0">
                    <a:pos x="152" y="138"/>
                  </a:cxn>
                  <a:cxn ang="0">
                    <a:pos x="158" y="138"/>
                  </a:cxn>
                  <a:cxn ang="0">
                    <a:pos x="162" y="144"/>
                  </a:cxn>
                  <a:cxn ang="0">
                    <a:pos x="174" y="152"/>
                  </a:cxn>
                  <a:cxn ang="0">
                    <a:pos x="174" y="192"/>
                  </a:cxn>
                  <a:cxn ang="0">
                    <a:pos x="170" y="206"/>
                  </a:cxn>
                  <a:cxn ang="0">
                    <a:pos x="160" y="204"/>
                  </a:cxn>
                  <a:cxn ang="0">
                    <a:pos x="152" y="206"/>
                  </a:cxn>
                  <a:cxn ang="0">
                    <a:pos x="146" y="204"/>
                  </a:cxn>
                  <a:cxn ang="0">
                    <a:pos x="140" y="192"/>
                  </a:cxn>
                  <a:cxn ang="0">
                    <a:pos x="124" y="180"/>
                  </a:cxn>
                  <a:cxn ang="0">
                    <a:pos x="112" y="168"/>
                  </a:cxn>
                  <a:cxn ang="0">
                    <a:pos x="98" y="150"/>
                  </a:cxn>
                  <a:cxn ang="0">
                    <a:pos x="94" y="138"/>
                  </a:cxn>
                  <a:cxn ang="0">
                    <a:pos x="82" y="114"/>
                  </a:cxn>
                  <a:cxn ang="0">
                    <a:pos x="66" y="94"/>
                  </a:cxn>
                  <a:cxn ang="0">
                    <a:pos x="64" y="82"/>
                  </a:cxn>
                  <a:cxn ang="0">
                    <a:pos x="60" y="70"/>
                  </a:cxn>
                  <a:cxn ang="0">
                    <a:pos x="48" y="62"/>
                  </a:cxn>
                  <a:cxn ang="0">
                    <a:pos x="40" y="54"/>
                  </a:cxn>
                </a:cxnLst>
                <a:rect l="0" t="0" r="r" b="b"/>
                <a:pathLst>
                  <a:path w="176" h="206">
                    <a:moveTo>
                      <a:pt x="42" y="54"/>
                    </a:moveTo>
                    <a:lnTo>
                      <a:pt x="36" y="46"/>
                    </a:lnTo>
                    <a:lnTo>
                      <a:pt x="32" y="38"/>
                    </a:lnTo>
                    <a:lnTo>
                      <a:pt x="22" y="28"/>
                    </a:lnTo>
                    <a:lnTo>
                      <a:pt x="16" y="24"/>
                    </a:lnTo>
                    <a:lnTo>
                      <a:pt x="6" y="14"/>
                    </a:lnTo>
                    <a:lnTo>
                      <a:pt x="2" y="10"/>
                    </a:lnTo>
                    <a:lnTo>
                      <a:pt x="0" y="4"/>
                    </a:lnTo>
                    <a:lnTo>
                      <a:pt x="0" y="2"/>
                    </a:lnTo>
                    <a:lnTo>
                      <a:pt x="4" y="0"/>
                    </a:lnTo>
                    <a:lnTo>
                      <a:pt x="8" y="0"/>
                    </a:lnTo>
                    <a:lnTo>
                      <a:pt x="10" y="0"/>
                    </a:lnTo>
                    <a:lnTo>
                      <a:pt x="10" y="4"/>
                    </a:lnTo>
                    <a:lnTo>
                      <a:pt x="18" y="6"/>
                    </a:lnTo>
                    <a:lnTo>
                      <a:pt x="34" y="6"/>
                    </a:lnTo>
                    <a:lnTo>
                      <a:pt x="36" y="6"/>
                    </a:lnTo>
                    <a:lnTo>
                      <a:pt x="40" y="8"/>
                    </a:lnTo>
                    <a:lnTo>
                      <a:pt x="44" y="14"/>
                    </a:lnTo>
                    <a:lnTo>
                      <a:pt x="48" y="20"/>
                    </a:lnTo>
                    <a:lnTo>
                      <a:pt x="52" y="28"/>
                    </a:lnTo>
                    <a:lnTo>
                      <a:pt x="60" y="32"/>
                    </a:lnTo>
                    <a:lnTo>
                      <a:pt x="62" y="34"/>
                    </a:lnTo>
                    <a:lnTo>
                      <a:pt x="64" y="36"/>
                    </a:lnTo>
                    <a:lnTo>
                      <a:pt x="70" y="38"/>
                    </a:lnTo>
                    <a:lnTo>
                      <a:pt x="74" y="42"/>
                    </a:lnTo>
                    <a:lnTo>
                      <a:pt x="82" y="52"/>
                    </a:lnTo>
                    <a:lnTo>
                      <a:pt x="88" y="58"/>
                    </a:lnTo>
                    <a:lnTo>
                      <a:pt x="90" y="62"/>
                    </a:lnTo>
                    <a:lnTo>
                      <a:pt x="92" y="64"/>
                    </a:lnTo>
                    <a:lnTo>
                      <a:pt x="98" y="62"/>
                    </a:lnTo>
                    <a:lnTo>
                      <a:pt x="100" y="66"/>
                    </a:lnTo>
                    <a:lnTo>
                      <a:pt x="108" y="72"/>
                    </a:lnTo>
                    <a:lnTo>
                      <a:pt x="118" y="80"/>
                    </a:lnTo>
                    <a:lnTo>
                      <a:pt x="120" y="82"/>
                    </a:lnTo>
                    <a:lnTo>
                      <a:pt x="122" y="86"/>
                    </a:lnTo>
                    <a:lnTo>
                      <a:pt x="124" y="84"/>
                    </a:lnTo>
                    <a:lnTo>
                      <a:pt x="128" y="82"/>
                    </a:lnTo>
                    <a:lnTo>
                      <a:pt x="128" y="86"/>
                    </a:lnTo>
                    <a:lnTo>
                      <a:pt x="126" y="90"/>
                    </a:lnTo>
                    <a:lnTo>
                      <a:pt x="124" y="94"/>
                    </a:lnTo>
                    <a:lnTo>
                      <a:pt x="140" y="94"/>
                    </a:lnTo>
                    <a:lnTo>
                      <a:pt x="140" y="102"/>
                    </a:lnTo>
                    <a:lnTo>
                      <a:pt x="136" y="114"/>
                    </a:lnTo>
                    <a:lnTo>
                      <a:pt x="138" y="118"/>
                    </a:lnTo>
                    <a:lnTo>
                      <a:pt x="142" y="120"/>
                    </a:lnTo>
                    <a:lnTo>
                      <a:pt x="146" y="122"/>
                    </a:lnTo>
                    <a:lnTo>
                      <a:pt x="152" y="122"/>
                    </a:lnTo>
                    <a:lnTo>
                      <a:pt x="152" y="134"/>
                    </a:lnTo>
                    <a:lnTo>
                      <a:pt x="152" y="136"/>
                    </a:lnTo>
                    <a:lnTo>
                      <a:pt x="152" y="138"/>
                    </a:lnTo>
                    <a:lnTo>
                      <a:pt x="156" y="138"/>
                    </a:lnTo>
                    <a:lnTo>
                      <a:pt x="158" y="138"/>
                    </a:lnTo>
                    <a:lnTo>
                      <a:pt x="160" y="140"/>
                    </a:lnTo>
                    <a:lnTo>
                      <a:pt x="162" y="144"/>
                    </a:lnTo>
                    <a:lnTo>
                      <a:pt x="172" y="150"/>
                    </a:lnTo>
                    <a:lnTo>
                      <a:pt x="174" y="152"/>
                    </a:lnTo>
                    <a:lnTo>
                      <a:pt x="176" y="158"/>
                    </a:lnTo>
                    <a:lnTo>
                      <a:pt x="174" y="192"/>
                    </a:lnTo>
                    <a:lnTo>
                      <a:pt x="174" y="204"/>
                    </a:lnTo>
                    <a:lnTo>
                      <a:pt x="170" y="206"/>
                    </a:lnTo>
                    <a:lnTo>
                      <a:pt x="164" y="206"/>
                    </a:lnTo>
                    <a:lnTo>
                      <a:pt x="160" y="204"/>
                    </a:lnTo>
                    <a:lnTo>
                      <a:pt x="154" y="206"/>
                    </a:lnTo>
                    <a:lnTo>
                      <a:pt x="152" y="206"/>
                    </a:lnTo>
                    <a:lnTo>
                      <a:pt x="148" y="206"/>
                    </a:lnTo>
                    <a:lnTo>
                      <a:pt x="146" y="204"/>
                    </a:lnTo>
                    <a:lnTo>
                      <a:pt x="144" y="198"/>
                    </a:lnTo>
                    <a:lnTo>
                      <a:pt x="140" y="192"/>
                    </a:lnTo>
                    <a:lnTo>
                      <a:pt x="132" y="186"/>
                    </a:lnTo>
                    <a:lnTo>
                      <a:pt x="124" y="180"/>
                    </a:lnTo>
                    <a:lnTo>
                      <a:pt x="118" y="176"/>
                    </a:lnTo>
                    <a:lnTo>
                      <a:pt x="112" y="168"/>
                    </a:lnTo>
                    <a:lnTo>
                      <a:pt x="104" y="160"/>
                    </a:lnTo>
                    <a:lnTo>
                      <a:pt x="98" y="150"/>
                    </a:lnTo>
                    <a:lnTo>
                      <a:pt x="96" y="144"/>
                    </a:lnTo>
                    <a:lnTo>
                      <a:pt x="94" y="138"/>
                    </a:lnTo>
                    <a:lnTo>
                      <a:pt x="88" y="126"/>
                    </a:lnTo>
                    <a:lnTo>
                      <a:pt x="82" y="114"/>
                    </a:lnTo>
                    <a:lnTo>
                      <a:pt x="76" y="104"/>
                    </a:lnTo>
                    <a:lnTo>
                      <a:pt x="66" y="94"/>
                    </a:lnTo>
                    <a:lnTo>
                      <a:pt x="64" y="88"/>
                    </a:lnTo>
                    <a:lnTo>
                      <a:pt x="64" y="82"/>
                    </a:lnTo>
                    <a:lnTo>
                      <a:pt x="62" y="76"/>
                    </a:lnTo>
                    <a:lnTo>
                      <a:pt x="60" y="70"/>
                    </a:lnTo>
                    <a:lnTo>
                      <a:pt x="54" y="66"/>
                    </a:lnTo>
                    <a:lnTo>
                      <a:pt x="48" y="62"/>
                    </a:lnTo>
                    <a:lnTo>
                      <a:pt x="42" y="58"/>
                    </a:lnTo>
                    <a:lnTo>
                      <a:pt x="40" y="54"/>
                    </a:lnTo>
                    <a:lnTo>
                      <a:pt x="42" y="5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0" name="Freeform 212"/>
              <p:cNvSpPr>
                <a:spLocks noChangeAspect="1"/>
              </p:cNvSpPr>
              <p:nvPr/>
            </p:nvSpPr>
            <p:spPr bwMode="auto">
              <a:xfrm>
                <a:off x="6068836" y="4545271"/>
                <a:ext cx="221592" cy="174141"/>
              </a:xfrm>
              <a:custGeom>
                <a:avLst/>
                <a:gdLst/>
                <a:ahLst/>
                <a:cxnLst>
                  <a:cxn ang="0">
                    <a:pos x="126" y="2"/>
                  </a:cxn>
                  <a:cxn ang="0">
                    <a:pos x="114" y="0"/>
                  </a:cxn>
                  <a:cxn ang="0">
                    <a:pos x="102" y="4"/>
                  </a:cxn>
                  <a:cxn ang="0">
                    <a:pos x="92" y="14"/>
                  </a:cxn>
                  <a:cxn ang="0">
                    <a:pos x="84" y="40"/>
                  </a:cxn>
                  <a:cxn ang="0">
                    <a:pos x="82" y="52"/>
                  </a:cxn>
                  <a:cxn ang="0">
                    <a:pos x="74" y="50"/>
                  </a:cxn>
                  <a:cxn ang="0">
                    <a:pos x="66" y="44"/>
                  </a:cxn>
                  <a:cxn ang="0">
                    <a:pos x="58" y="42"/>
                  </a:cxn>
                  <a:cxn ang="0">
                    <a:pos x="50" y="50"/>
                  </a:cxn>
                  <a:cxn ang="0">
                    <a:pos x="40" y="54"/>
                  </a:cxn>
                  <a:cxn ang="0">
                    <a:pos x="28" y="54"/>
                  </a:cxn>
                  <a:cxn ang="0">
                    <a:pos x="16" y="50"/>
                  </a:cxn>
                  <a:cxn ang="0">
                    <a:pos x="14" y="46"/>
                  </a:cxn>
                  <a:cxn ang="0">
                    <a:pos x="14" y="34"/>
                  </a:cxn>
                  <a:cxn ang="0">
                    <a:pos x="4" y="44"/>
                  </a:cxn>
                  <a:cxn ang="0">
                    <a:pos x="0" y="60"/>
                  </a:cxn>
                  <a:cxn ang="0">
                    <a:pos x="4" y="72"/>
                  </a:cxn>
                  <a:cxn ang="0">
                    <a:pos x="2" y="78"/>
                  </a:cxn>
                  <a:cxn ang="0">
                    <a:pos x="8" y="86"/>
                  </a:cxn>
                  <a:cxn ang="0">
                    <a:pos x="10" y="92"/>
                  </a:cxn>
                  <a:cxn ang="0">
                    <a:pos x="18" y="96"/>
                  </a:cxn>
                  <a:cxn ang="0">
                    <a:pos x="18" y="102"/>
                  </a:cxn>
                  <a:cxn ang="0">
                    <a:pos x="16" y="108"/>
                  </a:cxn>
                  <a:cxn ang="0">
                    <a:pos x="18" y="110"/>
                  </a:cxn>
                  <a:cxn ang="0">
                    <a:pos x="20" y="120"/>
                  </a:cxn>
                  <a:cxn ang="0">
                    <a:pos x="28" y="126"/>
                  </a:cxn>
                  <a:cxn ang="0">
                    <a:pos x="42" y="128"/>
                  </a:cxn>
                  <a:cxn ang="0">
                    <a:pos x="44" y="134"/>
                  </a:cxn>
                  <a:cxn ang="0">
                    <a:pos x="54" y="134"/>
                  </a:cxn>
                  <a:cxn ang="0">
                    <a:pos x="62" y="130"/>
                  </a:cxn>
                  <a:cxn ang="0">
                    <a:pos x="72" y="130"/>
                  </a:cxn>
                  <a:cxn ang="0">
                    <a:pos x="82" y="134"/>
                  </a:cxn>
                  <a:cxn ang="0">
                    <a:pos x="88" y="140"/>
                  </a:cxn>
                  <a:cxn ang="0">
                    <a:pos x="88" y="146"/>
                  </a:cxn>
                  <a:cxn ang="0">
                    <a:pos x="98" y="144"/>
                  </a:cxn>
                  <a:cxn ang="0">
                    <a:pos x="112" y="138"/>
                  </a:cxn>
                  <a:cxn ang="0">
                    <a:pos x="120" y="134"/>
                  </a:cxn>
                  <a:cxn ang="0">
                    <a:pos x="116" y="130"/>
                  </a:cxn>
                  <a:cxn ang="0">
                    <a:pos x="118" y="124"/>
                  </a:cxn>
                  <a:cxn ang="0">
                    <a:pos x="122" y="114"/>
                  </a:cxn>
                  <a:cxn ang="0">
                    <a:pos x="120" y="106"/>
                  </a:cxn>
                  <a:cxn ang="0">
                    <a:pos x="126" y="94"/>
                  </a:cxn>
                  <a:cxn ang="0">
                    <a:pos x="136" y="82"/>
                  </a:cxn>
                  <a:cxn ang="0">
                    <a:pos x="142" y="60"/>
                  </a:cxn>
                  <a:cxn ang="0">
                    <a:pos x="148" y="56"/>
                  </a:cxn>
                  <a:cxn ang="0">
                    <a:pos x="160" y="56"/>
                  </a:cxn>
                  <a:cxn ang="0">
                    <a:pos x="150" y="46"/>
                  </a:cxn>
                  <a:cxn ang="0">
                    <a:pos x="144" y="34"/>
                  </a:cxn>
                  <a:cxn ang="0">
                    <a:pos x="148" y="28"/>
                  </a:cxn>
                  <a:cxn ang="0">
                    <a:pos x="138" y="22"/>
                  </a:cxn>
                  <a:cxn ang="0">
                    <a:pos x="136" y="8"/>
                  </a:cxn>
                </a:cxnLst>
                <a:rect l="0" t="0" r="r" b="b"/>
                <a:pathLst>
                  <a:path w="160" h="146">
                    <a:moveTo>
                      <a:pt x="136" y="4"/>
                    </a:moveTo>
                    <a:lnTo>
                      <a:pt x="126" y="2"/>
                    </a:lnTo>
                    <a:lnTo>
                      <a:pt x="120" y="0"/>
                    </a:lnTo>
                    <a:lnTo>
                      <a:pt x="114" y="0"/>
                    </a:lnTo>
                    <a:lnTo>
                      <a:pt x="108" y="0"/>
                    </a:lnTo>
                    <a:lnTo>
                      <a:pt x="102" y="4"/>
                    </a:lnTo>
                    <a:lnTo>
                      <a:pt x="96" y="8"/>
                    </a:lnTo>
                    <a:lnTo>
                      <a:pt x="92" y="14"/>
                    </a:lnTo>
                    <a:lnTo>
                      <a:pt x="88" y="26"/>
                    </a:lnTo>
                    <a:lnTo>
                      <a:pt x="84" y="40"/>
                    </a:lnTo>
                    <a:lnTo>
                      <a:pt x="84" y="48"/>
                    </a:lnTo>
                    <a:lnTo>
                      <a:pt x="82" y="52"/>
                    </a:lnTo>
                    <a:lnTo>
                      <a:pt x="78" y="52"/>
                    </a:lnTo>
                    <a:lnTo>
                      <a:pt x="74" y="50"/>
                    </a:lnTo>
                    <a:lnTo>
                      <a:pt x="70" y="48"/>
                    </a:lnTo>
                    <a:lnTo>
                      <a:pt x="66" y="44"/>
                    </a:lnTo>
                    <a:lnTo>
                      <a:pt x="62" y="42"/>
                    </a:lnTo>
                    <a:lnTo>
                      <a:pt x="58" y="42"/>
                    </a:lnTo>
                    <a:lnTo>
                      <a:pt x="56" y="44"/>
                    </a:lnTo>
                    <a:lnTo>
                      <a:pt x="50" y="50"/>
                    </a:lnTo>
                    <a:lnTo>
                      <a:pt x="42" y="52"/>
                    </a:lnTo>
                    <a:lnTo>
                      <a:pt x="40" y="54"/>
                    </a:lnTo>
                    <a:lnTo>
                      <a:pt x="34" y="56"/>
                    </a:lnTo>
                    <a:lnTo>
                      <a:pt x="28" y="54"/>
                    </a:lnTo>
                    <a:lnTo>
                      <a:pt x="22" y="52"/>
                    </a:lnTo>
                    <a:lnTo>
                      <a:pt x="16" y="50"/>
                    </a:lnTo>
                    <a:lnTo>
                      <a:pt x="14" y="48"/>
                    </a:lnTo>
                    <a:lnTo>
                      <a:pt x="14" y="46"/>
                    </a:lnTo>
                    <a:lnTo>
                      <a:pt x="14" y="36"/>
                    </a:lnTo>
                    <a:lnTo>
                      <a:pt x="14" y="34"/>
                    </a:lnTo>
                    <a:lnTo>
                      <a:pt x="8" y="38"/>
                    </a:lnTo>
                    <a:lnTo>
                      <a:pt x="4" y="44"/>
                    </a:lnTo>
                    <a:lnTo>
                      <a:pt x="2" y="52"/>
                    </a:lnTo>
                    <a:lnTo>
                      <a:pt x="0" y="60"/>
                    </a:lnTo>
                    <a:lnTo>
                      <a:pt x="2" y="66"/>
                    </a:lnTo>
                    <a:lnTo>
                      <a:pt x="4" y="72"/>
                    </a:lnTo>
                    <a:lnTo>
                      <a:pt x="4" y="74"/>
                    </a:lnTo>
                    <a:lnTo>
                      <a:pt x="2" y="78"/>
                    </a:lnTo>
                    <a:lnTo>
                      <a:pt x="4" y="82"/>
                    </a:lnTo>
                    <a:lnTo>
                      <a:pt x="8" y="86"/>
                    </a:lnTo>
                    <a:lnTo>
                      <a:pt x="10" y="86"/>
                    </a:lnTo>
                    <a:lnTo>
                      <a:pt x="10" y="92"/>
                    </a:lnTo>
                    <a:lnTo>
                      <a:pt x="16" y="94"/>
                    </a:lnTo>
                    <a:lnTo>
                      <a:pt x="18" y="96"/>
                    </a:lnTo>
                    <a:lnTo>
                      <a:pt x="18" y="98"/>
                    </a:lnTo>
                    <a:lnTo>
                      <a:pt x="18" y="102"/>
                    </a:lnTo>
                    <a:lnTo>
                      <a:pt x="16" y="106"/>
                    </a:lnTo>
                    <a:lnTo>
                      <a:pt x="16" y="108"/>
                    </a:lnTo>
                    <a:lnTo>
                      <a:pt x="18" y="112"/>
                    </a:lnTo>
                    <a:lnTo>
                      <a:pt x="18" y="110"/>
                    </a:lnTo>
                    <a:lnTo>
                      <a:pt x="18" y="116"/>
                    </a:lnTo>
                    <a:lnTo>
                      <a:pt x="20" y="120"/>
                    </a:lnTo>
                    <a:lnTo>
                      <a:pt x="24" y="124"/>
                    </a:lnTo>
                    <a:lnTo>
                      <a:pt x="28" y="126"/>
                    </a:lnTo>
                    <a:lnTo>
                      <a:pt x="34" y="126"/>
                    </a:lnTo>
                    <a:lnTo>
                      <a:pt x="42" y="128"/>
                    </a:lnTo>
                    <a:lnTo>
                      <a:pt x="46" y="130"/>
                    </a:lnTo>
                    <a:lnTo>
                      <a:pt x="44" y="134"/>
                    </a:lnTo>
                    <a:lnTo>
                      <a:pt x="48" y="134"/>
                    </a:lnTo>
                    <a:lnTo>
                      <a:pt x="54" y="134"/>
                    </a:lnTo>
                    <a:lnTo>
                      <a:pt x="56" y="132"/>
                    </a:lnTo>
                    <a:lnTo>
                      <a:pt x="62" y="130"/>
                    </a:lnTo>
                    <a:lnTo>
                      <a:pt x="66" y="130"/>
                    </a:lnTo>
                    <a:lnTo>
                      <a:pt x="72" y="130"/>
                    </a:lnTo>
                    <a:lnTo>
                      <a:pt x="78" y="132"/>
                    </a:lnTo>
                    <a:lnTo>
                      <a:pt x="82" y="134"/>
                    </a:lnTo>
                    <a:lnTo>
                      <a:pt x="88" y="134"/>
                    </a:lnTo>
                    <a:lnTo>
                      <a:pt x="88" y="140"/>
                    </a:lnTo>
                    <a:lnTo>
                      <a:pt x="88" y="144"/>
                    </a:lnTo>
                    <a:lnTo>
                      <a:pt x="88" y="146"/>
                    </a:lnTo>
                    <a:lnTo>
                      <a:pt x="90" y="146"/>
                    </a:lnTo>
                    <a:lnTo>
                      <a:pt x="98" y="144"/>
                    </a:lnTo>
                    <a:lnTo>
                      <a:pt x="106" y="142"/>
                    </a:lnTo>
                    <a:lnTo>
                      <a:pt x="112" y="138"/>
                    </a:lnTo>
                    <a:lnTo>
                      <a:pt x="120" y="138"/>
                    </a:lnTo>
                    <a:lnTo>
                      <a:pt x="120" y="134"/>
                    </a:lnTo>
                    <a:lnTo>
                      <a:pt x="118" y="134"/>
                    </a:lnTo>
                    <a:lnTo>
                      <a:pt x="116" y="130"/>
                    </a:lnTo>
                    <a:lnTo>
                      <a:pt x="116" y="126"/>
                    </a:lnTo>
                    <a:lnTo>
                      <a:pt x="118" y="124"/>
                    </a:lnTo>
                    <a:lnTo>
                      <a:pt x="122" y="120"/>
                    </a:lnTo>
                    <a:lnTo>
                      <a:pt x="122" y="114"/>
                    </a:lnTo>
                    <a:lnTo>
                      <a:pt x="122" y="108"/>
                    </a:lnTo>
                    <a:lnTo>
                      <a:pt x="120" y="106"/>
                    </a:lnTo>
                    <a:lnTo>
                      <a:pt x="122" y="100"/>
                    </a:lnTo>
                    <a:lnTo>
                      <a:pt x="126" y="94"/>
                    </a:lnTo>
                    <a:lnTo>
                      <a:pt x="132" y="92"/>
                    </a:lnTo>
                    <a:lnTo>
                      <a:pt x="136" y="82"/>
                    </a:lnTo>
                    <a:lnTo>
                      <a:pt x="138" y="72"/>
                    </a:lnTo>
                    <a:lnTo>
                      <a:pt x="142" y="60"/>
                    </a:lnTo>
                    <a:lnTo>
                      <a:pt x="144" y="58"/>
                    </a:lnTo>
                    <a:lnTo>
                      <a:pt x="148" y="56"/>
                    </a:lnTo>
                    <a:lnTo>
                      <a:pt x="154" y="56"/>
                    </a:lnTo>
                    <a:lnTo>
                      <a:pt x="160" y="56"/>
                    </a:lnTo>
                    <a:lnTo>
                      <a:pt x="160" y="52"/>
                    </a:lnTo>
                    <a:lnTo>
                      <a:pt x="150" y="46"/>
                    </a:lnTo>
                    <a:lnTo>
                      <a:pt x="146" y="40"/>
                    </a:lnTo>
                    <a:lnTo>
                      <a:pt x="144" y="34"/>
                    </a:lnTo>
                    <a:lnTo>
                      <a:pt x="146" y="32"/>
                    </a:lnTo>
                    <a:lnTo>
                      <a:pt x="148" y="28"/>
                    </a:lnTo>
                    <a:lnTo>
                      <a:pt x="142" y="26"/>
                    </a:lnTo>
                    <a:lnTo>
                      <a:pt x="138" y="22"/>
                    </a:lnTo>
                    <a:lnTo>
                      <a:pt x="138" y="14"/>
                    </a:lnTo>
                    <a:lnTo>
                      <a:pt x="136" y="8"/>
                    </a:lnTo>
                    <a:lnTo>
                      <a:pt x="136"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1" name="Freeform 213"/>
              <p:cNvSpPr>
                <a:spLocks noChangeAspect="1"/>
              </p:cNvSpPr>
              <p:nvPr/>
            </p:nvSpPr>
            <p:spPr bwMode="auto">
              <a:xfrm>
                <a:off x="6062080" y="4867311"/>
                <a:ext cx="897178" cy="614264"/>
              </a:xfrm>
              <a:custGeom>
                <a:avLst/>
                <a:gdLst/>
                <a:ahLst/>
                <a:cxnLst>
                  <a:cxn ang="0">
                    <a:pos x="194" y="112"/>
                  </a:cxn>
                  <a:cxn ang="0">
                    <a:pos x="212" y="114"/>
                  </a:cxn>
                  <a:cxn ang="0">
                    <a:pos x="226" y="100"/>
                  </a:cxn>
                  <a:cxn ang="0">
                    <a:pos x="242" y="72"/>
                  </a:cxn>
                  <a:cxn ang="0">
                    <a:pos x="284" y="62"/>
                  </a:cxn>
                  <a:cxn ang="0">
                    <a:pos x="294" y="72"/>
                  </a:cxn>
                  <a:cxn ang="0">
                    <a:pos x="310" y="56"/>
                  </a:cxn>
                  <a:cxn ang="0">
                    <a:pos x="324" y="38"/>
                  </a:cxn>
                  <a:cxn ang="0">
                    <a:pos x="360" y="24"/>
                  </a:cxn>
                  <a:cxn ang="0">
                    <a:pos x="358" y="2"/>
                  </a:cxn>
                  <a:cxn ang="0">
                    <a:pos x="372" y="12"/>
                  </a:cxn>
                  <a:cxn ang="0">
                    <a:pos x="414" y="22"/>
                  </a:cxn>
                  <a:cxn ang="0">
                    <a:pos x="428" y="20"/>
                  </a:cxn>
                  <a:cxn ang="0">
                    <a:pos x="416" y="42"/>
                  </a:cxn>
                  <a:cxn ang="0">
                    <a:pos x="424" y="52"/>
                  </a:cxn>
                  <a:cxn ang="0">
                    <a:pos x="418" y="56"/>
                  </a:cxn>
                  <a:cxn ang="0">
                    <a:pos x="408" y="80"/>
                  </a:cxn>
                  <a:cxn ang="0">
                    <a:pos x="442" y="104"/>
                  </a:cxn>
                  <a:cxn ang="0">
                    <a:pos x="468" y="122"/>
                  </a:cxn>
                  <a:cxn ang="0">
                    <a:pos x="490" y="92"/>
                  </a:cxn>
                  <a:cxn ang="0">
                    <a:pos x="510" y="32"/>
                  </a:cxn>
                  <a:cxn ang="0">
                    <a:pos x="532" y="0"/>
                  </a:cxn>
                  <a:cxn ang="0">
                    <a:pos x="538" y="56"/>
                  </a:cxn>
                  <a:cxn ang="0">
                    <a:pos x="558" y="76"/>
                  </a:cxn>
                  <a:cxn ang="0">
                    <a:pos x="560" y="118"/>
                  </a:cxn>
                  <a:cxn ang="0">
                    <a:pos x="568" y="152"/>
                  </a:cxn>
                  <a:cxn ang="0">
                    <a:pos x="596" y="182"/>
                  </a:cxn>
                  <a:cxn ang="0">
                    <a:pos x="604" y="208"/>
                  </a:cxn>
                  <a:cxn ang="0">
                    <a:pos x="618" y="234"/>
                  </a:cxn>
                  <a:cxn ang="0">
                    <a:pos x="634" y="270"/>
                  </a:cxn>
                  <a:cxn ang="0">
                    <a:pos x="626" y="322"/>
                  </a:cxn>
                  <a:cxn ang="0">
                    <a:pos x="594" y="378"/>
                  </a:cxn>
                  <a:cxn ang="0">
                    <a:pos x="558" y="408"/>
                  </a:cxn>
                  <a:cxn ang="0">
                    <a:pos x="500" y="480"/>
                  </a:cxn>
                  <a:cxn ang="0">
                    <a:pos x="476" y="490"/>
                  </a:cxn>
                  <a:cxn ang="0">
                    <a:pos x="438" y="506"/>
                  </a:cxn>
                  <a:cxn ang="0">
                    <a:pos x="416" y="494"/>
                  </a:cxn>
                  <a:cxn ang="0">
                    <a:pos x="378" y="504"/>
                  </a:cxn>
                  <a:cxn ang="0">
                    <a:pos x="346" y="482"/>
                  </a:cxn>
                  <a:cxn ang="0">
                    <a:pos x="348" y="454"/>
                  </a:cxn>
                  <a:cxn ang="0">
                    <a:pos x="346" y="428"/>
                  </a:cxn>
                  <a:cxn ang="0">
                    <a:pos x="326" y="444"/>
                  </a:cxn>
                  <a:cxn ang="0">
                    <a:pos x="346" y="420"/>
                  </a:cxn>
                  <a:cxn ang="0">
                    <a:pos x="338" y="416"/>
                  </a:cxn>
                  <a:cxn ang="0">
                    <a:pos x="304" y="438"/>
                  </a:cxn>
                  <a:cxn ang="0">
                    <a:pos x="304" y="406"/>
                  </a:cxn>
                  <a:cxn ang="0">
                    <a:pos x="268" y="380"/>
                  </a:cxn>
                  <a:cxn ang="0">
                    <a:pos x="150" y="406"/>
                  </a:cxn>
                  <a:cxn ang="0">
                    <a:pos x="74" y="426"/>
                  </a:cxn>
                  <a:cxn ang="0">
                    <a:pos x="14" y="436"/>
                  </a:cxn>
                  <a:cxn ang="0">
                    <a:pos x="0" y="420"/>
                  </a:cxn>
                  <a:cxn ang="0">
                    <a:pos x="30" y="380"/>
                  </a:cxn>
                  <a:cxn ang="0">
                    <a:pos x="26" y="304"/>
                  </a:cxn>
                  <a:cxn ang="0">
                    <a:pos x="20" y="284"/>
                  </a:cxn>
                  <a:cxn ang="0">
                    <a:pos x="30" y="278"/>
                  </a:cxn>
                  <a:cxn ang="0">
                    <a:pos x="40" y="214"/>
                  </a:cxn>
                  <a:cxn ang="0">
                    <a:pos x="52" y="208"/>
                  </a:cxn>
                  <a:cxn ang="0">
                    <a:pos x="76" y="190"/>
                  </a:cxn>
                  <a:cxn ang="0">
                    <a:pos x="110" y="174"/>
                  </a:cxn>
                  <a:cxn ang="0">
                    <a:pos x="162" y="162"/>
                  </a:cxn>
                </a:cxnLst>
                <a:rect l="0" t="0" r="r" b="b"/>
                <a:pathLst>
                  <a:path w="636" h="516">
                    <a:moveTo>
                      <a:pt x="180" y="138"/>
                    </a:moveTo>
                    <a:lnTo>
                      <a:pt x="186" y="132"/>
                    </a:lnTo>
                    <a:lnTo>
                      <a:pt x="188" y="130"/>
                    </a:lnTo>
                    <a:lnTo>
                      <a:pt x="188" y="124"/>
                    </a:lnTo>
                    <a:lnTo>
                      <a:pt x="190" y="118"/>
                    </a:lnTo>
                    <a:lnTo>
                      <a:pt x="194" y="112"/>
                    </a:lnTo>
                    <a:lnTo>
                      <a:pt x="198" y="108"/>
                    </a:lnTo>
                    <a:lnTo>
                      <a:pt x="202" y="106"/>
                    </a:lnTo>
                    <a:lnTo>
                      <a:pt x="204" y="112"/>
                    </a:lnTo>
                    <a:lnTo>
                      <a:pt x="206" y="114"/>
                    </a:lnTo>
                    <a:lnTo>
                      <a:pt x="210" y="116"/>
                    </a:lnTo>
                    <a:lnTo>
                      <a:pt x="212" y="114"/>
                    </a:lnTo>
                    <a:lnTo>
                      <a:pt x="212" y="112"/>
                    </a:lnTo>
                    <a:lnTo>
                      <a:pt x="214" y="110"/>
                    </a:lnTo>
                    <a:lnTo>
                      <a:pt x="212" y="106"/>
                    </a:lnTo>
                    <a:lnTo>
                      <a:pt x="212" y="100"/>
                    </a:lnTo>
                    <a:lnTo>
                      <a:pt x="220" y="100"/>
                    </a:lnTo>
                    <a:lnTo>
                      <a:pt x="226" y="100"/>
                    </a:lnTo>
                    <a:lnTo>
                      <a:pt x="226" y="92"/>
                    </a:lnTo>
                    <a:lnTo>
                      <a:pt x="230" y="86"/>
                    </a:lnTo>
                    <a:lnTo>
                      <a:pt x="232" y="82"/>
                    </a:lnTo>
                    <a:lnTo>
                      <a:pt x="236" y="80"/>
                    </a:lnTo>
                    <a:lnTo>
                      <a:pt x="240" y="78"/>
                    </a:lnTo>
                    <a:lnTo>
                      <a:pt x="242" y="72"/>
                    </a:lnTo>
                    <a:lnTo>
                      <a:pt x="244" y="68"/>
                    </a:lnTo>
                    <a:lnTo>
                      <a:pt x="248" y="64"/>
                    </a:lnTo>
                    <a:lnTo>
                      <a:pt x="262" y="58"/>
                    </a:lnTo>
                    <a:lnTo>
                      <a:pt x="270" y="56"/>
                    </a:lnTo>
                    <a:lnTo>
                      <a:pt x="276" y="54"/>
                    </a:lnTo>
                    <a:lnTo>
                      <a:pt x="284" y="62"/>
                    </a:lnTo>
                    <a:lnTo>
                      <a:pt x="288" y="66"/>
                    </a:lnTo>
                    <a:lnTo>
                      <a:pt x="288" y="72"/>
                    </a:lnTo>
                    <a:lnTo>
                      <a:pt x="288" y="74"/>
                    </a:lnTo>
                    <a:lnTo>
                      <a:pt x="286" y="76"/>
                    </a:lnTo>
                    <a:lnTo>
                      <a:pt x="290" y="74"/>
                    </a:lnTo>
                    <a:lnTo>
                      <a:pt x="294" y="72"/>
                    </a:lnTo>
                    <a:lnTo>
                      <a:pt x="298" y="74"/>
                    </a:lnTo>
                    <a:lnTo>
                      <a:pt x="302" y="74"/>
                    </a:lnTo>
                    <a:lnTo>
                      <a:pt x="306" y="72"/>
                    </a:lnTo>
                    <a:lnTo>
                      <a:pt x="310" y="70"/>
                    </a:lnTo>
                    <a:lnTo>
                      <a:pt x="308" y="62"/>
                    </a:lnTo>
                    <a:lnTo>
                      <a:pt x="310" y="56"/>
                    </a:lnTo>
                    <a:lnTo>
                      <a:pt x="314" y="54"/>
                    </a:lnTo>
                    <a:lnTo>
                      <a:pt x="320" y="50"/>
                    </a:lnTo>
                    <a:lnTo>
                      <a:pt x="326" y="48"/>
                    </a:lnTo>
                    <a:lnTo>
                      <a:pt x="324" y="44"/>
                    </a:lnTo>
                    <a:lnTo>
                      <a:pt x="322" y="42"/>
                    </a:lnTo>
                    <a:lnTo>
                      <a:pt x="324" y="38"/>
                    </a:lnTo>
                    <a:lnTo>
                      <a:pt x="326" y="34"/>
                    </a:lnTo>
                    <a:lnTo>
                      <a:pt x="334" y="28"/>
                    </a:lnTo>
                    <a:lnTo>
                      <a:pt x="344" y="26"/>
                    </a:lnTo>
                    <a:lnTo>
                      <a:pt x="354" y="26"/>
                    </a:lnTo>
                    <a:lnTo>
                      <a:pt x="358" y="24"/>
                    </a:lnTo>
                    <a:lnTo>
                      <a:pt x="360" y="24"/>
                    </a:lnTo>
                    <a:lnTo>
                      <a:pt x="362" y="20"/>
                    </a:lnTo>
                    <a:lnTo>
                      <a:pt x="364" y="16"/>
                    </a:lnTo>
                    <a:lnTo>
                      <a:pt x="364" y="12"/>
                    </a:lnTo>
                    <a:lnTo>
                      <a:pt x="358" y="10"/>
                    </a:lnTo>
                    <a:lnTo>
                      <a:pt x="358" y="8"/>
                    </a:lnTo>
                    <a:lnTo>
                      <a:pt x="358" y="2"/>
                    </a:lnTo>
                    <a:lnTo>
                      <a:pt x="362" y="2"/>
                    </a:lnTo>
                    <a:lnTo>
                      <a:pt x="364" y="4"/>
                    </a:lnTo>
                    <a:lnTo>
                      <a:pt x="368" y="6"/>
                    </a:lnTo>
                    <a:lnTo>
                      <a:pt x="366" y="10"/>
                    </a:lnTo>
                    <a:lnTo>
                      <a:pt x="368" y="10"/>
                    </a:lnTo>
                    <a:lnTo>
                      <a:pt x="372" y="12"/>
                    </a:lnTo>
                    <a:lnTo>
                      <a:pt x="374" y="12"/>
                    </a:lnTo>
                    <a:lnTo>
                      <a:pt x="384" y="14"/>
                    </a:lnTo>
                    <a:lnTo>
                      <a:pt x="390" y="18"/>
                    </a:lnTo>
                    <a:lnTo>
                      <a:pt x="398" y="22"/>
                    </a:lnTo>
                    <a:lnTo>
                      <a:pt x="408" y="22"/>
                    </a:lnTo>
                    <a:lnTo>
                      <a:pt x="414" y="22"/>
                    </a:lnTo>
                    <a:lnTo>
                      <a:pt x="416" y="18"/>
                    </a:lnTo>
                    <a:lnTo>
                      <a:pt x="418" y="24"/>
                    </a:lnTo>
                    <a:lnTo>
                      <a:pt x="422" y="26"/>
                    </a:lnTo>
                    <a:lnTo>
                      <a:pt x="424" y="22"/>
                    </a:lnTo>
                    <a:lnTo>
                      <a:pt x="424" y="20"/>
                    </a:lnTo>
                    <a:lnTo>
                      <a:pt x="428" y="20"/>
                    </a:lnTo>
                    <a:lnTo>
                      <a:pt x="432" y="22"/>
                    </a:lnTo>
                    <a:lnTo>
                      <a:pt x="434" y="26"/>
                    </a:lnTo>
                    <a:lnTo>
                      <a:pt x="432" y="30"/>
                    </a:lnTo>
                    <a:lnTo>
                      <a:pt x="428" y="36"/>
                    </a:lnTo>
                    <a:lnTo>
                      <a:pt x="422" y="40"/>
                    </a:lnTo>
                    <a:lnTo>
                      <a:pt x="416" y="42"/>
                    </a:lnTo>
                    <a:lnTo>
                      <a:pt x="416" y="48"/>
                    </a:lnTo>
                    <a:lnTo>
                      <a:pt x="416" y="50"/>
                    </a:lnTo>
                    <a:lnTo>
                      <a:pt x="418" y="52"/>
                    </a:lnTo>
                    <a:lnTo>
                      <a:pt x="420" y="54"/>
                    </a:lnTo>
                    <a:lnTo>
                      <a:pt x="422" y="54"/>
                    </a:lnTo>
                    <a:lnTo>
                      <a:pt x="424" y="52"/>
                    </a:lnTo>
                    <a:lnTo>
                      <a:pt x="426" y="54"/>
                    </a:lnTo>
                    <a:lnTo>
                      <a:pt x="428" y="54"/>
                    </a:lnTo>
                    <a:lnTo>
                      <a:pt x="426" y="58"/>
                    </a:lnTo>
                    <a:lnTo>
                      <a:pt x="422" y="60"/>
                    </a:lnTo>
                    <a:lnTo>
                      <a:pt x="420" y="60"/>
                    </a:lnTo>
                    <a:lnTo>
                      <a:pt x="418" y="56"/>
                    </a:lnTo>
                    <a:lnTo>
                      <a:pt x="418" y="54"/>
                    </a:lnTo>
                    <a:lnTo>
                      <a:pt x="410" y="60"/>
                    </a:lnTo>
                    <a:lnTo>
                      <a:pt x="406" y="64"/>
                    </a:lnTo>
                    <a:lnTo>
                      <a:pt x="404" y="70"/>
                    </a:lnTo>
                    <a:lnTo>
                      <a:pt x="404" y="76"/>
                    </a:lnTo>
                    <a:lnTo>
                      <a:pt x="408" y="80"/>
                    </a:lnTo>
                    <a:lnTo>
                      <a:pt x="410" y="84"/>
                    </a:lnTo>
                    <a:lnTo>
                      <a:pt x="414" y="86"/>
                    </a:lnTo>
                    <a:lnTo>
                      <a:pt x="424" y="90"/>
                    </a:lnTo>
                    <a:lnTo>
                      <a:pt x="430" y="92"/>
                    </a:lnTo>
                    <a:lnTo>
                      <a:pt x="434" y="96"/>
                    </a:lnTo>
                    <a:lnTo>
                      <a:pt x="442" y="104"/>
                    </a:lnTo>
                    <a:lnTo>
                      <a:pt x="456" y="108"/>
                    </a:lnTo>
                    <a:lnTo>
                      <a:pt x="458" y="110"/>
                    </a:lnTo>
                    <a:lnTo>
                      <a:pt x="462" y="116"/>
                    </a:lnTo>
                    <a:lnTo>
                      <a:pt x="464" y="120"/>
                    </a:lnTo>
                    <a:lnTo>
                      <a:pt x="466" y="122"/>
                    </a:lnTo>
                    <a:lnTo>
                      <a:pt x="468" y="122"/>
                    </a:lnTo>
                    <a:lnTo>
                      <a:pt x="472" y="122"/>
                    </a:lnTo>
                    <a:lnTo>
                      <a:pt x="476" y="120"/>
                    </a:lnTo>
                    <a:lnTo>
                      <a:pt x="480" y="116"/>
                    </a:lnTo>
                    <a:lnTo>
                      <a:pt x="484" y="110"/>
                    </a:lnTo>
                    <a:lnTo>
                      <a:pt x="486" y="104"/>
                    </a:lnTo>
                    <a:lnTo>
                      <a:pt x="490" y="92"/>
                    </a:lnTo>
                    <a:lnTo>
                      <a:pt x="494" y="84"/>
                    </a:lnTo>
                    <a:lnTo>
                      <a:pt x="498" y="76"/>
                    </a:lnTo>
                    <a:lnTo>
                      <a:pt x="500" y="64"/>
                    </a:lnTo>
                    <a:lnTo>
                      <a:pt x="502" y="52"/>
                    </a:lnTo>
                    <a:lnTo>
                      <a:pt x="504" y="42"/>
                    </a:lnTo>
                    <a:lnTo>
                      <a:pt x="510" y="32"/>
                    </a:lnTo>
                    <a:lnTo>
                      <a:pt x="514" y="24"/>
                    </a:lnTo>
                    <a:lnTo>
                      <a:pt x="520" y="6"/>
                    </a:lnTo>
                    <a:lnTo>
                      <a:pt x="522" y="0"/>
                    </a:lnTo>
                    <a:lnTo>
                      <a:pt x="524" y="0"/>
                    </a:lnTo>
                    <a:lnTo>
                      <a:pt x="528" y="0"/>
                    </a:lnTo>
                    <a:lnTo>
                      <a:pt x="532" y="0"/>
                    </a:lnTo>
                    <a:lnTo>
                      <a:pt x="534" y="4"/>
                    </a:lnTo>
                    <a:lnTo>
                      <a:pt x="532" y="12"/>
                    </a:lnTo>
                    <a:lnTo>
                      <a:pt x="532" y="20"/>
                    </a:lnTo>
                    <a:lnTo>
                      <a:pt x="532" y="26"/>
                    </a:lnTo>
                    <a:lnTo>
                      <a:pt x="536" y="44"/>
                    </a:lnTo>
                    <a:lnTo>
                      <a:pt x="538" y="56"/>
                    </a:lnTo>
                    <a:lnTo>
                      <a:pt x="540" y="60"/>
                    </a:lnTo>
                    <a:lnTo>
                      <a:pt x="542" y="62"/>
                    </a:lnTo>
                    <a:lnTo>
                      <a:pt x="546" y="62"/>
                    </a:lnTo>
                    <a:lnTo>
                      <a:pt x="548" y="60"/>
                    </a:lnTo>
                    <a:lnTo>
                      <a:pt x="552" y="68"/>
                    </a:lnTo>
                    <a:lnTo>
                      <a:pt x="558" y="76"/>
                    </a:lnTo>
                    <a:lnTo>
                      <a:pt x="554" y="82"/>
                    </a:lnTo>
                    <a:lnTo>
                      <a:pt x="556" y="90"/>
                    </a:lnTo>
                    <a:lnTo>
                      <a:pt x="554" y="100"/>
                    </a:lnTo>
                    <a:lnTo>
                      <a:pt x="556" y="106"/>
                    </a:lnTo>
                    <a:lnTo>
                      <a:pt x="558" y="110"/>
                    </a:lnTo>
                    <a:lnTo>
                      <a:pt x="560" y="118"/>
                    </a:lnTo>
                    <a:lnTo>
                      <a:pt x="560" y="124"/>
                    </a:lnTo>
                    <a:lnTo>
                      <a:pt x="562" y="132"/>
                    </a:lnTo>
                    <a:lnTo>
                      <a:pt x="564" y="136"/>
                    </a:lnTo>
                    <a:lnTo>
                      <a:pt x="564" y="144"/>
                    </a:lnTo>
                    <a:lnTo>
                      <a:pt x="564" y="148"/>
                    </a:lnTo>
                    <a:lnTo>
                      <a:pt x="568" y="152"/>
                    </a:lnTo>
                    <a:lnTo>
                      <a:pt x="576" y="158"/>
                    </a:lnTo>
                    <a:lnTo>
                      <a:pt x="584" y="162"/>
                    </a:lnTo>
                    <a:lnTo>
                      <a:pt x="592" y="168"/>
                    </a:lnTo>
                    <a:lnTo>
                      <a:pt x="594" y="174"/>
                    </a:lnTo>
                    <a:lnTo>
                      <a:pt x="594" y="178"/>
                    </a:lnTo>
                    <a:lnTo>
                      <a:pt x="596" y="182"/>
                    </a:lnTo>
                    <a:lnTo>
                      <a:pt x="598" y="186"/>
                    </a:lnTo>
                    <a:lnTo>
                      <a:pt x="598" y="200"/>
                    </a:lnTo>
                    <a:lnTo>
                      <a:pt x="598" y="206"/>
                    </a:lnTo>
                    <a:lnTo>
                      <a:pt x="600" y="208"/>
                    </a:lnTo>
                    <a:lnTo>
                      <a:pt x="602" y="208"/>
                    </a:lnTo>
                    <a:lnTo>
                      <a:pt x="604" y="208"/>
                    </a:lnTo>
                    <a:lnTo>
                      <a:pt x="604" y="206"/>
                    </a:lnTo>
                    <a:lnTo>
                      <a:pt x="612" y="216"/>
                    </a:lnTo>
                    <a:lnTo>
                      <a:pt x="614" y="220"/>
                    </a:lnTo>
                    <a:lnTo>
                      <a:pt x="614" y="228"/>
                    </a:lnTo>
                    <a:lnTo>
                      <a:pt x="616" y="232"/>
                    </a:lnTo>
                    <a:lnTo>
                      <a:pt x="618" y="234"/>
                    </a:lnTo>
                    <a:lnTo>
                      <a:pt x="620" y="236"/>
                    </a:lnTo>
                    <a:lnTo>
                      <a:pt x="622" y="238"/>
                    </a:lnTo>
                    <a:lnTo>
                      <a:pt x="632" y="250"/>
                    </a:lnTo>
                    <a:lnTo>
                      <a:pt x="634" y="258"/>
                    </a:lnTo>
                    <a:lnTo>
                      <a:pt x="636" y="264"/>
                    </a:lnTo>
                    <a:lnTo>
                      <a:pt x="634" y="270"/>
                    </a:lnTo>
                    <a:lnTo>
                      <a:pt x="632" y="276"/>
                    </a:lnTo>
                    <a:lnTo>
                      <a:pt x="630" y="280"/>
                    </a:lnTo>
                    <a:lnTo>
                      <a:pt x="630" y="288"/>
                    </a:lnTo>
                    <a:lnTo>
                      <a:pt x="630" y="300"/>
                    </a:lnTo>
                    <a:lnTo>
                      <a:pt x="630" y="312"/>
                    </a:lnTo>
                    <a:lnTo>
                      <a:pt x="626" y="322"/>
                    </a:lnTo>
                    <a:lnTo>
                      <a:pt x="624" y="328"/>
                    </a:lnTo>
                    <a:lnTo>
                      <a:pt x="620" y="336"/>
                    </a:lnTo>
                    <a:lnTo>
                      <a:pt x="608" y="352"/>
                    </a:lnTo>
                    <a:lnTo>
                      <a:pt x="600" y="370"/>
                    </a:lnTo>
                    <a:lnTo>
                      <a:pt x="598" y="376"/>
                    </a:lnTo>
                    <a:lnTo>
                      <a:pt x="594" y="378"/>
                    </a:lnTo>
                    <a:lnTo>
                      <a:pt x="590" y="382"/>
                    </a:lnTo>
                    <a:lnTo>
                      <a:pt x="586" y="384"/>
                    </a:lnTo>
                    <a:lnTo>
                      <a:pt x="582" y="390"/>
                    </a:lnTo>
                    <a:lnTo>
                      <a:pt x="578" y="394"/>
                    </a:lnTo>
                    <a:lnTo>
                      <a:pt x="566" y="402"/>
                    </a:lnTo>
                    <a:lnTo>
                      <a:pt x="558" y="408"/>
                    </a:lnTo>
                    <a:lnTo>
                      <a:pt x="552" y="416"/>
                    </a:lnTo>
                    <a:lnTo>
                      <a:pt x="548" y="424"/>
                    </a:lnTo>
                    <a:lnTo>
                      <a:pt x="542" y="432"/>
                    </a:lnTo>
                    <a:lnTo>
                      <a:pt x="522" y="454"/>
                    </a:lnTo>
                    <a:lnTo>
                      <a:pt x="510" y="466"/>
                    </a:lnTo>
                    <a:lnTo>
                      <a:pt x="500" y="480"/>
                    </a:lnTo>
                    <a:lnTo>
                      <a:pt x="498" y="482"/>
                    </a:lnTo>
                    <a:lnTo>
                      <a:pt x="496" y="486"/>
                    </a:lnTo>
                    <a:lnTo>
                      <a:pt x="496" y="488"/>
                    </a:lnTo>
                    <a:lnTo>
                      <a:pt x="494" y="490"/>
                    </a:lnTo>
                    <a:lnTo>
                      <a:pt x="484" y="490"/>
                    </a:lnTo>
                    <a:lnTo>
                      <a:pt x="476" y="490"/>
                    </a:lnTo>
                    <a:lnTo>
                      <a:pt x="468" y="492"/>
                    </a:lnTo>
                    <a:lnTo>
                      <a:pt x="462" y="492"/>
                    </a:lnTo>
                    <a:lnTo>
                      <a:pt x="454" y="496"/>
                    </a:lnTo>
                    <a:lnTo>
                      <a:pt x="448" y="500"/>
                    </a:lnTo>
                    <a:lnTo>
                      <a:pt x="442" y="504"/>
                    </a:lnTo>
                    <a:lnTo>
                      <a:pt x="438" y="506"/>
                    </a:lnTo>
                    <a:lnTo>
                      <a:pt x="434" y="508"/>
                    </a:lnTo>
                    <a:lnTo>
                      <a:pt x="432" y="512"/>
                    </a:lnTo>
                    <a:lnTo>
                      <a:pt x="428" y="514"/>
                    </a:lnTo>
                    <a:lnTo>
                      <a:pt x="426" y="516"/>
                    </a:lnTo>
                    <a:lnTo>
                      <a:pt x="420" y="506"/>
                    </a:lnTo>
                    <a:lnTo>
                      <a:pt x="416" y="494"/>
                    </a:lnTo>
                    <a:lnTo>
                      <a:pt x="412" y="494"/>
                    </a:lnTo>
                    <a:lnTo>
                      <a:pt x="410" y="496"/>
                    </a:lnTo>
                    <a:lnTo>
                      <a:pt x="408" y="500"/>
                    </a:lnTo>
                    <a:lnTo>
                      <a:pt x="386" y="514"/>
                    </a:lnTo>
                    <a:lnTo>
                      <a:pt x="380" y="510"/>
                    </a:lnTo>
                    <a:lnTo>
                      <a:pt x="378" y="504"/>
                    </a:lnTo>
                    <a:lnTo>
                      <a:pt x="370" y="504"/>
                    </a:lnTo>
                    <a:lnTo>
                      <a:pt x="364" y="504"/>
                    </a:lnTo>
                    <a:lnTo>
                      <a:pt x="358" y="500"/>
                    </a:lnTo>
                    <a:lnTo>
                      <a:pt x="354" y="494"/>
                    </a:lnTo>
                    <a:lnTo>
                      <a:pt x="348" y="488"/>
                    </a:lnTo>
                    <a:lnTo>
                      <a:pt x="346" y="482"/>
                    </a:lnTo>
                    <a:lnTo>
                      <a:pt x="346" y="478"/>
                    </a:lnTo>
                    <a:lnTo>
                      <a:pt x="350" y="474"/>
                    </a:lnTo>
                    <a:lnTo>
                      <a:pt x="352" y="470"/>
                    </a:lnTo>
                    <a:lnTo>
                      <a:pt x="354" y="464"/>
                    </a:lnTo>
                    <a:lnTo>
                      <a:pt x="352" y="458"/>
                    </a:lnTo>
                    <a:lnTo>
                      <a:pt x="348" y="454"/>
                    </a:lnTo>
                    <a:lnTo>
                      <a:pt x="344" y="452"/>
                    </a:lnTo>
                    <a:lnTo>
                      <a:pt x="340" y="448"/>
                    </a:lnTo>
                    <a:lnTo>
                      <a:pt x="346" y="440"/>
                    </a:lnTo>
                    <a:lnTo>
                      <a:pt x="346" y="436"/>
                    </a:lnTo>
                    <a:lnTo>
                      <a:pt x="348" y="432"/>
                    </a:lnTo>
                    <a:lnTo>
                      <a:pt x="346" y="428"/>
                    </a:lnTo>
                    <a:lnTo>
                      <a:pt x="342" y="428"/>
                    </a:lnTo>
                    <a:lnTo>
                      <a:pt x="340" y="430"/>
                    </a:lnTo>
                    <a:lnTo>
                      <a:pt x="336" y="436"/>
                    </a:lnTo>
                    <a:lnTo>
                      <a:pt x="332" y="442"/>
                    </a:lnTo>
                    <a:lnTo>
                      <a:pt x="330" y="444"/>
                    </a:lnTo>
                    <a:lnTo>
                      <a:pt x="326" y="444"/>
                    </a:lnTo>
                    <a:lnTo>
                      <a:pt x="324" y="444"/>
                    </a:lnTo>
                    <a:lnTo>
                      <a:pt x="322" y="442"/>
                    </a:lnTo>
                    <a:lnTo>
                      <a:pt x="324" y="438"/>
                    </a:lnTo>
                    <a:lnTo>
                      <a:pt x="328" y="438"/>
                    </a:lnTo>
                    <a:lnTo>
                      <a:pt x="332" y="436"/>
                    </a:lnTo>
                    <a:lnTo>
                      <a:pt x="346" y="420"/>
                    </a:lnTo>
                    <a:lnTo>
                      <a:pt x="352" y="412"/>
                    </a:lnTo>
                    <a:lnTo>
                      <a:pt x="356" y="404"/>
                    </a:lnTo>
                    <a:lnTo>
                      <a:pt x="350" y="404"/>
                    </a:lnTo>
                    <a:lnTo>
                      <a:pt x="342" y="404"/>
                    </a:lnTo>
                    <a:lnTo>
                      <a:pt x="340" y="410"/>
                    </a:lnTo>
                    <a:lnTo>
                      <a:pt x="338" y="416"/>
                    </a:lnTo>
                    <a:lnTo>
                      <a:pt x="332" y="416"/>
                    </a:lnTo>
                    <a:lnTo>
                      <a:pt x="326" y="418"/>
                    </a:lnTo>
                    <a:lnTo>
                      <a:pt x="318" y="424"/>
                    </a:lnTo>
                    <a:lnTo>
                      <a:pt x="312" y="432"/>
                    </a:lnTo>
                    <a:lnTo>
                      <a:pt x="310" y="438"/>
                    </a:lnTo>
                    <a:lnTo>
                      <a:pt x="304" y="438"/>
                    </a:lnTo>
                    <a:lnTo>
                      <a:pt x="304" y="436"/>
                    </a:lnTo>
                    <a:lnTo>
                      <a:pt x="304" y="434"/>
                    </a:lnTo>
                    <a:lnTo>
                      <a:pt x="304" y="426"/>
                    </a:lnTo>
                    <a:lnTo>
                      <a:pt x="306" y="418"/>
                    </a:lnTo>
                    <a:lnTo>
                      <a:pt x="304" y="410"/>
                    </a:lnTo>
                    <a:lnTo>
                      <a:pt x="304" y="406"/>
                    </a:lnTo>
                    <a:lnTo>
                      <a:pt x="302" y="400"/>
                    </a:lnTo>
                    <a:lnTo>
                      <a:pt x="300" y="392"/>
                    </a:lnTo>
                    <a:lnTo>
                      <a:pt x="286" y="388"/>
                    </a:lnTo>
                    <a:lnTo>
                      <a:pt x="276" y="384"/>
                    </a:lnTo>
                    <a:lnTo>
                      <a:pt x="270" y="382"/>
                    </a:lnTo>
                    <a:lnTo>
                      <a:pt x="268" y="380"/>
                    </a:lnTo>
                    <a:lnTo>
                      <a:pt x="264" y="378"/>
                    </a:lnTo>
                    <a:lnTo>
                      <a:pt x="232" y="378"/>
                    </a:lnTo>
                    <a:lnTo>
                      <a:pt x="208" y="392"/>
                    </a:lnTo>
                    <a:lnTo>
                      <a:pt x="176" y="392"/>
                    </a:lnTo>
                    <a:lnTo>
                      <a:pt x="164" y="398"/>
                    </a:lnTo>
                    <a:lnTo>
                      <a:pt x="150" y="406"/>
                    </a:lnTo>
                    <a:lnTo>
                      <a:pt x="134" y="416"/>
                    </a:lnTo>
                    <a:lnTo>
                      <a:pt x="122" y="420"/>
                    </a:lnTo>
                    <a:lnTo>
                      <a:pt x="108" y="422"/>
                    </a:lnTo>
                    <a:lnTo>
                      <a:pt x="92" y="422"/>
                    </a:lnTo>
                    <a:lnTo>
                      <a:pt x="84" y="424"/>
                    </a:lnTo>
                    <a:lnTo>
                      <a:pt x="74" y="426"/>
                    </a:lnTo>
                    <a:lnTo>
                      <a:pt x="58" y="432"/>
                    </a:lnTo>
                    <a:lnTo>
                      <a:pt x="42" y="438"/>
                    </a:lnTo>
                    <a:lnTo>
                      <a:pt x="32" y="440"/>
                    </a:lnTo>
                    <a:lnTo>
                      <a:pt x="24" y="440"/>
                    </a:lnTo>
                    <a:lnTo>
                      <a:pt x="18" y="440"/>
                    </a:lnTo>
                    <a:lnTo>
                      <a:pt x="14" y="436"/>
                    </a:lnTo>
                    <a:lnTo>
                      <a:pt x="6" y="430"/>
                    </a:lnTo>
                    <a:lnTo>
                      <a:pt x="4" y="428"/>
                    </a:lnTo>
                    <a:lnTo>
                      <a:pt x="2" y="428"/>
                    </a:lnTo>
                    <a:lnTo>
                      <a:pt x="0" y="426"/>
                    </a:lnTo>
                    <a:lnTo>
                      <a:pt x="0" y="422"/>
                    </a:lnTo>
                    <a:lnTo>
                      <a:pt x="0" y="420"/>
                    </a:lnTo>
                    <a:lnTo>
                      <a:pt x="2" y="416"/>
                    </a:lnTo>
                    <a:lnTo>
                      <a:pt x="4" y="414"/>
                    </a:lnTo>
                    <a:lnTo>
                      <a:pt x="10" y="412"/>
                    </a:lnTo>
                    <a:lnTo>
                      <a:pt x="16" y="408"/>
                    </a:lnTo>
                    <a:lnTo>
                      <a:pt x="24" y="394"/>
                    </a:lnTo>
                    <a:lnTo>
                      <a:pt x="30" y="380"/>
                    </a:lnTo>
                    <a:lnTo>
                      <a:pt x="28" y="376"/>
                    </a:lnTo>
                    <a:lnTo>
                      <a:pt x="26" y="372"/>
                    </a:lnTo>
                    <a:lnTo>
                      <a:pt x="26" y="362"/>
                    </a:lnTo>
                    <a:lnTo>
                      <a:pt x="26" y="328"/>
                    </a:lnTo>
                    <a:lnTo>
                      <a:pt x="26" y="316"/>
                    </a:lnTo>
                    <a:lnTo>
                      <a:pt x="26" y="304"/>
                    </a:lnTo>
                    <a:lnTo>
                      <a:pt x="24" y="296"/>
                    </a:lnTo>
                    <a:lnTo>
                      <a:pt x="20" y="288"/>
                    </a:lnTo>
                    <a:lnTo>
                      <a:pt x="16" y="280"/>
                    </a:lnTo>
                    <a:lnTo>
                      <a:pt x="16" y="276"/>
                    </a:lnTo>
                    <a:lnTo>
                      <a:pt x="20" y="280"/>
                    </a:lnTo>
                    <a:lnTo>
                      <a:pt x="20" y="284"/>
                    </a:lnTo>
                    <a:lnTo>
                      <a:pt x="26" y="284"/>
                    </a:lnTo>
                    <a:lnTo>
                      <a:pt x="24" y="278"/>
                    </a:lnTo>
                    <a:lnTo>
                      <a:pt x="24" y="272"/>
                    </a:lnTo>
                    <a:lnTo>
                      <a:pt x="28" y="276"/>
                    </a:lnTo>
                    <a:lnTo>
                      <a:pt x="28" y="280"/>
                    </a:lnTo>
                    <a:lnTo>
                      <a:pt x="30" y="278"/>
                    </a:lnTo>
                    <a:lnTo>
                      <a:pt x="30" y="276"/>
                    </a:lnTo>
                    <a:lnTo>
                      <a:pt x="32" y="272"/>
                    </a:lnTo>
                    <a:lnTo>
                      <a:pt x="28" y="256"/>
                    </a:lnTo>
                    <a:lnTo>
                      <a:pt x="36" y="236"/>
                    </a:lnTo>
                    <a:lnTo>
                      <a:pt x="38" y="226"/>
                    </a:lnTo>
                    <a:lnTo>
                      <a:pt x="40" y="214"/>
                    </a:lnTo>
                    <a:lnTo>
                      <a:pt x="40" y="208"/>
                    </a:lnTo>
                    <a:lnTo>
                      <a:pt x="44" y="202"/>
                    </a:lnTo>
                    <a:lnTo>
                      <a:pt x="46" y="206"/>
                    </a:lnTo>
                    <a:lnTo>
                      <a:pt x="48" y="208"/>
                    </a:lnTo>
                    <a:lnTo>
                      <a:pt x="48" y="210"/>
                    </a:lnTo>
                    <a:lnTo>
                      <a:pt x="52" y="208"/>
                    </a:lnTo>
                    <a:lnTo>
                      <a:pt x="54" y="206"/>
                    </a:lnTo>
                    <a:lnTo>
                      <a:pt x="56" y="202"/>
                    </a:lnTo>
                    <a:lnTo>
                      <a:pt x="58" y="198"/>
                    </a:lnTo>
                    <a:lnTo>
                      <a:pt x="62" y="196"/>
                    </a:lnTo>
                    <a:lnTo>
                      <a:pt x="70" y="194"/>
                    </a:lnTo>
                    <a:lnTo>
                      <a:pt x="76" y="190"/>
                    </a:lnTo>
                    <a:lnTo>
                      <a:pt x="78" y="188"/>
                    </a:lnTo>
                    <a:lnTo>
                      <a:pt x="82" y="186"/>
                    </a:lnTo>
                    <a:lnTo>
                      <a:pt x="86" y="182"/>
                    </a:lnTo>
                    <a:lnTo>
                      <a:pt x="94" y="178"/>
                    </a:lnTo>
                    <a:lnTo>
                      <a:pt x="102" y="176"/>
                    </a:lnTo>
                    <a:lnTo>
                      <a:pt x="110" y="174"/>
                    </a:lnTo>
                    <a:lnTo>
                      <a:pt x="118" y="172"/>
                    </a:lnTo>
                    <a:lnTo>
                      <a:pt x="128" y="168"/>
                    </a:lnTo>
                    <a:lnTo>
                      <a:pt x="138" y="166"/>
                    </a:lnTo>
                    <a:lnTo>
                      <a:pt x="146" y="166"/>
                    </a:lnTo>
                    <a:lnTo>
                      <a:pt x="156" y="164"/>
                    </a:lnTo>
                    <a:lnTo>
                      <a:pt x="162" y="162"/>
                    </a:lnTo>
                    <a:lnTo>
                      <a:pt x="168" y="152"/>
                    </a:lnTo>
                    <a:lnTo>
                      <a:pt x="180" y="13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2" name="Freeform 214"/>
              <p:cNvSpPr>
                <a:spLocks noChangeAspect="1"/>
              </p:cNvSpPr>
              <p:nvPr/>
            </p:nvSpPr>
            <p:spPr bwMode="auto">
              <a:xfrm>
                <a:off x="6376904" y="4813638"/>
                <a:ext cx="87826" cy="42939"/>
              </a:xfrm>
              <a:custGeom>
                <a:avLst/>
                <a:gdLst/>
                <a:ahLst/>
                <a:cxnLst>
                  <a:cxn ang="0">
                    <a:pos x="64" y="0"/>
                  </a:cxn>
                  <a:cxn ang="0">
                    <a:pos x="52" y="10"/>
                  </a:cxn>
                  <a:cxn ang="0">
                    <a:pos x="36" y="16"/>
                  </a:cxn>
                  <a:cxn ang="0">
                    <a:pos x="32" y="18"/>
                  </a:cxn>
                  <a:cxn ang="0">
                    <a:pos x="28" y="20"/>
                  </a:cxn>
                  <a:cxn ang="0">
                    <a:pos x="22" y="28"/>
                  </a:cxn>
                  <a:cxn ang="0">
                    <a:pos x="14" y="36"/>
                  </a:cxn>
                  <a:cxn ang="0">
                    <a:pos x="8" y="38"/>
                  </a:cxn>
                  <a:cxn ang="0">
                    <a:pos x="2" y="38"/>
                  </a:cxn>
                  <a:cxn ang="0">
                    <a:pos x="0" y="38"/>
                  </a:cxn>
                  <a:cxn ang="0">
                    <a:pos x="0" y="34"/>
                  </a:cxn>
                  <a:cxn ang="0">
                    <a:pos x="0" y="30"/>
                  </a:cxn>
                  <a:cxn ang="0">
                    <a:pos x="2" y="26"/>
                  </a:cxn>
                  <a:cxn ang="0">
                    <a:pos x="10" y="20"/>
                  </a:cxn>
                  <a:cxn ang="0">
                    <a:pos x="26" y="14"/>
                  </a:cxn>
                  <a:cxn ang="0">
                    <a:pos x="28" y="12"/>
                  </a:cxn>
                  <a:cxn ang="0">
                    <a:pos x="30" y="8"/>
                  </a:cxn>
                  <a:cxn ang="0">
                    <a:pos x="32" y="6"/>
                  </a:cxn>
                  <a:cxn ang="0">
                    <a:pos x="36" y="4"/>
                  </a:cxn>
                  <a:cxn ang="0">
                    <a:pos x="46" y="2"/>
                  </a:cxn>
                  <a:cxn ang="0">
                    <a:pos x="54" y="0"/>
                  </a:cxn>
                  <a:cxn ang="0">
                    <a:pos x="64" y="0"/>
                  </a:cxn>
                  <a:cxn ang="0">
                    <a:pos x="64" y="2"/>
                  </a:cxn>
                  <a:cxn ang="0">
                    <a:pos x="64" y="0"/>
                  </a:cxn>
                </a:cxnLst>
                <a:rect l="0" t="0" r="r" b="b"/>
                <a:pathLst>
                  <a:path w="64" h="38">
                    <a:moveTo>
                      <a:pt x="64" y="0"/>
                    </a:moveTo>
                    <a:lnTo>
                      <a:pt x="52" y="10"/>
                    </a:lnTo>
                    <a:lnTo>
                      <a:pt x="36" y="16"/>
                    </a:lnTo>
                    <a:lnTo>
                      <a:pt x="32" y="18"/>
                    </a:lnTo>
                    <a:lnTo>
                      <a:pt x="28" y="20"/>
                    </a:lnTo>
                    <a:lnTo>
                      <a:pt x="22" y="28"/>
                    </a:lnTo>
                    <a:lnTo>
                      <a:pt x="14" y="36"/>
                    </a:lnTo>
                    <a:lnTo>
                      <a:pt x="8" y="38"/>
                    </a:lnTo>
                    <a:lnTo>
                      <a:pt x="2" y="38"/>
                    </a:lnTo>
                    <a:lnTo>
                      <a:pt x="0" y="38"/>
                    </a:lnTo>
                    <a:lnTo>
                      <a:pt x="0" y="34"/>
                    </a:lnTo>
                    <a:lnTo>
                      <a:pt x="0" y="30"/>
                    </a:lnTo>
                    <a:lnTo>
                      <a:pt x="2" y="26"/>
                    </a:lnTo>
                    <a:lnTo>
                      <a:pt x="10" y="20"/>
                    </a:lnTo>
                    <a:lnTo>
                      <a:pt x="26" y="14"/>
                    </a:lnTo>
                    <a:lnTo>
                      <a:pt x="28" y="12"/>
                    </a:lnTo>
                    <a:lnTo>
                      <a:pt x="30" y="8"/>
                    </a:lnTo>
                    <a:lnTo>
                      <a:pt x="32" y="6"/>
                    </a:lnTo>
                    <a:lnTo>
                      <a:pt x="36" y="4"/>
                    </a:lnTo>
                    <a:lnTo>
                      <a:pt x="46" y="2"/>
                    </a:lnTo>
                    <a:lnTo>
                      <a:pt x="54" y="0"/>
                    </a:lnTo>
                    <a:lnTo>
                      <a:pt x="64" y="0"/>
                    </a:lnTo>
                    <a:lnTo>
                      <a:pt x="64" y="2"/>
                    </a:lnTo>
                    <a:lnTo>
                      <a:pt x="64"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3" name="Freeform 215"/>
              <p:cNvSpPr>
                <a:spLocks noChangeAspect="1"/>
              </p:cNvSpPr>
              <p:nvPr/>
            </p:nvSpPr>
            <p:spPr bwMode="auto">
              <a:xfrm>
                <a:off x="6299887" y="4808867"/>
                <a:ext cx="70261" cy="13121"/>
              </a:xfrm>
              <a:custGeom>
                <a:avLst/>
                <a:gdLst/>
                <a:ahLst/>
                <a:cxnLst>
                  <a:cxn ang="0">
                    <a:pos x="40" y="8"/>
                  </a:cxn>
                  <a:cxn ang="0">
                    <a:pos x="34" y="10"/>
                  </a:cxn>
                  <a:cxn ang="0">
                    <a:pos x="28" y="10"/>
                  </a:cxn>
                  <a:cxn ang="0">
                    <a:pos x="22" y="8"/>
                  </a:cxn>
                  <a:cxn ang="0">
                    <a:pos x="10" y="10"/>
                  </a:cxn>
                  <a:cxn ang="0">
                    <a:pos x="4" y="10"/>
                  </a:cxn>
                  <a:cxn ang="0">
                    <a:pos x="2" y="8"/>
                  </a:cxn>
                  <a:cxn ang="0">
                    <a:pos x="0" y="4"/>
                  </a:cxn>
                  <a:cxn ang="0">
                    <a:pos x="6" y="2"/>
                  </a:cxn>
                  <a:cxn ang="0">
                    <a:pos x="12" y="0"/>
                  </a:cxn>
                  <a:cxn ang="0">
                    <a:pos x="18" y="2"/>
                  </a:cxn>
                  <a:cxn ang="0">
                    <a:pos x="24" y="4"/>
                  </a:cxn>
                  <a:cxn ang="0">
                    <a:pos x="28" y="6"/>
                  </a:cxn>
                  <a:cxn ang="0">
                    <a:pos x="34" y="8"/>
                  </a:cxn>
                  <a:cxn ang="0">
                    <a:pos x="42" y="6"/>
                  </a:cxn>
                  <a:cxn ang="0">
                    <a:pos x="50" y="4"/>
                  </a:cxn>
                  <a:cxn ang="0">
                    <a:pos x="46" y="8"/>
                  </a:cxn>
                  <a:cxn ang="0">
                    <a:pos x="44" y="10"/>
                  </a:cxn>
                  <a:cxn ang="0">
                    <a:pos x="38" y="10"/>
                  </a:cxn>
                  <a:cxn ang="0">
                    <a:pos x="40" y="8"/>
                  </a:cxn>
                </a:cxnLst>
                <a:rect l="0" t="0" r="r" b="b"/>
                <a:pathLst>
                  <a:path w="50" h="10">
                    <a:moveTo>
                      <a:pt x="40" y="8"/>
                    </a:moveTo>
                    <a:lnTo>
                      <a:pt x="34" y="10"/>
                    </a:lnTo>
                    <a:lnTo>
                      <a:pt x="28" y="10"/>
                    </a:lnTo>
                    <a:lnTo>
                      <a:pt x="22" y="8"/>
                    </a:lnTo>
                    <a:lnTo>
                      <a:pt x="10" y="10"/>
                    </a:lnTo>
                    <a:lnTo>
                      <a:pt x="4" y="10"/>
                    </a:lnTo>
                    <a:lnTo>
                      <a:pt x="2" y="8"/>
                    </a:lnTo>
                    <a:lnTo>
                      <a:pt x="0" y="4"/>
                    </a:lnTo>
                    <a:lnTo>
                      <a:pt x="6" y="2"/>
                    </a:lnTo>
                    <a:lnTo>
                      <a:pt x="12" y="0"/>
                    </a:lnTo>
                    <a:lnTo>
                      <a:pt x="18" y="2"/>
                    </a:lnTo>
                    <a:lnTo>
                      <a:pt x="24" y="4"/>
                    </a:lnTo>
                    <a:lnTo>
                      <a:pt x="28" y="6"/>
                    </a:lnTo>
                    <a:lnTo>
                      <a:pt x="34" y="8"/>
                    </a:lnTo>
                    <a:lnTo>
                      <a:pt x="42" y="6"/>
                    </a:lnTo>
                    <a:lnTo>
                      <a:pt x="50" y="4"/>
                    </a:lnTo>
                    <a:lnTo>
                      <a:pt x="46" y="8"/>
                    </a:lnTo>
                    <a:lnTo>
                      <a:pt x="44" y="10"/>
                    </a:lnTo>
                    <a:lnTo>
                      <a:pt x="38" y="10"/>
                    </a:lnTo>
                    <a:lnTo>
                      <a:pt x="40"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4" name="Freeform 216"/>
              <p:cNvSpPr>
                <a:spLocks noChangeAspect="1"/>
              </p:cNvSpPr>
              <p:nvPr/>
            </p:nvSpPr>
            <p:spPr bwMode="auto">
              <a:xfrm>
                <a:off x="5979660" y="4762350"/>
                <a:ext cx="225645" cy="59637"/>
              </a:xfrm>
              <a:custGeom>
                <a:avLst/>
                <a:gdLst/>
                <a:ahLst/>
                <a:cxnLst>
                  <a:cxn ang="0">
                    <a:pos x="8" y="16"/>
                  </a:cxn>
                  <a:cxn ang="0">
                    <a:pos x="0" y="12"/>
                  </a:cxn>
                  <a:cxn ang="0">
                    <a:pos x="8" y="10"/>
                  </a:cxn>
                  <a:cxn ang="0">
                    <a:pos x="10" y="6"/>
                  </a:cxn>
                  <a:cxn ang="0">
                    <a:pos x="10" y="2"/>
                  </a:cxn>
                  <a:cxn ang="0">
                    <a:pos x="16" y="0"/>
                  </a:cxn>
                  <a:cxn ang="0">
                    <a:pos x="36" y="2"/>
                  </a:cxn>
                  <a:cxn ang="0">
                    <a:pos x="50" y="6"/>
                  </a:cxn>
                  <a:cxn ang="0">
                    <a:pos x="54" y="12"/>
                  </a:cxn>
                  <a:cxn ang="0">
                    <a:pos x="62" y="16"/>
                  </a:cxn>
                  <a:cxn ang="0">
                    <a:pos x="78" y="14"/>
                  </a:cxn>
                  <a:cxn ang="0">
                    <a:pos x="88" y="10"/>
                  </a:cxn>
                  <a:cxn ang="0">
                    <a:pos x="92" y="10"/>
                  </a:cxn>
                  <a:cxn ang="0">
                    <a:pos x="100" y="12"/>
                  </a:cxn>
                  <a:cxn ang="0">
                    <a:pos x="106" y="16"/>
                  </a:cxn>
                  <a:cxn ang="0">
                    <a:pos x="118" y="20"/>
                  </a:cxn>
                  <a:cxn ang="0">
                    <a:pos x="118" y="30"/>
                  </a:cxn>
                  <a:cxn ang="0">
                    <a:pos x="132" y="32"/>
                  </a:cxn>
                  <a:cxn ang="0">
                    <a:pos x="150" y="36"/>
                  </a:cxn>
                  <a:cxn ang="0">
                    <a:pos x="162" y="42"/>
                  </a:cxn>
                  <a:cxn ang="0">
                    <a:pos x="156" y="48"/>
                  </a:cxn>
                  <a:cxn ang="0">
                    <a:pos x="150" y="46"/>
                  </a:cxn>
                  <a:cxn ang="0">
                    <a:pos x="144" y="46"/>
                  </a:cxn>
                  <a:cxn ang="0">
                    <a:pos x="142" y="50"/>
                  </a:cxn>
                  <a:cxn ang="0">
                    <a:pos x="130" y="46"/>
                  </a:cxn>
                  <a:cxn ang="0">
                    <a:pos x="118" y="42"/>
                  </a:cxn>
                  <a:cxn ang="0">
                    <a:pos x="90" y="40"/>
                  </a:cxn>
                  <a:cxn ang="0">
                    <a:pos x="82" y="38"/>
                  </a:cxn>
                  <a:cxn ang="0">
                    <a:pos x="74" y="34"/>
                  </a:cxn>
                  <a:cxn ang="0">
                    <a:pos x="56" y="32"/>
                  </a:cxn>
                  <a:cxn ang="0">
                    <a:pos x="40" y="32"/>
                  </a:cxn>
                  <a:cxn ang="0">
                    <a:pos x="36" y="30"/>
                  </a:cxn>
                  <a:cxn ang="0">
                    <a:pos x="24" y="26"/>
                  </a:cxn>
                  <a:cxn ang="0">
                    <a:pos x="18" y="22"/>
                  </a:cxn>
                </a:cxnLst>
                <a:rect l="0" t="0" r="r" b="b"/>
                <a:pathLst>
                  <a:path w="162" h="50">
                    <a:moveTo>
                      <a:pt x="16" y="16"/>
                    </a:moveTo>
                    <a:lnTo>
                      <a:pt x="8" y="16"/>
                    </a:lnTo>
                    <a:lnTo>
                      <a:pt x="4" y="14"/>
                    </a:lnTo>
                    <a:lnTo>
                      <a:pt x="0" y="12"/>
                    </a:lnTo>
                    <a:lnTo>
                      <a:pt x="4" y="10"/>
                    </a:lnTo>
                    <a:lnTo>
                      <a:pt x="8" y="10"/>
                    </a:lnTo>
                    <a:lnTo>
                      <a:pt x="10" y="8"/>
                    </a:lnTo>
                    <a:lnTo>
                      <a:pt x="10" y="6"/>
                    </a:lnTo>
                    <a:lnTo>
                      <a:pt x="10" y="4"/>
                    </a:lnTo>
                    <a:lnTo>
                      <a:pt x="10" y="2"/>
                    </a:lnTo>
                    <a:lnTo>
                      <a:pt x="12" y="0"/>
                    </a:lnTo>
                    <a:lnTo>
                      <a:pt x="16" y="0"/>
                    </a:lnTo>
                    <a:lnTo>
                      <a:pt x="22" y="2"/>
                    </a:lnTo>
                    <a:lnTo>
                      <a:pt x="36" y="2"/>
                    </a:lnTo>
                    <a:lnTo>
                      <a:pt x="48" y="4"/>
                    </a:lnTo>
                    <a:lnTo>
                      <a:pt x="50" y="6"/>
                    </a:lnTo>
                    <a:lnTo>
                      <a:pt x="52" y="8"/>
                    </a:lnTo>
                    <a:lnTo>
                      <a:pt x="54" y="12"/>
                    </a:lnTo>
                    <a:lnTo>
                      <a:pt x="56" y="14"/>
                    </a:lnTo>
                    <a:lnTo>
                      <a:pt x="62" y="16"/>
                    </a:lnTo>
                    <a:lnTo>
                      <a:pt x="70" y="16"/>
                    </a:lnTo>
                    <a:lnTo>
                      <a:pt x="78" y="14"/>
                    </a:lnTo>
                    <a:lnTo>
                      <a:pt x="84" y="12"/>
                    </a:lnTo>
                    <a:lnTo>
                      <a:pt x="88" y="10"/>
                    </a:lnTo>
                    <a:lnTo>
                      <a:pt x="90" y="8"/>
                    </a:lnTo>
                    <a:lnTo>
                      <a:pt x="92" y="10"/>
                    </a:lnTo>
                    <a:lnTo>
                      <a:pt x="94" y="10"/>
                    </a:lnTo>
                    <a:lnTo>
                      <a:pt x="100" y="12"/>
                    </a:lnTo>
                    <a:lnTo>
                      <a:pt x="102" y="16"/>
                    </a:lnTo>
                    <a:lnTo>
                      <a:pt x="106" y="16"/>
                    </a:lnTo>
                    <a:lnTo>
                      <a:pt x="114" y="18"/>
                    </a:lnTo>
                    <a:lnTo>
                      <a:pt x="118" y="20"/>
                    </a:lnTo>
                    <a:lnTo>
                      <a:pt x="118" y="22"/>
                    </a:lnTo>
                    <a:lnTo>
                      <a:pt x="118" y="30"/>
                    </a:lnTo>
                    <a:lnTo>
                      <a:pt x="124" y="32"/>
                    </a:lnTo>
                    <a:lnTo>
                      <a:pt x="132" y="32"/>
                    </a:lnTo>
                    <a:lnTo>
                      <a:pt x="146" y="34"/>
                    </a:lnTo>
                    <a:lnTo>
                      <a:pt x="150" y="36"/>
                    </a:lnTo>
                    <a:lnTo>
                      <a:pt x="162" y="40"/>
                    </a:lnTo>
                    <a:lnTo>
                      <a:pt x="162" y="42"/>
                    </a:lnTo>
                    <a:lnTo>
                      <a:pt x="160" y="46"/>
                    </a:lnTo>
                    <a:lnTo>
                      <a:pt x="156" y="48"/>
                    </a:lnTo>
                    <a:lnTo>
                      <a:pt x="152" y="48"/>
                    </a:lnTo>
                    <a:lnTo>
                      <a:pt x="150" y="46"/>
                    </a:lnTo>
                    <a:lnTo>
                      <a:pt x="146" y="40"/>
                    </a:lnTo>
                    <a:lnTo>
                      <a:pt x="144" y="46"/>
                    </a:lnTo>
                    <a:lnTo>
                      <a:pt x="144" y="48"/>
                    </a:lnTo>
                    <a:lnTo>
                      <a:pt x="142" y="50"/>
                    </a:lnTo>
                    <a:lnTo>
                      <a:pt x="136" y="48"/>
                    </a:lnTo>
                    <a:lnTo>
                      <a:pt x="130" y="46"/>
                    </a:lnTo>
                    <a:lnTo>
                      <a:pt x="126" y="44"/>
                    </a:lnTo>
                    <a:lnTo>
                      <a:pt x="118" y="42"/>
                    </a:lnTo>
                    <a:lnTo>
                      <a:pt x="92" y="42"/>
                    </a:lnTo>
                    <a:lnTo>
                      <a:pt x="90" y="40"/>
                    </a:lnTo>
                    <a:lnTo>
                      <a:pt x="84" y="40"/>
                    </a:lnTo>
                    <a:lnTo>
                      <a:pt x="82" y="38"/>
                    </a:lnTo>
                    <a:lnTo>
                      <a:pt x="80" y="36"/>
                    </a:lnTo>
                    <a:lnTo>
                      <a:pt x="74" y="34"/>
                    </a:lnTo>
                    <a:lnTo>
                      <a:pt x="64" y="32"/>
                    </a:lnTo>
                    <a:lnTo>
                      <a:pt x="56" y="32"/>
                    </a:lnTo>
                    <a:lnTo>
                      <a:pt x="48" y="32"/>
                    </a:lnTo>
                    <a:lnTo>
                      <a:pt x="40" y="32"/>
                    </a:lnTo>
                    <a:lnTo>
                      <a:pt x="36" y="32"/>
                    </a:lnTo>
                    <a:lnTo>
                      <a:pt x="36" y="30"/>
                    </a:lnTo>
                    <a:lnTo>
                      <a:pt x="32" y="26"/>
                    </a:lnTo>
                    <a:lnTo>
                      <a:pt x="24" y="26"/>
                    </a:lnTo>
                    <a:lnTo>
                      <a:pt x="20" y="26"/>
                    </a:lnTo>
                    <a:lnTo>
                      <a:pt x="18" y="22"/>
                    </a:lnTo>
                    <a:lnTo>
                      <a:pt x="16" y="1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5" name="Freeform 217"/>
              <p:cNvSpPr>
                <a:spLocks noChangeAspect="1"/>
              </p:cNvSpPr>
              <p:nvPr/>
            </p:nvSpPr>
            <p:spPr bwMode="auto">
              <a:xfrm>
                <a:off x="5979660" y="4665738"/>
                <a:ext cx="33779" cy="32205"/>
              </a:xfrm>
              <a:custGeom>
                <a:avLst/>
                <a:gdLst/>
                <a:ahLst/>
                <a:cxnLst>
                  <a:cxn ang="0">
                    <a:pos x="0" y="6"/>
                  </a:cxn>
                  <a:cxn ang="0">
                    <a:pos x="4" y="4"/>
                  </a:cxn>
                  <a:cxn ang="0">
                    <a:pos x="6" y="2"/>
                  </a:cxn>
                  <a:cxn ang="0">
                    <a:pos x="10" y="0"/>
                  </a:cxn>
                  <a:cxn ang="0">
                    <a:pos x="12" y="0"/>
                  </a:cxn>
                  <a:cxn ang="0">
                    <a:pos x="14" y="2"/>
                  </a:cxn>
                  <a:cxn ang="0">
                    <a:pos x="14" y="6"/>
                  </a:cxn>
                  <a:cxn ang="0">
                    <a:pos x="18" y="12"/>
                  </a:cxn>
                  <a:cxn ang="0">
                    <a:pos x="24" y="18"/>
                  </a:cxn>
                  <a:cxn ang="0">
                    <a:pos x="24" y="24"/>
                  </a:cxn>
                  <a:cxn ang="0">
                    <a:pos x="22" y="26"/>
                  </a:cxn>
                  <a:cxn ang="0">
                    <a:pos x="14" y="22"/>
                  </a:cxn>
                  <a:cxn ang="0">
                    <a:pos x="12" y="18"/>
                  </a:cxn>
                  <a:cxn ang="0">
                    <a:pos x="10" y="16"/>
                  </a:cxn>
                  <a:cxn ang="0">
                    <a:pos x="12" y="12"/>
                  </a:cxn>
                  <a:cxn ang="0">
                    <a:pos x="12" y="10"/>
                  </a:cxn>
                  <a:cxn ang="0">
                    <a:pos x="6" y="8"/>
                  </a:cxn>
                  <a:cxn ang="0">
                    <a:pos x="2" y="6"/>
                  </a:cxn>
                  <a:cxn ang="0">
                    <a:pos x="0" y="6"/>
                  </a:cxn>
                </a:cxnLst>
                <a:rect l="0" t="0" r="r" b="b"/>
                <a:pathLst>
                  <a:path w="24" h="26">
                    <a:moveTo>
                      <a:pt x="0" y="6"/>
                    </a:moveTo>
                    <a:lnTo>
                      <a:pt x="4" y="4"/>
                    </a:lnTo>
                    <a:lnTo>
                      <a:pt x="6" y="2"/>
                    </a:lnTo>
                    <a:lnTo>
                      <a:pt x="10" y="0"/>
                    </a:lnTo>
                    <a:lnTo>
                      <a:pt x="12" y="0"/>
                    </a:lnTo>
                    <a:lnTo>
                      <a:pt x="14" y="2"/>
                    </a:lnTo>
                    <a:lnTo>
                      <a:pt x="14" y="6"/>
                    </a:lnTo>
                    <a:lnTo>
                      <a:pt x="18" y="12"/>
                    </a:lnTo>
                    <a:lnTo>
                      <a:pt x="24" y="18"/>
                    </a:lnTo>
                    <a:lnTo>
                      <a:pt x="24" y="24"/>
                    </a:lnTo>
                    <a:lnTo>
                      <a:pt x="22" y="26"/>
                    </a:lnTo>
                    <a:lnTo>
                      <a:pt x="14" y="22"/>
                    </a:lnTo>
                    <a:lnTo>
                      <a:pt x="12" y="18"/>
                    </a:lnTo>
                    <a:lnTo>
                      <a:pt x="10" y="16"/>
                    </a:lnTo>
                    <a:lnTo>
                      <a:pt x="12" y="12"/>
                    </a:lnTo>
                    <a:lnTo>
                      <a:pt x="12" y="10"/>
                    </a:lnTo>
                    <a:lnTo>
                      <a:pt x="6" y="8"/>
                    </a:lnTo>
                    <a:lnTo>
                      <a:pt x="2" y="6"/>
                    </a:lnTo>
                    <a:lnTo>
                      <a:pt x="0"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6" name="Freeform 218"/>
              <p:cNvSpPr>
                <a:spLocks noChangeAspect="1"/>
              </p:cNvSpPr>
              <p:nvPr/>
            </p:nvSpPr>
            <p:spPr bwMode="auto">
              <a:xfrm>
                <a:off x="6032354" y="4687207"/>
                <a:ext cx="17566" cy="14313"/>
              </a:xfrm>
              <a:custGeom>
                <a:avLst/>
                <a:gdLst/>
                <a:ahLst/>
                <a:cxnLst>
                  <a:cxn ang="0">
                    <a:pos x="12" y="2"/>
                  </a:cxn>
                  <a:cxn ang="0">
                    <a:pos x="10" y="6"/>
                  </a:cxn>
                  <a:cxn ang="0">
                    <a:pos x="10" y="10"/>
                  </a:cxn>
                  <a:cxn ang="0">
                    <a:pos x="4" y="10"/>
                  </a:cxn>
                  <a:cxn ang="0">
                    <a:pos x="2" y="8"/>
                  </a:cxn>
                  <a:cxn ang="0">
                    <a:pos x="0" y="4"/>
                  </a:cxn>
                  <a:cxn ang="0">
                    <a:pos x="2" y="2"/>
                  </a:cxn>
                  <a:cxn ang="0">
                    <a:pos x="4" y="0"/>
                  </a:cxn>
                  <a:cxn ang="0">
                    <a:pos x="12" y="2"/>
                  </a:cxn>
                </a:cxnLst>
                <a:rect l="0" t="0" r="r" b="b"/>
                <a:pathLst>
                  <a:path w="12" h="10">
                    <a:moveTo>
                      <a:pt x="12" y="2"/>
                    </a:moveTo>
                    <a:lnTo>
                      <a:pt x="10" y="6"/>
                    </a:lnTo>
                    <a:lnTo>
                      <a:pt x="10" y="10"/>
                    </a:lnTo>
                    <a:lnTo>
                      <a:pt x="4" y="10"/>
                    </a:lnTo>
                    <a:lnTo>
                      <a:pt x="2" y="8"/>
                    </a:lnTo>
                    <a:lnTo>
                      <a:pt x="0" y="4"/>
                    </a:lnTo>
                    <a:lnTo>
                      <a:pt x="2" y="2"/>
                    </a:lnTo>
                    <a:lnTo>
                      <a:pt x="4" y="0"/>
                    </a:lnTo>
                    <a:lnTo>
                      <a:pt x="12"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7" name="Freeform 219"/>
              <p:cNvSpPr>
                <a:spLocks noChangeAspect="1"/>
              </p:cNvSpPr>
              <p:nvPr/>
            </p:nvSpPr>
            <p:spPr bwMode="auto">
              <a:xfrm>
                <a:off x="5831030" y="4652617"/>
                <a:ext cx="14862" cy="13120"/>
              </a:xfrm>
              <a:custGeom>
                <a:avLst/>
                <a:gdLst/>
                <a:ahLst/>
                <a:cxnLst>
                  <a:cxn ang="0">
                    <a:pos x="6" y="0"/>
                  </a:cxn>
                  <a:cxn ang="0">
                    <a:pos x="6" y="6"/>
                  </a:cxn>
                  <a:cxn ang="0">
                    <a:pos x="10" y="8"/>
                  </a:cxn>
                  <a:cxn ang="0">
                    <a:pos x="10" y="12"/>
                  </a:cxn>
                  <a:cxn ang="0">
                    <a:pos x="6" y="12"/>
                  </a:cxn>
                  <a:cxn ang="0">
                    <a:pos x="4" y="10"/>
                  </a:cxn>
                  <a:cxn ang="0">
                    <a:pos x="2" y="8"/>
                  </a:cxn>
                  <a:cxn ang="0">
                    <a:pos x="0" y="4"/>
                  </a:cxn>
                  <a:cxn ang="0">
                    <a:pos x="2" y="0"/>
                  </a:cxn>
                  <a:cxn ang="0">
                    <a:pos x="4" y="0"/>
                  </a:cxn>
                  <a:cxn ang="0">
                    <a:pos x="6" y="0"/>
                  </a:cxn>
                </a:cxnLst>
                <a:rect l="0" t="0" r="r" b="b"/>
                <a:pathLst>
                  <a:path w="10" h="12">
                    <a:moveTo>
                      <a:pt x="6" y="0"/>
                    </a:moveTo>
                    <a:lnTo>
                      <a:pt x="6" y="6"/>
                    </a:lnTo>
                    <a:lnTo>
                      <a:pt x="10" y="8"/>
                    </a:lnTo>
                    <a:lnTo>
                      <a:pt x="10" y="12"/>
                    </a:lnTo>
                    <a:lnTo>
                      <a:pt x="6" y="12"/>
                    </a:lnTo>
                    <a:lnTo>
                      <a:pt x="4" y="10"/>
                    </a:lnTo>
                    <a:lnTo>
                      <a:pt x="2" y="8"/>
                    </a:lnTo>
                    <a:lnTo>
                      <a:pt x="0" y="4"/>
                    </a:lnTo>
                    <a:lnTo>
                      <a:pt x="2" y="0"/>
                    </a:lnTo>
                    <a:lnTo>
                      <a:pt x="4" y="0"/>
                    </a:lnTo>
                    <a:lnTo>
                      <a:pt x="6"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8" name="Freeform 220"/>
              <p:cNvSpPr>
                <a:spLocks noChangeAspect="1"/>
              </p:cNvSpPr>
              <p:nvPr/>
            </p:nvSpPr>
            <p:spPr bwMode="auto">
              <a:xfrm>
                <a:off x="5799953" y="4601328"/>
                <a:ext cx="18916" cy="16698"/>
              </a:xfrm>
              <a:custGeom>
                <a:avLst/>
                <a:gdLst/>
                <a:ahLst/>
                <a:cxnLst>
                  <a:cxn ang="0">
                    <a:pos x="12" y="8"/>
                  </a:cxn>
                  <a:cxn ang="0">
                    <a:pos x="10" y="12"/>
                  </a:cxn>
                  <a:cxn ang="0">
                    <a:pos x="8" y="14"/>
                  </a:cxn>
                  <a:cxn ang="0">
                    <a:pos x="4" y="12"/>
                  </a:cxn>
                  <a:cxn ang="0">
                    <a:pos x="0" y="8"/>
                  </a:cxn>
                  <a:cxn ang="0">
                    <a:pos x="0" y="6"/>
                  </a:cxn>
                  <a:cxn ang="0">
                    <a:pos x="0" y="0"/>
                  </a:cxn>
                  <a:cxn ang="0">
                    <a:pos x="6" y="4"/>
                  </a:cxn>
                  <a:cxn ang="0">
                    <a:pos x="10" y="6"/>
                  </a:cxn>
                  <a:cxn ang="0">
                    <a:pos x="12" y="8"/>
                  </a:cxn>
                </a:cxnLst>
                <a:rect l="0" t="0" r="r" b="b"/>
                <a:pathLst>
                  <a:path w="12" h="14">
                    <a:moveTo>
                      <a:pt x="12" y="8"/>
                    </a:moveTo>
                    <a:lnTo>
                      <a:pt x="10" y="12"/>
                    </a:lnTo>
                    <a:lnTo>
                      <a:pt x="8" y="14"/>
                    </a:lnTo>
                    <a:lnTo>
                      <a:pt x="4" y="12"/>
                    </a:lnTo>
                    <a:lnTo>
                      <a:pt x="0" y="8"/>
                    </a:lnTo>
                    <a:lnTo>
                      <a:pt x="0" y="6"/>
                    </a:lnTo>
                    <a:lnTo>
                      <a:pt x="0" y="0"/>
                    </a:lnTo>
                    <a:lnTo>
                      <a:pt x="6" y="4"/>
                    </a:lnTo>
                    <a:lnTo>
                      <a:pt x="10" y="6"/>
                    </a:lnTo>
                    <a:lnTo>
                      <a:pt x="12"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09" name="Freeform 221"/>
              <p:cNvSpPr>
                <a:spLocks noChangeAspect="1"/>
              </p:cNvSpPr>
              <p:nvPr/>
            </p:nvSpPr>
            <p:spPr bwMode="auto">
              <a:xfrm>
                <a:off x="6525532" y="4875661"/>
                <a:ext cx="28374" cy="10735"/>
              </a:xfrm>
              <a:custGeom>
                <a:avLst/>
                <a:gdLst/>
                <a:ahLst/>
                <a:cxnLst>
                  <a:cxn ang="0">
                    <a:pos x="0" y="0"/>
                  </a:cxn>
                  <a:cxn ang="0">
                    <a:pos x="0" y="8"/>
                  </a:cxn>
                  <a:cxn ang="0">
                    <a:pos x="4" y="10"/>
                  </a:cxn>
                  <a:cxn ang="0">
                    <a:pos x="10" y="10"/>
                  </a:cxn>
                  <a:cxn ang="0">
                    <a:pos x="14" y="10"/>
                  </a:cxn>
                  <a:cxn ang="0">
                    <a:pos x="16" y="6"/>
                  </a:cxn>
                  <a:cxn ang="0">
                    <a:pos x="20" y="2"/>
                  </a:cxn>
                  <a:cxn ang="0">
                    <a:pos x="16" y="0"/>
                  </a:cxn>
                  <a:cxn ang="0">
                    <a:pos x="10" y="0"/>
                  </a:cxn>
                  <a:cxn ang="0">
                    <a:pos x="0" y="0"/>
                  </a:cxn>
                </a:cxnLst>
                <a:rect l="0" t="0" r="r" b="b"/>
                <a:pathLst>
                  <a:path w="20" h="10">
                    <a:moveTo>
                      <a:pt x="0" y="0"/>
                    </a:moveTo>
                    <a:lnTo>
                      <a:pt x="0" y="8"/>
                    </a:lnTo>
                    <a:lnTo>
                      <a:pt x="4" y="10"/>
                    </a:lnTo>
                    <a:lnTo>
                      <a:pt x="10" y="10"/>
                    </a:lnTo>
                    <a:lnTo>
                      <a:pt x="14" y="10"/>
                    </a:lnTo>
                    <a:lnTo>
                      <a:pt x="16" y="6"/>
                    </a:lnTo>
                    <a:lnTo>
                      <a:pt x="20" y="2"/>
                    </a:lnTo>
                    <a:lnTo>
                      <a:pt x="16" y="0"/>
                    </a:lnTo>
                    <a:lnTo>
                      <a:pt x="10" y="0"/>
                    </a:lnTo>
                    <a:lnTo>
                      <a:pt x="0"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0" name="Freeform 222"/>
              <p:cNvSpPr>
                <a:spLocks noChangeAspect="1"/>
              </p:cNvSpPr>
              <p:nvPr/>
            </p:nvSpPr>
            <p:spPr bwMode="auto">
              <a:xfrm>
                <a:off x="6580930" y="5509009"/>
                <a:ext cx="91880" cy="69179"/>
              </a:xfrm>
              <a:custGeom>
                <a:avLst/>
                <a:gdLst/>
                <a:ahLst/>
                <a:cxnLst>
                  <a:cxn ang="0">
                    <a:pos x="18" y="2"/>
                  </a:cxn>
                  <a:cxn ang="0">
                    <a:pos x="24" y="8"/>
                  </a:cxn>
                  <a:cxn ang="0">
                    <a:pos x="28" y="10"/>
                  </a:cxn>
                  <a:cxn ang="0">
                    <a:pos x="32" y="12"/>
                  </a:cxn>
                  <a:cxn ang="0">
                    <a:pos x="40" y="12"/>
                  </a:cxn>
                  <a:cxn ang="0">
                    <a:pos x="46" y="10"/>
                  </a:cxn>
                  <a:cxn ang="0">
                    <a:pos x="58" y="6"/>
                  </a:cxn>
                  <a:cxn ang="0">
                    <a:pos x="66" y="6"/>
                  </a:cxn>
                  <a:cxn ang="0">
                    <a:pos x="66" y="8"/>
                  </a:cxn>
                  <a:cxn ang="0">
                    <a:pos x="64" y="12"/>
                  </a:cxn>
                  <a:cxn ang="0">
                    <a:pos x="60" y="16"/>
                  </a:cxn>
                  <a:cxn ang="0">
                    <a:pos x="56" y="24"/>
                  </a:cxn>
                  <a:cxn ang="0">
                    <a:pos x="54" y="32"/>
                  </a:cxn>
                  <a:cxn ang="0">
                    <a:pos x="50" y="34"/>
                  </a:cxn>
                  <a:cxn ang="0">
                    <a:pos x="46" y="36"/>
                  </a:cxn>
                  <a:cxn ang="0">
                    <a:pos x="42" y="42"/>
                  </a:cxn>
                  <a:cxn ang="0">
                    <a:pos x="38" y="48"/>
                  </a:cxn>
                  <a:cxn ang="0">
                    <a:pos x="34" y="50"/>
                  </a:cxn>
                  <a:cxn ang="0">
                    <a:pos x="32" y="52"/>
                  </a:cxn>
                  <a:cxn ang="0">
                    <a:pos x="30" y="50"/>
                  </a:cxn>
                  <a:cxn ang="0">
                    <a:pos x="28" y="46"/>
                  </a:cxn>
                  <a:cxn ang="0">
                    <a:pos x="18" y="54"/>
                  </a:cxn>
                  <a:cxn ang="0">
                    <a:pos x="16" y="56"/>
                  </a:cxn>
                  <a:cxn ang="0">
                    <a:pos x="10" y="58"/>
                  </a:cxn>
                  <a:cxn ang="0">
                    <a:pos x="4" y="56"/>
                  </a:cxn>
                  <a:cxn ang="0">
                    <a:pos x="0" y="52"/>
                  </a:cxn>
                  <a:cxn ang="0">
                    <a:pos x="0" y="48"/>
                  </a:cxn>
                  <a:cxn ang="0">
                    <a:pos x="0" y="42"/>
                  </a:cxn>
                  <a:cxn ang="0">
                    <a:pos x="0" y="38"/>
                  </a:cxn>
                  <a:cxn ang="0">
                    <a:pos x="2" y="36"/>
                  </a:cxn>
                  <a:cxn ang="0">
                    <a:pos x="6" y="32"/>
                  </a:cxn>
                  <a:cxn ang="0">
                    <a:pos x="8" y="32"/>
                  </a:cxn>
                  <a:cxn ang="0">
                    <a:pos x="8" y="28"/>
                  </a:cxn>
                  <a:cxn ang="0">
                    <a:pos x="6" y="20"/>
                  </a:cxn>
                  <a:cxn ang="0">
                    <a:pos x="8" y="16"/>
                  </a:cxn>
                  <a:cxn ang="0">
                    <a:pos x="12" y="8"/>
                  </a:cxn>
                  <a:cxn ang="0">
                    <a:pos x="18" y="0"/>
                  </a:cxn>
                  <a:cxn ang="0">
                    <a:pos x="18" y="4"/>
                  </a:cxn>
                  <a:cxn ang="0">
                    <a:pos x="18" y="2"/>
                  </a:cxn>
                </a:cxnLst>
                <a:rect l="0" t="0" r="r" b="b"/>
                <a:pathLst>
                  <a:path w="66" h="58">
                    <a:moveTo>
                      <a:pt x="18" y="2"/>
                    </a:moveTo>
                    <a:lnTo>
                      <a:pt x="24" y="8"/>
                    </a:lnTo>
                    <a:lnTo>
                      <a:pt x="28" y="10"/>
                    </a:lnTo>
                    <a:lnTo>
                      <a:pt x="32" y="12"/>
                    </a:lnTo>
                    <a:lnTo>
                      <a:pt x="40" y="12"/>
                    </a:lnTo>
                    <a:lnTo>
                      <a:pt x="46" y="10"/>
                    </a:lnTo>
                    <a:lnTo>
                      <a:pt x="58" y="6"/>
                    </a:lnTo>
                    <a:lnTo>
                      <a:pt x="66" y="6"/>
                    </a:lnTo>
                    <a:lnTo>
                      <a:pt x="66" y="8"/>
                    </a:lnTo>
                    <a:lnTo>
                      <a:pt x="64" y="12"/>
                    </a:lnTo>
                    <a:lnTo>
                      <a:pt x="60" y="16"/>
                    </a:lnTo>
                    <a:lnTo>
                      <a:pt x="56" y="24"/>
                    </a:lnTo>
                    <a:lnTo>
                      <a:pt x="54" y="32"/>
                    </a:lnTo>
                    <a:lnTo>
                      <a:pt x="50" y="34"/>
                    </a:lnTo>
                    <a:lnTo>
                      <a:pt x="46" y="36"/>
                    </a:lnTo>
                    <a:lnTo>
                      <a:pt x="42" y="42"/>
                    </a:lnTo>
                    <a:lnTo>
                      <a:pt x="38" y="48"/>
                    </a:lnTo>
                    <a:lnTo>
                      <a:pt x="34" y="50"/>
                    </a:lnTo>
                    <a:lnTo>
                      <a:pt x="32" y="52"/>
                    </a:lnTo>
                    <a:lnTo>
                      <a:pt x="30" y="50"/>
                    </a:lnTo>
                    <a:lnTo>
                      <a:pt x="28" y="46"/>
                    </a:lnTo>
                    <a:lnTo>
                      <a:pt x="18" y="54"/>
                    </a:lnTo>
                    <a:lnTo>
                      <a:pt x="16" y="56"/>
                    </a:lnTo>
                    <a:lnTo>
                      <a:pt x="10" y="58"/>
                    </a:lnTo>
                    <a:lnTo>
                      <a:pt x="4" y="56"/>
                    </a:lnTo>
                    <a:lnTo>
                      <a:pt x="0" y="52"/>
                    </a:lnTo>
                    <a:lnTo>
                      <a:pt x="0" y="48"/>
                    </a:lnTo>
                    <a:lnTo>
                      <a:pt x="0" y="42"/>
                    </a:lnTo>
                    <a:lnTo>
                      <a:pt x="0" y="38"/>
                    </a:lnTo>
                    <a:lnTo>
                      <a:pt x="2" y="36"/>
                    </a:lnTo>
                    <a:lnTo>
                      <a:pt x="6" y="32"/>
                    </a:lnTo>
                    <a:lnTo>
                      <a:pt x="8" y="32"/>
                    </a:lnTo>
                    <a:lnTo>
                      <a:pt x="8" y="28"/>
                    </a:lnTo>
                    <a:lnTo>
                      <a:pt x="6" y="20"/>
                    </a:lnTo>
                    <a:lnTo>
                      <a:pt x="8" y="16"/>
                    </a:lnTo>
                    <a:lnTo>
                      <a:pt x="12" y="8"/>
                    </a:lnTo>
                    <a:lnTo>
                      <a:pt x="18" y="0"/>
                    </a:lnTo>
                    <a:lnTo>
                      <a:pt x="18" y="4"/>
                    </a:lnTo>
                    <a:lnTo>
                      <a:pt x="18"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1" name="Freeform 223"/>
              <p:cNvSpPr>
                <a:spLocks noChangeAspect="1"/>
              </p:cNvSpPr>
              <p:nvPr/>
            </p:nvSpPr>
            <p:spPr bwMode="auto">
              <a:xfrm>
                <a:off x="6952504" y="5513779"/>
                <a:ext cx="259425" cy="134780"/>
              </a:xfrm>
              <a:custGeom>
                <a:avLst/>
                <a:gdLst/>
                <a:ahLst/>
                <a:cxnLst>
                  <a:cxn ang="0">
                    <a:pos x="110" y="42"/>
                  </a:cxn>
                  <a:cxn ang="0">
                    <a:pos x="120" y="32"/>
                  </a:cxn>
                  <a:cxn ang="0">
                    <a:pos x="132" y="24"/>
                  </a:cxn>
                  <a:cxn ang="0">
                    <a:pos x="138" y="22"/>
                  </a:cxn>
                  <a:cxn ang="0">
                    <a:pos x="144" y="18"/>
                  </a:cxn>
                  <a:cxn ang="0">
                    <a:pos x="154" y="6"/>
                  </a:cxn>
                  <a:cxn ang="0">
                    <a:pos x="162" y="2"/>
                  </a:cxn>
                  <a:cxn ang="0">
                    <a:pos x="166" y="0"/>
                  </a:cxn>
                  <a:cxn ang="0">
                    <a:pos x="172" y="2"/>
                  </a:cxn>
                  <a:cxn ang="0">
                    <a:pos x="168" y="6"/>
                  </a:cxn>
                  <a:cxn ang="0">
                    <a:pos x="166" y="14"/>
                  </a:cxn>
                  <a:cxn ang="0">
                    <a:pos x="172" y="12"/>
                  </a:cxn>
                  <a:cxn ang="0">
                    <a:pos x="176" y="10"/>
                  </a:cxn>
                  <a:cxn ang="0">
                    <a:pos x="184" y="6"/>
                  </a:cxn>
                  <a:cxn ang="0">
                    <a:pos x="184" y="16"/>
                  </a:cxn>
                  <a:cxn ang="0">
                    <a:pos x="178" y="18"/>
                  </a:cxn>
                  <a:cxn ang="0">
                    <a:pos x="176" y="22"/>
                  </a:cxn>
                  <a:cxn ang="0">
                    <a:pos x="172" y="28"/>
                  </a:cxn>
                  <a:cxn ang="0">
                    <a:pos x="168" y="32"/>
                  </a:cxn>
                  <a:cxn ang="0">
                    <a:pos x="164" y="34"/>
                  </a:cxn>
                  <a:cxn ang="0">
                    <a:pos x="158" y="36"/>
                  </a:cxn>
                  <a:cxn ang="0">
                    <a:pos x="140" y="46"/>
                  </a:cxn>
                  <a:cxn ang="0">
                    <a:pos x="132" y="52"/>
                  </a:cxn>
                  <a:cxn ang="0">
                    <a:pos x="130" y="54"/>
                  </a:cxn>
                  <a:cxn ang="0">
                    <a:pos x="128" y="56"/>
                  </a:cxn>
                  <a:cxn ang="0">
                    <a:pos x="128" y="60"/>
                  </a:cxn>
                  <a:cxn ang="0">
                    <a:pos x="122" y="64"/>
                  </a:cxn>
                  <a:cxn ang="0">
                    <a:pos x="114" y="64"/>
                  </a:cxn>
                  <a:cxn ang="0">
                    <a:pos x="102" y="66"/>
                  </a:cxn>
                  <a:cxn ang="0">
                    <a:pos x="94" y="70"/>
                  </a:cxn>
                  <a:cxn ang="0">
                    <a:pos x="86" y="78"/>
                  </a:cxn>
                  <a:cxn ang="0">
                    <a:pos x="74" y="90"/>
                  </a:cxn>
                  <a:cxn ang="0">
                    <a:pos x="70" y="94"/>
                  </a:cxn>
                  <a:cxn ang="0">
                    <a:pos x="66" y="98"/>
                  </a:cxn>
                  <a:cxn ang="0">
                    <a:pos x="54" y="100"/>
                  </a:cxn>
                  <a:cxn ang="0">
                    <a:pos x="50" y="104"/>
                  </a:cxn>
                  <a:cxn ang="0">
                    <a:pos x="42" y="110"/>
                  </a:cxn>
                  <a:cxn ang="0">
                    <a:pos x="36" y="112"/>
                  </a:cxn>
                  <a:cxn ang="0">
                    <a:pos x="28" y="114"/>
                  </a:cxn>
                  <a:cxn ang="0">
                    <a:pos x="20" y="112"/>
                  </a:cxn>
                  <a:cxn ang="0">
                    <a:pos x="10" y="108"/>
                  </a:cxn>
                  <a:cxn ang="0">
                    <a:pos x="2" y="102"/>
                  </a:cxn>
                  <a:cxn ang="0">
                    <a:pos x="0" y="100"/>
                  </a:cxn>
                  <a:cxn ang="0">
                    <a:pos x="0" y="96"/>
                  </a:cxn>
                  <a:cxn ang="0">
                    <a:pos x="8" y="90"/>
                  </a:cxn>
                  <a:cxn ang="0">
                    <a:pos x="20" y="84"/>
                  </a:cxn>
                  <a:cxn ang="0">
                    <a:pos x="30" y="78"/>
                  </a:cxn>
                  <a:cxn ang="0">
                    <a:pos x="40" y="72"/>
                  </a:cxn>
                  <a:cxn ang="0">
                    <a:pos x="62" y="60"/>
                  </a:cxn>
                  <a:cxn ang="0">
                    <a:pos x="68" y="58"/>
                  </a:cxn>
                  <a:cxn ang="0">
                    <a:pos x="72" y="58"/>
                  </a:cxn>
                  <a:cxn ang="0">
                    <a:pos x="82" y="58"/>
                  </a:cxn>
                  <a:cxn ang="0">
                    <a:pos x="96" y="52"/>
                  </a:cxn>
                  <a:cxn ang="0">
                    <a:pos x="110" y="42"/>
                  </a:cxn>
                </a:cxnLst>
                <a:rect l="0" t="0" r="r" b="b"/>
                <a:pathLst>
                  <a:path w="184" h="114">
                    <a:moveTo>
                      <a:pt x="110" y="42"/>
                    </a:moveTo>
                    <a:lnTo>
                      <a:pt x="120" y="32"/>
                    </a:lnTo>
                    <a:lnTo>
                      <a:pt x="132" y="24"/>
                    </a:lnTo>
                    <a:lnTo>
                      <a:pt x="138" y="22"/>
                    </a:lnTo>
                    <a:lnTo>
                      <a:pt x="144" y="18"/>
                    </a:lnTo>
                    <a:lnTo>
                      <a:pt x="154" y="6"/>
                    </a:lnTo>
                    <a:lnTo>
                      <a:pt x="162" y="2"/>
                    </a:lnTo>
                    <a:lnTo>
                      <a:pt x="166" y="0"/>
                    </a:lnTo>
                    <a:lnTo>
                      <a:pt x="172" y="2"/>
                    </a:lnTo>
                    <a:lnTo>
                      <a:pt x="168" y="6"/>
                    </a:lnTo>
                    <a:lnTo>
                      <a:pt x="166" y="14"/>
                    </a:lnTo>
                    <a:lnTo>
                      <a:pt x="172" y="12"/>
                    </a:lnTo>
                    <a:lnTo>
                      <a:pt x="176" y="10"/>
                    </a:lnTo>
                    <a:lnTo>
                      <a:pt x="184" y="6"/>
                    </a:lnTo>
                    <a:lnTo>
                      <a:pt x="184" y="16"/>
                    </a:lnTo>
                    <a:lnTo>
                      <a:pt x="178" y="18"/>
                    </a:lnTo>
                    <a:lnTo>
                      <a:pt x="176" y="22"/>
                    </a:lnTo>
                    <a:lnTo>
                      <a:pt x="172" y="28"/>
                    </a:lnTo>
                    <a:lnTo>
                      <a:pt x="168" y="32"/>
                    </a:lnTo>
                    <a:lnTo>
                      <a:pt x="164" y="34"/>
                    </a:lnTo>
                    <a:lnTo>
                      <a:pt x="158" y="36"/>
                    </a:lnTo>
                    <a:lnTo>
                      <a:pt x="140" y="46"/>
                    </a:lnTo>
                    <a:lnTo>
                      <a:pt x="132" y="52"/>
                    </a:lnTo>
                    <a:lnTo>
                      <a:pt x="130" y="54"/>
                    </a:lnTo>
                    <a:lnTo>
                      <a:pt x="128" y="56"/>
                    </a:lnTo>
                    <a:lnTo>
                      <a:pt x="128" y="60"/>
                    </a:lnTo>
                    <a:lnTo>
                      <a:pt x="122" y="64"/>
                    </a:lnTo>
                    <a:lnTo>
                      <a:pt x="114" y="64"/>
                    </a:lnTo>
                    <a:lnTo>
                      <a:pt x="102" y="66"/>
                    </a:lnTo>
                    <a:lnTo>
                      <a:pt x="94" y="70"/>
                    </a:lnTo>
                    <a:lnTo>
                      <a:pt x="86" y="78"/>
                    </a:lnTo>
                    <a:lnTo>
                      <a:pt x="74" y="90"/>
                    </a:lnTo>
                    <a:lnTo>
                      <a:pt x="70" y="94"/>
                    </a:lnTo>
                    <a:lnTo>
                      <a:pt x="66" y="98"/>
                    </a:lnTo>
                    <a:lnTo>
                      <a:pt x="54" y="100"/>
                    </a:lnTo>
                    <a:lnTo>
                      <a:pt x="50" y="104"/>
                    </a:lnTo>
                    <a:lnTo>
                      <a:pt x="42" y="110"/>
                    </a:lnTo>
                    <a:lnTo>
                      <a:pt x="36" y="112"/>
                    </a:lnTo>
                    <a:lnTo>
                      <a:pt x="28" y="114"/>
                    </a:lnTo>
                    <a:lnTo>
                      <a:pt x="20" y="112"/>
                    </a:lnTo>
                    <a:lnTo>
                      <a:pt x="10" y="108"/>
                    </a:lnTo>
                    <a:lnTo>
                      <a:pt x="2" y="102"/>
                    </a:lnTo>
                    <a:lnTo>
                      <a:pt x="0" y="100"/>
                    </a:lnTo>
                    <a:lnTo>
                      <a:pt x="0" y="96"/>
                    </a:lnTo>
                    <a:lnTo>
                      <a:pt x="8" y="90"/>
                    </a:lnTo>
                    <a:lnTo>
                      <a:pt x="20" y="84"/>
                    </a:lnTo>
                    <a:lnTo>
                      <a:pt x="30" y="78"/>
                    </a:lnTo>
                    <a:lnTo>
                      <a:pt x="40" y="72"/>
                    </a:lnTo>
                    <a:lnTo>
                      <a:pt x="62" y="60"/>
                    </a:lnTo>
                    <a:lnTo>
                      <a:pt x="68" y="58"/>
                    </a:lnTo>
                    <a:lnTo>
                      <a:pt x="72" y="58"/>
                    </a:lnTo>
                    <a:lnTo>
                      <a:pt x="82" y="58"/>
                    </a:lnTo>
                    <a:lnTo>
                      <a:pt x="96" y="52"/>
                    </a:lnTo>
                    <a:lnTo>
                      <a:pt x="110" y="4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2" name="Freeform 224"/>
              <p:cNvSpPr>
                <a:spLocks noChangeAspect="1"/>
              </p:cNvSpPr>
              <p:nvPr/>
            </p:nvSpPr>
            <p:spPr bwMode="auto">
              <a:xfrm>
                <a:off x="7214630" y="5384964"/>
                <a:ext cx="149980" cy="156249"/>
              </a:xfrm>
              <a:custGeom>
                <a:avLst/>
                <a:gdLst/>
                <a:ahLst/>
                <a:cxnLst>
                  <a:cxn ang="0">
                    <a:pos x="2" y="130"/>
                  </a:cxn>
                  <a:cxn ang="0">
                    <a:pos x="0" y="122"/>
                  </a:cxn>
                  <a:cxn ang="0">
                    <a:pos x="6" y="120"/>
                  </a:cxn>
                  <a:cxn ang="0">
                    <a:pos x="18" y="114"/>
                  </a:cxn>
                  <a:cxn ang="0">
                    <a:pos x="24" y="104"/>
                  </a:cxn>
                  <a:cxn ang="0">
                    <a:pos x="12" y="94"/>
                  </a:cxn>
                  <a:cxn ang="0">
                    <a:pos x="14" y="86"/>
                  </a:cxn>
                  <a:cxn ang="0">
                    <a:pos x="18" y="84"/>
                  </a:cxn>
                  <a:cxn ang="0">
                    <a:pos x="26" y="84"/>
                  </a:cxn>
                  <a:cxn ang="0">
                    <a:pos x="34" y="78"/>
                  </a:cxn>
                  <a:cxn ang="0">
                    <a:pos x="44" y="68"/>
                  </a:cxn>
                  <a:cxn ang="0">
                    <a:pos x="52" y="54"/>
                  </a:cxn>
                  <a:cxn ang="0">
                    <a:pos x="58" y="34"/>
                  </a:cxn>
                  <a:cxn ang="0">
                    <a:pos x="52" y="30"/>
                  </a:cxn>
                  <a:cxn ang="0">
                    <a:pos x="52" y="22"/>
                  </a:cxn>
                  <a:cxn ang="0">
                    <a:pos x="52" y="16"/>
                  </a:cxn>
                  <a:cxn ang="0">
                    <a:pos x="54" y="4"/>
                  </a:cxn>
                  <a:cxn ang="0">
                    <a:pos x="58" y="0"/>
                  </a:cxn>
                  <a:cxn ang="0">
                    <a:pos x="64" y="8"/>
                  </a:cxn>
                  <a:cxn ang="0">
                    <a:pos x="70" y="20"/>
                  </a:cxn>
                  <a:cxn ang="0">
                    <a:pos x="68" y="26"/>
                  </a:cxn>
                  <a:cxn ang="0">
                    <a:pos x="62" y="30"/>
                  </a:cxn>
                  <a:cxn ang="0">
                    <a:pos x="60" y="38"/>
                  </a:cxn>
                  <a:cxn ang="0">
                    <a:pos x="60" y="46"/>
                  </a:cxn>
                  <a:cxn ang="0">
                    <a:pos x="66" y="46"/>
                  </a:cxn>
                  <a:cxn ang="0">
                    <a:pos x="74" y="38"/>
                  </a:cxn>
                  <a:cxn ang="0">
                    <a:pos x="74" y="44"/>
                  </a:cxn>
                  <a:cxn ang="0">
                    <a:pos x="70" y="52"/>
                  </a:cxn>
                  <a:cxn ang="0">
                    <a:pos x="72" y="60"/>
                  </a:cxn>
                  <a:cxn ang="0">
                    <a:pos x="78" y="64"/>
                  </a:cxn>
                  <a:cxn ang="0">
                    <a:pos x="88" y="60"/>
                  </a:cxn>
                  <a:cxn ang="0">
                    <a:pos x="96" y="56"/>
                  </a:cxn>
                  <a:cxn ang="0">
                    <a:pos x="104" y="60"/>
                  </a:cxn>
                  <a:cxn ang="0">
                    <a:pos x="104" y="64"/>
                  </a:cxn>
                  <a:cxn ang="0">
                    <a:pos x="96" y="70"/>
                  </a:cxn>
                  <a:cxn ang="0">
                    <a:pos x="76" y="88"/>
                  </a:cxn>
                  <a:cxn ang="0">
                    <a:pos x="68" y="86"/>
                  </a:cxn>
                  <a:cxn ang="0">
                    <a:pos x="58" y="92"/>
                  </a:cxn>
                  <a:cxn ang="0">
                    <a:pos x="44" y="108"/>
                  </a:cxn>
                  <a:cxn ang="0">
                    <a:pos x="18" y="128"/>
                  </a:cxn>
                  <a:cxn ang="0">
                    <a:pos x="6" y="132"/>
                  </a:cxn>
                </a:cxnLst>
                <a:rect l="0" t="0" r="r" b="b"/>
                <a:pathLst>
                  <a:path w="106" h="132">
                    <a:moveTo>
                      <a:pt x="6" y="132"/>
                    </a:moveTo>
                    <a:lnTo>
                      <a:pt x="2" y="130"/>
                    </a:lnTo>
                    <a:lnTo>
                      <a:pt x="0" y="126"/>
                    </a:lnTo>
                    <a:lnTo>
                      <a:pt x="0" y="122"/>
                    </a:lnTo>
                    <a:lnTo>
                      <a:pt x="2" y="120"/>
                    </a:lnTo>
                    <a:lnTo>
                      <a:pt x="6" y="120"/>
                    </a:lnTo>
                    <a:lnTo>
                      <a:pt x="12" y="116"/>
                    </a:lnTo>
                    <a:lnTo>
                      <a:pt x="18" y="114"/>
                    </a:lnTo>
                    <a:lnTo>
                      <a:pt x="22" y="110"/>
                    </a:lnTo>
                    <a:lnTo>
                      <a:pt x="24" y="104"/>
                    </a:lnTo>
                    <a:lnTo>
                      <a:pt x="16" y="98"/>
                    </a:lnTo>
                    <a:lnTo>
                      <a:pt x="12" y="94"/>
                    </a:lnTo>
                    <a:lnTo>
                      <a:pt x="12" y="90"/>
                    </a:lnTo>
                    <a:lnTo>
                      <a:pt x="14" y="86"/>
                    </a:lnTo>
                    <a:lnTo>
                      <a:pt x="16" y="84"/>
                    </a:lnTo>
                    <a:lnTo>
                      <a:pt x="18" y="84"/>
                    </a:lnTo>
                    <a:lnTo>
                      <a:pt x="20" y="84"/>
                    </a:lnTo>
                    <a:lnTo>
                      <a:pt x="26" y="84"/>
                    </a:lnTo>
                    <a:lnTo>
                      <a:pt x="30" y="82"/>
                    </a:lnTo>
                    <a:lnTo>
                      <a:pt x="34" y="78"/>
                    </a:lnTo>
                    <a:lnTo>
                      <a:pt x="40" y="70"/>
                    </a:lnTo>
                    <a:lnTo>
                      <a:pt x="44" y="68"/>
                    </a:lnTo>
                    <a:lnTo>
                      <a:pt x="48" y="62"/>
                    </a:lnTo>
                    <a:lnTo>
                      <a:pt x="52" y="54"/>
                    </a:lnTo>
                    <a:lnTo>
                      <a:pt x="54" y="44"/>
                    </a:lnTo>
                    <a:lnTo>
                      <a:pt x="58" y="34"/>
                    </a:lnTo>
                    <a:lnTo>
                      <a:pt x="54" y="32"/>
                    </a:lnTo>
                    <a:lnTo>
                      <a:pt x="52" y="30"/>
                    </a:lnTo>
                    <a:lnTo>
                      <a:pt x="52" y="24"/>
                    </a:lnTo>
                    <a:lnTo>
                      <a:pt x="52" y="22"/>
                    </a:lnTo>
                    <a:lnTo>
                      <a:pt x="54" y="20"/>
                    </a:lnTo>
                    <a:lnTo>
                      <a:pt x="52" y="16"/>
                    </a:lnTo>
                    <a:lnTo>
                      <a:pt x="52" y="14"/>
                    </a:lnTo>
                    <a:lnTo>
                      <a:pt x="54" y="4"/>
                    </a:lnTo>
                    <a:lnTo>
                      <a:pt x="56" y="2"/>
                    </a:lnTo>
                    <a:lnTo>
                      <a:pt x="58" y="0"/>
                    </a:lnTo>
                    <a:lnTo>
                      <a:pt x="60" y="4"/>
                    </a:lnTo>
                    <a:lnTo>
                      <a:pt x="64" y="8"/>
                    </a:lnTo>
                    <a:lnTo>
                      <a:pt x="68" y="14"/>
                    </a:lnTo>
                    <a:lnTo>
                      <a:pt x="70" y="20"/>
                    </a:lnTo>
                    <a:lnTo>
                      <a:pt x="70" y="24"/>
                    </a:lnTo>
                    <a:lnTo>
                      <a:pt x="68" y="26"/>
                    </a:lnTo>
                    <a:lnTo>
                      <a:pt x="64" y="28"/>
                    </a:lnTo>
                    <a:lnTo>
                      <a:pt x="62" y="30"/>
                    </a:lnTo>
                    <a:lnTo>
                      <a:pt x="62" y="34"/>
                    </a:lnTo>
                    <a:lnTo>
                      <a:pt x="60" y="38"/>
                    </a:lnTo>
                    <a:lnTo>
                      <a:pt x="58" y="44"/>
                    </a:lnTo>
                    <a:lnTo>
                      <a:pt x="60" y="46"/>
                    </a:lnTo>
                    <a:lnTo>
                      <a:pt x="62" y="48"/>
                    </a:lnTo>
                    <a:lnTo>
                      <a:pt x="66" y="46"/>
                    </a:lnTo>
                    <a:lnTo>
                      <a:pt x="68" y="44"/>
                    </a:lnTo>
                    <a:lnTo>
                      <a:pt x="74" y="38"/>
                    </a:lnTo>
                    <a:lnTo>
                      <a:pt x="74" y="40"/>
                    </a:lnTo>
                    <a:lnTo>
                      <a:pt x="74" y="44"/>
                    </a:lnTo>
                    <a:lnTo>
                      <a:pt x="72" y="48"/>
                    </a:lnTo>
                    <a:lnTo>
                      <a:pt x="70" y="52"/>
                    </a:lnTo>
                    <a:lnTo>
                      <a:pt x="70" y="56"/>
                    </a:lnTo>
                    <a:lnTo>
                      <a:pt x="72" y="60"/>
                    </a:lnTo>
                    <a:lnTo>
                      <a:pt x="76" y="62"/>
                    </a:lnTo>
                    <a:lnTo>
                      <a:pt x="78" y="64"/>
                    </a:lnTo>
                    <a:lnTo>
                      <a:pt x="84" y="62"/>
                    </a:lnTo>
                    <a:lnTo>
                      <a:pt x="88" y="60"/>
                    </a:lnTo>
                    <a:lnTo>
                      <a:pt x="92" y="58"/>
                    </a:lnTo>
                    <a:lnTo>
                      <a:pt x="96" y="56"/>
                    </a:lnTo>
                    <a:lnTo>
                      <a:pt x="102" y="58"/>
                    </a:lnTo>
                    <a:lnTo>
                      <a:pt x="104" y="60"/>
                    </a:lnTo>
                    <a:lnTo>
                      <a:pt x="106" y="62"/>
                    </a:lnTo>
                    <a:lnTo>
                      <a:pt x="104" y="64"/>
                    </a:lnTo>
                    <a:lnTo>
                      <a:pt x="102" y="68"/>
                    </a:lnTo>
                    <a:lnTo>
                      <a:pt x="96" y="70"/>
                    </a:lnTo>
                    <a:lnTo>
                      <a:pt x="80" y="86"/>
                    </a:lnTo>
                    <a:lnTo>
                      <a:pt x="76" y="88"/>
                    </a:lnTo>
                    <a:lnTo>
                      <a:pt x="72" y="86"/>
                    </a:lnTo>
                    <a:lnTo>
                      <a:pt x="68" y="86"/>
                    </a:lnTo>
                    <a:lnTo>
                      <a:pt x="64" y="86"/>
                    </a:lnTo>
                    <a:lnTo>
                      <a:pt x="58" y="92"/>
                    </a:lnTo>
                    <a:lnTo>
                      <a:pt x="54" y="98"/>
                    </a:lnTo>
                    <a:lnTo>
                      <a:pt x="44" y="108"/>
                    </a:lnTo>
                    <a:lnTo>
                      <a:pt x="30" y="118"/>
                    </a:lnTo>
                    <a:lnTo>
                      <a:pt x="18" y="128"/>
                    </a:lnTo>
                    <a:lnTo>
                      <a:pt x="12" y="130"/>
                    </a:lnTo>
                    <a:lnTo>
                      <a:pt x="6" y="13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3" name="Freeform 225"/>
              <p:cNvSpPr>
                <a:spLocks noChangeAspect="1"/>
              </p:cNvSpPr>
              <p:nvPr/>
            </p:nvSpPr>
            <p:spPr bwMode="auto">
              <a:xfrm>
                <a:off x="7245708" y="5072464"/>
                <a:ext cx="51345" cy="53673"/>
              </a:xfrm>
              <a:custGeom>
                <a:avLst/>
                <a:gdLst/>
                <a:ahLst/>
                <a:cxnLst>
                  <a:cxn ang="0">
                    <a:pos x="38" y="42"/>
                  </a:cxn>
                  <a:cxn ang="0">
                    <a:pos x="36" y="44"/>
                  </a:cxn>
                  <a:cxn ang="0">
                    <a:pos x="32" y="42"/>
                  </a:cxn>
                  <a:cxn ang="0">
                    <a:pos x="26" y="40"/>
                  </a:cxn>
                  <a:cxn ang="0">
                    <a:pos x="14" y="32"/>
                  </a:cxn>
                  <a:cxn ang="0">
                    <a:pos x="6" y="20"/>
                  </a:cxn>
                  <a:cxn ang="0">
                    <a:pos x="0" y="12"/>
                  </a:cxn>
                  <a:cxn ang="0">
                    <a:pos x="0" y="0"/>
                  </a:cxn>
                  <a:cxn ang="0">
                    <a:pos x="8" y="4"/>
                  </a:cxn>
                  <a:cxn ang="0">
                    <a:pos x="12" y="10"/>
                  </a:cxn>
                  <a:cxn ang="0">
                    <a:pos x="16" y="16"/>
                  </a:cxn>
                  <a:cxn ang="0">
                    <a:pos x="20" y="22"/>
                  </a:cxn>
                  <a:cxn ang="0">
                    <a:pos x="24" y="24"/>
                  </a:cxn>
                  <a:cxn ang="0">
                    <a:pos x="28" y="26"/>
                  </a:cxn>
                  <a:cxn ang="0">
                    <a:pos x="32" y="28"/>
                  </a:cxn>
                  <a:cxn ang="0">
                    <a:pos x="34" y="32"/>
                  </a:cxn>
                  <a:cxn ang="0">
                    <a:pos x="38" y="42"/>
                  </a:cxn>
                </a:cxnLst>
                <a:rect l="0" t="0" r="r" b="b"/>
                <a:pathLst>
                  <a:path w="38" h="44">
                    <a:moveTo>
                      <a:pt x="38" y="42"/>
                    </a:moveTo>
                    <a:lnTo>
                      <a:pt x="36" y="44"/>
                    </a:lnTo>
                    <a:lnTo>
                      <a:pt x="32" y="42"/>
                    </a:lnTo>
                    <a:lnTo>
                      <a:pt x="26" y="40"/>
                    </a:lnTo>
                    <a:lnTo>
                      <a:pt x="14" y="32"/>
                    </a:lnTo>
                    <a:lnTo>
                      <a:pt x="6" y="20"/>
                    </a:lnTo>
                    <a:lnTo>
                      <a:pt x="0" y="12"/>
                    </a:lnTo>
                    <a:lnTo>
                      <a:pt x="0" y="0"/>
                    </a:lnTo>
                    <a:lnTo>
                      <a:pt x="8" y="4"/>
                    </a:lnTo>
                    <a:lnTo>
                      <a:pt x="12" y="10"/>
                    </a:lnTo>
                    <a:lnTo>
                      <a:pt x="16" y="16"/>
                    </a:lnTo>
                    <a:lnTo>
                      <a:pt x="20" y="22"/>
                    </a:lnTo>
                    <a:lnTo>
                      <a:pt x="24" y="24"/>
                    </a:lnTo>
                    <a:lnTo>
                      <a:pt x="28" y="26"/>
                    </a:lnTo>
                    <a:lnTo>
                      <a:pt x="32" y="28"/>
                    </a:lnTo>
                    <a:lnTo>
                      <a:pt x="34" y="32"/>
                    </a:lnTo>
                    <a:lnTo>
                      <a:pt x="38" y="4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4" name="Freeform 226"/>
              <p:cNvSpPr>
                <a:spLocks noChangeAspect="1"/>
              </p:cNvSpPr>
              <p:nvPr/>
            </p:nvSpPr>
            <p:spPr bwMode="auto">
              <a:xfrm>
                <a:off x="6952503" y="4725374"/>
                <a:ext cx="91880" cy="45324"/>
              </a:xfrm>
              <a:custGeom>
                <a:avLst/>
                <a:gdLst/>
                <a:ahLst/>
                <a:cxnLst>
                  <a:cxn ang="0">
                    <a:pos x="36" y="38"/>
                  </a:cxn>
                  <a:cxn ang="0">
                    <a:pos x="34" y="38"/>
                  </a:cxn>
                  <a:cxn ang="0">
                    <a:pos x="30" y="38"/>
                  </a:cxn>
                  <a:cxn ang="0">
                    <a:pos x="22" y="38"/>
                  </a:cxn>
                  <a:cxn ang="0">
                    <a:pos x="10" y="36"/>
                  </a:cxn>
                  <a:cxn ang="0">
                    <a:pos x="2" y="32"/>
                  </a:cxn>
                  <a:cxn ang="0">
                    <a:pos x="0" y="28"/>
                  </a:cxn>
                  <a:cxn ang="0">
                    <a:pos x="0" y="26"/>
                  </a:cxn>
                  <a:cxn ang="0">
                    <a:pos x="0" y="24"/>
                  </a:cxn>
                  <a:cxn ang="0">
                    <a:pos x="2" y="22"/>
                  </a:cxn>
                  <a:cxn ang="0">
                    <a:pos x="24" y="22"/>
                  </a:cxn>
                  <a:cxn ang="0">
                    <a:pos x="28" y="24"/>
                  </a:cxn>
                  <a:cxn ang="0">
                    <a:pos x="30" y="24"/>
                  </a:cxn>
                  <a:cxn ang="0">
                    <a:pos x="38" y="22"/>
                  </a:cxn>
                  <a:cxn ang="0">
                    <a:pos x="42" y="18"/>
                  </a:cxn>
                  <a:cxn ang="0">
                    <a:pos x="46" y="14"/>
                  </a:cxn>
                  <a:cxn ang="0">
                    <a:pos x="52" y="10"/>
                  </a:cxn>
                  <a:cxn ang="0">
                    <a:pos x="52" y="4"/>
                  </a:cxn>
                  <a:cxn ang="0">
                    <a:pos x="52" y="0"/>
                  </a:cxn>
                  <a:cxn ang="0">
                    <a:pos x="54" y="0"/>
                  </a:cxn>
                  <a:cxn ang="0">
                    <a:pos x="56" y="2"/>
                  </a:cxn>
                  <a:cxn ang="0">
                    <a:pos x="60" y="4"/>
                  </a:cxn>
                  <a:cxn ang="0">
                    <a:pos x="62" y="8"/>
                  </a:cxn>
                  <a:cxn ang="0">
                    <a:pos x="64" y="10"/>
                  </a:cxn>
                  <a:cxn ang="0">
                    <a:pos x="62" y="12"/>
                  </a:cxn>
                  <a:cxn ang="0">
                    <a:pos x="60" y="16"/>
                  </a:cxn>
                  <a:cxn ang="0">
                    <a:pos x="58" y="18"/>
                  </a:cxn>
                  <a:cxn ang="0">
                    <a:pos x="58" y="20"/>
                  </a:cxn>
                  <a:cxn ang="0">
                    <a:pos x="54" y="26"/>
                  </a:cxn>
                  <a:cxn ang="0">
                    <a:pos x="46" y="32"/>
                  </a:cxn>
                  <a:cxn ang="0">
                    <a:pos x="40" y="36"/>
                  </a:cxn>
                  <a:cxn ang="0">
                    <a:pos x="34" y="38"/>
                  </a:cxn>
                  <a:cxn ang="0">
                    <a:pos x="36" y="38"/>
                  </a:cxn>
                </a:cxnLst>
                <a:rect l="0" t="0" r="r" b="b"/>
                <a:pathLst>
                  <a:path w="64" h="38">
                    <a:moveTo>
                      <a:pt x="36" y="38"/>
                    </a:moveTo>
                    <a:lnTo>
                      <a:pt x="34" y="38"/>
                    </a:lnTo>
                    <a:lnTo>
                      <a:pt x="30" y="38"/>
                    </a:lnTo>
                    <a:lnTo>
                      <a:pt x="22" y="38"/>
                    </a:lnTo>
                    <a:lnTo>
                      <a:pt x="10" y="36"/>
                    </a:lnTo>
                    <a:lnTo>
                      <a:pt x="2" y="32"/>
                    </a:lnTo>
                    <a:lnTo>
                      <a:pt x="0" y="28"/>
                    </a:lnTo>
                    <a:lnTo>
                      <a:pt x="0" y="26"/>
                    </a:lnTo>
                    <a:lnTo>
                      <a:pt x="0" y="24"/>
                    </a:lnTo>
                    <a:lnTo>
                      <a:pt x="2" y="22"/>
                    </a:lnTo>
                    <a:lnTo>
                      <a:pt x="24" y="22"/>
                    </a:lnTo>
                    <a:lnTo>
                      <a:pt x="28" y="24"/>
                    </a:lnTo>
                    <a:lnTo>
                      <a:pt x="30" y="24"/>
                    </a:lnTo>
                    <a:lnTo>
                      <a:pt x="38" y="22"/>
                    </a:lnTo>
                    <a:lnTo>
                      <a:pt x="42" y="18"/>
                    </a:lnTo>
                    <a:lnTo>
                      <a:pt x="46" y="14"/>
                    </a:lnTo>
                    <a:lnTo>
                      <a:pt x="52" y="10"/>
                    </a:lnTo>
                    <a:lnTo>
                      <a:pt x="52" y="4"/>
                    </a:lnTo>
                    <a:lnTo>
                      <a:pt x="52" y="0"/>
                    </a:lnTo>
                    <a:lnTo>
                      <a:pt x="54" y="0"/>
                    </a:lnTo>
                    <a:lnTo>
                      <a:pt x="56" y="2"/>
                    </a:lnTo>
                    <a:lnTo>
                      <a:pt x="60" y="4"/>
                    </a:lnTo>
                    <a:lnTo>
                      <a:pt x="62" y="8"/>
                    </a:lnTo>
                    <a:lnTo>
                      <a:pt x="64" y="10"/>
                    </a:lnTo>
                    <a:lnTo>
                      <a:pt x="62" y="12"/>
                    </a:lnTo>
                    <a:lnTo>
                      <a:pt x="60" y="16"/>
                    </a:lnTo>
                    <a:lnTo>
                      <a:pt x="58" y="18"/>
                    </a:lnTo>
                    <a:lnTo>
                      <a:pt x="58" y="20"/>
                    </a:lnTo>
                    <a:lnTo>
                      <a:pt x="54" y="26"/>
                    </a:lnTo>
                    <a:lnTo>
                      <a:pt x="46" y="32"/>
                    </a:lnTo>
                    <a:lnTo>
                      <a:pt x="40" y="36"/>
                    </a:lnTo>
                    <a:lnTo>
                      <a:pt x="34" y="38"/>
                    </a:lnTo>
                    <a:lnTo>
                      <a:pt x="36" y="3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5" name="Freeform 227"/>
              <p:cNvSpPr>
                <a:spLocks noChangeAspect="1"/>
              </p:cNvSpPr>
              <p:nvPr/>
            </p:nvSpPr>
            <p:spPr bwMode="auto">
              <a:xfrm>
                <a:off x="6629573" y="4751614"/>
                <a:ext cx="14863" cy="19084"/>
              </a:xfrm>
              <a:custGeom>
                <a:avLst/>
                <a:gdLst/>
                <a:ahLst/>
                <a:cxnLst>
                  <a:cxn ang="0">
                    <a:pos x="12" y="10"/>
                  </a:cxn>
                  <a:cxn ang="0">
                    <a:pos x="12" y="14"/>
                  </a:cxn>
                  <a:cxn ang="0">
                    <a:pos x="12" y="16"/>
                  </a:cxn>
                  <a:cxn ang="0">
                    <a:pos x="6" y="16"/>
                  </a:cxn>
                  <a:cxn ang="0">
                    <a:pos x="2" y="14"/>
                  </a:cxn>
                  <a:cxn ang="0">
                    <a:pos x="0" y="10"/>
                  </a:cxn>
                  <a:cxn ang="0">
                    <a:pos x="2" y="4"/>
                  </a:cxn>
                  <a:cxn ang="0">
                    <a:pos x="8" y="0"/>
                  </a:cxn>
                  <a:cxn ang="0">
                    <a:pos x="10" y="6"/>
                  </a:cxn>
                  <a:cxn ang="0">
                    <a:pos x="10" y="8"/>
                  </a:cxn>
                  <a:cxn ang="0">
                    <a:pos x="12" y="10"/>
                  </a:cxn>
                </a:cxnLst>
                <a:rect l="0" t="0" r="r" b="b"/>
                <a:pathLst>
                  <a:path w="12" h="16">
                    <a:moveTo>
                      <a:pt x="12" y="10"/>
                    </a:moveTo>
                    <a:lnTo>
                      <a:pt x="12" y="14"/>
                    </a:lnTo>
                    <a:lnTo>
                      <a:pt x="12" y="16"/>
                    </a:lnTo>
                    <a:lnTo>
                      <a:pt x="6" y="16"/>
                    </a:lnTo>
                    <a:lnTo>
                      <a:pt x="2" y="14"/>
                    </a:lnTo>
                    <a:lnTo>
                      <a:pt x="0" y="10"/>
                    </a:lnTo>
                    <a:lnTo>
                      <a:pt x="2" y="4"/>
                    </a:lnTo>
                    <a:lnTo>
                      <a:pt x="8" y="0"/>
                    </a:lnTo>
                    <a:lnTo>
                      <a:pt x="10" y="6"/>
                    </a:lnTo>
                    <a:lnTo>
                      <a:pt x="10" y="8"/>
                    </a:lnTo>
                    <a:lnTo>
                      <a:pt x="12" y="1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6" name="Freeform 228"/>
              <p:cNvSpPr>
                <a:spLocks noChangeAspect="1"/>
              </p:cNvSpPr>
              <p:nvPr/>
            </p:nvSpPr>
            <p:spPr bwMode="auto">
              <a:xfrm>
                <a:off x="6553907" y="4787398"/>
                <a:ext cx="17566" cy="23855"/>
              </a:xfrm>
              <a:custGeom>
                <a:avLst/>
                <a:gdLst/>
                <a:ahLst/>
                <a:cxnLst>
                  <a:cxn ang="0">
                    <a:pos x="6" y="2"/>
                  </a:cxn>
                  <a:cxn ang="0">
                    <a:pos x="8" y="2"/>
                  </a:cxn>
                  <a:cxn ang="0">
                    <a:pos x="8" y="0"/>
                  </a:cxn>
                  <a:cxn ang="0">
                    <a:pos x="10" y="2"/>
                  </a:cxn>
                  <a:cxn ang="0">
                    <a:pos x="12" y="4"/>
                  </a:cxn>
                  <a:cxn ang="0">
                    <a:pos x="10" y="6"/>
                  </a:cxn>
                  <a:cxn ang="0">
                    <a:pos x="8" y="12"/>
                  </a:cxn>
                  <a:cxn ang="0">
                    <a:pos x="0" y="20"/>
                  </a:cxn>
                  <a:cxn ang="0">
                    <a:pos x="0" y="10"/>
                  </a:cxn>
                  <a:cxn ang="0">
                    <a:pos x="2" y="6"/>
                  </a:cxn>
                  <a:cxn ang="0">
                    <a:pos x="4" y="4"/>
                  </a:cxn>
                  <a:cxn ang="0">
                    <a:pos x="6" y="2"/>
                  </a:cxn>
                </a:cxnLst>
                <a:rect l="0" t="0" r="r" b="b"/>
                <a:pathLst>
                  <a:path w="12" h="20">
                    <a:moveTo>
                      <a:pt x="6" y="2"/>
                    </a:moveTo>
                    <a:lnTo>
                      <a:pt x="8" y="2"/>
                    </a:lnTo>
                    <a:lnTo>
                      <a:pt x="8" y="0"/>
                    </a:lnTo>
                    <a:lnTo>
                      <a:pt x="10" y="2"/>
                    </a:lnTo>
                    <a:lnTo>
                      <a:pt x="12" y="4"/>
                    </a:lnTo>
                    <a:lnTo>
                      <a:pt x="10" y="6"/>
                    </a:lnTo>
                    <a:lnTo>
                      <a:pt x="8" y="12"/>
                    </a:lnTo>
                    <a:lnTo>
                      <a:pt x="0" y="20"/>
                    </a:lnTo>
                    <a:lnTo>
                      <a:pt x="0" y="10"/>
                    </a:lnTo>
                    <a:lnTo>
                      <a:pt x="2" y="6"/>
                    </a:lnTo>
                    <a:lnTo>
                      <a:pt x="4" y="4"/>
                    </a:lnTo>
                    <a:lnTo>
                      <a:pt x="6"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7" name="Freeform 229"/>
              <p:cNvSpPr>
                <a:spLocks noChangeAspect="1"/>
              </p:cNvSpPr>
              <p:nvPr/>
            </p:nvSpPr>
            <p:spPr bwMode="auto">
              <a:xfrm>
                <a:off x="6489051" y="4693170"/>
                <a:ext cx="70261" cy="26240"/>
              </a:xfrm>
              <a:custGeom>
                <a:avLst/>
                <a:gdLst/>
                <a:ahLst/>
                <a:cxnLst>
                  <a:cxn ang="0">
                    <a:pos x="42" y="22"/>
                  </a:cxn>
                  <a:cxn ang="0">
                    <a:pos x="40" y="20"/>
                  </a:cxn>
                  <a:cxn ang="0">
                    <a:pos x="38" y="16"/>
                  </a:cxn>
                  <a:cxn ang="0">
                    <a:pos x="34" y="14"/>
                  </a:cxn>
                  <a:cxn ang="0">
                    <a:pos x="30" y="14"/>
                  </a:cxn>
                  <a:cxn ang="0">
                    <a:pos x="24" y="12"/>
                  </a:cxn>
                  <a:cxn ang="0">
                    <a:pos x="16" y="12"/>
                  </a:cxn>
                  <a:cxn ang="0">
                    <a:pos x="10" y="12"/>
                  </a:cxn>
                  <a:cxn ang="0">
                    <a:pos x="2" y="12"/>
                  </a:cxn>
                  <a:cxn ang="0">
                    <a:pos x="0" y="10"/>
                  </a:cxn>
                  <a:cxn ang="0">
                    <a:pos x="8" y="4"/>
                  </a:cxn>
                  <a:cxn ang="0">
                    <a:pos x="14" y="4"/>
                  </a:cxn>
                  <a:cxn ang="0">
                    <a:pos x="18" y="2"/>
                  </a:cxn>
                  <a:cxn ang="0">
                    <a:pos x="24" y="2"/>
                  </a:cxn>
                  <a:cxn ang="0">
                    <a:pos x="28" y="0"/>
                  </a:cxn>
                  <a:cxn ang="0">
                    <a:pos x="28" y="2"/>
                  </a:cxn>
                  <a:cxn ang="0">
                    <a:pos x="30" y="2"/>
                  </a:cxn>
                  <a:cxn ang="0">
                    <a:pos x="34" y="0"/>
                  </a:cxn>
                  <a:cxn ang="0">
                    <a:pos x="38" y="2"/>
                  </a:cxn>
                  <a:cxn ang="0">
                    <a:pos x="44" y="6"/>
                  </a:cxn>
                  <a:cxn ang="0">
                    <a:pos x="48" y="10"/>
                  </a:cxn>
                  <a:cxn ang="0">
                    <a:pos x="50" y="16"/>
                  </a:cxn>
                  <a:cxn ang="0">
                    <a:pos x="48" y="18"/>
                  </a:cxn>
                  <a:cxn ang="0">
                    <a:pos x="46" y="20"/>
                  </a:cxn>
                  <a:cxn ang="0">
                    <a:pos x="42" y="22"/>
                  </a:cxn>
                </a:cxnLst>
                <a:rect l="0" t="0" r="r" b="b"/>
                <a:pathLst>
                  <a:path w="50" h="22">
                    <a:moveTo>
                      <a:pt x="42" y="22"/>
                    </a:moveTo>
                    <a:lnTo>
                      <a:pt x="40" y="20"/>
                    </a:lnTo>
                    <a:lnTo>
                      <a:pt x="38" y="16"/>
                    </a:lnTo>
                    <a:lnTo>
                      <a:pt x="34" y="14"/>
                    </a:lnTo>
                    <a:lnTo>
                      <a:pt x="30" y="14"/>
                    </a:lnTo>
                    <a:lnTo>
                      <a:pt x="24" y="12"/>
                    </a:lnTo>
                    <a:lnTo>
                      <a:pt x="16" y="12"/>
                    </a:lnTo>
                    <a:lnTo>
                      <a:pt x="10" y="12"/>
                    </a:lnTo>
                    <a:lnTo>
                      <a:pt x="2" y="12"/>
                    </a:lnTo>
                    <a:lnTo>
                      <a:pt x="0" y="10"/>
                    </a:lnTo>
                    <a:lnTo>
                      <a:pt x="8" y="4"/>
                    </a:lnTo>
                    <a:lnTo>
                      <a:pt x="14" y="4"/>
                    </a:lnTo>
                    <a:lnTo>
                      <a:pt x="18" y="2"/>
                    </a:lnTo>
                    <a:lnTo>
                      <a:pt x="24" y="2"/>
                    </a:lnTo>
                    <a:lnTo>
                      <a:pt x="28" y="0"/>
                    </a:lnTo>
                    <a:lnTo>
                      <a:pt x="28" y="2"/>
                    </a:lnTo>
                    <a:lnTo>
                      <a:pt x="30" y="2"/>
                    </a:lnTo>
                    <a:lnTo>
                      <a:pt x="34" y="0"/>
                    </a:lnTo>
                    <a:lnTo>
                      <a:pt x="38" y="2"/>
                    </a:lnTo>
                    <a:lnTo>
                      <a:pt x="44" y="6"/>
                    </a:lnTo>
                    <a:lnTo>
                      <a:pt x="48" y="10"/>
                    </a:lnTo>
                    <a:lnTo>
                      <a:pt x="50" y="16"/>
                    </a:lnTo>
                    <a:lnTo>
                      <a:pt x="48" y="18"/>
                    </a:lnTo>
                    <a:lnTo>
                      <a:pt x="46" y="20"/>
                    </a:lnTo>
                    <a:lnTo>
                      <a:pt x="42" y="2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8" name="Freeform 230"/>
              <p:cNvSpPr>
                <a:spLocks noChangeAspect="1"/>
              </p:cNvSpPr>
              <p:nvPr/>
            </p:nvSpPr>
            <p:spPr bwMode="auto">
              <a:xfrm>
                <a:off x="6489051" y="4590594"/>
                <a:ext cx="27023" cy="51288"/>
              </a:xfrm>
              <a:custGeom>
                <a:avLst/>
                <a:gdLst/>
                <a:ahLst/>
                <a:cxnLst>
                  <a:cxn ang="0">
                    <a:pos x="2" y="22"/>
                  </a:cxn>
                  <a:cxn ang="0">
                    <a:pos x="2" y="18"/>
                  </a:cxn>
                  <a:cxn ang="0">
                    <a:pos x="2" y="14"/>
                  </a:cxn>
                  <a:cxn ang="0">
                    <a:pos x="0" y="10"/>
                  </a:cxn>
                  <a:cxn ang="0">
                    <a:pos x="2" y="4"/>
                  </a:cxn>
                  <a:cxn ang="0">
                    <a:pos x="0" y="0"/>
                  </a:cxn>
                  <a:cxn ang="0">
                    <a:pos x="4" y="0"/>
                  </a:cxn>
                  <a:cxn ang="0">
                    <a:pos x="6" y="8"/>
                  </a:cxn>
                  <a:cxn ang="0">
                    <a:pos x="4" y="16"/>
                  </a:cxn>
                  <a:cxn ang="0">
                    <a:pos x="8" y="16"/>
                  </a:cxn>
                  <a:cxn ang="0">
                    <a:pos x="8" y="8"/>
                  </a:cxn>
                  <a:cxn ang="0">
                    <a:pos x="16" y="8"/>
                  </a:cxn>
                  <a:cxn ang="0">
                    <a:pos x="16" y="12"/>
                  </a:cxn>
                  <a:cxn ang="0">
                    <a:pos x="16" y="14"/>
                  </a:cxn>
                  <a:cxn ang="0">
                    <a:pos x="14" y="16"/>
                  </a:cxn>
                  <a:cxn ang="0">
                    <a:pos x="12" y="18"/>
                  </a:cxn>
                  <a:cxn ang="0">
                    <a:pos x="12" y="22"/>
                  </a:cxn>
                  <a:cxn ang="0">
                    <a:pos x="20" y="32"/>
                  </a:cxn>
                  <a:cxn ang="0">
                    <a:pos x="16" y="32"/>
                  </a:cxn>
                  <a:cxn ang="0">
                    <a:pos x="14" y="30"/>
                  </a:cxn>
                  <a:cxn ang="0">
                    <a:pos x="12" y="28"/>
                  </a:cxn>
                  <a:cxn ang="0">
                    <a:pos x="8" y="28"/>
                  </a:cxn>
                  <a:cxn ang="0">
                    <a:pos x="6" y="28"/>
                  </a:cxn>
                  <a:cxn ang="0">
                    <a:pos x="4" y="30"/>
                  </a:cxn>
                  <a:cxn ang="0">
                    <a:pos x="4" y="34"/>
                  </a:cxn>
                  <a:cxn ang="0">
                    <a:pos x="4" y="38"/>
                  </a:cxn>
                  <a:cxn ang="0">
                    <a:pos x="6" y="42"/>
                  </a:cxn>
                  <a:cxn ang="0">
                    <a:pos x="2" y="40"/>
                  </a:cxn>
                  <a:cxn ang="0">
                    <a:pos x="2" y="34"/>
                  </a:cxn>
                  <a:cxn ang="0">
                    <a:pos x="2" y="22"/>
                  </a:cxn>
                </a:cxnLst>
                <a:rect l="0" t="0" r="r" b="b"/>
                <a:pathLst>
                  <a:path w="20" h="42">
                    <a:moveTo>
                      <a:pt x="2" y="22"/>
                    </a:moveTo>
                    <a:lnTo>
                      <a:pt x="2" y="18"/>
                    </a:lnTo>
                    <a:lnTo>
                      <a:pt x="2" y="14"/>
                    </a:lnTo>
                    <a:lnTo>
                      <a:pt x="0" y="10"/>
                    </a:lnTo>
                    <a:lnTo>
                      <a:pt x="2" y="4"/>
                    </a:lnTo>
                    <a:lnTo>
                      <a:pt x="0" y="0"/>
                    </a:lnTo>
                    <a:lnTo>
                      <a:pt x="4" y="0"/>
                    </a:lnTo>
                    <a:lnTo>
                      <a:pt x="6" y="8"/>
                    </a:lnTo>
                    <a:lnTo>
                      <a:pt x="4" y="16"/>
                    </a:lnTo>
                    <a:lnTo>
                      <a:pt x="8" y="16"/>
                    </a:lnTo>
                    <a:lnTo>
                      <a:pt x="8" y="8"/>
                    </a:lnTo>
                    <a:lnTo>
                      <a:pt x="16" y="8"/>
                    </a:lnTo>
                    <a:lnTo>
                      <a:pt x="16" y="12"/>
                    </a:lnTo>
                    <a:lnTo>
                      <a:pt x="16" y="14"/>
                    </a:lnTo>
                    <a:lnTo>
                      <a:pt x="14" y="16"/>
                    </a:lnTo>
                    <a:lnTo>
                      <a:pt x="12" y="18"/>
                    </a:lnTo>
                    <a:lnTo>
                      <a:pt x="12" y="22"/>
                    </a:lnTo>
                    <a:lnTo>
                      <a:pt x="20" y="32"/>
                    </a:lnTo>
                    <a:lnTo>
                      <a:pt x="16" y="32"/>
                    </a:lnTo>
                    <a:lnTo>
                      <a:pt x="14" y="30"/>
                    </a:lnTo>
                    <a:lnTo>
                      <a:pt x="12" y="28"/>
                    </a:lnTo>
                    <a:lnTo>
                      <a:pt x="8" y="28"/>
                    </a:lnTo>
                    <a:lnTo>
                      <a:pt x="6" y="28"/>
                    </a:lnTo>
                    <a:lnTo>
                      <a:pt x="4" y="30"/>
                    </a:lnTo>
                    <a:lnTo>
                      <a:pt x="4" y="34"/>
                    </a:lnTo>
                    <a:lnTo>
                      <a:pt x="4" y="38"/>
                    </a:lnTo>
                    <a:lnTo>
                      <a:pt x="6" y="42"/>
                    </a:lnTo>
                    <a:lnTo>
                      <a:pt x="2" y="40"/>
                    </a:lnTo>
                    <a:lnTo>
                      <a:pt x="2" y="34"/>
                    </a:lnTo>
                    <a:lnTo>
                      <a:pt x="2" y="2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19" name="Freeform 231"/>
              <p:cNvSpPr>
                <a:spLocks noChangeAspect="1"/>
              </p:cNvSpPr>
              <p:nvPr/>
            </p:nvSpPr>
            <p:spPr bwMode="auto">
              <a:xfrm>
                <a:off x="6452570" y="4701519"/>
                <a:ext cx="24321" cy="17892"/>
              </a:xfrm>
              <a:custGeom>
                <a:avLst/>
                <a:gdLst/>
                <a:ahLst/>
                <a:cxnLst>
                  <a:cxn ang="0">
                    <a:pos x="16" y="4"/>
                  </a:cxn>
                  <a:cxn ang="0">
                    <a:pos x="18" y="6"/>
                  </a:cxn>
                  <a:cxn ang="0">
                    <a:pos x="18" y="10"/>
                  </a:cxn>
                  <a:cxn ang="0">
                    <a:pos x="18" y="12"/>
                  </a:cxn>
                  <a:cxn ang="0">
                    <a:pos x="16" y="14"/>
                  </a:cxn>
                  <a:cxn ang="0">
                    <a:pos x="10" y="16"/>
                  </a:cxn>
                  <a:cxn ang="0">
                    <a:pos x="2" y="12"/>
                  </a:cxn>
                  <a:cxn ang="0">
                    <a:pos x="0" y="8"/>
                  </a:cxn>
                  <a:cxn ang="0">
                    <a:pos x="0" y="4"/>
                  </a:cxn>
                  <a:cxn ang="0">
                    <a:pos x="10" y="0"/>
                  </a:cxn>
                  <a:cxn ang="0">
                    <a:pos x="18" y="4"/>
                  </a:cxn>
                  <a:cxn ang="0">
                    <a:pos x="16" y="4"/>
                  </a:cxn>
                </a:cxnLst>
                <a:rect l="0" t="0" r="r" b="b"/>
                <a:pathLst>
                  <a:path w="18" h="16">
                    <a:moveTo>
                      <a:pt x="16" y="4"/>
                    </a:moveTo>
                    <a:lnTo>
                      <a:pt x="18" y="6"/>
                    </a:lnTo>
                    <a:lnTo>
                      <a:pt x="18" y="10"/>
                    </a:lnTo>
                    <a:lnTo>
                      <a:pt x="18" y="12"/>
                    </a:lnTo>
                    <a:lnTo>
                      <a:pt x="16" y="14"/>
                    </a:lnTo>
                    <a:lnTo>
                      <a:pt x="10" y="16"/>
                    </a:lnTo>
                    <a:lnTo>
                      <a:pt x="2" y="12"/>
                    </a:lnTo>
                    <a:lnTo>
                      <a:pt x="0" y="8"/>
                    </a:lnTo>
                    <a:lnTo>
                      <a:pt x="0" y="4"/>
                    </a:lnTo>
                    <a:lnTo>
                      <a:pt x="10" y="0"/>
                    </a:lnTo>
                    <a:lnTo>
                      <a:pt x="18" y="4"/>
                    </a:lnTo>
                    <a:lnTo>
                      <a:pt x="16"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0" name="Freeform 232"/>
              <p:cNvSpPr>
                <a:spLocks noChangeAspect="1"/>
              </p:cNvSpPr>
              <p:nvPr/>
            </p:nvSpPr>
            <p:spPr bwMode="auto">
              <a:xfrm>
                <a:off x="6214764" y="4806482"/>
                <a:ext cx="70261" cy="21469"/>
              </a:xfrm>
              <a:custGeom>
                <a:avLst/>
                <a:gdLst/>
                <a:ahLst/>
                <a:cxnLst>
                  <a:cxn ang="0">
                    <a:pos x="50" y="12"/>
                  </a:cxn>
                  <a:cxn ang="0">
                    <a:pos x="48" y="12"/>
                  </a:cxn>
                  <a:cxn ang="0">
                    <a:pos x="42" y="12"/>
                  </a:cxn>
                  <a:cxn ang="0">
                    <a:pos x="38" y="10"/>
                  </a:cxn>
                  <a:cxn ang="0">
                    <a:pos x="34" y="14"/>
                  </a:cxn>
                  <a:cxn ang="0">
                    <a:pos x="30" y="16"/>
                  </a:cxn>
                  <a:cxn ang="0">
                    <a:pos x="20" y="16"/>
                  </a:cxn>
                  <a:cxn ang="0">
                    <a:pos x="16" y="16"/>
                  </a:cxn>
                  <a:cxn ang="0">
                    <a:pos x="14" y="14"/>
                  </a:cxn>
                  <a:cxn ang="0">
                    <a:pos x="12" y="10"/>
                  </a:cxn>
                  <a:cxn ang="0">
                    <a:pos x="8" y="12"/>
                  </a:cxn>
                  <a:cxn ang="0">
                    <a:pos x="6" y="14"/>
                  </a:cxn>
                  <a:cxn ang="0">
                    <a:pos x="2" y="12"/>
                  </a:cxn>
                  <a:cxn ang="0">
                    <a:pos x="0" y="10"/>
                  </a:cxn>
                  <a:cxn ang="0">
                    <a:pos x="2" y="6"/>
                  </a:cxn>
                  <a:cxn ang="0">
                    <a:pos x="6" y="4"/>
                  </a:cxn>
                  <a:cxn ang="0">
                    <a:pos x="10" y="2"/>
                  </a:cxn>
                  <a:cxn ang="0">
                    <a:pos x="14" y="2"/>
                  </a:cxn>
                  <a:cxn ang="0">
                    <a:pos x="14" y="6"/>
                  </a:cxn>
                  <a:cxn ang="0">
                    <a:pos x="32" y="10"/>
                  </a:cxn>
                  <a:cxn ang="0">
                    <a:pos x="38" y="10"/>
                  </a:cxn>
                  <a:cxn ang="0">
                    <a:pos x="34" y="6"/>
                  </a:cxn>
                  <a:cxn ang="0">
                    <a:pos x="32" y="4"/>
                  </a:cxn>
                  <a:cxn ang="0">
                    <a:pos x="34" y="2"/>
                  </a:cxn>
                  <a:cxn ang="0">
                    <a:pos x="38" y="0"/>
                  </a:cxn>
                  <a:cxn ang="0">
                    <a:pos x="42" y="4"/>
                  </a:cxn>
                  <a:cxn ang="0">
                    <a:pos x="50" y="8"/>
                  </a:cxn>
                  <a:cxn ang="0">
                    <a:pos x="50" y="12"/>
                  </a:cxn>
                </a:cxnLst>
                <a:rect l="0" t="0" r="r" b="b"/>
                <a:pathLst>
                  <a:path w="50" h="16">
                    <a:moveTo>
                      <a:pt x="50" y="12"/>
                    </a:moveTo>
                    <a:lnTo>
                      <a:pt x="48" y="12"/>
                    </a:lnTo>
                    <a:lnTo>
                      <a:pt x="42" y="12"/>
                    </a:lnTo>
                    <a:lnTo>
                      <a:pt x="38" y="10"/>
                    </a:lnTo>
                    <a:lnTo>
                      <a:pt x="34" y="14"/>
                    </a:lnTo>
                    <a:lnTo>
                      <a:pt x="30" y="16"/>
                    </a:lnTo>
                    <a:lnTo>
                      <a:pt x="20" y="16"/>
                    </a:lnTo>
                    <a:lnTo>
                      <a:pt x="16" y="16"/>
                    </a:lnTo>
                    <a:lnTo>
                      <a:pt x="14" y="14"/>
                    </a:lnTo>
                    <a:lnTo>
                      <a:pt x="12" y="10"/>
                    </a:lnTo>
                    <a:lnTo>
                      <a:pt x="8" y="12"/>
                    </a:lnTo>
                    <a:lnTo>
                      <a:pt x="6" y="14"/>
                    </a:lnTo>
                    <a:lnTo>
                      <a:pt x="2" y="12"/>
                    </a:lnTo>
                    <a:lnTo>
                      <a:pt x="0" y="10"/>
                    </a:lnTo>
                    <a:lnTo>
                      <a:pt x="2" y="6"/>
                    </a:lnTo>
                    <a:lnTo>
                      <a:pt x="6" y="4"/>
                    </a:lnTo>
                    <a:lnTo>
                      <a:pt x="10" y="2"/>
                    </a:lnTo>
                    <a:lnTo>
                      <a:pt x="14" y="2"/>
                    </a:lnTo>
                    <a:lnTo>
                      <a:pt x="14" y="6"/>
                    </a:lnTo>
                    <a:lnTo>
                      <a:pt x="32" y="10"/>
                    </a:lnTo>
                    <a:lnTo>
                      <a:pt x="38" y="10"/>
                    </a:lnTo>
                    <a:lnTo>
                      <a:pt x="34" y="6"/>
                    </a:lnTo>
                    <a:lnTo>
                      <a:pt x="32" y="4"/>
                    </a:lnTo>
                    <a:lnTo>
                      <a:pt x="34" y="2"/>
                    </a:lnTo>
                    <a:lnTo>
                      <a:pt x="38" y="0"/>
                    </a:lnTo>
                    <a:lnTo>
                      <a:pt x="42" y="4"/>
                    </a:lnTo>
                    <a:lnTo>
                      <a:pt x="50" y="8"/>
                    </a:lnTo>
                    <a:lnTo>
                      <a:pt x="50"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1" name="Freeform 233"/>
              <p:cNvSpPr>
                <a:spLocks noChangeAspect="1"/>
              </p:cNvSpPr>
              <p:nvPr/>
            </p:nvSpPr>
            <p:spPr bwMode="auto">
              <a:xfrm>
                <a:off x="6352582" y="4418840"/>
                <a:ext cx="106742" cy="90649"/>
              </a:xfrm>
              <a:custGeom>
                <a:avLst/>
                <a:gdLst/>
                <a:ahLst/>
                <a:cxnLst>
                  <a:cxn ang="0">
                    <a:pos x="60" y="52"/>
                  </a:cxn>
                  <a:cxn ang="0">
                    <a:pos x="54" y="58"/>
                  </a:cxn>
                  <a:cxn ang="0">
                    <a:pos x="58" y="64"/>
                  </a:cxn>
                  <a:cxn ang="0">
                    <a:pos x="62" y="72"/>
                  </a:cxn>
                  <a:cxn ang="0">
                    <a:pos x="58" y="78"/>
                  </a:cxn>
                  <a:cxn ang="0">
                    <a:pos x="52" y="78"/>
                  </a:cxn>
                  <a:cxn ang="0">
                    <a:pos x="48" y="76"/>
                  </a:cxn>
                  <a:cxn ang="0">
                    <a:pos x="42" y="74"/>
                  </a:cxn>
                  <a:cxn ang="0">
                    <a:pos x="34" y="62"/>
                  </a:cxn>
                  <a:cxn ang="0">
                    <a:pos x="34" y="52"/>
                  </a:cxn>
                  <a:cxn ang="0">
                    <a:pos x="32" y="44"/>
                  </a:cxn>
                  <a:cxn ang="0">
                    <a:pos x="24" y="48"/>
                  </a:cxn>
                  <a:cxn ang="0">
                    <a:pos x="18" y="46"/>
                  </a:cxn>
                  <a:cxn ang="0">
                    <a:pos x="12" y="44"/>
                  </a:cxn>
                  <a:cxn ang="0">
                    <a:pos x="8" y="56"/>
                  </a:cxn>
                  <a:cxn ang="0">
                    <a:pos x="4" y="66"/>
                  </a:cxn>
                  <a:cxn ang="0">
                    <a:pos x="0" y="66"/>
                  </a:cxn>
                  <a:cxn ang="0">
                    <a:pos x="2" y="54"/>
                  </a:cxn>
                  <a:cxn ang="0">
                    <a:pos x="0" y="42"/>
                  </a:cxn>
                  <a:cxn ang="0">
                    <a:pos x="6" y="34"/>
                  </a:cxn>
                  <a:cxn ang="0">
                    <a:pos x="14" y="28"/>
                  </a:cxn>
                  <a:cxn ang="0">
                    <a:pos x="18" y="24"/>
                  </a:cxn>
                  <a:cxn ang="0">
                    <a:pos x="26" y="24"/>
                  </a:cxn>
                  <a:cxn ang="0">
                    <a:pos x="30" y="28"/>
                  </a:cxn>
                  <a:cxn ang="0">
                    <a:pos x="36" y="30"/>
                  </a:cxn>
                  <a:cxn ang="0">
                    <a:pos x="40" y="24"/>
                  </a:cxn>
                  <a:cxn ang="0">
                    <a:pos x="44" y="18"/>
                  </a:cxn>
                  <a:cxn ang="0">
                    <a:pos x="52" y="14"/>
                  </a:cxn>
                  <a:cxn ang="0">
                    <a:pos x="54" y="0"/>
                  </a:cxn>
                  <a:cxn ang="0">
                    <a:pos x="62" y="6"/>
                  </a:cxn>
                  <a:cxn ang="0">
                    <a:pos x="70" y="26"/>
                  </a:cxn>
                  <a:cxn ang="0">
                    <a:pos x="74" y="52"/>
                  </a:cxn>
                  <a:cxn ang="0">
                    <a:pos x="70" y="62"/>
                  </a:cxn>
                  <a:cxn ang="0">
                    <a:pos x="68" y="66"/>
                  </a:cxn>
                  <a:cxn ang="0">
                    <a:pos x="62" y="52"/>
                  </a:cxn>
                </a:cxnLst>
                <a:rect l="0" t="0" r="r" b="b"/>
                <a:pathLst>
                  <a:path w="76" h="78">
                    <a:moveTo>
                      <a:pt x="64" y="56"/>
                    </a:moveTo>
                    <a:lnTo>
                      <a:pt x="60" y="52"/>
                    </a:lnTo>
                    <a:lnTo>
                      <a:pt x="56" y="54"/>
                    </a:lnTo>
                    <a:lnTo>
                      <a:pt x="54" y="58"/>
                    </a:lnTo>
                    <a:lnTo>
                      <a:pt x="56" y="62"/>
                    </a:lnTo>
                    <a:lnTo>
                      <a:pt x="58" y="64"/>
                    </a:lnTo>
                    <a:lnTo>
                      <a:pt x="60" y="68"/>
                    </a:lnTo>
                    <a:lnTo>
                      <a:pt x="62" y="72"/>
                    </a:lnTo>
                    <a:lnTo>
                      <a:pt x="60" y="78"/>
                    </a:lnTo>
                    <a:lnTo>
                      <a:pt x="58" y="78"/>
                    </a:lnTo>
                    <a:lnTo>
                      <a:pt x="54" y="78"/>
                    </a:lnTo>
                    <a:lnTo>
                      <a:pt x="52" y="78"/>
                    </a:lnTo>
                    <a:lnTo>
                      <a:pt x="52" y="74"/>
                    </a:lnTo>
                    <a:lnTo>
                      <a:pt x="48" y="76"/>
                    </a:lnTo>
                    <a:lnTo>
                      <a:pt x="46" y="76"/>
                    </a:lnTo>
                    <a:lnTo>
                      <a:pt x="42" y="74"/>
                    </a:lnTo>
                    <a:lnTo>
                      <a:pt x="36" y="70"/>
                    </a:lnTo>
                    <a:lnTo>
                      <a:pt x="34" y="62"/>
                    </a:lnTo>
                    <a:lnTo>
                      <a:pt x="32" y="54"/>
                    </a:lnTo>
                    <a:lnTo>
                      <a:pt x="34" y="52"/>
                    </a:lnTo>
                    <a:lnTo>
                      <a:pt x="36" y="50"/>
                    </a:lnTo>
                    <a:lnTo>
                      <a:pt x="32" y="44"/>
                    </a:lnTo>
                    <a:lnTo>
                      <a:pt x="24" y="44"/>
                    </a:lnTo>
                    <a:lnTo>
                      <a:pt x="24" y="48"/>
                    </a:lnTo>
                    <a:lnTo>
                      <a:pt x="20" y="48"/>
                    </a:lnTo>
                    <a:lnTo>
                      <a:pt x="18" y="46"/>
                    </a:lnTo>
                    <a:lnTo>
                      <a:pt x="16" y="48"/>
                    </a:lnTo>
                    <a:lnTo>
                      <a:pt x="12" y="44"/>
                    </a:lnTo>
                    <a:lnTo>
                      <a:pt x="10" y="50"/>
                    </a:lnTo>
                    <a:lnTo>
                      <a:pt x="8" y="56"/>
                    </a:lnTo>
                    <a:lnTo>
                      <a:pt x="6" y="64"/>
                    </a:lnTo>
                    <a:lnTo>
                      <a:pt x="4" y="66"/>
                    </a:lnTo>
                    <a:lnTo>
                      <a:pt x="2" y="68"/>
                    </a:lnTo>
                    <a:lnTo>
                      <a:pt x="0" y="66"/>
                    </a:lnTo>
                    <a:lnTo>
                      <a:pt x="0" y="62"/>
                    </a:lnTo>
                    <a:lnTo>
                      <a:pt x="2" y="54"/>
                    </a:lnTo>
                    <a:lnTo>
                      <a:pt x="0" y="50"/>
                    </a:lnTo>
                    <a:lnTo>
                      <a:pt x="0" y="42"/>
                    </a:lnTo>
                    <a:lnTo>
                      <a:pt x="2" y="34"/>
                    </a:lnTo>
                    <a:lnTo>
                      <a:pt x="6" y="34"/>
                    </a:lnTo>
                    <a:lnTo>
                      <a:pt x="10" y="32"/>
                    </a:lnTo>
                    <a:lnTo>
                      <a:pt x="14" y="28"/>
                    </a:lnTo>
                    <a:lnTo>
                      <a:pt x="16" y="24"/>
                    </a:lnTo>
                    <a:lnTo>
                      <a:pt x="18" y="24"/>
                    </a:lnTo>
                    <a:lnTo>
                      <a:pt x="20" y="22"/>
                    </a:lnTo>
                    <a:lnTo>
                      <a:pt x="26" y="24"/>
                    </a:lnTo>
                    <a:lnTo>
                      <a:pt x="28" y="26"/>
                    </a:lnTo>
                    <a:lnTo>
                      <a:pt x="30" y="28"/>
                    </a:lnTo>
                    <a:lnTo>
                      <a:pt x="32" y="30"/>
                    </a:lnTo>
                    <a:lnTo>
                      <a:pt x="36" y="30"/>
                    </a:lnTo>
                    <a:lnTo>
                      <a:pt x="36" y="26"/>
                    </a:lnTo>
                    <a:lnTo>
                      <a:pt x="40" y="24"/>
                    </a:lnTo>
                    <a:lnTo>
                      <a:pt x="42" y="20"/>
                    </a:lnTo>
                    <a:lnTo>
                      <a:pt x="44" y="18"/>
                    </a:lnTo>
                    <a:lnTo>
                      <a:pt x="48" y="16"/>
                    </a:lnTo>
                    <a:lnTo>
                      <a:pt x="52" y="14"/>
                    </a:lnTo>
                    <a:lnTo>
                      <a:pt x="52" y="6"/>
                    </a:lnTo>
                    <a:lnTo>
                      <a:pt x="54" y="0"/>
                    </a:lnTo>
                    <a:lnTo>
                      <a:pt x="58" y="2"/>
                    </a:lnTo>
                    <a:lnTo>
                      <a:pt x="62" y="6"/>
                    </a:lnTo>
                    <a:lnTo>
                      <a:pt x="68" y="14"/>
                    </a:lnTo>
                    <a:lnTo>
                      <a:pt x="70" y="26"/>
                    </a:lnTo>
                    <a:lnTo>
                      <a:pt x="76" y="50"/>
                    </a:lnTo>
                    <a:lnTo>
                      <a:pt x="74" y="52"/>
                    </a:lnTo>
                    <a:lnTo>
                      <a:pt x="72" y="56"/>
                    </a:lnTo>
                    <a:lnTo>
                      <a:pt x="70" y="62"/>
                    </a:lnTo>
                    <a:lnTo>
                      <a:pt x="70" y="68"/>
                    </a:lnTo>
                    <a:lnTo>
                      <a:pt x="68" y="66"/>
                    </a:lnTo>
                    <a:lnTo>
                      <a:pt x="66" y="60"/>
                    </a:lnTo>
                    <a:lnTo>
                      <a:pt x="62" y="52"/>
                    </a:lnTo>
                    <a:lnTo>
                      <a:pt x="64" y="5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2" name="Freeform 234"/>
              <p:cNvSpPr>
                <a:spLocks noChangeAspect="1"/>
              </p:cNvSpPr>
              <p:nvPr/>
            </p:nvSpPr>
            <p:spPr bwMode="auto">
              <a:xfrm>
                <a:off x="6245840" y="4397369"/>
                <a:ext cx="54047" cy="47710"/>
              </a:xfrm>
              <a:custGeom>
                <a:avLst/>
                <a:gdLst/>
                <a:ahLst/>
                <a:cxnLst>
                  <a:cxn ang="0">
                    <a:pos x="4" y="42"/>
                  </a:cxn>
                  <a:cxn ang="0">
                    <a:pos x="0" y="42"/>
                  </a:cxn>
                  <a:cxn ang="0">
                    <a:pos x="2" y="38"/>
                  </a:cxn>
                  <a:cxn ang="0">
                    <a:pos x="6" y="34"/>
                  </a:cxn>
                  <a:cxn ang="0">
                    <a:pos x="14" y="24"/>
                  </a:cxn>
                  <a:cxn ang="0">
                    <a:pos x="24" y="16"/>
                  </a:cxn>
                  <a:cxn ang="0">
                    <a:pos x="30" y="8"/>
                  </a:cxn>
                  <a:cxn ang="0">
                    <a:pos x="32" y="4"/>
                  </a:cxn>
                  <a:cxn ang="0">
                    <a:pos x="34" y="0"/>
                  </a:cxn>
                  <a:cxn ang="0">
                    <a:pos x="34" y="4"/>
                  </a:cxn>
                  <a:cxn ang="0">
                    <a:pos x="36" y="6"/>
                  </a:cxn>
                  <a:cxn ang="0">
                    <a:pos x="38" y="10"/>
                  </a:cxn>
                  <a:cxn ang="0">
                    <a:pos x="36" y="12"/>
                  </a:cxn>
                  <a:cxn ang="0">
                    <a:pos x="32" y="14"/>
                  </a:cxn>
                  <a:cxn ang="0">
                    <a:pos x="32" y="16"/>
                  </a:cxn>
                  <a:cxn ang="0">
                    <a:pos x="30" y="18"/>
                  </a:cxn>
                  <a:cxn ang="0">
                    <a:pos x="22" y="18"/>
                  </a:cxn>
                  <a:cxn ang="0">
                    <a:pos x="20" y="28"/>
                  </a:cxn>
                  <a:cxn ang="0">
                    <a:pos x="14" y="36"/>
                  </a:cxn>
                  <a:cxn ang="0">
                    <a:pos x="10" y="40"/>
                  </a:cxn>
                  <a:cxn ang="0">
                    <a:pos x="4" y="42"/>
                  </a:cxn>
                </a:cxnLst>
                <a:rect l="0" t="0" r="r" b="b"/>
                <a:pathLst>
                  <a:path w="38" h="42">
                    <a:moveTo>
                      <a:pt x="4" y="42"/>
                    </a:moveTo>
                    <a:lnTo>
                      <a:pt x="0" y="42"/>
                    </a:lnTo>
                    <a:lnTo>
                      <a:pt x="2" y="38"/>
                    </a:lnTo>
                    <a:lnTo>
                      <a:pt x="6" y="34"/>
                    </a:lnTo>
                    <a:lnTo>
                      <a:pt x="14" y="24"/>
                    </a:lnTo>
                    <a:lnTo>
                      <a:pt x="24" y="16"/>
                    </a:lnTo>
                    <a:lnTo>
                      <a:pt x="30" y="8"/>
                    </a:lnTo>
                    <a:lnTo>
                      <a:pt x="32" y="4"/>
                    </a:lnTo>
                    <a:lnTo>
                      <a:pt x="34" y="0"/>
                    </a:lnTo>
                    <a:lnTo>
                      <a:pt x="34" y="4"/>
                    </a:lnTo>
                    <a:lnTo>
                      <a:pt x="36" y="6"/>
                    </a:lnTo>
                    <a:lnTo>
                      <a:pt x="38" y="10"/>
                    </a:lnTo>
                    <a:lnTo>
                      <a:pt x="36" y="12"/>
                    </a:lnTo>
                    <a:lnTo>
                      <a:pt x="32" y="14"/>
                    </a:lnTo>
                    <a:lnTo>
                      <a:pt x="32" y="16"/>
                    </a:lnTo>
                    <a:lnTo>
                      <a:pt x="30" y="18"/>
                    </a:lnTo>
                    <a:lnTo>
                      <a:pt x="22" y="18"/>
                    </a:lnTo>
                    <a:lnTo>
                      <a:pt x="20" y="28"/>
                    </a:lnTo>
                    <a:lnTo>
                      <a:pt x="14" y="36"/>
                    </a:lnTo>
                    <a:lnTo>
                      <a:pt x="10" y="40"/>
                    </a:lnTo>
                    <a:lnTo>
                      <a:pt x="4" y="4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3" name="Freeform 235"/>
              <p:cNvSpPr>
                <a:spLocks noChangeAspect="1"/>
              </p:cNvSpPr>
              <p:nvPr/>
            </p:nvSpPr>
            <p:spPr bwMode="auto">
              <a:xfrm>
                <a:off x="6285024" y="4230385"/>
                <a:ext cx="104040" cy="131202"/>
              </a:xfrm>
              <a:custGeom>
                <a:avLst/>
                <a:gdLst/>
                <a:ahLst/>
                <a:cxnLst>
                  <a:cxn ang="0">
                    <a:pos x="8" y="38"/>
                  </a:cxn>
                  <a:cxn ang="0">
                    <a:pos x="6" y="20"/>
                  </a:cxn>
                  <a:cxn ang="0">
                    <a:pos x="6" y="4"/>
                  </a:cxn>
                  <a:cxn ang="0">
                    <a:pos x="10" y="0"/>
                  </a:cxn>
                  <a:cxn ang="0">
                    <a:pos x="14" y="6"/>
                  </a:cxn>
                  <a:cxn ang="0">
                    <a:pos x="20" y="10"/>
                  </a:cxn>
                  <a:cxn ang="0">
                    <a:pos x="24" y="8"/>
                  </a:cxn>
                  <a:cxn ang="0">
                    <a:pos x="28" y="8"/>
                  </a:cxn>
                  <a:cxn ang="0">
                    <a:pos x="32" y="18"/>
                  </a:cxn>
                  <a:cxn ang="0">
                    <a:pos x="36" y="30"/>
                  </a:cxn>
                  <a:cxn ang="0">
                    <a:pos x="36" y="44"/>
                  </a:cxn>
                  <a:cxn ang="0">
                    <a:pos x="28" y="54"/>
                  </a:cxn>
                  <a:cxn ang="0">
                    <a:pos x="28" y="70"/>
                  </a:cxn>
                  <a:cxn ang="0">
                    <a:pos x="36" y="82"/>
                  </a:cxn>
                  <a:cxn ang="0">
                    <a:pos x="40" y="84"/>
                  </a:cxn>
                  <a:cxn ang="0">
                    <a:pos x="46" y="80"/>
                  </a:cxn>
                  <a:cxn ang="0">
                    <a:pos x="54" y="86"/>
                  </a:cxn>
                  <a:cxn ang="0">
                    <a:pos x="60" y="92"/>
                  </a:cxn>
                  <a:cxn ang="0">
                    <a:pos x="64" y="88"/>
                  </a:cxn>
                  <a:cxn ang="0">
                    <a:pos x="64" y="94"/>
                  </a:cxn>
                  <a:cxn ang="0">
                    <a:pos x="64" y="98"/>
                  </a:cxn>
                  <a:cxn ang="0">
                    <a:pos x="68" y="100"/>
                  </a:cxn>
                  <a:cxn ang="0">
                    <a:pos x="74" y="106"/>
                  </a:cxn>
                  <a:cxn ang="0">
                    <a:pos x="72" y="110"/>
                  </a:cxn>
                  <a:cxn ang="0">
                    <a:pos x="68" y="106"/>
                  </a:cxn>
                  <a:cxn ang="0">
                    <a:pos x="60" y="98"/>
                  </a:cxn>
                  <a:cxn ang="0">
                    <a:pos x="50" y="90"/>
                  </a:cxn>
                  <a:cxn ang="0">
                    <a:pos x="48" y="96"/>
                  </a:cxn>
                  <a:cxn ang="0">
                    <a:pos x="44" y="100"/>
                  </a:cxn>
                  <a:cxn ang="0">
                    <a:pos x="38" y="90"/>
                  </a:cxn>
                  <a:cxn ang="0">
                    <a:pos x="30" y="90"/>
                  </a:cxn>
                  <a:cxn ang="0">
                    <a:pos x="22" y="90"/>
                  </a:cxn>
                  <a:cxn ang="0">
                    <a:pos x="16" y="84"/>
                  </a:cxn>
                  <a:cxn ang="0">
                    <a:pos x="20" y="76"/>
                  </a:cxn>
                  <a:cxn ang="0">
                    <a:pos x="16" y="72"/>
                  </a:cxn>
                  <a:cxn ang="0">
                    <a:pos x="12" y="74"/>
                  </a:cxn>
                  <a:cxn ang="0">
                    <a:pos x="2" y="70"/>
                  </a:cxn>
                  <a:cxn ang="0">
                    <a:pos x="0" y="52"/>
                  </a:cxn>
                  <a:cxn ang="0">
                    <a:pos x="4" y="46"/>
                  </a:cxn>
                </a:cxnLst>
                <a:rect l="0" t="0" r="r" b="b"/>
                <a:pathLst>
                  <a:path w="74" h="110">
                    <a:moveTo>
                      <a:pt x="4" y="46"/>
                    </a:moveTo>
                    <a:lnTo>
                      <a:pt x="8" y="38"/>
                    </a:lnTo>
                    <a:lnTo>
                      <a:pt x="8" y="30"/>
                    </a:lnTo>
                    <a:lnTo>
                      <a:pt x="6" y="20"/>
                    </a:lnTo>
                    <a:lnTo>
                      <a:pt x="4" y="12"/>
                    </a:lnTo>
                    <a:lnTo>
                      <a:pt x="6" y="4"/>
                    </a:lnTo>
                    <a:lnTo>
                      <a:pt x="8" y="2"/>
                    </a:lnTo>
                    <a:lnTo>
                      <a:pt x="10" y="0"/>
                    </a:lnTo>
                    <a:lnTo>
                      <a:pt x="12" y="2"/>
                    </a:lnTo>
                    <a:lnTo>
                      <a:pt x="14" y="6"/>
                    </a:lnTo>
                    <a:lnTo>
                      <a:pt x="16" y="10"/>
                    </a:lnTo>
                    <a:lnTo>
                      <a:pt x="20" y="10"/>
                    </a:lnTo>
                    <a:lnTo>
                      <a:pt x="22" y="10"/>
                    </a:lnTo>
                    <a:lnTo>
                      <a:pt x="24" y="8"/>
                    </a:lnTo>
                    <a:lnTo>
                      <a:pt x="28" y="4"/>
                    </a:lnTo>
                    <a:lnTo>
                      <a:pt x="28" y="8"/>
                    </a:lnTo>
                    <a:lnTo>
                      <a:pt x="30" y="12"/>
                    </a:lnTo>
                    <a:lnTo>
                      <a:pt x="32" y="18"/>
                    </a:lnTo>
                    <a:lnTo>
                      <a:pt x="34" y="22"/>
                    </a:lnTo>
                    <a:lnTo>
                      <a:pt x="36" y="30"/>
                    </a:lnTo>
                    <a:lnTo>
                      <a:pt x="36" y="36"/>
                    </a:lnTo>
                    <a:lnTo>
                      <a:pt x="36" y="44"/>
                    </a:lnTo>
                    <a:lnTo>
                      <a:pt x="32" y="48"/>
                    </a:lnTo>
                    <a:lnTo>
                      <a:pt x="28" y="54"/>
                    </a:lnTo>
                    <a:lnTo>
                      <a:pt x="26" y="62"/>
                    </a:lnTo>
                    <a:lnTo>
                      <a:pt x="28" y="70"/>
                    </a:lnTo>
                    <a:lnTo>
                      <a:pt x="32" y="76"/>
                    </a:lnTo>
                    <a:lnTo>
                      <a:pt x="36" y="82"/>
                    </a:lnTo>
                    <a:lnTo>
                      <a:pt x="40" y="86"/>
                    </a:lnTo>
                    <a:lnTo>
                      <a:pt x="40" y="84"/>
                    </a:lnTo>
                    <a:lnTo>
                      <a:pt x="42" y="80"/>
                    </a:lnTo>
                    <a:lnTo>
                      <a:pt x="46" y="80"/>
                    </a:lnTo>
                    <a:lnTo>
                      <a:pt x="50" y="82"/>
                    </a:lnTo>
                    <a:lnTo>
                      <a:pt x="54" y="86"/>
                    </a:lnTo>
                    <a:lnTo>
                      <a:pt x="56" y="90"/>
                    </a:lnTo>
                    <a:lnTo>
                      <a:pt x="60" y="92"/>
                    </a:lnTo>
                    <a:lnTo>
                      <a:pt x="62" y="90"/>
                    </a:lnTo>
                    <a:lnTo>
                      <a:pt x="64" y="88"/>
                    </a:lnTo>
                    <a:lnTo>
                      <a:pt x="66" y="90"/>
                    </a:lnTo>
                    <a:lnTo>
                      <a:pt x="64" y="94"/>
                    </a:lnTo>
                    <a:lnTo>
                      <a:pt x="64" y="96"/>
                    </a:lnTo>
                    <a:lnTo>
                      <a:pt x="64" y="98"/>
                    </a:lnTo>
                    <a:lnTo>
                      <a:pt x="66" y="96"/>
                    </a:lnTo>
                    <a:lnTo>
                      <a:pt x="68" y="100"/>
                    </a:lnTo>
                    <a:lnTo>
                      <a:pt x="74" y="102"/>
                    </a:lnTo>
                    <a:lnTo>
                      <a:pt x="74" y="106"/>
                    </a:lnTo>
                    <a:lnTo>
                      <a:pt x="74" y="110"/>
                    </a:lnTo>
                    <a:lnTo>
                      <a:pt x="72" y="110"/>
                    </a:lnTo>
                    <a:lnTo>
                      <a:pt x="70" y="108"/>
                    </a:lnTo>
                    <a:lnTo>
                      <a:pt x="68" y="106"/>
                    </a:lnTo>
                    <a:lnTo>
                      <a:pt x="64" y="100"/>
                    </a:lnTo>
                    <a:lnTo>
                      <a:pt x="60" y="98"/>
                    </a:lnTo>
                    <a:lnTo>
                      <a:pt x="54" y="94"/>
                    </a:lnTo>
                    <a:lnTo>
                      <a:pt x="50" y="90"/>
                    </a:lnTo>
                    <a:lnTo>
                      <a:pt x="48" y="92"/>
                    </a:lnTo>
                    <a:lnTo>
                      <a:pt x="48" y="96"/>
                    </a:lnTo>
                    <a:lnTo>
                      <a:pt x="50" y="100"/>
                    </a:lnTo>
                    <a:lnTo>
                      <a:pt x="44" y="100"/>
                    </a:lnTo>
                    <a:lnTo>
                      <a:pt x="42" y="94"/>
                    </a:lnTo>
                    <a:lnTo>
                      <a:pt x="38" y="90"/>
                    </a:lnTo>
                    <a:lnTo>
                      <a:pt x="34" y="88"/>
                    </a:lnTo>
                    <a:lnTo>
                      <a:pt x="30" y="90"/>
                    </a:lnTo>
                    <a:lnTo>
                      <a:pt x="26" y="92"/>
                    </a:lnTo>
                    <a:lnTo>
                      <a:pt x="22" y="90"/>
                    </a:lnTo>
                    <a:lnTo>
                      <a:pt x="20" y="88"/>
                    </a:lnTo>
                    <a:lnTo>
                      <a:pt x="16" y="84"/>
                    </a:lnTo>
                    <a:lnTo>
                      <a:pt x="18" y="80"/>
                    </a:lnTo>
                    <a:lnTo>
                      <a:pt x="20" y="76"/>
                    </a:lnTo>
                    <a:lnTo>
                      <a:pt x="20" y="72"/>
                    </a:lnTo>
                    <a:lnTo>
                      <a:pt x="16" y="72"/>
                    </a:lnTo>
                    <a:lnTo>
                      <a:pt x="14" y="74"/>
                    </a:lnTo>
                    <a:lnTo>
                      <a:pt x="12" y="74"/>
                    </a:lnTo>
                    <a:lnTo>
                      <a:pt x="6" y="72"/>
                    </a:lnTo>
                    <a:lnTo>
                      <a:pt x="2" y="70"/>
                    </a:lnTo>
                    <a:lnTo>
                      <a:pt x="0" y="66"/>
                    </a:lnTo>
                    <a:lnTo>
                      <a:pt x="0" y="52"/>
                    </a:lnTo>
                    <a:lnTo>
                      <a:pt x="2" y="46"/>
                    </a:lnTo>
                    <a:lnTo>
                      <a:pt x="4" y="4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4" name="Freeform 236"/>
              <p:cNvSpPr>
                <a:spLocks noChangeAspect="1"/>
              </p:cNvSpPr>
              <p:nvPr/>
            </p:nvSpPr>
            <p:spPr bwMode="auto">
              <a:xfrm>
                <a:off x="6394468" y="4363972"/>
                <a:ext cx="33780" cy="48902"/>
              </a:xfrm>
              <a:custGeom>
                <a:avLst/>
                <a:gdLst/>
                <a:ahLst/>
                <a:cxnLst>
                  <a:cxn ang="0">
                    <a:pos x="22" y="28"/>
                  </a:cxn>
                  <a:cxn ang="0">
                    <a:pos x="14" y="28"/>
                  </a:cxn>
                  <a:cxn ang="0">
                    <a:pos x="14" y="36"/>
                  </a:cxn>
                  <a:cxn ang="0">
                    <a:pos x="18" y="40"/>
                  </a:cxn>
                  <a:cxn ang="0">
                    <a:pos x="18" y="42"/>
                  </a:cxn>
                  <a:cxn ang="0">
                    <a:pos x="14" y="42"/>
                  </a:cxn>
                  <a:cxn ang="0">
                    <a:pos x="12" y="42"/>
                  </a:cxn>
                  <a:cxn ang="0">
                    <a:pos x="10" y="42"/>
                  </a:cxn>
                  <a:cxn ang="0">
                    <a:pos x="10" y="38"/>
                  </a:cxn>
                  <a:cxn ang="0">
                    <a:pos x="12" y="36"/>
                  </a:cxn>
                  <a:cxn ang="0">
                    <a:pos x="12" y="32"/>
                  </a:cxn>
                  <a:cxn ang="0">
                    <a:pos x="8" y="32"/>
                  </a:cxn>
                  <a:cxn ang="0">
                    <a:pos x="6" y="30"/>
                  </a:cxn>
                  <a:cxn ang="0">
                    <a:pos x="2" y="24"/>
                  </a:cxn>
                  <a:cxn ang="0">
                    <a:pos x="2" y="22"/>
                  </a:cxn>
                  <a:cxn ang="0">
                    <a:pos x="10" y="22"/>
                  </a:cxn>
                  <a:cxn ang="0">
                    <a:pos x="12" y="20"/>
                  </a:cxn>
                  <a:cxn ang="0">
                    <a:pos x="14" y="18"/>
                  </a:cxn>
                  <a:cxn ang="0">
                    <a:pos x="12" y="14"/>
                  </a:cxn>
                  <a:cxn ang="0">
                    <a:pos x="6" y="10"/>
                  </a:cxn>
                  <a:cxn ang="0">
                    <a:pos x="2" y="6"/>
                  </a:cxn>
                  <a:cxn ang="0">
                    <a:pos x="0" y="2"/>
                  </a:cxn>
                  <a:cxn ang="0">
                    <a:pos x="4" y="0"/>
                  </a:cxn>
                  <a:cxn ang="0">
                    <a:pos x="12" y="0"/>
                  </a:cxn>
                  <a:cxn ang="0">
                    <a:pos x="16" y="2"/>
                  </a:cxn>
                  <a:cxn ang="0">
                    <a:pos x="16" y="8"/>
                  </a:cxn>
                  <a:cxn ang="0">
                    <a:pos x="20" y="8"/>
                  </a:cxn>
                  <a:cxn ang="0">
                    <a:pos x="20" y="16"/>
                  </a:cxn>
                  <a:cxn ang="0">
                    <a:pos x="24" y="22"/>
                  </a:cxn>
                  <a:cxn ang="0">
                    <a:pos x="22" y="28"/>
                  </a:cxn>
                </a:cxnLst>
                <a:rect l="0" t="0" r="r" b="b"/>
                <a:pathLst>
                  <a:path w="24" h="42">
                    <a:moveTo>
                      <a:pt x="22" y="28"/>
                    </a:moveTo>
                    <a:lnTo>
                      <a:pt x="14" y="28"/>
                    </a:lnTo>
                    <a:lnTo>
                      <a:pt x="14" y="36"/>
                    </a:lnTo>
                    <a:lnTo>
                      <a:pt x="18" y="40"/>
                    </a:lnTo>
                    <a:lnTo>
                      <a:pt x="18" y="42"/>
                    </a:lnTo>
                    <a:lnTo>
                      <a:pt x="14" y="42"/>
                    </a:lnTo>
                    <a:lnTo>
                      <a:pt x="12" y="42"/>
                    </a:lnTo>
                    <a:lnTo>
                      <a:pt x="10" y="42"/>
                    </a:lnTo>
                    <a:lnTo>
                      <a:pt x="10" y="38"/>
                    </a:lnTo>
                    <a:lnTo>
                      <a:pt x="12" y="36"/>
                    </a:lnTo>
                    <a:lnTo>
                      <a:pt x="12" y="32"/>
                    </a:lnTo>
                    <a:lnTo>
                      <a:pt x="8" y="32"/>
                    </a:lnTo>
                    <a:lnTo>
                      <a:pt x="6" y="30"/>
                    </a:lnTo>
                    <a:lnTo>
                      <a:pt x="2" y="24"/>
                    </a:lnTo>
                    <a:lnTo>
                      <a:pt x="2" y="22"/>
                    </a:lnTo>
                    <a:lnTo>
                      <a:pt x="10" y="22"/>
                    </a:lnTo>
                    <a:lnTo>
                      <a:pt x="12" y="20"/>
                    </a:lnTo>
                    <a:lnTo>
                      <a:pt x="14" y="18"/>
                    </a:lnTo>
                    <a:lnTo>
                      <a:pt x="12" y="14"/>
                    </a:lnTo>
                    <a:lnTo>
                      <a:pt x="6" y="10"/>
                    </a:lnTo>
                    <a:lnTo>
                      <a:pt x="2" y="6"/>
                    </a:lnTo>
                    <a:lnTo>
                      <a:pt x="0" y="2"/>
                    </a:lnTo>
                    <a:lnTo>
                      <a:pt x="4" y="0"/>
                    </a:lnTo>
                    <a:lnTo>
                      <a:pt x="12" y="0"/>
                    </a:lnTo>
                    <a:lnTo>
                      <a:pt x="16" y="2"/>
                    </a:lnTo>
                    <a:lnTo>
                      <a:pt x="16" y="8"/>
                    </a:lnTo>
                    <a:lnTo>
                      <a:pt x="20" y="8"/>
                    </a:lnTo>
                    <a:lnTo>
                      <a:pt x="20" y="16"/>
                    </a:lnTo>
                    <a:lnTo>
                      <a:pt x="24" y="22"/>
                    </a:lnTo>
                    <a:lnTo>
                      <a:pt x="22" y="2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5" name="Freeform 237"/>
              <p:cNvSpPr>
                <a:spLocks noChangeAspect="1"/>
              </p:cNvSpPr>
              <p:nvPr/>
            </p:nvSpPr>
            <p:spPr bwMode="auto">
              <a:xfrm>
                <a:off x="6340421" y="4378285"/>
                <a:ext cx="32428" cy="32204"/>
              </a:xfrm>
              <a:custGeom>
                <a:avLst/>
                <a:gdLst/>
                <a:ahLst/>
                <a:cxnLst>
                  <a:cxn ang="0">
                    <a:pos x="10" y="4"/>
                  </a:cxn>
                  <a:cxn ang="0">
                    <a:pos x="12" y="4"/>
                  </a:cxn>
                  <a:cxn ang="0">
                    <a:pos x="14" y="4"/>
                  </a:cxn>
                  <a:cxn ang="0">
                    <a:pos x="20" y="6"/>
                  </a:cxn>
                  <a:cxn ang="0">
                    <a:pos x="22" y="10"/>
                  </a:cxn>
                  <a:cxn ang="0">
                    <a:pos x="20" y="16"/>
                  </a:cxn>
                  <a:cxn ang="0">
                    <a:pos x="14" y="22"/>
                  </a:cxn>
                  <a:cxn ang="0">
                    <a:pos x="2" y="28"/>
                  </a:cxn>
                  <a:cxn ang="0">
                    <a:pos x="2" y="14"/>
                  </a:cxn>
                  <a:cxn ang="0">
                    <a:pos x="0" y="4"/>
                  </a:cxn>
                  <a:cxn ang="0">
                    <a:pos x="2" y="2"/>
                  </a:cxn>
                  <a:cxn ang="0">
                    <a:pos x="4" y="0"/>
                  </a:cxn>
                  <a:cxn ang="0">
                    <a:pos x="8" y="4"/>
                  </a:cxn>
                  <a:cxn ang="0">
                    <a:pos x="10" y="4"/>
                  </a:cxn>
                </a:cxnLst>
                <a:rect l="0" t="0" r="r" b="b"/>
                <a:pathLst>
                  <a:path w="22" h="28">
                    <a:moveTo>
                      <a:pt x="10" y="4"/>
                    </a:moveTo>
                    <a:lnTo>
                      <a:pt x="12" y="4"/>
                    </a:lnTo>
                    <a:lnTo>
                      <a:pt x="14" y="4"/>
                    </a:lnTo>
                    <a:lnTo>
                      <a:pt x="20" y="6"/>
                    </a:lnTo>
                    <a:lnTo>
                      <a:pt x="22" y="10"/>
                    </a:lnTo>
                    <a:lnTo>
                      <a:pt x="20" y="16"/>
                    </a:lnTo>
                    <a:lnTo>
                      <a:pt x="14" y="22"/>
                    </a:lnTo>
                    <a:lnTo>
                      <a:pt x="2" y="28"/>
                    </a:lnTo>
                    <a:lnTo>
                      <a:pt x="2" y="14"/>
                    </a:lnTo>
                    <a:lnTo>
                      <a:pt x="0" y="4"/>
                    </a:lnTo>
                    <a:lnTo>
                      <a:pt x="2" y="2"/>
                    </a:lnTo>
                    <a:lnTo>
                      <a:pt x="4" y="0"/>
                    </a:lnTo>
                    <a:lnTo>
                      <a:pt x="8" y="4"/>
                    </a:lnTo>
                    <a:lnTo>
                      <a:pt x="10" y="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6" name="Freeform 238"/>
              <p:cNvSpPr>
                <a:spLocks noChangeAspect="1"/>
              </p:cNvSpPr>
              <p:nvPr/>
            </p:nvSpPr>
            <p:spPr bwMode="auto">
              <a:xfrm>
                <a:off x="7095728" y="4749229"/>
                <a:ext cx="21619" cy="35782"/>
              </a:xfrm>
              <a:custGeom>
                <a:avLst/>
                <a:gdLst/>
                <a:ahLst/>
                <a:cxnLst>
                  <a:cxn ang="0">
                    <a:pos x="16" y="18"/>
                  </a:cxn>
                  <a:cxn ang="0">
                    <a:pos x="16" y="24"/>
                  </a:cxn>
                  <a:cxn ang="0">
                    <a:pos x="14" y="28"/>
                  </a:cxn>
                  <a:cxn ang="0">
                    <a:pos x="12" y="30"/>
                  </a:cxn>
                  <a:cxn ang="0">
                    <a:pos x="10" y="30"/>
                  </a:cxn>
                  <a:cxn ang="0">
                    <a:pos x="8" y="30"/>
                  </a:cxn>
                  <a:cxn ang="0">
                    <a:pos x="6" y="26"/>
                  </a:cxn>
                  <a:cxn ang="0">
                    <a:pos x="4" y="18"/>
                  </a:cxn>
                  <a:cxn ang="0">
                    <a:pos x="2" y="12"/>
                  </a:cxn>
                  <a:cxn ang="0">
                    <a:pos x="0" y="6"/>
                  </a:cxn>
                  <a:cxn ang="0">
                    <a:pos x="0" y="0"/>
                  </a:cxn>
                  <a:cxn ang="0">
                    <a:pos x="8" y="12"/>
                  </a:cxn>
                  <a:cxn ang="0">
                    <a:pos x="10" y="18"/>
                  </a:cxn>
                  <a:cxn ang="0">
                    <a:pos x="14" y="18"/>
                  </a:cxn>
                  <a:cxn ang="0">
                    <a:pos x="16" y="18"/>
                  </a:cxn>
                </a:cxnLst>
                <a:rect l="0" t="0" r="r" b="b"/>
                <a:pathLst>
                  <a:path w="16" h="30">
                    <a:moveTo>
                      <a:pt x="16" y="18"/>
                    </a:moveTo>
                    <a:lnTo>
                      <a:pt x="16" y="24"/>
                    </a:lnTo>
                    <a:lnTo>
                      <a:pt x="14" y="28"/>
                    </a:lnTo>
                    <a:lnTo>
                      <a:pt x="12" y="30"/>
                    </a:lnTo>
                    <a:lnTo>
                      <a:pt x="10" y="30"/>
                    </a:lnTo>
                    <a:lnTo>
                      <a:pt x="8" y="30"/>
                    </a:lnTo>
                    <a:lnTo>
                      <a:pt x="6" y="26"/>
                    </a:lnTo>
                    <a:lnTo>
                      <a:pt x="4" y="18"/>
                    </a:lnTo>
                    <a:lnTo>
                      <a:pt x="2" y="12"/>
                    </a:lnTo>
                    <a:lnTo>
                      <a:pt x="0" y="6"/>
                    </a:lnTo>
                    <a:lnTo>
                      <a:pt x="0" y="0"/>
                    </a:lnTo>
                    <a:lnTo>
                      <a:pt x="8" y="12"/>
                    </a:lnTo>
                    <a:lnTo>
                      <a:pt x="10" y="18"/>
                    </a:lnTo>
                    <a:lnTo>
                      <a:pt x="14" y="18"/>
                    </a:lnTo>
                    <a:lnTo>
                      <a:pt x="16" y="1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7" name="Freeform 239"/>
              <p:cNvSpPr>
                <a:spLocks noChangeAspect="1"/>
              </p:cNvSpPr>
              <p:nvPr/>
            </p:nvSpPr>
            <p:spPr bwMode="auto">
              <a:xfrm>
                <a:off x="7175447" y="4798132"/>
                <a:ext cx="31077" cy="19084"/>
              </a:xfrm>
              <a:custGeom>
                <a:avLst/>
                <a:gdLst/>
                <a:ahLst/>
                <a:cxnLst>
                  <a:cxn ang="0">
                    <a:pos x="22" y="14"/>
                  </a:cxn>
                  <a:cxn ang="0">
                    <a:pos x="20" y="16"/>
                  </a:cxn>
                  <a:cxn ang="0">
                    <a:pos x="18" y="16"/>
                  </a:cxn>
                  <a:cxn ang="0">
                    <a:pos x="12" y="14"/>
                  </a:cxn>
                  <a:cxn ang="0">
                    <a:pos x="6" y="10"/>
                  </a:cxn>
                  <a:cxn ang="0">
                    <a:pos x="0" y="2"/>
                  </a:cxn>
                  <a:cxn ang="0">
                    <a:pos x="0" y="0"/>
                  </a:cxn>
                  <a:cxn ang="0">
                    <a:pos x="6" y="2"/>
                  </a:cxn>
                  <a:cxn ang="0">
                    <a:pos x="12" y="4"/>
                  </a:cxn>
                  <a:cxn ang="0">
                    <a:pos x="20" y="8"/>
                  </a:cxn>
                  <a:cxn ang="0">
                    <a:pos x="22" y="14"/>
                  </a:cxn>
                </a:cxnLst>
                <a:rect l="0" t="0" r="r" b="b"/>
                <a:pathLst>
                  <a:path w="22" h="16">
                    <a:moveTo>
                      <a:pt x="22" y="14"/>
                    </a:moveTo>
                    <a:lnTo>
                      <a:pt x="20" y="16"/>
                    </a:lnTo>
                    <a:lnTo>
                      <a:pt x="18" y="16"/>
                    </a:lnTo>
                    <a:lnTo>
                      <a:pt x="12" y="14"/>
                    </a:lnTo>
                    <a:lnTo>
                      <a:pt x="6" y="10"/>
                    </a:lnTo>
                    <a:lnTo>
                      <a:pt x="0" y="2"/>
                    </a:lnTo>
                    <a:lnTo>
                      <a:pt x="0" y="0"/>
                    </a:lnTo>
                    <a:lnTo>
                      <a:pt x="6" y="2"/>
                    </a:lnTo>
                    <a:lnTo>
                      <a:pt x="12" y="4"/>
                    </a:lnTo>
                    <a:lnTo>
                      <a:pt x="20" y="8"/>
                    </a:lnTo>
                    <a:lnTo>
                      <a:pt x="22" y="1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8" name="Freeform 240"/>
              <p:cNvSpPr>
                <a:spLocks noChangeAspect="1"/>
              </p:cNvSpPr>
              <p:nvPr/>
            </p:nvSpPr>
            <p:spPr bwMode="auto">
              <a:xfrm>
                <a:off x="7221387" y="4817216"/>
                <a:ext cx="21619" cy="26240"/>
              </a:xfrm>
              <a:custGeom>
                <a:avLst/>
                <a:gdLst/>
                <a:ahLst/>
                <a:cxnLst>
                  <a:cxn ang="0">
                    <a:pos x="2" y="0"/>
                  </a:cxn>
                  <a:cxn ang="0">
                    <a:pos x="6" y="6"/>
                  </a:cxn>
                  <a:cxn ang="0">
                    <a:pos x="10" y="12"/>
                  </a:cxn>
                  <a:cxn ang="0">
                    <a:pos x="12" y="18"/>
                  </a:cxn>
                  <a:cxn ang="0">
                    <a:pos x="14" y="24"/>
                  </a:cxn>
                  <a:cxn ang="0">
                    <a:pos x="12" y="24"/>
                  </a:cxn>
                  <a:cxn ang="0">
                    <a:pos x="8" y="22"/>
                  </a:cxn>
                  <a:cxn ang="0">
                    <a:pos x="2" y="16"/>
                  </a:cxn>
                  <a:cxn ang="0">
                    <a:pos x="0" y="12"/>
                  </a:cxn>
                  <a:cxn ang="0">
                    <a:pos x="0" y="8"/>
                  </a:cxn>
                  <a:cxn ang="0">
                    <a:pos x="0" y="2"/>
                  </a:cxn>
                  <a:cxn ang="0">
                    <a:pos x="4" y="2"/>
                  </a:cxn>
                  <a:cxn ang="0">
                    <a:pos x="2" y="0"/>
                  </a:cxn>
                </a:cxnLst>
                <a:rect l="0" t="0" r="r" b="b"/>
                <a:pathLst>
                  <a:path w="14" h="24">
                    <a:moveTo>
                      <a:pt x="2" y="0"/>
                    </a:moveTo>
                    <a:lnTo>
                      <a:pt x="6" y="6"/>
                    </a:lnTo>
                    <a:lnTo>
                      <a:pt x="10" y="12"/>
                    </a:lnTo>
                    <a:lnTo>
                      <a:pt x="12" y="18"/>
                    </a:lnTo>
                    <a:lnTo>
                      <a:pt x="14" y="24"/>
                    </a:lnTo>
                    <a:lnTo>
                      <a:pt x="12" y="24"/>
                    </a:lnTo>
                    <a:lnTo>
                      <a:pt x="8" y="22"/>
                    </a:lnTo>
                    <a:lnTo>
                      <a:pt x="2" y="16"/>
                    </a:lnTo>
                    <a:lnTo>
                      <a:pt x="0" y="12"/>
                    </a:lnTo>
                    <a:lnTo>
                      <a:pt x="0" y="8"/>
                    </a:lnTo>
                    <a:lnTo>
                      <a:pt x="0" y="2"/>
                    </a:lnTo>
                    <a:lnTo>
                      <a:pt x="4" y="2"/>
                    </a:lnTo>
                    <a:lnTo>
                      <a:pt x="2"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29" name="Freeform 241"/>
              <p:cNvSpPr>
                <a:spLocks noChangeAspect="1"/>
              </p:cNvSpPr>
              <p:nvPr/>
            </p:nvSpPr>
            <p:spPr bwMode="auto">
              <a:xfrm>
                <a:off x="7233548" y="4856577"/>
                <a:ext cx="24321" cy="14313"/>
              </a:xfrm>
              <a:custGeom>
                <a:avLst/>
                <a:gdLst/>
                <a:ahLst/>
                <a:cxnLst>
                  <a:cxn ang="0">
                    <a:pos x="18" y="10"/>
                  </a:cxn>
                  <a:cxn ang="0">
                    <a:pos x="10" y="10"/>
                  </a:cxn>
                  <a:cxn ang="0">
                    <a:pos x="4" y="8"/>
                  </a:cxn>
                  <a:cxn ang="0">
                    <a:pos x="0" y="2"/>
                  </a:cxn>
                  <a:cxn ang="0">
                    <a:pos x="0" y="0"/>
                  </a:cxn>
                  <a:cxn ang="0">
                    <a:pos x="6" y="0"/>
                  </a:cxn>
                  <a:cxn ang="0">
                    <a:pos x="12" y="4"/>
                  </a:cxn>
                  <a:cxn ang="0">
                    <a:pos x="16" y="6"/>
                  </a:cxn>
                  <a:cxn ang="0">
                    <a:pos x="18" y="10"/>
                  </a:cxn>
                </a:cxnLst>
                <a:rect l="0" t="0" r="r" b="b"/>
                <a:pathLst>
                  <a:path w="18" h="10">
                    <a:moveTo>
                      <a:pt x="18" y="10"/>
                    </a:moveTo>
                    <a:lnTo>
                      <a:pt x="10" y="10"/>
                    </a:lnTo>
                    <a:lnTo>
                      <a:pt x="4" y="8"/>
                    </a:lnTo>
                    <a:lnTo>
                      <a:pt x="0" y="2"/>
                    </a:lnTo>
                    <a:lnTo>
                      <a:pt x="0" y="0"/>
                    </a:lnTo>
                    <a:lnTo>
                      <a:pt x="6" y="0"/>
                    </a:lnTo>
                    <a:lnTo>
                      <a:pt x="12" y="4"/>
                    </a:lnTo>
                    <a:lnTo>
                      <a:pt x="16" y="6"/>
                    </a:lnTo>
                    <a:lnTo>
                      <a:pt x="18" y="1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0" name="Freeform 242"/>
              <p:cNvSpPr>
                <a:spLocks noChangeAspect="1"/>
              </p:cNvSpPr>
              <p:nvPr/>
            </p:nvSpPr>
            <p:spPr bwMode="auto">
              <a:xfrm>
                <a:off x="7132208" y="4802904"/>
                <a:ext cx="33780" cy="25047"/>
              </a:xfrm>
              <a:custGeom>
                <a:avLst/>
                <a:gdLst/>
                <a:ahLst/>
                <a:cxnLst>
                  <a:cxn ang="0">
                    <a:pos x="6" y="0"/>
                  </a:cxn>
                  <a:cxn ang="0">
                    <a:pos x="6" y="2"/>
                  </a:cxn>
                  <a:cxn ang="0">
                    <a:pos x="8" y="4"/>
                  </a:cxn>
                  <a:cxn ang="0">
                    <a:pos x="14" y="8"/>
                  </a:cxn>
                  <a:cxn ang="0">
                    <a:pos x="20" y="12"/>
                  </a:cxn>
                  <a:cxn ang="0">
                    <a:pos x="24" y="14"/>
                  </a:cxn>
                  <a:cxn ang="0">
                    <a:pos x="24" y="16"/>
                  </a:cxn>
                  <a:cxn ang="0">
                    <a:pos x="22" y="20"/>
                  </a:cxn>
                  <a:cxn ang="0">
                    <a:pos x="20" y="20"/>
                  </a:cxn>
                  <a:cxn ang="0">
                    <a:pos x="16" y="18"/>
                  </a:cxn>
                  <a:cxn ang="0">
                    <a:pos x="14" y="14"/>
                  </a:cxn>
                  <a:cxn ang="0">
                    <a:pos x="10" y="14"/>
                  </a:cxn>
                  <a:cxn ang="0">
                    <a:pos x="10" y="12"/>
                  </a:cxn>
                  <a:cxn ang="0">
                    <a:pos x="8" y="8"/>
                  </a:cxn>
                  <a:cxn ang="0">
                    <a:pos x="6" y="8"/>
                  </a:cxn>
                  <a:cxn ang="0">
                    <a:pos x="6" y="4"/>
                  </a:cxn>
                  <a:cxn ang="0">
                    <a:pos x="0" y="4"/>
                  </a:cxn>
                  <a:cxn ang="0">
                    <a:pos x="0" y="0"/>
                  </a:cxn>
                  <a:cxn ang="0">
                    <a:pos x="6" y="0"/>
                  </a:cxn>
                </a:cxnLst>
                <a:rect l="0" t="0" r="r" b="b"/>
                <a:pathLst>
                  <a:path w="24" h="20">
                    <a:moveTo>
                      <a:pt x="6" y="0"/>
                    </a:moveTo>
                    <a:lnTo>
                      <a:pt x="6" y="2"/>
                    </a:lnTo>
                    <a:lnTo>
                      <a:pt x="8" y="4"/>
                    </a:lnTo>
                    <a:lnTo>
                      <a:pt x="14" y="8"/>
                    </a:lnTo>
                    <a:lnTo>
                      <a:pt x="20" y="12"/>
                    </a:lnTo>
                    <a:lnTo>
                      <a:pt x="24" y="14"/>
                    </a:lnTo>
                    <a:lnTo>
                      <a:pt x="24" y="16"/>
                    </a:lnTo>
                    <a:lnTo>
                      <a:pt x="22" y="20"/>
                    </a:lnTo>
                    <a:lnTo>
                      <a:pt x="20" y="20"/>
                    </a:lnTo>
                    <a:lnTo>
                      <a:pt x="16" y="18"/>
                    </a:lnTo>
                    <a:lnTo>
                      <a:pt x="14" y="14"/>
                    </a:lnTo>
                    <a:lnTo>
                      <a:pt x="10" y="14"/>
                    </a:lnTo>
                    <a:lnTo>
                      <a:pt x="10" y="12"/>
                    </a:lnTo>
                    <a:lnTo>
                      <a:pt x="8" y="8"/>
                    </a:lnTo>
                    <a:lnTo>
                      <a:pt x="6" y="8"/>
                    </a:lnTo>
                    <a:lnTo>
                      <a:pt x="6" y="4"/>
                    </a:lnTo>
                    <a:lnTo>
                      <a:pt x="0" y="4"/>
                    </a:lnTo>
                    <a:lnTo>
                      <a:pt x="0" y="0"/>
                    </a:lnTo>
                    <a:lnTo>
                      <a:pt x="6"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1" name="Freeform 243"/>
              <p:cNvSpPr>
                <a:spLocks noChangeAspect="1"/>
              </p:cNvSpPr>
              <p:nvPr/>
            </p:nvSpPr>
            <p:spPr bwMode="auto">
              <a:xfrm>
                <a:off x="7337588" y="4984200"/>
                <a:ext cx="14863" cy="13120"/>
              </a:xfrm>
              <a:custGeom>
                <a:avLst/>
                <a:gdLst/>
                <a:ahLst/>
                <a:cxnLst>
                  <a:cxn ang="0">
                    <a:pos x="12" y="8"/>
                  </a:cxn>
                  <a:cxn ang="0">
                    <a:pos x="10" y="10"/>
                  </a:cxn>
                  <a:cxn ang="0">
                    <a:pos x="8" y="12"/>
                  </a:cxn>
                  <a:cxn ang="0">
                    <a:pos x="4" y="12"/>
                  </a:cxn>
                  <a:cxn ang="0">
                    <a:pos x="2" y="8"/>
                  </a:cxn>
                  <a:cxn ang="0">
                    <a:pos x="0" y="0"/>
                  </a:cxn>
                  <a:cxn ang="0">
                    <a:pos x="2" y="0"/>
                  </a:cxn>
                  <a:cxn ang="0">
                    <a:pos x="6" y="2"/>
                  </a:cxn>
                  <a:cxn ang="0">
                    <a:pos x="10" y="6"/>
                  </a:cxn>
                  <a:cxn ang="0">
                    <a:pos x="12" y="8"/>
                  </a:cxn>
                </a:cxnLst>
                <a:rect l="0" t="0" r="r" b="b"/>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2" name="Freeform 244"/>
              <p:cNvSpPr>
                <a:spLocks noChangeAspect="1"/>
              </p:cNvSpPr>
              <p:nvPr/>
            </p:nvSpPr>
            <p:spPr bwMode="auto">
              <a:xfrm>
                <a:off x="6290429" y="4596558"/>
                <a:ext cx="140522" cy="161021"/>
              </a:xfrm>
              <a:custGeom>
                <a:avLst/>
                <a:gdLst/>
                <a:ahLst/>
                <a:cxnLst>
                  <a:cxn ang="0">
                    <a:pos x="12" y="28"/>
                  </a:cxn>
                  <a:cxn ang="0">
                    <a:pos x="18" y="22"/>
                  </a:cxn>
                  <a:cxn ang="0">
                    <a:pos x="28" y="10"/>
                  </a:cxn>
                  <a:cxn ang="0">
                    <a:pos x="34" y="6"/>
                  </a:cxn>
                  <a:cxn ang="0">
                    <a:pos x="38" y="8"/>
                  </a:cxn>
                  <a:cxn ang="0">
                    <a:pos x="60" y="12"/>
                  </a:cxn>
                  <a:cxn ang="0">
                    <a:pos x="84" y="12"/>
                  </a:cxn>
                  <a:cxn ang="0">
                    <a:pos x="90" y="8"/>
                  </a:cxn>
                  <a:cxn ang="0">
                    <a:pos x="100" y="0"/>
                  </a:cxn>
                  <a:cxn ang="0">
                    <a:pos x="90" y="16"/>
                  </a:cxn>
                  <a:cxn ang="0">
                    <a:pos x="82" y="24"/>
                  </a:cxn>
                  <a:cxn ang="0">
                    <a:pos x="70" y="24"/>
                  </a:cxn>
                  <a:cxn ang="0">
                    <a:pos x="26" y="22"/>
                  </a:cxn>
                  <a:cxn ang="0">
                    <a:pos x="22" y="26"/>
                  </a:cxn>
                  <a:cxn ang="0">
                    <a:pos x="22" y="38"/>
                  </a:cxn>
                  <a:cxn ang="0">
                    <a:pos x="28" y="52"/>
                  </a:cxn>
                  <a:cxn ang="0">
                    <a:pos x="34" y="54"/>
                  </a:cxn>
                  <a:cxn ang="0">
                    <a:pos x="40" y="50"/>
                  </a:cxn>
                  <a:cxn ang="0">
                    <a:pos x="54" y="44"/>
                  </a:cxn>
                  <a:cxn ang="0">
                    <a:pos x="68" y="40"/>
                  </a:cxn>
                  <a:cxn ang="0">
                    <a:pos x="72" y="42"/>
                  </a:cxn>
                  <a:cxn ang="0">
                    <a:pos x="62" y="48"/>
                  </a:cxn>
                  <a:cxn ang="0">
                    <a:pos x="50" y="56"/>
                  </a:cxn>
                  <a:cxn ang="0">
                    <a:pos x="44" y="66"/>
                  </a:cxn>
                  <a:cxn ang="0">
                    <a:pos x="48" y="76"/>
                  </a:cxn>
                  <a:cxn ang="0">
                    <a:pos x="54" y="98"/>
                  </a:cxn>
                  <a:cxn ang="0">
                    <a:pos x="60" y="104"/>
                  </a:cxn>
                  <a:cxn ang="0">
                    <a:pos x="64" y="106"/>
                  </a:cxn>
                  <a:cxn ang="0">
                    <a:pos x="54" y="114"/>
                  </a:cxn>
                  <a:cxn ang="0">
                    <a:pos x="44" y="118"/>
                  </a:cxn>
                  <a:cxn ang="0">
                    <a:pos x="32" y="88"/>
                  </a:cxn>
                  <a:cxn ang="0">
                    <a:pos x="32" y="78"/>
                  </a:cxn>
                  <a:cxn ang="0">
                    <a:pos x="24" y="78"/>
                  </a:cxn>
                  <a:cxn ang="0">
                    <a:pos x="22" y="120"/>
                  </a:cxn>
                  <a:cxn ang="0">
                    <a:pos x="18" y="132"/>
                  </a:cxn>
                  <a:cxn ang="0">
                    <a:pos x="8" y="136"/>
                  </a:cxn>
                  <a:cxn ang="0">
                    <a:pos x="6" y="130"/>
                  </a:cxn>
                  <a:cxn ang="0">
                    <a:pos x="6" y="116"/>
                  </a:cxn>
                  <a:cxn ang="0">
                    <a:pos x="10" y="102"/>
                  </a:cxn>
                  <a:cxn ang="0">
                    <a:pos x="4" y="94"/>
                  </a:cxn>
                  <a:cxn ang="0">
                    <a:pos x="0" y="90"/>
                  </a:cxn>
                  <a:cxn ang="0">
                    <a:pos x="4" y="66"/>
                  </a:cxn>
                  <a:cxn ang="0">
                    <a:pos x="12" y="44"/>
                  </a:cxn>
                </a:cxnLst>
                <a:rect l="0" t="0" r="r" b="b"/>
                <a:pathLst>
                  <a:path w="100" h="136">
                    <a:moveTo>
                      <a:pt x="12" y="46"/>
                    </a:moveTo>
                    <a:lnTo>
                      <a:pt x="12" y="28"/>
                    </a:lnTo>
                    <a:lnTo>
                      <a:pt x="16" y="26"/>
                    </a:lnTo>
                    <a:lnTo>
                      <a:pt x="18" y="22"/>
                    </a:lnTo>
                    <a:lnTo>
                      <a:pt x="24" y="14"/>
                    </a:lnTo>
                    <a:lnTo>
                      <a:pt x="28" y="10"/>
                    </a:lnTo>
                    <a:lnTo>
                      <a:pt x="32" y="8"/>
                    </a:lnTo>
                    <a:lnTo>
                      <a:pt x="34" y="6"/>
                    </a:lnTo>
                    <a:lnTo>
                      <a:pt x="36" y="6"/>
                    </a:lnTo>
                    <a:lnTo>
                      <a:pt x="38" y="8"/>
                    </a:lnTo>
                    <a:lnTo>
                      <a:pt x="42" y="10"/>
                    </a:lnTo>
                    <a:lnTo>
                      <a:pt x="60" y="12"/>
                    </a:lnTo>
                    <a:lnTo>
                      <a:pt x="80" y="14"/>
                    </a:lnTo>
                    <a:lnTo>
                      <a:pt x="84" y="12"/>
                    </a:lnTo>
                    <a:lnTo>
                      <a:pt x="88" y="12"/>
                    </a:lnTo>
                    <a:lnTo>
                      <a:pt x="90" y="8"/>
                    </a:lnTo>
                    <a:lnTo>
                      <a:pt x="94" y="2"/>
                    </a:lnTo>
                    <a:lnTo>
                      <a:pt x="100" y="0"/>
                    </a:lnTo>
                    <a:lnTo>
                      <a:pt x="100" y="6"/>
                    </a:lnTo>
                    <a:lnTo>
                      <a:pt x="90" y="16"/>
                    </a:lnTo>
                    <a:lnTo>
                      <a:pt x="86" y="22"/>
                    </a:lnTo>
                    <a:lnTo>
                      <a:pt x="82" y="24"/>
                    </a:lnTo>
                    <a:lnTo>
                      <a:pt x="76" y="24"/>
                    </a:lnTo>
                    <a:lnTo>
                      <a:pt x="70" y="24"/>
                    </a:lnTo>
                    <a:lnTo>
                      <a:pt x="64" y="22"/>
                    </a:lnTo>
                    <a:lnTo>
                      <a:pt x="26" y="22"/>
                    </a:lnTo>
                    <a:lnTo>
                      <a:pt x="22" y="24"/>
                    </a:lnTo>
                    <a:lnTo>
                      <a:pt x="22" y="26"/>
                    </a:lnTo>
                    <a:lnTo>
                      <a:pt x="20" y="34"/>
                    </a:lnTo>
                    <a:lnTo>
                      <a:pt x="22" y="38"/>
                    </a:lnTo>
                    <a:lnTo>
                      <a:pt x="24" y="46"/>
                    </a:lnTo>
                    <a:lnTo>
                      <a:pt x="28" y="52"/>
                    </a:lnTo>
                    <a:lnTo>
                      <a:pt x="32" y="54"/>
                    </a:lnTo>
                    <a:lnTo>
                      <a:pt x="34" y="54"/>
                    </a:lnTo>
                    <a:lnTo>
                      <a:pt x="36" y="52"/>
                    </a:lnTo>
                    <a:lnTo>
                      <a:pt x="40" y="50"/>
                    </a:lnTo>
                    <a:lnTo>
                      <a:pt x="46" y="46"/>
                    </a:lnTo>
                    <a:lnTo>
                      <a:pt x="54" y="44"/>
                    </a:lnTo>
                    <a:lnTo>
                      <a:pt x="62" y="42"/>
                    </a:lnTo>
                    <a:lnTo>
                      <a:pt x="68" y="40"/>
                    </a:lnTo>
                    <a:lnTo>
                      <a:pt x="74" y="40"/>
                    </a:lnTo>
                    <a:lnTo>
                      <a:pt x="72" y="42"/>
                    </a:lnTo>
                    <a:lnTo>
                      <a:pt x="68" y="44"/>
                    </a:lnTo>
                    <a:lnTo>
                      <a:pt x="62" y="48"/>
                    </a:lnTo>
                    <a:lnTo>
                      <a:pt x="56" y="50"/>
                    </a:lnTo>
                    <a:lnTo>
                      <a:pt x="50" y="56"/>
                    </a:lnTo>
                    <a:lnTo>
                      <a:pt x="42" y="66"/>
                    </a:lnTo>
                    <a:lnTo>
                      <a:pt x="44" y="66"/>
                    </a:lnTo>
                    <a:lnTo>
                      <a:pt x="46" y="70"/>
                    </a:lnTo>
                    <a:lnTo>
                      <a:pt x="48" y="76"/>
                    </a:lnTo>
                    <a:lnTo>
                      <a:pt x="54" y="84"/>
                    </a:lnTo>
                    <a:lnTo>
                      <a:pt x="54" y="98"/>
                    </a:lnTo>
                    <a:lnTo>
                      <a:pt x="56" y="102"/>
                    </a:lnTo>
                    <a:lnTo>
                      <a:pt x="60" y="104"/>
                    </a:lnTo>
                    <a:lnTo>
                      <a:pt x="64" y="104"/>
                    </a:lnTo>
                    <a:lnTo>
                      <a:pt x="64" y="106"/>
                    </a:lnTo>
                    <a:lnTo>
                      <a:pt x="60" y="110"/>
                    </a:lnTo>
                    <a:lnTo>
                      <a:pt x="54" y="114"/>
                    </a:lnTo>
                    <a:lnTo>
                      <a:pt x="50" y="118"/>
                    </a:lnTo>
                    <a:lnTo>
                      <a:pt x="44" y="118"/>
                    </a:lnTo>
                    <a:lnTo>
                      <a:pt x="32" y="92"/>
                    </a:lnTo>
                    <a:lnTo>
                      <a:pt x="32" y="88"/>
                    </a:lnTo>
                    <a:lnTo>
                      <a:pt x="34" y="84"/>
                    </a:lnTo>
                    <a:lnTo>
                      <a:pt x="32" y="78"/>
                    </a:lnTo>
                    <a:lnTo>
                      <a:pt x="28" y="80"/>
                    </a:lnTo>
                    <a:lnTo>
                      <a:pt x="24" y="78"/>
                    </a:lnTo>
                    <a:lnTo>
                      <a:pt x="22" y="106"/>
                    </a:lnTo>
                    <a:lnTo>
                      <a:pt x="22" y="120"/>
                    </a:lnTo>
                    <a:lnTo>
                      <a:pt x="20" y="126"/>
                    </a:lnTo>
                    <a:lnTo>
                      <a:pt x="18" y="132"/>
                    </a:lnTo>
                    <a:lnTo>
                      <a:pt x="14" y="134"/>
                    </a:lnTo>
                    <a:lnTo>
                      <a:pt x="8" y="136"/>
                    </a:lnTo>
                    <a:lnTo>
                      <a:pt x="6" y="134"/>
                    </a:lnTo>
                    <a:lnTo>
                      <a:pt x="6" y="130"/>
                    </a:lnTo>
                    <a:lnTo>
                      <a:pt x="6" y="120"/>
                    </a:lnTo>
                    <a:lnTo>
                      <a:pt x="6" y="116"/>
                    </a:lnTo>
                    <a:lnTo>
                      <a:pt x="8" y="110"/>
                    </a:lnTo>
                    <a:lnTo>
                      <a:pt x="10" y="102"/>
                    </a:lnTo>
                    <a:lnTo>
                      <a:pt x="10" y="94"/>
                    </a:lnTo>
                    <a:lnTo>
                      <a:pt x="4" y="94"/>
                    </a:lnTo>
                    <a:lnTo>
                      <a:pt x="0" y="92"/>
                    </a:lnTo>
                    <a:lnTo>
                      <a:pt x="0" y="90"/>
                    </a:lnTo>
                    <a:lnTo>
                      <a:pt x="0" y="78"/>
                    </a:lnTo>
                    <a:lnTo>
                      <a:pt x="4" y="66"/>
                    </a:lnTo>
                    <a:lnTo>
                      <a:pt x="8" y="54"/>
                    </a:lnTo>
                    <a:lnTo>
                      <a:pt x="12" y="44"/>
                    </a:lnTo>
                    <a:lnTo>
                      <a:pt x="12" y="4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3" name="Freeform 245"/>
              <p:cNvSpPr>
                <a:spLocks noChangeAspect="1"/>
              </p:cNvSpPr>
              <p:nvPr/>
            </p:nvSpPr>
            <p:spPr bwMode="auto">
              <a:xfrm>
                <a:off x="6086402" y="4479669"/>
                <a:ext cx="213485" cy="132395"/>
              </a:xfrm>
              <a:custGeom>
                <a:avLst/>
                <a:gdLst/>
                <a:ahLst/>
                <a:cxnLst>
                  <a:cxn ang="0">
                    <a:pos x="68" y="62"/>
                  </a:cxn>
                  <a:cxn ang="0">
                    <a:pos x="68" y="58"/>
                  </a:cxn>
                  <a:cxn ang="0">
                    <a:pos x="70" y="56"/>
                  </a:cxn>
                  <a:cxn ang="0">
                    <a:pos x="74" y="54"/>
                  </a:cxn>
                  <a:cxn ang="0">
                    <a:pos x="70" y="48"/>
                  </a:cxn>
                  <a:cxn ang="0">
                    <a:pos x="76" y="42"/>
                  </a:cxn>
                  <a:cxn ang="0">
                    <a:pos x="86" y="40"/>
                  </a:cxn>
                  <a:cxn ang="0">
                    <a:pos x="92" y="26"/>
                  </a:cxn>
                  <a:cxn ang="0">
                    <a:pos x="106" y="4"/>
                  </a:cxn>
                  <a:cxn ang="0">
                    <a:pos x="114" y="0"/>
                  </a:cxn>
                  <a:cxn ang="0">
                    <a:pos x="122" y="8"/>
                  </a:cxn>
                  <a:cxn ang="0">
                    <a:pos x="124" y="20"/>
                  </a:cxn>
                  <a:cxn ang="0">
                    <a:pos x="138" y="26"/>
                  </a:cxn>
                  <a:cxn ang="0">
                    <a:pos x="152" y="28"/>
                  </a:cxn>
                  <a:cxn ang="0">
                    <a:pos x="150" y="34"/>
                  </a:cxn>
                  <a:cxn ang="0">
                    <a:pos x="140" y="36"/>
                  </a:cxn>
                  <a:cxn ang="0">
                    <a:pos x="132" y="38"/>
                  </a:cxn>
                  <a:cxn ang="0">
                    <a:pos x="138" y="44"/>
                  </a:cxn>
                  <a:cxn ang="0">
                    <a:pos x="132" y="48"/>
                  </a:cxn>
                  <a:cxn ang="0">
                    <a:pos x="122" y="60"/>
                  </a:cxn>
                  <a:cxn ang="0">
                    <a:pos x="106" y="56"/>
                  </a:cxn>
                  <a:cxn ang="0">
                    <a:pos x="94" y="56"/>
                  </a:cxn>
                  <a:cxn ang="0">
                    <a:pos x="82" y="64"/>
                  </a:cxn>
                  <a:cxn ang="0">
                    <a:pos x="74" y="82"/>
                  </a:cxn>
                  <a:cxn ang="0">
                    <a:pos x="70" y="104"/>
                  </a:cxn>
                  <a:cxn ang="0">
                    <a:pos x="64" y="108"/>
                  </a:cxn>
                  <a:cxn ang="0">
                    <a:pos x="56" y="104"/>
                  </a:cxn>
                  <a:cxn ang="0">
                    <a:pos x="48" y="98"/>
                  </a:cxn>
                  <a:cxn ang="0">
                    <a:pos x="42" y="100"/>
                  </a:cxn>
                  <a:cxn ang="0">
                    <a:pos x="28" y="108"/>
                  </a:cxn>
                  <a:cxn ang="0">
                    <a:pos x="20" y="112"/>
                  </a:cxn>
                  <a:cxn ang="0">
                    <a:pos x="8" y="108"/>
                  </a:cxn>
                  <a:cxn ang="0">
                    <a:pos x="0" y="104"/>
                  </a:cxn>
                  <a:cxn ang="0">
                    <a:pos x="0" y="92"/>
                  </a:cxn>
                  <a:cxn ang="0">
                    <a:pos x="0" y="94"/>
                  </a:cxn>
                  <a:cxn ang="0">
                    <a:pos x="8" y="100"/>
                  </a:cxn>
                  <a:cxn ang="0">
                    <a:pos x="20" y="90"/>
                  </a:cxn>
                  <a:cxn ang="0">
                    <a:pos x="30" y="78"/>
                  </a:cxn>
                  <a:cxn ang="0">
                    <a:pos x="46" y="72"/>
                  </a:cxn>
                  <a:cxn ang="0">
                    <a:pos x="54" y="66"/>
                  </a:cxn>
                  <a:cxn ang="0">
                    <a:pos x="58" y="58"/>
                  </a:cxn>
                </a:cxnLst>
                <a:rect l="0" t="0" r="r" b="b"/>
                <a:pathLst>
                  <a:path w="152" h="112">
                    <a:moveTo>
                      <a:pt x="58" y="58"/>
                    </a:moveTo>
                    <a:lnTo>
                      <a:pt x="68" y="62"/>
                    </a:lnTo>
                    <a:lnTo>
                      <a:pt x="70" y="60"/>
                    </a:lnTo>
                    <a:lnTo>
                      <a:pt x="68" y="58"/>
                    </a:lnTo>
                    <a:lnTo>
                      <a:pt x="68" y="54"/>
                    </a:lnTo>
                    <a:lnTo>
                      <a:pt x="70" y="56"/>
                    </a:lnTo>
                    <a:lnTo>
                      <a:pt x="74" y="58"/>
                    </a:lnTo>
                    <a:lnTo>
                      <a:pt x="74" y="54"/>
                    </a:lnTo>
                    <a:lnTo>
                      <a:pt x="70" y="52"/>
                    </a:lnTo>
                    <a:lnTo>
                      <a:pt x="70" y="48"/>
                    </a:lnTo>
                    <a:lnTo>
                      <a:pt x="68" y="48"/>
                    </a:lnTo>
                    <a:lnTo>
                      <a:pt x="76" y="42"/>
                    </a:lnTo>
                    <a:lnTo>
                      <a:pt x="80" y="40"/>
                    </a:lnTo>
                    <a:lnTo>
                      <a:pt x="86" y="40"/>
                    </a:lnTo>
                    <a:lnTo>
                      <a:pt x="88" y="36"/>
                    </a:lnTo>
                    <a:lnTo>
                      <a:pt x="92" y="26"/>
                    </a:lnTo>
                    <a:lnTo>
                      <a:pt x="98" y="16"/>
                    </a:lnTo>
                    <a:lnTo>
                      <a:pt x="106" y="4"/>
                    </a:lnTo>
                    <a:lnTo>
                      <a:pt x="110" y="0"/>
                    </a:lnTo>
                    <a:lnTo>
                      <a:pt x="114" y="0"/>
                    </a:lnTo>
                    <a:lnTo>
                      <a:pt x="118" y="2"/>
                    </a:lnTo>
                    <a:lnTo>
                      <a:pt x="122" y="8"/>
                    </a:lnTo>
                    <a:lnTo>
                      <a:pt x="124" y="14"/>
                    </a:lnTo>
                    <a:lnTo>
                      <a:pt x="124" y="20"/>
                    </a:lnTo>
                    <a:lnTo>
                      <a:pt x="132" y="22"/>
                    </a:lnTo>
                    <a:lnTo>
                      <a:pt x="138" y="26"/>
                    </a:lnTo>
                    <a:lnTo>
                      <a:pt x="144" y="26"/>
                    </a:lnTo>
                    <a:lnTo>
                      <a:pt x="152" y="28"/>
                    </a:lnTo>
                    <a:lnTo>
                      <a:pt x="152" y="32"/>
                    </a:lnTo>
                    <a:lnTo>
                      <a:pt x="150" y="34"/>
                    </a:lnTo>
                    <a:lnTo>
                      <a:pt x="148" y="36"/>
                    </a:lnTo>
                    <a:lnTo>
                      <a:pt x="140" y="36"/>
                    </a:lnTo>
                    <a:lnTo>
                      <a:pt x="134" y="36"/>
                    </a:lnTo>
                    <a:lnTo>
                      <a:pt x="132" y="38"/>
                    </a:lnTo>
                    <a:lnTo>
                      <a:pt x="130" y="40"/>
                    </a:lnTo>
                    <a:lnTo>
                      <a:pt x="138" y="44"/>
                    </a:lnTo>
                    <a:lnTo>
                      <a:pt x="138" y="46"/>
                    </a:lnTo>
                    <a:lnTo>
                      <a:pt x="132" y="48"/>
                    </a:lnTo>
                    <a:lnTo>
                      <a:pt x="124" y="54"/>
                    </a:lnTo>
                    <a:lnTo>
                      <a:pt x="122" y="60"/>
                    </a:lnTo>
                    <a:lnTo>
                      <a:pt x="112" y="58"/>
                    </a:lnTo>
                    <a:lnTo>
                      <a:pt x="106" y="56"/>
                    </a:lnTo>
                    <a:lnTo>
                      <a:pt x="100" y="56"/>
                    </a:lnTo>
                    <a:lnTo>
                      <a:pt x="94" y="56"/>
                    </a:lnTo>
                    <a:lnTo>
                      <a:pt x="88" y="60"/>
                    </a:lnTo>
                    <a:lnTo>
                      <a:pt x="82" y="64"/>
                    </a:lnTo>
                    <a:lnTo>
                      <a:pt x="78" y="70"/>
                    </a:lnTo>
                    <a:lnTo>
                      <a:pt x="74" y="82"/>
                    </a:lnTo>
                    <a:lnTo>
                      <a:pt x="70" y="96"/>
                    </a:lnTo>
                    <a:lnTo>
                      <a:pt x="70" y="104"/>
                    </a:lnTo>
                    <a:lnTo>
                      <a:pt x="68" y="108"/>
                    </a:lnTo>
                    <a:lnTo>
                      <a:pt x="64" y="108"/>
                    </a:lnTo>
                    <a:lnTo>
                      <a:pt x="60" y="106"/>
                    </a:lnTo>
                    <a:lnTo>
                      <a:pt x="56" y="104"/>
                    </a:lnTo>
                    <a:lnTo>
                      <a:pt x="52" y="100"/>
                    </a:lnTo>
                    <a:lnTo>
                      <a:pt x="48" y="98"/>
                    </a:lnTo>
                    <a:lnTo>
                      <a:pt x="44" y="98"/>
                    </a:lnTo>
                    <a:lnTo>
                      <a:pt x="42" y="100"/>
                    </a:lnTo>
                    <a:lnTo>
                      <a:pt x="36" y="106"/>
                    </a:lnTo>
                    <a:lnTo>
                      <a:pt x="28" y="108"/>
                    </a:lnTo>
                    <a:lnTo>
                      <a:pt x="26" y="110"/>
                    </a:lnTo>
                    <a:lnTo>
                      <a:pt x="20" y="112"/>
                    </a:lnTo>
                    <a:lnTo>
                      <a:pt x="14" y="110"/>
                    </a:lnTo>
                    <a:lnTo>
                      <a:pt x="8" y="108"/>
                    </a:lnTo>
                    <a:lnTo>
                      <a:pt x="2" y="106"/>
                    </a:lnTo>
                    <a:lnTo>
                      <a:pt x="0" y="104"/>
                    </a:lnTo>
                    <a:lnTo>
                      <a:pt x="0" y="102"/>
                    </a:lnTo>
                    <a:lnTo>
                      <a:pt x="0" y="92"/>
                    </a:lnTo>
                    <a:lnTo>
                      <a:pt x="0" y="90"/>
                    </a:lnTo>
                    <a:lnTo>
                      <a:pt x="0" y="94"/>
                    </a:lnTo>
                    <a:lnTo>
                      <a:pt x="2" y="96"/>
                    </a:lnTo>
                    <a:lnTo>
                      <a:pt x="8" y="100"/>
                    </a:lnTo>
                    <a:lnTo>
                      <a:pt x="20" y="100"/>
                    </a:lnTo>
                    <a:lnTo>
                      <a:pt x="20" y="90"/>
                    </a:lnTo>
                    <a:lnTo>
                      <a:pt x="26" y="82"/>
                    </a:lnTo>
                    <a:lnTo>
                      <a:pt x="30" y="78"/>
                    </a:lnTo>
                    <a:lnTo>
                      <a:pt x="34" y="76"/>
                    </a:lnTo>
                    <a:lnTo>
                      <a:pt x="46" y="72"/>
                    </a:lnTo>
                    <a:lnTo>
                      <a:pt x="50" y="70"/>
                    </a:lnTo>
                    <a:lnTo>
                      <a:pt x="54" y="66"/>
                    </a:lnTo>
                    <a:lnTo>
                      <a:pt x="60" y="56"/>
                    </a:lnTo>
                    <a:lnTo>
                      <a:pt x="58" y="5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4" name="Freeform 246"/>
              <p:cNvSpPr>
                <a:spLocks noChangeAspect="1"/>
              </p:cNvSpPr>
              <p:nvPr/>
            </p:nvSpPr>
            <p:spPr bwMode="auto">
              <a:xfrm>
                <a:off x="6168824" y="4536920"/>
                <a:ext cx="21619" cy="15506"/>
              </a:xfrm>
              <a:custGeom>
                <a:avLst/>
                <a:gdLst/>
                <a:ahLst/>
                <a:cxnLst>
                  <a:cxn ang="0">
                    <a:pos x="12" y="0"/>
                  </a:cxn>
                  <a:cxn ang="0">
                    <a:pos x="12" y="4"/>
                  </a:cxn>
                  <a:cxn ang="0">
                    <a:pos x="16" y="6"/>
                  </a:cxn>
                  <a:cxn ang="0">
                    <a:pos x="16" y="10"/>
                  </a:cxn>
                  <a:cxn ang="0">
                    <a:pos x="12" y="8"/>
                  </a:cxn>
                  <a:cxn ang="0">
                    <a:pos x="10" y="6"/>
                  </a:cxn>
                  <a:cxn ang="0">
                    <a:pos x="10" y="10"/>
                  </a:cxn>
                  <a:cxn ang="0">
                    <a:pos x="12" y="12"/>
                  </a:cxn>
                  <a:cxn ang="0">
                    <a:pos x="10" y="14"/>
                  </a:cxn>
                  <a:cxn ang="0">
                    <a:pos x="0" y="10"/>
                  </a:cxn>
                  <a:cxn ang="0">
                    <a:pos x="10" y="0"/>
                  </a:cxn>
                  <a:cxn ang="0">
                    <a:pos x="12" y="0"/>
                  </a:cxn>
                </a:cxnLst>
                <a:rect l="0" t="0" r="r" b="b"/>
                <a:pathLst>
                  <a:path w="16" h="14">
                    <a:moveTo>
                      <a:pt x="12" y="0"/>
                    </a:moveTo>
                    <a:lnTo>
                      <a:pt x="12" y="4"/>
                    </a:lnTo>
                    <a:lnTo>
                      <a:pt x="16" y="6"/>
                    </a:lnTo>
                    <a:lnTo>
                      <a:pt x="16" y="10"/>
                    </a:lnTo>
                    <a:lnTo>
                      <a:pt x="12" y="8"/>
                    </a:lnTo>
                    <a:lnTo>
                      <a:pt x="10" y="6"/>
                    </a:lnTo>
                    <a:lnTo>
                      <a:pt x="10" y="10"/>
                    </a:lnTo>
                    <a:lnTo>
                      <a:pt x="12" y="12"/>
                    </a:lnTo>
                    <a:lnTo>
                      <a:pt x="10" y="14"/>
                    </a:lnTo>
                    <a:lnTo>
                      <a:pt x="0" y="10"/>
                    </a:lnTo>
                    <a:lnTo>
                      <a:pt x="10" y="0"/>
                    </a:lnTo>
                    <a:lnTo>
                      <a:pt x="12"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5" name="Freeform 247"/>
              <p:cNvSpPr>
                <a:spLocks noChangeAspect="1"/>
              </p:cNvSpPr>
              <p:nvPr/>
            </p:nvSpPr>
            <p:spPr bwMode="auto">
              <a:xfrm>
                <a:off x="6559311" y="4641883"/>
                <a:ext cx="225646" cy="193225"/>
              </a:xfrm>
              <a:custGeom>
                <a:avLst/>
                <a:gdLst/>
                <a:ahLst/>
                <a:cxnLst>
                  <a:cxn ang="0">
                    <a:pos x="160" y="114"/>
                  </a:cxn>
                  <a:cxn ang="0">
                    <a:pos x="156" y="122"/>
                  </a:cxn>
                  <a:cxn ang="0">
                    <a:pos x="160" y="164"/>
                  </a:cxn>
                  <a:cxn ang="0">
                    <a:pos x="148" y="158"/>
                  </a:cxn>
                  <a:cxn ang="0">
                    <a:pos x="144" y="144"/>
                  </a:cxn>
                  <a:cxn ang="0">
                    <a:pos x="120" y="148"/>
                  </a:cxn>
                  <a:cxn ang="0">
                    <a:pos x="104" y="148"/>
                  </a:cxn>
                  <a:cxn ang="0">
                    <a:pos x="102" y="144"/>
                  </a:cxn>
                  <a:cxn ang="0">
                    <a:pos x="110" y="134"/>
                  </a:cxn>
                  <a:cxn ang="0">
                    <a:pos x="120" y="126"/>
                  </a:cxn>
                  <a:cxn ang="0">
                    <a:pos x="118" y="112"/>
                  </a:cxn>
                  <a:cxn ang="0">
                    <a:pos x="116" y="100"/>
                  </a:cxn>
                  <a:cxn ang="0">
                    <a:pos x="104" y="90"/>
                  </a:cxn>
                  <a:cxn ang="0">
                    <a:pos x="74" y="80"/>
                  </a:cxn>
                  <a:cxn ang="0">
                    <a:pos x="62" y="70"/>
                  </a:cxn>
                  <a:cxn ang="0">
                    <a:pos x="54" y="66"/>
                  </a:cxn>
                  <a:cxn ang="0">
                    <a:pos x="46" y="60"/>
                  </a:cxn>
                  <a:cxn ang="0">
                    <a:pos x="42" y="66"/>
                  </a:cxn>
                  <a:cxn ang="0">
                    <a:pos x="34" y="72"/>
                  </a:cxn>
                  <a:cxn ang="0">
                    <a:pos x="32" y="66"/>
                  </a:cxn>
                  <a:cxn ang="0">
                    <a:pos x="26" y="54"/>
                  </a:cxn>
                  <a:cxn ang="0">
                    <a:pos x="20" y="48"/>
                  </a:cxn>
                  <a:cxn ang="0">
                    <a:pos x="20" y="42"/>
                  </a:cxn>
                  <a:cxn ang="0">
                    <a:pos x="28" y="42"/>
                  </a:cxn>
                  <a:cxn ang="0">
                    <a:pos x="34" y="42"/>
                  </a:cxn>
                  <a:cxn ang="0">
                    <a:pos x="46" y="40"/>
                  </a:cxn>
                  <a:cxn ang="0">
                    <a:pos x="54" y="36"/>
                  </a:cxn>
                  <a:cxn ang="0">
                    <a:pos x="40" y="36"/>
                  </a:cxn>
                  <a:cxn ang="0">
                    <a:pos x="26" y="38"/>
                  </a:cxn>
                  <a:cxn ang="0">
                    <a:pos x="18" y="32"/>
                  </a:cxn>
                  <a:cxn ang="0">
                    <a:pos x="16" y="28"/>
                  </a:cxn>
                  <a:cxn ang="0">
                    <a:pos x="6" y="22"/>
                  </a:cxn>
                  <a:cxn ang="0">
                    <a:pos x="0" y="12"/>
                  </a:cxn>
                  <a:cxn ang="0">
                    <a:pos x="14" y="4"/>
                  </a:cxn>
                  <a:cxn ang="0">
                    <a:pos x="30" y="0"/>
                  </a:cxn>
                  <a:cxn ang="0">
                    <a:pos x="36" y="2"/>
                  </a:cxn>
                  <a:cxn ang="0">
                    <a:pos x="50" y="4"/>
                  </a:cxn>
                  <a:cxn ang="0">
                    <a:pos x="56" y="16"/>
                  </a:cxn>
                  <a:cxn ang="0">
                    <a:pos x="58" y="38"/>
                  </a:cxn>
                  <a:cxn ang="0">
                    <a:pos x="62" y="40"/>
                  </a:cxn>
                  <a:cxn ang="0">
                    <a:pos x="66" y="54"/>
                  </a:cxn>
                  <a:cxn ang="0">
                    <a:pos x="72" y="54"/>
                  </a:cxn>
                  <a:cxn ang="0">
                    <a:pos x="78" y="48"/>
                  </a:cxn>
                  <a:cxn ang="0">
                    <a:pos x="88" y="38"/>
                  </a:cxn>
                  <a:cxn ang="0">
                    <a:pos x="100" y="28"/>
                  </a:cxn>
                  <a:cxn ang="0">
                    <a:pos x="108" y="20"/>
                  </a:cxn>
                  <a:cxn ang="0">
                    <a:pos x="116" y="20"/>
                  </a:cxn>
                  <a:cxn ang="0">
                    <a:pos x="128" y="26"/>
                  </a:cxn>
                  <a:cxn ang="0">
                    <a:pos x="142" y="34"/>
                  </a:cxn>
                  <a:cxn ang="0">
                    <a:pos x="160" y="38"/>
                  </a:cxn>
                </a:cxnLst>
                <a:rect l="0" t="0" r="r" b="b"/>
                <a:pathLst>
                  <a:path w="160" h="164">
                    <a:moveTo>
                      <a:pt x="160" y="38"/>
                    </a:moveTo>
                    <a:lnTo>
                      <a:pt x="160" y="114"/>
                    </a:lnTo>
                    <a:lnTo>
                      <a:pt x="156" y="118"/>
                    </a:lnTo>
                    <a:lnTo>
                      <a:pt x="156" y="122"/>
                    </a:lnTo>
                    <a:lnTo>
                      <a:pt x="160" y="126"/>
                    </a:lnTo>
                    <a:lnTo>
                      <a:pt x="160" y="164"/>
                    </a:lnTo>
                    <a:lnTo>
                      <a:pt x="154" y="164"/>
                    </a:lnTo>
                    <a:lnTo>
                      <a:pt x="148" y="158"/>
                    </a:lnTo>
                    <a:lnTo>
                      <a:pt x="144" y="152"/>
                    </a:lnTo>
                    <a:lnTo>
                      <a:pt x="144" y="144"/>
                    </a:lnTo>
                    <a:lnTo>
                      <a:pt x="126" y="144"/>
                    </a:lnTo>
                    <a:lnTo>
                      <a:pt x="120" y="148"/>
                    </a:lnTo>
                    <a:lnTo>
                      <a:pt x="112" y="148"/>
                    </a:lnTo>
                    <a:lnTo>
                      <a:pt x="104" y="148"/>
                    </a:lnTo>
                    <a:lnTo>
                      <a:pt x="102" y="146"/>
                    </a:lnTo>
                    <a:lnTo>
                      <a:pt x="102" y="144"/>
                    </a:lnTo>
                    <a:lnTo>
                      <a:pt x="104" y="138"/>
                    </a:lnTo>
                    <a:lnTo>
                      <a:pt x="110" y="134"/>
                    </a:lnTo>
                    <a:lnTo>
                      <a:pt x="116" y="128"/>
                    </a:lnTo>
                    <a:lnTo>
                      <a:pt x="120" y="126"/>
                    </a:lnTo>
                    <a:lnTo>
                      <a:pt x="118" y="118"/>
                    </a:lnTo>
                    <a:lnTo>
                      <a:pt x="118" y="112"/>
                    </a:lnTo>
                    <a:lnTo>
                      <a:pt x="116" y="106"/>
                    </a:lnTo>
                    <a:lnTo>
                      <a:pt x="116" y="100"/>
                    </a:lnTo>
                    <a:lnTo>
                      <a:pt x="112" y="94"/>
                    </a:lnTo>
                    <a:lnTo>
                      <a:pt x="104" y="90"/>
                    </a:lnTo>
                    <a:lnTo>
                      <a:pt x="90" y="84"/>
                    </a:lnTo>
                    <a:lnTo>
                      <a:pt x="74" y="80"/>
                    </a:lnTo>
                    <a:lnTo>
                      <a:pt x="68" y="74"/>
                    </a:lnTo>
                    <a:lnTo>
                      <a:pt x="62" y="70"/>
                    </a:lnTo>
                    <a:lnTo>
                      <a:pt x="58" y="68"/>
                    </a:lnTo>
                    <a:lnTo>
                      <a:pt x="54" y="66"/>
                    </a:lnTo>
                    <a:lnTo>
                      <a:pt x="44" y="66"/>
                    </a:lnTo>
                    <a:lnTo>
                      <a:pt x="46" y="60"/>
                    </a:lnTo>
                    <a:lnTo>
                      <a:pt x="48" y="58"/>
                    </a:lnTo>
                    <a:lnTo>
                      <a:pt x="42" y="66"/>
                    </a:lnTo>
                    <a:lnTo>
                      <a:pt x="38" y="70"/>
                    </a:lnTo>
                    <a:lnTo>
                      <a:pt x="34" y="72"/>
                    </a:lnTo>
                    <a:lnTo>
                      <a:pt x="32" y="72"/>
                    </a:lnTo>
                    <a:lnTo>
                      <a:pt x="32" y="66"/>
                    </a:lnTo>
                    <a:lnTo>
                      <a:pt x="32" y="64"/>
                    </a:lnTo>
                    <a:lnTo>
                      <a:pt x="26" y="54"/>
                    </a:lnTo>
                    <a:lnTo>
                      <a:pt x="24" y="50"/>
                    </a:lnTo>
                    <a:lnTo>
                      <a:pt x="20" y="48"/>
                    </a:lnTo>
                    <a:lnTo>
                      <a:pt x="20" y="44"/>
                    </a:lnTo>
                    <a:lnTo>
                      <a:pt x="20" y="42"/>
                    </a:lnTo>
                    <a:lnTo>
                      <a:pt x="24" y="42"/>
                    </a:lnTo>
                    <a:lnTo>
                      <a:pt x="28" y="42"/>
                    </a:lnTo>
                    <a:lnTo>
                      <a:pt x="32" y="44"/>
                    </a:lnTo>
                    <a:lnTo>
                      <a:pt x="34" y="42"/>
                    </a:lnTo>
                    <a:lnTo>
                      <a:pt x="38" y="38"/>
                    </a:lnTo>
                    <a:lnTo>
                      <a:pt x="46" y="40"/>
                    </a:lnTo>
                    <a:lnTo>
                      <a:pt x="50" y="38"/>
                    </a:lnTo>
                    <a:lnTo>
                      <a:pt x="54" y="36"/>
                    </a:lnTo>
                    <a:lnTo>
                      <a:pt x="50" y="36"/>
                    </a:lnTo>
                    <a:lnTo>
                      <a:pt x="40" y="36"/>
                    </a:lnTo>
                    <a:lnTo>
                      <a:pt x="32" y="38"/>
                    </a:lnTo>
                    <a:lnTo>
                      <a:pt x="26" y="38"/>
                    </a:lnTo>
                    <a:lnTo>
                      <a:pt x="22" y="36"/>
                    </a:lnTo>
                    <a:lnTo>
                      <a:pt x="18" y="32"/>
                    </a:lnTo>
                    <a:lnTo>
                      <a:pt x="18" y="28"/>
                    </a:lnTo>
                    <a:lnTo>
                      <a:pt x="16" y="28"/>
                    </a:lnTo>
                    <a:lnTo>
                      <a:pt x="14" y="26"/>
                    </a:lnTo>
                    <a:lnTo>
                      <a:pt x="6" y="22"/>
                    </a:lnTo>
                    <a:lnTo>
                      <a:pt x="0" y="16"/>
                    </a:lnTo>
                    <a:lnTo>
                      <a:pt x="0" y="12"/>
                    </a:lnTo>
                    <a:lnTo>
                      <a:pt x="6" y="8"/>
                    </a:lnTo>
                    <a:lnTo>
                      <a:pt x="14" y="4"/>
                    </a:lnTo>
                    <a:lnTo>
                      <a:pt x="22" y="0"/>
                    </a:lnTo>
                    <a:lnTo>
                      <a:pt x="30" y="0"/>
                    </a:lnTo>
                    <a:lnTo>
                      <a:pt x="34" y="0"/>
                    </a:lnTo>
                    <a:lnTo>
                      <a:pt x="36" y="2"/>
                    </a:lnTo>
                    <a:lnTo>
                      <a:pt x="44" y="4"/>
                    </a:lnTo>
                    <a:lnTo>
                      <a:pt x="50" y="4"/>
                    </a:lnTo>
                    <a:lnTo>
                      <a:pt x="54" y="10"/>
                    </a:lnTo>
                    <a:lnTo>
                      <a:pt x="56" y="16"/>
                    </a:lnTo>
                    <a:lnTo>
                      <a:pt x="56" y="32"/>
                    </a:lnTo>
                    <a:lnTo>
                      <a:pt x="58" y="38"/>
                    </a:lnTo>
                    <a:lnTo>
                      <a:pt x="60" y="40"/>
                    </a:lnTo>
                    <a:lnTo>
                      <a:pt x="62" y="40"/>
                    </a:lnTo>
                    <a:lnTo>
                      <a:pt x="64" y="48"/>
                    </a:lnTo>
                    <a:lnTo>
                      <a:pt x="66" y="54"/>
                    </a:lnTo>
                    <a:lnTo>
                      <a:pt x="70" y="54"/>
                    </a:lnTo>
                    <a:lnTo>
                      <a:pt x="72" y="54"/>
                    </a:lnTo>
                    <a:lnTo>
                      <a:pt x="76" y="52"/>
                    </a:lnTo>
                    <a:lnTo>
                      <a:pt x="78" y="48"/>
                    </a:lnTo>
                    <a:lnTo>
                      <a:pt x="84" y="42"/>
                    </a:lnTo>
                    <a:lnTo>
                      <a:pt x="88" y="38"/>
                    </a:lnTo>
                    <a:lnTo>
                      <a:pt x="94" y="34"/>
                    </a:lnTo>
                    <a:lnTo>
                      <a:pt x="100" y="28"/>
                    </a:lnTo>
                    <a:lnTo>
                      <a:pt x="106" y="22"/>
                    </a:lnTo>
                    <a:lnTo>
                      <a:pt x="108" y="20"/>
                    </a:lnTo>
                    <a:lnTo>
                      <a:pt x="112" y="18"/>
                    </a:lnTo>
                    <a:lnTo>
                      <a:pt x="116" y="20"/>
                    </a:lnTo>
                    <a:lnTo>
                      <a:pt x="120" y="22"/>
                    </a:lnTo>
                    <a:lnTo>
                      <a:pt x="128" y="26"/>
                    </a:lnTo>
                    <a:lnTo>
                      <a:pt x="136" y="30"/>
                    </a:lnTo>
                    <a:lnTo>
                      <a:pt x="142" y="34"/>
                    </a:lnTo>
                    <a:lnTo>
                      <a:pt x="150" y="36"/>
                    </a:lnTo>
                    <a:lnTo>
                      <a:pt x="160" y="3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6" name="Freeform 248"/>
              <p:cNvSpPr>
                <a:spLocks noChangeAspect="1"/>
              </p:cNvSpPr>
              <p:nvPr/>
            </p:nvSpPr>
            <p:spPr bwMode="auto">
              <a:xfrm>
                <a:off x="6282321" y="4835107"/>
                <a:ext cx="32428" cy="16698"/>
              </a:xfrm>
              <a:custGeom>
                <a:avLst/>
                <a:gdLst/>
                <a:ahLst/>
                <a:cxnLst>
                  <a:cxn ang="0">
                    <a:pos x="16" y="12"/>
                  </a:cxn>
                  <a:cxn ang="0">
                    <a:pos x="8" y="8"/>
                  </a:cxn>
                  <a:cxn ang="0">
                    <a:pos x="0" y="2"/>
                  </a:cxn>
                  <a:cxn ang="0">
                    <a:pos x="4" y="0"/>
                  </a:cxn>
                  <a:cxn ang="0">
                    <a:pos x="10" y="0"/>
                  </a:cxn>
                  <a:cxn ang="0">
                    <a:pos x="12" y="0"/>
                  </a:cxn>
                  <a:cxn ang="0">
                    <a:pos x="16" y="0"/>
                  </a:cxn>
                  <a:cxn ang="0">
                    <a:pos x="18" y="4"/>
                  </a:cxn>
                  <a:cxn ang="0">
                    <a:pos x="22" y="4"/>
                  </a:cxn>
                  <a:cxn ang="0">
                    <a:pos x="24" y="10"/>
                  </a:cxn>
                  <a:cxn ang="0">
                    <a:pos x="22" y="12"/>
                  </a:cxn>
                  <a:cxn ang="0">
                    <a:pos x="20" y="14"/>
                  </a:cxn>
                  <a:cxn ang="0">
                    <a:pos x="18" y="14"/>
                  </a:cxn>
                  <a:cxn ang="0">
                    <a:pos x="16" y="12"/>
                  </a:cxn>
                </a:cxnLst>
                <a:rect l="0" t="0" r="r" b="b"/>
                <a:pathLst>
                  <a:path w="24" h="14">
                    <a:moveTo>
                      <a:pt x="16" y="12"/>
                    </a:moveTo>
                    <a:lnTo>
                      <a:pt x="8" y="8"/>
                    </a:lnTo>
                    <a:lnTo>
                      <a:pt x="0" y="2"/>
                    </a:lnTo>
                    <a:lnTo>
                      <a:pt x="4" y="0"/>
                    </a:lnTo>
                    <a:lnTo>
                      <a:pt x="10" y="0"/>
                    </a:lnTo>
                    <a:lnTo>
                      <a:pt x="12" y="0"/>
                    </a:lnTo>
                    <a:lnTo>
                      <a:pt x="16" y="0"/>
                    </a:lnTo>
                    <a:lnTo>
                      <a:pt x="18" y="4"/>
                    </a:lnTo>
                    <a:lnTo>
                      <a:pt x="22" y="4"/>
                    </a:lnTo>
                    <a:lnTo>
                      <a:pt x="24" y="10"/>
                    </a:lnTo>
                    <a:lnTo>
                      <a:pt x="22" y="12"/>
                    </a:lnTo>
                    <a:lnTo>
                      <a:pt x="20" y="14"/>
                    </a:lnTo>
                    <a:lnTo>
                      <a:pt x="18" y="14"/>
                    </a:lnTo>
                    <a:lnTo>
                      <a:pt x="16"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7" name="Freeform 249"/>
              <p:cNvSpPr>
                <a:spLocks noChangeAspect="1"/>
              </p:cNvSpPr>
              <p:nvPr/>
            </p:nvSpPr>
            <p:spPr bwMode="auto">
              <a:xfrm>
                <a:off x="6498509" y="5406432"/>
                <a:ext cx="29726" cy="10734"/>
              </a:xfrm>
              <a:custGeom>
                <a:avLst/>
                <a:gdLst/>
                <a:ahLst/>
                <a:cxnLst>
                  <a:cxn ang="0">
                    <a:pos x="8" y="2"/>
                  </a:cxn>
                  <a:cxn ang="0">
                    <a:pos x="4" y="2"/>
                  </a:cxn>
                  <a:cxn ang="0">
                    <a:pos x="2" y="4"/>
                  </a:cxn>
                  <a:cxn ang="0">
                    <a:pos x="0" y="6"/>
                  </a:cxn>
                  <a:cxn ang="0">
                    <a:pos x="4" y="8"/>
                  </a:cxn>
                  <a:cxn ang="0">
                    <a:pos x="8" y="8"/>
                  </a:cxn>
                  <a:cxn ang="0">
                    <a:pos x="12" y="8"/>
                  </a:cxn>
                  <a:cxn ang="0">
                    <a:pos x="16" y="6"/>
                  </a:cxn>
                  <a:cxn ang="0">
                    <a:pos x="22" y="2"/>
                  </a:cxn>
                  <a:cxn ang="0">
                    <a:pos x="20" y="0"/>
                  </a:cxn>
                  <a:cxn ang="0">
                    <a:pos x="16" y="0"/>
                  </a:cxn>
                  <a:cxn ang="0">
                    <a:pos x="8" y="2"/>
                  </a:cxn>
                </a:cxnLst>
                <a:rect l="0" t="0" r="r" b="b"/>
                <a:pathLst>
                  <a:path w="22" h="8">
                    <a:moveTo>
                      <a:pt x="8" y="2"/>
                    </a:moveTo>
                    <a:lnTo>
                      <a:pt x="4" y="2"/>
                    </a:lnTo>
                    <a:lnTo>
                      <a:pt x="2" y="4"/>
                    </a:lnTo>
                    <a:lnTo>
                      <a:pt x="0" y="6"/>
                    </a:lnTo>
                    <a:lnTo>
                      <a:pt x="4" y="8"/>
                    </a:lnTo>
                    <a:lnTo>
                      <a:pt x="8" y="8"/>
                    </a:lnTo>
                    <a:lnTo>
                      <a:pt x="12" y="8"/>
                    </a:lnTo>
                    <a:lnTo>
                      <a:pt x="16" y="6"/>
                    </a:lnTo>
                    <a:lnTo>
                      <a:pt x="22" y="2"/>
                    </a:lnTo>
                    <a:lnTo>
                      <a:pt x="20" y="0"/>
                    </a:lnTo>
                    <a:lnTo>
                      <a:pt x="16" y="0"/>
                    </a:lnTo>
                    <a:lnTo>
                      <a:pt x="8" y="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8" name="Freeform 250"/>
              <p:cNvSpPr>
                <a:spLocks noChangeAspect="1"/>
              </p:cNvSpPr>
              <p:nvPr/>
            </p:nvSpPr>
            <p:spPr bwMode="auto">
              <a:xfrm>
                <a:off x="7020062" y="4695557"/>
                <a:ext cx="43238" cy="42939"/>
              </a:xfrm>
              <a:custGeom>
                <a:avLst/>
                <a:gdLst/>
                <a:ahLst/>
                <a:cxnLst>
                  <a:cxn ang="0">
                    <a:pos x="30" y="26"/>
                  </a:cxn>
                  <a:cxn ang="0">
                    <a:pos x="30" y="36"/>
                  </a:cxn>
                  <a:cxn ang="0">
                    <a:pos x="26" y="36"/>
                  </a:cxn>
                  <a:cxn ang="0">
                    <a:pos x="22" y="32"/>
                  </a:cxn>
                  <a:cxn ang="0">
                    <a:pos x="20" y="26"/>
                  </a:cxn>
                  <a:cxn ang="0">
                    <a:pos x="18" y="18"/>
                  </a:cxn>
                  <a:cxn ang="0">
                    <a:pos x="14" y="14"/>
                  </a:cxn>
                  <a:cxn ang="0">
                    <a:pos x="6" y="8"/>
                  </a:cxn>
                  <a:cxn ang="0">
                    <a:pos x="0" y="6"/>
                  </a:cxn>
                  <a:cxn ang="0">
                    <a:pos x="0" y="0"/>
                  </a:cxn>
                  <a:cxn ang="0">
                    <a:pos x="14" y="12"/>
                  </a:cxn>
                  <a:cxn ang="0">
                    <a:pos x="30" y="26"/>
                  </a:cxn>
                </a:cxnLst>
                <a:rect l="0" t="0" r="r" b="b"/>
                <a:pathLst>
                  <a:path w="30" h="36">
                    <a:moveTo>
                      <a:pt x="30" y="26"/>
                    </a:moveTo>
                    <a:lnTo>
                      <a:pt x="30" y="36"/>
                    </a:lnTo>
                    <a:lnTo>
                      <a:pt x="26" y="36"/>
                    </a:lnTo>
                    <a:lnTo>
                      <a:pt x="22" y="32"/>
                    </a:lnTo>
                    <a:lnTo>
                      <a:pt x="20" y="26"/>
                    </a:lnTo>
                    <a:lnTo>
                      <a:pt x="18" y="18"/>
                    </a:lnTo>
                    <a:lnTo>
                      <a:pt x="14" y="14"/>
                    </a:lnTo>
                    <a:lnTo>
                      <a:pt x="6" y="8"/>
                    </a:lnTo>
                    <a:lnTo>
                      <a:pt x="0" y="6"/>
                    </a:lnTo>
                    <a:lnTo>
                      <a:pt x="0" y="0"/>
                    </a:lnTo>
                    <a:lnTo>
                      <a:pt x="14" y="12"/>
                    </a:lnTo>
                    <a:lnTo>
                      <a:pt x="30" y="2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39" name="Freeform 251"/>
              <p:cNvSpPr>
                <a:spLocks noChangeAspect="1"/>
              </p:cNvSpPr>
              <p:nvPr/>
            </p:nvSpPr>
            <p:spPr bwMode="auto">
              <a:xfrm>
                <a:off x="6666054" y="4646654"/>
                <a:ext cx="14862" cy="14313"/>
              </a:xfrm>
              <a:custGeom>
                <a:avLst/>
                <a:gdLst/>
                <a:ahLst/>
                <a:cxnLst>
                  <a:cxn ang="0">
                    <a:pos x="12" y="12"/>
                  </a:cxn>
                  <a:cxn ang="0">
                    <a:pos x="10" y="12"/>
                  </a:cxn>
                  <a:cxn ang="0">
                    <a:pos x="6" y="12"/>
                  </a:cxn>
                  <a:cxn ang="0">
                    <a:pos x="4" y="8"/>
                  </a:cxn>
                  <a:cxn ang="0">
                    <a:pos x="0" y="4"/>
                  </a:cxn>
                  <a:cxn ang="0">
                    <a:pos x="0" y="0"/>
                  </a:cxn>
                  <a:cxn ang="0">
                    <a:pos x="4" y="2"/>
                  </a:cxn>
                  <a:cxn ang="0">
                    <a:pos x="8" y="4"/>
                  </a:cxn>
                  <a:cxn ang="0">
                    <a:pos x="12" y="12"/>
                  </a:cxn>
                </a:cxnLst>
                <a:rect l="0" t="0" r="r" b="b"/>
                <a:pathLst>
                  <a:path w="12" h="12">
                    <a:moveTo>
                      <a:pt x="12" y="12"/>
                    </a:moveTo>
                    <a:lnTo>
                      <a:pt x="10" y="12"/>
                    </a:lnTo>
                    <a:lnTo>
                      <a:pt x="6" y="12"/>
                    </a:lnTo>
                    <a:lnTo>
                      <a:pt x="4" y="8"/>
                    </a:lnTo>
                    <a:lnTo>
                      <a:pt x="0" y="4"/>
                    </a:lnTo>
                    <a:lnTo>
                      <a:pt x="0" y="0"/>
                    </a:lnTo>
                    <a:lnTo>
                      <a:pt x="4" y="2"/>
                    </a:lnTo>
                    <a:lnTo>
                      <a:pt x="8" y="4"/>
                    </a:lnTo>
                    <a:lnTo>
                      <a:pt x="12"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0" name="Freeform 252"/>
              <p:cNvSpPr>
                <a:spLocks noChangeAspect="1"/>
              </p:cNvSpPr>
              <p:nvPr/>
            </p:nvSpPr>
            <p:spPr bwMode="auto">
              <a:xfrm>
                <a:off x="6666055" y="4671702"/>
                <a:ext cx="21619" cy="4771"/>
              </a:xfrm>
              <a:custGeom>
                <a:avLst/>
                <a:gdLst/>
                <a:ahLst/>
                <a:cxnLst>
                  <a:cxn ang="0">
                    <a:pos x="14" y="0"/>
                  </a:cxn>
                  <a:cxn ang="0">
                    <a:pos x="14" y="4"/>
                  </a:cxn>
                  <a:cxn ang="0">
                    <a:pos x="0" y="2"/>
                  </a:cxn>
                  <a:cxn ang="0">
                    <a:pos x="0" y="0"/>
                  </a:cxn>
                  <a:cxn ang="0">
                    <a:pos x="14" y="0"/>
                  </a:cxn>
                </a:cxnLst>
                <a:rect l="0" t="0" r="r" b="b"/>
                <a:pathLst>
                  <a:path w="14" h="4">
                    <a:moveTo>
                      <a:pt x="14" y="0"/>
                    </a:moveTo>
                    <a:lnTo>
                      <a:pt x="14" y="4"/>
                    </a:lnTo>
                    <a:lnTo>
                      <a:pt x="0" y="2"/>
                    </a:lnTo>
                    <a:lnTo>
                      <a:pt x="0" y="0"/>
                    </a:lnTo>
                    <a:lnTo>
                      <a:pt x="14"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1" name="Freeform 253"/>
              <p:cNvSpPr>
                <a:spLocks noChangeAspect="1"/>
              </p:cNvSpPr>
              <p:nvPr/>
            </p:nvSpPr>
            <p:spPr bwMode="auto">
              <a:xfrm>
                <a:off x="6622817" y="4770699"/>
                <a:ext cx="12160" cy="14313"/>
              </a:xfrm>
              <a:custGeom>
                <a:avLst/>
                <a:gdLst/>
                <a:ahLst/>
                <a:cxnLst>
                  <a:cxn ang="0">
                    <a:pos x="10" y="6"/>
                  </a:cxn>
                  <a:cxn ang="0">
                    <a:pos x="8" y="10"/>
                  </a:cxn>
                  <a:cxn ang="0">
                    <a:pos x="4" y="12"/>
                  </a:cxn>
                  <a:cxn ang="0">
                    <a:pos x="2" y="12"/>
                  </a:cxn>
                  <a:cxn ang="0">
                    <a:pos x="0" y="10"/>
                  </a:cxn>
                  <a:cxn ang="0">
                    <a:pos x="0" y="6"/>
                  </a:cxn>
                  <a:cxn ang="0">
                    <a:pos x="2" y="0"/>
                  </a:cxn>
                  <a:cxn ang="0">
                    <a:pos x="10" y="6"/>
                  </a:cxn>
                </a:cxnLst>
                <a:rect l="0" t="0" r="r" b="b"/>
                <a:pathLst>
                  <a:path w="10" h="12">
                    <a:moveTo>
                      <a:pt x="10" y="6"/>
                    </a:moveTo>
                    <a:lnTo>
                      <a:pt x="8" y="10"/>
                    </a:lnTo>
                    <a:lnTo>
                      <a:pt x="4" y="12"/>
                    </a:lnTo>
                    <a:lnTo>
                      <a:pt x="2" y="12"/>
                    </a:lnTo>
                    <a:lnTo>
                      <a:pt x="0" y="10"/>
                    </a:lnTo>
                    <a:lnTo>
                      <a:pt x="0" y="6"/>
                    </a:lnTo>
                    <a:lnTo>
                      <a:pt x="2" y="0"/>
                    </a:lnTo>
                    <a:lnTo>
                      <a:pt x="10"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2" name="Freeform 254"/>
              <p:cNvSpPr>
                <a:spLocks noChangeAspect="1"/>
              </p:cNvSpPr>
              <p:nvPr/>
            </p:nvSpPr>
            <p:spPr bwMode="auto">
              <a:xfrm>
                <a:off x="6547152" y="4633534"/>
                <a:ext cx="21619" cy="8349"/>
              </a:xfrm>
              <a:custGeom>
                <a:avLst/>
                <a:gdLst/>
                <a:ahLst/>
                <a:cxnLst>
                  <a:cxn ang="0">
                    <a:pos x="16" y="6"/>
                  </a:cxn>
                  <a:cxn ang="0">
                    <a:pos x="8" y="6"/>
                  </a:cxn>
                  <a:cxn ang="0">
                    <a:pos x="4" y="6"/>
                  </a:cxn>
                  <a:cxn ang="0">
                    <a:pos x="0" y="6"/>
                  </a:cxn>
                  <a:cxn ang="0">
                    <a:pos x="4" y="2"/>
                  </a:cxn>
                  <a:cxn ang="0">
                    <a:pos x="8" y="0"/>
                  </a:cxn>
                  <a:cxn ang="0">
                    <a:pos x="12" y="0"/>
                  </a:cxn>
                  <a:cxn ang="0">
                    <a:pos x="14" y="2"/>
                  </a:cxn>
                  <a:cxn ang="0">
                    <a:pos x="16" y="6"/>
                  </a:cxn>
                </a:cxnLst>
                <a:rect l="0" t="0" r="r" b="b"/>
                <a:pathLst>
                  <a:path w="16" h="6">
                    <a:moveTo>
                      <a:pt x="16" y="6"/>
                    </a:moveTo>
                    <a:lnTo>
                      <a:pt x="8" y="6"/>
                    </a:lnTo>
                    <a:lnTo>
                      <a:pt x="4" y="6"/>
                    </a:lnTo>
                    <a:lnTo>
                      <a:pt x="0" y="6"/>
                    </a:lnTo>
                    <a:lnTo>
                      <a:pt x="4" y="2"/>
                    </a:lnTo>
                    <a:lnTo>
                      <a:pt x="8" y="0"/>
                    </a:lnTo>
                    <a:lnTo>
                      <a:pt x="12" y="0"/>
                    </a:lnTo>
                    <a:lnTo>
                      <a:pt x="14" y="2"/>
                    </a:lnTo>
                    <a:lnTo>
                      <a:pt x="16"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3" name="Freeform 255"/>
              <p:cNvSpPr>
                <a:spLocks noChangeAspect="1"/>
              </p:cNvSpPr>
              <p:nvPr/>
            </p:nvSpPr>
            <p:spPr bwMode="auto">
              <a:xfrm>
                <a:off x="6416088" y="4674087"/>
                <a:ext cx="12161" cy="5963"/>
              </a:xfrm>
              <a:custGeom>
                <a:avLst/>
                <a:gdLst/>
                <a:ahLst/>
                <a:cxnLst>
                  <a:cxn ang="0">
                    <a:pos x="10" y="0"/>
                  </a:cxn>
                  <a:cxn ang="0">
                    <a:pos x="8" y="2"/>
                  </a:cxn>
                  <a:cxn ang="0">
                    <a:pos x="4" y="4"/>
                  </a:cxn>
                  <a:cxn ang="0">
                    <a:pos x="2" y="2"/>
                  </a:cxn>
                  <a:cxn ang="0">
                    <a:pos x="0" y="0"/>
                  </a:cxn>
                  <a:cxn ang="0">
                    <a:pos x="6" y="0"/>
                  </a:cxn>
                  <a:cxn ang="0">
                    <a:pos x="10" y="0"/>
                  </a:cxn>
                </a:cxnLst>
                <a:rect l="0" t="0" r="r" b="b"/>
                <a:pathLst>
                  <a:path w="10" h="4">
                    <a:moveTo>
                      <a:pt x="10" y="0"/>
                    </a:moveTo>
                    <a:lnTo>
                      <a:pt x="8" y="2"/>
                    </a:lnTo>
                    <a:lnTo>
                      <a:pt x="4" y="4"/>
                    </a:lnTo>
                    <a:lnTo>
                      <a:pt x="2" y="2"/>
                    </a:lnTo>
                    <a:lnTo>
                      <a:pt x="0" y="0"/>
                    </a:lnTo>
                    <a:lnTo>
                      <a:pt x="6" y="0"/>
                    </a:lnTo>
                    <a:lnTo>
                      <a:pt x="10"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4" name="Freeform 256"/>
              <p:cNvSpPr>
                <a:spLocks noChangeAspect="1"/>
              </p:cNvSpPr>
              <p:nvPr/>
            </p:nvSpPr>
            <p:spPr bwMode="auto">
              <a:xfrm>
                <a:off x="6360689" y="4397370"/>
                <a:ext cx="28374" cy="42939"/>
              </a:xfrm>
              <a:custGeom>
                <a:avLst/>
                <a:gdLst/>
                <a:ahLst/>
                <a:cxnLst>
                  <a:cxn ang="0">
                    <a:pos x="18" y="6"/>
                  </a:cxn>
                  <a:cxn ang="0">
                    <a:pos x="16" y="12"/>
                  </a:cxn>
                  <a:cxn ang="0">
                    <a:pos x="14" y="14"/>
                  </a:cxn>
                  <a:cxn ang="0">
                    <a:pos x="12" y="18"/>
                  </a:cxn>
                  <a:cxn ang="0">
                    <a:pos x="12" y="24"/>
                  </a:cxn>
                  <a:cxn ang="0">
                    <a:pos x="12" y="26"/>
                  </a:cxn>
                  <a:cxn ang="0">
                    <a:pos x="12" y="28"/>
                  </a:cxn>
                  <a:cxn ang="0">
                    <a:pos x="14" y="32"/>
                  </a:cxn>
                  <a:cxn ang="0">
                    <a:pos x="14" y="34"/>
                  </a:cxn>
                  <a:cxn ang="0">
                    <a:pos x="10" y="34"/>
                  </a:cxn>
                  <a:cxn ang="0">
                    <a:pos x="6" y="28"/>
                  </a:cxn>
                  <a:cxn ang="0">
                    <a:pos x="2" y="24"/>
                  </a:cxn>
                  <a:cxn ang="0">
                    <a:pos x="0" y="18"/>
                  </a:cxn>
                  <a:cxn ang="0">
                    <a:pos x="2" y="16"/>
                  </a:cxn>
                  <a:cxn ang="0">
                    <a:pos x="6" y="16"/>
                  </a:cxn>
                  <a:cxn ang="0">
                    <a:pos x="6" y="8"/>
                  </a:cxn>
                  <a:cxn ang="0">
                    <a:pos x="8" y="2"/>
                  </a:cxn>
                  <a:cxn ang="0">
                    <a:pos x="10" y="0"/>
                  </a:cxn>
                  <a:cxn ang="0">
                    <a:pos x="12" y="0"/>
                  </a:cxn>
                  <a:cxn ang="0">
                    <a:pos x="16" y="2"/>
                  </a:cxn>
                  <a:cxn ang="0">
                    <a:pos x="18" y="4"/>
                  </a:cxn>
                  <a:cxn ang="0">
                    <a:pos x="18" y="6"/>
                  </a:cxn>
                </a:cxnLst>
                <a:rect l="0" t="0" r="r" b="b"/>
                <a:pathLst>
                  <a:path w="18" h="34">
                    <a:moveTo>
                      <a:pt x="18" y="6"/>
                    </a:moveTo>
                    <a:lnTo>
                      <a:pt x="16" y="12"/>
                    </a:lnTo>
                    <a:lnTo>
                      <a:pt x="14" y="14"/>
                    </a:lnTo>
                    <a:lnTo>
                      <a:pt x="12" y="18"/>
                    </a:lnTo>
                    <a:lnTo>
                      <a:pt x="12" y="24"/>
                    </a:lnTo>
                    <a:lnTo>
                      <a:pt x="12" y="26"/>
                    </a:lnTo>
                    <a:lnTo>
                      <a:pt x="12" y="28"/>
                    </a:lnTo>
                    <a:lnTo>
                      <a:pt x="14" y="32"/>
                    </a:lnTo>
                    <a:lnTo>
                      <a:pt x="14" y="34"/>
                    </a:lnTo>
                    <a:lnTo>
                      <a:pt x="10" y="34"/>
                    </a:lnTo>
                    <a:lnTo>
                      <a:pt x="6" y="28"/>
                    </a:lnTo>
                    <a:lnTo>
                      <a:pt x="2" y="24"/>
                    </a:lnTo>
                    <a:lnTo>
                      <a:pt x="0" y="18"/>
                    </a:lnTo>
                    <a:lnTo>
                      <a:pt x="2" y="16"/>
                    </a:lnTo>
                    <a:lnTo>
                      <a:pt x="6" y="16"/>
                    </a:lnTo>
                    <a:lnTo>
                      <a:pt x="6" y="8"/>
                    </a:lnTo>
                    <a:lnTo>
                      <a:pt x="8" y="2"/>
                    </a:lnTo>
                    <a:lnTo>
                      <a:pt x="10" y="0"/>
                    </a:lnTo>
                    <a:lnTo>
                      <a:pt x="12" y="0"/>
                    </a:lnTo>
                    <a:lnTo>
                      <a:pt x="16" y="2"/>
                    </a:lnTo>
                    <a:lnTo>
                      <a:pt x="18" y="4"/>
                    </a:lnTo>
                    <a:lnTo>
                      <a:pt x="18" y="6"/>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5" name="Freeform 257"/>
              <p:cNvSpPr>
                <a:spLocks noChangeAspect="1"/>
              </p:cNvSpPr>
              <p:nvPr/>
            </p:nvSpPr>
            <p:spPr bwMode="auto">
              <a:xfrm>
                <a:off x="6389064" y="4415261"/>
                <a:ext cx="20268" cy="14313"/>
              </a:xfrm>
              <a:custGeom>
                <a:avLst/>
                <a:gdLst/>
                <a:ahLst/>
                <a:cxnLst>
                  <a:cxn ang="0">
                    <a:pos x="14" y="0"/>
                  </a:cxn>
                  <a:cxn ang="0">
                    <a:pos x="12" y="4"/>
                  </a:cxn>
                  <a:cxn ang="0">
                    <a:pos x="10" y="8"/>
                  </a:cxn>
                  <a:cxn ang="0">
                    <a:pos x="8" y="10"/>
                  </a:cxn>
                  <a:cxn ang="0">
                    <a:pos x="4" y="12"/>
                  </a:cxn>
                  <a:cxn ang="0">
                    <a:pos x="2" y="10"/>
                  </a:cxn>
                  <a:cxn ang="0">
                    <a:pos x="0" y="8"/>
                  </a:cxn>
                  <a:cxn ang="0">
                    <a:pos x="2" y="4"/>
                  </a:cxn>
                  <a:cxn ang="0">
                    <a:pos x="6" y="0"/>
                  </a:cxn>
                  <a:cxn ang="0">
                    <a:pos x="10" y="0"/>
                  </a:cxn>
                  <a:cxn ang="0">
                    <a:pos x="14" y="0"/>
                  </a:cxn>
                </a:cxnLst>
                <a:rect l="0" t="0" r="r" b="b"/>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6" name="Freeform 258"/>
              <p:cNvSpPr>
                <a:spLocks noChangeAspect="1"/>
              </p:cNvSpPr>
              <p:nvPr/>
            </p:nvSpPr>
            <p:spPr bwMode="auto">
              <a:xfrm>
                <a:off x="6372850" y="4363972"/>
                <a:ext cx="16214" cy="19084"/>
              </a:xfrm>
              <a:custGeom>
                <a:avLst/>
                <a:gdLst/>
                <a:ahLst/>
                <a:cxnLst>
                  <a:cxn ang="0">
                    <a:pos x="0" y="8"/>
                  </a:cxn>
                  <a:cxn ang="0">
                    <a:pos x="0" y="0"/>
                  </a:cxn>
                  <a:cxn ang="0">
                    <a:pos x="2" y="0"/>
                  </a:cxn>
                  <a:cxn ang="0">
                    <a:pos x="6" y="4"/>
                  </a:cxn>
                  <a:cxn ang="0">
                    <a:pos x="8" y="6"/>
                  </a:cxn>
                  <a:cxn ang="0">
                    <a:pos x="12" y="10"/>
                  </a:cxn>
                  <a:cxn ang="0">
                    <a:pos x="12" y="14"/>
                  </a:cxn>
                  <a:cxn ang="0">
                    <a:pos x="12" y="16"/>
                  </a:cxn>
                  <a:cxn ang="0">
                    <a:pos x="10" y="14"/>
                  </a:cxn>
                  <a:cxn ang="0">
                    <a:pos x="6" y="8"/>
                  </a:cxn>
                  <a:cxn ang="0">
                    <a:pos x="0" y="8"/>
                  </a:cxn>
                </a:cxnLst>
                <a:rect l="0" t="0" r="r" b="b"/>
                <a:pathLst>
                  <a:path w="12" h="16">
                    <a:moveTo>
                      <a:pt x="0" y="8"/>
                    </a:moveTo>
                    <a:lnTo>
                      <a:pt x="0" y="0"/>
                    </a:lnTo>
                    <a:lnTo>
                      <a:pt x="2" y="0"/>
                    </a:lnTo>
                    <a:lnTo>
                      <a:pt x="6" y="4"/>
                    </a:lnTo>
                    <a:lnTo>
                      <a:pt x="8" y="6"/>
                    </a:lnTo>
                    <a:lnTo>
                      <a:pt x="12" y="10"/>
                    </a:lnTo>
                    <a:lnTo>
                      <a:pt x="12" y="14"/>
                    </a:lnTo>
                    <a:lnTo>
                      <a:pt x="12" y="16"/>
                    </a:lnTo>
                    <a:lnTo>
                      <a:pt x="10" y="14"/>
                    </a:lnTo>
                    <a:lnTo>
                      <a:pt x="6" y="8"/>
                    </a:lnTo>
                    <a:lnTo>
                      <a:pt x="0"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7" name="Freeform 259"/>
              <p:cNvSpPr>
                <a:spLocks noChangeAspect="1"/>
              </p:cNvSpPr>
              <p:nvPr/>
            </p:nvSpPr>
            <p:spPr bwMode="auto">
              <a:xfrm>
                <a:off x="6306644" y="4342504"/>
                <a:ext cx="27023" cy="25047"/>
              </a:xfrm>
              <a:custGeom>
                <a:avLst/>
                <a:gdLst/>
                <a:ahLst/>
                <a:cxnLst>
                  <a:cxn ang="0">
                    <a:pos x="16" y="20"/>
                  </a:cxn>
                  <a:cxn ang="0">
                    <a:pos x="12" y="16"/>
                  </a:cxn>
                  <a:cxn ang="0">
                    <a:pos x="6" y="10"/>
                  </a:cxn>
                  <a:cxn ang="0">
                    <a:pos x="0" y="0"/>
                  </a:cxn>
                  <a:cxn ang="0">
                    <a:pos x="6" y="0"/>
                  </a:cxn>
                  <a:cxn ang="0">
                    <a:pos x="14" y="4"/>
                  </a:cxn>
                  <a:cxn ang="0">
                    <a:pos x="18" y="4"/>
                  </a:cxn>
                  <a:cxn ang="0">
                    <a:pos x="20" y="8"/>
                  </a:cxn>
                  <a:cxn ang="0">
                    <a:pos x="20" y="12"/>
                  </a:cxn>
                  <a:cxn ang="0">
                    <a:pos x="20" y="16"/>
                  </a:cxn>
                  <a:cxn ang="0">
                    <a:pos x="18" y="20"/>
                  </a:cxn>
                  <a:cxn ang="0">
                    <a:pos x="16" y="20"/>
                  </a:cxn>
                </a:cxnLst>
                <a:rect l="0" t="0" r="r" b="b"/>
                <a:pathLst>
                  <a:path w="20" h="20">
                    <a:moveTo>
                      <a:pt x="16" y="20"/>
                    </a:moveTo>
                    <a:lnTo>
                      <a:pt x="12" y="16"/>
                    </a:lnTo>
                    <a:lnTo>
                      <a:pt x="6" y="10"/>
                    </a:lnTo>
                    <a:lnTo>
                      <a:pt x="0" y="0"/>
                    </a:lnTo>
                    <a:lnTo>
                      <a:pt x="6" y="0"/>
                    </a:lnTo>
                    <a:lnTo>
                      <a:pt x="14" y="4"/>
                    </a:lnTo>
                    <a:lnTo>
                      <a:pt x="18" y="4"/>
                    </a:lnTo>
                    <a:lnTo>
                      <a:pt x="20" y="8"/>
                    </a:lnTo>
                    <a:lnTo>
                      <a:pt x="20" y="12"/>
                    </a:lnTo>
                    <a:lnTo>
                      <a:pt x="20" y="16"/>
                    </a:lnTo>
                    <a:lnTo>
                      <a:pt x="18" y="20"/>
                    </a:lnTo>
                    <a:lnTo>
                      <a:pt x="16" y="2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8" name="Freeform 260"/>
              <p:cNvSpPr>
                <a:spLocks noChangeAspect="1"/>
              </p:cNvSpPr>
              <p:nvPr/>
            </p:nvSpPr>
            <p:spPr bwMode="auto">
              <a:xfrm>
                <a:off x="7132208" y="4779048"/>
                <a:ext cx="18916" cy="19084"/>
              </a:xfrm>
              <a:custGeom>
                <a:avLst/>
                <a:gdLst/>
                <a:ahLst/>
                <a:cxnLst>
                  <a:cxn ang="0">
                    <a:pos x="14" y="12"/>
                  </a:cxn>
                  <a:cxn ang="0">
                    <a:pos x="12" y="14"/>
                  </a:cxn>
                  <a:cxn ang="0">
                    <a:pos x="10" y="16"/>
                  </a:cxn>
                  <a:cxn ang="0">
                    <a:pos x="8" y="14"/>
                  </a:cxn>
                  <a:cxn ang="0">
                    <a:pos x="4" y="12"/>
                  </a:cxn>
                  <a:cxn ang="0">
                    <a:pos x="0" y="4"/>
                  </a:cxn>
                  <a:cxn ang="0">
                    <a:pos x="0" y="0"/>
                  </a:cxn>
                  <a:cxn ang="0">
                    <a:pos x="8" y="4"/>
                  </a:cxn>
                  <a:cxn ang="0">
                    <a:pos x="12" y="8"/>
                  </a:cxn>
                  <a:cxn ang="0">
                    <a:pos x="14" y="12"/>
                  </a:cxn>
                </a:cxnLst>
                <a:rect l="0" t="0" r="r" b="b"/>
                <a:pathLst>
                  <a:path w="14" h="16">
                    <a:moveTo>
                      <a:pt x="14" y="12"/>
                    </a:moveTo>
                    <a:lnTo>
                      <a:pt x="12" y="14"/>
                    </a:lnTo>
                    <a:lnTo>
                      <a:pt x="10" y="16"/>
                    </a:lnTo>
                    <a:lnTo>
                      <a:pt x="8" y="14"/>
                    </a:lnTo>
                    <a:lnTo>
                      <a:pt x="4" y="12"/>
                    </a:lnTo>
                    <a:lnTo>
                      <a:pt x="0" y="4"/>
                    </a:lnTo>
                    <a:lnTo>
                      <a:pt x="0" y="0"/>
                    </a:lnTo>
                    <a:lnTo>
                      <a:pt x="8" y="4"/>
                    </a:lnTo>
                    <a:lnTo>
                      <a:pt x="12" y="8"/>
                    </a:lnTo>
                    <a:lnTo>
                      <a:pt x="14" y="12"/>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49" name="Freeform 261"/>
              <p:cNvSpPr>
                <a:spLocks noChangeAspect="1"/>
              </p:cNvSpPr>
              <p:nvPr/>
            </p:nvSpPr>
            <p:spPr bwMode="auto">
              <a:xfrm>
                <a:off x="7194363" y="4835107"/>
                <a:ext cx="27023" cy="16698"/>
              </a:xfrm>
              <a:custGeom>
                <a:avLst/>
                <a:gdLst/>
                <a:ahLst/>
                <a:cxnLst>
                  <a:cxn ang="0">
                    <a:pos x="20" y="8"/>
                  </a:cxn>
                  <a:cxn ang="0">
                    <a:pos x="20" y="12"/>
                  </a:cxn>
                  <a:cxn ang="0">
                    <a:pos x="16" y="12"/>
                  </a:cxn>
                  <a:cxn ang="0">
                    <a:pos x="6" y="10"/>
                  </a:cxn>
                  <a:cxn ang="0">
                    <a:pos x="2" y="6"/>
                  </a:cxn>
                  <a:cxn ang="0">
                    <a:pos x="0" y="2"/>
                  </a:cxn>
                  <a:cxn ang="0">
                    <a:pos x="0" y="0"/>
                  </a:cxn>
                  <a:cxn ang="0">
                    <a:pos x="2" y="0"/>
                  </a:cxn>
                  <a:cxn ang="0">
                    <a:pos x="10" y="2"/>
                  </a:cxn>
                  <a:cxn ang="0">
                    <a:pos x="18" y="4"/>
                  </a:cxn>
                  <a:cxn ang="0">
                    <a:pos x="20" y="6"/>
                  </a:cxn>
                  <a:cxn ang="0">
                    <a:pos x="20" y="8"/>
                  </a:cxn>
                </a:cxnLst>
                <a:rect l="0" t="0" r="r" b="b"/>
                <a:pathLst>
                  <a:path w="20" h="12">
                    <a:moveTo>
                      <a:pt x="20" y="8"/>
                    </a:moveTo>
                    <a:lnTo>
                      <a:pt x="20" y="12"/>
                    </a:lnTo>
                    <a:lnTo>
                      <a:pt x="16" y="12"/>
                    </a:lnTo>
                    <a:lnTo>
                      <a:pt x="6" y="10"/>
                    </a:lnTo>
                    <a:lnTo>
                      <a:pt x="2" y="6"/>
                    </a:lnTo>
                    <a:lnTo>
                      <a:pt x="0" y="2"/>
                    </a:lnTo>
                    <a:lnTo>
                      <a:pt x="0" y="0"/>
                    </a:lnTo>
                    <a:lnTo>
                      <a:pt x="2" y="0"/>
                    </a:lnTo>
                    <a:lnTo>
                      <a:pt x="10" y="2"/>
                    </a:lnTo>
                    <a:lnTo>
                      <a:pt x="18" y="4"/>
                    </a:lnTo>
                    <a:lnTo>
                      <a:pt x="20" y="6"/>
                    </a:lnTo>
                    <a:lnTo>
                      <a:pt x="20" y="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50" name="Freeform 262"/>
              <p:cNvSpPr>
                <a:spLocks noChangeAspect="1"/>
              </p:cNvSpPr>
              <p:nvPr/>
            </p:nvSpPr>
            <p:spPr bwMode="auto">
              <a:xfrm>
                <a:off x="7330831" y="4954381"/>
                <a:ext cx="12160" cy="19084"/>
              </a:xfrm>
              <a:custGeom>
                <a:avLst/>
                <a:gdLst/>
                <a:ahLst/>
                <a:cxnLst>
                  <a:cxn ang="0">
                    <a:pos x="4" y="0"/>
                  </a:cxn>
                  <a:cxn ang="0">
                    <a:pos x="4" y="4"/>
                  </a:cxn>
                  <a:cxn ang="0">
                    <a:pos x="6" y="6"/>
                  </a:cxn>
                  <a:cxn ang="0">
                    <a:pos x="8" y="6"/>
                  </a:cxn>
                  <a:cxn ang="0">
                    <a:pos x="8" y="8"/>
                  </a:cxn>
                  <a:cxn ang="0">
                    <a:pos x="6" y="12"/>
                  </a:cxn>
                  <a:cxn ang="0">
                    <a:pos x="4" y="14"/>
                  </a:cxn>
                  <a:cxn ang="0">
                    <a:pos x="2" y="14"/>
                  </a:cxn>
                  <a:cxn ang="0">
                    <a:pos x="0" y="10"/>
                  </a:cxn>
                  <a:cxn ang="0">
                    <a:pos x="0" y="6"/>
                  </a:cxn>
                  <a:cxn ang="0">
                    <a:pos x="0" y="0"/>
                  </a:cxn>
                  <a:cxn ang="0">
                    <a:pos x="4" y="0"/>
                  </a:cxn>
                </a:cxnLst>
                <a:rect l="0" t="0" r="r" b="b"/>
                <a:pathLst>
                  <a:path w="8" h="14">
                    <a:moveTo>
                      <a:pt x="4" y="0"/>
                    </a:moveTo>
                    <a:lnTo>
                      <a:pt x="4" y="4"/>
                    </a:lnTo>
                    <a:lnTo>
                      <a:pt x="6" y="6"/>
                    </a:lnTo>
                    <a:lnTo>
                      <a:pt x="8" y="6"/>
                    </a:lnTo>
                    <a:lnTo>
                      <a:pt x="8" y="8"/>
                    </a:lnTo>
                    <a:lnTo>
                      <a:pt x="6" y="12"/>
                    </a:lnTo>
                    <a:lnTo>
                      <a:pt x="4" y="14"/>
                    </a:lnTo>
                    <a:lnTo>
                      <a:pt x="2" y="14"/>
                    </a:lnTo>
                    <a:lnTo>
                      <a:pt x="0" y="10"/>
                    </a:lnTo>
                    <a:lnTo>
                      <a:pt x="0" y="6"/>
                    </a:lnTo>
                    <a:lnTo>
                      <a:pt x="0" y="0"/>
                    </a:lnTo>
                    <a:lnTo>
                      <a:pt x="4" y="0"/>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51" name="Freeform 263"/>
              <p:cNvSpPr>
                <a:spLocks noChangeAspect="1"/>
              </p:cNvSpPr>
              <p:nvPr>
                <p:custDataLst>
                  <p:tags r:id="rId5"/>
                </p:custDataLst>
              </p:nvPr>
            </p:nvSpPr>
            <p:spPr bwMode="auto">
              <a:xfrm>
                <a:off x="620911" y="3136637"/>
                <a:ext cx="679639" cy="291030"/>
              </a:xfrm>
              <a:custGeom>
                <a:avLst/>
                <a:gdLst/>
                <a:ahLst/>
                <a:cxnLst>
                  <a:cxn ang="0">
                    <a:pos x="376" y="184"/>
                  </a:cxn>
                  <a:cxn ang="0">
                    <a:pos x="350" y="176"/>
                  </a:cxn>
                  <a:cxn ang="0">
                    <a:pos x="338" y="168"/>
                  </a:cxn>
                  <a:cxn ang="0">
                    <a:pos x="308" y="184"/>
                  </a:cxn>
                  <a:cxn ang="0">
                    <a:pos x="282" y="192"/>
                  </a:cxn>
                  <a:cxn ang="0">
                    <a:pos x="262" y="194"/>
                  </a:cxn>
                  <a:cxn ang="0">
                    <a:pos x="286" y="178"/>
                  </a:cxn>
                  <a:cxn ang="0">
                    <a:pos x="282" y="174"/>
                  </a:cxn>
                  <a:cxn ang="0">
                    <a:pos x="246" y="192"/>
                  </a:cxn>
                  <a:cxn ang="0">
                    <a:pos x="230" y="202"/>
                  </a:cxn>
                  <a:cxn ang="0">
                    <a:pos x="206" y="214"/>
                  </a:cxn>
                  <a:cxn ang="0">
                    <a:pos x="172" y="224"/>
                  </a:cxn>
                  <a:cxn ang="0">
                    <a:pos x="154" y="234"/>
                  </a:cxn>
                  <a:cxn ang="0">
                    <a:pos x="86" y="258"/>
                  </a:cxn>
                  <a:cxn ang="0">
                    <a:pos x="62" y="262"/>
                  </a:cxn>
                  <a:cxn ang="0">
                    <a:pos x="48" y="264"/>
                  </a:cxn>
                  <a:cxn ang="0">
                    <a:pos x="14" y="278"/>
                  </a:cxn>
                  <a:cxn ang="0">
                    <a:pos x="14" y="270"/>
                  </a:cxn>
                  <a:cxn ang="0">
                    <a:pos x="76" y="256"/>
                  </a:cxn>
                  <a:cxn ang="0">
                    <a:pos x="90" y="248"/>
                  </a:cxn>
                  <a:cxn ang="0">
                    <a:pos x="120" y="236"/>
                  </a:cxn>
                  <a:cxn ang="0">
                    <a:pos x="164" y="206"/>
                  </a:cxn>
                  <a:cxn ang="0">
                    <a:pos x="146" y="210"/>
                  </a:cxn>
                  <a:cxn ang="0">
                    <a:pos x="140" y="202"/>
                  </a:cxn>
                  <a:cxn ang="0">
                    <a:pos x="124" y="208"/>
                  </a:cxn>
                  <a:cxn ang="0">
                    <a:pos x="126" y="198"/>
                  </a:cxn>
                  <a:cxn ang="0">
                    <a:pos x="132" y="186"/>
                  </a:cxn>
                  <a:cxn ang="0">
                    <a:pos x="116" y="186"/>
                  </a:cxn>
                  <a:cxn ang="0">
                    <a:pos x="110" y="160"/>
                  </a:cxn>
                  <a:cxn ang="0">
                    <a:pos x="166" y="132"/>
                  </a:cxn>
                  <a:cxn ang="0">
                    <a:pos x="224" y="122"/>
                  </a:cxn>
                  <a:cxn ang="0">
                    <a:pos x="246" y="104"/>
                  </a:cxn>
                  <a:cxn ang="0">
                    <a:pos x="220" y="112"/>
                  </a:cxn>
                  <a:cxn ang="0">
                    <a:pos x="186" y="102"/>
                  </a:cxn>
                  <a:cxn ang="0">
                    <a:pos x="252" y="72"/>
                  </a:cxn>
                  <a:cxn ang="0">
                    <a:pos x="258" y="82"/>
                  </a:cxn>
                  <a:cxn ang="0">
                    <a:pos x="272" y="80"/>
                  </a:cxn>
                  <a:cxn ang="0">
                    <a:pos x="270" y="70"/>
                  </a:cxn>
                  <a:cxn ang="0">
                    <a:pos x="268" y="60"/>
                  </a:cxn>
                  <a:cxn ang="0">
                    <a:pos x="266" y="46"/>
                  </a:cxn>
                  <a:cxn ang="0">
                    <a:pos x="296" y="40"/>
                  </a:cxn>
                  <a:cxn ang="0">
                    <a:pos x="324" y="28"/>
                  </a:cxn>
                  <a:cxn ang="0">
                    <a:pos x="384" y="10"/>
                  </a:cxn>
                  <a:cxn ang="0">
                    <a:pos x="444" y="2"/>
                  </a:cxn>
                  <a:cxn ang="0">
                    <a:pos x="472" y="6"/>
                  </a:cxn>
                  <a:cxn ang="0">
                    <a:pos x="510" y="12"/>
                  </a:cxn>
                  <a:cxn ang="0">
                    <a:pos x="534" y="16"/>
                  </a:cxn>
                  <a:cxn ang="0">
                    <a:pos x="562" y="20"/>
                  </a:cxn>
                  <a:cxn ang="0">
                    <a:pos x="400" y="178"/>
                  </a:cxn>
                </a:cxnLst>
                <a:rect l="0" t="0" r="r" b="b"/>
                <a:pathLst>
                  <a:path w="574" h="278">
                    <a:moveTo>
                      <a:pt x="400" y="178"/>
                    </a:moveTo>
                    <a:lnTo>
                      <a:pt x="388" y="182"/>
                    </a:lnTo>
                    <a:lnTo>
                      <a:pt x="376" y="184"/>
                    </a:lnTo>
                    <a:lnTo>
                      <a:pt x="366" y="182"/>
                    </a:lnTo>
                    <a:lnTo>
                      <a:pt x="356" y="180"/>
                    </a:lnTo>
                    <a:lnTo>
                      <a:pt x="350" y="176"/>
                    </a:lnTo>
                    <a:lnTo>
                      <a:pt x="348" y="172"/>
                    </a:lnTo>
                    <a:lnTo>
                      <a:pt x="346" y="168"/>
                    </a:lnTo>
                    <a:lnTo>
                      <a:pt x="338" y="168"/>
                    </a:lnTo>
                    <a:lnTo>
                      <a:pt x="324" y="178"/>
                    </a:lnTo>
                    <a:lnTo>
                      <a:pt x="318" y="182"/>
                    </a:lnTo>
                    <a:lnTo>
                      <a:pt x="308" y="184"/>
                    </a:lnTo>
                    <a:lnTo>
                      <a:pt x="300" y="184"/>
                    </a:lnTo>
                    <a:lnTo>
                      <a:pt x="290" y="188"/>
                    </a:lnTo>
                    <a:lnTo>
                      <a:pt x="282" y="192"/>
                    </a:lnTo>
                    <a:lnTo>
                      <a:pt x="272" y="200"/>
                    </a:lnTo>
                    <a:lnTo>
                      <a:pt x="258" y="200"/>
                    </a:lnTo>
                    <a:lnTo>
                      <a:pt x="262" y="194"/>
                    </a:lnTo>
                    <a:lnTo>
                      <a:pt x="266" y="190"/>
                    </a:lnTo>
                    <a:lnTo>
                      <a:pt x="276" y="182"/>
                    </a:lnTo>
                    <a:lnTo>
                      <a:pt x="286" y="178"/>
                    </a:lnTo>
                    <a:lnTo>
                      <a:pt x="298" y="170"/>
                    </a:lnTo>
                    <a:lnTo>
                      <a:pt x="290" y="170"/>
                    </a:lnTo>
                    <a:lnTo>
                      <a:pt x="282" y="174"/>
                    </a:lnTo>
                    <a:lnTo>
                      <a:pt x="268" y="180"/>
                    </a:lnTo>
                    <a:lnTo>
                      <a:pt x="252" y="190"/>
                    </a:lnTo>
                    <a:lnTo>
                      <a:pt x="246" y="192"/>
                    </a:lnTo>
                    <a:lnTo>
                      <a:pt x="240" y="194"/>
                    </a:lnTo>
                    <a:lnTo>
                      <a:pt x="234" y="196"/>
                    </a:lnTo>
                    <a:lnTo>
                      <a:pt x="230" y="202"/>
                    </a:lnTo>
                    <a:lnTo>
                      <a:pt x="224" y="206"/>
                    </a:lnTo>
                    <a:lnTo>
                      <a:pt x="218" y="210"/>
                    </a:lnTo>
                    <a:lnTo>
                      <a:pt x="206" y="214"/>
                    </a:lnTo>
                    <a:lnTo>
                      <a:pt x="194" y="218"/>
                    </a:lnTo>
                    <a:lnTo>
                      <a:pt x="184" y="220"/>
                    </a:lnTo>
                    <a:lnTo>
                      <a:pt x="172" y="224"/>
                    </a:lnTo>
                    <a:lnTo>
                      <a:pt x="164" y="230"/>
                    </a:lnTo>
                    <a:lnTo>
                      <a:pt x="160" y="234"/>
                    </a:lnTo>
                    <a:lnTo>
                      <a:pt x="154" y="234"/>
                    </a:lnTo>
                    <a:lnTo>
                      <a:pt x="132" y="240"/>
                    </a:lnTo>
                    <a:lnTo>
                      <a:pt x="110" y="248"/>
                    </a:lnTo>
                    <a:lnTo>
                      <a:pt x="86" y="258"/>
                    </a:lnTo>
                    <a:lnTo>
                      <a:pt x="64" y="266"/>
                    </a:lnTo>
                    <a:lnTo>
                      <a:pt x="64" y="264"/>
                    </a:lnTo>
                    <a:lnTo>
                      <a:pt x="62" y="262"/>
                    </a:lnTo>
                    <a:lnTo>
                      <a:pt x="60" y="262"/>
                    </a:lnTo>
                    <a:lnTo>
                      <a:pt x="54" y="262"/>
                    </a:lnTo>
                    <a:lnTo>
                      <a:pt x="48" y="264"/>
                    </a:lnTo>
                    <a:lnTo>
                      <a:pt x="34" y="270"/>
                    </a:lnTo>
                    <a:lnTo>
                      <a:pt x="22" y="276"/>
                    </a:lnTo>
                    <a:lnTo>
                      <a:pt x="14" y="278"/>
                    </a:lnTo>
                    <a:lnTo>
                      <a:pt x="8" y="278"/>
                    </a:lnTo>
                    <a:lnTo>
                      <a:pt x="0" y="278"/>
                    </a:lnTo>
                    <a:lnTo>
                      <a:pt x="14" y="270"/>
                    </a:lnTo>
                    <a:lnTo>
                      <a:pt x="36" y="262"/>
                    </a:lnTo>
                    <a:lnTo>
                      <a:pt x="58" y="258"/>
                    </a:lnTo>
                    <a:lnTo>
                      <a:pt x="76" y="256"/>
                    </a:lnTo>
                    <a:lnTo>
                      <a:pt x="82" y="256"/>
                    </a:lnTo>
                    <a:lnTo>
                      <a:pt x="84" y="254"/>
                    </a:lnTo>
                    <a:lnTo>
                      <a:pt x="90" y="248"/>
                    </a:lnTo>
                    <a:lnTo>
                      <a:pt x="96" y="244"/>
                    </a:lnTo>
                    <a:lnTo>
                      <a:pt x="102" y="242"/>
                    </a:lnTo>
                    <a:lnTo>
                      <a:pt x="120" y="236"/>
                    </a:lnTo>
                    <a:lnTo>
                      <a:pt x="136" y="232"/>
                    </a:lnTo>
                    <a:lnTo>
                      <a:pt x="166" y="210"/>
                    </a:lnTo>
                    <a:lnTo>
                      <a:pt x="164" y="206"/>
                    </a:lnTo>
                    <a:lnTo>
                      <a:pt x="162" y="204"/>
                    </a:lnTo>
                    <a:lnTo>
                      <a:pt x="154" y="210"/>
                    </a:lnTo>
                    <a:lnTo>
                      <a:pt x="146" y="210"/>
                    </a:lnTo>
                    <a:lnTo>
                      <a:pt x="146" y="204"/>
                    </a:lnTo>
                    <a:lnTo>
                      <a:pt x="144" y="202"/>
                    </a:lnTo>
                    <a:lnTo>
                      <a:pt x="140" y="202"/>
                    </a:lnTo>
                    <a:lnTo>
                      <a:pt x="136" y="202"/>
                    </a:lnTo>
                    <a:lnTo>
                      <a:pt x="132" y="204"/>
                    </a:lnTo>
                    <a:lnTo>
                      <a:pt x="124" y="208"/>
                    </a:lnTo>
                    <a:lnTo>
                      <a:pt x="112" y="208"/>
                    </a:lnTo>
                    <a:lnTo>
                      <a:pt x="118" y="204"/>
                    </a:lnTo>
                    <a:lnTo>
                      <a:pt x="126" y="198"/>
                    </a:lnTo>
                    <a:lnTo>
                      <a:pt x="132" y="192"/>
                    </a:lnTo>
                    <a:lnTo>
                      <a:pt x="136" y="186"/>
                    </a:lnTo>
                    <a:lnTo>
                      <a:pt x="132" y="186"/>
                    </a:lnTo>
                    <a:lnTo>
                      <a:pt x="128" y="186"/>
                    </a:lnTo>
                    <a:lnTo>
                      <a:pt x="120" y="186"/>
                    </a:lnTo>
                    <a:lnTo>
                      <a:pt x="116" y="186"/>
                    </a:lnTo>
                    <a:lnTo>
                      <a:pt x="112" y="184"/>
                    </a:lnTo>
                    <a:lnTo>
                      <a:pt x="110" y="178"/>
                    </a:lnTo>
                    <a:lnTo>
                      <a:pt x="110" y="160"/>
                    </a:lnTo>
                    <a:lnTo>
                      <a:pt x="152" y="128"/>
                    </a:lnTo>
                    <a:lnTo>
                      <a:pt x="158" y="130"/>
                    </a:lnTo>
                    <a:lnTo>
                      <a:pt x="166" y="132"/>
                    </a:lnTo>
                    <a:lnTo>
                      <a:pt x="190" y="130"/>
                    </a:lnTo>
                    <a:lnTo>
                      <a:pt x="214" y="124"/>
                    </a:lnTo>
                    <a:lnTo>
                      <a:pt x="224" y="122"/>
                    </a:lnTo>
                    <a:lnTo>
                      <a:pt x="236" y="116"/>
                    </a:lnTo>
                    <a:lnTo>
                      <a:pt x="244" y="110"/>
                    </a:lnTo>
                    <a:lnTo>
                      <a:pt x="246" y="104"/>
                    </a:lnTo>
                    <a:lnTo>
                      <a:pt x="234" y="108"/>
                    </a:lnTo>
                    <a:lnTo>
                      <a:pt x="228" y="110"/>
                    </a:lnTo>
                    <a:lnTo>
                      <a:pt x="220" y="112"/>
                    </a:lnTo>
                    <a:lnTo>
                      <a:pt x="212" y="110"/>
                    </a:lnTo>
                    <a:lnTo>
                      <a:pt x="202" y="108"/>
                    </a:lnTo>
                    <a:lnTo>
                      <a:pt x="186" y="102"/>
                    </a:lnTo>
                    <a:lnTo>
                      <a:pt x="234" y="70"/>
                    </a:lnTo>
                    <a:lnTo>
                      <a:pt x="242" y="70"/>
                    </a:lnTo>
                    <a:lnTo>
                      <a:pt x="252" y="72"/>
                    </a:lnTo>
                    <a:lnTo>
                      <a:pt x="252" y="78"/>
                    </a:lnTo>
                    <a:lnTo>
                      <a:pt x="254" y="80"/>
                    </a:lnTo>
                    <a:lnTo>
                      <a:pt x="258" y="82"/>
                    </a:lnTo>
                    <a:lnTo>
                      <a:pt x="264" y="82"/>
                    </a:lnTo>
                    <a:lnTo>
                      <a:pt x="268" y="82"/>
                    </a:lnTo>
                    <a:lnTo>
                      <a:pt x="272" y="80"/>
                    </a:lnTo>
                    <a:lnTo>
                      <a:pt x="272" y="76"/>
                    </a:lnTo>
                    <a:lnTo>
                      <a:pt x="274" y="70"/>
                    </a:lnTo>
                    <a:lnTo>
                      <a:pt x="270" y="70"/>
                    </a:lnTo>
                    <a:lnTo>
                      <a:pt x="268" y="68"/>
                    </a:lnTo>
                    <a:lnTo>
                      <a:pt x="268" y="66"/>
                    </a:lnTo>
                    <a:lnTo>
                      <a:pt x="268" y="60"/>
                    </a:lnTo>
                    <a:lnTo>
                      <a:pt x="266" y="58"/>
                    </a:lnTo>
                    <a:lnTo>
                      <a:pt x="266" y="54"/>
                    </a:lnTo>
                    <a:lnTo>
                      <a:pt x="266" y="46"/>
                    </a:lnTo>
                    <a:lnTo>
                      <a:pt x="280" y="36"/>
                    </a:lnTo>
                    <a:lnTo>
                      <a:pt x="288" y="38"/>
                    </a:lnTo>
                    <a:lnTo>
                      <a:pt x="296" y="40"/>
                    </a:lnTo>
                    <a:lnTo>
                      <a:pt x="306" y="38"/>
                    </a:lnTo>
                    <a:lnTo>
                      <a:pt x="318" y="32"/>
                    </a:lnTo>
                    <a:lnTo>
                      <a:pt x="324" y="28"/>
                    </a:lnTo>
                    <a:lnTo>
                      <a:pt x="332" y="22"/>
                    </a:lnTo>
                    <a:lnTo>
                      <a:pt x="356" y="14"/>
                    </a:lnTo>
                    <a:lnTo>
                      <a:pt x="384" y="10"/>
                    </a:lnTo>
                    <a:lnTo>
                      <a:pt x="410" y="4"/>
                    </a:lnTo>
                    <a:lnTo>
                      <a:pt x="436" y="0"/>
                    </a:lnTo>
                    <a:lnTo>
                      <a:pt x="444" y="2"/>
                    </a:lnTo>
                    <a:lnTo>
                      <a:pt x="452" y="4"/>
                    </a:lnTo>
                    <a:lnTo>
                      <a:pt x="462" y="6"/>
                    </a:lnTo>
                    <a:lnTo>
                      <a:pt x="472" y="6"/>
                    </a:lnTo>
                    <a:lnTo>
                      <a:pt x="474" y="12"/>
                    </a:lnTo>
                    <a:lnTo>
                      <a:pt x="476" y="12"/>
                    </a:lnTo>
                    <a:lnTo>
                      <a:pt x="510" y="12"/>
                    </a:lnTo>
                    <a:lnTo>
                      <a:pt x="516" y="14"/>
                    </a:lnTo>
                    <a:lnTo>
                      <a:pt x="520" y="16"/>
                    </a:lnTo>
                    <a:lnTo>
                      <a:pt x="534" y="16"/>
                    </a:lnTo>
                    <a:lnTo>
                      <a:pt x="548" y="16"/>
                    </a:lnTo>
                    <a:lnTo>
                      <a:pt x="554" y="18"/>
                    </a:lnTo>
                    <a:lnTo>
                      <a:pt x="562" y="20"/>
                    </a:lnTo>
                    <a:lnTo>
                      <a:pt x="574" y="20"/>
                    </a:lnTo>
                    <a:lnTo>
                      <a:pt x="402" y="178"/>
                    </a:lnTo>
                    <a:lnTo>
                      <a:pt x="400" y="178"/>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52" name="Freeform 264"/>
              <p:cNvSpPr>
                <a:spLocks noChangeAspect="1"/>
              </p:cNvSpPr>
              <p:nvPr>
                <p:custDataLst>
                  <p:tags r:id="rId6"/>
                </p:custDataLst>
              </p:nvPr>
            </p:nvSpPr>
            <p:spPr bwMode="auto">
              <a:xfrm>
                <a:off x="2045046" y="5031911"/>
                <a:ext cx="268883" cy="805103"/>
              </a:xfrm>
              <a:custGeom>
                <a:avLst/>
                <a:gdLst/>
                <a:ahLst/>
                <a:cxnLst>
                  <a:cxn ang="0">
                    <a:pos x="120" y="612"/>
                  </a:cxn>
                  <a:cxn ang="0">
                    <a:pos x="98" y="592"/>
                  </a:cxn>
                  <a:cxn ang="0">
                    <a:pos x="88" y="566"/>
                  </a:cxn>
                  <a:cxn ang="0">
                    <a:pos x="88" y="546"/>
                  </a:cxn>
                  <a:cxn ang="0">
                    <a:pos x="92" y="534"/>
                  </a:cxn>
                  <a:cxn ang="0">
                    <a:pos x="86" y="504"/>
                  </a:cxn>
                  <a:cxn ang="0">
                    <a:pos x="84" y="484"/>
                  </a:cxn>
                  <a:cxn ang="0">
                    <a:pos x="64" y="446"/>
                  </a:cxn>
                  <a:cxn ang="0">
                    <a:pos x="54" y="408"/>
                  </a:cxn>
                  <a:cxn ang="0">
                    <a:pos x="58" y="382"/>
                  </a:cxn>
                  <a:cxn ang="0">
                    <a:pos x="50" y="352"/>
                  </a:cxn>
                  <a:cxn ang="0">
                    <a:pos x="52" y="332"/>
                  </a:cxn>
                  <a:cxn ang="0">
                    <a:pos x="50" y="282"/>
                  </a:cxn>
                  <a:cxn ang="0">
                    <a:pos x="38" y="258"/>
                  </a:cxn>
                  <a:cxn ang="0">
                    <a:pos x="38" y="234"/>
                  </a:cxn>
                  <a:cxn ang="0">
                    <a:pos x="36" y="212"/>
                  </a:cxn>
                  <a:cxn ang="0">
                    <a:pos x="50" y="172"/>
                  </a:cxn>
                  <a:cxn ang="0">
                    <a:pos x="46" y="134"/>
                  </a:cxn>
                  <a:cxn ang="0">
                    <a:pos x="62" y="112"/>
                  </a:cxn>
                  <a:cxn ang="0">
                    <a:pos x="60" y="90"/>
                  </a:cxn>
                  <a:cxn ang="0">
                    <a:pos x="48" y="80"/>
                  </a:cxn>
                  <a:cxn ang="0">
                    <a:pos x="34" y="52"/>
                  </a:cxn>
                  <a:cxn ang="0">
                    <a:pos x="14" y="0"/>
                  </a:cxn>
                  <a:cxn ang="0">
                    <a:pos x="0" y="8"/>
                  </a:cxn>
                  <a:cxn ang="0">
                    <a:pos x="14" y="66"/>
                  </a:cxn>
                  <a:cxn ang="0">
                    <a:pos x="16" y="106"/>
                  </a:cxn>
                  <a:cxn ang="0">
                    <a:pos x="10" y="192"/>
                  </a:cxn>
                  <a:cxn ang="0">
                    <a:pos x="18" y="210"/>
                  </a:cxn>
                  <a:cxn ang="0">
                    <a:pos x="14" y="218"/>
                  </a:cxn>
                  <a:cxn ang="0">
                    <a:pos x="24" y="286"/>
                  </a:cxn>
                  <a:cxn ang="0">
                    <a:pos x="22" y="326"/>
                  </a:cxn>
                  <a:cxn ang="0">
                    <a:pos x="12" y="350"/>
                  </a:cxn>
                  <a:cxn ang="0">
                    <a:pos x="18" y="372"/>
                  </a:cxn>
                  <a:cxn ang="0">
                    <a:pos x="26" y="418"/>
                  </a:cxn>
                  <a:cxn ang="0">
                    <a:pos x="40" y="462"/>
                  </a:cxn>
                  <a:cxn ang="0">
                    <a:pos x="44" y="448"/>
                  </a:cxn>
                  <a:cxn ang="0">
                    <a:pos x="52" y="442"/>
                  </a:cxn>
                  <a:cxn ang="0">
                    <a:pos x="56" y="480"/>
                  </a:cxn>
                  <a:cxn ang="0">
                    <a:pos x="48" y="490"/>
                  </a:cxn>
                  <a:cxn ang="0">
                    <a:pos x="46" y="506"/>
                  </a:cxn>
                  <a:cxn ang="0">
                    <a:pos x="46" y="524"/>
                  </a:cxn>
                  <a:cxn ang="0">
                    <a:pos x="58" y="540"/>
                  </a:cxn>
                  <a:cxn ang="0">
                    <a:pos x="54" y="560"/>
                  </a:cxn>
                  <a:cxn ang="0">
                    <a:pos x="66" y="582"/>
                  </a:cxn>
                  <a:cxn ang="0">
                    <a:pos x="96" y="606"/>
                  </a:cxn>
                  <a:cxn ang="0">
                    <a:pos x="96" y="630"/>
                  </a:cxn>
                  <a:cxn ang="0">
                    <a:pos x="156" y="664"/>
                  </a:cxn>
                  <a:cxn ang="0">
                    <a:pos x="172" y="672"/>
                  </a:cxn>
                </a:cxnLst>
                <a:rect l="0" t="0" r="r" b="b"/>
                <a:pathLst>
                  <a:path w="192" h="678">
                    <a:moveTo>
                      <a:pt x="174" y="624"/>
                    </a:moveTo>
                    <a:lnTo>
                      <a:pt x="126" y="624"/>
                    </a:lnTo>
                    <a:lnTo>
                      <a:pt x="122" y="618"/>
                    </a:lnTo>
                    <a:lnTo>
                      <a:pt x="120" y="612"/>
                    </a:lnTo>
                    <a:lnTo>
                      <a:pt x="118" y="606"/>
                    </a:lnTo>
                    <a:lnTo>
                      <a:pt x="112" y="600"/>
                    </a:lnTo>
                    <a:lnTo>
                      <a:pt x="104" y="596"/>
                    </a:lnTo>
                    <a:lnTo>
                      <a:pt x="98" y="592"/>
                    </a:lnTo>
                    <a:lnTo>
                      <a:pt x="90" y="586"/>
                    </a:lnTo>
                    <a:lnTo>
                      <a:pt x="88" y="582"/>
                    </a:lnTo>
                    <a:lnTo>
                      <a:pt x="86" y="576"/>
                    </a:lnTo>
                    <a:lnTo>
                      <a:pt x="88" y="566"/>
                    </a:lnTo>
                    <a:lnTo>
                      <a:pt x="90" y="556"/>
                    </a:lnTo>
                    <a:lnTo>
                      <a:pt x="90" y="552"/>
                    </a:lnTo>
                    <a:lnTo>
                      <a:pt x="88" y="548"/>
                    </a:lnTo>
                    <a:lnTo>
                      <a:pt x="88" y="546"/>
                    </a:lnTo>
                    <a:lnTo>
                      <a:pt x="86" y="544"/>
                    </a:lnTo>
                    <a:lnTo>
                      <a:pt x="88" y="540"/>
                    </a:lnTo>
                    <a:lnTo>
                      <a:pt x="90" y="536"/>
                    </a:lnTo>
                    <a:lnTo>
                      <a:pt x="92" y="534"/>
                    </a:lnTo>
                    <a:lnTo>
                      <a:pt x="92" y="528"/>
                    </a:lnTo>
                    <a:lnTo>
                      <a:pt x="92" y="518"/>
                    </a:lnTo>
                    <a:lnTo>
                      <a:pt x="88" y="510"/>
                    </a:lnTo>
                    <a:lnTo>
                      <a:pt x="86" y="504"/>
                    </a:lnTo>
                    <a:lnTo>
                      <a:pt x="84" y="494"/>
                    </a:lnTo>
                    <a:lnTo>
                      <a:pt x="86" y="490"/>
                    </a:lnTo>
                    <a:lnTo>
                      <a:pt x="88" y="486"/>
                    </a:lnTo>
                    <a:lnTo>
                      <a:pt x="84" y="484"/>
                    </a:lnTo>
                    <a:lnTo>
                      <a:pt x="80" y="480"/>
                    </a:lnTo>
                    <a:lnTo>
                      <a:pt x="72" y="466"/>
                    </a:lnTo>
                    <a:lnTo>
                      <a:pt x="60" y="446"/>
                    </a:lnTo>
                    <a:lnTo>
                      <a:pt x="64" y="446"/>
                    </a:lnTo>
                    <a:lnTo>
                      <a:pt x="66" y="442"/>
                    </a:lnTo>
                    <a:lnTo>
                      <a:pt x="64" y="434"/>
                    </a:lnTo>
                    <a:lnTo>
                      <a:pt x="60" y="420"/>
                    </a:lnTo>
                    <a:lnTo>
                      <a:pt x="54" y="408"/>
                    </a:lnTo>
                    <a:lnTo>
                      <a:pt x="52" y="394"/>
                    </a:lnTo>
                    <a:lnTo>
                      <a:pt x="54" y="388"/>
                    </a:lnTo>
                    <a:lnTo>
                      <a:pt x="56" y="384"/>
                    </a:lnTo>
                    <a:lnTo>
                      <a:pt x="58" y="382"/>
                    </a:lnTo>
                    <a:lnTo>
                      <a:pt x="60" y="380"/>
                    </a:lnTo>
                    <a:lnTo>
                      <a:pt x="58" y="372"/>
                    </a:lnTo>
                    <a:lnTo>
                      <a:pt x="52" y="364"/>
                    </a:lnTo>
                    <a:lnTo>
                      <a:pt x="50" y="352"/>
                    </a:lnTo>
                    <a:lnTo>
                      <a:pt x="46" y="346"/>
                    </a:lnTo>
                    <a:lnTo>
                      <a:pt x="48" y="342"/>
                    </a:lnTo>
                    <a:lnTo>
                      <a:pt x="50" y="338"/>
                    </a:lnTo>
                    <a:lnTo>
                      <a:pt x="52" y="332"/>
                    </a:lnTo>
                    <a:lnTo>
                      <a:pt x="54" y="328"/>
                    </a:lnTo>
                    <a:lnTo>
                      <a:pt x="54" y="298"/>
                    </a:lnTo>
                    <a:lnTo>
                      <a:pt x="52" y="290"/>
                    </a:lnTo>
                    <a:lnTo>
                      <a:pt x="50" y="282"/>
                    </a:lnTo>
                    <a:lnTo>
                      <a:pt x="46" y="276"/>
                    </a:lnTo>
                    <a:lnTo>
                      <a:pt x="44" y="270"/>
                    </a:lnTo>
                    <a:lnTo>
                      <a:pt x="42" y="264"/>
                    </a:lnTo>
                    <a:lnTo>
                      <a:pt x="38" y="258"/>
                    </a:lnTo>
                    <a:lnTo>
                      <a:pt x="36" y="252"/>
                    </a:lnTo>
                    <a:lnTo>
                      <a:pt x="34" y="246"/>
                    </a:lnTo>
                    <a:lnTo>
                      <a:pt x="36" y="242"/>
                    </a:lnTo>
                    <a:lnTo>
                      <a:pt x="38" y="234"/>
                    </a:lnTo>
                    <a:lnTo>
                      <a:pt x="42" y="224"/>
                    </a:lnTo>
                    <a:lnTo>
                      <a:pt x="42" y="218"/>
                    </a:lnTo>
                    <a:lnTo>
                      <a:pt x="38" y="216"/>
                    </a:lnTo>
                    <a:lnTo>
                      <a:pt x="36" y="212"/>
                    </a:lnTo>
                    <a:lnTo>
                      <a:pt x="34" y="208"/>
                    </a:lnTo>
                    <a:lnTo>
                      <a:pt x="36" y="194"/>
                    </a:lnTo>
                    <a:lnTo>
                      <a:pt x="42" y="184"/>
                    </a:lnTo>
                    <a:lnTo>
                      <a:pt x="50" y="172"/>
                    </a:lnTo>
                    <a:lnTo>
                      <a:pt x="54" y="164"/>
                    </a:lnTo>
                    <a:lnTo>
                      <a:pt x="50" y="158"/>
                    </a:lnTo>
                    <a:lnTo>
                      <a:pt x="48" y="152"/>
                    </a:lnTo>
                    <a:lnTo>
                      <a:pt x="46" y="134"/>
                    </a:lnTo>
                    <a:lnTo>
                      <a:pt x="48" y="126"/>
                    </a:lnTo>
                    <a:lnTo>
                      <a:pt x="50" y="122"/>
                    </a:lnTo>
                    <a:lnTo>
                      <a:pt x="56" y="118"/>
                    </a:lnTo>
                    <a:lnTo>
                      <a:pt x="62" y="112"/>
                    </a:lnTo>
                    <a:lnTo>
                      <a:pt x="64" y="106"/>
                    </a:lnTo>
                    <a:lnTo>
                      <a:pt x="64" y="102"/>
                    </a:lnTo>
                    <a:lnTo>
                      <a:pt x="62" y="88"/>
                    </a:lnTo>
                    <a:lnTo>
                      <a:pt x="60" y="90"/>
                    </a:lnTo>
                    <a:lnTo>
                      <a:pt x="56" y="90"/>
                    </a:lnTo>
                    <a:lnTo>
                      <a:pt x="52" y="90"/>
                    </a:lnTo>
                    <a:lnTo>
                      <a:pt x="50" y="86"/>
                    </a:lnTo>
                    <a:lnTo>
                      <a:pt x="48" y="80"/>
                    </a:lnTo>
                    <a:lnTo>
                      <a:pt x="42" y="60"/>
                    </a:lnTo>
                    <a:lnTo>
                      <a:pt x="40" y="56"/>
                    </a:lnTo>
                    <a:lnTo>
                      <a:pt x="36" y="54"/>
                    </a:lnTo>
                    <a:lnTo>
                      <a:pt x="34" y="52"/>
                    </a:lnTo>
                    <a:lnTo>
                      <a:pt x="32" y="50"/>
                    </a:lnTo>
                    <a:lnTo>
                      <a:pt x="28" y="20"/>
                    </a:lnTo>
                    <a:lnTo>
                      <a:pt x="22" y="8"/>
                    </a:lnTo>
                    <a:lnTo>
                      <a:pt x="14" y="0"/>
                    </a:lnTo>
                    <a:lnTo>
                      <a:pt x="12" y="0"/>
                    </a:lnTo>
                    <a:lnTo>
                      <a:pt x="8" y="4"/>
                    </a:lnTo>
                    <a:lnTo>
                      <a:pt x="4" y="6"/>
                    </a:lnTo>
                    <a:lnTo>
                      <a:pt x="0" y="8"/>
                    </a:lnTo>
                    <a:lnTo>
                      <a:pt x="4" y="18"/>
                    </a:lnTo>
                    <a:lnTo>
                      <a:pt x="8" y="32"/>
                    </a:lnTo>
                    <a:lnTo>
                      <a:pt x="12" y="48"/>
                    </a:lnTo>
                    <a:lnTo>
                      <a:pt x="14" y="66"/>
                    </a:lnTo>
                    <a:lnTo>
                      <a:pt x="10" y="80"/>
                    </a:lnTo>
                    <a:lnTo>
                      <a:pt x="8" y="96"/>
                    </a:lnTo>
                    <a:lnTo>
                      <a:pt x="12" y="102"/>
                    </a:lnTo>
                    <a:lnTo>
                      <a:pt x="16" y="106"/>
                    </a:lnTo>
                    <a:lnTo>
                      <a:pt x="18" y="118"/>
                    </a:lnTo>
                    <a:lnTo>
                      <a:pt x="18" y="134"/>
                    </a:lnTo>
                    <a:lnTo>
                      <a:pt x="16" y="162"/>
                    </a:lnTo>
                    <a:lnTo>
                      <a:pt x="10" y="192"/>
                    </a:lnTo>
                    <a:lnTo>
                      <a:pt x="12" y="198"/>
                    </a:lnTo>
                    <a:lnTo>
                      <a:pt x="14" y="202"/>
                    </a:lnTo>
                    <a:lnTo>
                      <a:pt x="16" y="206"/>
                    </a:lnTo>
                    <a:lnTo>
                      <a:pt x="18" y="210"/>
                    </a:lnTo>
                    <a:lnTo>
                      <a:pt x="18" y="214"/>
                    </a:lnTo>
                    <a:lnTo>
                      <a:pt x="16" y="214"/>
                    </a:lnTo>
                    <a:lnTo>
                      <a:pt x="14" y="216"/>
                    </a:lnTo>
                    <a:lnTo>
                      <a:pt x="14" y="218"/>
                    </a:lnTo>
                    <a:lnTo>
                      <a:pt x="14" y="236"/>
                    </a:lnTo>
                    <a:lnTo>
                      <a:pt x="20" y="252"/>
                    </a:lnTo>
                    <a:lnTo>
                      <a:pt x="22" y="268"/>
                    </a:lnTo>
                    <a:lnTo>
                      <a:pt x="24" y="286"/>
                    </a:lnTo>
                    <a:lnTo>
                      <a:pt x="22" y="302"/>
                    </a:lnTo>
                    <a:lnTo>
                      <a:pt x="22" y="310"/>
                    </a:lnTo>
                    <a:lnTo>
                      <a:pt x="20" y="318"/>
                    </a:lnTo>
                    <a:lnTo>
                      <a:pt x="22" y="326"/>
                    </a:lnTo>
                    <a:lnTo>
                      <a:pt x="22" y="332"/>
                    </a:lnTo>
                    <a:lnTo>
                      <a:pt x="20" y="340"/>
                    </a:lnTo>
                    <a:lnTo>
                      <a:pt x="16" y="346"/>
                    </a:lnTo>
                    <a:lnTo>
                      <a:pt x="12" y="350"/>
                    </a:lnTo>
                    <a:lnTo>
                      <a:pt x="10" y="352"/>
                    </a:lnTo>
                    <a:lnTo>
                      <a:pt x="10" y="358"/>
                    </a:lnTo>
                    <a:lnTo>
                      <a:pt x="12" y="362"/>
                    </a:lnTo>
                    <a:lnTo>
                      <a:pt x="18" y="372"/>
                    </a:lnTo>
                    <a:lnTo>
                      <a:pt x="22" y="380"/>
                    </a:lnTo>
                    <a:lnTo>
                      <a:pt x="24" y="388"/>
                    </a:lnTo>
                    <a:lnTo>
                      <a:pt x="24" y="404"/>
                    </a:lnTo>
                    <a:lnTo>
                      <a:pt x="26" y="418"/>
                    </a:lnTo>
                    <a:lnTo>
                      <a:pt x="28" y="436"/>
                    </a:lnTo>
                    <a:lnTo>
                      <a:pt x="34" y="456"/>
                    </a:lnTo>
                    <a:lnTo>
                      <a:pt x="36" y="462"/>
                    </a:lnTo>
                    <a:lnTo>
                      <a:pt x="40" y="462"/>
                    </a:lnTo>
                    <a:lnTo>
                      <a:pt x="44" y="462"/>
                    </a:lnTo>
                    <a:lnTo>
                      <a:pt x="46" y="462"/>
                    </a:lnTo>
                    <a:lnTo>
                      <a:pt x="46" y="460"/>
                    </a:lnTo>
                    <a:lnTo>
                      <a:pt x="44" y="448"/>
                    </a:lnTo>
                    <a:lnTo>
                      <a:pt x="40" y="436"/>
                    </a:lnTo>
                    <a:lnTo>
                      <a:pt x="44" y="434"/>
                    </a:lnTo>
                    <a:lnTo>
                      <a:pt x="50" y="434"/>
                    </a:lnTo>
                    <a:lnTo>
                      <a:pt x="52" y="442"/>
                    </a:lnTo>
                    <a:lnTo>
                      <a:pt x="52" y="456"/>
                    </a:lnTo>
                    <a:lnTo>
                      <a:pt x="54" y="462"/>
                    </a:lnTo>
                    <a:lnTo>
                      <a:pt x="56" y="466"/>
                    </a:lnTo>
                    <a:lnTo>
                      <a:pt x="56" y="480"/>
                    </a:lnTo>
                    <a:lnTo>
                      <a:pt x="50" y="482"/>
                    </a:lnTo>
                    <a:lnTo>
                      <a:pt x="44" y="482"/>
                    </a:lnTo>
                    <a:lnTo>
                      <a:pt x="46" y="486"/>
                    </a:lnTo>
                    <a:lnTo>
                      <a:pt x="48" y="490"/>
                    </a:lnTo>
                    <a:lnTo>
                      <a:pt x="50" y="492"/>
                    </a:lnTo>
                    <a:lnTo>
                      <a:pt x="50" y="496"/>
                    </a:lnTo>
                    <a:lnTo>
                      <a:pt x="50" y="502"/>
                    </a:lnTo>
                    <a:lnTo>
                      <a:pt x="46" y="506"/>
                    </a:lnTo>
                    <a:lnTo>
                      <a:pt x="42" y="512"/>
                    </a:lnTo>
                    <a:lnTo>
                      <a:pt x="40" y="518"/>
                    </a:lnTo>
                    <a:lnTo>
                      <a:pt x="42" y="522"/>
                    </a:lnTo>
                    <a:lnTo>
                      <a:pt x="46" y="524"/>
                    </a:lnTo>
                    <a:lnTo>
                      <a:pt x="56" y="526"/>
                    </a:lnTo>
                    <a:lnTo>
                      <a:pt x="54" y="530"/>
                    </a:lnTo>
                    <a:lnTo>
                      <a:pt x="56" y="534"/>
                    </a:lnTo>
                    <a:lnTo>
                      <a:pt x="58" y="540"/>
                    </a:lnTo>
                    <a:lnTo>
                      <a:pt x="58" y="544"/>
                    </a:lnTo>
                    <a:lnTo>
                      <a:pt x="50" y="544"/>
                    </a:lnTo>
                    <a:lnTo>
                      <a:pt x="50" y="554"/>
                    </a:lnTo>
                    <a:lnTo>
                      <a:pt x="54" y="560"/>
                    </a:lnTo>
                    <a:lnTo>
                      <a:pt x="62" y="568"/>
                    </a:lnTo>
                    <a:lnTo>
                      <a:pt x="62" y="572"/>
                    </a:lnTo>
                    <a:lnTo>
                      <a:pt x="62" y="576"/>
                    </a:lnTo>
                    <a:lnTo>
                      <a:pt x="66" y="582"/>
                    </a:lnTo>
                    <a:lnTo>
                      <a:pt x="74" y="594"/>
                    </a:lnTo>
                    <a:lnTo>
                      <a:pt x="80" y="602"/>
                    </a:lnTo>
                    <a:lnTo>
                      <a:pt x="86" y="606"/>
                    </a:lnTo>
                    <a:lnTo>
                      <a:pt x="96" y="606"/>
                    </a:lnTo>
                    <a:lnTo>
                      <a:pt x="94" y="618"/>
                    </a:lnTo>
                    <a:lnTo>
                      <a:pt x="96" y="622"/>
                    </a:lnTo>
                    <a:lnTo>
                      <a:pt x="100" y="626"/>
                    </a:lnTo>
                    <a:lnTo>
                      <a:pt x="96" y="630"/>
                    </a:lnTo>
                    <a:lnTo>
                      <a:pt x="106" y="640"/>
                    </a:lnTo>
                    <a:lnTo>
                      <a:pt x="122" y="648"/>
                    </a:lnTo>
                    <a:lnTo>
                      <a:pt x="154" y="660"/>
                    </a:lnTo>
                    <a:lnTo>
                      <a:pt x="156" y="664"/>
                    </a:lnTo>
                    <a:lnTo>
                      <a:pt x="158" y="666"/>
                    </a:lnTo>
                    <a:lnTo>
                      <a:pt x="160" y="668"/>
                    </a:lnTo>
                    <a:lnTo>
                      <a:pt x="164" y="670"/>
                    </a:lnTo>
                    <a:lnTo>
                      <a:pt x="172" y="672"/>
                    </a:lnTo>
                    <a:lnTo>
                      <a:pt x="178" y="674"/>
                    </a:lnTo>
                    <a:lnTo>
                      <a:pt x="192" y="678"/>
                    </a:lnTo>
                    <a:lnTo>
                      <a:pt x="174" y="62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sp>
            <p:nvSpPr>
              <p:cNvPr id="253" name="Freeform 265"/>
              <p:cNvSpPr>
                <a:spLocks noChangeAspect="1"/>
              </p:cNvSpPr>
              <p:nvPr>
                <p:custDataLst>
                  <p:tags r:id="rId7"/>
                </p:custDataLst>
              </p:nvPr>
            </p:nvSpPr>
            <p:spPr bwMode="auto">
              <a:xfrm>
                <a:off x="2090986" y="5117789"/>
                <a:ext cx="347251" cy="654817"/>
              </a:xfrm>
              <a:custGeom>
                <a:avLst/>
                <a:gdLst/>
                <a:ahLst/>
                <a:cxnLst>
                  <a:cxn ang="0">
                    <a:pos x="206" y="128"/>
                  </a:cxn>
                  <a:cxn ang="0">
                    <a:pos x="244" y="96"/>
                  </a:cxn>
                  <a:cxn ang="0">
                    <a:pos x="242" y="68"/>
                  </a:cxn>
                  <a:cxn ang="0">
                    <a:pos x="232" y="82"/>
                  </a:cxn>
                  <a:cxn ang="0">
                    <a:pos x="210" y="102"/>
                  </a:cxn>
                  <a:cxn ang="0">
                    <a:pos x="180" y="100"/>
                  </a:cxn>
                  <a:cxn ang="0">
                    <a:pos x="180" y="76"/>
                  </a:cxn>
                  <a:cxn ang="0">
                    <a:pos x="170" y="58"/>
                  </a:cxn>
                  <a:cxn ang="0">
                    <a:pos x="156" y="46"/>
                  </a:cxn>
                  <a:cxn ang="0">
                    <a:pos x="132" y="40"/>
                  </a:cxn>
                  <a:cxn ang="0">
                    <a:pos x="102" y="14"/>
                  </a:cxn>
                  <a:cxn ang="0">
                    <a:pos x="76" y="10"/>
                  </a:cxn>
                  <a:cxn ang="0">
                    <a:pos x="56" y="8"/>
                  </a:cxn>
                  <a:cxn ang="0">
                    <a:pos x="28" y="16"/>
                  </a:cxn>
                  <a:cxn ang="0">
                    <a:pos x="22" y="46"/>
                  </a:cxn>
                  <a:cxn ang="0">
                    <a:pos x="14" y="80"/>
                  </a:cxn>
                  <a:cxn ang="0">
                    <a:pos x="8" y="112"/>
                  </a:cxn>
                  <a:cxn ang="0">
                    <a:pos x="4" y="144"/>
                  </a:cxn>
                  <a:cxn ang="0">
                    <a:pos x="2" y="170"/>
                  </a:cxn>
                  <a:cxn ang="0">
                    <a:pos x="8" y="192"/>
                  </a:cxn>
                  <a:cxn ang="0">
                    <a:pos x="18" y="218"/>
                  </a:cxn>
                  <a:cxn ang="0">
                    <a:pos x="16" y="266"/>
                  </a:cxn>
                  <a:cxn ang="0">
                    <a:pos x="18" y="292"/>
                  </a:cxn>
                  <a:cxn ang="0">
                    <a:pos x="22" y="312"/>
                  </a:cxn>
                  <a:cxn ang="0">
                    <a:pos x="26" y="348"/>
                  </a:cxn>
                  <a:cxn ang="0">
                    <a:pos x="26" y="374"/>
                  </a:cxn>
                  <a:cxn ang="0">
                    <a:pos x="54" y="414"/>
                  </a:cxn>
                  <a:cxn ang="0">
                    <a:pos x="54" y="438"/>
                  </a:cxn>
                  <a:cxn ang="0">
                    <a:pos x="56" y="464"/>
                  </a:cxn>
                  <a:cxn ang="0">
                    <a:pos x="54" y="476"/>
                  </a:cxn>
                  <a:cxn ang="0">
                    <a:pos x="52" y="504"/>
                  </a:cxn>
                  <a:cxn ang="0">
                    <a:pos x="70" y="524"/>
                  </a:cxn>
                  <a:cxn ang="0">
                    <a:pos x="88" y="546"/>
                  </a:cxn>
                  <a:cxn ang="0">
                    <a:pos x="124" y="526"/>
                  </a:cxn>
                  <a:cxn ang="0">
                    <a:pos x="124" y="514"/>
                  </a:cxn>
                  <a:cxn ang="0">
                    <a:pos x="134" y="502"/>
                  </a:cxn>
                  <a:cxn ang="0">
                    <a:pos x="142" y="484"/>
                  </a:cxn>
                  <a:cxn ang="0">
                    <a:pos x="152" y="464"/>
                  </a:cxn>
                  <a:cxn ang="0">
                    <a:pos x="128" y="450"/>
                  </a:cxn>
                  <a:cxn ang="0">
                    <a:pos x="116" y="436"/>
                  </a:cxn>
                  <a:cxn ang="0">
                    <a:pos x="140" y="410"/>
                  </a:cxn>
                  <a:cxn ang="0">
                    <a:pos x="140" y="388"/>
                  </a:cxn>
                  <a:cxn ang="0">
                    <a:pos x="142" y="378"/>
                  </a:cxn>
                  <a:cxn ang="0">
                    <a:pos x="152" y="374"/>
                  </a:cxn>
                  <a:cxn ang="0">
                    <a:pos x="134" y="370"/>
                  </a:cxn>
                  <a:cxn ang="0">
                    <a:pos x="136" y="346"/>
                  </a:cxn>
                  <a:cxn ang="0">
                    <a:pos x="164" y="344"/>
                  </a:cxn>
                  <a:cxn ang="0">
                    <a:pos x="156" y="326"/>
                  </a:cxn>
                  <a:cxn ang="0">
                    <a:pos x="192" y="308"/>
                  </a:cxn>
                  <a:cxn ang="0">
                    <a:pos x="224" y="290"/>
                  </a:cxn>
                  <a:cxn ang="0">
                    <a:pos x="226" y="258"/>
                  </a:cxn>
                  <a:cxn ang="0">
                    <a:pos x="220" y="242"/>
                  </a:cxn>
                  <a:cxn ang="0">
                    <a:pos x="196" y="154"/>
                  </a:cxn>
                  <a:cxn ang="0">
                    <a:pos x="216" y="116"/>
                  </a:cxn>
                  <a:cxn ang="0">
                    <a:pos x="246" y="92"/>
                  </a:cxn>
                  <a:cxn ang="0">
                    <a:pos x="244" y="78"/>
                  </a:cxn>
                  <a:cxn ang="0">
                    <a:pos x="238" y="102"/>
                  </a:cxn>
                  <a:cxn ang="0">
                    <a:pos x="200" y="142"/>
                  </a:cxn>
                  <a:cxn ang="0">
                    <a:pos x="196" y="154"/>
                  </a:cxn>
                </a:cxnLst>
                <a:rect l="0" t="0" r="r" b="b"/>
                <a:pathLst>
                  <a:path w="246" h="552">
                    <a:moveTo>
                      <a:pt x="196" y="154"/>
                    </a:move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36" y="70"/>
                    </a:lnTo>
                    <a:lnTo>
                      <a:pt x="230" y="70"/>
                    </a:lnTo>
                    <a:lnTo>
                      <a:pt x="232" y="74"/>
                    </a:lnTo>
                    <a:lnTo>
                      <a:pt x="232" y="82"/>
                    </a:lnTo>
                    <a:lnTo>
                      <a:pt x="232" y="88"/>
                    </a:lnTo>
                    <a:lnTo>
                      <a:pt x="228" y="90"/>
                    </a:lnTo>
                    <a:lnTo>
                      <a:pt x="220" y="98"/>
                    </a:lnTo>
                    <a:lnTo>
                      <a:pt x="210" y="102"/>
                    </a:lnTo>
                    <a:lnTo>
                      <a:pt x="200" y="104"/>
                    </a:lnTo>
                    <a:lnTo>
                      <a:pt x="192" y="104"/>
                    </a:lnTo>
                    <a:lnTo>
                      <a:pt x="184" y="102"/>
                    </a:lnTo>
                    <a:lnTo>
                      <a:pt x="180" y="100"/>
                    </a:lnTo>
                    <a:lnTo>
                      <a:pt x="172" y="100"/>
                    </a:lnTo>
                    <a:lnTo>
                      <a:pt x="174" y="90"/>
                    </a:lnTo>
                    <a:lnTo>
                      <a:pt x="178" y="84"/>
                    </a:lnTo>
                    <a:lnTo>
                      <a:pt x="180" y="76"/>
                    </a:lnTo>
                    <a:lnTo>
                      <a:pt x="182" y="68"/>
                    </a:lnTo>
                    <a:lnTo>
                      <a:pt x="180" y="62"/>
                    </a:lnTo>
                    <a:lnTo>
                      <a:pt x="176" y="58"/>
                    </a:lnTo>
                    <a:lnTo>
                      <a:pt x="170" y="58"/>
                    </a:lnTo>
                    <a:lnTo>
                      <a:pt x="162" y="56"/>
                    </a:lnTo>
                    <a:lnTo>
                      <a:pt x="160" y="54"/>
                    </a:lnTo>
                    <a:lnTo>
                      <a:pt x="158" y="50"/>
                    </a:lnTo>
                    <a:lnTo>
                      <a:pt x="156" y="46"/>
                    </a:lnTo>
                    <a:lnTo>
                      <a:pt x="152" y="44"/>
                    </a:lnTo>
                    <a:lnTo>
                      <a:pt x="144" y="42"/>
                    </a:lnTo>
                    <a:lnTo>
                      <a:pt x="138" y="40"/>
                    </a:lnTo>
                    <a:lnTo>
                      <a:pt x="132" y="40"/>
                    </a:lnTo>
                    <a:lnTo>
                      <a:pt x="128" y="38"/>
                    </a:lnTo>
                    <a:lnTo>
                      <a:pt x="122" y="34"/>
                    </a:lnTo>
                    <a:lnTo>
                      <a:pt x="110" y="18"/>
                    </a:lnTo>
                    <a:lnTo>
                      <a:pt x="102" y="14"/>
                    </a:lnTo>
                    <a:lnTo>
                      <a:pt x="98" y="10"/>
                    </a:lnTo>
                    <a:lnTo>
                      <a:pt x="98" y="8"/>
                    </a:lnTo>
                    <a:lnTo>
                      <a:pt x="84" y="8"/>
                    </a:lnTo>
                    <a:lnTo>
                      <a:pt x="76" y="10"/>
                    </a:lnTo>
                    <a:lnTo>
                      <a:pt x="72" y="12"/>
                    </a:lnTo>
                    <a:lnTo>
                      <a:pt x="70" y="18"/>
                    </a:lnTo>
                    <a:lnTo>
                      <a:pt x="64" y="10"/>
                    </a:lnTo>
                    <a:lnTo>
                      <a:pt x="56" y="8"/>
                    </a:lnTo>
                    <a:lnTo>
                      <a:pt x="48" y="6"/>
                    </a:lnTo>
                    <a:lnTo>
                      <a:pt x="42" y="0"/>
                    </a:lnTo>
                    <a:lnTo>
                      <a:pt x="34" y="8"/>
                    </a:lnTo>
                    <a:lnTo>
                      <a:pt x="28" y="16"/>
                    </a:lnTo>
                    <a:lnTo>
                      <a:pt x="30" y="30"/>
                    </a:lnTo>
                    <a:lnTo>
                      <a:pt x="30" y="34"/>
                    </a:lnTo>
                    <a:lnTo>
                      <a:pt x="28" y="40"/>
                    </a:lnTo>
                    <a:lnTo>
                      <a:pt x="22" y="46"/>
                    </a:lnTo>
                    <a:lnTo>
                      <a:pt x="16" y="50"/>
                    </a:lnTo>
                    <a:lnTo>
                      <a:pt x="14" y="54"/>
                    </a:lnTo>
                    <a:lnTo>
                      <a:pt x="12" y="62"/>
                    </a:lnTo>
                    <a:lnTo>
                      <a:pt x="14" y="80"/>
                    </a:lnTo>
                    <a:lnTo>
                      <a:pt x="16" y="86"/>
                    </a:lnTo>
                    <a:lnTo>
                      <a:pt x="20" y="92"/>
                    </a:lnTo>
                    <a:lnTo>
                      <a:pt x="16" y="100"/>
                    </a:lnTo>
                    <a:lnTo>
                      <a:pt x="8" y="112"/>
                    </a:lnTo>
                    <a:lnTo>
                      <a:pt x="2" y="122"/>
                    </a:lnTo>
                    <a:lnTo>
                      <a:pt x="0" y="136"/>
                    </a:lnTo>
                    <a:lnTo>
                      <a:pt x="2" y="140"/>
                    </a:lnTo>
                    <a:lnTo>
                      <a:pt x="4" y="144"/>
                    </a:lnTo>
                    <a:lnTo>
                      <a:pt x="8" y="146"/>
                    </a:lnTo>
                    <a:lnTo>
                      <a:pt x="8" y="152"/>
                    </a:lnTo>
                    <a:lnTo>
                      <a:pt x="4" y="162"/>
                    </a:lnTo>
                    <a:lnTo>
                      <a:pt x="2" y="170"/>
                    </a:lnTo>
                    <a:lnTo>
                      <a:pt x="0" y="174"/>
                    </a:lnTo>
                    <a:lnTo>
                      <a:pt x="2" y="180"/>
                    </a:lnTo>
                    <a:lnTo>
                      <a:pt x="4" y="186"/>
                    </a:lnTo>
                    <a:lnTo>
                      <a:pt x="8" y="192"/>
                    </a:lnTo>
                    <a:lnTo>
                      <a:pt x="10" y="198"/>
                    </a:lnTo>
                    <a:lnTo>
                      <a:pt x="12" y="204"/>
                    </a:lnTo>
                    <a:lnTo>
                      <a:pt x="16" y="210"/>
                    </a:lnTo>
                    <a:lnTo>
                      <a:pt x="18" y="218"/>
                    </a:lnTo>
                    <a:lnTo>
                      <a:pt x="20" y="226"/>
                    </a:lnTo>
                    <a:lnTo>
                      <a:pt x="20" y="256"/>
                    </a:lnTo>
                    <a:lnTo>
                      <a:pt x="18" y="260"/>
                    </a:lnTo>
                    <a:lnTo>
                      <a:pt x="16" y="266"/>
                    </a:lnTo>
                    <a:lnTo>
                      <a:pt x="14" y="270"/>
                    </a:lnTo>
                    <a:lnTo>
                      <a:pt x="12" y="274"/>
                    </a:lnTo>
                    <a:lnTo>
                      <a:pt x="16" y="280"/>
                    </a:lnTo>
                    <a:lnTo>
                      <a:pt x="18" y="292"/>
                    </a:lnTo>
                    <a:lnTo>
                      <a:pt x="24" y="300"/>
                    </a:lnTo>
                    <a:lnTo>
                      <a:pt x="26" y="308"/>
                    </a:lnTo>
                    <a:lnTo>
                      <a:pt x="24" y="310"/>
                    </a:lnTo>
                    <a:lnTo>
                      <a:pt x="22" y="312"/>
                    </a:lnTo>
                    <a:lnTo>
                      <a:pt x="20" y="316"/>
                    </a:lnTo>
                    <a:lnTo>
                      <a:pt x="18" y="322"/>
                    </a:lnTo>
                    <a:lnTo>
                      <a:pt x="20" y="336"/>
                    </a:lnTo>
                    <a:lnTo>
                      <a:pt x="26" y="348"/>
                    </a:lnTo>
                    <a:lnTo>
                      <a:pt x="30" y="362"/>
                    </a:lnTo>
                    <a:lnTo>
                      <a:pt x="32" y="370"/>
                    </a:lnTo>
                    <a:lnTo>
                      <a:pt x="30" y="374"/>
                    </a:lnTo>
                    <a:lnTo>
                      <a:pt x="26" y="374"/>
                    </a:lnTo>
                    <a:lnTo>
                      <a:pt x="38" y="394"/>
                    </a:lnTo>
                    <a:lnTo>
                      <a:pt x="46" y="408"/>
                    </a:lnTo>
                    <a:lnTo>
                      <a:pt x="50" y="412"/>
                    </a:lnTo>
                    <a:lnTo>
                      <a:pt x="54" y="414"/>
                    </a:lnTo>
                    <a:lnTo>
                      <a:pt x="52" y="418"/>
                    </a:lnTo>
                    <a:lnTo>
                      <a:pt x="50" y="422"/>
                    </a:lnTo>
                    <a:lnTo>
                      <a:pt x="52" y="432"/>
                    </a:lnTo>
                    <a:lnTo>
                      <a:pt x="54" y="438"/>
                    </a:lnTo>
                    <a:lnTo>
                      <a:pt x="58" y="446"/>
                    </a:lnTo>
                    <a:lnTo>
                      <a:pt x="58" y="456"/>
                    </a:lnTo>
                    <a:lnTo>
                      <a:pt x="58" y="462"/>
                    </a:lnTo>
                    <a:lnTo>
                      <a:pt x="56" y="464"/>
                    </a:lnTo>
                    <a:lnTo>
                      <a:pt x="54" y="468"/>
                    </a:lnTo>
                    <a:lnTo>
                      <a:pt x="52" y="472"/>
                    </a:lnTo>
                    <a:lnTo>
                      <a:pt x="54" y="474"/>
                    </a:lnTo>
                    <a:lnTo>
                      <a:pt x="54" y="476"/>
                    </a:lnTo>
                    <a:lnTo>
                      <a:pt x="56" y="480"/>
                    </a:lnTo>
                    <a:lnTo>
                      <a:pt x="56" y="484"/>
                    </a:lnTo>
                    <a:lnTo>
                      <a:pt x="54" y="494"/>
                    </a:lnTo>
                    <a:lnTo>
                      <a:pt x="52" y="504"/>
                    </a:lnTo>
                    <a:lnTo>
                      <a:pt x="54" y="510"/>
                    </a:lnTo>
                    <a:lnTo>
                      <a:pt x="56" y="514"/>
                    </a:lnTo>
                    <a:lnTo>
                      <a:pt x="64" y="520"/>
                    </a:lnTo>
                    <a:lnTo>
                      <a:pt x="70" y="524"/>
                    </a:lnTo>
                    <a:lnTo>
                      <a:pt x="78" y="528"/>
                    </a:lnTo>
                    <a:lnTo>
                      <a:pt x="84" y="534"/>
                    </a:lnTo>
                    <a:lnTo>
                      <a:pt x="86" y="540"/>
                    </a:lnTo>
                    <a:lnTo>
                      <a:pt x="88" y="546"/>
                    </a:lnTo>
                    <a:lnTo>
                      <a:pt x="92" y="552"/>
                    </a:lnTo>
                    <a:lnTo>
                      <a:pt x="140" y="552"/>
                    </a:lnTo>
                    <a:lnTo>
                      <a:pt x="128" y="532"/>
                    </a:lnTo>
                    <a:lnTo>
                      <a:pt x="124" y="526"/>
                    </a:lnTo>
                    <a:lnTo>
                      <a:pt x="124" y="522"/>
                    </a:lnTo>
                    <a:lnTo>
                      <a:pt x="124" y="518"/>
                    </a:lnTo>
                    <a:lnTo>
                      <a:pt x="124" y="516"/>
                    </a:lnTo>
                    <a:lnTo>
                      <a:pt x="124" y="514"/>
                    </a:lnTo>
                    <a:lnTo>
                      <a:pt x="128" y="512"/>
                    </a:lnTo>
                    <a:lnTo>
                      <a:pt x="134" y="508"/>
                    </a:lnTo>
                    <a:lnTo>
                      <a:pt x="138" y="504"/>
                    </a:lnTo>
                    <a:lnTo>
                      <a:pt x="134" y="502"/>
                    </a:lnTo>
                    <a:lnTo>
                      <a:pt x="134" y="500"/>
                    </a:lnTo>
                    <a:lnTo>
                      <a:pt x="134" y="494"/>
                    </a:lnTo>
                    <a:lnTo>
                      <a:pt x="136" y="490"/>
                    </a:lnTo>
                    <a:lnTo>
                      <a:pt x="142" y="484"/>
                    </a:lnTo>
                    <a:lnTo>
                      <a:pt x="150" y="478"/>
                    </a:lnTo>
                    <a:lnTo>
                      <a:pt x="152" y="474"/>
                    </a:lnTo>
                    <a:lnTo>
                      <a:pt x="152" y="470"/>
                    </a:lnTo>
                    <a:lnTo>
                      <a:pt x="152" y="464"/>
                    </a:lnTo>
                    <a:lnTo>
                      <a:pt x="148" y="460"/>
                    </a:lnTo>
                    <a:lnTo>
                      <a:pt x="148" y="458"/>
                    </a:lnTo>
                    <a:lnTo>
                      <a:pt x="140" y="456"/>
                    </a:lnTo>
                    <a:lnTo>
                      <a:pt x="128" y="450"/>
                    </a:lnTo>
                    <a:lnTo>
                      <a:pt x="118" y="444"/>
                    </a:lnTo>
                    <a:lnTo>
                      <a:pt x="116" y="442"/>
                    </a:lnTo>
                    <a:lnTo>
                      <a:pt x="114" y="440"/>
                    </a:lnTo>
                    <a:lnTo>
                      <a:pt x="116" y="436"/>
                    </a:lnTo>
                    <a:lnTo>
                      <a:pt x="118" y="432"/>
                    </a:lnTo>
                    <a:lnTo>
                      <a:pt x="124" y="424"/>
                    </a:lnTo>
                    <a:lnTo>
                      <a:pt x="134" y="418"/>
                    </a:lnTo>
                    <a:lnTo>
                      <a:pt x="140" y="410"/>
                    </a:lnTo>
                    <a:lnTo>
                      <a:pt x="138" y="404"/>
                    </a:lnTo>
                    <a:lnTo>
                      <a:pt x="136" y="396"/>
                    </a:lnTo>
                    <a:lnTo>
                      <a:pt x="138" y="390"/>
                    </a:lnTo>
                    <a:lnTo>
                      <a:pt x="140" y="388"/>
                    </a:lnTo>
                    <a:lnTo>
                      <a:pt x="144" y="386"/>
                    </a:lnTo>
                    <a:lnTo>
                      <a:pt x="140" y="380"/>
                    </a:lnTo>
                    <a:lnTo>
                      <a:pt x="136" y="374"/>
                    </a:lnTo>
                    <a:lnTo>
                      <a:pt x="142" y="378"/>
                    </a:lnTo>
                    <a:lnTo>
                      <a:pt x="144" y="380"/>
                    </a:lnTo>
                    <a:lnTo>
                      <a:pt x="148" y="382"/>
                    </a:lnTo>
                    <a:lnTo>
                      <a:pt x="152" y="380"/>
                    </a:lnTo>
                    <a:lnTo>
                      <a:pt x="152" y="374"/>
                    </a:lnTo>
                    <a:lnTo>
                      <a:pt x="152" y="368"/>
                    </a:lnTo>
                    <a:lnTo>
                      <a:pt x="146" y="366"/>
                    </a:lnTo>
                    <a:lnTo>
                      <a:pt x="140" y="368"/>
                    </a:lnTo>
                    <a:lnTo>
                      <a:pt x="134" y="370"/>
                    </a:lnTo>
                    <a:lnTo>
                      <a:pt x="126" y="360"/>
                    </a:lnTo>
                    <a:lnTo>
                      <a:pt x="122" y="346"/>
                    </a:lnTo>
                    <a:lnTo>
                      <a:pt x="128" y="346"/>
                    </a:lnTo>
                    <a:lnTo>
                      <a:pt x="136" y="346"/>
                    </a:lnTo>
                    <a:lnTo>
                      <a:pt x="144" y="350"/>
                    </a:lnTo>
                    <a:lnTo>
                      <a:pt x="152" y="350"/>
                    </a:lnTo>
                    <a:lnTo>
                      <a:pt x="158" y="348"/>
                    </a:lnTo>
                    <a:lnTo>
                      <a:pt x="164" y="344"/>
                    </a:lnTo>
                    <a:lnTo>
                      <a:pt x="160" y="340"/>
                    </a:lnTo>
                    <a:lnTo>
                      <a:pt x="156" y="336"/>
                    </a:lnTo>
                    <a:lnTo>
                      <a:pt x="156" y="334"/>
                    </a:lnTo>
                    <a:lnTo>
                      <a:pt x="156" y="326"/>
                    </a:lnTo>
                    <a:lnTo>
                      <a:pt x="162" y="320"/>
                    </a:lnTo>
                    <a:lnTo>
                      <a:pt x="168" y="314"/>
                    </a:lnTo>
                    <a:lnTo>
                      <a:pt x="176" y="312"/>
                    </a:lnTo>
                    <a:lnTo>
                      <a:pt x="192" y="308"/>
                    </a:lnTo>
                    <a:lnTo>
                      <a:pt x="206" y="306"/>
                    </a:lnTo>
                    <a:lnTo>
                      <a:pt x="210" y="304"/>
                    </a:lnTo>
                    <a:lnTo>
                      <a:pt x="216" y="300"/>
                    </a:lnTo>
                    <a:lnTo>
                      <a:pt x="224" y="290"/>
                    </a:lnTo>
                    <a:lnTo>
                      <a:pt x="230" y="280"/>
                    </a:lnTo>
                    <a:lnTo>
                      <a:pt x="232" y="268"/>
                    </a:lnTo>
                    <a:lnTo>
                      <a:pt x="230" y="262"/>
                    </a:lnTo>
                    <a:lnTo>
                      <a:pt x="226" y="258"/>
                    </a:lnTo>
                    <a:lnTo>
                      <a:pt x="222" y="254"/>
                    </a:lnTo>
                    <a:lnTo>
                      <a:pt x="220" y="250"/>
                    </a:lnTo>
                    <a:lnTo>
                      <a:pt x="220" y="248"/>
                    </a:lnTo>
                    <a:lnTo>
                      <a:pt x="220" y="242"/>
                    </a:lnTo>
                    <a:lnTo>
                      <a:pt x="206" y="232"/>
                    </a:lnTo>
                    <a:lnTo>
                      <a:pt x="198" y="226"/>
                    </a:lnTo>
                    <a:lnTo>
                      <a:pt x="194" y="220"/>
                    </a:lnTo>
                    <a:lnTo>
                      <a:pt x="196" y="154"/>
                    </a:ln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44" y="78"/>
                    </a:lnTo>
                    <a:lnTo>
                      <a:pt x="246" y="88"/>
                    </a:lnTo>
                    <a:lnTo>
                      <a:pt x="246" y="92"/>
                    </a:lnTo>
                    <a:lnTo>
                      <a:pt x="244" y="96"/>
                    </a:lnTo>
                    <a:lnTo>
                      <a:pt x="238" y="102"/>
                    </a:lnTo>
                    <a:lnTo>
                      <a:pt x="224" y="108"/>
                    </a:lnTo>
                    <a:lnTo>
                      <a:pt x="216" y="116"/>
                    </a:lnTo>
                    <a:lnTo>
                      <a:pt x="206" y="128"/>
                    </a:lnTo>
                    <a:lnTo>
                      <a:pt x="200" y="142"/>
                    </a:lnTo>
                    <a:lnTo>
                      <a:pt x="196" y="148"/>
                    </a:lnTo>
                    <a:lnTo>
                      <a:pt x="196" y="154"/>
                    </a:lnTo>
                    <a:lnTo>
                      <a:pt x="194" y="220"/>
                    </a:lnTo>
                    <a:lnTo>
                      <a:pt x="196" y="154"/>
                    </a:lnTo>
                    <a:close/>
                  </a:path>
                </a:pathLst>
              </a:custGeom>
              <a:solidFill>
                <a:schemeClr val="accent5"/>
              </a:solidFill>
              <a:ln w="6350" cmpd="sng">
                <a:solidFill>
                  <a:schemeClr val="bg1"/>
                </a:solidFill>
                <a:prstDash val="solid"/>
                <a:round/>
                <a:headEnd/>
                <a:tailEnd/>
              </a:ln>
            </p:spPr>
            <p:txBody>
              <a:bodyPr/>
              <a:lstStyle/>
              <a:p>
                <a:pPr>
                  <a:defRPr/>
                </a:pPr>
                <a:endParaRPr lang="en-US" dirty="0"/>
              </a:p>
            </p:txBody>
          </p:sp>
        </p:grpSp>
        <p:grpSp>
          <p:nvGrpSpPr>
            <p:cNvPr id="7" name="Grupper 6"/>
            <p:cNvGrpSpPr/>
            <p:nvPr/>
          </p:nvGrpSpPr>
          <p:grpSpPr>
            <a:xfrm>
              <a:off x="742803" y="5033566"/>
              <a:ext cx="6874190" cy="276999"/>
              <a:chOff x="623941" y="2508430"/>
              <a:chExt cx="6874190" cy="276999"/>
            </a:xfrm>
          </p:grpSpPr>
          <p:sp>
            <p:nvSpPr>
              <p:cNvPr id="273" name="Rektangel 272"/>
              <p:cNvSpPr/>
              <p:nvPr/>
            </p:nvSpPr>
            <p:spPr bwMode="auto">
              <a:xfrm>
                <a:off x="623941" y="2530666"/>
                <a:ext cx="226800" cy="2304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90000" rIns="72000" bIns="90000" numCol="1" rtlCol="0" anchor="t" anchorCtr="0" compatLnSpc="1">
                <a:prstTxWarp prst="textNoShape">
                  <a:avLst/>
                </a:prstTxWarp>
              </a:bodyPr>
              <a:lstStyle/>
              <a:p>
                <a:pPr marL="85725" indent="-85725" eaLnBrk="0" fontAlgn="base" hangingPunct="0">
                  <a:spcBef>
                    <a:spcPct val="0"/>
                  </a:spcBef>
                  <a:spcAft>
                    <a:spcPct val="0"/>
                  </a:spcAft>
                  <a:buClr>
                    <a:schemeClr val="accent3"/>
                  </a:buClr>
                </a:pPr>
                <a:endParaRPr lang="en-US" sz="1000" dirty="0">
                  <a:solidFill>
                    <a:schemeClr val="bg1"/>
                  </a:solidFill>
                  <a:latin typeface="Arial" charset="0"/>
                </a:endParaRPr>
              </a:p>
            </p:txBody>
          </p:sp>
          <p:sp>
            <p:nvSpPr>
              <p:cNvPr id="277" name="Tekstboks 276"/>
              <p:cNvSpPr txBox="1"/>
              <p:nvPr/>
            </p:nvSpPr>
            <p:spPr>
              <a:xfrm>
                <a:off x="833491" y="2508430"/>
                <a:ext cx="515586" cy="276999"/>
              </a:xfrm>
              <a:prstGeom prst="rect">
                <a:avLst/>
              </a:prstGeom>
              <a:noFill/>
            </p:spPr>
            <p:txBody>
              <a:bodyPr wrap="none" rtlCol="0" anchor="t">
                <a:spAutoFit/>
              </a:bodyPr>
              <a:lstStyle/>
              <a:p>
                <a:pPr algn="l"/>
                <a:r>
                  <a:rPr lang="en-US" sz="1200" dirty="0"/>
                  <a:t>2011</a:t>
                </a:r>
              </a:p>
            </p:txBody>
          </p:sp>
          <p:sp>
            <p:nvSpPr>
              <p:cNvPr id="275" name="Rektangel 274"/>
              <p:cNvSpPr/>
              <p:nvPr/>
            </p:nvSpPr>
            <p:spPr bwMode="auto">
              <a:xfrm>
                <a:off x="4369700" y="2528733"/>
                <a:ext cx="226800" cy="230400"/>
              </a:xfrm>
              <a:prstGeom prst="rect">
                <a:avLst/>
              </a:prstGeom>
              <a:solidFill>
                <a:srgbClr val="0E395B">
                  <a:alpha val="50196"/>
                </a:srgbClr>
              </a:solidFill>
              <a:ln w="9525" cap="flat" cmpd="sng" algn="ctr">
                <a:noFill/>
                <a:prstDash val="solid"/>
                <a:round/>
                <a:headEnd type="none" w="med" len="med"/>
                <a:tailEnd type="none" w="med" len="med"/>
              </a:ln>
              <a:effectLst/>
            </p:spPr>
            <p:txBody>
              <a:bodyPr vert="horz" wrap="square" lIns="72000" tIns="90000" rIns="72000" bIns="90000" numCol="1" rtlCol="0" anchor="t" anchorCtr="0" compatLnSpc="1">
                <a:prstTxWarp prst="textNoShape">
                  <a:avLst/>
                </a:prstTxWarp>
              </a:bodyPr>
              <a:lstStyle/>
              <a:p>
                <a:pPr marL="85725" indent="-85725" eaLnBrk="0" fontAlgn="base" hangingPunct="0">
                  <a:spcBef>
                    <a:spcPct val="0"/>
                  </a:spcBef>
                  <a:spcAft>
                    <a:spcPct val="0"/>
                  </a:spcAft>
                  <a:buClr>
                    <a:schemeClr val="accent3"/>
                  </a:buClr>
                </a:pPr>
                <a:endParaRPr lang="en-US" sz="1000" dirty="0">
                  <a:solidFill>
                    <a:schemeClr val="bg1"/>
                  </a:solidFill>
                  <a:latin typeface="Arial" charset="0"/>
                </a:endParaRPr>
              </a:p>
            </p:txBody>
          </p:sp>
          <p:sp>
            <p:nvSpPr>
              <p:cNvPr id="278" name="Tekstboks 277"/>
              <p:cNvSpPr txBox="1"/>
              <p:nvPr/>
            </p:nvSpPr>
            <p:spPr>
              <a:xfrm>
                <a:off x="4605903" y="2508430"/>
                <a:ext cx="1006105" cy="276999"/>
              </a:xfrm>
              <a:prstGeom prst="rect">
                <a:avLst/>
              </a:prstGeom>
              <a:noFill/>
            </p:spPr>
            <p:txBody>
              <a:bodyPr wrap="none" rtlCol="0" anchor="t">
                <a:spAutoFit/>
              </a:bodyPr>
              <a:lstStyle/>
              <a:p>
                <a:pPr algn="l"/>
                <a:r>
                  <a:rPr lang="en-US" sz="1200" dirty="0"/>
                  <a:t>2013 - 2014</a:t>
                </a:r>
              </a:p>
            </p:txBody>
          </p:sp>
          <p:sp>
            <p:nvSpPr>
              <p:cNvPr id="274" name="Rektangel 273"/>
              <p:cNvSpPr/>
              <p:nvPr/>
            </p:nvSpPr>
            <p:spPr bwMode="auto">
              <a:xfrm>
                <a:off x="2501957" y="2528733"/>
                <a:ext cx="226800" cy="230400"/>
              </a:xfrm>
              <a:prstGeom prst="rect">
                <a:avLst/>
              </a:prstGeom>
              <a:solidFill>
                <a:srgbClr val="0E395B">
                  <a:alpha val="74902"/>
                </a:srgbClr>
              </a:solidFill>
              <a:ln w="9525" cap="flat" cmpd="sng" algn="ctr">
                <a:noFill/>
                <a:prstDash val="solid"/>
                <a:round/>
                <a:headEnd type="none" w="med" len="med"/>
                <a:tailEnd type="none" w="med" len="med"/>
              </a:ln>
              <a:effectLst/>
            </p:spPr>
            <p:txBody>
              <a:bodyPr vert="horz" wrap="square" lIns="72000" tIns="90000" rIns="72000" bIns="90000" numCol="1" rtlCol="0" anchor="t" anchorCtr="0" compatLnSpc="1">
                <a:prstTxWarp prst="textNoShape">
                  <a:avLst/>
                </a:prstTxWarp>
              </a:bodyPr>
              <a:lstStyle/>
              <a:p>
                <a:pPr marL="85725" indent="-85725" eaLnBrk="0" fontAlgn="base" hangingPunct="0">
                  <a:spcBef>
                    <a:spcPct val="0"/>
                  </a:spcBef>
                  <a:spcAft>
                    <a:spcPct val="0"/>
                  </a:spcAft>
                  <a:buClr>
                    <a:schemeClr val="accent3"/>
                  </a:buClr>
                </a:pPr>
                <a:endParaRPr lang="en-US" sz="1000" dirty="0">
                  <a:solidFill>
                    <a:schemeClr val="bg1"/>
                  </a:solidFill>
                  <a:latin typeface="Arial" charset="0"/>
                </a:endParaRPr>
              </a:p>
            </p:txBody>
          </p:sp>
          <p:sp>
            <p:nvSpPr>
              <p:cNvPr id="279" name="Tekstboks 278"/>
              <p:cNvSpPr txBox="1"/>
              <p:nvPr/>
            </p:nvSpPr>
            <p:spPr>
              <a:xfrm>
                <a:off x="2713935" y="2508430"/>
                <a:ext cx="527007" cy="276999"/>
              </a:xfrm>
              <a:prstGeom prst="rect">
                <a:avLst/>
              </a:prstGeom>
              <a:noFill/>
            </p:spPr>
            <p:txBody>
              <a:bodyPr wrap="none" rtlCol="0" anchor="t">
                <a:spAutoFit/>
              </a:bodyPr>
              <a:lstStyle/>
              <a:p>
                <a:pPr algn="l"/>
                <a:r>
                  <a:rPr lang="en-US" sz="1200" dirty="0"/>
                  <a:t>2012</a:t>
                </a:r>
              </a:p>
            </p:txBody>
          </p:sp>
          <p:sp>
            <p:nvSpPr>
              <p:cNvPr id="276" name="Rektangel 275"/>
              <p:cNvSpPr/>
              <p:nvPr/>
            </p:nvSpPr>
            <p:spPr bwMode="auto">
              <a:xfrm>
                <a:off x="6248968" y="2517966"/>
                <a:ext cx="226800" cy="230400"/>
              </a:xfrm>
              <a:prstGeom prst="rect">
                <a:avLst/>
              </a:prstGeom>
              <a:solidFill>
                <a:srgbClr val="0E395B">
                  <a:alpha val="25098"/>
                </a:srgbClr>
              </a:solidFill>
              <a:ln w="9525" cap="flat" cmpd="sng" algn="ctr">
                <a:noFill/>
                <a:prstDash val="solid"/>
                <a:round/>
                <a:headEnd type="none" w="med" len="med"/>
                <a:tailEnd type="none" w="med" len="med"/>
              </a:ln>
              <a:effectLst/>
            </p:spPr>
            <p:txBody>
              <a:bodyPr vert="horz" wrap="square" lIns="72000" tIns="90000" rIns="72000" bIns="90000" numCol="1" rtlCol="0" anchor="t" anchorCtr="0" compatLnSpc="1">
                <a:prstTxWarp prst="textNoShape">
                  <a:avLst/>
                </a:prstTxWarp>
              </a:bodyPr>
              <a:lstStyle/>
              <a:p>
                <a:pPr marL="85725" indent="-85725" eaLnBrk="0" fontAlgn="base" hangingPunct="0">
                  <a:spcBef>
                    <a:spcPct val="0"/>
                  </a:spcBef>
                  <a:spcAft>
                    <a:spcPct val="0"/>
                  </a:spcAft>
                  <a:buClr>
                    <a:schemeClr val="accent3"/>
                  </a:buClr>
                </a:pPr>
                <a:endParaRPr lang="en-US" sz="1000" dirty="0">
                  <a:solidFill>
                    <a:schemeClr val="bg1"/>
                  </a:solidFill>
                  <a:latin typeface="Arial" charset="0"/>
                </a:endParaRPr>
              </a:p>
            </p:txBody>
          </p:sp>
          <p:sp>
            <p:nvSpPr>
              <p:cNvPr id="280" name="Tekstboks 279"/>
              <p:cNvSpPr txBox="1"/>
              <p:nvPr/>
            </p:nvSpPr>
            <p:spPr>
              <a:xfrm>
                <a:off x="6492026" y="2508430"/>
                <a:ext cx="1006105" cy="276999"/>
              </a:xfrm>
              <a:prstGeom prst="rect">
                <a:avLst/>
              </a:prstGeom>
              <a:noFill/>
            </p:spPr>
            <p:txBody>
              <a:bodyPr wrap="none" rtlCol="0" anchor="t">
                <a:spAutoFit/>
              </a:bodyPr>
              <a:lstStyle/>
              <a:p>
                <a:pPr algn="l"/>
                <a:r>
                  <a:rPr lang="en-US" sz="1200" dirty="0"/>
                  <a:t>2015 - 2020</a:t>
                </a:r>
              </a:p>
            </p:txBody>
          </p:sp>
        </p:grpSp>
      </p:grpSp>
      <p:sp>
        <p:nvSpPr>
          <p:cNvPr id="288" name="Tekstboks 287"/>
          <p:cNvSpPr txBox="1"/>
          <p:nvPr/>
        </p:nvSpPr>
        <p:spPr>
          <a:xfrm>
            <a:off x="6909971" y="6040265"/>
            <a:ext cx="3941829" cy="246221"/>
          </a:xfrm>
          <a:prstGeom prst="rect">
            <a:avLst/>
          </a:prstGeom>
          <a:noFill/>
        </p:spPr>
        <p:txBody>
          <a:bodyPr wrap="none" rtlCol="0" anchor="t">
            <a:spAutoFit/>
          </a:bodyPr>
          <a:lstStyle/>
          <a:p>
            <a:pPr algn="l"/>
            <a:r>
              <a:rPr lang="en-US" sz="1000" dirty="0">
                <a:solidFill>
                  <a:schemeClr val="bg1"/>
                </a:solidFill>
              </a:rPr>
              <a:t>The expansion is based on development in broadband capabilities</a:t>
            </a:r>
          </a:p>
        </p:txBody>
      </p:sp>
      <p:sp>
        <p:nvSpPr>
          <p:cNvPr id="292" name="Oval 291"/>
          <p:cNvSpPr/>
          <p:nvPr/>
        </p:nvSpPr>
        <p:spPr>
          <a:xfrm>
            <a:off x="8320082" y="1483292"/>
            <a:ext cx="320157" cy="234038"/>
          </a:xfrm>
          <a:prstGeom prst="ellipse">
            <a:avLst/>
          </a:prstGeom>
          <a:solidFill>
            <a:schemeClr val="accent6"/>
          </a:solidFill>
          <a:ln w="22225">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t>1</a:t>
            </a:r>
          </a:p>
        </p:txBody>
      </p:sp>
      <p:sp>
        <p:nvSpPr>
          <p:cNvPr id="296" name="Tekstboks 276"/>
          <p:cNvSpPr txBox="1"/>
          <p:nvPr/>
        </p:nvSpPr>
        <p:spPr>
          <a:xfrm>
            <a:off x="8710930" y="1517071"/>
            <a:ext cx="706110" cy="213736"/>
          </a:xfrm>
          <a:prstGeom prst="rect">
            <a:avLst/>
          </a:prstGeom>
          <a:noFill/>
        </p:spPr>
        <p:txBody>
          <a:bodyPr wrap="none" rtlCol="0" anchor="t">
            <a:spAutoFit/>
          </a:bodyPr>
          <a:lstStyle/>
          <a:p>
            <a:pPr algn="l"/>
            <a:r>
              <a:rPr lang="en-US" sz="1200" dirty="0">
                <a:solidFill>
                  <a:schemeClr val="bg1"/>
                </a:solidFill>
              </a:rPr>
              <a:t>2011</a:t>
            </a:r>
          </a:p>
        </p:txBody>
      </p:sp>
      <p:sp>
        <p:nvSpPr>
          <p:cNvPr id="289" name="TextBox 288"/>
          <p:cNvSpPr txBox="1"/>
          <p:nvPr/>
        </p:nvSpPr>
        <p:spPr>
          <a:xfrm>
            <a:off x="8393027" y="1800154"/>
            <a:ext cx="2661878" cy="783700"/>
          </a:xfrm>
          <a:prstGeom prst="rect">
            <a:avLst/>
          </a:prstGeom>
          <a:noFill/>
        </p:spPr>
        <p:txBody>
          <a:bodyPr wrap="square" rtlCol="0">
            <a:spAutoFit/>
          </a:bodyPr>
          <a:lstStyle/>
          <a:p>
            <a:pPr algn="l"/>
            <a:r>
              <a:rPr lang="en-US" sz="1200" dirty="0">
                <a:solidFill>
                  <a:schemeClr val="bg1"/>
                </a:solidFill>
              </a:rPr>
              <a:t>First step is China, where main focus areas are:</a:t>
            </a:r>
          </a:p>
          <a:p>
            <a:pPr marL="88900" indent="-88900">
              <a:buFont typeface="Arial"/>
              <a:buChar char="•"/>
            </a:pPr>
            <a:r>
              <a:rPr lang="en-US" sz="1200" dirty="0">
                <a:solidFill>
                  <a:schemeClr val="bg1"/>
                </a:solidFill>
              </a:rPr>
              <a:t>Local adaption </a:t>
            </a:r>
          </a:p>
          <a:p>
            <a:pPr marL="88900" indent="-88900">
              <a:buFont typeface="Arial"/>
              <a:buChar char="•"/>
            </a:pPr>
            <a:r>
              <a:rPr lang="en-US" sz="1200" dirty="0">
                <a:solidFill>
                  <a:schemeClr val="bg1"/>
                </a:solidFill>
              </a:rPr>
              <a:t>Target online consumer </a:t>
            </a:r>
          </a:p>
          <a:p>
            <a:pPr marL="88900" indent="-88900">
              <a:buFont typeface="Arial"/>
              <a:buChar char="•"/>
            </a:pPr>
            <a:r>
              <a:rPr lang="en-US" sz="1200" dirty="0">
                <a:solidFill>
                  <a:schemeClr val="bg1"/>
                </a:solidFill>
              </a:rPr>
              <a:t>Overcome IPR issues </a:t>
            </a:r>
          </a:p>
        </p:txBody>
      </p:sp>
      <p:cxnSp>
        <p:nvCxnSpPr>
          <p:cNvPr id="301" name="Straight Connector 300"/>
          <p:cNvCxnSpPr/>
          <p:nvPr/>
        </p:nvCxnSpPr>
        <p:spPr>
          <a:xfrm>
            <a:off x="8454608" y="1776602"/>
            <a:ext cx="2751460" cy="1225"/>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93" name="Oval 292"/>
          <p:cNvSpPr/>
          <p:nvPr/>
        </p:nvSpPr>
        <p:spPr>
          <a:xfrm>
            <a:off x="8314033" y="3115156"/>
            <a:ext cx="320157" cy="234038"/>
          </a:xfrm>
          <a:prstGeom prst="ellipse">
            <a:avLst/>
          </a:prstGeom>
          <a:solidFill>
            <a:schemeClr val="accent6"/>
          </a:solidFill>
          <a:ln w="22225">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t>2</a:t>
            </a:r>
          </a:p>
        </p:txBody>
      </p:sp>
      <p:sp>
        <p:nvSpPr>
          <p:cNvPr id="297" name="Tekstboks 276"/>
          <p:cNvSpPr txBox="1"/>
          <p:nvPr/>
        </p:nvSpPr>
        <p:spPr>
          <a:xfrm>
            <a:off x="8761536" y="3175364"/>
            <a:ext cx="721751" cy="213736"/>
          </a:xfrm>
          <a:prstGeom prst="rect">
            <a:avLst/>
          </a:prstGeom>
          <a:noFill/>
        </p:spPr>
        <p:txBody>
          <a:bodyPr wrap="none" rtlCol="0" anchor="t">
            <a:spAutoFit/>
          </a:bodyPr>
          <a:lstStyle/>
          <a:p>
            <a:pPr algn="l"/>
            <a:r>
              <a:rPr lang="en-US" sz="1200" dirty="0">
                <a:solidFill>
                  <a:schemeClr val="bg1"/>
                </a:solidFill>
              </a:rPr>
              <a:t>2012</a:t>
            </a:r>
          </a:p>
        </p:txBody>
      </p:sp>
      <p:sp>
        <p:nvSpPr>
          <p:cNvPr id="290" name="TextBox 289"/>
          <p:cNvSpPr txBox="1"/>
          <p:nvPr/>
        </p:nvSpPr>
        <p:spPr>
          <a:xfrm>
            <a:off x="8347295" y="3431653"/>
            <a:ext cx="2889020" cy="926190"/>
          </a:xfrm>
          <a:prstGeom prst="rect">
            <a:avLst/>
          </a:prstGeom>
          <a:noFill/>
        </p:spPr>
        <p:txBody>
          <a:bodyPr wrap="square" rtlCol="0">
            <a:spAutoFit/>
          </a:bodyPr>
          <a:lstStyle/>
          <a:p>
            <a:pPr algn="l"/>
            <a:r>
              <a:rPr lang="en-US" sz="1200" dirty="0">
                <a:solidFill>
                  <a:schemeClr val="bg1"/>
                </a:solidFill>
              </a:rPr>
              <a:t>Second step is Korea. Korea is very similar to Chinese market – same areas of focus, and:</a:t>
            </a:r>
          </a:p>
          <a:p>
            <a:pPr algn="l">
              <a:buFont typeface="Arial"/>
              <a:buChar char="•"/>
            </a:pPr>
            <a:r>
              <a:rPr lang="en-US" sz="1200" dirty="0">
                <a:solidFill>
                  <a:schemeClr val="bg1"/>
                </a:solidFill>
              </a:rPr>
              <a:t> Expansion of titles</a:t>
            </a:r>
          </a:p>
          <a:p>
            <a:pPr algn="l">
              <a:buFont typeface="Arial"/>
              <a:buChar char="•"/>
            </a:pPr>
            <a:r>
              <a:rPr lang="en-US" sz="1200" dirty="0">
                <a:solidFill>
                  <a:schemeClr val="bg1"/>
                </a:solidFill>
              </a:rPr>
              <a:t> Monetization </a:t>
            </a:r>
          </a:p>
        </p:txBody>
      </p:sp>
      <p:cxnSp>
        <p:nvCxnSpPr>
          <p:cNvPr id="302" name="Straight Connector 301"/>
          <p:cNvCxnSpPr/>
          <p:nvPr/>
        </p:nvCxnSpPr>
        <p:spPr>
          <a:xfrm>
            <a:off x="8442295" y="3408101"/>
            <a:ext cx="2751459" cy="1225"/>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294" name="Oval 293"/>
          <p:cNvSpPr/>
          <p:nvPr/>
        </p:nvSpPr>
        <p:spPr>
          <a:xfrm>
            <a:off x="8320081" y="4759659"/>
            <a:ext cx="320157" cy="234038"/>
          </a:xfrm>
          <a:prstGeom prst="ellipse">
            <a:avLst/>
          </a:prstGeom>
          <a:solidFill>
            <a:schemeClr val="accent6"/>
          </a:solidFill>
          <a:ln w="22225">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t>3</a:t>
            </a:r>
          </a:p>
        </p:txBody>
      </p:sp>
      <p:sp>
        <p:nvSpPr>
          <p:cNvPr id="298" name="Tekstboks 276"/>
          <p:cNvSpPr txBox="1"/>
          <p:nvPr/>
        </p:nvSpPr>
        <p:spPr>
          <a:xfrm>
            <a:off x="8728962" y="4809886"/>
            <a:ext cx="1260781" cy="213736"/>
          </a:xfrm>
          <a:prstGeom prst="rect">
            <a:avLst/>
          </a:prstGeom>
          <a:noFill/>
        </p:spPr>
        <p:txBody>
          <a:bodyPr wrap="none" rtlCol="0" anchor="t">
            <a:spAutoFit/>
          </a:bodyPr>
          <a:lstStyle/>
          <a:p>
            <a:pPr algn="l"/>
            <a:r>
              <a:rPr lang="en-US" sz="1200" dirty="0">
                <a:solidFill>
                  <a:schemeClr val="bg1"/>
                </a:solidFill>
              </a:rPr>
              <a:t>2013-2014</a:t>
            </a:r>
          </a:p>
        </p:txBody>
      </p:sp>
      <p:sp>
        <p:nvSpPr>
          <p:cNvPr id="291" name="TextBox 290"/>
          <p:cNvSpPr txBox="1"/>
          <p:nvPr/>
        </p:nvSpPr>
        <p:spPr>
          <a:xfrm>
            <a:off x="8454593" y="5054874"/>
            <a:ext cx="2661878" cy="926190"/>
          </a:xfrm>
          <a:prstGeom prst="rect">
            <a:avLst/>
          </a:prstGeom>
          <a:noFill/>
        </p:spPr>
        <p:txBody>
          <a:bodyPr wrap="square" rtlCol="0">
            <a:spAutoFit/>
          </a:bodyPr>
          <a:lstStyle/>
          <a:p>
            <a:pPr algn="l"/>
            <a:r>
              <a:rPr lang="en-US" sz="1200" dirty="0">
                <a:solidFill>
                  <a:schemeClr val="bg1"/>
                </a:solidFill>
              </a:rPr>
              <a:t>Third step is WE and NA, where main focus areas are:</a:t>
            </a:r>
          </a:p>
          <a:p>
            <a:pPr marL="88900" indent="-88900">
              <a:buFont typeface="Arial"/>
              <a:buChar char="•"/>
            </a:pPr>
            <a:r>
              <a:rPr lang="en-US" sz="1200" dirty="0">
                <a:solidFill>
                  <a:schemeClr val="bg1"/>
                </a:solidFill>
              </a:rPr>
              <a:t>Attraction</a:t>
            </a:r>
          </a:p>
          <a:p>
            <a:pPr marL="88900" indent="-88900">
              <a:buFont typeface="Arial"/>
              <a:buChar char="•"/>
            </a:pPr>
            <a:r>
              <a:rPr lang="en-US" sz="1200" dirty="0">
                <a:solidFill>
                  <a:schemeClr val="bg1"/>
                </a:solidFill>
              </a:rPr>
              <a:t>Retention </a:t>
            </a:r>
          </a:p>
          <a:p>
            <a:pPr marL="88900" indent="-88900">
              <a:buFont typeface="Arial"/>
              <a:buChar char="•"/>
            </a:pPr>
            <a:r>
              <a:rPr lang="en-US" sz="1200" dirty="0">
                <a:solidFill>
                  <a:schemeClr val="bg1"/>
                </a:solidFill>
              </a:rPr>
              <a:t>Loyalty </a:t>
            </a:r>
          </a:p>
        </p:txBody>
      </p:sp>
      <p:cxnSp>
        <p:nvCxnSpPr>
          <p:cNvPr id="303" name="Straight Connector 302"/>
          <p:cNvCxnSpPr/>
          <p:nvPr/>
        </p:nvCxnSpPr>
        <p:spPr>
          <a:xfrm>
            <a:off x="8512401" y="5042623"/>
            <a:ext cx="2751460" cy="1225"/>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304" name="Trekant 303"/>
          <p:cNvSpPr/>
          <p:nvPr/>
        </p:nvSpPr>
        <p:spPr>
          <a:xfrm rot="10800000">
            <a:off x="8971928" y="2907895"/>
            <a:ext cx="1706561" cy="16998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Trekant 304"/>
          <p:cNvSpPr/>
          <p:nvPr/>
        </p:nvSpPr>
        <p:spPr>
          <a:xfrm rot="10800000">
            <a:off x="8964743" y="4530184"/>
            <a:ext cx="1706561" cy="16998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99864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94968" y="1120877"/>
            <a:ext cx="12816349" cy="46162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kstfelt 2"/>
          <p:cNvSpPr txBox="1"/>
          <p:nvPr/>
        </p:nvSpPr>
        <p:spPr>
          <a:xfrm>
            <a:off x="1993692" y="2896523"/>
            <a:ext cx="8289962" cy="1200329"/>
          </a:xfrm>
          <a:prstGeom prst="rect">
            <a:avLst/>
          </a:prstGeom>
          <a:noFill/>
        </p:spPr>
        <p:txBody>
          <a:bodyPr wrap="none" rtlCol="0">
            <a:spAutoFit/>
          </a:bodyPr>
          <a:lstStyle/>
          <a:p>
            <a:r>
              <a:rPr lang="da-DK" sz="7200" dirty="0">
                <a:solidFill>
                  <a:schemeClr val="bg1"/>
                </a:solidFill>
              </a:rPr>
              <a:t>Solution </a:t>
            </a:r>
            <a:r>
              <a:rPr lang="da-DK" sz="7200" dirty="0" err="1">
                <a:solidFill>
                  <a:schemeClr val="bg1"/>
                </a:solidFill>
              </a:rPr>
              <a:t>Assesment</a:t>
            </a:r>
            <a:endParaRPr lang="da-DK" sz="7200" dirty="0">
              <a:solidFill>
                <a:schemeClr val="bg1"/>
              </a:solidFill>
            </a:endParaRPr>
          </a:p>
        </p:txBody>
      </p:sp>
    </p:spTree>
    <p:extLst>
      <p:ext uri="{BB962C8B-B14F-4D97-AF65-F5344CB8AC3E}">
        <p14:creationId xmlns:p14="http://schemas.microsoft.com/office/powerpoint/2010/main" val="877620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5E1C46A-67F8-7E48-AF84-51B2733026D7}"/>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11" name="Text Placeholder 10">
            <a:extLst>
              <a:ext uri="{FF2B5EF4-FFF2-40B4-BE49-F238E27FC236}">
                <a16:creationId xmlns:a16="http://schemas.microsoft.com/office/drawing/2014/main" id="{90DABF7A-D3BB-4149-BB89-FAF6EC5F5F86}"/>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9" name="Titel 8"/>
          <p:cNvSpPr>
            <a:spLocks noGrp="1"/>
          </p:cNvSpPr>
          <p:nvPr>
            <p:ph type="title"/>
          </p:nvPr>
        </p:nvSpPr>
        <p:spPr>
          <a:xfrm>
            <a:off x="527050" y="127212"/>
            <a:ext cx="9314374" cy="925103"/>
          </a:xfrm>
          <a:prstGeom prst="rect">
            <a:avLst/>
          </a:prstGeom>
        </p:spPr>
        <p:txBody>
          <a:bodyPr/>
          <a:lstStyle/>
          <a:p>
            <a:r>
              <a:rPr lang="en-GB"/>
              <a:t>These things are important for millennials</a:t>
            </a:r>
          </a:p>
        </p:txBody>
      </p:sp>
      <p:graphicFrame>
        <p:nvGraphicFramePr>
          <p:cNvPr id="3" name="Tabel 2"/>
          <p:cNvGraphicFramePr>
            <a:graphicFrameLocks noGrp="1"/>
          </p:cNvGraphicFramePr>
          <p:nvPr/>
        </p:nvGraphicFramePr>
        <p:xfrm>
          <a:off x="853785" y="2471407"/>
          <a:ext cx="10484430" cy="3083635"/>
        </p:xfrm>
        <a:graphic>
          <a:graphicData uri="http://schemas.openxmlformats.org/drawingml/2006/table">
            <a:tbl>
              <a:tblPr firstRow="1" bandRow="1">
                <a:tableStyleId>{2D5ABB26-0587-4C30-8999-92F81FD0307C}</a:tableStyleId>
              </a:tblPr>
              <a:tblGrid>
                <a:gridCol w="1747405">
                  <a:extLst>
                    <a:ext uri="{9D8B030D-6E8A-4147-A177-3AD203B41FA5}">
                      <a16:colId xmlns:a16="http://schemas.microsoft.com/office/drawing/2014/main" val="20000"/>
                    </a:ext>
                  </a:extLst>
                </a:gridCol>
                <a:gridCol w="1747405">
                  <a:extLst>
                    <a:ext uri="{9D8B030D-6E8A-4147-A177-3AD203B41FA5}">
                      <a16:colId xmlns:a16="http://schemas.microsoft.com/office/drawing/2014/main" val="20001"/>
                    </a:ext>
                  </a:extLst>
                </a:gridCol>
                <a:gridCol w="1747405">
                  <a:extLst>
                    <a:ext uri="{9D8B030D-6E8A-4147-A177-3AD203B41FA5}">
                      <a16:colId xmlns:a16="http://schemas.microsoft.com/office/drawing/2014/main" val="20002"/>
                    </a:ext>
                  </a:extLst>
                </a:gridCol>
                <a:gridCol w="1747405">
                  <a:extLst>
                    <a:ext uri="{9D8B030D-6E8A-4147-A177-3AD203B41FA5}">
                      <a16:colId xmlns:a16="http://schemas.microsoft.com/office/drawing/2014/main" val="20003"/>
                    </a:ext>
                  </a:extLst>
                </a:gridCol>
                <a:gridCol w="1747405">
                  <a:extLst>
                    <a:ext uri="{9D8B030D-6E8A-4147-A177-3AD203B41FA5}">
                      <a16:colId xmlns:a16="http://schemas.microsoft.com/office/drawing/2014/main" val="20004"/>
                    </a:ext>
                  </a:extLst>
                </a:gridCol>
                <a:gridCol w="1747405">
                  <a:extLst>
                    <a:ext uri="{9D8B030D-6E8A-4147-A177-3AD203B41FA5}">
                      <a16:colId xmlns:a16="http://schemas.microsoft.com/office/drawing/2014/main" val="20005"/>
                    </a:ext>
                  </a:extLst>
                </a:gridCol>
              </a:tblGrid>
              <a:tr h="616727">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616727">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616727">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616727">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616727">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da-DK" b="0" i="0" dirty="0">
                        <a:latin typeface="Gulim" charset="-127"/>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4" name="Ellipse 3"/>
          <p:cNvSpPr/>
          <p:nvPr/>
        </p:nvSpPr>
        <p:spPr>
          <a:xfrm>
            <a:off x="1090222" y="1644637"/>
            <a:ext cx="1324097" cy="132409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latin typeface="Arial" panose="020B0604020202020204" pitchFamily="34" charset="0"/>
              <a:cs typeface="Arial" panose="020B0604020202020204" pitchFamily="34" charset="0"/>
            </a:endParaRPr>
          </a:p>
        </p:txBody>
      </p:sp>
      <p:sp>
        <p:nvSpPr>
          <p:cNvPr id="5" name="Ellipse 4"/>
          <p:cNvSpPr/>
          <p:nvPr/>
        </p:nvSpPr>
        <p:spPr>
          <a:xfrm>
            <a:off x="2811519" y="1656360"/>
            <a:ext cx="1324097" cy="1324097"/>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 name="Ellipse 5"/>
          <p:cNvSpPr/>
          <p:nvPr/>
        </p:nvSpPr>
        <p:spPr>
          <a:xfrm>
            <a:off x="4579866" y="1656360"/>
            <a:ext cx="1324097" cy="1324097"/>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 name="Ellipse 6"/>
          <p:cNvSpPr/>
          <p:nvPr/>
        </p:nvSpPr>
        <p:spPr>
          <a:xfrm>
            <a:off x="6312201" y="1644637"/>
            <a:ext cx="1324097" cy="1324097"/>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 name="Ellipse 7"/>
          <p:cNvSpPr/>
          <p:nvPr/>
        </p:nvSpPr>
        <p:spPr>
          <a:xfrm>
            <a:off x="8085370" y="1633657"/>
            <a:ext cx="1324097" cy="1324097"/>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nvGrpSpPr>
          <p:cNvPr id="18" name="Grupper 17"/>
          <p:cNvGrpSpPr/>
          <p:nvPr/>
        </p:nvGrpSpPr>
        <p:grpSpPr>
          <a:xfrm>
            <a:off x="2846856" y="3322016"/>
            <a:ext cx="1357012" cy="2057095"/>
            <a:chOff x="3129149" y="2959742"/>
            <a:chExt cx="1517667" cy="2300631"/>
          </a:xfrm>
        </p:grpSpPr>
        <p:sp>
          <p:nvSpPr>
            <p:cNvPr id="19" name="Ellipse 18"/>
            <p:cNvSpPr/>
            <p:nvPr/>
          </p:nvSpPr>
          <p:spPr>
            <a:xfrm>
              <a:off x="3131444" y="2959742"/>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0" name="Ellipse 19"/>
            <p:cNvSpPr/>
            <p:nvPr/>
          </p:nvSpPr>
          <p:spPr>
            <a:xfrm>
              <a:off x="3561756" y="2959742"/>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1" name="Ellipse 20"/>
            <p:cNvSpPr/>
            <p:nvPr/>
          </p:nvSpPr>
          <p:spPr>
            <a:xfrm>
              <a:off x="3990963" y="2959742"/>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2" name="Ellipse 21"/>
            <p:cNvSpPr/>
            <p:nvPr/>
          </p:nvSpPr>
          <p:spPr>
            <a:xfrm>
              <a:off x="4420170" y="2959742"/>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3" name="Ellipse 22"/>
            <p:cNvSpPr/>
            <p:nvPr/>
          </p:nvSpPr>
          <p:spPr>
            <a:xfrm>
              <a:off x="3131444" y="3668394"/>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4" name="Ellipse 23"/>
            <p:cNvSpPr/>
            <p:nvPr/>
          </p:nvSpPr>
          <p:spPr>
            <a:xfrm>
              <a:off x="3561757" y="3668394"/>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5" name="Ellipse 24"/>
            <p:cNvSpPr/>
            <p:nvPr/>
          </p:nvSpPr>
          <p:spPr>
            <a:xfrm>
              <a:off x="3990963" y="3668394"/>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6" name="Ellipse 25"/>
            <p:cNvSpPr/>
            <p:nvPr/>
          </p:nvSpPr>
          <p:spPr>
            <a:xfrm>
              <a:off x="4420170" y="3668394"/>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7" name="Ellipse 26"/>
            <p:cNvSpPr/>
            <p:nvPr/>
          </p:nvSpPr>
          <p:spPr>
            <a:xfrm>
              <a:off x="3131444" y="4351061"/>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8" name="Ellipse 27"/>
            <p:cNvSpPr/>
            <p:nvPr/>
          </p:nvSpPr>
          <p:spPr>
            <a:xfrm>
              <a:off x="3561757" y="4351061"/>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9" name="Ellipse 28"/>
            <p:cNvSpPr/>
            <p:nvPr/>
          </p:nvSpPr>
          <p:spPr>
            <a:xfrm>
              <a:off x="3990963" y="4351061"/>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0" name="Ellipse 29"/>
            <p:cNvSpPr/>
            <p:nvPr/>
          </p:nvSpPr>
          <p:spPr>
            <a:xfrm>
              <a:off x="4420170" y="4351061"/>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1" name="Ellipse 30"/>
            <p:cNvSpPr/>
            <p:nvPr/>
          </p:nvSpPr>
          <p:spPr>
            <a:xfrm>
              <a:off x="3129149" y="5033224"/>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2" name="Ellipse 31"/>
            <p:cNvSpPr/>
            <p:nvPr/>
          </p:nvSpPr>
          <p:spPr>
            <a:xfrm>
              <a:off x="3561755" y="5033727"/>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3" name="Ellipse 32"/>
            <p:cNvSpPr/>
            <p:nvPr/>
          </p:nvSpPr>
          <p:spPr>
            <a:xfrm>
              <a:off x="3990963" y="5033727"/>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4" name="Ellipse 33"/>
            <p:cNvSpPr/>
            <p:nvPr/>
          </p:nvSpPr>
          <p:spPr>
            <a:xfrm>
              <a:off x="4420169" y="5033727"/>
              <a:ext cx="226646" cy="22664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grpSp>
        <p:nvGrpSpPr>
          <p:cNvPr id="35" name="Grupper 34"/>
          <p:cNvGrpSpPr/>
          <p:nvPr/>
        </p:nvGrpSpPr>
        <p:grpSpPr>
          <a:xfrm>
            <a:off x="4538807" y="3315796"/>
            <a:ext cx="1357012" cy="2057095"/>
            <a:chOff x="3129149" y="2959742"/>
            <a:chExt cx="1517667" cy="2300631"/>
          </a:xfrm>
        </p:grpSpPr>
        <p:sp>
          <p:nvSpPr>
            <p:cNvPr id="36" name="Ellipse 35"/>
            <p:cNvSpPr/>
            <p:nvPr/>
          </p:nvSpPr>
          <p:spPr>
            <a:xfrm>
              <a:off x="3131444" y="2959742"/>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7" name="Ellipse 36"/>
            <p:cNvSpPr/>
            <p:nvPr/>
          </p:nvSpPr>
          <p:spPr>
            <a:xfrm>
              <a:off x="3561756" y="2959742"/>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8" name="Ellipse 37"/>
            <p:cNvSpPr/>
            <p:nvPr/>
          </p:nvSpPr>
          <p:spPr>
            <a:xfrm>
              <a:off x="3990963" y="2959742"/>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9" name="Ellipse 38"/>
            <p:cNvSpPr/>
            <p:nvPr/>
          </p:nvSpPr>
          <p:spPr>
            <a:xfrm>
              <a:off x="4420170" y="2959742"/>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0" name="Ellipse 39"/>
            <p:cNvSpPr/>
            <p:nvPr/>
          </p:nvSpPr>
          <p:spPr>
            <a:xfrm>
              <a:off x="3131444" y="3668394"/>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1" name="Ellipse 40"/>
            <p:cNvSpPr/>
            <p:nvPr/>
          </p:nvSpPr>
          <p:spPr>
            <a:xfrm>
              <a:off x="3561757" y="3668394"/>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2" name="Ellipse 41"/>
            <p:cNvSpPr/>
            <p:nvPr/>
          </p:nvSpPr>
          <p:spPr>
            <a:xfrm>
              <a:off x="3990963" y="3668394"/>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3" name="Ellipse 42"/>
            <p:cNvSpPr/>
            <p:nvPr/>
          </p:nvSpPr>
          <p:spPr>
            <a:xfrm>
              <a:off x="4420170" y="3668394"/>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4" name="Ellipse 43"/>
            <p:cNvSpPr/>
            <p:nvPr/>
          </p:nvSpPr>
          <p:spPr>
            <a:xfrm>
              <a:off x="3131444" y="4351061"/>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5" name="Ellipse 44"/>
            <p:cNvSpPr/>
            <p:nvPr/>
          </p:nvSpPr>
          <p:spPr>
            <a:xfrm>
              <a:off x="3561757" y="4351061"/>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6" name="Ellipse 45"/>
            <p:cNvSpPr/>
            <p:nvPr/>
          </p:nvSpPr>
          <p:spPr>
            <a:xfrm>
              <a:off x="3990963" y="4351061"/>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7" name="Ellipse 46"/>
            <p:cNvSpPr/>
            <p:nvPr/>
          </p:nvSpPr>
          <p:spPr>
            <a:xfrm>
              <a:off x="4420170" y="4351061"/>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8" name="Ellipse 47"/>
            <p:cNvSpPr/>
            <p:nvPr/>
          </p:nvSpPr>
          <p:spPr>
            <a:xfrm>
              <a:off x="3129149" y="5033224"/>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9" name="Ellipse 48"/>
            <p:cNvSpPr/>
            <p:nvPr/>
          </p:nvSpPr>
          <p:spPr>
            <a:xfrm>
              <a:off x="3561755" y="5033727"/>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0" name="Ellipse 49"/>
            <p:cNvSpPr/>
            <p:nvPr/>
          </p:nvSpPr>
          <p:spPr>
            <a:xfrm>
              <a:off x="3990963" y="5033727"/>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1" name="Ellipse 50"/>
            <p:cNvSpPr/>
            <p:nvPr/>
          </p:nvSpPr>
          <p:spPr>
            <a:xfrm>
              <a:off x="4420169" y="5033727"/>
              <a:ext cx="226646" cy="226646"/>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grpSp>
        <p:nvGrpSpPr>
          <p:cNvPr id="52" name="Grupper 51"/>
          <p:cNvGrpSpPr/>
          <p:nvPr/>
        </p:nvGrpSpPr>
        <p:grpSpPr>
          <a:xfrm>
            <a:off x="6305403" y="3309575"/>
            <a:ext cx="1357012" cy="2057095"/>
            <a:chOff x="3129149" y="2959742"/>
            <a:chExt cx="1517667" cy="2300631"/>
          </a:xfrm>
        </p:grpSpPr>
        <p:sp>
          <p:nvSpPr>
            <p:cNvPr id="53" name="Ellipse 52"/>
            <p:cNvSpPr/>
            <p:nvPr/>
          </p:nvSpPr>
          <p:spPr>
            <a:xfrm>
              <a:off x="3131444" y="2959742"/>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4" name="Ellipse 53"/>
            <p:cNvSpPr/>
            <p:nvPr/>
          </p:nvSpPr>
          <p:spPr>
            <a:xfrm>
              <a:off x="3561756" y="2959742"/>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5" name="Ellipse 54"/>
            <p:cNvSpPr/>
            <p:nvPr/>
          </p:nvSpPr>
          <p:spPr>
            <a:xfrm>
              <a:off x="3990963" y="2959742"/>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6" name="Ellipse 55"/>
            <p:cNvSpPr/>
            <p:nvPr/>
          </p:nvSpPr>
          <p:spPr>
            <a:xfrm>
              <a:off x="4420170" y="2959742"/>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7" name="Ellipse 56"/>
            <p:cNvSpPr/>
            <p:nvPr/>
          </p:nvSpPr>
          <p:spPr>
            <a:xfrm>
              <a:off x="3131444" y="3668394"/>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8" name="Ellipse 57"/>
            <p:cNvSpPr/>
            <p:nvPr/>
          </p:nvSpPr>
          <p:spPr>
            <a:xfrm>
              <a:off x="3561757" y="3668394"/>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9" name="Ellipse 58"/>
            <p:cNvSpPr/>
            <p:nvPr/>
          </p:nvSpPr>
          <p:spPr>
            <a:xfrm>
              <a:off x="3990963" y="3668394"/>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0" name="Ellipse 59"/>
            <p:cNvSpPr/>
            <p:nvPr/>
          </p:nvSpPr>
          <p:spPr>
            <a:xfrm>
              <a:off x="4420170" y="3668394"/>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1" name="Ellipse 60"/>
            <p:cNvSpPr/>
            <p:nvPr/>
          </p:nvSpPr>
          <p:spPr>
            <a:xfrm>
              <a:off x="3131444" y="4351061"/>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2" name="Ellipse 61"/>
            <p:cNvSpPr/>
            <p:nvPr/>
          </p:nvSpPr>
          <p:spPr>
            <a:xfrm>
              <a:off x="3561757" y="4351061"/>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3" name="Ellipse 62"/>
            <p:cNvSpPr/>
            <p:nvPr/>
          </p:nvSpPr>
          <p:spPr>
            <a:xfrm>
              <a:off x="3990963" y="4351061"/>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4" name="Ellipse 63"/>
            <p:cNvSpPr/>
            <p:nvPr/>
          </p:nvSpPr>
          <p:spPr>
            <a:xfrm>
              <a:off x="4420170" y="4351061"/>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5" name="Ellipse 64"/>
            <p:cNvSpPr/>
            <p:nvPr/>
          </p:nvSpPr>
          <p:spPr>
            <a:xfrm>
              <a:off x="3129149" y="5033224"/>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6" name="Ellipse 65"/>
            <p:cNvSpPr/>
            <p:nvPr/>
          </p:nvSpPr>
          <p:spPr>
            <a:xfrm>
              <a:off x="3561755" y="5033727"/>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7" name="Ellipse 66"/>
            <p:cNvSpPr/>
            <p:nvPr/>
          </p:nvSpPr>
          <p:spPr>
            <a:xfrm>
              <a:off x="3990963" y="5033727"/>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8" name="Ellipse 67"/>
            <p:cNvSpPr/>
            <p:nvPr/>
          </p:nvSpPr>
          <p:spPr>
            <a:xfrm>
              <a:off x="4420169" y="5033727"/>
              <a:ext cx="226646" cy="22664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grpSp>
        <p:nvGrpSpPr>
          <p:cNvPr id="69" name="Grupper 68"/>
          <p:cNvGrpSpPr/>
          <p:nvPr/>
        </p:nvGrpSpPr>
        <p:grpSpPr>
          <a:xfrm>
            <a:off x="8053338" y="3312685"/>
            <a:ext cx="1357012" cy="2057095"/>
            <a:chOff x="3129149" y="2959742"/>
            <a:chExt cx="1517667" cy="2300631"/>
          </a:xfrm>
        </p:grpSpPr>
        <p:sp>
          <p:nvSpPr>
            <p:cNvPr id="70" name="Ellipse 69"/>
            <p:cNvSpPr/>
            <p:nvPr/>
          </p:nvSpPr>
          <p:spPr>
            <a:xfrm>
              <a:off x="3131444" y="2959742"/>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1" name="Ellipse 70"/>
            <p:cNvSpPr/>
            <p:nvPr/>
          </p:nvSpPr>
          <p:spPr>
            <a:xfrm>
              <a:off x="3561756" y="2959742"/>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2" name="Ellipse 71"/>
            <p:cNvSpPr/>
            <p:nvPr/>
          </p:nvSpPr>
          <p:spPr>
            <a:xfrm>
              <a:off x="3990963" y="2959742"/>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3" name="Ellipse 72"/>
            <p:cNvSpPr/>
            <p:nvPr/>
          </p:nvSpPr>
          <p:spPr>
            <a:xfrm>
              <a:off x="4420170" y="2959742"/>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4" name="Ellipse 73"/>
            <p:cNvSpPr/>
            <p:nvPr/>
          </p:nvSpPr>
          <p:spPr>
            <a:xfrm>
              <a:off x="3131444" y="3668394"/>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5" name="Ellipse 74"/>
            <p:cNvSpPr/>
            <p:nvPr/>
          </p:nvSpPr>
          <p:spPr>
            <a:xfrm>
              <a:off x="3561757" y="3668394"/>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6" name="Ellipse 75"/>
            <p:cNvSpPr/>
            <p:nvPr/>
          </p:nvSpPr>
          <p:spPr>
            <a:xfrm>
              <a:off x="3990963" y="3668394"/>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7" name="Ellipse 76"/>
            <p:cNvSpPr/>
            <p:nvPr/>
          </p:nvSpPr>
          <p:spPr>
            <a:xfrm>
              <a:off x="4420170" y="3668394"/>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8" name="Ellipse 77"/>
            <p:cNvSpPr/>
            <p:nvPr/>
          </p:nvSpPr>
          <p:spPr>
            <a:xfrm>
              <a:off x="3131444" y="4351061"/>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9" name="Ellipse 78"/>
            <p:cNvSpPr/>
            <p:nvPr/>
          </p:nvSpPr>
          <p:spPr>
            <a:xfrm>
              <a:off x="3561757" y="4351061"/>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0" name="Ellipse 79"/>
            <p:cNvSpPr/>
            <p:nvPr/>
          </p:nvSpPr>
          <p:spPr>
            <a:xfrm>
              <a:off x="3990963" y="4351061"/>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1" name="Ellipse 80"/>
            <p:cNvSpPr/>
            <p:nvPr/>
          </p:nvSpPr>
          <p:spPr>
            <a:xfrm>
              <a:off x="4420170" y="4351061"/>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2" name="Ellipse 81"/>
            <p:cNvSpPr/>
            <p:nvPr/>
          </p:nvSpPr>
          <p:spPr>
            <a:xfrm>
              <a:off x="3129149" y="5033224"/>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3" name="Ellipse 82"/>
            <p:cNvSpPr/>
            <p:nvPr/>
          </p:nvSpPr>
          <p:spPr>
            <a:xfrm>
              <a:off x="3561755" y="5033727"/>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4" name="Ellipse 83"/>
            <p:cNvSpPr/>
            <p:nvPr/>
          </p:nvSpPr>
          <p:spPr>
            <a:xfrm>
              <a:off x="3990963" y="5033727"/>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85" name="Ellipse 84"/>
            <p:cNvSpPr/>
            <p:nvPr/>
          </p:nvSpPr>
          <p:spPr>
            <a:xfrm>
              <a:off x="4420169" y="5033727"/>
              <a:ext cx="226646" cy="22664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sp>
        <p:nvSpPr>
          <p:cNvPr id="88" name="Tekstfelt 87"/>
          <p:cNvSpPr txBox="1"/>
          <p:nvPr/>
        </p:nvSpPr>
        <p:spPr>
          <a:xfrm>
            <a:off x="1090220" y="2124636"/>
            <a:ext cx="1324097" cy="323165"/>
          </a:xfrm>
          <a:prstGeom prst="rect">
            <a:avLst/>
          </a:prstGeom>
          <a:noFill/>
        </p:spPr>
        <p:txBody>
          <a:bodyPr wrap="square" rtlCol="0">
            <a:spAutoFit/>
          </a:bodyPr>
          <a:lstStyle/>
          <a:p>
            <a:pPr algn="ctr"/>
            <a:r>
              <a:rPr lang="en-GB" sz="1500" dirty="0">
                <a:latin typeface="Arial" panose="020B0604020202020204" pitchFamily="34" charset="0"/>
                <a:ea typeface="Gulim" charset="-127"/>
                <a:cs typeface="Arial" panose="020B0604020202020204" pitchFamily="34" charset="0"/>
              </a:rPr>
              <a:t>Strategies</a:t>
            </a:r>
          </a:p>
        </p:txBody>
      </p:sp>
      <p:sp>
        <p:nvSpPr>
          <p:cNvPr id="89" name="Tekstfelt 88"/>
          <p:cNvSpPr txBox="1"/>
          <p:nvPr/>
        </p:nvSpPr>
        <p:spPr>
          <a:xfrm>
            <a:off x="2819747" y="2027876"/>
            <a:ext cx="1324097" cy="553998"/>
          </a:xfrm>
          <a:prstGeom prst="rect">
            <a:avLst/>
          </a:prstGeom>
          <a:noFill/>
        </p:spPr>
        <p:txBody>
          <a:bodyPr wrap="square" rtlCol="0">
            <a:spAutoFit/>
          </a:bodyPr>
          <a:lstStyle/>
          <a:p>
            <a:pPr algn="ctr"/>
            <a:r>
              <a:rPr lang="en-GB" sz="1500">
                <a:latin typeface="Arial" panose="020B0604020202020204" pitchFamily="34" charset="0"/>
                <a:ea typeface="Gulim" charset="-127"/>
                <a:cs typeface="Arial" panose="020B0604020202020204" pitchFamily="34" charset="0"/>
              </a:rPr>
              <a:t>Instagram</a:t>
            </a:r>
          </a:p>
          <a:p>
            <a:pPr algn="ctr"/>
            <a:r>
              <a:rPr lang="en-GB" sz="1500">
                <a:latin typeface="Arial" panose="020B0604020202020204" pitchFamily="34" charset="0"/>
                <a:ea typeface="Gulim" charset="-127"/>
                <a:cs typeface="Arial" panose="020B0604020202020204" pitchFamily="34" charset="0"/>
              </a:rPr>
              <a:t>ability</a:t>
            </a:r>
          </a:p>
        </p:txBody>
      </p:sp>
      <p:sp>
        <p:nvSpPr>
          <p:cNvPr id="90" name="Tekstfelt 89"/>
          <p:cNvSpPr txBox="1"/>
          <p:nvPr/>
        </p:nvSpPr>
        <p:spPr>
          <a:xfrm>
            <a:off x="4579865" y="2041408"/>
            <a:ext cx="1324097" cy="553998"/>
          </a:xfrm>
          <a:prstGeom prst="rect">
            <a:avLst/>
          </a:prstGeom>
          <a:noFill/>
        </p:spPr>
        <p:txBody>
          <a:bodyPr wrap="square" rtlCol="0">
            <a:spAutoFit/>
          </a:bodyPr>
          <a:lstStyle/>
          <a:p>
            <a:pPr algn="ctr"/>
            <a:r>
              <a:rPr lang="en-GB" sz="1500" dirty="0">
                <a:latin typeface="Arial" panose="020B0604020202020204" pitchFamily="34" charset="0"/>
                <a:ea typeface="Gulim" charset="-127"/>
                <a:cs typeface="Arial" panose="020B0604020202020204" pitchFamily="34" charset="0"/>
              </a:rPr>
              <a:t>Performance &amp; </a:t>
            </a:r>
            <a:r>
              <a:rPr lang="en-GB" sz="1500" dirty="0" err="1">
                <a:latin typeface="Arial" panose="020B0604020202020204" pitchFamily="34" charset="0"/>
                <a:ea typeface="Gulim" charset="-127"/>
                <a:cs typeface="Arial" panose="020B0604020202020204" pitchFamily="34" charset="0"/>
              </a:rPr>
              <a:t>Apperance</a:t>
            </a:r>
            <a:endParaRPr lang="en-GB" sz="1500" dirty="0">
              <a:latin typeface="Arial" panose="020B0604020202020204" pitchFamily="34" charset="0"/>
              <a:ea typeface="Gulim" charset="-127"/>
              <a:cs typeface="Arial" panose="020B0604020202020204" pitchFamily="34" charset="0"/>
            </a:endParaRPr>
          </a:p>
        </p:txBody>
      </p:sp>
      <p:sp>
        <p:nvSpPr>
          <p:cNvPr id="91" name="Tekstfelt 90"/>
          <p:cNvSpPr txBox="1"/>
          <p:nvPr/>
        </p:nvSpPr>
        <p:spPr>
          <a:xfrm>
            <a:off x="6328657" y="2140155"/>
            <a:ext cx="1324097" cy="323165"/>
          </a:xfrm>
          <a:prstGeom prst="rect">
            <a:avLst/>
          </a:prstGeom>
          <a:noFill/>
        </p:spPr>
        <p:txBody>
          <a:bodyPr wrap="square" rtlCol="0">
            <a:spAutoFit/>
          </a:bodyPr>
          <a:lstStyle/>
          <a:p>
            <a:pPr algn="ctr"/>
            <a:r>
              <a:rPr lang="en-GB" sz="1500">
                <a:latin typeface="Arial" panose="020B0604020202020204" pitchFamily="34" charset="0"/>
                <a:ea typeface="Gulim" charset="-127"/>
                <a:cs typeface="Arial" panose="020B0604020202020204" pitchFamily="34" charset="0"/>
              </a:rPr>
              <a:t>Friendship</a:t>
            </a:r>
          </a:p>
        </p:txBody>
      </p:sp>
      <p:sp>
        <p:nvSpPr>
          <p:cNvPr id="92" name="Tekstfelt 91"/>
          <p:cNvSpPr txBox="1"/>
          <p:nvPr/>
        </p:nvSpPr>
        <p:spPr>
          <a:xfrm>
            <a:off x="8068914" y="2156825"/>
            <a:ext cx="1324097" cy="323165"/>
          </a:xfrm>
          <a:prstGeom prst="rect">
            <a:avLst/>
          </a:prstGeom>
          <a:noFill/>
        </p:spPr>
        <p:txBody>
          <a:bodyPr wrap="square" rtlCol="0">
            <a:spAutoFit/>
          </a:bodyPr>
          <a:lstStyle/>
          <a:p>
            <a:pPr algn="ctr"/>
            <a:r>
              <a:rPr lang="en-GB" sz="1500">
                <a:latin typeface="Arial" panose="020B0604020202020204" pitchFamily="34" charset="0"/>
                <a:ea typeface="Gulim" charset="-127"/>
                <a:cs typeface="Arial" panose="020B0604020202020204" pitchFamily="34" charset="0"/>
              </a:rPr>
              <a:t>Purpose</a:t>
            </a:r>
          </a:p>
        </p:txBody>
      </p:sp>
      <p:sp>
        <p:nvSpPr>
          <p:cNvPr id="93" name="Tekstfelt 92"/>
          <p:cNvSpPr txBox="1"/>
          <p:nvPr/>
        </p:nvSpPr>
        <p:spPr>
          <a:xfrm>
            <a:off x="989625" y="3199671"/>
            <a:ext cx="1534332" cy="292388"/>
          </a:xfrm>
          <a:prstGeom prst="rect">
            <a:avLst/>
          </a:prstGeom>
          <a:solidFill>
            <a:srgbClr val="F2F2F2">
              <a:alpha val="80000"/>
            </a:srgbClr>
          </a:solidFill>
        </p:spPr>
        <p:txBody>
          <a:bodyPr wrap="square" rtlCol="0">
            <a:spAutoFit/>
          </a:bodyPr>
          <a:lstStyle/>
          <a:p>
            <a:endParaRPr lang="en-GB" sz="1300">
              <a:latin typeface="Arial" panose="020B0604020202020204" pitchFamily="34" charset="0"/>
              <a:ea typeface="Gulim" charset="-127"/>
              <a:cs typeface="Arial" panose="020B0604020202020204" pitchFamily="34" charset="0"/>
            </a:endParaRPr>
          </a:p>
        </p:txBody>
      </p:sp>
      <p:sp>
        <p:nvSpPr>
          <p:cNvPr id="94" name="Tekstfelt 93"/>
          <p:cNvSpPr txBox="1"/>
          <p:nvPr/>
        </p:nvSpPr>
        <p:spPr>
          <a:xfrm>
            <a:off x="941120" y="3175121"/>
            <a:ext cx="1622299" cy="492443"/>
          </a:xfrm>
          <a:prstGeom prst="rect">
            <a:avLst/>
          </a:prstGeom>
          <a:noFill/>
        </p:spPr>
        <p:txBody>
          <a:bodyPr wrap="square" rtlCol="0">
            <a:spAutoFit/>
          </a:bodyPr>
          <a:lstStyle/>
          <a:p>
            <a:r>
              <a:rPr lang="en-GB" sz="1300">
                <a:latin typeface="Arial" panose="020B0604020202020204" pitchFamily="34" charset="0"/>
                <a:ea typeface="Gulim" charset="-127"/>
                <a:cs typeface="Arial" panose="020B0604020202020204" pitchFamily="34" charset="0"/>
              </a:rPr>
              <a:t>Do joint venture with NGK</a:t>
            </a:r>
          </a:p>
        </p:txBody>
      </p:sp>
      <p:sp>
        <p:nvSpPr>
          <p:cNvPr id="95" name="Tekstfelt 94"/>
          <p:cNvSpPr txBox="1"/>
          <p:nvPr/>
        </p:nvSpPr>
        <p:spPr>
          <a:xfrm>
            <a:off x="941120" y="3803796"/>
            <a:ext cx="1622299" cy="492443"/>
          </a:xfrm>
          <a:prstGeom prst="rect">
            <a:avLst/>
          </a:prstGeom>
          <a:noFill/>
        </p:spPr>
        <p:txBody>
          <a:bodyPr wrap="square" rtlCol="0">
            <a:spAutoFit/>
          </a:bodyPr>
          <a:lstStyle/>
          <a:p>
            <a:r>
              <a:rPr lang="en-GB" sz="1300">
                <a:latin typeface="Arial" panose="020B0604020202020204" pitchFamily="34" charset="0"/>
                <a:ea typeface="Gulim" charset="-127"/>
                <a:cs typeface="Arial" panose="020B0604020202020204" pitchFamily="34" charset="0"/>
              </a:rPr>
              <a:t>Reduce price to hold share</a:t>
            </a:r>
          </a:p>
        </p:txBody>
      </p:sp>
      <p:sp>
        <p:nvSpPr>
          <p:cNvPr id="96" name="Tekstfelt 95"/>
          <p:cNvSpPr txBox="1"/>
          <p:nvPr/>
        </p:nvSpPr>
        <p:spPr>
          <a:xfrm>
            <a:off x="948962" y="4404218"/>
            <a:ext cx="1622299" cy="492443"/>
          </a:xfrm>
          <a:prstGeom prst="rect">
            <a:avLst/>
          </a:prstGeom>
          <a:noFill/>
        </p:spPr>
        <p:txBody>
          <a:bodyPr wrap="square" rtlCol="0">
            <a:spAutoFit/>
          </a:bodyPr>
          <a:lstStyle/>
          <a:p>
            <a:r>
              <a:rPr lang="en-GB" sz="1300">
                <a:latin typeface="Arial" panose="020B0604020202020204" pitchFamily="34" charset="0"/>
                <a:ea typeface="Gulim" charset="-127"/>
                <a:cs typeface="Arial" panose="020B0604020202020204" pitchFamily="34" charset="0"/>
              </a:rPr>
              <a:t>Develop new metal substrate</a:t>
            </a:r>
          </a:p>
        </p:txBody>
      </p:sp>
      <p:sp>
        <p:nvSpPr>
          <p:cNvPr id="97" name="Tekstfelt 96"/>
          <p:cNvSpPr txBox="1"/>
          <p:nvPr/>
        </p:nvSpPr>
        <p:spPr>
          <a:xfrm>
            <a:off x="948962" y="5018671"/>
            <a:ext cx="1622299" cy="492443"/>
          </a:xfrm>
          <a:prstGeom prst="rect">
            <a:avLst/>
          </a:prstGeom>
          <a:noFill/>
        </p:spPr>
        <p:txBody>
          <a:bodyPr wrap="square" rtlCol="0">
            <a:spAutoFit/>
          </a:bodyPr>
          <a:lstStyle/>
          <a:p>
            <a:r>
              <a:rPr lang="en-GB" sz="1300">
                <a:latin typeface="Arial" panose="020B0604020202020204" pitchFamily="34" charset="0"/>
                <a:ea typeface="Gulim" charset="-127"/>
                <a:cs typeface="Arial" panose="020B0604020202020204" pitchFamily="34" charset="0"/>
              </a:rPr>
              <a:t>Differentiate through service</a:t>
            </a:r>
          </a:p>
        </p:txBody>
      </p:sp>
      <p:sp>
        <p:nvSpPr>
          <p:cNvPr id="98" name="Ellipse 33"/>
          <p:cNvSpPr/>
          <p:nvPr/>
        </p:nvSpPr>
        <p:spPr>
          <a:xfrm>
            <a:off x="10102856" y="5724711"/>
            <a:ext cx="202654" cy="202654"/>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latin typeface="Arial" panose="020B0604020202020204" pitchFamily="34" charset="0"/>
              <a:cs typeface="Arial" panose="020B0604020202020204" pitchFamily="34" charset="0"/>
            </a:endParaRPr>
          </a:p>
        </p:txBody>
      </p:sp>
      <p:sp>
        <p:nvSpPr>
          <p:cNvPr id="99" name="Ellipse 7"/>
          <p:cNvSpPr/>
          <p:nvPr/>
        </p:nvSpPr>
        <p:spPr>
          <a:xfrm>
            <a:off x="9812883" y="1614392"/>
            <a:ext cx="1324097" cy="1324097"/>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nvGrpSpPr>
          <p:cNvPr id="100" name="Grupper 68"/>
          <p:cNvGrpSpPr/>
          <p:nvPr/>
        </p:nvGrpSpPr>
        <p:grpSpPr>
          <a:xfrm>
            <a:off x="9796425" y="3313727"/>
            <a:ext cx="1357012" cy="2057095"/>
            <a:chOff x="3129149" y="2959742"/>
            <a:chExt cx="1517667" cy="2300631"/>
          </a:xfrm>
        </p:grpSpPr>
        <p:sp>
          <p:nvSpPr>
            <p:cNvPr id="101" name="Ellipse 69"/>
            <p:cNvSpPr/>
            <p:nvPr/>
          </p:nvSpPr>
          <p:spPr>
            <a:xfrm>
              <a:off x="3131444" y="2959742"/>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2" name="Ellipse 70"/>
            <p:cNvSpPr/>
            <p:nvPr/>
          </p:nvSpPr>
          <p:spPr>
            <a:xfrm>
              <a:off x="3561756" y="2959742"/>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3" name="Ellipse 71"/>
            <p:cNvSpPr/>
            <p:nvPr/>
          </p:nvSpPr>
          <p:spPr>
            <a:xfrm>
              <a:off x="3990963" y="2959742"/>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4" name="Ellipse 72"/>
            <p:cNvSpPr/>
            <p:nvPr/>
          </p:nvSpPr>
          <p:spPr>
            <a:xfrm>
              <a:off x="4420170" y="2959742"/>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5" name="Ellipse 73"/>
            <p:cNvSpPr/>
            <p:nvPr/>
          </p:nvSpPr>
          <p:spPr>
            <a:xfrm>
              <a:off x="3131444" y="3668394"/>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6" name="Ellipse 74"/>
            <p:cNvSpPr/>
            <p:nvPr/>
          </p:nvSpPr>
          <p:spPr>
            <a:xfrm>
              <a:off x="3561757" y="3668394"/>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7" name="Ellipse 75"/>
            <p:cNvSpPr/>
            <p:nvPr/>
          </p:nvSpPr>
          <p:spPr>
            <a:xfrm>
              <a:off x="3990963" y="3668394"/>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8" name="Ellipse 76"/>
            <p:cNvSpPr/>
            <p:nvPr/>
          </p:nvSpPr>
          <p:spPr>
            <a:xfrm>
              <a:off x="4420170" y="3668394"/>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09" name="Ellipse 77"/>
            <p:cNvSpPr/>
            <p:nvPr/>
          </p:nvSpPr>
          <p:spPr>
            <a:xfrm>
              <a:off x="3131444" y="4351061"/>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0" name="Ellipse 78"/>
            <p:cNvSpPr/>
            <p:nvPr/>
          </p:nvSpPr>
          <p:spPr>
            <a:xfrm>
              <a:off x="3561757" y="4351061"/>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1" name="Ellipse 79"/>
            <p:cNvSpPr/>
            <p:nvPr/>
          </p:nvSpPr>
          <p:spPr>
            <a:xfrm>
              <a:off x="3990963" y="4351061"/>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2" name="Ellipse 80"/>
            <p:cNvSpPr/>
            <p:nvPr/>
          </p:nvSpPr>
          <p:spPr>
            <a:xfrm>
              <a:off x="4420170" y="4351061"/>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3" name="Ellipse 81"/>
            <p:cNvSpPr/>
            <p:nvPr/>
          </p:nvSpPr>
          <p:spPr>
            <a:xfrm>
              <a:off x="3129149" y="5033224"/>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4" name="Ellipse 82"/>
            <p:cNvSpPr/>
            <p:nvPr/>
          </p:nvSpPr>
          <p:spPr>
            <a:xfrm>
              <a:off x="3561755" y="5033727"/>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5" name="Ellipse 83"/>
            <p:cNvSpPr/>
            <p:nvPr/>
          </p:nvSpPr>
          <p:spPr>
            <a:xfrm>
              <a:off x="3990963" y="5033727"/>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6" name="Ellipse 84"/>
            <p:cNvSpPr/>
            <p:nvPr/>
          </p:nvSpPr>
          <p:spPr>
            <a:xfrm>
              <a:off x="4420169" y="5033727"/>
              <a:ext cx="226646" cy="226646"/>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sp>
        <p:nvSpPr>
          <p:cNvPr id="117" name="Tekstfelt 91"/>
          <p:cNvSpPr txBox="1"/>
          <p:nvPr/>
        </p:nvSpPr>
        <p:spPr>
          <a:xfrm>
            <a:off x="9814895" y="2108953"/>
            <a:ext cx="1324097" cy="323165"/>
          </a:xfrm>
          <a:prstGeom prst="rect">
            <a:avLst/>
          </a:prstGeom>
          <a:noFill/>
        </p:spPr>
        <p:txBody>
          <a:bodyPr wrap="square" rtlCol="0">
            <a:spAutoFit/>
          </a:bodyPr>
          <a:lstStyle/>
          <a:p>
            <a:pPr algn="ctr"/>
            <a:r>
              <a:rPr lang="en-GB" sz="1500" dirty="0">
                <a:latin typeface="Arial" panose="020B0604020202020204" pitchFamily="34" charset="0"/>
                <a:ea typeface="Gulim" charset="-127"/>
                <a:cs typeface="Arial" panose="020B0604020202020204" pitchFamily="34" charset="0"/>
              </a:rPr>
              <a:t>Overall score</a:t>
            </a:r>
          </a:p>
        </p:txBody>
      </p:sp>
      <p:sp>
        <p:nvSpPr>
          <p:cNvPr id="118" name="Ellipse 33"/>
          <p:cNvSpPr/>
          <p:nvPr/>
        </p:nvSpPr>
        <p:spPr>
          <a:xfrm>
            <a:off x="10102856" y="6044212"/>
            <a:ext cx="202654" cy="20265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latin typeface="Arial" panose="020B0604020202020204" pitchFamily="34" charset="0"/>
              <a:cs typeface="Arial" panose="020B0604020202020204" pitchFamily="34" charset="0"/>
            </a:endParaRPr>
          </a:p>
        </p:txBody>
      </p:sp>
      <p:sp>
        <p:nvSpPr>
          <p:cNvPr id="2" name="TextBox 1"/>
          <p:cNvSpPr txBox="1"/>
          <p:nvPr/>
        </p:nvSpPr>
        <p:spPr>
          <a:xfrm>
            <a:off x="10305510" y="5700730"/>
            <a:ext cx="1726966" cy="261610"/>
          </a:xfrm>
          <a:prstGeom prst="rect">
            <a:avLst/>
          </a:prstGeom>
          <a:noFill/>
        </p:spPr>
        <p:txBody>
          <a:bodyPr wrap="square" rtlCol="0">
            <a:spAutoFit/>
          </a:bodyPr>
          <a:lstStyle/>
          <a:p>
            <a:r>
              <a:rPr lang="en-GB" sz="1050">
                <a:latin typeface="Arial" panose="020B0604020202020204" pitchFamily="34" charset="0"/>
                <a:ea typeface="Gulim" charset="-127"/>
                <a:cs typeface="Arial" panose="020B0604020202020204" pitchFamily="34" charset="0"/>
              </a:rPr>
              <a:t>Most attractive</a:t>
            </a:r>
          </a:p>
        </p:txBody>
      </p:sp>
      <p:sp>
        <p:nvSpPr>
          <p:cNvPr id="119" name="TextBox 118"/>
          <p:cNvSpPr txBox="1"/>
          <p:nvPr/>
        </p:nvSpPr>
        <p:spPr>
          <a:xfrm>
            <a:off x="10305510" y="6034463"/>
            <a:ext cx="1726966" cy="261610"/>
          </a:xfrm>
          <a:prstGeom prst="rect">
            <a:avLst/>
          </a:prstGeom>
          <a:noFill/>
        </p:spPr>
        <p:txBody>
          <a:bodyPr wrap="square" rtlCol="0">
            <a:spAutoFit/>
          </a:bodyPr>
          <a:lstStyle/>
          <a:p>
            <a:r>
              <a:rPr lang="en-GB" sz="1050">
                <a:latin typeface="Arial" panose="020B0604020202020204" pitchFamily="34" charset="0"/>
                <a:ea typeface="Gulim" charset="-127"/>
                <a:cs typeface="Arial" panose="020B0604020202020204" pitchFamily="34" charset="0"/>
              </a:rPr>
              <a:t>Least attractive</a:t>
            </a:r>
          </a:p>
        </p:txBody>
      </p:sp>
    </p:spTree>
    <p:extLst>
      <p:ext uri="{BB962C8B-B14F-4D97-AF65-F5344CB8AC3E}">
        <p14:creationId xmlns:p14="http://schemas.microsoft.com/office/powerpoint/2010/main" val="18051113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5A9ECA-939F-2143-8FCE-B26CE547C91D}"/>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49B9AC55-DD73-0147-AE77-35CF8F487BD5}"/>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527050" y="127212"/>
            <a:ext cx="9314374" cy="925103"/>
          </a:xfrm>
          <a:prstGeom prst="rect">
            <a:avLst/>
          </a:prstGeom>
        </p:spPr>
        <p:txBody>
          <a:bodyPr/>
          <a:lstStyle/>
          <a:p>
            <a:r>
              <a:rPr lang="da-DK" dirty="0" err="1">
                <a:latin typeface="Arial" panose="020B0604020202020204" pitchFamily="34" charset="0"/>
                <a:cs typeface="Arial" panose="020B0604020202020204" pitchFamily="34" charset="0"/>
              </a:rPr>
              <a:t>Flowchart</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anyone</a:t>
            </a:r>
            <a:r>
              <a:rPr lang="da-DK" dirty="0">
                <a:latin typeface="Arial" panose="020B0604020202020204" pitchFamily="34" charset="0"/>
                <a:cs typeface="Arial" panose="020B0604020202020204" pitchFamily="34" charset="0"/>
              </a:rPr>
              <a:t>? BE MECE!!</a:t>
            </a:r>
          </a:p>
        </p:txBody>
      </p:sp>
      <p:sp>
        <p:nvSpPr>
          <p:cNvPr id="61" name="Rectangle 26"/>
          <p:cNvSpPr/>
          <p:nvPr/>
        </p:nvSpPr>
        <p:spPr>
          <a:xfrm>
            <a:off x="1607326" y="5507578"/>
            <a:ext cx="8840165" cy="540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50" dirty="0" err="1">
                <a:solidFill>
                  <a:schemeClr val="accent1">
                    <a:lumMod val="50000"/>
                  </a:schemeClr>
                </a:solidFill>
                <a:latin typeface="Arial" panose="020B0604020202020204" pitchFamily="34" charset="0"/>
                <a:ea typeface="Gulim" charset="-127"/>
                <a:cs typeface="Arial" panose="020B0604020202020204" pitchFamily="34" charset="0"/>
              </a:rPr>
              <a:t>Arla</a:t>
            </a:r>
            <a:r>
              <a:rPr lang="en-US" sz="1450" dirty="0">
                <a:solidFill>
                  <a:schemeClr val="accent1">
                    <a:lumMod val="50000"/>
                  </a:schemeClr>
                </a:solidFill>
                <a:latin typeface="Arial" panose="020B0604020202020204" pitchFamily="34" charset="0"/>
                <a:ea typeface="Gulim" charset="-127"/>
                <a:cs typeface="Arial" panose="020B0604020202020204" pitchFamily="34" charset="0"/>
              </a:rPr>
              <a:t> can increase capture the millennials by changing their branding strategy and build trust</a:t>
            </a:r>
          </a:p>
        </p:txBody>
      </p:sp>
      <p:cxnSp>
        <p:nvCxnSpPr>
          <p:cNvPr id="62" name="Lige forbindelse 61"/>
          <p:cNvCxnSpPr>
            <a:stCxn id="34" idx="6"/>
          </p:cNvCxnSpPr>
          <p:nvPr/>
        </p:nvCxnSpPr>
        <p:spPr>
          <a:xfrm>
            <a:off x="2759330" y="2323247"/>
            <a:ext cx="592562" cy="1"/>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3" name="Lige forbindelse 62"/>
          <p:cNvCxnSpPr>
            <a:stCxn id="72" idx="6"/>
            <a:endCxn id="39" idx="1"/>
          </p:cNvCxnSpPr>
          <p:nvPr/>
        </p:nvCxnSpPr>
        <p:spPr>
          <a:xfrm flipV="1">
            <a:off x="2755643" y="3458667"/>
            <a:ext cx="4316863" cy="4448"/>
          </a:xfrm>
          <a:prstGeom prst="line">
            <a:avLst/>
          </a:prstGeom>
          <a:ln w="19050">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Lige forbindelse 63"/>
          <p:cNvCxnSpPr>
            <a:stCxn id="74" idx="6"/>
            <a:endCxn id="65" idx="1"/>
          </p:cNvCxnSpPr>
          <p:nvPr/>
        </p:nvCxnSpPr>
        <p:spPr>
          <a:xfrm>
            <a:off x="2755643" y="4601833"/>
            <a:ext cx="4316862" cy="1555"/>
          </a:xfrm>
          <a:prstGeom prst="line">
            <a:avLst/>
          </a:prstGeom>
          <a:ln w="19050">
            <a:solidFill>
              <a:schemeClr val="accent4">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Ellipse 33"/>
          <p:cNvSpPr/>
          <p:nvPr/>
        </p:nvSpPr>
        <p:spPr>
          <a:xfrm>
            <a:off x="1611014" y="1799978"/>
            <a:ext cx="1148316" cy="1046537"/>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n w="0"/>
              <a:solidFill>
                <a:schemeClr val="tx1"/>
              </a:solidFill>
              <a:latin typeface="Arial" panose="020B0604020202020204" pitchFamily="34" charset="0"/>
              <a:ea typeface="Gulim" charset="-127"/>
              <a:cs typeface="Arial" panose="020B0604020202020204" pitchFamily="34" charset="0"/>
            </a:endParaRPr>
          </a:p>
        </p:txBody>
      </p:sp>
      <p:sp>
        <p:nvSpPr>
          <p:cNvPr id="37" name="Rektangel med enkelt afrundet hjørne 36"/>
          <p:cNvSpPr/>
          <p:nvPr/>
        </p:nvSpPr>
        <p:spPr>
          <a:xfrm>
            <a:off x="3351892" y="2048130"/>
            <a:ext cx="7095600" cy="550235"/>
          </a:xfrm>
          <a:prstGeom prst="round1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n w="0"/>
                <a:solidFill>
                  <a:schemeClr val="tx1"/>
                </a:solidFill>
                <a:latin typeface="Arial" panose="020B0604020202020204" pitchFamily="34" charset="0"/>
                <a:ea typeface="Gulim" charset="-127"/>
                <a:cs typeface="Arial" panose="020B0604020202020204" pitchFamily="34" charset="0"/>
              </a:rPr>
              <a:t>How can </a:t>
            </a:r>
            <a:r>
              <a:rPr lang="en-US" sz="1300" dirty="0" err="1">
                <a:ln w="0"/>
                <a:solidFill>
                  <a:schemeClr val="tx1"/>
                </a:solidFill>
                <a:latin typeface="Arial" panose="020B0604020202020204" pitchFamily="34" charset="0"/>
                <a:ea typeface="Gulim" charset="-127"/>
                <a:cs typeface="Arial" panose="020B0604020202020204" pitchFamily="34" charset="0"/>
              </a:rPr>
              <a:t>Arla</a:t>
            </a:r>
            <a:r>
              <a:rPr lang="en-US" sz="1300" dirty="0">
                <a:ln w="0"/>
                <a:solidFill>
                  <a:schemeClr val="tx1"/>
                </a:solidFill>
                <a:latin typeface="Arial" panose="020B0604020202020204" pitchFamily="34" charset="0"/>
                <a:ea typeface="Gulim" charset="-127"/>
                <a:cs typeface="Arial" panose="020B0604020202020204" pitchFamily="34" charset="0"/>
              </a:rPr>
              <a:t> be relevant to the young, European consumers?</a:t>
            </a:r>
          </a:p>
        </p:txBody>
      </p:sp>
      <p:sp>
        <p:nvSpPr>
          <p:cNvPr id="38" name="Rektangel med enkelt afrundet hjørne 37"/>
          <p:cNvSpPr/>
          <p:nvPr/>
        </p:nvSpPr>
        <p:spPr>
          <a:xfrm>
            <a:off x="3351893" y="3183549"/>
            <a:ext cx="3375000" cy="550235"/>
          </a:xfrm>
          <a:prstGeom prst="round1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n w="0"/>
                <a:solidFill>
                  <a:schemeClr val="tx1"/>
                </a:solidFill>
                <a:latin typeface="Arial" panose="020B0604020202020204" pitchFamily="34" charset="0"/>
                <a:ea typeface="Gulim" charset="-127"/>
                <a:cs typeface="Arial" panose="020B0604020202020204" pitchFamily="34" charset="0"/>
              </a:rPr>
              <a:t>New products</a:t>
            </a:r>
          </a:p>
        </p:txBody>
      </p:sp>
      <p:sp>
        <p:nvSpPr>
          <p:cNvPr id="39" name="Rektangel med enkelt afrundet hjørne 38"/>
          <p:cNvSpPr/>
          <p:nvPr/>
        </p:nvSpPr>
        <p:spPr>
          <a:xfrm>
            <a:off x="7072506" y="3183549"/>
            <a:ext cx="3375000" cy="550235"/>
          </a:xfrm>
          <a:prstGeom prst="round1Rect">
            <a:avLst/>
          </a:prstGeom>
          <a:noFill/>
          <a:ln w="190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n w="0"/>
                <a:solidFill>
                  <a:schemeClr val="tx1"/>
                </a:solidFill>
                <a:latin typeface="Arial" panose="020B0604020202020204" pitchFamily="34" charset="0"/>
                <a:ea typeface="Gulim" charset="-127"/>
                <a:cs typeface="Arial" panose="020B0604020202020204" pitchFamily="34" charset="0"/>
              </a:rPr>
              <a:t>New branding of current products</a:t>
            </a:r>
          </a:p>
        </p:txBody>
      </p:sp>
      <p:sp>
        <p:nvSpPr>
          <p:cNvPr id="40" name="Rektangel med enkelt afrundet hjørne 39"/>
          <p:cNvSpPr/>
          <p:nvPr/>
        </p:nvSpPr>
        <p:spPr>
          <a:xfrm>
            <a:off x="3351892" y="4328270"/>
            <a:ext cx="1544387" cy="550235"/>
          </a:xfrm>
          <a:prstGeom prst="round1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n w="0"/>
                <a:solidFill>
                  <a:schemeClr val="tx1"/>
                </a:solidFill>
                <a:latin typeface="Arial" panose="020B0604020202020204" pitchFamily="34" charset="0"/>
                <a:ea typeface="Gulim" charset="-127"/>
                <a:cs typeface="Arial" panose="020B0604020202020204" pitchFamily="34" charset="0"/>
              </a:rPr>
              <a:t>Protein </a:t>
            </a:r>
          </a:p>
          <a:p>
            <a:pPr algn="ctr"/>
            <a:r>
              <a:rPr lang="en-US" sz="1300" dirty="0">
                <a:ln w="0"/>
                <a:solidFill>
                  <a:schemeClr val="tx1"/>
                </a:solidFill>
                <a:latin typeface="Arial" panose="020B0604020202020204" pitchFamily="34" charset="0"/>
                <a:ea typeface="Gulim" charset="-127"/>
                <a:cs typeface="Arial" panose="020B0604020202020204" pitchFamily="34" charset="0"/>
              </a:rPr>
              <a:t>products</a:t>
            </a:r>
          </a:p>
        </p:txBody>
      </p:sp>
      <p:sp>
        <p:nvSpPr>
          <p:cNvPr id="41" name="Rektangel med enkelt afrundet hjørne 40"/>
          <p:cNvSpPr/>
          <p:nvPr/>
        </p:nvSpPr>
        <p:spPr>
          <a:xfrm>
            <a:off x="5241893" y="4328270"/>
            <a:ext cx="1485000" cy="550235"/>
          </a:xfrm>
          <a:prstGeom prst="round1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n w="0"/>
                <a:solidFill>
                  <a:schemeClr val="tx1"/>
                </a:solidFill>
                <a:latin typeface="Arial" panose="020B0604020202020204" pitchFamily="34" charset="0"/>
                <a:ea typeface="Gulim" charset="-127"/>
                <a:cs typeface="Arial" panose="020B0604020202020204" pitchFamily="34" charset="0"/>
              </a:rPr>
              <a:t>Breakfast products</a:t>
            </a:r>
          </a:p>
        </p:txBody>
      </p:sp>
      <p:sp>
        <p:nvSpPr>
          <p:cNvPr id="42" name="Rektangel med enkelt afrundet hjørne 41"/>
          <p:cNvSpPr/>
          <p:nvPr/>
        </p:nvSpPr>
        <p:spPr>
          <a:xfrm>
            <a:off x="8962506" y="4328270"/>
            <a:ext cx="1485000" cy="550235"/>
          </a:xfrm>
          <a:prstGeom prst="round1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n w="0"/>
                <a:solidFill>
                  <a:schemeClr val="tx1"/>
                </a:solidFill>
                <a:latin typeface="Arial" panose="020B0604020202020204" pitchFamily="34" charset="0"/>
                <a:ea typeface="Gulim" charset="-127"/>
                <a:cs typeface="Arial" panose="020B0604020202020204" pitchFamily="34" charset="0"/>
              </a:rPr>
              <a:t>Lowering price</a:t>
            </a:r>
          </a:p>
        </p:txBody>
      </p:sp>
      <p:grpSp>
        <p:nvGrpSpPr>
          <p:cNvPr id="119" name="Grupper 118"/>
          <p:cNvGrpSpPr/>
          <p:nvPr/>
        </p:nvGrpSpPr>
        <p:grpSpPr>
          <a:xfrm>
            <a:off x="5038685" y="2598365"/>
            <a:ext cx="3726503" cy="585184"/>
            <a:chOff x="5038685" y="2598365"/>
            <a:chExt cx="3726503" cy="585184"/>
          </a:xfrm>
        </p:grpSpPr>
        <p:cxnSp>
          <p:nvCxnSpPr>
            <p:cNvPr id="55" name="Lige forbindelse 54"/>
            <p:cNvCxnSpPr>
              <a:cxnSpLocks/>
            </p:cNvCxnSpPr>
            <p:nvPr/>
          </p:nvCxnSpPr>
          <p:spPr>
            <a:xfrm flipH="1">
              <a:off x="6899564" y="2598365"/>
              <a:ext cx="128" cy="321480"/>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56" name="Lige forbindelse 55"/>
            <p:cNvCxnSpPr>
              <a:cxnSpLocks/>
            </p:cNvCxnSpPr>
            <p:nvPr/>
          </p:nvCxnSpPr>
          <p:spPr>
            <a:xfrm flipH="1" flipV="1">
              <a:off x="5038685" y="2910302"/>
              <a:ext cx="708" cy="273247"/>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57" name="Lige forbindelse 56"/>
            <p:cNvCxnSpPr>
              <a:cxnSpLocks/>
            </p:cNvCxnSpPr>
            <p:nvPr/>
          </p:nvCxnSpPr>
          <p:spPr>
            <a:xfrm flipH="1" flipV="1">
              <a:off x="8759992" y="2909142"/>
              <a:ext cx="14" cy="274407"/>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58" name="Lige forbindelse 57"/>
            <p:cNvCxnSpPr/>
            <p:nvPr/>
          </p:nvCxnSpPr>
          <p:spPr>
            <a:xfrm>
              <a:off x="5040901" y="2916671"/>
              <a:ext cx="3724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5" name="Rektangel med enkelt afrundet hjørne 64"/>
          <p:cNvSpPr/>
          <p:nvPr/>
        </p:nvSpPr>
        <p:spPr>
          <a:xfrm>
            <a:off x="7072505" y="4328270"/>
            <a:ext cx="1485000" cy="550235"/>
          </a:xfrm>
          <a:prstGeom prst="round1Rect">
            <a:avLst/>
          </a:prstGeom>
          <a:noFill/>
          <a:ln w="1905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160"/>
              </a:lnSpc>
            </a:pPr>
            <a:r>
              <a:rPr lang="en-US" sz="1300" dirty="0">
                <a:ln w="0"/>
                <a:solidFill>
                  <a:schemeClr val="tx1"/>
                </a:solidFill>
                <a:latin typeface="Arial" panose="020B0604020202020204" pitchFamily="34" charset="0"/>
                <a:ea typeface="Gulim" charset="-127"/>
                <a:cs typeface="Arial" panose="020B0604020202020204" pitchFamily="34" charset="0"/>
              </a:rPr>
              <a:t>Adapt current products to millennial trends</a:t>
            </a:r>
          </a:p>
        </p:txBody>
      </p:sp>
      <p:sp>
        <p:nvSpPr>
          <p:cNvPr id="69" name="Kryds 68"/>
          <p:cNvSpPr/>
          <p:nvPr/>
        </p:nvSpPr>
        <p:spPr>
          <a:xfrm rot="2700000">
            <a:off x="10267916" y="4599515"/>
            <a:ext cx="359151" cy="360541"/>
          </a:xfrm>
          <a:prstGeom prst="plus">
            <a:avLst>
              <a:gd name="adj" fmla="val 42115"/>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00" dirty="0">
              <a:latin typeface="Arial" panose="020B0604020202020204" pitchFamily="34" charset="0"/>
              <a:cs typeface="Arial" panose="020B0604020202020204" pitchFamily="34" charset="0"/>
            </a:endParaRPr>
          </a:p>
        </p:txBody>
      </p:sp>
      <p:sp>
        <p:nvSpPr>
          <p:cNvPr id="70" name="L-form 69"/>
          <p:cNvSpPr/>
          <p:nvPr/>
        </p:nvSpPr>
        <p:spPr>
          <a:xfrm rot="18259209">
            <a:off x="8394423" y="4652664"/>
            <a:ext cx="346867" cy="188821"/>
          </a:xfrm>
          <a:prstGeom prst="corner">
            <a:avLst>
              <a:gd name="adj1" fmla="val 31460"/>
              <a:gd name="adj2" fmla="val 2973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00" dirty="0">
              <a:latin typeface="Arial" panose="020B0604020202020204" pitchFamily="34" charset="0"/>
              <a:cs typeface="Arial" panose="020B0604020202020204" pitchFamily="34" charset="0"/>
            </a:endParaRPr>
          </a:p>
        </p:txBody>
      </p:sp>
      <p:sp>
        <p:nvSpPr>
          <p:cNvPr id="71" name="Kryds 70"/>
          <p:cNvSpPr/>
          <p:nvPr/>
        </p:nvSpPr>
        <p:spPr>
          <a:xfrm rot="2700000">
            <a:off x="6526691" y="4599515"/>
            <a:ext cx="359151" cy="360541"/>
          </a:xfrm>
          <a:prstGeom prst="plus">
            <a:avLst>
              <a:gd name="adj" fmla="val 42115"/>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00" dirty="0">
              <a:latin typeface="Arial" panose="020B0604020202020204" pitchFamily="34" charset="0"/>
              <a:cs typeface="Arial" panose="020B0604020202020204" pitchFamily="34" charset="0"/>
            </a:endParaRPr>
          </a:p>
        </p:txBody>
      </p:sp>
      <p:cxnSp>
        <p:nvCxnSpPr>
          <p:cNvPr id="9" name="Lige forbindelse 8"/>
          <p:cNvCxnSpPr/>
          <p:nvPr/>
        </p:nvCxnSpPr>
        <p:spPr>
          <a:xfrm>
            <a:off x="1607326" y="5331524"/>
            <a:ext cx="884016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kstfelt 20"/>
          <p:cNvSpPr txBox="1"/>
          <p:nvPr/>
        </p:nvSpPr>
        <p:spPr>
          <a:xfrm>
            <a:off x="1611014" y="2043880"/>
            <a:ext cx="1148316" cy="492443"/>
          </a:xfrm>
          <a:prstGeom prst="rect">
            <a:avLst/>
          </a:prstGeom>
          <a:noFill/>
        </p:spPr>
        <p:txBody>
          <a:bodyPr wrap="square" rtlCol="0">
            <a:spAutoFit/>
          </a:bodyPr>
          <a:lstStyle/>
          <a:p>
            <a:pPr algn="ctr"/>
            <a:r>
              <a:rPr lang="da-DK" sz="1300" dirty="0">
                <a:latin typeface="Arial" panose="020B0604020202020204" pitchFamily="34" charset="0"/>
                <a:ea typeface="Gulim" charset="-127"/>
                <a:cs typeface="Arial" panose="020B0604020202020204" pitchFamily="34" charset="0"/>
              </a:rPr>
              <a:t>MAIN </a:t>
            </a:r>
          </a:p>
          <a:p>
            <a:pPr algn="ctr"/>
            <a:r>
              <a:rPr lang="da-DK" sz="1300" dirty="0">
                <a:latin typeface="Arial" panose="020B0604020202020204" pitchFamily="34" charset="0"/>
                <a:ea typeface="Gulim" charset="-127"/>
                <a:cs typeface="Arial" panose="020B0604020202020204" pitchFamily="34" charset="0"/>
              </a:rPr>
              <a:t>OBJECTIVE</a:t>
            </a:r>
          </a:p>
        </p:txBody>
      </p:sp>
      <p:sp>
        <p:nvSpPr>
          <p:cNvPr id="72" name="Ellipse 71"/>
          <p:cNvSpPr/>
          <p:nvPr/>
        </p:nvSpPr>
        <p:spPr>
          <a:xfrm>
            <a:off x="1607327" y="2939846"/>
            <a:ext cx="1148316" cy="1046537"/>
          </a:xfrm>
          <a:prstGeom prst="ellipse">
            <a:avLst/>
          </a:prstGeom>
          <a:solidFill>
            <a:schemeClr val="accent4">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n w="0"/>
              <a:solidFill>
                <a:schemeClr val="tx1"/>
              </a:solidFill>
              <a:latin typeface="Arial" panose="020B0604020202020204" pitchFamily="34" charset="0"/>
              <a:ea typeface="Gulim" charset="-127"/>
              <a:cs typeface="Arial" panose="020B0604020202020204" pitchFamily="34" charset="0"/>
            </a:endParaRPr>
          </a:p>
        </p:txBody>
      </p:sp>
      <p:sp>
        <p:nvSpPr>
          <p:cNvPr id="73" name="Tekstfelt 72"/>
          <p:cNvSpPr txBox="1"/>
          <p:nvPr/>
        </p:nvSpPr>
        <p:spPr>
          <a:xfrm>
            <a:off x="1607327" y="3311408"/>
            <a:ext cx="1148316" cy="292388"/>
          </a:xfrm>
          <a:prstGeom prst="rect">
            <a:avLst/>
          </a:prstGeom>
          <a:noFill/>
        </p:spPr>
        <p:txBody>
          <a:bodyPr wrap="square" rtlCol="0">
            <a:spAutoFit/>
          </a:bodyPr>
          <a:lstStyle/>
          <a:p>
            <a:pPr algn="ctr"/>
            <a:r>
              <a:rPr lang="da-DK" sz="1300" dirty="0">
                <a:latin typeface="Arial" panose="020B0604020202020204" pitchFamily="34" charset="0"/>
                <a:ea typeface="Gulim" charset="-127"/>
                <a:cs typeface="Arial" panose="020B0604020202020204" pitchFamily="34" charset="0"/>
              </a:rPr>
              <a:t>APPROACH</a:t>
            </a:r>
          </a:p>
        </p:txBody>
      </p:sp>
      <p:sp>
        <p:nvSpPr>
          <p:cNvPr id="74" name="Ellipse 73"/>
          <p:cNvSpPr/>
          <p:nvPr/>
        </p:nvSpPr>
        <p:spPr>
          <a:xfrm>
            <a:off x="1607327" y="4078564"/>
            <a:ext cx="1148316" cy="1046537"/>
          </a:xfrm>
          <a:prstGeom prst="ellipse">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n w="0"/>
              <a:solidFill>
                <a:schemeClr val="tx1"/>
              </a:solidFill>
              <a:latin typeface="Arial" panose="020B0604020202020204" pitchFamily="34" charset="0"/>
              <a:ea typeface="Gulim" charset="-127"/>
              <a:cs typeface="Arial" panose="020B0604020202020204" pitchFamily="34" charset="0"/>
            </a:endParaRPr>
          </a:p>
        </p:txBody>
      </p:sp>
      <p:sp>
        <p:nvSpPr>
          <p:cNvPr id="75" name="Tekstfelt 74"/>
          <p:cNvSpPr txBox="1"/>
          <p:nvPr/>
        </p:nvSpPr>
        <p:spPr>
          <a:xfrm>
            <a:off x="1607327" y="4446827"/>
            <a:ext cx="1148316" cy="292388"/>
          </a:xfrm>
          <a:prstGeom prst="rect">
            <a:avLst/>
          </a:prstGeom>
          <a:noFill/>
        </p:spPr>
        <p:txBody>
          <a:bodyPr wrap="square" rtlCol="0">
            <a:spAutoFit/>
          </a:bodyPr>
          <a:lstStyle/>
          <a:p>
            <a:pPr algn="ctr"/>
            <a:r>
              <a:rPr lang="da-DK" sz="1300" dirty="0">
                <a:latin typeface="Arial" panose="020B0604020202020204" pitchFamily="34" charset="0"/>
                <a:ea typeface="Gulim" charset="-127"/>
                <a:cs typeface="Arial" panose="020B0604020202020204" pitchFamily="34" charset="0"/>
              </a:rPr>
              <a:t>PATH</a:t>
            </a:r>
          </a:p>
        </p:txBody>
      </p:sp>
      <p:grpSp>
        <p:nvGrpSpPr>
          <p:cNvPr id="103" name="Grupper 102"/>
          <p:cNvGrpSpPr/>
          <p:nvPr/>
        </p:nvGrpSpPr>
        <p:grpSpPr>
          <a:xfrm>
            <a:off x="4124086" y="3733784"/>
            <a:ext cx="1860307" cy="594486"/>
            <a:chOff x="4384474" y="3733784"/>
            <a:chExt cx="2802087" cy="594486"/>
          </a:xfrm>
        </p:grpSpPr>
        <p:cxnSp>
          <p:nvCxnSpPr>
            <p:cNvPr id="99" name="Lige forbindelse 98"/>
            <p:cNvCxnSpPr>
              <a:cxnSpLocks/>
            </p:cNvCxnSpPr>
            <p:nvPr/>
          </p:nvCxnSpPr>
          <p:spPr>
            <a:xfrm flipH="1">
              <a:off x="5762089" y="3733784"/>
              <a:ext cx="1066" cy="325385"/>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00" name="Lige forbindelse 99"/>
            <p:cNvCxnSpPr>
              <a:cxnSpLocks/>
            </p:cNvCxnSpPr>
            <p:nvPr/>
          </p:nvCxnSpPr>
          <p:spPr>
            <a:xfrm flipV="1">
              <a:off x="4384474" y="4048467"/>
              <a:ext cx="68" cy="279803"/>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01" name="Lige forbindelse 100"/>
            <p:cNvCxnSpPr>
              <a:cxnSpLocks/>
            </p:cNvCxnSpPr>
            <p:nvPr/>
          </p:nvCxnSpPr>
          <p:spPr>
            <a:xfrm flipV="1">
              <a:off x="7186561" y="4059169"/>
              <a:ext cx="0" cy="269101"/>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02" name="Lige forbindelse 101"/>
            <p:cNvCxnSpPr/>
            <p:nvPr/>
          </p:nvCxnSpPr>
          <p:spPr>
            <a:xfrm>
              <a:off x="4384474" y="4059169"/>
              <a:ext cx="28020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4" name="Grupper 113"/>
          <p:cNvGrpSpPr/>
          <p:nvPr/>
        </p:nvGrpSpPr>
        <p:grpSpPr>
          <a:xfrm>
            <a:off x="7846242" y="3733493"/>
            <a:ext cx="1860307" cy="594486"/>
            <a:chOff x="4384474" y="3733784"/>
            <a:chExt cx="2802087" cy="594486"/>
          </a:xfrm>
        </p:grpSpPr>
        <p:cxnSp>
          <p:nvCxnSpPr>
            <p:cNvPr id="115" name="Lige forbindelse 114"/>
            <p:cNvCxnSpPr>
              <a:cxnSpLocks/>
            </p:cNvCxnSpPr>
            <p:nvPr/>
          </p:nvCxnSpPr>
          <p:spPr>
            <a:xfrm flipH="1">
              <a:off x="5762089" y="3733784"/>
              <a:ext cx="1066" cy="325385"/>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16" name="Lige forbindelse 115"/>
            <p:cNvCxnSpPr>
              <a:cxnSpLocks/>
            </p:cNvCxnSpPr>
            <p:nvPr/>
          </p:nvCxnSpPr>
          <p:spPr>
            <a:xfrm flipV="1">
              <a:off x="4384474" y="4048467"/>
              <a:ext cx="68" cy="279803"/>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17" name="Lige forbindelse 116"/>
            <p:cNvCxnSpPr>
              <a:cxnSpLocks/>
            </p:cNvCxnSpPr>
            <p:nvPr/>
          </p:nvCxnSpPr>
          <p:spPr>
            <a:xfrm flipV="1">
              <a:off x="7186561" y="4059169"/>
              <a:ext cx="0" cy="269101"/>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18" name="Lige forbindelse 117"/>
            <p:cNvCxnSpPr/>
            <p:nvPr/>
          </p:nvCxnSpPr>
          <p:spPr>
            <a:xfrm>
              <a:off x="4384474" y="4059169"/>
              <a:ext cx="28020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3" name="Kryds 70"/>
          <p:cNvSpPr/>
          <p:nvPr/>
        </p:nvSpPr>
        <p:spPr>
          <a:xfrm rot="2700000">
            <a:off x="4696079" y="4590809"/>
            <a:ext cx="359151" cy="360541"/>
          </a:xfrm>
          <a:prstGeom prst="plus">
            <a:avLst>
              <a:gd name="adj" fmla="val 42115"/>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5644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4EB9F48C-259E-AF4C-93CA-F5F943301CC4}"/>
              </a:ext>
            </a:extLst>
          </p:cNvPr>
          <p:cNvSpPr>
            <a:spLocks noGrp="1"/>
          </p:cNvSpPr>
          <p:nvPr>
            <p:ph type="body" sz="quarter" idx="13"/>
          </p:nvPr>
        </p:nvSpPr>
        <p:spPr/>
        <p:txBody>
          <a:bodyPr/>
          <a:lstStyle/>
          <a:p>
            <a:endParaRPr lang="en-GB"/>
          </a:p>
        </p:txBody>
      </p:sp>
      <p:sp>
        <p:nvSpPr>
          <p:cNvPr id="18" name="Text Placeholder 17">
            <a:extLst>
              <a:ext uri="{FF2B5EF4-FFF2-40B4-BE49-F238E27FC236}">
                <a16:creationId xmlns:a16="http://schemas.microsoft.com/office/drawing/2014/main" id="{06AC2823-A737-674F-92BD-8DD4D3231668}"/>
              </a:ext>
            </a:extLst>
          </p:cNvPr>
          <p:cNvSpPr>
            <a:spLocks noGrp="1"/>
          </p:cNvSpPr>
          <p:nvPr>
            <p:ph type="body" sz="quarter" idx="15"/>
          </p:nvPr>
        </p:nvSpPr>
        <p:spPr/>
        <p:txBody>
          <a:bodyPr/>
          <a:lstStyle/>
          <a:p>
            <a:endParaRPr lang="en-GB"/>
          </a:p>
        </p:txBody>
      </p:sp>
      <p:sp>
        <p:nvSpPr>
          <p:cNvPr id="4" name="Title 3">
            <a:extLst>
              <a:ext uri="{FF2B5EF4-FFF2-40B4-BE49-F238E27FC236}">
                <a16:creationId xmlns:a16="http://schemas.microsoft.com/office/drawing/2014/main" id="{4F851A3F-E410-D145-8304-50137A7C8A32}"/>
              </a:ext>
            </a:extLst>
          </p:cNvPr>
          <p:cNvSpPr>
            <a:spLocks noGrp="1"/>
          </p:cNvSpPr>
          <p:nvPr>
            <p:ph type="title"/>
          </p:nvPr>
        </p:nvSpPr>
        <p:spPr>
          <a:xfrm>
            <a:off x="527050" y="127212"/>
            <a:ext cx="9314374" cy="925103"/>
          </a:xfrm>
          <a:prstGeom prst="rect">
            <a:avLst/>
          </a:prstGeom>
        </p:spPr>
        <p:txBody>
          <a:bodyPr/>
          <a:lstStyle/>
          <a:p>
            <a:r>
              <a:rPr lang="en-GB" dirty="0"/>
              <a:t>Simple solution assessment with explanation</a:t>
            </a:r>
          </a:p>
        </p:txBody>
      </p:sp>
      <p:sp>
        <p:nvSpPr>
          <p:cNvPr id="5" name="Tekstfelt 20">
            <a:extLst>
              <a:ext uri="{FF2B5EF4-FFF2-40B4-BE49-F238E27FC236}">
                <a16:creationId xmlns:a16="http://schemas.microsoft.com/office/drawing/2014/main" id="{6BAB0BCF-DE79-1341-BE78-13D98E9E13D6}"/>
              </a:ext>
            </a:extLst>
          </p:cNvPr>
          <p:cNvSpPr txBox="1"/>
          <p:nvPr/>
        </p:nvSpPr>
        <p:spPr>
          <a:xfrm>
            <a:off x="500062" y="3386493"/>
            <a:ext cx="1865553" cy="261610"/>
          </a:xfrm>
          <a:prstGeom prst="rect">
            <a:avLst/>
          </a:prstGeom>
          <a:noFill/>
        </p:spPr>
        <p:txBody>
          <a:bodyPr wrap="square" rtlCol="0">
            <a:spAutoFit/>
          </a:bodyPr>
          <a:lstStyle/>
          <a:p>
            <a:r>
              <a:rPr lang="en-US" sz="1100" b="1" dirty="0"/>
              <a:t>Feasibility</a:t>
            </a:r>
          </a:p>
        </p:txBody>
      </p:sp>
      <p:sp>
        <p:nvSpPr>
          <p:cNvPr id="7" name="Tekstfelt 71">
            <a:extLst>
              <a:ext uri="{FF2B5EF4-FFF2-40B4-BE49-F238E27FC236}">
                <a16:creationId xmlns:a16="http://schemas.microsoft.com/office/drawing/2014/main" id="{BD9A2A88-3F04-3547-BBD2-5B26C0CB749E}"/>
              </a:ext>
            </a:extLst>
          </p:cNvPr>
          <p:cNvSpPr txBox="1"/>
          <p:nvPr/>
        </p:nvSpPr>
        <p:spPr>
          <a:xfrm>
            <a:off x="496088" y="4386992"/>
            <a:ext cx="1865553" cy="261610"/>
          </a:xfrm>
          <a:prstGeom prst="rect">
            <a:avLst/>
          </a:prstGeom>
          <a:noFill/>
        </p:spPr>
        <p:txBody>
          <a:bodyPr wrap="square" rtlCol="0">
            <a:spAutoFit/>
          </a:bodyPr>
          <a:lstStyle/>
          <a:p>
            <a:r>
              <a:rPr lang="en-US" sz="1100" b="1" dirty="0"/>
              <a:t>Scalability</a:t>
            </a:r>
          </a:p>
        </p:txBody>
      </p:sp>
      <p:sp>
        <p:nvSpPr>
          <p:cNvPr id="8" name="Tekstfelt 80">
            <a:extLst>
              <a:ext uri="{FF2B5EF4-FFF2-40B4-BE49-F238E27FC236}">
                <a16:creationId xmlns:a16="http://schemas.microsoft.com/office/drawing/2014/main" id="{D10E4FFD-C87A-AD47-8978-657A08E339B8}"/>
              </a:ext>
            </a:extLst>
          </p:cNvPr>
          <p:cNvSpPr txBox="1"/>
          <p:nvPr/>
        </p:nvSpPr>
        <p:spPr>
          <a:xfrm>
            <a:off x="496087" y="3888549"/>
            <a:ext cx="1865553" cy="261610"/>
          </a:xfrm>
          <a:prstGeom prst="rect">
            <a:avLst/>
          </a:prstGeom>
          <a:noFill/>
        </p:spPr>
        <p:txBody>
          <a:bodyPr wrap="square" rtlCol="0">
            <a:spAutoFit/>
          </a:bodyPr>
          <a:lstStyle/>
          <a:p>
            <a:r>
              <a:rPr lang="en-US" sz="1100" b="1" dirty="0"/>
              <a:t>Risk</a:t>
            </a:r>
          </a:p>
        </p:txBody>
      </p:sp>
      <p:sp>
        <p:nvSpPr>
          <p:cNvPr id="9" name="Tekstfelt 84">
            <a:extLst>
              <a:ext uri="{FF2B5EF4-FFF2-40B4-BE49-F238E27FC236}">
                <a16:creationId xmlns:a16="http://schemas.microsoft.com/office/drawing/2014/main" id="{93E78218-AB4A-0449-9811-F0A658EDEA91}"/>
              </a:ext>
            </a:extLst>
          </p:cNvPr>
          <p:cNvSpPr txBox="1"/>
          <p:nvPr/>
        </p:nvSpPr>
        <p:spPr>
          <a:xfrm>
            <a:off x="516570" y="2849939"/>
            <a:ext cx="1414955" cy="261610"/>
          </a:xfrm>
          <a:prstGeom prst="rect">
            <a:avLst/>
          </a:prstGeom>
          <a:noFill/>
        </p:spPr>
        <p:txBody>
          <a:bodyPr wrap="square" rtlCol="0">
            <a:spAutoFit/>
          </a:bodyPr>
          <a:lstStyle/>
          <a:p>
            <a:r>
              <a:rPr lang="en-US" sz="1100" b="1" dirty="0"/>
              <a:t>Speed</a:t>
            </a:r>
          </a:p>
        </p:txBody>
      </p:sp>
      <p:cxnSp>
        <p:nvCxnSpPr>
          <p:cNvPr id="10" name="Lige forbindelse 95">
            <a:extLst>
              <a:ext uri="{FF2B5EF4-FFF2-40B4-BE49-F238E27FC236}">
                <a16:creationId xmlns:a16="http://schemas.microsoft.com/office/drawing/2014/main" id="{85B7606E-7639-2D44-891B-DD1BD7037ED2}"/>
              </a:ext>
            </a:extLst>
          </p:cNvPr>
          <p:cNvCxnSpPr>
            <a:cxnSpLocks/>
          </p:cNvCxnSpPr>
          <p:nvPr/>
        </p:nvCxnSpPr>
        <p:spPr>
          <a:xfrm>
            <a:off x="589063" y="2697007"/>
            <a:ext cx="48384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kstfelt 31">
            <a:extLst>
              <a:ext uri="{FF2B5EF4-FFF2-40B4-BE49-F238E27FC236}">
                <a16:creationId xmlns:a16="http://schemas.microsoft.com/office/drawing/2014/main" id="{0497C344-B0AA-414F-B257-011F3B221536}"/>
              </a:ext>
            </a:extLst>
          </p:cNvPr>
          <p:cNvSpPr txBox="1"/>
          <p:nvPr/>
        </p:nvSpPr>
        <p:spPr>
          <a:xfrm>
            <a:off x="1845196" y="2340326"/>
            <a:ext cx="1309483" cy="307777"/>
          </a:xfrm>
          <a:prstGeom prst="rect">
            <a:avLst/>
          </a:prstGeom>
          <a:noFill/>
        </p:spPr>
        <p:txBody>
          <a:bodyPr wrap="square" rtlCol="0" anchor="b">
            <a:spAutoFit/>
          </a:bodyPr>
          <a:lstStyle/>
          <a:p>
            <a:pPr algn="ctr"/>
            <a:r>
              <a:rPr lang="en-GB" sz="1400" dirty="0"/>
              <a:t>Equity-based</a:t>
            </a:r>
          </a:p>
        </p:txBody>
      </p:sp>
      <p:cxnSp>
        <p:nvCxnSpPr>
          <p:cNvPr id="23" name="Lige forbindelse 96">
            <a:extLst>
              <a:ext uri="{FF2B5EF4-FFF2-40B4-BE49-F238E27FC236}">
                <a16:creationId xmlns:a16="http://schemas.microsoft.com/office/drawing/2014/main" id="{BDB3CE0C-B895-364C-8423-579D0608CE1C}"/>
              </a:ext>
            </a:extLst>
          </p:cNvPr>
          <p:cNvCxnSpPr/>
          <p:nvPr/>
        </p:nvCxnSpPr>
        <p:spPr>
          <a:xfrm>
            <a:off x="589061" y="3247921"/>
            <a:ext cx="48384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Lige forbindelse 97">
            <a:extLst>
              <a:ext uri="{FF2B5EF4-FFF2-40B4-BE49-F238E27FC236}">
                <a16:creationId xmlns:a16="http://schemas.microsoft.com/office/drawing/2014/main" id="{DAE2E6A2-5F86-D242-B615-FC81903E2D33}"/>
              </a:ext>
            </a:extLst>
          </p:cNvPr>
          <p:cNvCxnSpPr/>
          <p:nvPr/>
        </p:nvCxnSpPr>
        <p:spPr>
          <a:xfrm>
            <a:off x="589060" y="3751977"/>
            <a:ext cx="48384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Lige forbindelse 98">
            <a:extLst>
              <a:ext uri="{FF2B5EF4-FFF2-40B4-BE49-F238E27FC236}">
                <a16:creationId xmlns:a16="http://schemas.microsoft.com/office/drawing/2014/main" id="{248F7A87-017A-D840-B1CA-38BDF2BC5660}"/>
              </a:ext>
            </a:extLst>
          </p:cNvPr>
          <p:cNvCxnSpPr/>
          <p:nvPr/>
        </p:nvCxnSpPr>
        <p:spPr>
          <a:xfrm>
            <a:off x="589060" y="4256033"/>
            <a:ext cx="48384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kstfelt 31">
            <a:extLst>
              <a:ext uri="{FF2B5EF4-FFF2-40B4-BE49-F238E27FC236}">
                <a16:creationId xmlns:a16="http://schemas.microsoft.com/office/drawing/2014/main" id="{7B49CB12-0F8F-A44B-AB50-8C901A90E93C}"/>
              </a:ext>
            </a:extLst>
          </p:cNvPr>
          <p:cNvSpPr txBox="1"/>
          <p:nvPr/>
        </p:nvSpPr>
        <p:spPr>
          <a:xfrm>
            <a:off x="3111275" y="2340326"/>
            <a:ext cx="1167908" cy="307777"/>
          </a:xfrm>
          <a:prstGeom prst="rect">
            <a:avLst/>
          </a:prstGeom>
          <a:noFill/>
        </p:spPr>
        <p:txBody>
          <a:bodyPr wrap="square" rtlCol="0" anchor="b">
            <a:spAutoFit/>
          </a:bodyPr>
          <a:lstStyle/>
          <a:p>
            <a:pPr algn="ctr"/>
            <a:r>
              <a:rPr lang="en-GB" sz="1400" dirty="0"/>
              <a:t>M&amp;A</a:t>
            </a:r>
          </a:p>
        </p:txBody>
      </p:sp>
      <p:sp>
        <p:nvSpPr>
          <p:cNvPr id="28" name="Tekstfelt 31">
            <a:extLst>
              <a:ext uri="{FF2B5EF4-FFF2-40B4-BE49-F238E27FC236}">
                <a16:creationId xmlns:a16="http://schemas.microsoft.com/office/drawing/2014/main" id="{DE9F2A46-1DC5-8540-A996-D01CA337B21E}"/>
              </a:ext>
            </a:extLst>
          </p:cNvPr>
          <p:cNvSpPr txBox="1"/>
          <p:nvPr/>
        </p:nvSpPr>
        <p:spPr>
          <a:xfrm>
            <a:off x="4293484" y="2340326"/>
            <a:ext cx="1167908" cy="307777"/>
          </a:xfrm>
          <a:prstGeom prst="rect">
            <a:avLst/>
          </a:prstGeom>
          <a:noFill/>
        </p:spPr>
        <p:txBody>
          <a:bodyPr wrap="square" rtlCol="0" anchor="b">
            <a:spAutoFit/>
          </a:bodyPr>
          <a:lstStyle/>
          <a:p>
            <a:pPr algn="ctr"/>
            <a:r>
              <a:rPr lang="en-GB" sz="1400" dirty="0"/>
              <a:t>Franchise</a:t>
            </a:r>
          </a:p>
        </p:txBody>
      </p:sp>
      <p:pic>
        <p:nvPicPr>
          <p:cNvPr id="46" name="Picture 14" descr="black - 1 quarter.emf">
            <a:extLst>
              <a:ext uri="{FF2B5EF4-FFF2-40B4-BE49-F238E27FC236}">
                <a16:creationId xmlns:a16="http://schemas.microsoft.com/office/drawing/2014/main" id="{A68C6AF2-DA20-FB4A-B3D9-80FD5E6C1345}"/>
              </a:ext>
            </a:extLst>
          </p:cNvPr>
          <p:cNvPicPr>
            <a:picLocks noChangeAspect="1"/>
          </p:cNvPicPr>
          <p:nvPr/>
        </p:nvPicPr>
        <p:blipFill>
          <a:blip r:embed="rId3" cstate="print"/>
          <a:srcRect/>
          <a:stretch>
            <a:fillRect/>
          </a:stretch>
        </p:blipFill>
        <p:spPr bwMode="auto">
          <a:xfrm>
            <a:off x="3538571" y="2813588"/>
            <a:ext cx="329316" cy="328173"/>
          </a:xfrm>
          <a:prstGeom prst="rect">
            <a:avLst/>
          </a:prstGeom>
          <a:noFill/>
          <a:ln w="9525">
            <a:noFill/>
            <a:miter lim="800000"/>
            <a:headEnd/>
            <a:tailEnd/>
          </a:ln>
        </p:spPr>
      </p:pic>
      <p:pic>
        <p:nvPicPr>
          <p:cNvPr id="47" name="Picture 16" descr="black - half.emf">
            <a:extLst>
              <a:ext uri="{FF2B5EF4-FFF2-40B4-BE49-F238E27FC236}">
                <a16:creationId xmlns:a16="http://schemas.microsoft.com/office/drawing/2014/main" id="{565B2015-525B-BF45-BEE1-0C2F5377601A}"/>
              </a:ext>
            </a:extLst>
          </p:cNvPr>
          <p:cNvPicPr>
            <a:picLocks noChangeAspect="1"/>
          </p:cNvPicPr>
          <p:nvPr/>
        </p:nvPicPr>
        <p:blipFill>
          <a:blip r:embed="rId4" cstate="print"/>
          <a:srcRect/>
          <a:stretch>
            <a:fillRect/>
          </a:stretch>
        </p:blipFill>
        <p:spPr bwMode="auto">
          <a:xfrm>
            <a:off x="2351361" y="2805543"/>
            <a:ext cx="329316" cy="328174"/>
          </a:xfrm>
          <a:prstGeom prst="rect">
            <a:avLst/>
          </a:prstGeom>
          <a:noFill/>
          <a:ln w="9525">
            <a:noFill/>
            <a:miter lim="800000"/>
            <a:headEnd/>
            <a:tailEnd/>
          </a:ln>
        </p:spPr>
      </p:pic>
      <p:sp>
        <p:nvSpPr>
          <p:cNvPr id="49" name="Ellipse 1">
            <a:extLst>
              <a:ext uri="{FF2B5EF4-FFF2-40B4-BE49-F238E27FC236}">
                <a16:creationId xmlns:a16="http://schemas.microsoft.com/office/drawing/2014/main" id="{CEA88D8D-8CA4-8544-A85A-A4DB141A5D06}"/>
              </a:ext>
            </a:extLst>
          </p:cNvPr>
          <p:cNvSpPr/>
          <p:nvPr/>
        </p:nvSpPr>
        <p:spPr>
          <a:xfrm>
            <a:off x="3557429" y="3363118"/>
            <a:ext cx="291600" cy="2916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9" name="Rounded Rectangle 58">
            <a:extLst>
              <a:ext uri="{FF2B5EF4-FFF2-40B4-BE49-F238E27FC236}">
                <a16:creationId xmlns:a16="http://schemas.microsoft.com/office/drawing/2014/main" id="{BE2B9702-E19D-C147-9361-E1C448F16E71}"/>
              </a:ext>
            </a:extLst>
          </p:cNvPr>
          <p:cNvSpPr/>
          <p:nvPr/>
        </p:nvSpPr>
        <p:spPr>
          <a:xfrm>
            <a:off x="620911" y="5349822"/>
            <a:ext cx="10948800" cy="53422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50" b="1" dirty="0"/>
              <a:t>EH should quickly capture a larger share of the Swedish market by franchising</a:t>
            </a:r>
          </a:p>
        </p:txBody>
      </p:sp>
      <p:sp>
        <p:nvSpPr>
          <p:cNvPr id="61" name="TextBox 60">
            <a:extLst>
              <a:ext uri="{FF2B5EF4-FFF2-40B4-BE49-F238E27FC236}">
                <a16:creationId xmlns:a16="http://schemas.microsoft.com/office/drawing/2014/main" id="{0C1B8A80-B317-8C45-B9FE-3189FE234EF2}"/>
              </a:ext>
            </a:extLst>
          </p:cNvPr>
          <p:cNvSpPr txBox="1"/>
          <p:nvPr/>
        </p:nvSpPr>
        <p:spPr>
          <a:xfrm>
            <a:off x="527050" y="2219168"/>
            <a:ext cx="1561954" cy="461665"/>
          </a:xfrm>
          <a:prstGeom prst="rect">
            <a:avLst/>
          </a:prstGeom>
          <a:noFill/>
        </p:spPr>
        <p:txBody>
          <a:bodyPr wrap="square" rtlCol="0">
            <a:spAutoFit/>
          </a:bodyPr>
          <a:lstStyle/>
          <a:p>
            <a:r>
              <a:rPr lang="en-GB" sz="1200" dirty="0"/>
              <a:t>Expansion</a:t>
            </a:r>
          </a:p>
          <a:p>
            <a:r>
              <a:rPr lang="en-GB" sz="1200" dirty="0"/>
              <a:t>strategies</a:t>
            </a:r>
          </a:p>
        </p:txBody>
      </p:sp>
      <p:pic>
        <p:nvPicPr>
          <p:cNvPr id="62" name="Picture 16" descr="black - half.emf">
            <a:extLst>
              <a:ext uri="{FF2B5EF4-FFF2-40B4-BE49-F238E27FC236}">
                <a16:creationId xmlns:a16="http://schemas.microsoft.com/office/drawing/2014/main" id="{4D07DB3E-355F-CF45-BBDF-18F339774349}"/>
              </a:ext>
            </a:extLst>
          </p:cNvPr>
          <p:cNvPicPr>
            <a:picLocks noChangeAspect="1"/>
          </p:cNvPicPr>
          <p:nvPr/>
        </p:nvPicPr>
        <p:blipFill>
          <a:blip r:embed="rId4" cstate="print"/>
          <a:srcRect/>
          <a:stretch>
            <a:fillRect/>
          </a:stretch>
        </p:blipFill>
        <p:spPr bwMode="auto">
          <a:xfrm>
            <a:off x="3538571" y="4361908"/>
            <a:ext cx="329316" cy="328174"/>
          </a:xfrm>
          <a:prstGeom prst="rect">
            <a:avLst/>
          </a:prstGeom>
          <a:noFill/>
          <a:ln w="9525">
            <a:noFill/>
            <a:miter lim="800000"/>
            <a:headEnd/>
            <a:tailEnd/>
          </a:ln>
        </p:spPr>
      </p:pic>
      <p:sp>
        <p:nvSpPr>
          <p:cNvPr id="69" name="Rektangel 7">
            <a:extLst>
              <a:ext uri="{FF2B5EF4-FFF2-40B4-BE49-F238E27FC236}">
                <a16:creationId xmlns:a16="http://schemas.microsoft.com/office/drawing/2014/main" id="{A0960A4C-876F-3C44-B433-F459E0547804}"/>
              </a:ext>
            </a:extLst>
          </p:cNvPr>
          <p:cNvSpPr/>
          <p:nvPr/>
        </p:nvSpPr>
        <p:spPr>
          <a:xfrm>
            <a:off x="6771804" y="1353454"/>
            <a:ext cx="4895849" cy="553998"/>
          </a:xfrm>
          <a:prstGeom prst="rect">
            <a:avLst/>
          </a:prstGeom>
        </p:spPr>
        <p:txBody>
          <a:bodyPr wrap="square" anchor="b">
            <a:spAutoFit/>
          </a:bodyPr>
          <a:lstStyle/>
          <a:p>
            <a:r>
              <a:rPr lang="en-US" sz="1500" b="1" dirty="0">
                <a:solidFill>
                  <a:schemeClr val="tx1">
                    <a:lumMod val="75000"/>
                    <a:lumOff val="25000"/>
                  </a:schemeClr>
                </a:solidFill>
                <a:latin typeface="Arial" charset="0"/>
                <a:ea typeface="Arial" charset="0"/>
                <a:cs typeface="Arial" charset="0"/>
              </a:rPr>
              <a:t>... which entails considerable benefits for both Espresso House and Stockholm Private Equity</a:t>
            </a:r>
          </a:p>
        </p:txBody>
      </p:sp>
      <p:cxnSp>
        <p:nvCxnSpPr>
          <p:cNvPr id="70" name="Lige forbindelse 4">
            <a:extLst>
              <a:ext uri="{FF2B5EF4-FFF2-40B4-BE49-F238E27FC236}">
                <a16:creationId xmlns:a16="http://schemas.microsoft.com/office/drawing/2014/main" id="{325225F3-F74B-E44A-A62B-020B316EE5CF}"/>
              </a:ext>
            </a:extLst>
          </p:cNvPr>
          <p:cNvCxnSpPr/>
          <p:nvPr/>
        </p:nvCxnSpPr>
        <p:spPr>
          <a:xfrm>
            <a:off x="587375" y="1907452"/>
            <a:ext cx="4835525"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71" name="Rektangel 7">
            <a:extLst>
              <a:ext uri="{FF2B5EF4-FFF2-40B4-BE49-F238E27FC236}">
                <a16:creationId xmlns:a16="http://schemas.microsoft.com/office/drawing/2014/main" id="{28D8E8E2-78D0-C445-9679-AC5ACB737CA1}"/>
              </a:ext>
            </a:extLst>
          </p:cNvPr>
          <p:cNvSpPr/>
          <p:nvPr/>
        </p:nvSpPr>
        <p:spPr>
          <a:xfrm>
            <a:off x="527050" y="1353454"/>
            <a:ext cx="4895849" cy="553998"/>
          </a:xfrm>
          <a:prstGeom prst="rect">
            <a:avLst/>
          </a:prstGeom>
        </p:spPr>
        <p:txBody>
          <a:bodyPr wrap="square" anchor="b">
            <a:spAutoFit/>
          </a:bodyPr>
          <a:lstStyle/>
          <a:p>
            <a:r>
              <a:rPr lang="en-US" sz="1500" b="1" dirty="0">
                <a:solidFill>
                  <a:schemeClr val="tx1">
                    <a:lumMod val="75000"/>
                    <a:lumOff val="25000"/>
                  </a:schemeClr>
                </a:solidFill>
                <a:latin typeface="Arial" charset="0"/>
                <a:ea typeface="Arial" charset="0"/>
                <a:cs typeface="Arial" charset="0"/>
              </a:rPr>
              <a:t>Franchising as future expansion strategy displays the most viable on several criteria...</a:t>
            </a:r>
          </a:p>
        </p:txBody>
      </p:sp>
      <p:cxnSp>
        <p:nvCxnSpPr>
          <p:cNvPr id="72" name="Lige forbindelse 12">
            <a:extLst>
              <a:ext uri="{FF2B5EF4-FFF2-40B4-BE49-F238E27FC236}">
                <a16:creationId xmlns:a16="http://schemas.microsoft.com/office/drawing/2014/main" id="{55983211-DE6F-5748-8DA4-EE49D72F2D5E}"/>
              </a:ext>
            </a:extLst>
          </p:cNvPr>
          <p:cNvCxnSpPr/>
          <p:nvPr/>
        </p:nvCxnSpPr>
        <p:spPr>
          <a:xfrm>
            <a:off x="6734186" y="1907452"/>
            <a:ext cx="4835525" cy="0"/>
          </a:xfrm>
          <a:prstGeom prst="line">
            <a:avLst/>
          </a:prstGeom>
          <a:ln w="28575">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73" name="Oval 72">
            <a:extLst>
              <a:ext uri="{FF2B5EF4-FFF2-40B4-BE49-F238E27FC236}">
                <a16:creationId xmlns:a16="http://schemas.microsoft.com/office/drawing/2014/main" id="{CFE8D5FE-B507-AA4F-B1D8-5EF8D0021D1C}"/>
              </a:ext>
            </a:extLst>
          </p:cNvPr>
          <p:cNvSpPr/>
          <p:nvPr/>
        </p:nvSpPr>
        <p:spPr bwMode="auto">
          <a:xfrm>
            <a:off x="364909" y="1220968"/>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1</a:t>
            </a:r>
          </a:p>
        </p:txBody>
      </p:sp>
      <p:sp>
        <p:nvSpPr>
          <p:cNvPr id="74" name="Oval 73">
            <a:extLst>
              <a:ext uri="{FF2B5EF4-FFF2-40B4-BE49-F238E27FC236}">
                <a16:creationId xmlns:a16="http://schemas.microsoft.com/office/drawing/2014/main" id="{C0B7FB51-DD6F-BA4C-B1AE-B342A5640E10}"/>
              </a:ext>
            </a:extLst>
          </p:cNvPr>
          <p:cNvSpPr/>
          <p:nvPr/>
        </p:nvSpPr>
        <p:spPr bwMode="auto">
          <a:xfrm>
            <a:off x="6612463" y="1246497"/>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2</a:t>
            </a:r>
          </a:p>
        </p:txBody>
      </p:sp>
      <p:pic>
        <p:nvPicPr>
          <p:cNvPr id="77" name="Picture 15" descr="black - 3 quarters.emf">
            <a:extLst>
              <a:ext uri="{FF2B5EF4-FFF2-40B4-BE49-F238E27FC236}">
                <a16:creationId xmlns:a16="http://schemas.microsoft.com/office/drawing/2014/main" id="{0ADC992D-CC1A-B34D-ADAE-576A2547F434}"/>
              </a:ext>
            </a:extLst>
          </p:cNvPr>
          <p:cNvPicPr>
            <a:picLocks noChangeAspect="1"/>
          </p:cNvPicPr>
          <p:nvPr/>
        </p:nvPicPr>
        <p:blipFill>
          <a:blip r:embed="rId5" cstate="print"/>
          <a:srcRect/>
          <a:stretch>
            <a:fillRect/>
          </a:stretch>
        </p:blipFill>
        <p:spPr bwMode="auto">
          <a:xfrm>
            <a:off x="4710541" y="3350963"/>
            <a:ext cx="329316" cy="328174"/>
          </a:xfrm>
          <a:prstGeom prst="rect">
            <a:avLst/>
          </a:prstGeom>
          <a:noFill/>
          <a:ln w="9525">
            <a:noFill/>
            <a:miter lim="800000"/>
            <a:headEnd/>
            <a:tailEnd/>
          </a:ln>
        </p:spPr>
      </p:pic>
      <p:pic>
        <p:nvPicPr>
          <p:cNvPr id="78" name="Picture 16" descr="black - half.emf">
            <a:extLst>
              <a:ext uri="{FF2B5EF4-FFF2-40B4-BE49-F238E27FC236}">
                <a16:creationId xmlns:a16="http://schemas.microsoft.com/office/drawing/2014/main" id="{8C109E9F-F010-8644-B9B9-D7E6DC6B4892}"/>
              </a:ext>
            </a:extLst>
          </p:cNvPr>
          <p:cNvPicPr>
            <a:picLocks noChangeAspect="1"/>
          </p:cNvPicPr>
          <p:nvPr/>
        </p:nvPicPr>
        <p:blipFill>
          <a:blip r:embed="rId4" cstate="print"/>
          <a:srcRect/>
          <a:stretch>
            <a:fillRect/>
          </a:stretch>
        </p:blipFill>
        <p:spPr bwMode="auto">
          <a:xfrm>
            <a:off x="2340998" y="3855851"/>
            <a:ext cx="329316" cy="328174"/>
          </a:xfrm>
          <a:prstGeom prst="rect">
            <a:avLst/>
          </a:prstGeom>
          <a:noFill/>
          <a:ln w="9525">
            <a:noFill/>
            <a:miter lim="800000"/>
            <a:headEnd/>
            <a:tailEnd/>
          </a:ln>
        </p:spPr>
      </p:pic>
      <p:pic>
        <p:nvPicPr>
          <p:cNvPr id="79" name="Picture 14" descr="black - 1 quarter.emf">
            <a:extLst>
              <a:ext uri="{FF2B5EF4-FFF2-40B4-BE49-F238E27FC236}">
                <a16:creationId xmlns:a16="http://schemas.microsoft.com/office/drawing/2014/main" id="{4EC3FC92-E817-8B4B-979A-F58D9E42A7E3}"/>
              </a:ext>
            </a:extLst>
          </p:cNvPr>
          <p:cNvPicPr>
            <a:picLocks noChangeAspect="1"/>
          </p:cNvPicPr>
          <p:nvPr/>
        </p:nvPicPr>
        <p:blipFill>
          <a:blip r:embed="rId3" cstate="print"/>
          <a:srcRect/>
          <a:stretch>
            <a:fillRect/>
          </a:stretch>
        </p:blipFill>
        <p:spPr bwMode="auto">
          <a:xfrm>
            <a:off x="4712780" y="3849057"/>
            <a:ext cx="329316" cy="328173"/>
          </a:xfrm>
          <a:prstGeom prst="rect">
            <a:avLst/>
          </a:prstGeom>
          <a:noFill/>
          <a:ln w="9525">
            <a:noFill/>
            <a:miter lim="800000"/>
            <a:headEnd/>
            <a:tailEnd/>
          </a:ln>
        </p:spPr>
      </p:pic>
      <p:pic>
        <p:nvPicPr>
          <p:cNvPr id="80" name="Picture 15" descr="black - 3 quarters.emf">
            <a:extLst>
              <a:ext uri="{FF2B5EF4-FFF2-40B4-BE49-F238E27FC236}">
                <a16:creationId xmlns:a16="http://schemas.microsoft.com/office/drawing/2014/main" id="{B4B94DC0-A77A-114E-9259-22E151178B67}"/>
              </a:ext>
            </a:extLst>
          </p:cNvPr>
          <p:cNvPicPr>
            <a:picLocks noChangeAspect="1"/>
          </p:cNvPicPr>
          <p:nvPr/>
        </p:nvPicPr>
        <p:blipFill>
          <a:blip r:embed="rId5" cstate="print"/>
          <a:srcRect/>
          <a:stretch>
            <a:fillRect/>
          </a:stretch>
        </p:blipFill>
        <p:spPr bwMode="auto">
          <a:xfrm>
            <a:off x="4710541" y="4372371"/>
            <a:ext cx="329316" cy="328174"/>
          </a:xfrm>
          <a:prstGeom prst="rect">
            <a:avLst/>
          </a:prstGeom>
          <a:noFill/>
          <a:ln w="9525">
            <a:noFill/>
            <a:miter lim="800000"/>
            <a:headEnd/>
            <a:tailEnd/>
          </a:ln>
        </p:spPr>
      </p:pic>
      <p:pic>
        <p:nvPicPr>
          <p:cNvPr id="82" name="Picture 15" descr="black - 3 quarters.emf">
            <a:extLst>
              <a:ext uri="{FF2B5EF4-FFF2-40B4-BE49-F238E27FC236}">
                <a16:creationId xmlns:a16="http://schemas.microsoft.com/office/drawing/2014/main" id="{FB6FC0C7-6B14-6F48-B6E0-FD21B58A2DB2}"/>
              </a:ext>
            </a:extLst>
          </p:cNvPr>
          <p:cNvPicPr>
            <a:picLocks noChangeAspect="1"/>
          </p:cNvPicPr>
          <p:nvPr/>
        </p:nvPicPr>
        <p:blipFill>
          <a:blip r:embed="rId5" cstate="print"/>
          <a:srcRect/>
          <a:stretch>
            <a:fillRect/>
          </a:stretch>
        </p:blipFill>
        <p:spPr bwMode="auto">
          <a:xfrm>
            <a:off x="2346275" y="4357598"/>
            <a:ext cx="329316" cy="328174"/>
          </a:xfrm>
          <a:prstGeom prst="rect">
            <a:avLst/>
          </a:prstGeom>
          <a:noFill/>
          <a:ln w="9525">
            <a:noFill/>
            <a:miter lim="800000"/>
            <a:headEnd/>
            <a:tailEnd/>
          </a:ln>
        </p:spPr>
      </p:pic>
      <p:pic>
        <p:nvPicPr>
          <p:cNvPr id="83" name="Picture 15" descr="black - 3 quarters.emf">
            <a:extLst>
              <a:ext uri="{FF2B5EF4-FFF2-40B4-BE49-F238E27FC236}">
                <a16:creationId xmlns:a16="http://schemas.microsoft.com/office/drawing/2014/main" id="{6FE7930A-490E-1D42-84AF-844478C7B78D}"/>
              </a:ext>
            </a:extLst>
          </p:cNvPr>
          <p:cNvPicPr>
            <a:picLocks noChangeAspect="1"/>
          </p:cNvPicPr>
          <p:nvPr/>
        </p:nvPicPr>
        <p:blipFill>
          <a:blip r:embed="rId5" cstate="print"/>
          <a:srcRect/>
          <a:stretch>
            <a:fillRect/>
          </a:stretch>
        </p:blipFill>
        <p:spPr bwMode="auto">
          <a:xfrm>
            <a:off x="3532669" y="3855148"/>
            <a:ext cx="329316" cy="328174"/>
          </a:xfrm>
          <a:prstGeom prst="rect">
            <a:avLst/>
          </a:prstGeom>
          <a:noFill/>
          <a:ln w="9525">
            <a:noFill/>
            <a:miter lim="800000"/>
            <a:headEnd/>
            <a:tailEnd/>
          </a:ln>
        </p:spPr>
      </p:pic>
      <p:pic>
        <p:nvPicPr>
          <p:cNvPr id="84" name="Picture 16" descr="black - half.emf">
            <a:extLst>
              <a:ext uri="{FF2B5EF4-FFF2-40B4-BE49-F238E27FC236}">
                <a16:creationId xmlns:a16="http://schemas.microsoft.com/office/drawing/2014/main" id="{29FA02E5-C2D0-A54E-A82F-BF357E8F2A7F}"/>
              </a:ext>
            </a:extLst>
          </p:cNvPr>
          <p:cNvPicPr>
            <a:picLocks noChangeAspect="1"/>
          </p:cNvPicPr>
          <p:nvPr/>
        </p:nvPicPr>
        <p:blipFill>
          <a:blip r:embed="rId4" cstate="print"/>
          <a:srcRect/>
          <a:stretch>
            <a:fillRect/>
          </a:stretch>
        </p:blipFill>
        <p:spPr bwMode="auto">
          <a:xfrm>
            <a:off x="2351361" y="3338933"/>
            <a:ext cx="329316" cy="328174"/>
          </a:xfrm>
          <a:prstGeom prst="rect">
            <a:avLst/>
          </a:prstGeom>
          <a:noFill/>
          <a:ln w="9525">
            <a:noFill/>
            <a:miter lim="800000"/>
            <a:headEnd/>
            <a:tailEnd/>
          </a:ln>
        </p:spPr>
      </p:pic>
      <p:pic>
        <p:nvPicPr>
          <p:cNvPr id="85" name="Picture 15" descr="black - 3 quarters.emf">
            <a:extLst>
              <a:ext uri="{FF2B5EF4-FFF2-40B4-BE49-F238E27FC236}">
                <a16:creationId xmlns:a16="http://schemas.microsoft.com/office/drawing/2014/main" id="{4447CF6F-FD3B-9E4F-A15E-326CBA008FCB}"/>
              </a:ext>
            </a:extLst>
          </p:cNvPr>
          <p:cNvPicPr>
            <a:picLocks noChangeAspect="1"/>
          </p:cNvPicPr>
          <p:nvPr/>
        </p:nvPicPr>
        <p:blipFill>
          <a:blip r:embed="rId5" cstate="print"/>
          <a:srcRect/>
          <a:stretch>
            <a:fillRect/>
          </a:stretch>
        </p:blipFill>
        <p:spPr bwMode="auto">
          <a:xfrm>
            <a:off x="4710541" y="2802634"/>
            <a:ext cx="329316" cy="328174"/>
          </a:xfrm>
          <a:prstGeom prst="rect">
            <a:avLst/>
          </a:prstGeom>
          <a:noFill/>
          <a:ln w="9525">
            <a:noFill/>
            <a:miter lim="800000"/>
            <a:headEnd/>
            <a:tailEnd/>
          </a:ln>
        </p:spPr>
      </p:pic>
      <p:sp>
        <p:nvSpPr>
          <p:cNvPr id="86" name="Rectangle 85">
            <a:extLst>
              <a:ext uri="{FF2B5EF4-FFF2-40B4-BE49-F238E27FC236}">
                <a16:creationId xmlns:a16="http://schemas.microsoft.com/office/drawing/2014/main" id="{0C0BDAD8-D031-634E-97CF-E4A7D144E7F0}"/>
              </a:ext>
            </a:extLst>
          </p:cNvPr>
          <p:cNvSpPr/>
          <p:nvPr/>
        </p:nvSpPr>
        <p:spPr>
          <a:xfrm>
            <a:off x="1845196" y="2219168"/>
            <a:ext cx="2433987" cy="268811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Oval 86">
            <a:extLst>
              <a:ext uri="{FF2B5EF4-FFF2-40B4-BE49-F238E27FC236}">
                <a16:creationId xmlns:a16="http://schemas.microsoft.com/office/drawing/2014/main" id="{AACAA450-668C-8240-8B05-9815193B8519}"/>
              </a:ext>
            </a:extLst>
          </p:cNvPr>
          <p:cNvSpPr/>
          <p:nvPr/>
        </p:nvSpPr>
        <p:spPr bwMode="auto">
          <a:xfrm>
            <a:off x="477579" y="5223119"/>
            <a:ext cx="286664" cy="286664"/>
          </a:xfrm>
          <a:prstGeom prst="ellipse">
            <a:avLst/>
          </a:prstGeom>
          <a:solidFill>
            <a:srgbClr val="CCCCCC"/>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474" b="1" dirty="0">
                <a:solidFill>
                  <a:srgbClr val="000000"/>
                </a:solidFill>
                <a:latin typeface="Verdana" pitchFamily="34" charset="0"/>
              </a:rPr>
              <a:t>3</a:t>
            </a:r>
          </a:p>
        </p:txBody>
      </p:sp>
      <p:sp>
        <p:nvSpPr>
          <p:cNvPr id="95" name="Rectangle 94">
            <a:extLst>
              <a:ext uri="{FF2B5EF4-FFF2-40B4-BE49-F238E27FC236}">
                <a16:creationId xmlns:a16="http://schemas.microsoft.com/office/drawing/2014/main" id="{A2E57275-3034-1D4B-8AD5-3A62394E1776}"/>
              </a:ext>
            </a:extLst>
          </p:cNvPr>
          <p:cNvSpPr/>
          <p:nvPr/>
        </p:nvSpPr>
        <p:spPr>
          <a:xfrm>
            <a:off x="4345297" y="2370223"/>
            <a:ext cx="1093318" cy="235774"/>
          </a:xfrm>
          <a:prstGeom prst="rect">
            <a:avLst/>
          </a:prstGeom>
          <a:noFill/>
          <a:ln w="317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Half Frame 95">
            <a:extLst>
              <a:ext uri="{FF2B5EF4-FFF2-40B4-BE49-F238E27FC236}">
                <a16:creationId xmlns:a16="http://schemas.microsoft.com/office/drawing/2014/main" id="{4A133C43-91E3-9843-BDE4-11BE4218D990}"/>
              </a:ext>
            </a:extLst>
          </p:cNvPr>
          <p:cNvSpPr/>
          <p:nvPr/>
        </p:nvSpPr>
        <p:spPr>
          <a:xfrm rot="16200000">
            <a:off x="5728220" y="3858789"/>
            <a:ext cx="2448000" cy="104400"/>
          </a:xfrm>
          <a:prstGeom prst="halfFram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7" name="Half Frame 96">
            <a:extLst>
              <a:ext uri="{FF2B5EF4-FFF2-40B4-BE49-F238E27FC236}">
                <a16:creationId xmlns:a16="http://schemas.microsoft.com/office/drawing/2014/main" id="{909E191D-0A34-D148-BB8F-CFE46AF9EAD5}"/>
              </a:ext>
            </a:extLst>
          </p:cNvPr>
          <p:cNvSpPr/>
          <p:nvPr/>
        </p:nvSpPr>
        <p:spPr>
          <a:xfrm rot="16200000" flipH="1">
            <a:off x="5475352" y="3587954"/>
            <a:ext cx="2925211" cy="82800"/>
          </a:xfrm>
          <a:prstGeom prst="halfFram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cxnSp>
        <p:nvCxnSpPr>
          <p:cNvPr id="98" name="Elbow Connector 97">
            <a:extLst>
              <a:ext uri="{FF2B5EF4-FFF2-40B4-BE49-F238E27FC236}">
                <a16:creationId xmlns:a16="http://schemas.microsoft.com/office/drawing/2014/main" id="{D7239CB5-4167-6746-8249-66F765830AB9}"/>
              </a:ext>
            </a:extLst>
          </p:cNvPr>
          <p:cNvCxnSpPr>
            <a:cxnSpLocks/>
            <a:stCxn id="95" idx="3"/>
          </p:cNvCxnSpPr>
          <p:nvPr/>
        </p:nvCxnSpPr>
        <p:spPr>
          <a:xfrm>
            <a:off x="5438615" y="2488110"/>
            <a:ext cx="1484292" cy="1099834"/>
          </a:xfrm>
          <a:prstGeom prst="bentConnector3">
            <a:avLst>
              <a:gd name="adj1" fmla="val 50000"/>
            </a:avLst>
          </a:prstGeom>
          <a:ln w="2540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00" name="Rectangle 6">
            <a:extLst>
              <a:ext uri="{FF2B5EF4-FFF2-40B4-BE49-F238E27FC236}">
                <a16:creationId xmlns:a16="http://schemas.microsoft.com/office/drawing/2014/main" id="{11232D8D-2258-5448-B3E1-B560E4BB87C2}"/>
              </a:ext>
            </a:extLst>
          </p:cNvPr>
          <p:cNvSpPr/>
          <p:nvPr/>
        </p:nvSpPr>
        <p:spPr>
          <a:xfrm>
            <a:off x="7315853" y="2143414"/>
            <a:ext cx="4253858" cy="9041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102" name="TextBox 101">
            <a:extLst>
              <a:ext uri="{FF2B5EF4-FFF2-40B4-BE49-F238E27FC236}">
                <a16:creationId xmlns:a16="http://schemas.microsoft.com/office/drawing/2014/main" id="{B4FDEFB7-B136-1648-A739-FC573D4E1A3B}"/>
              </a:ext>
            </a:extLst>
          </p:cNvPr>
          <p:cNvSpPr txBox="1"/>
          <p:nvPr/>
        </p:nvSpPr>
        <p:spPr>
          <a:xfrm>
            <a:off x="8168687" y="2163625"/>
            <a:ext cx="3401023" cy="883915"/>
          </a:xfrm>
          <a:prstGeom prst="rect">
            <a:avLst/>
          </a:prstGeom>
          <a:noFill/>
        </p:spPr>
        <p:txBody>
          <a:bodyPr wrap="square" rtlCol="0" anchor="ctr">
            <a:noAutofit/>
          </a:bodyPr>
          <a:lstStyle/>
          <a:p>
            <a:r>
              <a:rPr lang="en-GB" b="1" dirty="0"/>
              <a:t>Agile and scalable</a:t>
            </a:r>
          </a:p>
          <a:p>
            <a:r>
              <a:rPr lang="en-GB" sz="1200" dirty="0"/>
              <a:t>Quickly establish new outlets and win over struggling independent ones</a:t>
            </a:r>
          </a:p>
        </p:txBody>
      </p:sp>
      <p:pic>
        <p:nvPicPr>
          <p:cNvPr id="104" name="Picture 103">
            <a:extLst>
              <a:ext uri="{FF2B5EF4-FFF2-40B4-BE49-F238E27FC236}">
                <a16:creationId xmlns:a16="http://schemas.microsoft.com/office/drawing/2014/main" id="{563875B7-9E09-9C4D-A5F5-6127450F4F91}"/>
              </a:ext>
            </a:extLst>
          </p:cNvPr>
          <p:cNvPicPr>
            <a:picLocks noChangeAspect="1"/>
          </p:cNvPicPr>
          <p:nvPr/>
        </p:nvPicPr>
        <p:blipFill>
          <a:blip r:embed="rId6"/>
          <a:stretch>
            <a:fillRect/>
          </a:stretch>
        </p:blipFill>
        <p:spPr>
          <a:xfrm>
            <a:off x="7445270" y="2298477"/>
            <a:ext cx="594000" cy="594000"/>
          </a:xfrm>
          <a:prstGeom prst="rect">
            <a:avLst/>
          </a:prstGeom>
        </p:spPr>
      </p:pic>
      <p:sp>
        <p:nvSpPr>
          <p:cNvPr id="105" name="Rectangle 6">
            <a:extLst>
              <a:ext uri="{FF2B5EF4-FFF2-40B4-BE49-F238E27FC236}">
                <a16:creationId xmlns:a16="http://schemas.microsoft.com/office/drawing/2014/main" id="{E7270FC0-AC42-D047-8947-FBC20048B231}"/>
              </a:ext>
            </a:extLst>
          </p:cNvPr>
          <p:cNvSpPr/>
          <p:nvPr/>
        </p:nvSpPr>
        <p:spPr>
          <a:xfrm>
            <a:off x="7315853" y="3181927"/>
            <a:ext cx="4253858" cy="9041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106" name="TextBox 105">
            <a:extLst>
              <a:ext uri="{FF2B5EF4-FFF2-40B4-BE49-F238E27FC236}">
                <a16:creationId xmlns:a16="http://schemas.microsoft.com/office/drawing/2014/main" id="{257D52CD-EEED-1B45-B7B9-4FA1FFE18A6E}"/>
              </a:ext>
            </a:extLst>
          </p:cNvPr>
          <p:cNvSpPr txBox="1"/>
          <p:nvPr/>
        </p:nvSpPr>
        <p:spPr>
          <a:xfrm>
            <a:off x="8168687" y="3202138"/>
            <a:ext cx="3401023" cy="883915"/>
          </a:xfrm>
          <a:prstGeom prst="rect">
            <a:avLst/>
          </a:prstGeom>
          <a:noFill/>
        </p:spPr>
        <p:txBody>
          <a:bodyPr wrap="square" rtlCol="0" anchor="ctr">
            <a:noAutofit/>
          </a:bodyPr>
          <a:lstStyle/>
          <a:p>
            <a:r>
              <a:rPr lang="en-GB" b="1" dirty="0"/>
              <a:t>Minimal CAPEX</a:t>
            </a:r>
          </a:p>
          <a:p>
            <a:r>
              <a:rPr lang="en-GB" sz="1200" dirty="0"/>
              <a:t>Bear less financial risk</a:t>
            </a:r>
          </a:p>
        </p:txBody>
      </p:sp>
      <p:sp>
        <p:nvSpPr>
          <p:cNvPr id="108" name="Rectangle 6">
            <a:extLst>
              <a:ext uri="{FF2B5EF4-FFF2-40B4-BE49-F238E27FC236}">
                <a16:creationId xmlns:a16="http://schemas.microsoft.com/office/drawing/2014/main" id="{9BC04259-2C45-AF42-AE34-EAE05DEF4C4B}"/>
              </a:ext>
            </a:extLst>
          </p:cNvPr>
          <p:cNvSpPr/>
          <p:nvPr/>
        </p:nvSpPr>
        <p:spPr>
          <a:xfrm>
            <a:off x="7315853" y="4235822"/>
            <a:ext cx="4253858" cy="9041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C5349913-6E84-3D41-90B1-BBC7E5DCC66B}"/>
              </a:ext>
            </a:extLst>
          </p:cNvPr>
          <p:cNvSpPr txBox="1"/>
          <p:nvPr/>
        </p:nvSpPr>
        <p:spPr>
          <a:xfrm>
            <a:off x="8168687" y="4256033"/>
            <a:ext cx="3401023" cy="883915"/>
          </a:xfrm>
          <a:prstGeom prst="rect">
            <a:avLst/>
          </a:prstGeom>
          <a:noFill/>
        </p:spPr>
        <p:txBody>
          <a:bodyPr wrap="square" rtlCol="0" anchor="ctr">
            <a:noAutofit/>
          </a:bodyPr>
          <a:lstStyle/>
          <a:p>
            <a:r>
              <a:rPr lang="en-GB" b="1" dirty="0"/>
              <a:t>Less initial research</a:t>
            </a:r>
          </a:p>
          <a:p>
            <a:r>
              <a:rPr lang="en-GB" sz="1100" dirty="0"/>
              <a:t>Utilize franchisee’s local knowledge</a:t>
            </a:r>
            <a:endParaRPr lang="en-GB" sz="1100" b="1" dirty="0"/>
          </a:p>
        </p:txBody>
      </p:sp>
      <p:pic>
        <p:nvPicPr>
          <p:cNvPr id="112" name="Picture 111">
            <a:extLst>
              <a:ext uri="{FF2B5EF4-FFF2-40B4-BE49-F238E27FC236}">
                <a16:creationId xmlns:a16="http://schemas.microsoft.com/office/drawing/2014/main" id="{F6EAB097-DF96-9A4C-9CAA-EDDAD94D478C}"/>
              </a:ext>
            </a:extLst>
          </p:cNvPr>
          <p:cNvPicPr>
            <a:picLocks noChangeAspect="1"/>
          </p:cNvPicPr>
          <p:nvPr/>
        </p:nvPicPr>
        <p:blipFill>
          <a:blip r:embed="rId7"/>
          <a:stretch>
            <a:fillRect/>
          </a:stretch>
        </p:blipFill>
        <p:spPr>
          <a:xfrm>
            <a:off x="7445270" y="3346545"/>
            <a:ext cx="594000" cy="594000"/>
          </a:xfrm>
          <a:prstGeom prst="rect">
            <a:avLst/>
          </a:prstGeom>
        </p:spPr>
      </p:pic>
      <p:pic>
        <p:nvPicPr>
          <p:cNvPr id="116" name="Picture 115">
            <a:extLst>
              <a:ext uri="{FF2B5EF4-FFF2-40B4-BE49-F238E27FC236}">
                <a16:creationId xmlns:a16="http://schemas.microsoft.com/office/drawing/2014/main" id="{4749F6C9-1579-D74C-889A-C885CDBC975D}"/>
              </a:ext>
            </a:extLst>
          </p:cNvPr>
          <p:cNvPicPr>
            <a:picLocks noChangeAspect="1"/>
          </p:cNvPicPr>
          <p:nvPr/>
        </p:nvPicPr>
        <p:blipFill>
          <a:blip r:embed="rId8"/>
          <a:stretch>
            <a:fillRect/>
          </a:stretch>
        </p:blipFill>
        <p:spPr>
          <a:xfrm>
            <a:off x="7445270" y="4397881"/>
            <a:ext cx="594000" cy="594000"/>
          </a:xfrm>
          <a:prstGeom prst="rect">
            <a:avLst/>
          </a:prstGeom>
        </p:spPr>
      </p:pic>
    </p:spTree>
    <p:extLst>
      <p:ext uri="{BB962C8B-B14F-4D97-AF65-F5344CB8AC3E}">
        <p14:creationId xmlns:p14="http://schemas.microsoft.com/office/powerpoint/2010/main" val="11401361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tekst 5"/>
          <p:cNvSpPr>
            <a:spLocks noGrp="1"/>
          </p:cNvSpPr>
          <p:nvPr>
            <p:ph type="body" sz="quarter" idx="13"/>
          </p:nvPr>
        </p:nvSpPr>
        <p:spPr/>
        <p:txBody>
          <a:bodyPr/>
          <a:lstStyle/>
          <a:p>
            <a:endParaRPr lang="en-US"/>
          </a:p>
        </p:txBody>
      </p:sp>
      <p:sp>
        <p:nvSpPr>
          <p:cNvPr id="14" name="Pladsholder til tekst 13"/>
          <p:cNvSpPr>
            <a:spLocks noGrp="1"/>
          </p:cNvSpPr>
          <p:nvPr>
            <p:ph type="body" sz="quarter" idx="15"/>
          </p:nvPr>
        </p:nvSpPr>
        <p:spPr/>
        <p:txBody>
          <a:bodyPr/>
          <a:lstStyle/>
          <a:p>
            <a:endParaRPr lang="en-US"/>
          </a:p>
        </p:txBody>
      </p:sp>
      <p:sp>
        <p:nvSpPr>
          <p:cNvPr id="16" name="Titel 15"/>
          <p:cNvSpPr>
            <a:spLocks noGrp="1"/>
          </p:cNvSpPr>
          <p:nvPr>
            <p:ph type="title"/>
          </p:nvPr>
        </p:nvSpPr>
        <p:spPr>
          <a:xfrm>
            <a:off x="527050" y="127212"/>
            <a:ext cx="9314374" cy="925103"/>
          </a:xfrm>
          <a:prstGeom prst="rect">
            <a:avLst/>
          </a:prstGeom>
        </p:spPr>
        <p:txBody>
          <a:bodyPr/>
          <a:lstStyle/>
          <a:p>
            <a:r>
              <a:rPr lang="da-DK" dirty="0"/>
              <a:t>Evaluation slide – Harvey Balls</a:t>
            </a:r>
          </a:p>
        </p:txBody>
      </p:sp>
      <p:sp>
        <p:nvSpPr>
          <p:cNvPr id="21" name="Tekstfelt 20"/>
          <p:cNvSpPr txBox="1"/>
          <p:nvPr/>
        </p:nvSpPr>
        <p:spPr>
          <a:xfrm>
            <a:off x="700934" y="3598232"/>
            <a:ext cx="1865553" cy="261610"/>
          </a:xfrm>
          <a:prstGeom prst="rect">
            <a:avLst/>
          </a:prstGeom>
          <a:noFill/>
        </p:spPr>
        <p:txBody>
          <a:bodyPr wrap="square" rtlCol="0">
            <a:spAutoFit/>
          </a:bodyPr>
          <a:lstStyle/>
          <a:p>
            <a:r>
              <a:rPr lang="en-US" sz="1100" b="1" dirty="0"/>
              <a:t>Business Preference</a:t>
            </a:r>
          </a:p>
        </p:txBody>
      </p:sp>
      <p:sp>
        <p:nvSpPr>
          <p:cNvPr id="23" name="Tekstfelt 22"/>
          <p:cNvSpPr txBox="1"/>
          <p:nvPr/>
        </p:nvSpPr>
        <p:spPr>
          <a:xfrm>
            <a:off x="700934" y="5259860"/>
            <a:ext cx="1865553" cy="261610"/>
          </a:xfrm>
          <a:prstGeom prst="rect">
            <a:avLst/>
          </a:prstGeom>
          <a:noFill/>
        </p:spPr>
        <p:txBody>
          <a:bodyPr wrap="square" rtlCol="0">
            <a:spAutoFit/>
          </a:bodyPr>
          <a:lstStyle/>
          <a:p>
            <a:r>
              <a:rPr lang="en-US" sz="1100" b="1" dirty="0"/>
              <a:t>Conclusion</a:t>
            </a:r>
          </a:p>
        </p:txBody>
      </p:sp>
      <p:sp>
        <p:nvSpPr>
          <p:cNvPr id="39" name="Tekstfelt 38"/>
          <p:cNvSpPr txBox="1"/>
          <p:nvPr/>
        </p:nvSpPr>
        <p:spPr>
          <a:xfrm>
            <a:off x="2423592" y="5423930"/>
            <a:ext cx="1265938" cy="738664"/>
          </a:xfrm>
          <a:prstGeom prst="rect">
            <a:avLst/>
          </a:prstGeom>
          <a:noFill/>
        </p:spPr>
        <p:txBody>
          <a:bodyPr wrap="square" rtlCol="0">
            <a:spAutoFit/>
          </a:bodyPr>
          <a:lstStyle/>
          <a:p>
            <a:pPr algn="ctr"/>
            <a:r>
              <a:rPr lang="en-US" sz="1050" dirty="0"/>
              <a:t>Second best on preferences, but very competitive price.</a:t>
            </a:r>
          </a:p>
        </p:txBody>
      </p:sp>
      <p:sp>
        <p:nvSpPr>
          <p:cNvPr id="41" name="Tekstfelt 40"/>
          <p:cNvSpPr txBox="1"/>
          <p:nvPr/>
        </p:nvSpPr>
        <p:spPr>
          <a:xfrm>
            <a:off x="4273164" y="5441977"/>
            <a:ext cx="1315590" cy="577081"/>
          </a:xfrm>
          <a:prstGeom prst="rect">
            <a:avLst/>
          </a:prstGeom>
          <a:noFill/>
        </p:spPr>
        <p:txBody>
          <a:bodyPr wrap="square" rtlCol="0">
            <a:spAutoFit/>
          </a:bodyPr>
          <a:lstStyle/>
          <a:p>
            <a:pPr algn="ctr"/>
            <a:r>
              <a:rPr lang="en-US" sz="1050" dirty="0"/>
              <a:t>Medium business preference, high price.</a:t>
            </a:r>
          </a:p>
        </p:txBody>
      </p:sp>
      <p:sp>
        <p:nvSpPr>
          <p:cNvPr id="47" name="Freeform 69"/>
          <p:cNvSpPr>
            <a:spLocks/>
          </p:cNvSpPr>
          <p:nvPr/>
        </p:nvSpPr>
        <p:spPr bwMode="auto">
          <a:xfrm>
            <a:off x="2946357" y="5243933"/>
            <a:ext cx="201286" cy="191837"/>
          </a:xfrm>
          <a:custGeom>
            <a:avLst/>
            <a:gdLst>
              <a:gd name="T0" fmla="*/ 128239 w 2969"/>
              <a:gd name="T1" fmla="*/ 210070 h 2904"/>
              <a:gd name="T2" fmla="*/ 180173 w 2969"/>
              <a:gd name="T3" fmla="*/ 121292 h 2904"/>
              <a:gd name="T4" fmla="*/ 222995 w 2969"/>
              <a:gd name="T5" fmla="*/ 61478 h 2904"/>
              <a:gd name="T6" fmla="*/ 247140 w 2969"/>
              <a:gd name="T7" fmla="*/ 34401 h 2904"/>
              <a:gd name="T8" fmla="*/ 261945 w 2969"/>
              <a:gd name="T9" fmla="*/ 18088 h 2904"/>
              <a:gd name="T10" fmla="*/ 276865 w 2969"/>
              <a:gd name="T11" fmla="*/ 7213 h 2904"/>
              <a:gd name="T12" fmla="*/ 286204 w 2969"/>
              <a:gd name="T13" fmla="*/ 5438 h 2904"/>
              <a:gd name="T14" fmla="*/ 304767 w 2969"/>
              <a:gd name="T15" fmla="*/ 1776 h 2904"/>
              <a:gd name="T16" fmla="*/ 332556 w 2969"/>
              <a:gd name="T17" fmla="*/ 0 h 2904"/>
              <a:gd name="T18" fmla="*/ 338137 w 2969"/>
              <a:gd name="T19" fmla="*/ 3551 h 2904"/>
              <a:gd name="T20" fmla="*/ 336315 w 2969"/>
              <a:gd name="T21" fmla="*/ 7213 h 2904"/>
              <a:gd name="T22" fmla="*/ 325154 w 2969"/>
              <a:gd name="T23" fmla="*/ 16202 h 2904"/>
              <a:gd name="T24" fmla="*/ 280623 w 2969"/>
              <a:gd name="T25" fmla="*/ 63365 h 2904"/>
              <a:gd name="T26" fmla="*/ 232220 w 2969"/>
              <a:gd name="T27" fmla="*/ 126730 h 2904"/>
              <a:gd name="T28" fmla="*/ 185753 w 2969"/>
              <a:gd name="T29" fmla="*/ 199194 h 2904"/>
              <a:gd name="T30" fmla="*/ 146803 w 2969"/>
              <a:gd name="T31" fmla="*/ 276986 h 2904"/>
              <a:gd name="T32" fmla="*/ 135642 w 2969"/>
              <a:gd name="T33" fmla="*/ 302398 h 2904"/>
              <a:gd name="T34" fmla="*/ 128239 w 2969"/>
              <a:gd name="T35" fmla="*/ 315049 h 2904"/>
              <a:gd name="T36" fmla="*/ 118900 w 2969"/>
              <a:gd name="T37" fmla="*/ 320486 h 2904"/>
              <a:gd name="T38" fmla="*/ 96578 w 2969"/>
              <a:gd name="T39" fmla="*/ 322262 h 2904"/>
              <a:gd name="T40" fmla="*/ 79836 w 2969"/>
              <a:gd name="T41" fmla="*/ 320486 h 2904"/>
              <a:gd name="T42" fmla="*/ 72434 w 2969"/>
              <a:gd name="T43" fmla="*/ 318711 h 2904"/>
              <a:gd name="T44" fmla="*/ 63095 w 2969"/>
              <a:gd name="T45" fmla="*/ 306060 h 2904"/>
              <a:gd name="T46" fmla="*/ 37128 w 2969"/>
              <a:gd name="T47" fmla="*/ 271548 h 2904"/>
              <a:gd name="T48" fmla="*/ 7403 w 2969"/>
              <a:gd name="T49" fmla="*/ 239033 h 2904"/>
              <a:gd name="T50" fmla="*/ 0 w 2969"/>
              <a:gd name="T51" fmla="*/ 226271 h 2904"/>
              <a:gd name="T52" fmla="*/ 3644 w 2969"/>
              <a:gd name="T53" fmla="*/ 217283 h 2904"/>
              <a:gd name="T54" fmla="*/ 25967 w 2969"/>
              <a:gd name="T55" fmla="*/ 200970 h 2904"/>
              <a:gd name="T56" fmla="*/ 50111 w 2969"/>
              <a:gd name="T57" fmla="*/ 202745 h 2904"/>
              <a:gd name="T58" fmla="*/ 65031 w 2969"/>
              <a:gd name="T59" fmla="*/ 211845 h 2904"/>
              <a:gd name="T60" fmla="*/ 83595 w 2969"/>
              <a:gd name="T61" fmla="*/ 228158 h 2904"/>
              <a:gd name="T62" fmla="*/ 103981 w 2969"/>
              <a:gd name="T63" fmla="*/ 257122 h 29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9"/>
              <a:gd name="T97" fmla="*/ 0 h 2904"/>
              <a:gd name="T98" fmla="*/ 2969 w 2969"/>
              <a:gd name="T99" fmla="*/ 2904 h 29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9" h="2904">
                <a:moveTo>
                  <a:pt x="913" y="2317"/>
                </a:moveTo>
                <a:lnTo>
                  <a:pt x="1126" y="1893"/>
                </a:lnTo>
                <a:lnTo>
                  <a:pt x="1338" y="1485"/>
                </a:lnTo>
                <a:lnTo>
                  <a:pt x="1582" y="1093"/>
                </a:lnTo>
                <a:lnTo>
                  <a:pt x="1843" y="718"/>
                </a:lnTo>
                <a:lnTo>
                  <a:pt x="1958" y="554"/>
                </a:lnTo>
                <a:lnTo>
                  <a:pt x="2072" y="424"/>
                </a:lnTo>
                <a:lnTo>
                  <a:pt x="2170" y="310"/>
                </a:lnTo>
                <a:lnTo>
                  <a:pt x="2235" y="228"/>
                </a:lnTo>
                <a:lnTo>
                  <a:pt x="2300" y="163"/>
                </a:lnTo>
                <a:lnTo>
                  <a:pt x="2366" y="114"/>
                </a:lnTo>
                <a:lnTo>
                  <a:pt x="2431" y="65"/>
                </a:lnTo>
                <a:lnTo>
                  <a:pt x="2464" y="65"/>
                </a:lnTo>
                <a:lnTo>
                  <a:pt x="2513" y="49"/>
                </a:lnTo>
                <a:lnTo>
                  <a:pt x="2594" y="32"/>
                </a:lnTo>
                <a:lnTo>
                  <a:pt x="2676" y="16"/>
                </a:lnTo>
                <a:lnTo>
                  <a:pt x="2823" y="0"/>
                </a:lnTo>
                <a:lnTo>
                  <a:pt x="2920" y="0"/>
                </a:lnTo>
                <a:lnTo>
                  <a:pt x="2953" y="16"/>
                </a:lnTo>
                <a:lnTo>
                  <a:pt x="2969" y="32"/>
                </a:lnTo>
                <a:lnTo>
                  <a:pt x="2969" y="49"/>
                </a:lnTo>
                <a:lnTo>
                  <a:pt x="2953" y="65"/>
                </a:lnTo>
                <a:lnTo>
                  <a:pt x="2920" y="98"/>
                </a:lnTo>
                <a:lnTo>
                  <a:pt x="2855" y="146"/>
                </a:lnTo>
                <a:lnTo>
                  <a:pt x="2659" y="342"/>
                </a:lnTo>
                <a:lnTo>
                  <a:pt x="2464" y="571"/>
                </a:lnTo>
                <a:lnTo>
                  <a:pt x="2251" y="832"/>
                </a:lnTo>
                <a:lnTo>
                  <a:pt x="2039" y="1142"/>
                </a:lnTo>
                <a:lnTo>
                  <a:pt x="1827" y="1468"/>
                </a:lnTo>
                <a:lnTo>
                  <a:pt x="1631" y="1795"/>
                </a:lnTo>
                <a:lnTo>
                  <a:pt x="1452" y="2137"/>
                </a:lnTo>
                <a:lnTo>
                  <a:pt x="1289" y="2496"/>
                </a:lnTo>
                <a:lnTo>
                  <a:pt x="1240" y="2627"/>
                </a:lnTo>
                <a:lnTo>
                  <a:pt x="1191" y="2725"/>
                </a:lnTo>
                <a:lnTo>
                  <a:pt x="1158" y="2806"/>
                </a:lnTo>
                <a:lnTo>
                  <a:pt x="1126" y="2839"/>
                </a:lnTo>
                <a:lnTo>
                  <a:pt x="1093" y="2872"/>
                </a:lnTo>
                <a:lnTo>
                  <a:pt x="1044" y="2888"/>
                </a:lnTo>
                <a:lnTo>
                  <a:pt x="962" y="2904"/>
                </a:lnTo>
                <a:lnTo>
                  <a:pt x="848" y="2904"/>
                </a:lnTo>
                <a:lnTo>
                  <a:pt x="767" y="2904"/>
                </a:lnTo>
                <a:lnTo>
                  <a:pt x="701" y="2888"/>
                </a:lnTo>
                <a:lnTo>
                  <a:pt x="669" y="2888"/>
                </a:lnTo>
                <a:lnTo>
                  <a:pt x="636" y="2872"/>
                </a:lnTo>
                <a:lnTo>
                  <a:pt x="587" y="2806"/>
                </a:lnTo>
                <a:lnTo>
                  <a:pt x="554" y="2758"/>
                </a:lnTo>
                <a:lnTo>
                  <a:pt x="505" y="2692"/>
                </a:lnTo>
                <a:lnTo>
                  <a:pt x="326" y="2447"/>
                </a:lnTo>
                <a:lnTo>
                  <a:pt x="114" y="2203"/>
                </a:lnTo>
                <a:lnTo>
                  <a:pt x="65" y="2154"/>
                </a:lnTo>
                <a:lnTo>
                  <a:pt x="32" y="2105"/>
                </a:lnTo>
                <a:lnTo>
                  <a:pt x="0" y="2039"/>
                </a:lnTo>
                <a:lnTo>
                  <a:pt x="16" y="2007"/>
                </a:lnTo>
                <a:lnTo>
                  <a:pt x="32" y="1958"/>
                </a:lnTo>
                <a:lnTo>
                  <a:pt x="114" y="1876"/>
                </a:lnTo>
                <a:lnTo>
                  <a:pt x="228" y="1811"/>
                </a:lnTo>
                <a:lnTo>
                  <a:pt x="326" y="1795"/>
                </a:lnTo>
                <a:lnTo>
                  <a:pt x="440" y="1827"/>
                </a:lnTo>
                <a:lnTo>
                  <a:pt x="505" y="1860"/>
                </a:lnTo>
                <a:lnTo>
                  <a:pt x="571" y="1909"/>
                </a:lnTo>
                <a:lnTo>
                  <a:pt x="652" y="1974"/>
                </a:lnTo>
                <a:lnTo>
                  <a:pt x="734" y="2056"/>
                </a:lnTo>
                <a:lnTo>
                  <a:pt x="815" y="2170"/>
                </a:lnTo>
                <a:lnTo>
                  <a:pt x="913" y="2317"/>
                </a:lnTo>
                <a:close/>
              </a:path>
            </a:pathLst>
          </a:custGeom>
          <a:solidFill>
            <a:schemeClr val="accent6"/>
          </a:solidFill>
          <a:ln w="19050" cmpd="sng">
            <a:noFill/>
            <a:round/>
            <a:headEnd/>
            <a:tailEnd/>
          </a:ln>
        </p:spPr>
        <p:txBody>
          <a:bodyPr/>
          <a:lstStyle/>
          <a:p>
            <a:endParaRPr lang="en-US" dirty="0"/>
          </a:p>
        </p:txBody>
      </p:sp>
      <p:sp>
        <p:nvSpPr>
          <p:cNvPr id="58" name="Tekstfelt 57"/>
          <p:cNvSpPr txBox="1"/>
          <p:nvPr/>
        </p:nvSpPr>
        <p:spPr>
          <a:xfrm>
            <a:off x="5208546" y="1404709"/>
            <a:ext cx="1575567" cy="577081"/>
          </a:xfrm>
          <a:prstGeom prst="rect">
            <a:avLst/>
          </a:prstGeom>
          <a:noFill/>
        </p:spPr>
        <p:txBody>
          <a:bodyPr wrap="square" rtlCol="0">
            <a:spAutoFit/>
          </a:bodyPr>
          <a:lstStyle/>
          <a:p>
            <a:r>
              <a:rPr lang="en-US" sz="1050" b="1" dirty="0"/>
              <a:t>Business preference</a:t>
            </a:r>
          </a:p>
          <a:p>
            <a:pPr marL="171450" indent="-171450">
              <a:buFont typeface="Wingdings" charset="2"/>
              <a:buChar char="§"/>
            </a:pPr>
            <a:r>
              <a:rPr lang="en-US" sz="1050" dirty="0"/>
              <a:t>Voted best for business</a:t>
            </a:r>
          </a:p>
        </p:txBody>
      </p:sp>
      <p:sp>
        <p:nvSpPr>
          <p:cNvPr id="64" name="Tekstfelt 63"/>
          <p:cNvSpPr txBox="1"/>
          <p:nvPr/>
        </p:nvSpPr>
        <p:spPr>
          <a:xfrm>
            <a:off x="6095311" y="5465127"/>
            <a:ext cx="1360669" cy="577081"/>
          </a:xfrm>
          <a:prstGeom prst="rect">
            <a:avLst/>
          </a:prstGeom>
          <a:noFill/>
        </p:spPr>
        <p:txBody>
          <a:bodyPr wrap="square" rtlCol="0">
            <a:spAutoFit/>
          </a:bodyPr>
          <a:lstStyle/>
          <a:p>
            <a:pPr algn="ctr"/>
            <a:r>
              <a:rPr lang="en-US" sz="1050" dirty="0"/>
              <a:t>Best rated business computer, but also higher price.</a:t>
            </a:r>
          </a:p>
        </p:txBody>
      </p:sp>
      <p:sp>
        <p:nvSpPr>
          <p:cNvPr id="72" name="Tekstfelt 71"/>
          <p:cNvSpPr txBox="1"/>
          <p:nvPr/>
        </p:nvSpPr>
        <p:spPr>
          <a:xfrm>
            <a:off x="696960" y="4683396"/>
            <a:ext cx="1865553" cy="261610"/>
          </a:xfrm>
          <a:prstGeom prst="rect">
            <a:avLst/>
          </a:prstGeom>
          <a:noFill/>
        </p:spPr>
        <p:txBody>
          <a:bodyPr wrap="square" rtlCol="0">
            <a:spAutoFit/>
          </a:bodyPr>
          <a:lstStyle/>
          <a:p>
            <a:r>
              <a:rPr lang="en-US" sz="1100" b="1" dirty="0"/>
              <a:t>Price</a:t>
            </a:r>
          </a:p>
        </p:txBody>
      </p:sp>
      <p:sp>
        <p:nvSpPr>
          <p:cNvPr id="81" name="Tekstfelt 80"/>
          <p:cNvSpPr txBox="1"/>
          <p:nvPr/>
        </p:nvSpPr>
        <p:spPr>
          <a:xfrm>
            <a:off x="696959" y="4134154"/>
            <a:ext cx="1865553" cy="261610"/>
          </a:xfrm>
          <a:prstGeom prst="rect">
            <a:avLst/>
          </a:prstGeom>
          <a:noFill/>
        </p:spPr>
        <p:txBody>
          <a:bodyPr wrap="square" rtlCol="0">
            <a:spAutoFit/>
          </a:bodyPr>
          <a:lstStyle/>
          <a:p>
            <a:r>
              <a:rPr lang="en-US" sz="1100" b="1" dirty="0"/>
              <a:t>Stability</a:t>
            </a:r>
          </a:p>
        </p:txBody>
      </p:sp>
      <p:sp>
        <p:nvSpPr>
          <p:cNvPr id="83" name="Freeform 68"/>
          <p:cNvSpPr>
            <a:spLocks/>
          </p:cNvSpPr>
          <p:nvPr/>
        </p:nvSpPr>
        <p:spPr bwMode="auto">
          <a:xfrm>
            <a:off x="4839998" y="5233612"/>
            <a:ext cx="156872" cy="193726"/>
          </a:xfrm>
          <a:custGeom>
            <a:avLst/>
            <a:gdLst>
              <a:gd name="T0" fmla="*/ 654 w 1612"/>
              <a:gd name="T1" fmla="*/ 278784 h 2009"/>
              <a:gd name="T2" fmla="*/ 102010 w 1612"/>
              <a:gd name="T3" fmla="*/ 157778 h 2009"/>
              <a:gd name="T4" fmla="*/ 70295 w 1612"/>
              <a:gd name="T5" fmla="*/ 25756 h 2009"/>
              <a:gd name="T6" fmla="*/ 93999 w 1612"/>
              <a:gd name="T7" fmla="*/ 2916 h 2009"/>
              <a:gd name="T8" fmla="*/ 115415 w 1612"/>
              <a:gd name="T9" fmla="*/ 23812 h 2009"/>
              <a:gd name="T10" fmla="*/ 137811 w 1612"/>
              <a:gd name="T11" fmla="*/ 60098 h 2009"/>
              <a:gd name="T12" fmla="*/ 152688 w 1612"/>
              <a:gd name="T13" fmla="*/ 95736 h 2009"/>
              <a:gd name="T14" fmla="*/ 160207 w 1612"/>
              <a:gd name="T15" fmla="*/ 91200 h 2009"/>
              <a:gd name="T16" fmla="*/ 189960 w 1612"/>
              <a:gd name="T17" fmla="*/ 59450 h 2009"/>
              <a:gd name="T18" fmla="*/ 231157 w 1612"/>
              <a:gd name="T19" fmla="*/ 17819 h 2009"/>
              <a:gd name="T20" fmla="*/ 253553 w 1612"/>
              <a:gd name="T21" fmla="*/ 16361 h 2009"/>
              <a:gd name="T22" fmla="*/ 263035 w 1612"/>
              <a:gd name="T23" fmla="*/ 39201 h 2009"/>
              <a:gd name="T24" fmla="*/ 250610 w 1612"/>
              <a:gd name="T25" fmla="*/ 44709 h 2009"/>
              <a:gd name="T26" fmla="*/ 245216 w 1612"/>
              <a:gd name="T27" fmla="*/ 55238 h 2009"/>
              <a:gd name="T28" fmla="*/ 238676 w 1612"/>
              <a:gd name="T29" fmla="*/ 63014 h 2009"/>
              <a:gd name="T30" fmla="*/ 204837 w 1612"/>
              <a:gd name="T31" fmla="*/ 115013 h 2009"/>
              <a:gd name="T32" fmla="*/ 192413 w 1612"/>
              <a:gd name="T33" fmla="*/ 134451 h 2009"/>
              <a:gd name="T34" fmla="*/ 177536 w 1612"/>
              <a:gd name="T35" fmla="*/ 156320 h 2009"/>
              <a:gd name="T36" fmla="*/ 173613 w 1612"/>
              <a:gd name="T37" fmla="*/ 183534 h 2009"/>
              <a:gd name="T38" fmla="*/ 191432 w 1612"/>
              <a:gd name="T39" fmla="*/ 236667 h 2009"/>
              <a:gd name="T40" fmla="*/ 218242 w 1612"/>
              <a:gd name="T41" fmla="*/ 281700 h 2009"/>
              <a:gd name="T42" fmla="*/ 214809 w 1612"/>
              <a:gd name="T43" fmla="*/ 287207 h 2009"/>
              <a:gd name="T44" fmla="*/ 213828 w 1612"/>
              <a:gd name="T45" fmla="*/ 295145 h 2009"/>
              <a:gd name="T46" fmla="*/ 203365 w 1612"/>
              <a:gd name="T47" fmla="*/ 302434 h 2009"/>
              <a:gd name="T48" fmla="*/ 201404 w 1612"/>
              <a:gd name="T49" fmla="*/ 312964 h 2009"/>
              <a:gd name="T50" fmla="*/ 183585 w 1612"/>
              <a:gd name="T51" fmla="*/ 303568 h 2009"/>
              <a:gd name="T52" fmla="*/ 177046 w 1612"/>
              <a:gd name="T53" fmla="*/ 298061 h 2009"/>
              <a:gd name="T54" fmla="*/ 162823 w 1612"/>
              <a:gd name="T55" fmla="*/ 288827 h 2009"/>
              <a:gd name="T56" fmla="*/ 149091 w 1612"/>
              <a:gd name="T57" fmla="*/ 271494 h 2009"/>
              <a:gd name="T58" fmla="*/ 122444 w 1612"/>
              <a:gd name="T59" fmla="*/ 228243 h 2009"/>
              <a:gd name="T60" fmla="*/ 24522 w 1612"/>
              <a:gd name="T61" fmla="*/ 325437 h 2009"/>
              <a:gd name="T62" fmla="*/ 22887 w 1612"/>
              <a:gd name="T63" fmla="*/ 324465 h 2009"/>
              <a:gd name="T64" fmla="*/ 19127 w 1612"/>
              <a:gd name="T65" fmla="*/ 308914 h 2009"/>
              <a:gd name="T66" fmla="*/ 10626 w 1612"/>
              <a:gd name="T67" fmla="*/ 301139 h 2009"/>
              <a:gd name="T68" fmla="*/ 1635 w 1612"/>
              <a:gd name="T69" fmla="*/ 289151 h 2009"/>
              <a:gd name="T70" fmla="*/ 654 w 1612"/>
              <a:gd name="T71" fmla="*/ 278784 h 20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2"/>
              <a:gd name="T109" fmla="*/ 0 h 2009"/>
              <a:gd name="T110" fmla="*/ 1612 w 1612"/>
              <a:gd name="T111" fmla="*/ 2009 h 20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2" h="2009">
                <a:moveTo>
                  <a:pt x="4" y="1721"/>
                </a:moveTo>
                <a:lnTo>
                  <a:pt x="624" y="974"/>
                </a:lnTo>
                <a:lnTo>
                  <a:pt x="430" y="159"/>
                </a:lnTo>
                <a:cubicBezTo>
                  <a:pt x="422" y="0"/>
                  <a:pt x="529" y="20"/>
                  <a:pt x="575" y="18"/>
                </a:cubicBezTo>
                <a:cubicBezTo>
                  <a:pt x="621" y="16"/>
                  <a:pt x="661" y="88"/>
                  <a:pt x="706" y="147"/>
                </a:cubicBezTo>
                <a:cubicBezTo>
                  <a:pt x="752" y="205"/>
                  <a:pt x="806" y="297"/>
                  <a:pt x="843" y="371"/>
                </a:cubicBezTo>
                <a:lnTo>
                  <a:pt x="934" y="591"/>
                </a:lnTo>
                <a:lnTo>
                  <a:pt x="980" y="563"/>
                </a:lnTo>
                <a:cubicBezTo>
                  <a:pt x="1016" y="527"/>
                  <a:pt x="1089" y="444"/>
                  <a:pt x="1162" y="367"/>
                </a:cubicBezTo>
                <a:cubicBezTo>
                  <a:pt x="1235" y="291"/>
                  <a:pt x="1351" y="153"/>
                  <a:pt x="1414" y="110"/>
                </a:cubicBezTo>
                <a:cubicBezTo>
                  <a:pt x="1478" y="67"/>
                  <a:pt x="1518" y="80"/>
                  <a:pt x="1551" y="101"/>
                </a:cubicBezTo>
                <a:cubicBezTo>
                  <a:pt x="1585" y="122"/>
                  <a:pt x="1612" y="214"/>
                  <a:pt x="1609" y="242"/>
                </a:cubicBezTo>
                <a:cubicBezTo>
                  <a:pt x="1606" y="269"/>
                  <a:pt x="1551" y="260"/>
                  <a:pt x="1533" y="276"/>
                </a:cubicBezTo>
                <a:cubicBezTo>
                  <a:pt x="1515" y="292"/>
                  <a:pt x="1512" y="322"/>
                  <a:pt x="1500" y="341"/>
                </a:cubicBezTo>
                <a:cubicBezTo>
                  <a:pt x="1488" y="360"/>
                  <a:pt x="1501" y="327"/>
                  <a:pt x="1460" y="389"/>
                </a:cubicBezTo>
                <a:lnTo>
                  <a:pt x="1253" y="710"/>
                </a:lnTo>
                <a:lnTo>
                  <a:pt x="1177" y="830"/>
                </a:lnTo>
                <a:cubicBezTo>
                  <a:pt x="1150" y="873"/>
                  <a:pt x="1104" y="916"/>
                  <a:pt x="1086" y="965"/>
                </a:cubicBezTo>
                <a:cubicBezTo>
                  <a:pt x="1068" y="1014"/>
                  <a:pt x="1047" y="1050"/>
                  <a:pt x="1062" y="1133"/>
                </a:cubicBezTo>
                <a:cubicBezTo>
                  <a:pt x="1077" y="1216"/>
                  <a:pt x="1126" y="1360"/>
                  <a:pt x="1171" y="1461"/>
                </a:cubicBezTo>
                <a:cubicBezTo>
                  <a:pt x="1217" y="1562"/>
                  <a:pt x="1311" y="1687"/>
                  <a:pt x="1335" y="1739"/>
                </a:cubicBezTo>
                <a:lnTo>
                  <a:pt x="1314" y="1773"/>
                </a:lnTo>
                <a:cubicBezTo>
                  <a:pt x="1311" y="1785"/>
                  <a:pt x="1320" y="1806"/>
                  <a:pt x="1308" y="1822"/>
                </a:cubicBezTo>
                <a:cubicBezTo>
                  <a:pt x="1296" y="1838"/>
                  <a:pt x="1259" y="1861"/>
                  <a:pt x="1244" y="1867"/>
                </a:cubicBezTo>
                <a:cubicBezTo>
                  <a:pt x="1229" y="1873"/>
                  <a:pt x="1250" y="1932"/>
                  <a:pt x="1232" y="1932"/>
                </a:cubicBezTo>
                <a:cubicBezTo>
                  <a:pt x="1214" y="1932"/>
                  <a:pt x="1148" y="1891"/>
                  <a:pt x="1123" y="1874"/>
                </a:cubicBezTo>
                <a:cubicBezTo>
                  <a:pt x="1098" y="1859"/>
                  <a:pt x="1104" y="1855"/>
                  <a:pt x="1083" y="1840"/>
                </a:cubicBezTo>
                <a:cubicBezTo>
                  <a:pt x="1062" y="1825"/>
                  <a:pt x="1024" y="1810"/>
                  <a:pt x="996" y="1783"/>
                </a:cubicBezTo>
                <a:cubicBezTo>
                  <a:pt x="968" y="1756"/>
                  <a:pt x="953" y="1738"/>
                  <a:pt x="912" y="1676"/>
                </a:cubicBezTo>
                <a:lnTo>
                  <a:pt x="749" y="1409"/>
                </a:lnTo>
                <a:lnTo>
                  <a:pt x="150" y="2009"/>
                </a:lnTo>
                <a:lnTo>
                  <a:pt x="140" y="2003"/>
                </a:lnTo>
                <a:cubicBezTo>
                  <a:pt x="135" y="1986"/>
                  <a:pt x="129" y="1931"/>
                  <a:pt x="117" y="1907"/>
                </a:cubicBezTo>
                <a:cubicBezTo>
                  <a:pt x="105" y="1883"/>
                  <a:pt x="83" y="1879"/>
                  <a:pt x="65" y="1859"/>
                </a:cubicBezTo>
                <a:cubicBezTo>
                  <a:pt x="47" y="1839"/>
                  <a:pt x="20" y="1808"/>
                  <a:pt x="10" y="1785"/>
                </a:cubicBezTo>
                <a:cubicBezTo>
                  <a:pt x="0" y="1762"/>
                  <a:pt x="5" y="1734"/>
                  <a:pt x="4" y="1721"/>
                </a:cubicBezTo>
                <a:close/>
              </a:path>
            </a:pathLst>
          </a:custGeom>
          <a:solidFill>
            <a:srgbClr val="C00000"/>
          </a:solidFill>
          <a:ln w="19050" cap="flat" cmpd="sng">
            <a:noFill/>
            <a:prstDash val="solid"/>
            <a:round/>
            <a:headEnd type="none" w="med" len="med"/>
            <a:tailEnd type="none" w="med" len="med"/>
          </a:ln>
        </p:spPr>
        <p:txBody>
          <a:bodyPr wrap="none" anchor="ctr"/>
          <a:lstStyle/>
          <a:p>
            <a:endParaRPr lang="en-US" dirty="0"/>
          </a:p>
        </p:txBody>
      </p:sp>
      <p:sp>
        <p:nvSpPr>
          <p:cNvPr id="85" name="Tekstfelt 84"/>
          <p:cNvSpPr txBox="1"/>
          <p:nvPr/>
        </p:nvSpPr>
        <p:spPr>
          <a:xfrm>
            <a:off x="717442" y="3027812"/>
            <a:ext cx="1414955" cy="261610"/>
          </a:xfrm>
          <a:prstGeom prst="rect">
            <a:avLst/>
          </a:prstGeom>
          <a:noFill/>
        </p:spPr>
        <p:txBody>
          <a:bodyPr wrap="square" rtlCol="0">
            <a:spAutoFit/>
          </a:bodyPr>
          <a:lstStyle/>
          <a:p>
            <a:r>
              <a:rPr lang="en-US" sz="1100" b="1" dirty="0"/>
              <a:t>Origin of company</a:t>
            </a:r>
          </a:p>
        </p:txBody>
      </p:sp>
      <p:cxnSp>
        <p:nvCxnSpPr>
          <p:cNvPr id="96" name="Lige forbindelse 95"/>
          <p:cNvCxnSpPr/>
          <p:nvPr/>
        </p:nvCxnSpPr>
        <p:spPr>
          <a:xfrm>
            <a:off x="789935" y="2908746"/>
            <a:ext cx="10337111"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2" name="Picture 15" descr="black - 3 quarters.emf"/>
          <p:cNvPicPr>
            <a:picLocks noChangeAspect="1"/>
          </p:cNvPicPr>
          <p:nvPr/>
        </p:nvPicPr>
        <p:blipFill>
          <a:blip r:embed="rId3" cstate="print"/>
          <a:srcRect/>
          <a:stretch>
            <a:fillRect/>
          </a:stretch>
        </p:blipFill>
        <p:spPr bwMode="auto">
          <a:xfrm>
            <a:off x="4604475" y="7019168"/>
            <a:ext cx="329316" cy="328174"/>
          </a:xfrm>
          <a:prstGeom prst="rect">
            <a:avLst/>
          </a:prstGeom>
          <a:noFill/>
          <a:ln w="9525">
            <a:noFill/>
            <a:miter lim="800000"/>
            <a:headEnd/>
            <a:tailEnd/>
          </a:ln>
        </p:spPr>
      </p:pic>
      <p:pic>
        <p:nvPicPr>
          <p:cNvPr id="103" name="Picture 17" descr="black - whole.emf"/>
          <p:cNvPicPr>
            <a:picLocks noChangeAspect="1"/>
          </p:cNvPicPr>
          <p:nvPr/>
        </p:nvPicPr>
        <p:blipFill>
          <a:blip r:embed="rId4" cstate="print"/>
          <a:srcRect/>
          <a:stretch>
            <a:fillRect/>
          </a:stretch>
        </p:blipFill>
        <p:spPr bwMode="auto">
          <a:xfrm>
            <a:off x="3967163" y="6990821"/>
            <a:ext cx="329316" cy="328174"/>
          </a:xfrm>
          <a:prstGeom prst="rect">
            <a:avLst/>
          </a:prstGeom>
          <a:noFill/>
          <a:ln w="9525">
            <a:noFill/>
            <a:miter lim="800000"/>
            <a:headEnd/>
            <a:tailEnd/>
          </a:ln>
        </p:spPr>
      </p:pic>
      <p:pic>
        <p:nvPicPr>
          <p:cNvPr id="106" name="Picture 14" descr="black - 1 quarter.emf"/>
          <p:cNvPicPr>
            <a:picLocks noChangeAspect="1"/>
          </p:cNvPicPr>
          <p:nvPr/>
        </p:nvPicPr>
        <p:blipFill>
          <a:blip r:embed="rId5" cstate="print"/>
          <a:srcRect/>
          <a:stretch>
            <a:fillRect/>
          </a:stretch>
        </p:blipFill>
        <p:spPr bwMode="auto">
          <a:xfrm>
            <a:off x="5546829" y="7003692"/>
            <a:ext cx="329316" cy="328173"/>
          </a:xfrm>
          <a:prstGeom prst="rect">
            <a:avLst/>
          </a:prstGeom>
          <a:noFill/>
          <a:ln w="9525">
            <a:noFill/>
            <a:miter lim="800000"/>
            <a:headEnd/>
            <a:tailEnd/>
          </a:ln>
        </p:spPr>
      </p:pic>
      <p:sp>
        <p:nvSpPr>
          <p:cNvPr id="13" name="Tekstfelt 12"/>
          <p:cNvSpPr txBox="1"/>
          <p:nvPr/>
        </p:nvSpPr>
        <p:spPr>
          <a:xfrm>
            <a:off x="16804257" y="1897811"/>
            <a:ext cx="184731" cy="276999"/>
          </a:xfrm>
          <a:prstGeom prst="rect">
            <a:avLst/>
          </a:prstGeom>
          <a:noFill/>
        </p:spPr>
        <p:txBody>
          <a:bodyPr wrap="none" rtlCol="0">
            <a:spAutoFit/>
          </a:bodyPr>
          <a:lstStyle/>
          <a:p>
            <a:endParaRPr lang="en-US" sz="1200" dirty="0"/>
          </a:p>
        </p:txBody>
      </p:sp>
      <p:sp>
        <p:nvSpPr>
          <p:cNvPr id="4" name="Rektangel 3"/>
          <p:cNvSpPr/>
          <p:nvPr/>
        </p:nvSpPr>
        <p:spPr>
          <a:xfrm>
            <a:off x="303281" y="7019055"/>
            <a:ext cx="635260" cy="3608651"/>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ektangel 83"/>
          <p:cNvSpPr/>
          <p:nvPr/>
        </p:nvSpPr>
        <p:spPr>
          <a:xfrm>
            <a:off x="1441015" y="7108995"/>
            <a:ext cx="1900841" cy="418468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Tekstfelt 106"/>
          <p:cNvSpPr txBox="1"/>
          <p:nvPr/>
        </p:nvSpPr>
        <p:spPr>
          <a:xfrm>
            <a:off x="7295050" y="1440018"/>
            <a:ext cx="1383569" cy="415498"/>
          </a:xfrm>
          <a:prstGeom prst="rect">
            <a:avLst/>
          </a:prstGeom>
          <a:noFill/>
        </p:spPr>
        <p:txBody>
          <a:bodyPr wrap="square" rtlCol="0">
            <a:spAutoFit/>
          </a:bodyPr>
          <a:lstStyle/>
          <a:p>
            <a:r>
              <a:rPr lang="en-US" sz="1050" b="1" dirty="0"/>
              <a:t>Price level</a:t>
            </a:r>
          </a:p>
          <a:p>
            <a:pPr marL="171450" indent="-171450">
              <a:buFont typeface="Wingdings" charset="2"/>
              <a:buChar char="§"/>
            </a:pPr>
            <a:r>
              <a:rPr lang="en-US" sz="1050" dirty="0"/>
              <a:t>Price level of PC</a:t>
            </a:r>
          </a:p>
        </p:txBody>
      </p:sp>
      <p:sp>
        <p:nvSpPr>
          <p:cNvPr id="108" name="Tekstfelt 107"/>
          <p:cNvSpPr txBox="1"/>
          <p:nvPr/>
        </p:nvSpPr>
        <p:spPr>
          <a:xfrm>
            <a:off x="3055027" y="1419962"/>
            <a:ext cx="1519678" cy="415498"/>
          </a:xfrm>
          <a:prstGeom prst="rect">
            <a:avLst/>
          </a:prstGeom>
          <a:noFill/>
        </p:spPr>
        <p:txBody>
          <a:bodyPr wrap="square" rtlCol="0">
            <a:spAutoFit/>
          </a:bodyPr>
          <a:lstStyle/>
          <a:p>
            <a:r>
              <a:rPr lang="en-US" sz="1050" b="1" dirty="0"/>
              <a:t>Origin of company</a:t>
            </a:r>
          </a:p>
          <a:p>
            <a:pPr marL="171450" indent="-171450">
              <a:buFont typeface="Wingdings" charset="2"/>
              <a:buChar char="§"/>
            </a:pPr>
            <a:r>
              <a:rPr lang="en-US" sz="1050" dirty="0"/>
              <a:t>Cultural preference</a:t>
            </a:r>
          </a:p>
        </p:txBody>
      </p:sp>
      <p:pic>
        <p:nvPicPr>
          <p:cNvPr id="19" name="Billed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74732" y="1545378"/>
            <a:ext cx="405595" cy="405595"/>
          </a:xfrm>
          <a:prstGeom prst="rect">
            <a:avLst/>
          </a:prstGeom>
        </p:spPr>
      </p:pic>
      <p:sp>
        <p:nvSpPr>
          <p:cNvPr id="110" name="Tekstfelt 109"/>
          <p:cNvSpPr txBox="1"/>
          <p:nvPr/>
        </p:nvSpPr>
        <p:spPr>
          <a:xfrm>
            <a:off x="9306895" y="1435342"/>
            <a:ext cx="1799742" cy="577081"/>
          </a:xfrm>
          <a:prstGeom prst="rect">
            <a:avLst/>
          </a:prstGeom>
          <a:noFill/>
        </p:spPr>
        <p:txBody>
          <a:bodyPr wrap="square" rtlCol="0">
            <a:spAutoFit/>
          </a:bodyPr>
          <a:lstStyle/>
          <a:p>
            <a:r>
              <a:rPr lang="en-US" sz="1050" b="1" dirty="0"/>
              <a:t>Reliability</a:t>
            </a:r>
          </a:p>
          <a:p>
            <a:pPr marL="171450" indent="-171450">
              <a:buFont typeface="Wingdings" charset="2"/>
              <a:buChar char="§"/>
            </a:pPr>
            <a:r>
              <a:rPr lang="en-US" sz="1050" dirty="0"/>
              <a:t>Protective features and stable performance</a:t>
            </a:r>
          </a:p>
        </p:txBody>
      </p:sp>
      <p:sp>
        <p:nvSpPr>
          <p:cNvPr id="32" name="Tekstfelt 31"/>
          <p:cNvSpPr txBox="1"/>
          <p:nvPr/>
        </p:nvSpPr>
        <p:spPr>
          <a:xfrm>
            <a:off x="2579465" y="2275067"/>
            <a:ext cx="1167908" cy="338554"/>
          </a:xfrm>
          <a:prstGeom prst="rect">
            <a:avLst/>
          </a:prstGeom>
          <a:noFill/>
        </p:spPr>
        <p:txBody>
          <a:bodyPr wrap="square" rtlCol="0">
            <a:spAutoFit/>
          </a:bodyPr>
          <a:lstStyle/>
          <a:p>
            <a:pPr algn="ctr"/>
            <a:r>
              <a:rPr lang="da-DK" sz="1600" dirty="0"/>
              <a:t>Dell</a:t>
            </a:r>
          </a:p>
        </p:txBody>
      </p:sp>
      <p:sp>
        <p:nvSpPr>
          <p:cNvPr id="121" name="Tekstfelt 120"/>
          <p:cNvSpPr txBox="1"/>
          <p:nvPr/>
        </p:nvSpPr>
        <p:spPr>
          <a:xfrm>
            <a:off x="4286920" y="2295695"/>
            <a:ext cx="1285429" cy="338554"/>
          </a:xfrm>
          <a:prstGeom prst="rect">
            <a:avLst/>
          </a:prstGeom>
          <a:noFill/>
        </p:spPr>
        <p:txBody>
          <a:bodyPr wrap="square" rtlCol="0">
            <a:spAutoFit/>
          </a:bodyPr>
          <a:lstStyle/>
          <a:p>
            <a:pPr algn="ctr"/>
            <a:r>
              <a:rPr lang="da-DK" sz="1600" dirty="0"/>
              <a:t>HP</a:t>
            </a:r>
          </a:p>
        </p:txBody>
      </p:sp>
      <p:sp>
        <p:nvSpPr>
          <p:cNvPr id="123" name="Tekstfelt 122"/>
          <p:cNvSpPr txBox="1"/>
          <p:nvPr/>
        </p:nvSpPr>
        <p:spPr>
          <a:xfrm>
            <a:off x="5944720" y="2279153"/>
            <a:ext cx="1411388" cy="338554"/>
          </a:xfrm>
          <a:prstGeom prst="rect">
            <a:avLst/>
          </a:prstGeom>
          <a:noFill/>
        </p:spPr>
        <p:txBody>
          <a:bodyPr wrap="square" rtlCol="0">
            <a:spAutoFit/>
          </a:bodyPr>
          <a:lstStyle/>
          <a:p>
            <a:pPr algn="ctr"/>
            <a:r>
              <a:rPr lang="da-DK" sz="1600" dirty="0" err="1"/>
              <a:t>Lenovo</a:t>
            </a:r>
            <a:endParaRPr lang="da-DK" sz="1600" dirty="0"/>
          </a:p>
        </p:txBody>
      </p:sp>
      <p:sp>
        <p:nvSpPr>
          <p:cNvPr id="124" name="Tekstfelt 123"/>
          <p:cNvSpPr txBox="1"/>
          <p:nvPr/>
        </p:nvSpPr>
        <p:spPr>
          <a:xfrm>
            <a:off x="9624392" y="2295694"/>
            <a:ext cx="1411388" cy="338554"/>
          </a:xfrm>
          <a:prstGeom prst="rect">
            <a:avLst/>
          </a:prstGeom>
          <a:noFill/>
        </p:spPr>
        <p:txBody>
          <a:bodyPr wrap="square" rtlCol="0">
            <a:spAutoFit/>
          </a:bodyPr>
          <a:lstStyle/>
          <a:p>
            <a:pPr algn="ctr"/>
            <a:r>
              <a:rPr lang="da-DK" sz="1600" dirty="0"/>
              <a:t>Toshiba</a:t>
            </a:r>
          </a:p>
        </p:txBody>
      </p:sp>
      <p:sp>
        <p:nvSpPr>
          <p:cNvPr id="125" name="Freeform 69"/>
          <p:cNvSpPr>
            <a:spLocks/>
          </p:cNvSpPr>
          <p:nvPr/>
        </p:nvSpPr>
        <p:spPr bwMode="auto">
          <a:xfrm>
            <a:off x="6698047" y="5271797"/>
            <a:ext cx="201286" cy="191837"/>
          </a:xfrm>
          <a:custGeom>
            <a:avLst/>
            <a:gdLst>
              <a:gd name="T0" fmla="*/ 128239 w 2969"/>
              <a:gd name="T1" fmla="*/ 210070 h 2904"/>
              <a:gd name="T2" fmla="*/ 180173 w 2969"/>
              <a:gd name="T3" fmla="*/ 121292 h 2904"/>
              <a:gd name="T4" fmla="*/ 222995 w 2969"/>
              <a:gd name="T5" fmla="*/ 61478 h 2904"/>
              <a:gd name="T6" fmla="*/ 247140 w 2969"/>
              <a:gd name="T7" fmla="*/ 34401 h 2904"/>
              <a:gd name="T8" fmla="*/ 261945 w 2969"/>
              <a:gd name="T9" fmla="*/ 18088 h 2904"/>
              <a:gd name="T10" fmla="*/ 276865 w 2969"/>
              <a:gd name="T11" fmla="*/ 7213 h 2904"/>
              <a:gd name="T12" fmla="*/ 286204 w 2969"/>
              <a:gd name="T13" fmla="*/ 5438 h 2904"/>
              <a:gd name="T14" fmla="*/ 304767 w 2969"/>
              <a:gd name="T15" fmla="*/ 1776 h 2904"/>
              <a:gd name="T16" fmla="*/ 332556 w 2969"/>
              <a:gd name="T17" fmla="*/ 0 h 2904"/>
              <a:gd name="T18" fmla="*/ 338137 w 2969"/>
              <a:gd name="T19" fmla="*/ 3551 h 2904"/>
              <a:gd name="T20" fmla="*/ 336315 w 2969"/>
              <a:gd name="T21" fmla="*/ 7213 h 2904"/>
              <a:gd name="T22" fmla="*/ 325154 w 2969"/>
              <a:gd name="T23" fmla="*/ 16202 h 2904"/>
              <a:gd name="T24" fmla="*/ 280623 w 2969"/>
              <a:gd name="T25" fmla="*/ 63365 h 2904"/>
              <a:gd name="T26" fmla="*/ 232220 w 2969"/>
              <a:gd name="T27" fmla="*/ 126730 h 2904"/>
              <a:gd name="T28" fmla="*/ 185753 w 2969"/>
              <a:gd name="T29" fmla="*/ 199194 h 2904"/>
              <a:gd name="T30" fmla="*/ 146803 w 2969"/>
              <a:gd name="T31" fmla="*/ 276986 h 2904"/>
              <a:gd name="T32" fmla="*/ 135642 w 2969"/>
              <a:gd name="T33" fmla="*/ 302398 h 2904"/>
              <a:gd name="T34" fmla="*/ 128239 w 2969"/>
              <a:gd name="T35" fmla="*/ 315049 h 2904"/>
              <a:gd name="T36" fmla="*/ 118900 w 2969"/>
              <a:gd name="T37" fmla="*/ 320486 h 2904"/>
              <a:gd name="T38" fmla="*/ 96578 w 2969"/>
              <a:gd name="T39" fmla="*/ 322262 h 2904"/>
              <a:gd name="T40" fmla="*/ 79836 w 2969"/>
              <a:gd name="T41" fmla="*/ 320486 h 2904"/>
              <a:gd name="T42" fmla="*/ 72434 w 2969"/>
              <a:gd name="T43" fmla="*/ 318711 h 2904"/>
              <a:gd name="T44" fmla="*/ 63095 w 2969"/>
              <a:gd name="T45" fmla="*/ 306060 h 2904"/>
              <a:gd name="T46" fmla="*/ 37128 w 2969"/>
              <a:gd name="T47" fmla="*/ 271548 h 2904"/>
              <a:gd name="T48" fmla="*/ 7403 w 2969"/>
              <a:gd name="T49" fmla="*/ 239033 h 2904"/>
              <a:gd name="T50" fmla="*/ 0 w 2969"/>
              <a:gd name="T51" fmla="*/ 226271 h 2904"/>
              <a:gd name="T52" fmla="*/ 3644 w 2969"/>
              <a:gd name="T53" fmla="*/ 217283 h 2904"/>
              <a:gd name="T54" fmla="*/ 25967 w 2969"/>
              <a:gd name="T55" fmla="*/ 200970 h 2904"/>
              <a:gd name="T56" fmla="*/ 50111 w 2969"/>
              <a:gd name="T57" fmla="*/ 202745 h 2904"/>
              <a:gd name="T58" fmla="*/ 65031 w 2969"/>
              <a:gd name="T59" fmla="*/ 211845 h 2904"/>
              <a:gd name="T60" fmla="*/ 83595 w 2969"/>
              <a:gd name="T61" fmla="*/ 228158 h 2904"/>
              <a:gd name="T62" fmla="*/ 103981 w 2969"/>
              <a:gd name="T63" fmla="*/ 257122 h 29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69"/>
              <a:gd name="T97" fmla="*/ 0 h 2904"/>
              <a:gd name="T98" fmla="*/ 2969 w 2969"/>
              <a:gd name="T99" fmla="*/ 2904 h 29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69" h="2904">
                <a:moveTo>
                  <a:pt x="913" y="2317"/>
                </a:moveTo>
                <a:lnTo>
                  <a:pt x="1126" y="1893"/>
                </a:lnTo>
                <a:lnTo>
                  <a:pt x="1338" y="1485"/>
                </a:lnTo>
                <a:lnTo>
                  <a:pt x="1582" y="1093"/>
                </a:lnTo>
                <a:lnTo>
                  <a:pt x="1843" y="718"/>
                </a:lnTo>
                <a:lnTo>
                  <a:pt x="1958" y="554"/>
                </a:lnTo>
                <a:lnTo>
                  <a:pt x="2072" y="424"/>
                </a:lnTo>
                <a:lnTo>
                  <a:pt x="2170" y="310"/>
                </a:lnTo>
                <a:lnTo>
                  <a:pt x="2235" y="228"/>
                </a:lnTo>
                <a:lnTo>
                  <a:pt x="2300" y="163"/>
                </a:lnTo>
                <a:lnTo>
                  <a:pt x="2366" y="114"/>
                </a:lnTo>
                <a:lnTo>
                  <a:pt x="2431" y="65"/>
                </a:lnTo>
                <a:lnTo>
                  <a:pt x="2464" y="65"/>
                </a:lnTo>
                <a:lnTo>
                  <a:pt x="2513" y="49"/>
                </a:lnTo>
                <a:lnTo>
                  <a:pt x="2594" y="32"/>
                </a:lnTo>
                <a:lnTo>
                  <a:pt x="2676" y="16"/>
                </a:lnTo>
                <a:lnTo>
                  <a:pt x="2823" y="0"/>
                </a:lnTo>
                <a:lnTo>
                  <a:pt x="2920" y="0"/>
                </a:lnTo>
                <a:lnTo>
                  <a:pt x="2953" y="16"/>
                </a:lnTo>
                <a:lnTo>
                  <a:pt x="2969" y="32"/>
                </a:lnTo>
                <a:lnTo>
                  <a:pt x="2969" y="49"/>
                </a:lnTo>
                <a:lnTo>
                  <a:pt x="2953" y="65"/>
                </a:lnTo>
                <a:lnTo>
                  <a:pt x="2920" y="98"/>
                </a:lnTo>
                <a:lnTo>
                  <a:pt x="2855" y="146"/>
                </a:lnTo>
                <a:lnTo>
                  <a:pt x="2659" y="342"/>
                </a:lnTo>
                <a:lnTo>
                  <a:pt x="2464" y="571"/>
                </a:lnTo>
                <a:lnTo>
                  <a:pt x="2251" y="832"/>
                </a:lnTo>
                <a:lnTo>
                  <a:pt x="2039" y="1142"/>
                </a:lnTo>
                <a:lnTo>
                  <a:pt x="1827" y="1468"/>
                </a:lnTo>
                <a:lnTo>
                  <a:pt x="1631" y="1795"/>
                </a:lnTo>
                <a:lnTo>
                  <a:pt x="1452" y="2137"/>
                </a:lnTo>
                <a:lnTo>
                  <a:pt x="1289" y="2496"/>
                </a:lnTo>
                <a:lnTo>
                  <a:pt x="1240" y="2627"/>
                </a:lnTo>
                <a:lnTo>
                  <a:pt x="1191" y="2725"/>
                </a:lnTo>
                <a:lnTo>
                  <a:pt x="1158" y="2806"/>
                </a:lnTo>
                <a:lnTo>
                  <a:pt x="1126" y="2839"/>
                </a:lnTo>
                <a:lnTo>
                  <a:pt x="1093" y="2872"/>
                </a:lnTo>
                <a:lnTo>
                  <a:pt x="1044" y="2888"/>
                </a:lnTo>
                <a:lnTo>
                  <a:pt x="962" y="2904"/>
                </a:lnTo>
                <a:lnTo>
                  <a:pt x="848" y="2904"/>
                </a:lnTo>
                <a:lnTo>
                  <a:pt x="767" y="2904"/>
                </a:lnTo>
                <a:lnTo>
                  <a:pt x="701" y="2888"/>
                </a:lnTo>
                <a:lnTo>
                  <a:pt x="669" y="2888"/>
                </a:lnTo>
                <a:lnTo>
                  <a:pt x="636" y="2872"/>
                </a:lnTo>
                <a:lnTo>
                  <a:pt x="587" y="2806"/>
                </a:lnTo>
                <a:lnTo>
                  <a:pt x="554" y="2758"/>
                </a:lnTo>
                <a:lnTo>
                  <a:pt x="505" y="2692"/>
                </a:lnTo>
                <a:lnTo>
                  <a:pt x="326" y="2447"/>
                </a:lnTo>
                <a:lnTo>
                  <a:pt x="114" y="2203"/>
                </a:lnTo>
                <a:lnTo>
                  <a:pt x="65" y="2154"/>
                </a:lnTo>
                <a:lnTo>
                  <a:pt x="32" y="2105"/>
                </a:lnTo>
                <a:lnTo>
                  <a:pt x="0" y="2039"/>
                </a:lnTo>
                <a:lnTo>
                  <a:pt x="16" y="2007"/>
                </a:lnTo>
                <a:lnTo>
                  <a:pt x="32" y="1958"/>
                </a:lnTo>
                <a:lnTo>
                  <a:pt x="114" y="1876"/>
                </a:lnTo>
                <a:lnTo>
                  <a:pt x="228" y="1811"/>
                </a:lnTo>
                <a:lnTo>
                  <a:pt x="326" y="1795"/>
                </a:lnTo>
                <a:lnTo>
                  <a:pt x="440" y="1827"/>
                </a:lnTo>
                <a:lnTo>
                  <a:pt x="505" y="1860"/>
                </a:lnTo>
                <a:lnTo>
                  <a:pt x="571" y="1909"/>
                </a:lnTo>
                <a:lnTo>
                  <a:pt x="652" y="1974"/>
                </a:lnTo>
                <a:lnTo>
                  <a:pt x="734" y="2056"/>
                </a:lnTo>
                <a:lnTo>
                  <a:pt x="815" y="2170"/>
                </a:lnTo>
                <a:lnTo>
                  <a:pt x="913" y="2317"/>
                </a:lnTo>
                <a:close/>
              </a:path>
            </a:pathLst>
          </a:custGeom>
          <a:solidFill>
            <a:schemeClr val="accent6"/>
          </a:solidFill>
          <a:ln w="19050" cmpd="sng">
            <a:noFill/>
            <a:round/>
            <a:headEnd/>
            <a:tailEnd/>
          </a:ln>
        </p:spPr>
        <p:txBody>
          <a:bodyPr/>
          <a:lstStyle/>
          <a:p>
            <a:endParaRPr lang="en-US" dirty="0"/>
          </a:p>
        </p:txBody>
      </p:sp>
      <p:sp>
        <p:nvSpPr>
          <p:cNvPr id="126" name="Freeform 68"/>
          <p:cNvSpPr>
            <a:spLocks/>
          </p:cNvSpPr>
          <p:nvPr/>
        </p:nvSpPr>
        <p:spPr bwMode="auto">
          <a:xfrm>
            <a:off x="10216070" y="5273206"/>
            <a:ext cx="156872" cy="193726"/>
          </a:xfrm>
          <a:custGeom>
            <a:avLst/>
            <a:gdLst>
              <a:gd name="T0" fmla="*/ 654 w 1612"/>
              <a:gd name="T1" fmla="*/ 278784 h 2009"/>
              <a:gd name="T2" fmla="*/ 102010 w 1612"/>
              <a:gd name="T3" fmla="*/ 157778 h 2009"/>
              <a:gd name="T4" fmla="*/ 70295 w 1612"/>
              <a:gd name="T5" fmla="*/ 25756 h 2009"/>
              <a:gd name="T6" fmla="*/ 93999 w 1612"/>
              <a:gd name="T7" fmla="*/ 2916 h 2009"/>
              <a:gd name="T8" fmla="*/ 115415 w 1612"/>
              <a:gd name="T9" fmla="*/ 23812 h 2009"/>
              <a:gd name="T10" fmla="*/ 137811 w 1612"/>
              <a:gd name="T11" fmla="*/ 60098 h 2009"/>
              <a:gd name="T12" fmla="*/ 152688 w 1612"/>
              <a:gd name="T13" fmla="*/ 95736 h 2009"/>
              <a:gd name="T14" fmla="*/ 160207 w 1612"/>
              <a:gd name="T15" fmla="*/ 91200 h 2009"/>
              <a:gd name="T16" fmla="*/ 189960 w 1612"/>
              <a:gd name="T17" fmla="*/ 59450 h 2009"/>
              <a:gd name="T18" fmla="*/ 231157 w 1612"/>
              <a:gd name="T19" fmla="*/ 17819 h 2009"/>
              <a:gd name="T20" fmla="*/ 253553 w 1612"/>
              <a:gd name="T21" fmla="*/ 16361 h 2009"/>
              <a:gd name="T22" fmla="*/ 263035 w 1612"/>
              <a:gd name="T23" fmla="*/ 39201 h 2009"/>
              <a:gd name="T24" fmla="*/ 250610 w 1612"/>
              <a:gd name="T25" fmla="*/ 44709 h 2009"/>
              <a:gd name="T26" fmla="*/ 245216 w 1612"/>
              <a:gd name="T27" fmla="*/ 55238 h 2009"/>
              <a:gd name="T28" fmla="*/ 238676 w 1612"/>
              <a:gd name="T29" fmla="*/ 63014 h 2009"/>
              <a:gd name="T30" fmla="*/ 204837 w 1612"/>
              <a:gd name="T31" fmla="*/ 115013 h 2009"/>
              <a:gd name="T32" fmla="*/ 192413 w 1612"/>
              <a:gd name="T33" fmla="*/ 134451 h 2009"/>
              <a:gd name="T34" fmla="*/ 177536 w 1612"/>
              <a:gd name="T35" fmla="*/ 156320 h 2009"/>
              <a:gd name="T36" fmla="*/ 173613 w 1612"/>
              <a:gd name="T37" fmla="*/ 183534 h 2009"/>
              <a:gd name="T38" fmla="*/ 191432 w 1612"/>
              <a:gd name="T39" fmla="*/ 236667 h 2009"/>
              <a:gd name="T40" fmla="*/ 218242 w 1612"/>
              <a:gd name="T41" fmla="*/ 281700 h 2009"/>
              <a:gd name="T42" fmla="*/ 214809 w 1612"/>
              <a:gd name="T43" fmla="*/ 287207 h 2009"/>
              <a:gd name="T44" fmla="*/ 213828 w 1612"/>
              <a:gd name="T45" fmla="*/ 295145 h 2009"/>
              <a:gd name="T46" fmla="*/ 203365 w 1612"/>
              <a:gd name="T47" fmla="*/ 302434 h 2009"/>
              <a:gd name="T48" fmla="*/ 201404 w 1612"/>
              <a:gd name="T49" fmla="*/ 312964 h 2009"/>
              <a:gd name="T50" fmla="*/ 183585 w 1612"/>
              <a:gd name="T51" fmla="*/ 303568 h 2009"/>
              <a:gd name="T52" fmla="*/ 177046 w 1612"/>
              <a:gd name="T53" fmla="*/ 298061 h 2009"/>
              <a:gd name="T54" fmla="*/ 162823 w 1612"/>
              <a:gd name="T55" fmla="*/ 288827 h 2009"/>
              <a:gd name="T56" fmla="*/ 149091 w 1612"/>
              <a:gd name="T57" fmla="*/ 271494 h 2009"/>
              <a:gd name="T58" fmla="*/ 122444 w 1612"/>
              <a:gd name="T59" fmla="*/ 228243 h 2009"/>
              <a:gd name="T60" fmla="*/ 24522 w 1612"/>
              <a:gd name="T61" fmla="*/ 325437 h 2009"/>
              <a:gd name="T62" fmla="*/ 22887 w 1612"/>
              <a:gd name="T63" fmla="*/ 324465 h 2009"/>
              <a:gd name="T64" fmla="*/ 19127 w 1612"/>
              <a:gd name="T65" fmla="*/ 308914 h 2009"/>
              <a:gd name="T66" fmla="*/ 10626 w 1612"/>
              <a:gd name="T67" fmla="*/ 301139 h 2009"/>
              <a:gd name="T68" fmla="*/ 1635 w 1612"/>
              <a:gd name="T69" fmla="*/ 289151 h 2009"/>
              <a:gd name="T70" fmla="*/ 654 w 1612"/>
              <a:gd name="T71" fmla="*/ 278784 h 20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2"/>
              <a:gd name="T109" fmla="*/ 0 h 2009"/>
              <a:gd name="T110" fmla="*/ 1612 w 1612"/>
              <a:gd name="T111" fmla="*/ 2009 h 20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2" h="2009">
                <a:moveTo>
                  <a:pt x="4" y="1721"/>
                </a:moveTo>
                <a:lnTo>
                  <a:pt x="624" y="974"/>
                </a:lnTo>
                <a:lnTo>
                  <a:pt x="430" y="159"/>
                </a:lnTo>
                <a:cubicBezTo>
                  <a:pt x="422" y="0"/>
                  <a:pt x="529" y="20"/>
                  <a:pt x="575" y="18"/>
                </a:cubicBezTo>
                <a:cubicBezTo>
                  <a:pt x="621" y="16"/>
                  <a:pt x="661" y="88"/>
                  <a:pt x="706" y="147"/>
                </a:cubicBezTo>
                <a:cubicBezTo>
                  <a:pt x="752" y="205"/>
                  <a:pt x="806" y="297"/>
                  <a:pt x="843" y="371"/>
                </a:cubicBezTo>
                <a:lnTo>
                  <a:pt x="934" y="591"/>
                </a:lnTo>
                <a:lnTo>
                  <a:pt x="980" y="563"/>
                </a:lnTo>
                <a:cubicBezTo>
                  <a:pt x="1016" y="527"/>
                  <a:pt x="1089" y="444"/>
                  <a:pt x="1162" y="367"/>
                </a:cubicBezTo>
                <a:cubicBezTo>
                  <a:pt x="1235" y="291"/>
                  <a:pt x="1351" y="153"/>
                  <a:pt x="1414" y="110"/>
                </a:cubicBezTo>
                <a:cubicBezTo>
                  <a:pt x="1478" y="67"/>
                  <a:pt x="1518" y="80"/>
                  <a:pt x="1551" y="101"/>
                </a:cubicBezTo>
                <a:cubicBezTo>
                  <a:pt x="1585" y="122"/>
                  <a:pt x="1612" y="214"/>
                  <a:pt x="1609" y="242"/>
                </a:cubicBezTo>
                <a:cubicBezTo>
                  <a:pt x="1606" y="269"/>
                  <a:pt x="1551" y="260"/>
                  <a:pt x="1533" y="276"/>
                </a:cubicBezTo>
                <a:cubicBezTo>
                  <a:pt x="1515" y="292"/>
                  <a:pt x="1512" y="322"/>
                  <a:pt x="1500" y="341"/>
                </a:cubicBezTo>
                <a:cubicBezTo>
                  <a:pt x="1488" y="360"/>
                  <a:pt x="1501" y="327"/>
                  <a:pt x="1460" y="389"/>
                </a:cubicBezTo>
                <a:lnTo>
                  <a:pt x="1253" y="710"/>
                </a:lnTo>
                <a:lnTo>
                  <a:pt x="1177" y="830"/>
                </a:lnTo>
                <a:cubicBezTo>
                  <a:pt x="1150" y="873"/>
                  <a:pt x="1104" y="916"/>
                  <a:pt x="1086" y="965"/>
                </a:cubicBezTo>
                <a:cubicBezTo>
                  <a:pt x="1068" y="1014"/>
                  <a:pt x="1047" y="1050"/>
                  <a:pt x="1062" y="1133"/>
                </a:cubicBezTo>
                <a:cubicBezTo>
                  <a:pt x="1077" y="1216"/>
                  <a:pt x="1126" y="1360"/>
                  <a:pt x="1171" y="1461"/>
                </a:cubicBezTo>
                <a:cubicBezTo>
                  <a:pt x="1217" y="1562"/>
                  <a:pt x="1311" y="1687"/>
                  <a:pt x="1335" y="1739"/>
                </a:cubicBezTo>
                <a:lnTo>
                  <a:pt x="1314" y="1773"/>
                </a:lnTo>
                <a:cubicBezTo>
                  <a:pt x="1311" y="1785"/>
                  <a:pt x="1320" y="1806"/>
                  <a:pt x="1308" y="1822"/>
                </a:cubicBezTo>
                <a:cubicBezTo>
                  <a:pt x="1296" y="1838"/>
                  <a:pt x="1259" y="1861"/>
                  <a:pt x="1244" y="1867"/>
                </a:cubicBezTo>
                <a:cubicBezTo>
                  <a:pt x="1229" y="1873"/>
                  <a:pt x="1250" y="1932"/>
                  <a:pt x="1232" y="1932"/>
                </a:cubicBezTo>
                <a:cubicBezTo>
                  <a:pt x="1214" y="1932"/>
                  <a:pt x="1148" y="1891"/>
                  <a:pt x="1123" y="1874"/>
                </a:cubicBezTo>
                <a:cubicBezTo>
                  <a:pt x="1098" y="1859"/>
                  <a:pt x="1104" y="1855"/>
                  <a:pt x="1083" y="1840"/>
                </a:cubicBezTo>
                <a:cubicBezTo>
                  <a:pt x="1062" y="1825"/>
                  <a:pt x="1024" y="1810"/>
                  <a:pt x="996" y="1783"/>
                </a:cubicBezTo>
                <a:cubicBezTo>
                  <a:pt x="968" y="1756"/>
                  <a:pt x="953" y="1738"/>
                  <a:pt x="912" y="1676"/>
                </a:cubicBezTo>
                <a:lnTo>
                  <a:pt x="749" y="1409"/>
                </a:lnTo>
                <a:lnTo>
                  <a:pt x="150" y="2009"/>
                </a:lnTo>
                <a:lnTo>
                  <a:pt x="140" y="2003"/>
                </a:lnTo>
                <a:cubicBezTo>
                  <a:pt x="135" y="1986"/>
                  <a:pt x="129" y="1931"/>
                  <a:pt x="117" y="1907"/>
                </a:cubicBezTo>
                <a:cubicBezTo>
                  <a:pt x="105" y="1883"/>
                  <a:pt x="83" y="1879"/>
                  <a:pt x="65" y="1859"/>
                </a:cubicBezTo>
                <a:cubicBezTo>
                  <a:pt x="47" y="1839"/>
                  <a:pt x="20" y="1808"/>
                  <a:pt x="10" y="1785"/>
                </a:cubicBezTo>
                <a:cubicBezTo>
                  <a:pt x="0" y="1762"/>
                  <a:pt x="5" y="1734"/>
                  <a:pt x="4" y="1721"/>
                </a:cubicBezTo>
                <a:close/>
              </a:path>
            </a:pathLst>
          </a:custGeom>
          <a:solidFill>
            <a:srgbClr val="C00000"/>
          </a:solidFill>
          <a:ln w="19050" cap="flat" cmpd="sng">
            <a:noFill/>
            <a:prstDash val="solid"/>
            <a:round/>
            <a:headEnd type="none" w="med" len="med"/>
            <a:tailEnd type="none" w="med" len="med"/>
          </a:ln>
        </p:spPr>
        <p:txBody>
          <a:bodyPr wrap="none" anchor="ctr"/>
          <a:lstStyle/>
          <a:p>
            <a:endParaRPr lang="en-US" dirty="0"/>
          </a:p>
        </p:txBody>
      </p:sp>
      <p:grpSp>
        <p:nvGrpSpPr>
          <p:cNvPr id="7" name="Grupper 6"/>
          <p:cNvGrpSpPr/>
          <p:nvPr/>
        </p:nvGrpSpPr>
        <p:grpSpPr>
          <a:xfrm>
            <a:off x="726319" y="5613033"/>
            <a:ext cx="1569444" cy="285327"/>
            <a:chOff x="726319" y="5885547"/>
            <a:chExt cx="1899027" cy="345246"/>
          </a:xfrm>
        </p:grpSpPr>
        <p:pic>
          <p:nvPicPr>
            <p:cNvPr id="109" name="Picture 17" descr="black - whole.emf"/>
            <p:cNvPicPr>
              <a:picLocks noChangeAspect="1"/>
            </p:cNvPicPr>
            <p:nvPr/>
          </p:nvPicPr>
          <p:blipFill>
            <a:blip r:embed="rId4" cstate="print"/>
            <a:srcRect/>
            <a:stretch>
              <a:fillRect/>
            </a:stretch>
          </p:blipFill>
          <p:spPr bwMode="auto">
            <a:xfrm>
              <a:off x="726319" y="5885547"/>
              <a:ext cx="329316" cy="328174"/>
            </a:xfrm>
            <a:prstGeom prst="rect">
              <a:avLst/>
            </a:prstGeom>
            <a:noFill/>
            <a:ln w="9525">
              <a:noFill/>
              <a:miter lim="800000"/>
              <a:headEnd/>
              <a:tailEnd/>
            </a:ln>
          </p:spPr>
        </p:pic>
        <p:sp>
          <p:nvSpPr>
            <p:cNvPr id="2" name="Ellipse 1"/>
            <p:cNvSpPr/>
            <p:nvPr/>
          </p:nvSpPr>
          <p:spPr>
            <a:xfrm>
              <a:off x="1632362" y="5887825"/>
              <a:ext cx="268261" cy="28347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ekstfelt 4"/>
            <p:cNvSpPr txBox="1"/>
            <p:nvPr/>
          </p:nvSpPr>
          <p:spPr>
            <a:xfrm>
              <a:off x="1055635" y="5914245"/>
              <a:ext cx="687707" cy="316548"/>
            </a:xfrm>
            <a:prstGeom prst="rect">
              <a:avLst/>
            </a:prstGeom>
            <a:noFill/>
          </p:spPr>
          <p:txBody>
            <a:bodyPr wrap="square" rtlCol="0">
              <a:spAutoFit/>
            </a:bodyPr>
            <a:lstStyle/>
            <a:p>
              <a:r>
                <a:rPr lang="da-DK" sz="1050" dirty="0"/>
                <a:t>Full</a:t>
              </a:r>
            </a:p>
          </p:txBody>
        </p:sp>
        <p:sp>
          <p:nvSpPr>
            <p:cNvPr id="111" name="Tekstfelt 110"/>
            <p:cNvSpPr txBox="1"/>
            <p:nvPr/>
          </p:nvSpPr>
          <p:spPr>
            <a:xfrm>
              <a:off x="1937639" y="5903758"/>
              <a:ext cx="687707" cy="307238"/>
            </a:xfrm>
            <a:prstGeom prst="rect">
              <a:avLst/>
            </a:prstGeom>
            <a:noFill/>
          </p:spPr>
          <p:txBody>
            <a:bodyPr wrap="square" rtlCol="0">
              <a:spAutoFit/>
            </a:bodyPr>
            <a:lstStyle/>
            <a:p>
              <a:r>
                <a:rPr lang="da-DK" sz="1050" dirty="0" err="1"/>
                <a:t>Empty</a:t>
              </a:r>
              <a:endParaRPr lang="da-DK" sz="1050" dirty="0"/>
            </a:p>
          </p:txBody>
        </p:sp>
      </p:grpSp>
      <p:pic>
        <p:nvPicPr>
          <p:cNvPr id="127" name="Picture 16" descr="black - half.emf"/>
          <p:cNvPicPr>
            <a:picLocks noChangeAspect="1"/>
          </p:cNvPicPr>
          <p:nvPr/>
        </p:nvPicPr>
        <p:blipFill>
          <a:blip r:embed="rId7" cstate="print"/>
          <a:srcRect/>
          <a:stretch>
            <a:fillRect/>
          </a:stretch>
        </p:blipFill>
        <p:spPr bwMode="auto">
          <a:xfrm>
            <a:off x="5077129" y="7013160"/>
            <a:ext cx="329316" cy="328174"/>
          </a:xfrm>
          <a:prstGeom prst="rect">
            <a:avLst/>
          </a:prstGeom>
          <a:noFill/>
          <a:ln w="9525">
            <a:noFill/>
            <a:miter lim="800000"/>
            <a:headEnd/>
            <a:tailEnd/>
          </a:ln>
        </p:spPr>
      </p:pic>
      <p:pic>
        <p:nvPicPr>
          <p:cNvPr id="132" name="Picture 15" descr="black - 3 quarters.emf"/>
          <p:cNvPicPr>
            <a:picLocks noChangeAspect="1"/>
          </p:cNvPicPr>
          <p:nvPr/>
        </p:nvPicPr>
        <p:blipFill>
          <a:blip r:embed="rId3" cstate="print"/>
          <a:srcRect/>
          <a:stretch>
            <a:fillRect/>
          </a:stretch>
        </p:blipFill>
        <p:spPr bwMode="auto">
          <a:xfrm>
            <a:off x="4719831" y="4097389"/>
            <a:ext cx="329316" cy="328174"/>
          </a:xfrm>
          <a:prstGeom prst="rect">
            <a:avLst/>
          </a:prstGeom>
          <a:noFill/>
          <a:ln w="9525">
            <a:noFill/>
            <a:miter lim="800000"/>
            <a:headEnd/>
            <a:tailEnd/>
          </a:ln>
        </p:spPr>
      </p:pic>
      <p:pic>
        <p:nvPicPr>
          <p:cNvPr id="134" name="Picture 16" descr="black - half.emf"/>
          <p:cNvPicPr>
            <a:picLocks noChangeAspect="1"/>
          </p:cNvPicPr>
          <p:nvPr/>
        </p:nvPicPr>
        <p:blipFill>
          <a:blip r:embed="rId7" cstate="print"/>
          <a:srcRect/>
          <a:stretch>
            <a:fillRect/>
          </a:stretch>
        </p:blipFill>
        <p:spPr bwMode="auto">
          <a:xfrm>
            <a:off x="4714558" y="4654259"/>
            <a:ext cx="329316" cy="328174"/>
          </a:xfrm>
          <a:prstGeom prst="rect">
            <a:avLst/>
          </a:prstGeom>
          <a:noFill/>
          <a:ln w="9525">
            <a:noFill/>
            <a:miter lim="800000"/>
            <a:headEnd/>
            <a:tailEnd/>
          </a:ln>
        </p:spPr>
      </p:pic>
      <p:sp>
        <p:nvSpPr>
          <p:cNvPr id="139" name="Tekstfelt 138"/>
          <p:cNvSpPr txBox="1"/>
          <p:nvPr/>
        </p:nvSpPr>
        <p:spPr>
          <a:xfrm>
            <a:off x="7945096" y="5474965"/>
            <a:ext cx="1280539" cy="577081"/>
          </a:xfrm>
          <a:prstGeom prst="rect">
            <a:avLst/>
          </a:prstGeom>
          <a:noFill/>
        </p:spPr>
        <p:txBody>
          <a:bodyPr wrap="square" rtlCol="0">
            <a:spAutoFit/>
          </a:bodyPr>
          <a:lstStyle/>
          <a:p>
            <a:pPr algn="ctr"/>
            <a:r>
              <a:rPr lang="en-US" sz="1050" dirty="0"/>
              <a:t>Cheap, but not preferred by businesses. </a:t>
            </a:r>
          </a:p>
        </p:txBody>
      </p:sp>
      <p:sp>
        <p:nvSpPr>
          <p:cNvPr id="140" name="Freeform 68"/>
          <p:cNvSpPr>
            <a:spLocks/>
          </p:cNvSpPr>
          <p:nvPr/>
        </p:nvSpPr>
        <p:spPr bwMode="auto">
          <a:xfrm>
            <a:off x="8492162" y="5264689"/>
            <a:ext cx="156872" cy="193726"/>
          </a:xfrm>
          <a:custGeom>
            <a:avLst/>
            <a:gdLst>
              <a:gd name="T0" fmla="*/ 654 w 1612"/>
              <a:gd name="T1" fmla="*/ 278784 h 2009"/>
              <a:gd name="T2" fmla="*/ 102010 w 1612"/>
              <a:gd name="T3" fmla="*/ 157778 h 2009"/>
              <a:gd name="T4" fmla="*/ 70295 w 1612"/>
              <a:gd name="T5" fmla="*/ 25756 h 2009"/>
              <a:gd name="T6" fmla="*/ 93999 w 1612"/>
              <a:gd name="T7" fmla="*/ 2916 h 2009"/>
              <a:gd name="T8" fmla="*/ 115415 w 1612"/>
              <a:gd name="T9" fmla="*/ 23812 h 2009"/>
              <a:gd name="T10" fmla="*/ 137811 w 1612"/>
              <a:gd name="T11" fmla="*/ 60098 h 2009"/>
              <a:gd name="T12" fmla="*/ 152688 w 1612"/>
              <a:gd name="T13" fmla="*/ 95736 h 2009"/>
              <a:gd name="T14" fmla="*/ 160207 w 1612"/>
              <a:gd name="T15" fmla="*/ 91200 h 2009"/>
              <a:gd name="T16" fmla="*/ 189960 w 1612"/>
              <a:gd name="T17" fmla="*/ 59450 h 2009"/>
              <a:gd name="T18" fmla="*/ 231157 w 1612"/>
              <a:gd name="T19" fmla="*/ 17819 h 2009"/>
              <a:gd name="T20" fmla="*/ 253553 w 1612"/>
              <a:gd name="T21" fmla="*/ 16361 h 2009"/>
              <a:gd name="T22" fmla="*/ 263035 w 1612"/>
              <a:gd name="T23" fmla="*/ 39201 h 2009"/>
              <a:gd name="T24" fmla="*/ 250610 w 1612"/>
              <a:gd name="T25" fmla="*/ 44709 h 2009"/>
              <a:gd name="T26" fmla="*/ 245216 w 1612"/>
              <a:gd name="T27" fmla="*/ 55238 h 2009"/>
              <a:gd name="T28" fmla="*/ 238676 w 1612"/>
              <a:gd name="T29" fmla="*/ 63014 h 2009"/>
              <a:gd name="T30" fmla="*/ 204837 w 1612"/>
              <a:gd name="T31" fmla="*/ 115013 h 2009"/>
              <a:gd name="T32" fmla="*/ 192413 w 1612"/>
              <a:gd name="T33" fmla="*/ 134451 h 2009"/>
              <a:gd name="T34" fmla="*/ 177536 w 1612"/>
              <a:gd name="T35" fmla="*/ 156320 h 2009"/>
              <a:gd name="T36" fmla="*/ 173613 w 1612"/>
              <a:gd name="T37" fmla="*/ 183534 h 2009"/>
              <a:gd name="T38" fmla="*/ 191432 w 1612"/>
              <a:gd name="T39" fmla="*/ 236667 h 2009"/>
              <a:gd name="T40" fmla="*/ 218242 w 1612"/>
              <a:gd name="T41" fmla="*/ 281700 h 2009"/>
              <a:gd name="T42" fmla="*/ 214809 w 1612"/>
              <a:gd name="T43" fmla="*/ 287207 h 2009"/>
              <a:gd name="T44" fmla="*/ 213828 w 1612"/>
              <a:gd name="T45" fmla="*/ 295145 h 2009"/>
              <a:gd name="T46" fmla="*/ 203365 w 1612"/>
              <a:gd name="T47" fmla="*/ 302434 h 2009"/>
              <a:gd name="T48" fmla="*/ 201404 w 1612"/>
              <a:gd name="T49" fmla="*/ 312964 h 2009"/>
              <a:gd name="T50" fmla="*/ 183585 w 1612"/>
              <a:gd name="T51" fmla="*/ 303568 h 2009"/>
              <a:gd name="T52" fmla="*/ 177046 w 1612"/>
              <a:gd name="T53" fmla="*/ 298061 h 2009"/>
              <a:gd name="T54" fmla="*/ 162823 w 1612"/>
              <a:gd name="T55" fmla="*/ 288827 h 2009"/>
              <a:gd name="T56" fmla="*/ 149091 w 1612"/>
              <a:gd name="T57" fmla="*/ 271494 h 2009"/>
              <a:gd name="T58" fmla="*/ 122444 w 1612"/>
              <a:gd name="T59" fmla="*/ 228243 h 2009"/>
              <a:gd name="T60" fmla="*/ 24522 w 1612"/>
              <a:gd name="T61" fmla="*/ 325437 h 2009"/>
              <a:gd name="T62" fmla="*/ 22887 w 1612"/>
              <a:gd name="T63" fmla="*/ 324465 h 2009"/>
              <a:gd name="T64" fmla="*/ 19127 w 1612"/>
              <a:gd name="T65" fmla="*/ 308914 h 2009"/>
              <a:gd name="T66" fmla="*/ 10626 w 1612"/>
              <a:gd name="T67" fmla="*/ 301139 h 2009"/>
              <a:gd name="T68" fmla="*/ 1635 w 1612"/>
              <a:gd name="T69" fmla="*/ 289151 h 2009"/>
              <a:gd name="T70" fmla="*/ 654 w 1612"/>
              <a:gd name="T71" fmla="*/ 278784 h 20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2"/>
              <a:gd name="T109" fmla="*/ 0 h 2009"/>
              <a:gd name="T110" fmla="*/ 1612 w 1612"/>
              <a:gd name="T111" fmla="*/ 2009 h 20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2" h="2009">
                <a:moveTo>
                  <a:pt x="4" y="1721"/>
                </a:moveTo>
                <a:lnTo>
                  <a:pt x="624" y="974"/>
                </a:lnTo>
                <a:lnTo>
                  <a:pt x="430" y="159"/>
                </a:lnTo>
                <a:cubicBezTo>
                  <a:pt x="422" y="0"/>
                  <a:pt x="529" y="20"/>
                  <a:pt x="575" y="18"/>
                </a:cubicBezTo>
                <a:cubicBezTo>
                  <a:pt x="621" y="16"/>
                  <a:pt x="661" y="88"/>
                  <a:pt x="706" y="147"/>
                </a:cubicBezTo>
                <a:cubicBezTo>
                  <a:pt x="752" y="205"/>
                  <a:pt x="806" y="297"/>
                  <a:pt x="843" y="371"/>
                </a:cubicBezTo>
                <a:lnTo>
                  <a:pt x="934" y="591"/>
                </a:lnTo>
                <a:lnTo>
                  <a:pt x="980" y="563"/>
                </a:lnTo>
                <a:cubicBezTo>
                  <a:pt x="1016" y="527"/>
                  <a:pt x="1089" y="444"/>
                  <a:pt x="1162" y="367"/>
                </a:cubicBezTo>
                <a:cubicBezTo>
                  <a:pt x="1235" y="291"/>
                  <a:pt x="1351" y="153"/>
                  <a:pt x="1414" y="110"/>
                </a:cubicBezTo>
                <a:cubicBezTo>
                  <a:pt x="1478" y="67"/>
                  <a:pt x="1518" y="80"/>
                  <a:pt x="1551" y="101"/>
                </a:cubicBezTo>
                <a:cubicBezTo>
                  <a:pt x="1585" y="122"/>
                  <a:pt x="1612" y="214"/>
                  <a:pt x="1609" y="242"/>
                </a:cubicBezTo>
                <a:cubicBezTo>
                  <a:pt x="1606" y="269"/>
                  <a:pt x="1551" y="260"/>
                  <a:pt x="1533" y="276"/>
                </a:cubicBezTo>
                <a:cubicBezTo>
                  <a:pt x="1515" y="292"/>
                  <a:pt x="1512" y="322"/>
                  <a:pt x="1500" y="341"/>
                </a:cubicBezTo>
                <a:cubicBezTo>
                  <a:pt x="1488" y="360"/>
                  <a:pt x="1501" y="327"/>
                  <a:pt x="1460" y="389"/>
                </a:cubicBezTo>
                <a:lnTo>
                  <a:pt x="1253" y="710"/>
                </a:lnTo>
                <a:lnTo>
                  <a:pt x="1177" y="830"/>
                </a:lnTo>
                <a:cubicBezTo>
                  <a:pt x="1150" y="873"/>
                  <a:pt x="1104" y="916"/>
                  <a:pt x="1086" y="965"/>
                </a:cubicBezTo>
                <a:cubicBezTo>
                  <a:pt x="1068" y="1014"/>
                  <a:pt x="1047" y="1050"/>
                  <a:pt x="1062" y="1133"/>
                </a:cubicBezTo>
                <a:cubicBezTo>
                  <a:pt x="1077" y="1216"/>
                  <a:pt x="1126" y="1360"/>
                  <a:pt x="1171" y="1461"/>
                </a:cubicBezTo>
                <a:cubicBezTo>
                  <a:pt x="1217" y="1562"/>
                  <a:pt x="1311" y="1687"/>
                  <a:pt x="1335" y="1739"/>
                </a:cubicBezTo>
                <a:lnTo>
                  <a:pt x="1314" y="1773"/>
                </a:lnTo>
                <a:cubicBezTo>
                  <a:pt x="1311" y="1785"/>
                  <a:pt x="1320" y="1806"/>
                  <a:pt x="1308" y="1822"/>
                </a:cubicBezTo>
                <a:cubicBezTo>
                  <a:pt x="1296" y="1838"/>
                  <a:pt x="1259" y="1861"/>
                  <a:pt x="1244" y="1867"/>
                </a:cubicBezTo>
                <a:cubicBezTo>
                  <a:pt x="1229" y="1873"/>
                  <a:pt x="1250" y="1932"/>
                  <a:pt x="1232" y="1932"/>
                </a:cubicBezTo>
                <a:cubicBezTo>
                  <a:pt x="1214" y="1932"/>
                  <a:pt x="1148" y="1891"/>
                  <a:pt x="1123" y="1874"/>
                </a:cubicBezTo>
                <a:cubicBezTo>
                  <a:pt x="1098" y="1859"/>
                  <a:pt x="1104" y="1855"/>
                  <a:pt x="1083" y="1840"/>
                </a:cubicBezTo>
                <a:cubicBezTo>
                  <a:pt x="1062" y="1825"/>
                  <a:pt x="1024" y="1810"/>
                  <a:pt x="996" y="1783"/>
                </a:cubicBezTo>
                <a:cubicBezTo>
                  <a:pt x="968" y="1756"/>
                  <a:pt x="953" y="1738"/>
                  <a:pt x="912" y="1676"/>
                </a:cubicBezTo>
                <a:lnTo>
                  <a:pt x="749" y="1409"/>
                </a:lnTo>
                <a:lnTo>
                  <a:pt x="150" y="2009"/>
                </a:lnTo>
                <a:lnTo>
                  <a:pt x="140" y="2003"/>
                </a:lnTo>
                <a:cubicBezTo>
                  <a:pt x="135" y="1986"/>
                  <a:pt x="129" y="1931"/>
                  <a:pt x="117" y="1907"/>
                </a:cubicBezTo>
                <a:cubicBezTo>
                  <a:pt x="105" y="1883"/>
                  <a:pt x="83" y="1879"/>
                  <a:pt x="65" y="1859"/>
                </a:cubicBezTo>
                <a:cubicBezTo>
                  <a:pt x="47" y="1839"/>
                  <a:pt x="20" y="1808"/>
                  <a:pt x="10" y="1785"/>
                </a:cubicBezTo>
                <a:cubicBezTo>
                  <a:pt x="0" y="1762"/>
                  <a:pt x="5" y="1734"/>
                  <a:pt x="4" y="1721"/>
                </a:cubicBezTo>
                <a:close/>
              </a:path>
            </a:pathLst>
          </a:custGeom>
          <a:solidFill>
            <a:srgbClr val="C00000"/>
          </a:solidFill>
          <a:ln w="19050" cap="flat" cmpd="sng">
            <a:noFill/>
            <a:prstDash val="solid"/>
            <a:round/>
            <a:headEnd type="none" w="med" len="med"/>
            <a:tailEnd type="none" w="med" len="med"/>
          </a:ln>
        </p:spPr>
        <p:txBody>
          <a:bodyPr wrap="none" anchor="ctr"/>
          <a:lstStyle/>
          <a:p>
            <a:endParaRPr lang="en-US" dirty="0"/>
          </a:p>
        </p:txBody>
      </p:sp>
      <p:sp>
        <p:nvSpPr>
          <p:cNvPr id="141" name="Tekstfelt 140"/>
          <p:cNvSpPr txBox="1"/>
          <p:nvPr/>
        </p:nvSpPr>
        <p:spPr>
          <a:xfrm>
            <a:off x="7914612" y="2295694"/>
            <a:ext cx="1285429" cy="338554"/>
          </a:xfrm>
          <a:prstGeom prst="rect">
            <a:avLst/>
          </a:prstGeom>
          <a:noFill/>
        </p:spPr>
        <p:txBody>
          <a:bodyPr wrap="square" rtlCol="0">
            <a:spAutoFit/>
          </a:bodyPr>
          <a:lstStyle/>
          <a:p>
            <a:pPr algn="ctr"/>
            <a:r>
              <a:rPr lang="da-DK" sz="1600" dirty="0" err="1"/>
              <a:t>Acer</a:t>
            </a:r>
            <a:endParaRPr lang="da-DK" sz="1600" dirty="0"/>
          </a:p>
        </p:txBody>
      </p:sp>
      <p:sp>
        <p:nvSpPr>
          <p:cNvPr id="143" name="Ellipse 142"/>
          <p:cNvSpPr/>
          <p:nvPr/>
        </p:nvSpPr>
        <p:spPr>
          <a:xfrm>
            <a:off x="7028887" y="7105594"/>
            <a:ext cx="321277" cy="28644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44" name="Picture 14" descr="black - 1 quarter.emf"/>
          <p:cNvPicPr>
            <a:picLocks noChangeAspect="1"/>
          </p:cNvPicPr>
          <p:nvPr/>
        </p:nvPicPr>
        <p:blipFill>
          <a:blip r:embed="rId5" cstate="print"/>
          <a:srcRect/>
          <a:stretch>
            <a:fillRect/>
          </a:stretch>
        </p:blipFill>
        <p:spPr bwMode="auto">
          <a:xfrm>
            <a:off x="8411927" y="3533356"/>
            <a:ext cx="329316" cy="328173"/>
          </a:xfrm>
          <a:prstGeom prst="rect">
            <a:avLst/>
          </a:prstGeom>
          <a:noFill/>
          <a:ln w="9525">
            <a:noFill/>
            <a:miter lim="800000"/>
            <a:headEnd/>
            <a:tailEnd/>
          </a:ln>
        </p:spPr>
      </p:pic>
      <p:sp>
        <p:nvSpPr>
          <p:cNvPr id="9" name="Tekstfelt 8"/>
          <p:cNvSpPr txBox="1"/>
          <p:nvPr/>
        </p:nvSpPr>
        <p:spPr>
          <a:xfrm>
            <a:off x="6327969" y="3014729"/>
            <a:ext cx="841897" cy="307777"/>
          </a:xfrm>
          <a:prstGeom prst="rect">
            <a:avLst/>
          </a:prstGeom>
          <a:noFill/>
        </p:spPr>
        <p:txBody>
          <a:bodyPr wrap="none" rtlCol="0">
            <a:spAutoFit/>
          </a:bodyPr>
          <a:lstStyle/>
          <a:p>
            <a:r>
              <a:rPr lang="en-US" sz="1400" dirty="0"/>
              <a:t>Chinese</a:t>
            </a:r>
          </a:p>
        </p:txBody>
      </p:sp>
      <p:sp>
        <p:nvSpPr>
          <p:cNvPr id="77" name="Tekstfelt 76"/>
          <p:cNvSpPr txBox="1"/>
          <p:nvPr/>
        </p:nvSpPr>
        <p:spPr>
          <a:xfrm>
            <a:off x="2692675" y="3055019"/>
            <a:ext cx="941283" cy="307777"/>
          </a:xfrm>
          <a:prstGeom prst="rect">
            <a:avLst/>
          </a:prstGeom>
          <a:noFill/>
        </p:spPr>
        <p:txBody>
          <a:bodyPr wrap="none" rtlCol="0">
            <a:spAutoFit/>
          </a:bodyPr>
          <a:lstStyle/>
          <a:p>
            <a:r>
              <a:rPr lang="en-US" sz="1400"/>
              <a:t>American</a:t>
            </a:r>
            <a:endParaRPr lang="en-US" sz="1400" dirty="0"/>
          </a:p>
        </p:txBody>
      </p:sp>
      <p:sp>
        <p:nvSpPr>
          <p:cNvPr id="78" name="Tekstfelt 77"/>
          <p:cNvSpPr txBox="1"/>
          <p:nvPr/>
        </p:nvSpPr>
        <p:spPr>
          <a:xfrm>
            <a:off x="9815469" y="3010153"/>
            <a:ext cx="960519" cy="307777"/>
          </a:xfrm>
          <a:prstGeom prst="rect">
            <a:avLst/>
          </a:prstGeom>
          <a:noFill/>
        </p:spPr>
        <p:txBody>
          <a:bodyPr wrap="none" rtlCol="0">
            <a:spAutoFit/>
          </a:bodyPr>
          <a:lstStyle/>
          <a:p>
            <a:r>
              <a:rPr lang="en-US" sz="1400"/>
              <a:t>Japanese</a:t>
            </a:r>
            <a:endParaRPr lang="en-US" sz="1400" dirty="0"/>
          </a:p>
        </p:txBody>
      </p:sp>
      <p:sp>
        <p:nvSpPr>
          <p:cNvPr id="79" name="Tekstfelt 78"/>
          <p:cNvSpPr txBox="1"/>
          <p:nvPr/>
        </p:nvSpPr>
        <p:spPr>
          <a:xfrm>
            <a:off x="8055328" y="3033757"/>
            <a:ext cx="1030539" cy="307777"/>
          </a:xfrm>
          <a:prstGeom prst="rect">
            <a:avLst/>
          </a:prstGeom>
          <a:noFill/>
        </p:spPr>
        <p:txBody>
          <a:bodyPr wrap="none" rtlCol="0">
            <a:spAutoFit/>
          </a:bodyPr>
          <a:lstStyle/>
          <a:p>
            <a:r>
              <a:rPr lang="en-US" sz="1400"/>
              <a:t>Taiwanese</a:t>
            </a:r>
            <a:endParaRPr lang="en-US" sz="1400" dirty="0"/>
          </a:p>
        </p:txBody>
      </p:sp>
      <p:sp>
        <p:nvSpPr>
          <p:cNvPr id="80" name="Tekstfelt 79"/>
          <p:cNvSpPr txBox="1"/>
          <p:nvPr/>
        </p:nvSpPr>
        <p:spPr>
          <a:xfrm>
            <a:off x="4519420" y="3033757"/>
            <a:ext cx="941283" cy="307777"/>
          </a:xfrm>
          <a:prstGeom prst="rect">
            <a:avLst/>
          </a:prstGeom>
          <a:noFill/>
        </p:spPr>
        <p:txBody>
          <a:bodyPr wrap="none" rtlCol="0">
            <a:spAutoFit/>
          </a:bodyPr>
          <a:lstStyle/>
          <a:p>
            <a:r>
              <a:rPr lang="en-US" sz="1400" dirty="0"/>
              <a:t>American</a:t>
            </a:r>
          </a:p>
        </p:txBody>
      </p:sp>
      <p:pic>
        <p:nvPicPr>
          <p:cNvPr id="87" name="Picture 17" descr="black - whole.emf"/>
          <p:cNvPicPr>
            <a:picLocks noChangeAspect="1"/>
          </p:cNvPicPr>
          <p:nvPr/>
        </p:nvPicPr>
        <p:blipFill>
          <a:blip r:embed="rId4" cstate="print"/>
          <a:srcRect/>
          <a:stretch>
            <a:fillRect/>
          </a:stretch>
        </p:blipFill>
        <p:spPr bwMode="auto">
          <a:xfrm>
            <a:off x="6583653" y="4052835"/>
            <a:ext cx="329316" cy="328174"/>
          </a:xfrm>
          <a:prstGeom prst="rect">
            <a:avLst/>
          </a:prstGeom>
          <a:noFill/>
          <a:ln w="9525">
            <a:noFill/>
            <a:miter lim="800000"/>
            <a:headEnd/>
            <a:tailEnd/>
          </a:ln>
        </p:spPr>
      </p:pic>
      <p:pic>
        <p:nvPicPr>
          <p:cNvPr id="88" name="Picture 15" descr="black - 3 quarters.emf"/>
          <p:cNvPicPr>
            <a:picLocks noChangeAspect="1"/>
          </p:cNvPicPr>
          <p:nvPr/>
        </p:nvPicPr>
        <p:blipFill>
          <a:blip r:embed="rId3" cstate="print"/>
          <a:srcRect/>
          <a:stretch>
            <a:fillRect/>
          </a:stretch>
        </p:blipFill>
        <p:spPr bwMode="auto">
          <a:xfrm>
            <a:off x="2906975" y="3578858"/>
            <a:ext cx="329316" cy="328174"/>
          </a:xfrm>
          <a:prstGeom prst="rect">
            <a:avLst/>
          </a:prstGeom>
          <a:noFill/>
          <a:ln w="9525">
            <a:noFill/>
            <a:miter lim="800000"/>
            <a:headEnd/>
            <a:tailEnd/>
          </a:ln>
        </p:spPr>
      </p:pic>
      <p:pic>
        <p:nvPicPr>
          <p:cNvPr id="90" name="Picture 16" descr="black - half.emf"/>
          <p:cNvPicPr>
            <a:picLocks noChangeAspect="1"/>
          </p:cNvPicPr>
          <p:nvPr/>
        </p:nvPicPr>
        <p:blipFill>
          <a:blip r:embed="rId7" cstate="print"/>
          <a:srcRect/>
          <a:stretch>
            <a:fillRect/>
          </a:stretch>
        </p:blipFill>
        <p:spPr bwMode="auto">
          <a:xfrm>
            <a:off x="4723073" y="3558413"/>
            <a:ext cx="329316" cy="328174"/>
          </a:xfrm>
          <a:prstGeom prst="rect">
            <a:avLst/>
          </a:prstGeom>
          <a:noFill/>
          <a:ln w="9525">
            <a:noFill/>
            <a:miter lim="800000"/>
            <a:headEnd/>
            <a:tailEnd/>
          </a:ln>
        </p:spPr>
      </p:pic>
      <p:pic>
        <p:nvPicPr>
          <p:cNvPr id="92" name="Picture 14" descr="black - 1 quarter.emf"/>
          <p:cNvPicPr>
            <a:picLocks noChangeAspect="1"/>
          </p:cNvPicPr>
          <p:nvPr/>
        </p:nvPicPr>
        <p:blipFill>
          <a:blip r:embed="rId5" cstate="print"/>
          <a:srcRect/>
          <a:stretch>
            <a:fillRect/>
          </a:stretch>
        </p:blipFill>
        <p:spPr bwMode="auto">
          <a:xfrm>
            <a:off x="10106307" y="3544280"/>
            <a:ext cx="329316" cy="328173"/>
          </a:xfrm>
          <a:prstGeom prst="rect">
            <a:avLst/>
          </a:prstGeom>
          <a:noFill/>
          <a:ln w="9525">
            <a:noFill/>
            <a:miter lim="800000"/>
            <a:headEnd/>
            <a:tailEnd/>
          </a:ln>
        </p:spPr>
      </p:pic>
      <p:pic>
        <p:nvPicPr>
          <p:cNvPr id="93" name="Picture 17" descr="black - whole.emf"/>
          <p:cNvPicPr>
            <a:picLocks noChangeAspect="1"/>
          </p:cNvPicPr>
          <p:nvPr/>
        </p:nvPicPr>
        <p:blipFill>
          <a:blip r:embed="rId4" cstate="print"/>
          <a:srcRect/>
          <a:stretch>
            <a:fillRect/>
          </a:stretch>
        </p:blipFill>
        <p:spPr bwMode="auto">
          <a:xfrm>
            <a:off x="8403691" y="4656079"/>
            <a:ext cx="329316" cy="328174"/>
          </a:xfrm>
          <a:prstGeom prst="rect">
            <a:avLst/>
          </a:prstGeom>
          <a:noFill/>
          <a:ln w="9525">
            <a:noFill/>
            <a:miter lim="800000"/>
            <a:headEnd/>
            <a:tailEnd/>
          </a:ln>
        </p:spPr>
      </p:pic>
      <p:pic>
        <p:nvPicPr>
          <p:cNvPr id="94" name="Picture 17" descr="black - whole.emf"/>
          <p:cNvPicPr>
            <a:picLocks noChangeAspect="1"/>
          </p:cNvPicPr>
          <p:nvPr/>
        </p:nvPicPr>
        <p:blipFill>
          <a:blip r:embed="rId4" cstate="print"/>
          <a:srcRect/>
          <a:stretch>
            <a:fillRect/>
          </a:stretch>
        </p:blipFill>
        <p:spPr bwMode="auto">
          <a:xfrm>
            <a:off x="10106307" y="4677258"/>
            <a:ext cx="329316" cy="328174"/>
          </a:xfrm>
          <a:prstGeom prst="rect">
            <a:avLst/>
          </a:prstGeom>
          <a:noFill/>
          <a:ln w="9525">
            <a:noFill/>
            <a:miter lim="800000"/>
            <a:headEnd/>
            <a:tailEnd/>
          </a:ln>
        </p:spPr>
      </p:pic>
      <p:pic>
        <p:nvPicPr>
          <p:cNvPr id="95" name="Picture 16" descr="black - half.emf"/>
          <p:cNvPicPr>
            <a:picLocks noChangeAspect="1"/>
          </p:cNvPicPr>
          <p:nvPr/>
        </p:nvPicPr>
        <p:blipFill>
          <a:blip r:embed="rId7" cstate="print"/>
          <a:srcRect/>
          <a:stretch>
            <a:fillRect/>
          </a:stretch>
        </p:blipFill>
        <p:spPr bwMode="auto">
          <a:xfrm>
            <a:off x="8411927" y="4049934"/>
            <a:ext cx="329316" cy="328174"/>
          </a:xfrm>
          <a:prstGeom prst="rect">
            <a:avLst/>
          </a:prstGeom>
          <a:noFill/>
          <a:ln w="9525">
            <a:noFill/>
            <a:miter lim="800000"/>
            <a:headEnd/>
            <a:tailEnd/>
          </a:ln>
        </p:spPr>
      </p:pic>
      <p:pic>
        <p:nvPicPr>
          <p:cNvPr id="101" name="Picture 16" descr="black - half.emf"/>
          <p:cNvPicPr>
            <a:picLocks noChangeAspect="1"/>
          </p:cNvPicPr>
          <p:nvPr/>
        </p:nvPicPr>
        <p:blipFill>
          <a:blip r:embed="rId7" cstate="print"/>
          <a:srcRect/>
          <a:stretch>
            <a:fillRect/>
          </a:stretch>
        </p:blipFill>
        <p:spPr bwMode="auto">
          <a:xfrm>
            <a:off x="10100707" y="4061363"/>
            <a:ext cx="329316" cy="328174"/>
          </a:xfrm>
          <a:prstGeom prst="rect">
            <a:avLst/>
          </a:prstGeom>
          <a:noFill/>
          <a:ln w="9525">
            <a:noFill/>
            <a:miter lim="800000"/>
            <a:headEnd/>
            <a:tailEnd/>
          </a:ln>
        </p:spPr>
      </p:pic>
      <p:pic>
        <p:nvPicPr>
          <p:cNvPr id="113" name="Picture 15" descr="black - 3 quarters.emf"/>
          <p:cNvPicPr>
            <a:picLocks noChangeAspect="1"/>
          </p:cNvPicPr>
          <p:nvPr/>
        </p:nvPicPr>
        <p:blipFill>
          <a:blip r:embed="rId3" cstate="print"/>
          <a:srcRect/>
          <a:stretch>
            <a:fillRect/>
          </a:stretch>
        </p:blipFill>
        <p:spPr bwMode="auto">
          <a:xfrm>
            <a:off x="2907647" y="4654259"/>
            <a:ext cx="329316" cy="328174"/>
          </a:xfrm>
          <a:prstGeom prst="rect">
            <a:avLst/>
          </a:prstGeom>
          <a:noFill/>
          <a:ln w="9525">
            <a:noFill/>
            <a:miter lim="800000"/>
            <a:headEnd/>
            <a:tailEnd/>
          </a:ln>
        </p:spPr>
      </p:pic>
      <p:pic>
        <p:nvPicPr>
          <p:cNvPr id="114" name="Picture 16" descr="black - half.emf"/>
          <p:cNvPicPr>
            <a:picLocks noChangeAspect="1"/>
          </p:cNvPicPr>
          <p:nvPr/>
        </p:nvPicPr>
        <p:blipFill>
          <a:blip r:embed="rId7" cstate="print"/>
          <a:srcRect/>
          <a:stretch>
            <a:fillRect/>
          </a:stretch>
        </p:blipFill>
        <p:spPr bwMode="auto">
          <a:xfrm>
            <a:off x="6586492" y="4656753"/>
            <a:ext cx="329316" cy="328174"/>
          </a:xfrm>
          <a:prstGeom prst="rect">
            <a:avLst/>
          </a:prstGeom>
          <a:noFill/>
          <a:ln w="9525">
            <a:noFill/>
            <a:miter lim="800000"/>
            <a:headEnd/>
            <a:tailEnd/>
          </a:ln>
        </p:spPr>
      </p:pic>
      <p:pic>
        <p:nvPicPr>
          <p:cNvPr id="115" name="Picture 17" descr="black - whole.emf"/>
          <p:cNvPicPr>
            <a:picLocks noChangeAspect="1"/>
          </p:cNvPicPr>
          <p:nvPr/>
        </p:nvPicPr>
        <p:blipFill>
          <a:blip r:embed="rId4" cstate="print"/>
          <a:srcRect/>
          <a:stretch>
            <a:fillRect/>
          </a:stretch>
        </p:blipFill>
        <p:spPr bwMode="auto">
          <a:xfrm>
            <a:off x="6590236" y="3531669"/>
            <a:ext cx="329316" cy="328174"/>
          </a:xfrm>
          <a:prstGeom prst="rect">
            <a:avLst/>
          </a:prstGeom>
          <a:noFill/>
          <a:ln w="9525">
            <a:noFill/>
            <a:miter lim="800000"/>
            <a:headEnd/>
            <a:tailEnd/>
          </a:ln>
        </p:spPr>
      </p:pic>
      <p:pic>
        <p:nvPicPr>
          <p:cNvPr id="116" name="Picture 17" descr="black - whole.emf"/>
          <p:cNvPicPr>
            <a:picLocks noChangeAspect="1"/>
          </p:cNvPicPr>
          <p:nvPr/>
        </p:nvPicPr>
        <p:blipFill>
          <a:blip r:embed="rId4" cstate="print"/>
          <a:srcRect/>
          <a:stretch>
            <a:fillRect/>
          </a:stretch>
        </p:blipFill>
        <p:spPr bwMode="auto">
          <a:xfrm>
            <a:off x="2891557" y="4061363"/>
            <a:ext cx="329316" cy="328174"/>
          </a:xfrm>
          <a:prstGeom prst="rect">
            <a:avLst/>
          </a:prstGeom>
          <a:noFill/>
          <a:ln w="9525">
            <a:noFill/>
            <a:miter lim="800000"/>
            <a:headEnd/>
            <a:tailEnd/>
          </a:ln>
        </p:spPr>
      </p:pic>
      <p:sp>
        <p:nvSpPr>
          <p:cNvPr id="117" name="Tekstfelt 116"/>
          <p:cNvSpPr txBox="1"/>
          <p:nvPr/>
        </p:nvSpPr>
        <p:spPr>
          <a:xfrm>
            <a:off x="9658434" y="5463634"/>
            <a:ext cx="1280539" cy="577081"/>
          </a:xfrm>
          <a:prstGeom prst="rect">
            <a:avLst/>
          </a:prstGeom>
          <a:noFill/>
        </p:spPr>
        <p:txBody>
          <a:bodyPr wrap="square" rtlCol="0">
            <a:spAutoFit/>
          </a:bodyPr>
          <a:lstStyle/>
          <a:p>
            <a:pPr algn="ctr"/>
            <a:r>
              <a:rPr lang="en-US" sz="1050" dirty="0"/>
              <a:t>Cheap, but not preferred </a:t>
            </a:r>
            <a:r>
              <a:rPr lang="en-US" sz="1050"/>
              <a:t>by businesses. </a:t>
            </a:r>
            <a:endParaRPr lang="en-US" sz="1050" dirty="0"/>
          </a:p>
        </p:txBody>
      </p:sp>
      <p:sp>
        <p:nvSpPr>
          <p:cNvPr id="153" name="Rektangel 152"/>
          <p:cNvSpPr/>
          <p:nvPr/>
        </p:nvSpPr>
        <p:spPr>
          <a:xfrm>
            <a:off x="4055378" y="2925289"/>
            <a:ext cx="1952627" cy="3126758"/>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p:cNvSpPr/>
          <p:nvPr/>
        </p:nvSpPr>
        <p:spPr>
          <a:xfrm>
            <a:off x="7767912" y="2942026"/>
            <a:ext cx="3302000" cy="3181931"/>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71679" y="1492603"/>
            <a:ext cx="415566" cy="415566"/>
          </a:xfrm>
          <a:prstGeom prst="rect">
            <a:avLst/>
          </a:prstGeom>
        </p:spPr>
      </p:pic>
      <p:pic>
        <p:nvPicPr>
          <p:cNvPr id="11" name="Billed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44213" y="1430299"/>
            <a:ext cx="510917" cy="510917"/>
          </a:xfrm>
          <a:prstGeom prst="rect">
            <a:avLst/>
          </a:prstGeom>
        </p:spPr>
      </p:pic>
      <p:pic>
        <p:nvPicPr>
          <p:cNvPr id="12" name="Billed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27919" y="1459194"/>
            <a:ext cx="444139" cy="444139"/>
          </a:xfrm>
          <a:prstGeom prst="rect">
            <a:avLst/>
          </a:prstGeom>
        </p:spPr>
      </p:pic>
      <p:sp>
        <p:nvSpPr>
          <p:cNvPr id="86" name="Rektangel 85"/>
          <p:cNvSpPr/>
          <p:nvPr/>
        </p:nvSpPr>
        <p:spPr>
          <a:xfrm>
            <a:off x="2371715" y="1286594"/>
            <a:ext cx="8755327" cy="77550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9" name="Rektangel 88"/>
          <p:cNvSpPr/>
          <p:nvPr/>
        </p:nvSpPr>
        <p:spPr>
          <a:xfrm>
            <a:off x="789931" y="1278472"/>
            <a:ext cx="1777335" cy="798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1" name="Billede 9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65866" y="1462259"/>
            <a:ext cx="255699" cy="242361"/>
          </a:xfrm>
          <a:prstGeom prst="rect">
            <a:avLst/>
          </a:prstGeom>
        </p:spPr>
      </p:pic>
      <p:sp>
        <p:nvSpPr>
          <p:cNvPr id="104" name="Tekstfelt 103"/>
          <p:cNvSpPr txBox="1"/>
          <p:nvPr/>
        </p:nvSpPr>
        <p:spPr>
          <a:xfrm>
            <a:off x="786147" y="1683142"/>
            <a:ext cx="1890119" cy="400110"/>
          </a:xfrm>
          <a:prstGeom prst="rect">
            <a:avLst/>
          </a:prstGeom>
          <a:noFill/>
        </p:spPr>
        <p:txBody>
          <a:bodyPr wrap="square" rtlCol="0">
            <a:spAutoFit/>
          </a:bodyPr>
          <a:lstStyle/>
          <a:p>
            <a:r>
              <a:rPr lang="da-DK" sz="1000" b="1" dirty="0">
                <a:solidFill>
                  <a:schemeClr val="bg1"/>
                </a:solidFill>
              </a:rPr>
              <a:t>CRITERIA FOR MEDIA CHANNELS</a:t>
            </a:r>
          </a:p>
        </p:txBody>
      </p:sp>
      <p:cxnSp>
        <p:nvCxnSpPr>
          <p:cNvPr id="97" name="Lige forbindelse 96"/>
          <p:cNvCxnSpPr/>
          <p:nvPr/>
        </p:nvCxnSpPr>
        <p:spPr>
          <a:xfrm>
            <a:off x="789933" y="3459660"/>
            <a:ext cx="10337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Lige forbindelse 97"/>
          <p:cNvCxnSpPr/>
          <p:nvPr/>
        </p:nvCxnSpPr>
        <p:spPr>
          <a:xfrm>
            <a:off x="789932" y="3963716"/>
            <a:ext cx="10337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9" name="Lige forbindelse 98"/>
          <p:cNvCxnSpPr/>
          <p:nvPr/>
        </p:nvCxnSpPr>
        <p:spPr>
          <a:xfrm>
            <a:off x="789932" y="4467772"/>
            <a:ext cx="10337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Lige forbindelse 99"/>
          <p:cNvCxnSpPr/>
          <p:nvPr/>
        </p:nvCxnSpPr>
        <p:spPr>
          <a:xfrm>
            <a:off x="789934" y="5115844"/>
            <a:ext cx="103371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2370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animBg="1"/>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Pladsholder til tekst 50"/>
          <p:cNvSpPr>
            <a:spLocks noGrp="1"/>
          </p:cNvSpPr>
          <p:nvPr>
            <p:ph type="body" sz="quarter" idx="13"/>
          </p:nvPr>
        </p:nvSpPr>
        <p:spPr/>
        <p:txBody>
          <a:bodyPr/>
          <a:lstStyle/>
          <a:p>
            <a:endParaRPr lang="en-US"/>
          </a:p>
        </p:txBody>
      </p:sp>
      <p:sp>
        <p:nvSpPr>
          <p:cNvPr id="52" name="Pladsholder til tekst 51"/>
          <p:cNvSpPr>
            <a:spLocks noGrp="1"/>
          </p:cNvSpPr>
          <p:nvPr>
            <p:ph type="body" sz="quarter" idx="15"/>
          </p:nvPr>
        </p:nvSpPr>
        <p:spPr/>
        <p:txBody>
          <a:bodyPr/>
          <a:lstStyle/>
          <a:p>
            <a:endParaRPr lang="en-US"/>
          </a:p>
        </p:txBody>
      </p:sp>
      <p:sp>
        <p:nvSpPr>
          <p:cNvPr id="2" name="Title 1"/>
          <p:cNvSpPr>
            <a:spLocks noGrp="1"/>
          </p:cNvSpPr>
          <p:nvPr>
            <p:ph type="title"/>
          </p:nvPr>
        </p:nvSpPr>
        <p:spPr>
          <a:xfrm>
            <a:off x="527050" y="127212"/>
            <a:ext cx="9314374" cy="925103"/>
          </a:xfrm>
          <a:prstGeom prst="rect">
            <a:avLst/>
          </a:prstGeom>
        </p:spPr>
        <p:txBody>
          <a:bodyPr/>
          <a:lstStyle/>
          <a:p>
            <a:r>
              <a:rPr lang="en-GB" dirty="0"/>
              <a:t>Solution </a:t>
            </a:r>
            <a:r>
              <a:rPr lang="en-GB" dirty="0" err="1"/>
              <a:t>assesment</a:t>
            </a:r>
            <a:endParaRPr lang="en-GB" dirty="0"/>
          </a:p>
        </p:txBody>
      </p:sp>
      <p:sp>
        <p:nvSpPr>
          <p:cNvPr id="3" name="Slide Number Placeholder 2"/>
          <p:cNvSpPr>
            <a:spLocks noGrp="1"/>
          </p:cNvSpPr>
          <p:nvPr>
            <p:ph type="sldNum" sz="quarter" idx="4294967295"/>
          </p:nvPr>
        </p:nvSpPr>
        <p:spPr>
          <a:xfrm>
            <a:off x="9448800" y="6410325"/>
            <a:ext cx="2743200" cy="365125"/>
          </a:xfrm>
          <a:prstGeom prst="rect">
            <a:avLst/>
          </a:prstGeom>
        </p:spPr>
        <p:txBody>
          <a:bodyPr/>
          <a:lstStyle/>
          <a:p>
            <a:r>
              <a:rPr lang="en-US" sz="800" b="1">
                <a:solidFill>
                  <a:schemeClr val="bg1">
                    <a:lumMod val="50000"/>
                  </a:schemeClr>
                </a:solidFill>
                <a:latin typeface="Arial" charset="0"/>
                <a:ea typeface="Arial" charset="0"/>
                <a:cs typeface="Arial" charset="0"/>
              </a:rPr>
              <a:t> </a:t>
            </a:r>
            <a:r>
              <a:rPr lang="en-US">
                <a:solidFill>
                  <a:schemeClr val="bg1">
                    <a:lumMod val="50000"/>
                  </a:schemeClr>
                </a:solidFill>
                <a:latin typeface="Arial" charset="0"/>
                <a:ea typeface="Arial" charset="0"/>
                <a:cs typeface="Arial" charset="0"/>
              </a:rPr>
              <a:t>|  </a:t>
            </a:r>
            <a:fld id="{E393D1F3-05E6-3E4F-8D1A-AD6886FBA42E}" type="slidenum">
              <a:rPr lang="en-GB" smtClean="0"/>
              <a:pPr/>
              <a:t>39</a:t>
            </a:fld>
            <a:endParaRPr lang="en-GB" dirty="0"/>
          </a:p>
        </p:txBody>
      </p:sp>
      <p:cxnSp>
        <p:nvCxnSpPr>
          <p:cNvPr id="6" name="Straight Connector 5"/>
          <p:cNvCxnSpPr/>
          <p:nvPr/>
        </p:nvCxnSpPr>
        <p:spPr>
          <a:xfrm>
            <a:off x="10800523" y="1942356"/>
            <a:ext cx="0" cy="144016"/>
          </a:xfrm>
          <a:prstGeom prst="line">
            <a:avLst/>
          </a:prstGeom>
          <a:ln w="6350" cmpd="sng">
            <a:solidFill>
              <a:srgbClr val="D9D9D9"/>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6864085" y="1942356"/>
            <a:ext cx="0" cy="144016"/>
          </a:xfrm>
          <a:prstGeom prst="line">
            <a:avLst/>
          </a:prstGeom>
          <a:ln w="6350" cmpd="sng">
            <a:solidFill>
              <a:srgbClr val="D9D9D9"/>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4847861" y="1932196"/>
            <a:ext cx="0" cy="144016"/>
          </a:xfrm>
          <a:prstGeom prst="line">
            <a:avLst/>
          </a:prstGeom>
          <a:ln w="6350" cmpd="sng">
            <a:solidFill>
              <a:srgbClr val="D9D9D9"/>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9" name="Group 17"/>
          <p:cNvGrpSpPr>
            <a:grpSpLocks noChangeAspect="1"/>
          </p:cNvGrpSpPr>
          <p:nvPr/>
        </p:nvGrpSpPr>
        <p:grpSpPr bwMode="auto">
          <a:xfrm>
            <a:off x="10571256" y="2872759"/>
            <a:ext cx="384000" cy="384000"/>
            <a:chOff x="3048" y="829"/>
            <a:chExt cx="288" cy="288"/>
          </a:xfrm>
          <a:solidFill>
            <a:srgbClr val="00B050"/>
          </a:solidFill>
        </p:grpSpPr>
        <p:sp>
          <p:nvSpPr>
            <p:cNvPr id="10" name="Oval 7"/>
            <p:cNvSpPr>
              <a:spLocks noChangeArrowheads="1"/>
            </p:cNvSpPr>
            <p:nvPr>
              <p:custDataLst>
                <p:tags r:id="rId7"/>
              </p:custDataLst>
            </p:nvPr>
          </p:nvSpPr>
          <p:spPr bwMode="gray">
            <a:xfrm rot="2449774">
              <a:off x="3048" y="829"/>
              <a:ext cx="288" cy="288"/>
            </a:xfrm>
            <a:prstGeom prst="ellipse">
              <a:avLst/>
            </a:prstGeom>
            <a:grpFill/>
            <a:ln w="952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pPr marL="241294" indent="-241294" algn="ctr" eaLnBrk="0" hangingPunct="0"/>
              <a:endParaRPr lang="en-GB" sz="2400" dirty="0">
                <a:solidFill>
                  <a:schemeClr val="bg1"/>
                </a:solidFill>
              </a:endParaRPr>
            </a:p>
          </p:txBody>
        </p:sp>
        <p:sp>
          <p:nvSpPr>
            <p:cNvPr id="11" name="Line 8"/>
            <p:cNvSpPr>
              <a:spLocks noChangeShapeType="1"/>
            </p:cNvSpPr>
            <p:nvPr/>
          </p:nvSpPr>
          <p:spPr bwMode="gray">
            <a:xfrm rot="-8350226">
              <a:off x="3192" y="870"/>
              <a:ext cx="0" cy="206"/>
            </a:xfrm>
            <a:prstGeom prst="line">
              <a:avLst/>
            </a:prstGeom>
            <a:grpFill/>
            <a:ln w="38100">
              <a:solidFill>
                <a:schemeClr val="bg1"/>
              </a:solidFill>
              <a:round/>
              <a:headEnd/>
              <a:tailEnd type="triangle" w="med"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endParaRPr lang="en-GB" sz="933" dirty="0"/>
            </a:p>
          </p:txBody>
        </p:sp>
      </p:grpSp>
      <p:sp>
        <p:nvSpPr>
          <p:cNvPr id="12" name="Rectangle 11"/>
          <p:cNvSpPr>
            <a:spLocks noChangeArrowheads="1"/>
          </p:cNvSpPr>
          <p:nvPr/>
        </p:nvSpPr>
        <p:spPr bwMode="gray">
          <a:xfrm>
            <a:off x="4463819" y="1323592"/>
            <a:ext cx="4512501" cy="476251"/>
          </a:xfrm>
          <a:prstGeom prst="rect">
            <a:avLst/>
          </a:prstGeom>
          <a:solidFill>
            <a:schemeClr val="accent1"/>
          </a:solidFill>
          <a:ln w="9525">
            <a:solidFill>
              <a:srgbClr val="005296"/>
            </a:solidFill>
            <a:miter lim="800000"/>
            <a:headEnd/>
            <a:tailEnd/>
          </a:ln>
          <a:effectLst/>
        </p:spPr>
        <p:txBody>
          <a:bodyPr wrap="none" lIns="0" tIns="0" rIns="0" bIns="0" anchor="ctr"/>
          <a:lstStyle/>
          <a:p>
            <a:pPr algn="ctr" eaLnBrk="0" hangingPunct="0">
              <a:lnSpc>
                <a:spcPct val="100000"/>
              </a:lnSpc>
            </a:pPr>
            <a:r>
              <a:rPr lang="en-GB" sz="1867" b="1" dirty="0">
                <a:solidFill>
                  <a:schemeClr val="bg1"/>
                </a:solidFill>
                <a:latin typeface="Arial"/>
                <a:cs typeface="Arial"/>
              </a:rPr>
              <a:t>Increase revenue</a:t>
            </a:r>
          </a:p>
        </p:txBody>
      </p:sp>
      <p:sp>
        <p:nvSpPr>
          <p:cNvPr id="13" name="Text Box 16"/>
          <p:cNvSpPr txBox="1">
            <a:spLocks noChangeArrowheads="1"/>
          </p:cNvSpPr>
          <p:nvPr/>
        </p:nvSpPr>
        <p:spPr bwMode="gray">
          <a:xfrm>
            <a:off x="527386" y="3506792"/>
            <a:ext cx="1196036" cy="2873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9pPr>
          </a:lstStyle>
          <a:p>
            <a:pPr algn="l">
              <a:lnSpc>
                <a:spcPct val="100000"/>
              </a:lnSpc>
              <a:spcBef>
                <a:spcPct val="50000"/>
              </a:spcBef>
            </a:pPr>
            <a:r>
              <a:rPr lang="en-GB" sz="1867" b="1" dirty="0">
                <a:solidFill>
                  <a:schemeClr val="tx1">
                    <a:lumMod val="75000"/>
                    <a:lumOff val="25000"/>
                  </a:schemeClr>
                </a:solidFill>
                <a:latin typeface="Arial"/>
                <a:cs typeface="Arial"/>
              </a:rPr>
              <a:t>Risk </a:t>
            </a:r>
          </a:p>
        </p:txBody>
      </p:sp>
      <p:cxnSp>
        <p:nvCxnSpPr>
          <p:cNvPr id="14" name="AutoShape 9"/>
          <p:cNvCxnSpPr>
            <a:cxnSpLocks noChangeShapeType="1"/>
          </p:cNvCxnSpPr>
          <p:nvPr/>
        </p:nvCxnSpPr>
        <p:spPr bwMode="gray">
          <a:xfrm rot="10800000">
            <a:off x="6720069" y="1799845"/>
            <a:ext cx="4080459" cy="142521"/>
          </a:xfrm>
          <a:prstGeom prst="bentConnector2">
            <a:avLst/>
          </a:prstGeom>
          <a:noFill/>
          <a:ln w="6350">
            <a:solidFill>
              <a:srgbClr val="D9D9D9"/>
            </a:solidFill>
            <a:prstDash val="sysDot"/>
            <a:miter lim="800000"/>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AutoShape 45"/>
          <p:cNvCxnSpPr>
            <a:cxnSpLocks noChangeShapeType="1"/>
          </p:cNvCxnSpPr>
          <p:nvPr/>
        </p:nvCxnSpPr>
        <p:spPr bwMode="gray">
          <a:xfrm rot="5400000" flipH="1" flipV="1">
            <a:off x="4676442" y="25724"/>
            <a:ext cx="269513" cy="3817749"/>
          </a:xfrm>
          <a:prstGeom prst="bentConnector3">
            <a:avLst>
              <a:gd name="adj1" fmla="val 50000"/>
            </a:avLst>
          </a:prstGeom>
          <a:noFill/>
          <a:ln w="6350">
            <a:solidFill>
              <a:srgbClr val="D9D9D9"/>
            </a:solidFill>
            <a:prstDash val="sysDot"/>
            <a:miter lim="800000"/>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Text Box 63"/>
          <p:cNvSpPr txBox="1">
            <a:spLocks noChangeArrowheads="1"/>
          </p:cNvSpPr>
          <p:nvPr/>
        </p:nvSpPr>
        <p:spPr bwMode="gray">
          <a:xfrm>
            <a:off x="527382" y="2903528"/>
            <a:ext cx="1344149" cy="2873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9pPr>
          </a:lstStyle>
          <a:p>
            <a:pPr algn="l">
              <a:lnSpc>
                <a:spcPct val="100000"/>
              </a:lnSpc>
              <a:spcBef>
                <a:spcPct val="50000"/>
              </a:spcBef>
            </a:pPr>
            <a:r>
              <a:rPr lang="en-GB" sz="1867" b="1" dirty="0">
                <a:solidFill>
                  <a:schemeClr val="tx1">
                    <a:lumMod val="75000"/>
                    <a:lumOff val="25000"/>
                  </a:schemeClr>
                </a:solidFill>
                <a:latin typeface="Arial"/>
                <a:cs typeface="Arial"/>
              </a:rPr>
              <a:t>Profitability</a:t>
            </a:r>
          </a:p>
        </p:txBody>
      </p:sp>
      <p:grpSp>
        <p:nvGrpSpPr>
          <p:cNvPr id="21" name="Group 17"/>
          <p:cNvGrpSpPr>
            <a:grpSpLocks noChangeAspect="1"/>
          </p:cNvGrpSpPr>
          <p:nvPr/>
        </p:nvGrpSpPr>
        <p:grpSpPr bwMode="auto">
          <a:xfrm rot="2975154">
            <a:off x="6673287" y="2872759"/>
            <a:ext cx="384000" cy="384000"/>
            <a:chOff x="3048" y="829"/>
            <a:chExt cx="288" cy="288"/>
          </a:xfrm>
          <a:solidFill>
            <a:schemeClr val="tx1">
              <a:lumMod val="50000"/>
              <a:lumOff val="50000"/>
            </a:schemeClr>
          </a:solidFill>
        </p:grpSpPr>
        <p:sp>
          <p:nvSpPr>
            <p:cNvPr id="22" name="Oval 7"/>
            <p:cNvSpPr>
              <a:spLocks noChangeArrowheads="1"/>
            </p:cNvSpPr>
            <p:nvPr>
              <p:custDataLst>
                <p:tags r:id="rId6"/>
              </p:custDataLst>
            </p:nvPr>
          </p:nvSpPr>
          <p:spPr bwMode="gray">
            <a:xfrm rot="2449774">
              <a:off x="3048" y="829"/>
              <a:ext cx="288" cy="288"/>
            </a:xfrm>
            <a:prstGeom prst="ellipse">
              <a:avLst/>
            </a:prstGeom>
            <a:grpFill/>
            <a:ln w="952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pPr marL="241294" indent="-241294" algn="ctr" eaLnBrk="0" hangingPunct="0"/>
              <a:endParaRPr lang="en-GB" sz="2400" dirty="0">
                <a:solidFill>
                  <a:schemeClr val="bg1"/>
                </a:solidFill>
              </a:endParaRPr>
            </a:p>
          </p:txBody>
        </p:sp>
        <p:sp>
          <p:nvSpPr>
            <p:cNvPr id="23" name="Line 8"/>
            <p:cNvSpPr>
              <a:spLocks noChangeShapeType="1"/>
            </p:cNvSpPr>
            <p:nvPr/>
          </p:nvSpPr>
          <p:spPr bwMode="gray">
            <a:xfrm rot="-8350226">
              <a:off x="3192" y="870"/>
              <a:ext cx="0" cy="206"/>
            </a:xfrm>
            <a:prstGeom prst="line">
              <a:avLst/>
            </a:prstGeom>
            <a:grpFill/>
            <a:ln w="38100">
              <a:solidFill>
                <a:schemeClr val="bg1"/>
              </a:solidFill>
              <a:round/>
              <a:headEnd/>
              <a:tailEnd type="triangle" w="med"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endParaRPr lang="en-GB" sz="933" dirty="0"/>
            </a:p>
          </p:txBody>
        </p:sp>
      </p:grpSp>
      <p:grpSp>
        <p:nvGrpSpPr>
          <p:cNvPr id="24" name="Group 17"/>
          <p:cNvGrpSpPr>
            <a:grpSpLocks noChangeAspect="1"/>
          </p:cNvGrpSpPr>
          <p:nvPr/>
        </p:nvGrpSpPr>
        <p:grpSpPr bwMode="auto">
          <a:xfrm>
            <a:off x="8618664" y="2872759"/>
            <a:ext cx="384000" cy="384000"/>
            <a:chOff x="3048" y="829"/>
            <a:chExt cx="288" cy="288"/>
          </a:xfrm>
          <a:solidFill>
            <a:srgbClr val="00B050"/>
          </a:solidFill>
        </p:grpSpPr>
        <p:sp>
          <p:nvSpPr>
            <p:cNvPr id="25" name="Oval 7"/>
            <p:cNvSpPr>
              <a:spLocks noChangeArrowheads="1"/>
            </p:cNvSpPr>
            <p:nvPr>
              <p:custDataLst>
                <p:tags r:id="rId5"/>
              </p:custDataLst>
            </p:nvPr>
          </p:nvSpPr>
          <p:spPr bwMode="gray">
            <a:xfrm rot="2449774">
              <a:off x="3048" y="829"/>
              <a:ext cx="288" cy="288"/>
            </a:xfrm>
            <a:prstGeom prst="ellipse">
              <a:avLst/>
            </a:prstGeom>
            <a:grpFill/>
            <a:ln w="952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pPr marL="241294" indent="-241294" algn="ctr" eaLnBrk="0" hangingPunct="0"/>
              <a:endParaRPr lang="en-GB" sz="2400" dirty="0">
                <a:solidFill>
                  <a:schemeClr val="bg1"/>
                </a:solidFill>
              </a:endParaRPr>
            </a:p>
          </p:txBody>
        </p:sp>
        <p:sp>
          <p:nvSpPr>
            <p:cNvPr id="26" name="Line 8"/>
            <p:cNvSpPr>
              <a:spLocks noChangeShapeType="1"/>
            </p:cNvSpPr>
            <p:nvPr/>
          </p:nvSpPr>
          <p:spPr bwMode="gray">
            <a:xfrm rot="-8350226">
              <a:off x="3192" y="870"/>
              <a:ext cx="0" cy="206"/>
            </a:xfrm>
            <a:prstGeom prst="line">
              <a:avLst/>
            </a:prstGeom>
            <a:grpFill/>
            <a:ln w="38100">
              <a:solidFill>
                <a:schemeClr val="bg1"/>
              </a:solidFill>
              <a:round/>
              <a:headEnd/>
              <a:tailEnd type="triangle" w="med"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endParaRPr lang="en-GB" sz="933" dirty="0"/>
            </a:p>
          </p:txBody>
        </p:sp>
      </p:grpSp>
      <p:grpSp>
        <p:nvGrpSpPr>
          <p:cNvPr id="18" name="Group 17"/>
          <p:cNvGrpSpPr>
            <a:grpSpLocks noChangeAspect="1"/>
          </p:cNvGrpSpPr>
          <p:nvPr/>
        </p:nvGrpSpPr>
        <p:grpSpPr bwMode="auto">
          <a:xfrm rot="5856489">
            <a:off x="4758068" y="2872759"/>
            <a:ext cx="384000" cy="384000"/>
            <a:chOff x="3048" y="829"/>
            <a:chExt cx="288" cy="288"/>
          </a:xfrm>
          <a:solidFill>
            <a:srgbClr val="C00000"/>
          </a:solidFill>
        </p:grpSpPr>
        <p:sp>
          <p:nvSpPr>
            <p:cNvPr id="19" name="Oval 7"/>
            <p:cNvSpPr>
              <a:spLocks noChangeArrowheads="1"/>
            </p:cNvSpPr>
            <p:nvPr>
              <p:custDataLst>
                <p:tags r:id="rId4"/>
              </p:custDataLst>
            </p:nvPr>
          </p:nvSpPr>
          <p:spPr bwMode="gray">
            <a:xfrm rot="2449774">
              <a:off x="3048" y="829"/>
              <a:ext cx="288" cy="288"/>
            </a:xfrm>
            <a:prstGeom prst="ellipse">
              <a:avLst/>
            </a:prstGeom>
            <a:grpFill/>
            <a:ln w="952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pPr marL="241294" indent="-241294" algn="ctr" eaLnBrk="0" hangingPunct="0"/>
              <a:endParaRPr lang="en-GB" sz="2400" dirty="0">
                <a:solidFill>
                  <a:schemeClr val="bg1"/>
                </a:solidFill>
              </a:endParaRPr>
            </a:p>
          </p:txBody>
        </p:sp>
        <p:sp>
          <p:nvSpPr>
            <p:cNvPr id="20" name="Line 8"/>
            <p:cNvSpPr>
              <a:spLocks noChangeShapeType="1"/>
            </p:cNvSpPr>
            <p:nvPr/>
          </p:nvSpPr>
          <p:spPr bwMode="gray">
            <a:xfrm rot="-8350226">
              <a:off x="3192" y="870"/>
              <a:ext cx="0" cy="206"/>
            </a:xfrm>
            <a:prstGeom prst="line">
              <a:avLst/>
            </a:prstGeom>
            <a:grpFill/>
            <a:ln w="38100">
              <a:solidFill>
                <a:schemeClr val="bg1"/>
              </a:solidFill>
              <a:round/>
              <a:headEnd/>
              <a:tailEnd type="triangle" w="med"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endParaRPr lang="en-GB" sz="933" dirty="0"/>
            </a:p>
          </p:txBody>
        </p:sp>
      </p:grpSp>
      <p:sp>
        <p:nvSpPr>
          <p:cNvPr id="27" name="Text Box 16"/>
          <p:cNvSpPr txBox="1">
            <a:spLocks noChangeArrowheads="1"/>
          </p:cNvSpPr>
          <p:nvPr/>
        </p:nvSpPr>
        <p:spPr bwMode="gray">
          <a:xfrm>
            <a:off x="527382" y="4663180"/>
            <a:ext cx="1632181" cy="2873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9pPr>
          </a:lstStyle>
          <a:p>
            <a:pPr algn="l">
              <a:lnSpc>
                <a:spcPct val="100000"/>
              </a:lnSpc>
              <a:spcBef>
                <a:spcPct val="50000"/>
              </a:spcBef>
            </a:pPr>
            <a:r>
              <a:rPr lang="en-GB" sz="1867" b="1" dirty="0">
                <a:solidFill>
                  <a:schemeClr val="tx1">
                    <a:lumMod val="75000"/>
                    <a:lumOff val="25000"/>
                  </a:schemeClr>
                </a:solidFill>
                <a:latin typeface="Arial"/>
                <a:cs typeface="Arial"/>
              </a:rPr>
              <a:t>Differentiation</a:t>
            </a:r>
          </a:p>
        </p:txBody>
      </p:sp>
      <p:sp>
        <p:nvSpPr>
          <p:cNvPr id="28" name="Text Box 16"/>
          <p:cNvSpPr txBox="1">
            <a:spLocks noChangeArrowheads="1"/>
          </p:cNvSpPr>
          <p:nvPr/>
        </p:nvSpPr>
        <p:spPr bwMode="gray">
          <a:xfrm>
            <a:off x="527381" y="4068275"/>
            <a:ext cx="1440160" cy="2873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lnSpc>
                <a:spcPct val="86000"/>
              </a:lnSpc>
              <a:spcBef>
                <a:spcPct val="0"/>
              </a:spcBef>
              <a:spcAft>
                <a:spcPct val="0"/>
              </a:spcAft>
              <a:defRPr sz="1000">
                <a:solidFill>
                  <a:schemeClr val="tx1"/>
                </a:solidFill>
                <a:latin typeface="Arial" pitchFamily="34" charset="0"/>
                <a:cs typeface="Arial" pitchFamily="34" charset="0"/>
              </a:defRPr>
            </a:lvl9pPr>
          </a:lstStyle>
          <a:p>
            <a:pPr algn="l">
              <a:lnSpc>
                <a:spcPct val="100000"/>
              </a:lnSpc>
              <a:spcBef>
                <a:spcPct val="50000"/>
              </a:spcBef>
            </a:pPr>
            <a:r>
              <a:rPr lang="en-GB" sz="1867" b="1" dirty="0">
                <a:solidFill>
                  <a:schemeClr val="tx1">
                    <a:lumMod val="75000"/>
                    <a:lumOff val="25000"/>
                  </a:schemeClr>
                </a:solidFill>
                <a:latin typeface="Arial"/>
                <a:cs typeface="Arial"/>
              </a:rPr>
              <a:t>Business fit</a:t>
            </a:r>
          </a:p>
        </p:txBody>
      </p:sp>
      <p:grpSp>
        <p:nvGrpSpPr>
          <p:cNvPr id="32" name="Group 17"/>
          <p:cNvGrpSpPr>
            <a:grpSpLocks noChangeAspect="1"/>
          </p:cNvGrpSpPr>
          <p:nvPr/>
        </p:nvGrpSpPr>
        <p:grpSpPr bwMode="auto">
          <a:xfrm rot="5856489">
            <a:off x="2625576" y="2872759"/>
            <a:ext cx="384000" cy="384000"/>
            <a:chOff x="3048" y="829"/>
            <a:chExt cx="288" cy="288"/>
          </a:xfrm>
          <a:solidFill>
            <a:srgbClr val="C00000"/>
          </a:solidFill>
        </p:grpSpPr>
        <p:sp>
          <p:nvSpPr>
            <p:cNvPr id="33" name="Oval 7"/>
            <p:cNvSpPr>
              <a:spLocks noChangeArrowheads="1"/>
            </p:cNvSpPr>
            <p:nvPr>
              <p:custDataLst>
                <p:tags r:id="rId3"/>
              </p:custDataLst>
            </p:nvPr>
          </p:nvSpPr>
          <p:spPr bwMode="gray">
            <a:xfrm rot="2449774">
              <a:off x="3048" y="829"/>
              <a:ext cx="288" cy="288"/>
            </a:xfrm>
            <a:prstGeom prst="ellipse">
              <a:avLst/>
            </a:prstGeom>
            <a:grpFill/>
            <a:ln w="952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pPr marL="241294" indent="-241294" algn="ctr" eaLnBrk="0" hangingPunct="0"/>
              <a:endParaRPr lang="en-GB" sz="2400" dirty="0">
                <a:solidFill>
                  <a:schemeClr val="bg1"/>
                </a:solidFill>
              </a:endParaRPr>
            </a:p>
          </p:txBody>
        </p:sp>
        <p:sp>
          <p:nvSpPr>
            <p:cNvPr id="34" name="Line 8"/>
            <p:cNvSpPr>
              <a:spLocks noChangeShapeType="1"/>
            </p:cNvSpPr>
            <p:nvPr/>
          </p:nvSpPr>
          <p:spPr bwMode="gray">
            <a:xfrm rot="-8350226">
              <a:off x="3192" y="870"/>
              <a:ext cx="0" cy="206"/>
            </a:xfrm>
            <a:prstGeom prst="line">
              <a:avLst/>
            </a:prstGeom>
            <a:grpFill/>
            <a:ln w="38100">
              <a:solidFill>
                <a:schemeClr val="bg1"/>
              </a:solidFill>
              <a:round/>
              <a:headEnd/>
              <a:tailEnd type="triangle" w="med"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48007" rIns="0" bIns="0" anchor="ctr"/>
            <a:lstStyle/>
            <a:p>
              <a:endParaRPr lang="en-GB" sz="933" dirty="0"/>
            </a:p>
          </p:txBody>
        </p:sp>
      </p:grpSp>
      <p:cxnSp>
        <p:nvCxnSpPr>
          <p:cNvPr id="35" name="Straight Connector 34"/>
          <p:cNvCxnSpPr/>
          <p:nvPr/>
        </p:nvCxnSpPr>
        <p:spPr>
          <a:xfrm>
            <a:off x="8837355" y="1942356"/>
            <a:ext cx="0" cy="144016"/>
          </a:xfrm>
          <a:prstGeom prst="line">
            <a:avLst/>
          </a:prstGeom>
          <a:ln w="6350" cmpd="sng">
            <a:solidFill>
              <a:srgbClr val="D9D9D9"/>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37" name="Group 36"/>
          <p:cNvGrpSpPr/>
          <p:nvPr/>
        </p:nvGrpSpPr>
        <p:grpSpPr>
          <a:xfrm>
            <a:off x="667072" y="5202429"/>
            <a:ext cx="857192" cy="555869"/>
            <a:chOff x="500303" y="3876751"/>
            <a:chExt cx="642894" cy="416902"/>
          </a:xfrm>
        </p:grpSpPr>
        <p:sp>
          <p:nvSpPr>
            <p:cNvPr id="38" name="Oval 37"/>
            <p:cNvSpPr>
              <a:spLocks noChangeAspect="1"/>
            </p:cNvSpPr>
            <p:nvPr>
              <p:custDataLst>
                <p:tags r:id="rId1"/>
              </p:custDataLst>
            </p:nvPr>
          </p:nvSpPr>
          <p:spPr bwMode="auto">
            <a:xfrm>
              <a:off x="500303" y="4087435"/>
              <a:ext cx="136800" cy="135000"/>
            </a:xfrm>
            <a:prstGeom prst="ellipse">
              <a:avLst/>
            </a:prstGeom>
            <a:solidFill>
              <a:srgbClr val="0C395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sz="2400" dirty="0" err="1">
                <a:solidFill>
                  <a:schemeClr val="tx1">
                    <a:lumMod val="75000"/>
                    <a:lumOff val="25000"/>
                  </a:schemeClr>
                </a:solidFill>
              </a:endParaRPr>
            </a:p>
          </p:txBody>
        </p:sp>
        <p:sp>
          <p:nvSpPr>
            <p:cNvPr id="39" name="TextBox 38"/>
            <p:cNvSpPr txBox="1"/>
            <p:nvPr/>
          </p:nvSpPr>
          <p:spPr>
            <a:xfrm>
              <a:off x="603795" y="3876751"/>
              <a:ext cx="522018" cy="253916"/>
            </a:xfrm>
            <a:prstGeom prst="rect">
              <a:avLst/>
            </a:prstGeom>
            <a:noFill/>
          </p:spPr>
          <p:txBody>
            <a:bodyPr wrap="none" rtlCol="0">
              <a:spAutoFit/>
            </a:bodyPr>
            <a:lstStyle/>
            <a:p>
              <a:r>
                <a:rPr lang="en-US" sz="1600" dirty="0">
                  <a:solidFill>
                    <a:schemeClr val="tx1">
                      <a:lumMod val="75000"/>
                      <a:lumOff val="25000"/>
                    </a:schemeClr>
                  </a:solidFill>
                  <a:latin typeface="Arial"/>
                  <a:cs typeface="Arial"/>
                </a:rPr>
                <a:t>Small</a:t>
              </a:r>
            </a:p>
          </p:txBody>
        </p:sp>
        <p:sp>
          <p:nvSpPr>
            <p:cNvPr id="40" name="Oval 39"/>
            <p:cNvSpPr>
              <a:spLocks noChangeAspect="1"/>
            </p:cNvSpPr>
            <p:nvPr>
              <p:custDataLst>
                <p:tags r:id="rId2"/>
              </p:custDataLst>
            </p:nvPr>
          </p:nvSpPr>
          <p:spPr bwMode="auto">
            <a:xfrm>
              <a:off x="500303" y="3924449"/>
              <a:ext cx="136800" cy="135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sz="2400" dirty="0" err="1">
                <a:solidFill>
                  <a:schemeClr val="tx1">
                    <a:lumMod val="75000"/>
                    <a:lumOff val="25000"/>
                  </a:schemeClr>
                </a:solidFill>
              </a:endParaRPr>
            </a:p>
          </p:txBody>
        </p:sp>
        <p:sp>
          <p:nvSpPr>
            <p:cNvPr id="41" name="TextBox 40"/>
            <p:cNvSpPr txBox="1"/>
            <p:nvPr/>
          </p:nvSpPr>
          <p:spPr>
            <a:xfrm>
              <a:off x="611561" y="4039737"/>
              <a:ext cx="531636" cy="253916"/>
            </a:xfrm>
            <a:prstGeom prst="rect">
              <a:avLst/>
            </a:prstGeom>
            <a:noFill/>
          </p:spPr>
          <p:txBody>
            <a:bodyPr wrap="none" rtlCol="0">
              <a:spAutoFit/>
            </a:bodyPr>
            <a:lstStyle/>
            <a:p>
              <a:r>
                <a:rPr lang="en-US" sz="1600" dirty="0">
                  <a:solidFill>
                    <a:schemeClr val="tx1">
                      <a:lumMod val="75000"/>
                      <a:lumOff val="25000"/>
                    </a:schemeClr>
                  </a:solidFill>
                  <a:latin typeface="Arial"/>
                  <a:cs typeface="Arial"/>
                </a:rPr>
                <a:t>Large</a:t>
              </a:r>
            </a:p>
          </p:txBody>
        </p:sp>
      </p:grpSp>
      <p:sp>
        <p:nvSpPr>
          <p:cNvPr id="15" name="Rectangle 22"/>
          <p:cNvSpPr>
            <a:spLocks noChangeArrowheads="1"/>
          </p:cNvSpPr>
          <p:nvPr/>
        </p:nvSpPr>
        <p:spPr bwMode="gray">
          <a:xfrm>
            <a:off x="1495117" y="2087381"/>
            <a:ext cx="1664560" cy="587957"/>
          </a:xfrm>
          <a:prstGeom prst="rect">
            <a:avLst/>
          </a:prstGeom>
          <a:solidFill>
            <a:schemeClr val="accent1"/>
          </a:solidFill>
          <a:ln w="9525" algn="ctr">
            <a:solidFill>
              <a:srgbClr val="00529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6000" tIns="96000" rIns="48000" bIns="96000" anchor="ctr"/>
          <a:lstStyle/>
          <a:p>
            <a:pPr marL="122764" defTabSz="1305951"/>
            <a:r>
              <a:rPr lang="en-GB" sz="1867" dirty="0">
                <a:solidFill>
                  <a:schemeClr val="bg1"/>
                </a:solidFill>
                <a:latin typeface="Arial"/>
                <a:cs typeface="Arial"/>
              </a:rPr>
              <a:t>Brick-and-mortar</a:t>
            </a:r>
          </a:p>
        </p:txBody>
      </p:sp>
      <p:sp>
        <p:nvSpPr>
          <p:cNvPr id="29" name="Rectangle 22"/>
          <p:cNvSpPr>
            <a:spLocks noChangeArrowheads="1"/>
          </p:cNvSpPr>
          <p:nvPr/>
        </p:nvSpPr>
        <p:spPr bwMode="gray">
          <a:xfrm>
            <a:off x="3463882" y="2087381"/>
            <a:ext cx="1664560" cy="587957"/>
          </a:xfrm>
          <a:prstGeom prst="rect">
            <a:avLst/>
          </a:prstGeom>
          <a:solidFill>
            <a:schemeClr val="accent1"/>
          </a:solidFill>
          <a:ln w="9525" algn="ctr">
            <a:solidFill>
              <a:srgbClr val="005296"/>
            </a:solidFill>
            <a:miter lim="800000"/>
            <a:headEnd/>
            <a:tailEnd/>
          </a:ln>
          <a:effectLst/>
        </p:spPr>
        <p:txBody>
          <a:bodyPr lIns="96000" tIns="96000" rIns="48000" bIns="96000" anchor="ctr"/>
          <a:lstStyle/>
          <a:p>
            <a:pPr marL="122764" defTabSz="1305951"/>
            <a:r>
              <a:rPr lang="en-GB" sz="1867" dirty="0">
                <a:solidFill>
                  <a:schemeClr val="bg1"/>
                </a:solidFill>
                <a:latin typeface="Arial"/>
                <a:cs typeface="Arial"/>
              </a:rPr>
              <a:t>Heavy</a:t>
            </a:r>
          </a:p>
          <a:p>
            <a:pPr marL="122764" defTabSz="1305951"/>
            <a:r>
              <a:rPr lang="en-GB" sz="1867" dirty="0">
                <a:solidFill>
                  <a:schemeClr val="bg1"/>
                </a:solidFill>
                <a:latin typeface="Arial"/>
                <a:cs typeface="Arial"/>
              </a:rPr>
              <a:t>Promotion</a:t>
            </a:r>
          </a:p>
        </p:txBody>
      </p:sp>
      <p:sp>
        <p:nvSpPr>
          <p:cNvPr id="30" name="Rectangle 22"/>
          <p:cNvSpPr>
            <a:spLocks noChangeArrowheads="1"/>
          </p:cNvSpPr>
          <p:nvPr/>
        </p:nvSpPr>
        <p:spPr bwMode="gray">
          <a:xfrm>
            <a:off x="5447195" y="2087381"/>
            <a:ext cx="1664560" cy="587957"/>
          </a:xfrm>
          <a:prstGeom prst="rect">
            <a:avLst/>
          </a:prstGeom>
          <a:solidFill>
            <a:schemeClr val="accent1"/>
          </a:solidFill>
          <a:ln w="9525" algn="ctr">
            <a:solidFill>
              <a:srgbClr val="005296"/>
            </a:solidFill>
            <a:miter lim="800000"/>
            <a:headEnd/>
            <a:tailEnd/>
          </a:ln>
          <a:effectLst/>
        </p:spPr>
        <p:txBody>
          <a:bodyPr lIns="96000" tIns="96000" rIns="48000" bIns="96000" anchor="ctr"/>
          <a:lstStyle/>
          <a:p>
            <a:pPr marL="122764" defTabSz="1305951"/>
            <a:r>
              <a:rPr lang="en-GB" sz="1867" dirty="0">
                <a:solidFill>
                  <a:schemeClr val="bg1"/>
                </a:solidFill>
                <a:latin typeface="Arial"/>
                <a:cs typeface="Arial"/>
              </a:rPr>
              <a:t>Line extension</a:t>
            </a:r>
          </a:p>
        </p:txBody>
      </p:sp>
      <p:sp>
        <p:nvSpPr>
          <p:cNvPr id="31" name="Rectangle 22"/>
          <p:cNvSpPr>
            <a:spLocks noChangeArrowheads="1"/>
          </p:cNvSpPr>
          <p:nvPr/>
        </p:nvSpPr>
        <p:spPr bwMode="gray">
          <a:xfrm>
            <a:off x="7430039" y="2087381"/>
            <a:ext cx="1664560" cy="587957"/>
          </a:xfrm>
          <a:prstGeom prst="rect">
            <a:avLst/>
          </a:prstGeom>
          <a:solidFill>
            <a:schemeClr val="accent1"/>
          </a:solidFill>
          <a:ln w="9525" algn="ctr">
            <a:solidFill>
              <a:srgbClr val="005296"/>
            </a:solidFill>
            <a:miter lim="800000"/>
            <a:headEnd/>
            <a:tailEnd/>
          </a:ln>
          <a:effectLst/>
        </p:spPr>
        <p:txBody>
          <a:bodyPr lIns="96000" tIns="96000" rIns="48000" bIns="96000" anchor="ctr"/>
          <a:lstStyle/>
          <a:p>
            <a:pPr marL="122764" defTabSz="1305951"/>
            <a:r>
              <a:rPr lang="en-GB" sz="1867" dirty="0">
                <a:solidFill>
                  <a:schemeClr val="bg1"/>
                </a:solidFill>
                <a:latin typeface="Arial"/>
                <a:cs typeface="Arial"/>
              </a:rPr>
              <a:t>New Segments</a:t>
            </a:r>
          </a:p>
        </p:txBody>
      </p:sp>
      <p:sp>
        <p:nvSpPr>
          <p:cNvPr id="42" name="Rectangle 22"/>
          <p:cNvSpPr>
            <a:spLocks noChangeArrowheads="1"/>
          </p:cNvSpPr>
          <p:nvPr/>
        </p:nvSpPr>
        <p:spPr bwMode="gray">
          <a:xfrm>
            <a:off x="9369507" y="2087381"/>
            <a:ext cx="1664560" cy="587957"/>
          </a:xfrm>
          <a:prstGeom prst="rect">
            <a:avLst/>
          </a:prstGeom>
          <a:solidFill>
            <a:schemeClr val="accent1"/>
          </a:solidFill>
          <a:ln w="9525" algn="ctr">
            <a:solidFill>
              <a:srgbClr val="005296"/>
            </a:solidFill>
            <a:miter lim="800000"/>
            <a:headEnd/>
            <a:tailEnd/>
          </a:ln>
          <a:effectLst/>
        </p:spPr>
        <p:txBody>
          <a:bodyPr lIns="96000" tIns="96000" rIns="48000" bIns="96000" anchor="ctr"/>
          <a:lstStyle/>
          <a:p>
            <a:pPr marL="122764" defTabSz="1305951"/>
            <a:r>
              <a:rPr lang="en-GB" sz="1867" dirty="0">
                <a:solidFill>
                  <a:schemeClr val="bg1"/>
                </a:solidFill>
                <a:latin typeface="Arial"/>
                <a:cs typeface="Arial"/>
              </a:rPr>
              <a:t>New Channels</a:t>
            </a:r>
          </a:p>
        </p:txBody>
      </p:sp>
      <p:sp>
        <p:nvSpPr>
          <p:cNvPr id="43" name="Oval 40"/>
          <p:cNvSpPr>
            <a:spLocks noChangeAspect="1" noChangeArrowheads="1"/>
          </p:cNvSpPr>
          <p:nvPr/>
        </p:nvSpPr>
        <p:spPr bwMode="gray">
          <a:xfrm>
            <a:off x="1882269" y="1884874"/>
            <a:ext cx="366545" cy="366545"/>
          </a:xfrm>
          <a:prstGeom prst="ellipse">
            <a:avLst/>
          </a:prstGeom>
          <a:solidFill>
            <a:schemeClr val="accent1"/>
          </a:solidFill>
          <a:ln w="9525" algn="ctr">
            <a:solidFill>
              <a:schemeClr val="bg1"/>
            </a:solidFill>
            <a:round/>
            <a:headEnd/>
            <a:tailEnd/>
          </a:ln>
          <a:effectLst/>
        </p:spPr>
        <p:txBody>
          <a:bodyPr wrap="none" lIns="0" tIns="0" rIns="0" bIns="0" anchor="ctr"/>
          <a:lstStyle/>
          <a:p>
            <a:pPr eaLnBrk="0" hangingPunct="0">
              <a:lnSpc>
                <a:spcPct val="100000"/>
              </a:lnSpc>
            </a:pPr>
            <a:r>
              <a:rPr lang="en-GB" sz="1867" b="1" dirty="0">
                <a:solidFill>
                  <a:schemeClr val="bg1"/>
                </a:solidFill>
                <a:latin typeface="Arial"/>
                <a:cs typeface="Arial"/>
              </a:rPr>
              <a:t> 1 </a:t>
            </a:r>
          </a:p>
        </p:txBody>
      </p:sp>
      <p:sp>
        <p:nvSpPr>
          <p:cNvPr id="44" name="Oval 40"/>
          <p:cNvSpPr>
            <a:spLocks noChangeAspect="1" noChangeArrowheads="1"/>
          </p:cNvSpPr>
          <p:nvPr/>
        </p:nvSpPr>
        <p:spPr bwMode="gray">
          <a:xfrm>
            <a:off x="5821226" y="1881400"/>
            <a:ext cx="366545" cy="366545"/>
          </a:xfrm>
          <a:prstGeom prst="ellipse">
            <a:avLst/>
          </a:prstGeom>
          <a:solidFill>
            <a:schemeClr val="accent1"/>
          </a:solidFill>
          <a:ln w="9525" algn="ctr">
            <a:solidFill>
              <a:schemeClr val="bg1"/>
            </a:solidFill>
            <a:round/>
            <a:headEnd/>
            <a:tailEnd/>
          </a:ln>
          <a:effectLst/>
        </p:spPr>
        <p:txBody>
          <a:bodyPr wrap="none" lIns="0" tIns="0" rIns="0" bIns="0" anchor="ctr"/>
          <a:lstStyle/>
          <a:p>
            <a:pPr eaLnBrk="0" hangingPunct="0">
              <a:lnSpc>
                <a:spcPct val="100000"/>
              </a:lnSpc>
            </a:pPr>
            <a:r>
              <a:rPr lang="en-GB" sz="1867" b="1" dirty="0">
                <a:solidFill>
                  <a:schemeClr val="bg1"/>
                </a:solidFill>
                <a:latin typeface="Arial"/>
                <a:cs typeface="Arial"/>
              </a:rPr>
              <a:t> 3 </a:t>
            </a:r>
          </a:p>
        </p:txBody>
      </p:sp>
      <p:sp>
        <p:nvSpPr>
          <p:cNvPr id="45" name="Oval 44"/>
          <p:cNvSpPr>
            <a:spLocks noChangeAspect="1" noChangeArrowheads="1"/>
          </p:cNvSpPr>
          <p:nvPr/>
        </p:nvSpPr>
        <p:spPr bwMode="gray">
          <a:xfrm>
            <a:off x="7824934" y="1881398"/>
            <a:ext cx="366545" cy="366545"/>
          </a:xfrm>
          <a:prstGeom prst="ellipse">
            <a:avLst/>
          </a:prstGeom>
          <a:solidFill>
            <a:schemeClr val="accent1"/>
          </a:solidFill>
          <a:ln w="9525" algn="ctr">
            <a:solidFill>
              <a:schemeClr val="bg1"/>
            </a:solidFill>
            <a:round/>
            <a:headEnd/>
            <a:tailEnd/>
          </a:ln>
          <a:effectLst/>
        </p:spPr>
        <p:txBody>
          <a:bodyPr wrap="none" lIns="0" tIns="0" rIns="0" bIns="0" anchor="ctr"/>
          <a:lstStyle/>
          <a:p>
            <a:pPr eaLnBrk="0" hangingPunct="0">
              <a:lnSpc>
                <a:spcPct val="100000"/>
              </a:lnSpc>
            </a:pPr>
            <a:r>
              <a:rPr lang="en-GB" sz="1867" b="1" dirty="0">
                <a:solidFill>
                  <a:schemeClr val="bg1"/>
                </a:solidFill>
                <a:latin typeface="Arial"/>
                <a:cs typeface="Arial"/>
              </a:rPr>
              <a:t> 4 </a:t>
            </a:r>
          </a:p>
        </p:txBody>
      </p:sp>
      <p:sp>
        <p:nvSpPr>
          <p:cNvPr id="46" name="Oval 40"/>
          <p:cNvSpPr>
            <a:spLocks noChangeAspect="1" noChangeArrowheads="1"/>
          </p:cNvSpPr>
          <p:nvPr/>
        </p:nvSpPr>
        <p:spPr bwMode="gray">
          <a:xfrm>
            <a:off x="9761162" y="1891010"/>
            <a:ext cx="366545" cy="366545"/>
          </a:xfrm>
          <a:prstGeom prst="ellipse">
            <a:avLst/>
          </a:prstGeom>
          <a:solidFill>
            <a:schemeClr val="accent1"/>
          </a:solidFill>
          <a:ln w="9525" algn="ctr">
            <a:solidFill>
              <a:schemeClr val="bg1"/>
            </a:solidFill>
            <a:round/>
            <a:headEnd/>
            <a:tailEnd/>
          </a:ln>
          <a:effectLst/>
        </p:spPr>
        <p:txBody>
          <a:bodyPr wrap="none" lIns="0" tIns="0" rIns="0" bIns="0" anchor="ctr"/>
          <a:lstStyle/>
          <a:p>
            <a:pPr eaLnBrk="0" hangingPunct="0">
              <a:lnSpc>
                <a:spcPct val="100000"/>
              </a:lnSpc>
            </a:pPr>
            <a:r>
              <a:rPr lang="en-GB" sz="1867" b="1" dirty="0">
                <a:solidFill>
                  <a:schemeClr val="bg1"/>
                </a:solidFill>
                <a:latin typeface="Arial"/>
                <a:cs typeface="Arial"/>
              </a:rPr>
              <a:t> 5 </a:t>
            </a:r>
          </a:p>
        </p:txBody>
      </p:sp>
      <p:sp>
        <p:nvSpPr>
          <p:cNvPr id="47" name="o"/>
          <p:cNvSpPr>
            <a:spLocks noChangeAspect="1"/>
          </p:cNvSpPr>
          <p:nvPr/>
        </p:nvSpPr>
        <p:spPr>
          <a:xfrm>
            <a:off x="6684043" y="3490166"/>
            <a:ext cx="349861" cy="349861"/>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48" name="Group 47"/>
          <p:cNvGrpSpPr>
            <a:grpSpLocks noChangeAspect="1"/>
          </p:cNvGrpSpPr>
          <p:nvPr/>
        </p:nvGrpSpPr>
        <p:grpSpPr>
          <a:xfrm>
            <a:off x="10588325" y="3435529"/>
            <a:ext cx="349861" cy="349861"/>
            <a:chOff x="6096000" y="3429000"/>
            <a:chExt cx="317500" cy="317500"/>
          </a:xfrm>
        </p:grpSpPr>
        <p:sp>
          <p:nvSpPr>
            <p:cNvPr id="49"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 name="Ball"/>
            <p:cNvSpPr/>
            <p:nvPr/>
          </p:nvSpPr>
          <p:spPr>
            <a:xfrm rot="16200000">
              <a:off x="6096000" y="3429000"/>
              <a:ext cx="317500" cy="317500"/>
            </a:xfrm>
            <a:prstGeom prst="pie">
              <a:avLst>
                <a:gd name="adj1" fmla="val 0"/>
                <a:gd name="adj2" fmla="val 54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54" name="Group 53"/>
          <p:cNvGrpSpPr>
            <a:grpSpLocks noChangeAspect="1"/>
          </p:cNvGrpSpPr>
          <p:nvPr/>
        </p:nvGrpSpPr>
        <p:grpSpPr>
          <a:xfrm>
            <a:off x="10619323" y="4071441"/>
            <a:ext cx="355345" cy="358163"/>
            <a:chOff x="6096000" y="3429000"/>
            <a:chExt cx="322476" cy="325032"/>
          </a:xfrm>
        </p:grpSpPr>
        <p:sp>
          <p:nvSpPr>
            <p:cNvPr id="55"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6" name="Ball"/>
            <p:cNvSpPr/>
            <p:nvPr/>
          </p:nvSpPr>
          <p:spPr>
            <a:xfrm rot="16200000">
              <a:off x="6094722" y="3430278"/>
              <a:ext cx="325032" cy="322476"/>
            </a:xfrm>
            <a:prstGeom prst="pie">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57" name="Group 56"/>
          <p:cNvGrpSpPr>
            <a:grpSpLocks noChangeAspect="1"/>
          </p:cNvGrpSpPr>
          <p:nvPr/>
        </p:nvGrpSpPr>
        <p:grpSpPr>
          <a:xfrm>
            <a:off x="10601784" y="4696370"/>
            <a:ext cx="349861" cy="352967"/>
            <a:chOff x="6096000" y="3428999"/>
            <a:chExt cx="317500" cy="320317"/>
          </a:xfrm>
          <a:solidFill>
            <a:srgbClr val="005296"/>
          </a:solidFill>
        </p:grpSpPr>
        <p:sp>
          <p:nvSpPr>
            <p:cNvPr id="58" name="o"/>
            <p:cNvSpPr/>
            <p:nvPr/>
          </p:nvSpPr>
          <p:spPr>
            <a:xfrm>
              <a:off x="6096000" y="3429000"/>
              <a:ext cx="317500" cy="317500"/>
            </a:xfrm>
            <a:prstGeom prst="ellipse">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9" name="Ball"/>
            <p:cNvSpPr/>
            <p:nvPr/>
          </p:nvSpPr>
          <p:spPr>
            <a:xfrm rot="16200000">
              <a:off x="6093954" y="3431045"/>
              <a:ext cx="320317" cy="316225"/>
            </a:xfrm>
            <a:prstGeom prst="pie">
              <a:avLst>
                <a:gd name="adj1" fmla="val 0"/>
                <a:gd name="adj2" fmla="val 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60" name="Group 59"/>
          <p:cNvGrpSpPr>
            <a:grpSpLocks noChangeAspect="1"/>
          </p:cNvGrpSpPr>
          <p:nvPr/>
        </p:nvGrpSpPr>
        <p:grpSpPr>
          <a:xfrm>
            <a:off x="4737654" y="3485692"/>
            <a:ext cx="350037" cy="358163"/>
            <a:chOff x="6096000" y="3429000"/>
            <a:chExt cx="317659" cy="325032"/>
          </a:xfrm>
        </p:grpSpPr>
        <p:sp>
          <p:nvSpPr>
            <p:cNvPr id="61"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2"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63" name="Group 62"/>
          <p:cNvGrpSpPr>
            <a:grpSpLocks noChangeAspect="1"/>
          </p:cNvGrpSpPr>
          <p:nvPr/>
        </p:nvGrpSpPr>
        <p:grpSpPr>
          <a:xfrm>
            <a:off x="4737654" y="4072788"/>
            <a:ext cx="350037" cy="358163"/>
            <a:chOff x="6096000" y="3429000"/>
            <a:chExt cx="317659" cy="325032"/>
          </a:xfrm>
        </p:grpSpPr>
        <p:sp>
          <p:nvSpPr>
            <p:cNvPr id="64"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5"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66" name="Group 65"/>
          <p:cNvGrpSpPr>
            <a:grpSpLocks noChangeAspect="1"/>
          </p:cNvGrpSpPr>
          <p:nvPr/>
        </p:nvGrpSpPr>
        <p:grpSpPr>
          <a:xfrm>
            <a:off x="4734338" y="4659884"/>
            <a:ext cx="350037" cy="358163"/>
            <a:chOff x="6096000" y="3429000"/>
            <a:chExt cx="317659" cy="325032"/>
          </a:xfrm>
        </p:grpSpPr>
        <p:sp>
          <p:nvSpPr>
            <p:cNvPr id="67"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8"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69" name="Group 68"/>
          <p:cNvGrpSpPr>
            <a:grpSpLocks noChangeAspect="1"/>
          </p:cNvGrpSpPr>
          <p:nvPr/>
        </p:nvGrpSpPr>
        <p:grpSpPr>
          <a:xfrm>
            <a:off x="2654716" y="3481864"/>
            <a:ext cx="350037" cy="358163"/>
            <a:chOff x="6096000" y="3429000"/>
            <a:chExt cx="317659" cy="325032"/>
          </a:xfrm>
        </p:grpSpPr>
        <p:sp>
          <p:nvSpPr>
            <p:cNvPr id="70"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1"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72" name="Group 71"/>
          <p:cNvGrpSpPr>
            <a:grpSpLocks noChangeAspect="1"/>
          </p:cNvGrpSpPr>
          <p:nvPr/>
        </p:nvGrpSpPr>
        <p:grpSpPr>
          <a:xfrm>
            <a:off x="2654716" y="4068960"/>
            <a:ext cx="350037" cy="358163"/>
            <a:chOff x="6096000" y="3429000"/>
            <a:chExt cx="317659" cy="325032"/>
          </a:xfrm>
        </p:grpSpPr>
        <p:sp>
          <p:nvSpPr>
            <p:cNvPr id="73"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4"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75" name="Group 74"/>
          <p:cNvGrpSpPr>
            <a:grpSpLocks noChangeAspect="1"/>
          </p:cNvGrpSpPr>
          <p:nvPr/>
        </p:nvGrpSpPr>
        <p:grpSpPr>
          <a:xfrm>
            <a:off x="2651400" y="4656056"/>
            <a:ext cx="350037" cy="358163"/>
            <a:chOff x="6096000" y="3429000"/>
            <a:chExt cx="317659" cy="325032"/>
          </a:xfrm>
        </p:grpSpPr>
        <p:sp>
          <p:nvSpPr>
            <p:cNvPr id="76"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7"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sp>
        <p:nvSpPr>
          <p:cNvPr id="78" name="o"/>
          <p:cNvSpPr>
            <a:spLocks noChangeAspect="1"/>
          </p:cNvSpPr>
          <p:nvPr/>
        </p:nvSpPr>
        <p:spPr>
          <a:xfrm>
            <a:off x="6684043" y="4077262"/>
            <a:ext cx="349861" cy="349861"/>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9" name="o"/>
          <p:cNvSpPr>
            <a:spLocks noChangeAspect="1"/>
          </p:cNvSpPr>
          <p:nvPr/>
        </p:nvSpPr>
        <p:spPr>
          <a:xfrm>
            <a:off x="6684043" y="4700663"/>
            <a:ext cx="349861" cy="349861"/>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80" name="Group 79"/>
          <p:cNvGrpSpPr>
            <a:grpSpLocks noChangeAspect="1"/>
          </p:cNvGrpSpPr>
          <p:nvPr/>
        </p:nvGrpSpPr>
        <p:grpSpPr>
          <a:xfrm>
            <a:off x="8635646" y="3482317"/>
            <a:ext cx="350037" cy="358163"/>
            <a:chOff x="6096000" y="3429000"/>
            <a:chExt cx="317659" cy="325032"/>
          </a:xfrm>
        </p:grpSpPr>
        <p:sp>
          <p:nvSpPr>
            <p:cNvPr id="81"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2"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83" name="Group 82"/>
          <p:cNvGrpSpPr>
            <a:grpSpLocks noChangeAspect="1"/>
          </p:cNvGrpSpPr>
          <p:nvPr/>
        </p:nvGrpSpPr>
        <p:grpSpPr>
          <a:xfrm>
            <a:off x="8626283" y="4056479"/>
            <a:ext cx="350037" cy="358163"/>
            <a:chOff x="6096000" y="3429000"/>
            <a:chExt cx="317659" cy="325032"/>
          </a:xfrm>
        </p:grpSpPr>
        <p:sp>
          <p:nvSpPr>
            <p:cNvPr id="84"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5"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grpSp>
        <p:nvGrpSpPr>
          <p:cNvPr id="86" name="Group 85"/>
          <p:cNvGrpSpPr>
            <a:grpSpLocks noChangeAspect="1"/>
          </p:cNvGrpSpPr>
          <p:nvPr/>
        </p:nvGrpSpPr>
        <p:grpSpPr>
          <a:xfrm>
            <a:off x="8626108" y="4702487"/>
            <a:ext cx="350037" cy="358163"/>
            <a:chOff x="6096000" y="3429000"/>
            <a:chExt cx="317659" cy="325032"/>
          </a:xfrm>
        </p:grpSpPr>
        <p:sp>
          <p:nvSpPr>
            <p:cNvPr id="87" name="o"/>
            <p:cNvSpPr/>
            <p:nvPr/>
          </p:nvSpPr>
          <p:spPr>
            <a:xfrm>
              <a:off x="6096000" y="3429000"/>
              <a:ext cx="317500" cy="317500"/>
            </a:xfrm>
            <a:prstGeom prst="ellipse">
              <a:avLst/>
            </a:prstGeom>
            <a:solidFill>
              <a:srgbClr val="FFFFFF"/>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8" name="Ball"/>
            <p:cNvSpPr/>
            <p:nvPr/>
          </p:nvSpPr>
          <p:spPr>
            <a:xfrm rot="16200000">
              <a:off x="6092314" y="3432687"/>
              <a:ext cx="325032" cy="317658"/>
            </a:xfrm>
            <a:prstGeom prst="pie">
              <a:avLst>
                <a:gd name="adj1" fmla="val 0"/>
                <a:gd name="adj2" fmla="val 10800000"/>
              </a:avLst>
            </a:prstGeom>
            <a:solidFill>
              <a:schemeClr val="accent1"/>
            </a:solidFill>
            <a:ln w="12700" cap="flat" cmpd="sng" algn="ctr">
              <a:solidFill>
                <a:schemeClr val="accent1"/>
              </a:solid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grpSp>
      <p:sp>
        <p:nvSpPr>
          <p:cNvPr id="90" name="Rektangel 89"/>
          <p:cNvSpPr/>
          <p:nvPr/>
        </p:nvSpPr>
        <p:spPr>
          <a:xfrm>
            <a:off x="2366728" y="2722856"/>
            <a:ext cx="5432536" cy="327413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Oval 40"/>
          <p:cNvSpPr>
            <a:spLocks noChangeAspect="1" noChangeArrowheads="1"/>
          </p:cNvSpPr>
          <p:nvPr/>
        </p:nvSpPr>
        <p:spPr bwMode="gray">
          <a:xfrm>
            <a:off x="3876350" y="1886345"/>
            <a:ext cx="366545" cy="366545"/>
          </a:xfrm>
          <a:prstGeom prst="ellipse">
            <a:avLst/>
          </a:prstGeom>
          <a:solidFill>
            <a:schemeClr val="accent1"/>
          </a:solidFill>
          <a:ln w="9525" algn="ctr">
            <a:solidFill>
              <a:schemeClr val="bg1"/>
            </a:solidFill>
            <a:round/>
            <a:headEnd/>
            <a:tailEnd/>
          </a:ln>
          <a:effectLst/>
        </p:spPr>
        <p:txBody>
          <a:bodyPr wrap="none" lIns="0" tIns="0" rIns="0" bIns="0" anchor="ctr"/>
          <a:lstStyle/>
          <a:p>
            <a:pPr eaLnBrk="0" hangingPunct="0">
              <a:lnSpc>
                <a:spcPct val="100000"/>
              </a:lnSpc>
            </a:pPr>
            <a:r>
              <a:rPr lang="en-GB" sz="1867" b="1" dirty="0">
                <a:solidFill>
                  <a:schemeClr val="bg1"/>
                </a:solidFill>
                <a:latin typeface="Arial"/>
                <a:cs typeface="Arial"/>
              </a:rPr>
              <a:t> 2 </a:t>
            </a:r>
          </a:p>
        </p:txBody>
      </p:sp>
    </p:spTree>
    <p:extLst>
      <p:ext uri="{BB962C8B-B14F-4D97-AF65-F5344CB8AC3E}">
        <p14:creationId xmlns:p14="http://schemas.microsoft.com/office/powerpoint/2010/main" val="270567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F0B0AB1A-AD51-4E08-8F18-B019FB35C7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95" name="think-cell Slide" r:id="rId6" imgW="592" imgH="591" progId="TCLayout.ActiveDocument.1">
                  <p:embed/>
                </p:oleObj>
              </mc:Choice>
              <mc:Fallback>
                <p:oleObj name="think-cell Slide" r:id="rId6" imgW="592" imgH="591" progId="TCLayout.ActiveDocument.1">
                  <p:embed/>
                  <p:pic>
                    <p:nvPicPr>
                      <p:cNvPr id="43" name="Object 42" hidden="1">
                        <a:extLst>
                          <a:ext uri="{FF2B5EF4-FFF2-40B4-BE49-F238E27FC236}">
                            <a16:creationId xmlns:a16="http://schemas.microsoft.com/office/drawing/2014/main" id="{F0B0AB1A-AD51-4E08-8F18-B019FB35C7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E55517E-D0A1-4556-AA06-D7617E1E13B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200" dirty="0">
              <a:sym typeface="+mn-lt"/>
            </a:endParaRPr>
          </a:p>
        </p:txBody>
      </p:sp>
      <p:sp>
        <p:nvSpPr>
          <p:cNvPr id="2" name="Text Placeholder 1">
            <a:extLst>
              <a:ext uri="{FF2B5EF4-FFF2-40B4-BE49-F238E27FC236}">
                <a16:creationId xmlns:a16="http://schemas.microsoft.com/office/drawing/2014/main" id="{6CC71AFB-2C11-4670-AC18-2D43F877A8E0}"/>
              </a:ext>
            </a:extLst>
          </p:cNvPr>
          <p:cNvSpPr>
            <a:spLocks noGrp="1"/>
          </p:cNvSpPr>
          <p:nvPr>
            <p:ph type="body" sz="quarter" idx="13"/>
          </p:nvPr>
        </p:nvSpPr>
        <p:spPr/>
        <p:txBody>
          <a:bodyPr/>
          <a:lstStyle/>
          <a:p>
            <a:endParaRPr lang="en-GB" dirty="0"/>
          </a:p>
        </p:txBody>
      </p:sp>
      <p:sp>
        <p:nvSpPr>
          <p:cNvPr id="3" name="Text Placeholder 2">
            <a:extLst>
              <a:ext uri="{FF2B5EF4-FFF2-40B4-BE49-F238E27FC236}">
                <a16:creationId xmlns:a16="http://schemas.microsoft.com/office/drawing/2014/main" id="{CCE541E2-BC86-41AF-B28F-829390327CB1}"/>
              </a:ext>
            </a:extLst>
          </p:cNvPr>
          <p:cNvSpPr>
            <a:spLocks noGrp="1"/>
          </p:cNvSpPr>
          <p:nvPr>
            <p:ph type="body" sz="quarter" idx="15"/>
          </p:nvPr>
        </p:nvSpPr>
        <p:spPr>
          <a:xfrm>
            <a:off x="620911" y="5941061"/>
            <a:ext cx="10948800" cy="180595"/>
          </a:xfrm>
        </p:spPr>
        <p:txBody>
          <a:bodyPr/>
          <a:lstStyle/>
          <a:p>
            <a:endParaRPr lang="en-GB" dirty="0"/>
          </a:p>
        </p:txBody>
      </p:sp>
      <p:sp>
        <p:nvSpPr>
          <p:cNvPr id="4" name="Title 3">
            <a:extLst>
              <a:ext uri="{FF2B5EF4-FFF2-40B4-BE49-F238E27FC236}">
                <a16:creationId xmlns:a16="http://schemas.microsoft.com/office/drawing/2014/main" id="{BACE0275-2BE9-47B7-9A3C-A75DE8A2442C}"/>
              </a:ext>
            </a:extLst>
          </p:cNvPr>
          <p:cNvSpPr>
            <a:spLocks noGrp="1"/>
          </p:cNvSpPr>
          <p:nvPr>
            <p:ph type="title"/>
          </p:nvPr>
        </p:nvSpPr>
        <p:spPr>
          <a:xfrm>
            <a:off x="527051" y="127212"/>
            <a:ext cx="9298874" cy="925103"/>
          </a:xfrm>
        </p:spPr>
        <p:txBody>
          <a:bodyPr/>
          <a:lstStyle/>
          <a:p>
            <a:r>
              <a:rPr lang="en-GB" dirty="0"/>
              <a:t>Visualization</a:t>
            </a:r>
          </a:p>
        </p:txBody>
      </p:sp>
      <p:pic>
        <p:nvPicPr>
          <p:cNvPr id="9" name="Billede 8">
            <a:extLst>
              <a:ext uri="{FF2B5EF4-FFF2-40B4-BE49-F238E27FC236}">
                <a16:creationId xmlns:a16="http://schemas.microsoft.com/office/drawing/2014/main" id="{B1BAE97B-4D90-4F4D-8705-498A7298ED1D}"/>
              </a:ext>
            </a:extLst>
          </p:cNvPr>
          <p:cNvPicPr>
            <a:picLocks noChangeAspect="1"/>
          </p:cNvPicPr>
          <p:nvPr/>
        </p:nvPicPr>
        <p:blipFill>
          <a:blip r:embed="rId8"/>
          <a:stretch>
            <a:fillRect/>
          </a:stretch>
        </p:blipFill>
        <p:spPr>
          <a:xfrm rot="16200000">
            <a:off x="1445537" y="467052"/>
            <a:ext cx="4947760" cy="6597012"/>
          </a:xfrm>
          <a:prstGeom prst="rect">
            <a:avLst/>
          </a:prstGeom>
        </p:spPr>
      </p:pic>
      <p:pic>
        <p:nvPicPr>
          <p:cNvPr id="11" name="Billede 10">
            <a:extLst>
              <a:ext uri="{FF2B5EF4-FFF2-40B4-BE49-F238E27FC236}">
                <a16:creationId xmlns:a16="http://schemas.microsoft.com/office/drawing/2014/main" id="{23AE60ED-3422-5B4F-9F49-FE35DCCF3E3D}"/>
              </a:ext>
            </a:extLst>
          </p:cNvPr>
          <p:cNvPicPr>
            <a:picLocks noChangeAspect="1"/>
          </p:cNvPicPr>
          <p:nvPr/>
        </p:nvPicPr>
        <p:blipFill>
          <a:blip r:embed="rId9"/>
          <a:stretch>
            <a:fillRect/>
          </a:stretch>
        </p:blipFill>
        <p:spPr>
          <a:xfrm>
            <a:off x="10458423" y="3388567"/>
            <a:ext cx="1010185" cy="753978"/>
          </a:xfrm>
          <a:prstGeom prst="rect">
            <a:avLst/>
          </a:prstGeom>
        </p:spPr>
      </p:pic>
      <p:pic>
        <p:nvPicPr>
          <p:cNvPr id="16" name="Billede 15">
            <a:extLst>
              <a:ext uri="{FF2B5EF4-FFF2-40B4-BE49-F238E27FC236}">
                <a16:creationId xmlns:a16="http://schemas.microsoft.com/office/drawing/2014/main" id="{43AEC40A-8BEF-8245-89EE-64F318035155}"/>
              </a:ext>
            </a:extLst>
          </p:cNvPr>
          <p:cNvPicPr>
            <a:picLocks noChangeAspect="1"/>
          </p:cNvPicPr>
          <p:nvPr/>
        </p:nvPicPr>
        <p:blipFill>
          <a:blip r:embed="rId10"/>
          <a:stretch>
            <a:fillRect/>
          </a:stretch>
        </p:blipFill>
        <p:spPr>
          <a:xfrm>
            <a:off x="8777303" y="3388567"/>
            <a:ext cx="988710" cy="753979"/>
          </a:xfrm>
          <a:prstGeom prst="rect">
            <a:avLst/>
          </a:prstGeom>
        </p:spPr>
      </p:pic>
      <p:sp>
        <p:nvSpPr>
          <p:cNvPr id="17" name="Tekstfelt 16">
            <a:extLst>
              <a:ext uri="{FF2B5EF4-FFF2-40B4-BE49-F238E27FC236}">
                <a16:creationId xmlns:a16="http://schemas.microsoft.com/office/drawing/2014/main" id="{02A223D0-4CD9-F241-B06E-1875097DC00B}"/>
              </a:ext>
            </a:extLst>
          </p:cNvPr>
          <p:cNvSpPr txBox="1"/>
          <p:nvPr/>
        </p:nvSpPr>
        <p:spPr>
          <a:xfrm>
            <a:off x="7753669" y="3582000"/>
            <a:ext cx="889987" cy="369332"/>
          </a:xfrm>
          <a:prstGeom prst="rect">
            <a:avLst/>
          </a:prstGeom>
          <a:noFill/>
        </p:spPr>
        <p:txBody>
          <a:bodyPr wrap="none" rtlCol="0">
            <a:spAutoFit/>
          </a:bodyPr>
          <a:lstStyle/>
          <a:p>
            <a:r>
              <a:rPr lang="da-DK" dirty="0"/>
              <a:t>Genre:</a:t>
            </a:r>
          </a:p>
        </p:txBody>
      </p:sp>
      <p:sp>
        <p:nvSpPr>
          <p:cNvPr id="19" name="Tekstfelt 18">
            <a:extLst>
              <a:ext uri="{FF2B5EF4-FFF2-40B4-BE49-F238E27FC236}">
                <a16:creationId xmlns:a16="http://schemas.microsoft.com/office/drawing/2014/main" id="{C5255DC5-CEE8-314C-9024-F41F46B807D1}"/>
              </a:ext>
            </a:extLst>
          </p:cNvPr>
          <p:cNvSpPr txBox="1"/>
          <p:nvPr/>
        </p:nvSpPr>
        <p:spPr>
          <a:xfrm>
            <a:off x="9899660" y="3473168"/>
            <a:ext cx="425116" cy="584775"/>
          </a:xfrm>
          <a:prstGeom prst="rect">
            <a:avLst/>
          </a:prstGeom>
          <a:noFill/>
        </p:spPr>
        <p:txBody>
          <a:bodyPr wrap="none" rtlCol="0">
            <a:spAutoFit/>
          </a:bodyPr>
          <a:lstStyle/>
          <a:p>
            <a:r>
              <a:rPr lang="da-DK" sz="3200" dirty="0"/>
              <a:t>+</a:t>
            </a:r>
            <a:endParaRPr lang="da-DK" dirty="0"/>
          </a:p>
        </p:txBody>
      </p:sp>
    </p:spTree>
    <p:extLst>
      <p:ext uri="{BB962C8B-B14F-4D97-AF65-F5344CB8AC3E}">
        <p14:creationId xmlns:p14="http://schemas.microsoft.com/office/powerpoint/2010/main" val="33646023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Pladsholder til tekst 62"/>
          <p:cNvSpPr>
            <a:spLocks noGrp="1"/>
          </p:cNvSpPr>
          <p:nvPr>
            <p:ph type="body" sz="quarter" idx="13"/>
          </p:nvPr>
        </p:nvSpPr>
        <p:spPr/>
        <p:txBody>
          <a:bodyPr/>
          <a:lstStyle/>
          <a:p>
            <a:endParaRPr lang="en-US"/>
          </a:p>
        </p:txBody>
      </p:sp>
      <p:sp>
        <p:nvSpPr>
          <p:cNvPr id="66" name="Pladsholder til tekst 65"/>
          <p:cNvSpPr>
            <a:spLocks noGrp="1"/>
          </p:cNvSpPr>
          <p:nvPr>
            <p:ph type="body" sz="quarter" idx="15"/>
          </p:nvPr>
        </p:nvSpPr>
        <p:spPr/>
        <p:txBody>
          <a:bodyPr/>
          <a:lstStyle/>
          <a:p>
            <a:endParaRPr lang="en-US"/>
          </a:p>
        </p:txBody>
      </p:sp>
      <p:sp>
        <p:nvSpPr>
          <p:cNvPr id="2" name="Title 1"/>
          <p:cNvSpPr>
            <a:spLocks noGrp="1"/>
          </p:cNvSpPr>
          <p:nvPr>
            <p:ph type="title"/>
          </p:nvPr>
        </p:nvSpPr>
        <p:spPr>
          <a:xfrm>
            <a:off x="527050" y="127212"/>
            <a:ext cx="9314374" cy="925103"/>
          </a:xfrm>
          <a:prstGeom prst="rect">
            <a:avLst/>
          </a:prstGeom>
        </p:spPr>
        <p:txBody>
          <a:bodyPr/>
          <a:lstStyle/>
          <a:p>
            <a:r>
              <a:rPr lang="en-GB" dirty="0"/>
              <a:t>Solution assessment slide</a:t>
            </a:r>
          </a:p>
        </p:txBody>
      </p:sp>
      <p:sp>
        <p:nvSpPr>
          <p:cNvPr id="3" name="Slide Number Placeholder 2"/>
          <p:cNvSpPr>
            <a:spLocks noGrp="1"/>
          </p:cNvSpPr>
          <p:nvPr>
            <p:ph type="sldNum" sz="quarter" idx="4294967295"/>
          </p:nvPr>
        </p:nvSpPr>
        <p:spPr>
          <a:xfrm>
            <a:off x="9448800" y="6410325"/>
            <a:ext cx="2743200" cy="365125"/>
          </a:xfrm>
          <a:prstGeom prst="rect">
            <a:avLst/>
          </a:prstGeom>
        </p:spPr>
        <p:txBody>
          <a:bodyPr/>
          <a:lstStyle/>
          <a:p>
            <a:r>
              <a:rPr lang="en-US" sz="800" b="1">
                <a:solidFill>
                  <a:schemeClr val="bg1">
                    <a:lumMod val="50000"/>
                  </a:schemeClr>
                </a:solidFill>
                <a:latin typeface="Arial" charset="0"/>
                <a:ea typeface="Arial" charset="0"/>
                <a:cs typeface="Arial" charset="0"/>
              </a:rPr>
              <a:t> </a:t>
            </a:r>
            <a:r>
              <a:rPr lang="en-US">
                <a:solidFill>
                  <a:schemeClr val="bg1">
                    <a:lumMod val="50000"/>
                  </a:schemeClr>
                </a:solidFill>
                <a:latin typeface="Arial" charset="0"/>
                <a:ea typeface="Arial" charset="0"/>
                <a:cs typeface="Arial" charset="0"/>
              </a:rPr>
              <a:t>|  </a:t>
            </a:r>
            <a:fld id="{E393D1F3-05E6-3E4F-8D1A-AD6886FBA42E}" type="slidenum">
              <a:rPr lang="en-GB" smtClean="0"/>
              <a:pPr/>
              <a:t>40</a:t>
            </a:fld>
            <a:endParaRPr lang="en-GB" dirty="0"/>
          </a:p>
        </p:txBody>
      </p:sp>
      <p:grpSp>
        <p:nvGrpSpPr>
          <p:cNvPr id="65" name="Grupper 64"/>
          <p:cNvGrpSpPr/>
          <p:nvPr/>
        </p:nvGrpSpPr>
        <p:grpSpPr>
          <a:xfrm>
            <a:off x="1092294" y="1203767"/>
            <a:ext cx="6229285" cy="4740320"/>
            <a:chOff x="1439551" y="896406"/>
            <a:chExt cx="6636094" cy="5049891"/>
          </a:xfrm>
        </p:grpSpPr>
        <p:sp>
          <p:nvSpPr>
            <p:cNvPr id="6" name="Oval 19"/>
            <p:cNvSpPr>
              <a:spLocks noChangeArrowheads="1"/>
            </p:cNvSpPr>
            <p:nvPr/>
          </p:nvSpPr>
          <p:spPr bwMode="auto">
            <a:xfrm>
              <a:off x="3180233" y="1426098"/>
              <a:ext cx="2778702" cy="2797795"/>
            </a:xfrm>
            <a:prstGeom prst="ellipse">
              <a:avLst/>
            </a:prstGeom>
            <a:solidFill>
              <a:schemeClr val="lt1"/>
            </a:solid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050">
                <a:solidFill>
                  <a:schemeClr val="tx1">
                    <a:lumMod val="75000"/>
                    <a:lumOff val="25000"/>
                  </a:schemeClr>
                </a:solidFill>
              </a:endParaRPr>
            </a:p>
          </p:txBody>
        </p:sp>
        <p:sp>
          <p:nvSpPr>
            <p:cNvPr id="7" name="Oval 20"/>
            <p:cNvSpPr>
              <a:spLocks noChangeArrowheads="1"/>
            </p:cNvSpPr>
            <p:nvPr/>
          </p:nvSpPr>
          <p:spPr bwMode="auto">
            <a:xfrm>
              <a:off x="2320308" y="2925435"/>
              <a:ext cx="2780774" cy="2799866"/>
            </a:xfrm>
            <a:prstGeom prst="ellipse">
              <a:avLst/>
            </a:prstGeom>
            <a:solidFill>
              <a:schemeClr val="lt1"/>
            </a:solidFill>
            <a:ln w="6350">
              <a:solidFill>
                <a:schemeClr val="bg1">
                  <a:lumMod val="85000"/>
                </a:schemeClr>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1050">
                <a:solidFill>
                  <a:schemeClr val="tx1">
                    <a:lumMod val="75000"/>
                    <a:lumOff val="25000"/>
                  </a:schemeClr>
                </a:solidFill>
              </a:endParaRPr>
            </a:p>
          </p:txBody>
        </p:sp>
        <p:sp>
          <p:nvSpPr>
            <p:cNvPr id="8" name="Oval 21"/>
            <p:cNvSpPr>
              <a:spLocks noChangeArrowheads="1"/>
            </p:cNvSpPr>
            <p:nvPr/>
          </p:nvSpPr>
          <p:spPr bwMode="auto">
            <a:xfrm>
              <a:off x="4044304" y="2925435"/>
              <a:ext cx="2780774" cy="2799866"/>
            </a:xfrm>
            <a:prstGeom prst="ellipse">
              <a:avLst/>
            </a:prstGeom>
            <a:solidFill>
              <a:schemeClr val="lt1"/>
            </a:solidFill>
            <a:ln w="6350">
              <a:solidFill>
                <a:schemeClr val="bg1">
                  <a:lumMod val="85000"/>
                </a:schemeClr>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1050">
                <a:solidFill>
                  <a:schemeClr val="tx1">
                    <a:lumMod val="75000"/>
                    <a:lumOff val="25000"/>
                  </a:schemeClr>
                </a:solidFill>
              </a:endParaRPr>
            </a:p>
          </p:txBody>
        </p:sp>
        <p:sp>
          <p:nvSpPr>
            <p:cNvPr id="9" name="Freeform 24"/>
            <p:cNvSpPr>
              <a:spLocks/>
            </p:cNvSpPr>
            <p:nvPr/>
          </p:nvSpPr>
          <p:spPr bwMode="auto">
            <a:xfrm>
              <a:off x="4044302" y="3229857"/>
              <a:ext cx="1060920" cy="2193092"/>
            </a:xfrm>
            <a:custGeom>
              <a:avLst/>
              <a:gdLst/>
              <a:ahLst/>
              <a:cxnLst>
                <a:cxn ang="0">
                  <a:pos x="256" y="0"/>
                </a:cxn>
                <a:cxn ang="0">
                  <a:pos x="0" y="505"/>
                </a:cxn>
                <a:cxn ang="0">
                  <a:pos x="256" y="1059"/>
                </a:cxn>
                <a:cxn ang="0">
                  <a:pos x="511" y="537"/>
                </a:cxn>
                <a:cxn ang="0">
                  <a:pos x="256" y="0"/>
                </a:cxn>
              </a:cxnLst>
              <a:rect l="0" t="0" r="r" b="b"/>
              <a:pathLst>
                <a:path w="511" h="1059">
                  <a:moveTo>
                    <a:pt x="256" y="0"/>
                  </a:moveTo>
                  <a:cubicBezTo>
                    <a:pt x="80" y="149"/>
                    <a:pt x="0" y="329"/>
                    <a:pt x="0" y="505"/>
                  </a:cubicBezTo>
                  <a:cubicBezTo>
                    <a:pt x="0" y="681"/>
                    <a:pt x="48" y="899"/>
                    <a:pt x="256" y="1059"/>
                  </a:cubicBezTo>
                  <a:cubicBezTo>
                    <a:pt x="440" y="905"/>
                    <a:pt x="511" y="714"/>
                    <a:pt x="511" y="537"/>
                  </a:cubicBezTo>
                  <a:cubicBezTo>
                    <a:pt x="511" y="360"/>
                    <a:pt x="438" y="140"/>
                    <a:pt x="256" y="0"/>
                  </a:cubicBezTo>
                  <a:close/>
                </a:path>
              </a:pathLst>
            </a:custGeom>
            <a:solidFill>
              <a:schemeClr val="bg1">
                <a:lumMod val="95000"/>
              </a:schemeClr>
            </a:solidFill>
            <a:ln w="9525" cap="flat" cmpd="sng">
              <a:noFill/>
              <a:prstDash val="solid"/>
              <a:round/>
              <a:headEnd/>
              <a:tailEnd/>
            </a:ln>
            <a:effectLst/>
          </p:spPr>
          <p:txBody>
            <a:bodyPr vert="horz" wrap="none" lIns="90000" tIns="45720" rIns="90000" bIns="45720" numCol="1" anchor="ctr" anchorCtr="0" compatLnSpc="1">
              <a:prstTxWarp prst="textNoShape">
                <a:avLst/>
              </a:prstTxWarp>
            </a:bodyPr>
            <a:lstStyle/>
            <a:p>
              <a:pPr algn="ctr" fontAlgn="base">
                <a:spcBef>
                  <a:spcPct val="40000"/>
                </a:spcBef>
                <a:spcAft>
                  <a:spcPct val="0"/>
                </a:spcAft>
                <a:buClr>
                  <a:srgbClr val="215283"/>
                </a:buClr>
                <a:buSzPct val="85000"/>
                <a:buFont typeface="Wingdings" pitchFamily="2" charset="2"/>
                <a:buNone/>
              </a:pPr>
              <a:endParaRPr lang="en-US" sz="1050">
                <a:solidFill>
                  <a:schemeClr val="tx1">
                    <a:lumMod val="75000"/>
                    <a:lumOff val="25000"/>
                  </a:schemeClr>
                </a:solidFill>
                <a:latin typeface="Arial" panose="020B0604020202020204" pitchFamily="34" charset="0"/>
                <a:cs typeface="Arial" panose="020B0604020202020204" pitchFamily="34" charset="0"/>
              </a:endParaRPr>
            </a:p>
          </p:txBody>
        </p:sp>
        <p:sp>
          <p:nvSpPr>
            <p:cNvPr id="10" name="Rectangle 9"/>
            <p:cNvSpPr/>
            <p:nvPr/>
          </p:nvSpPr>
          <p:spPr>
            <a:xfrm>
              <a:off x="1439551" y="5567690"/>
              <a:ext cx="1637379" cy="259416"/>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b="1" dirty="0">
                  <a:solidFill>
                    <a:schemeClr val="tx1">
                      <a:lumMod val="75000"/>
                      <a:lumOff val="25000"/>
                    </a:schemeClr>
                  </a:solidFill>
                  <a:latin typeface="Arial" panose="020B0604020202020204" pitchFamily="34" charset="0"/>
                  <a:cs typeface="Arial" panose="020B0604020202020204" pitchFamily="34" charset="0"/>
                </a:rPr>
                <a:t>Financial impact</a:t>
              </a:r>
            </a:p>
          </p:txBody>
        </p:sp>
        <p:sp>
          <p:nvSpPr>
            <p:cNvPr id="11" name="Rectangle 10"/>
            <p:cNvSpPr/>
            <p:nvPr/>
          </p:nvSpPr>
          <p:spPr>
            <a:xfrm>
              <a:off x="1758337" y="3637465"/>
              <a:ext cx="2319621" cy="483452"/>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Internationalize operations</a:t>
              </a:r>
            </a:p>
          </p:txBody>
        </p:sp>
        <p:sp>
          <p:nvSpPr>
            <p:cNvPr id="12" name="Rectangle 11"/>
            <p:cNvSpPr/>
            <p:nvPr/>
          </p:nvSpPr>
          <p:spPr>
            <a:xfrm>
              <a:off x="2602559" y="4734056"/>
              <a:ext cx="2319621" cy="483452"/>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Lower prices</a:t>
              </a:r>
            </a:p>
          </p:txBody>
        </p:sp>
        <p:sp>
          <p:nvSpPr>
            <p:cNvPr id="13" name="Rectangle 12"/>
            <p:cNvSpPr/>
            <p:nvPr/>
          </p:nvSpPr>
          <p:spPr>
            <a:xfrm>
              <a:off x="5692927" y="5573566"/>
              <a:ext cx="2382718" cy="372731"/>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b="1" dirty="0">
                  <a:solidFill>
                    <a:schemeClr val="tx1">
                      <a:lumMod val="75000"/>
                      <a:lumOff val="25000"/>
                    </a:schemeClr>
                  </a:solidFill>
                  <a:latin typeface="Arial" panose="020B0604020202020204" pitchFamily="34" charset="0"/>
                  <a:cs typeface="Arial" panose="020B0604020202020204" pitchFamily="34" charset="0"/>
                </a:rPr>
                <a:t>Ease of implementation</a:t>
              </a:r>
            </a:p>
          </p:txBody>
        </p:sp>
        <p:sp>
          <p:nvSpPr>
            <p:cNvPr id="14" name="Line 3"/>
            <p:cNvSpPr>
              <a:spLocks noChangeShapeType="1"/>
            </p:cNvSpPr>
            <p:nvPr/>
          </p:nvSpPr>
          <p:spPr bwMode="auto">
            <a:xfrm rot="16200000" flipV="1">
              <a:off x="3353445" y="2451634"/>
              <a:ext cx="2439261" cy="0"/>
            </a:xfrm>
            <a:prstGeom prst="line">
              <a:avLst/>
            </a:prstGeom>
            <a:noFill/>
            <a:ln w="3175">
              <a:solidFill>
                <a:schemeClr val="tx1"/>
              </a:solidFill>
              <a:round/>
              <a:headEnd/>
              <a:tailEnd type="triangle" w="med" len="med"/>
            </a:ln>
          </p:spPr>
          <p:txBody>
            <a:bodyPr lIns="121767" tIns="60879" rIns="121767" bIns="60879"/>
            <a:lstStyle/>
            <a:p>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15" name="Line 3"/>
            <p:cNvSpPr>
              <a:spLocks noChangeShapeType="1"/>
            </p:cNvSpPr>
            <p:nvPr/>
          </p:nvSpPr>
          <p:spPr bwMode="auto">
            <a:xfrm rot="16200000" flipH="1" flipV="1">
              <a:off x="2557337" y="3547857"/>
              <a:ext cx="1896416" cy="2128188"/>
            </a:xfrm>
            <a:prstGeom prst="line">
              <a:avLst/>
            </a:prstGeom>
            <a:noFill/>
            <a:ln w="3175">
              <a:solidFill>
                <a:schemeClr val="tx1"/>
              </a:solidFill>
              <a:round/>
              <a:headEnd/>
              <a:tailEnd type="triangle" w="med" len="med"/>
            </a:ln>
          </p:spPr>
          <p:txBody>
            <a:bodyPr lIns="121767" tIns="60879" rIns="121767" bIns="60879"/>
            <a:lstStyle/>
            <a:p>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16" name="Line 3"/>
            <p:cNvSpPr>
              <a:spLocks noChangeShapeType="1"/>
            </p:cNvSpPr>
            <p:nvPr/>
          </p:nvSpPr>
          <p:spPr bwMode="auto">
            <a:xfrm rot="16200000" flipH="1">
              <a:off x="4699426" y="3534706"/>
              <a:ext cx="1895338" cy="2152580"/>
            </a:xfrm>
            <a:prstGeom prst="line">
              <a:avLst/>
            </a:prstGeom>
            <a:noFill/>
            <a:ln w="3175">
              <a:solidFill>
                <a:schemeClr val="tx1"/>
              </a:solidFill>
              <a:round/>
              <a:headEnd/>
              <a:tailEnd type="triangle" w="med" len="med"/>
            </a:ln>
          </p:spPr>
          <p:txBody>
            <a:bodyPr lIns="121767" tIns="60879" rIns="121767" bIns="60879"/>
            <a:lstStyle/>
            <a:p>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17" name="Oval 16"/>
            <p:cNvSpPr/>
            <p:nvPr/>
          </p:nvSpPr>
          <p:spPr>
            <a:xfrm>
              <a:off x="5681950" y="5183656"/>
              <a:ext cx="192363" cy="202305"/>
            </a:xfrm>
            <a:prstGeom prst="ellipse">
              <a:avLst/>
            </a:prstGeom>
            <a:solidFill>
              <a:srgbClr val="0C39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24" name="Rectangle 23"/>
            <p:cNvSpPr/>
            <p:nvPr/>
          </p:nvSpPr>
          <p:spPr>
            <a:xfrm>
              <a:off x="5656372" y="3990572"/>
              <a:ext cx="2280703" cy="391440"/>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Collaborations</a:t>
              </a:r>
            </a:p>
          </p:txBody>
        </p:sp>
        <p:sp>
          <p:nvSpPr>
            <p:cNvPr id="25" name="Freeform 24"/>
            <p:cNvSpPr>
              <a:spLocks/>
            </p:cNvSpPr>
            <p:nvPr/>
          </p:nvSpPr>
          <p:spPr bwMode="auto">
            <a:xfrm>
              <a:off x="4052593" y="2842598"/>
              <a:ext cx="1902198" cy="1435140"/>
            </a:xfrm>
            <a:custGeom>
              <a:avLst/>
              <a:gdLst/>
              <a:ahLst/>
              <a:cxnLst>
                <a:cxn ang="0">
                  <a:pos x="0" y="615"/>
                </a:cxn>
                <a:cxn ang="0">
                  <a:pos x="568" y="586"/>
                </a:cxn>
                <a:cxn ang="0">
                  <a:pos x="918" y="87"/>
                </a:cxn>
                <a:cxn ang="0">
                  <a:pos x="341" y="123"/>
                </a:cxn>
                <a:cxn ang="0">
                  <a:pos x="0" y="615"/>
                </a:cxn>
              </a:cxnLst>
              <a:rect l="0" t="0" r="r" b="b"/>
              <a:pathLst>
                <a:path w="918" h="693">
                  <a:moveTo>
                    <a:pt x="0" y="615"/>
                  </a:moveTo>
                  <a:cubicBezTo>
                    <a:pt x="217" y="693"/>
                    <a:pt x="408" y="675"/>
                    <a:pt x="568" y="586"/>
                  </a:cubicBezTo>
                  <a:cubicBezTo>
                    <a:pt x="728" y="497"/>
                    <a:pt x="865" y="369"/>
                    <a:pt x="918" y="87"/>
                  </a:cubicBezTo>
                  <a:cubicBezTo>
                    <a:pt x="690" y="0"/>
                    <a:pt x="493" y="34"/>
                    <a:pt x="341" y="123"/>
                  </a:cubicBezTo>
                  <a:cubicBezTo>
                    <a:pt x="189" y="212"/>
                    <a:pt x="31" y="387"/>
                    <a:pt x="0" y="615"/>
                  </a:cubicBezTo>
                  <a:close/>
                </a:path>
              </a:pathLst>
            </a:custGeom>
            <a:solidFill>
              <a:schemeClr val="bg1">
                <a:lumMod val="95000"/>
              </a:schemeClr>
            </a:solidFill>
            <a:ln w="9525" cap="flat" cmpd="sng">
              <a:noFill/>
              <a:prstDash val="solid"/>
              <a:round/>
              <a:headEnd/>
              <a:tailEnd/>
            </a:ln>
            <a:effectLst/>
          </p:spPr>
          <p:txBody>
            <a:bodyPr vert="horz" wrap="none" lIns="90000" tIns="45720" rIns="90000" bIns="45720" numCol="1" anchor="ctr" anchorCtr="0" compatLnSpc="1">
              <a:prstTxWarp prst="textNoShape">
                <a:avLst/>
              </a:prstTxWarp>
            </a:bodyPr>
            <a:lstStyle/>
            <a:p>
              <a:pPr algn="ctr" fontAlgn="base">
                <a:spcBef>
                  <a:spcPct val="40000"/>
                </a:spcBef>
                <a:spcAft>
                  <a:spcPct val="0"/>
                </a:spcAft>
                <a:buClr>
                  <a:srgbClr val="215283"/>
                </a:buClr>
                <a:buSzPct val="85000"/>
                <a:buFont typeface="Wingdings" pitchFamily="2" charset="2"/>
                <a:buNone/>
              </a:pPr>
              <a:endParaRPr lang="en-US" sz="1050">
                <a:solidFill>
                  <a:schemeClr val="tx1">
                    <a:lumMod val="75000"/>
                    <a:lumOff val="25000"/>
                  </a:schemeClr>
                </a:solidFill>
                <a:latin typeface="Arial" panose="020B0604020202020204" pitchFamily="34" charset="0"/>
                <a:cs typeface="Arial" panose="020B0604020202020204" pitchFamily="34" charset="0"/>
              </a:endParaRPr>
            </a:p>
          </p:txBody>
        </p:sp>
        <p:sp>
          <p:nvSpPr>
            <p:cNvPr id="26" name="Freeform 25"/>
            <p:cNvSpPr>
              <a:spLocks/>
            </p:cNvSpPr>
            <p:nvPr/>
          </p:nvSpPr>
          <p:spPr bwMode="auto">
            <a:xfrm>
              <a:off x="3180234" y="2838456"/>
              <a:ext cx="1902198" cy="1449635"/>
            </a:xfrm>
            <a:custGeom>
              <a:avLst/>
              <a:gdLst/>
              <a:ahLst/>
              <a:cxnLst>
                <a:cxn ang="0">
                  <a:pos x="918" y="622"/>
                </a:cxn>
                <a:cxn ang="0">
                  <a:pos x="352" y="589"/>
                </a:cxn>
                <a:cxn ang="0">
                  <a:pos x="0" y="91"/>
                </a:cxn>
                <a:cxn ang="0">
                  <a:pos x="592" y="132"/>
                </a:cxn>
                <a:cxn ang="0">
                  <a:pos x="918" y="622"/>
                </a:cxn>
              </a:cxnLst>
              <a:rect l="0" t="0" r="r" b="b"/>
              <a:pathLst>
                <a:path w="918" h="700">
                  <a:moveTo>
                    <a:pt x="918" y="622"/>
                  </a:moveTo>
                  <a:cubicBezTo>
                    <a:pt x="701" y="700"/>
                    <a:pt x="506" y="676"/>
                    <a:pt x="352" y="589"/>
                  </a:cubicBezTo>
                  <a:cubicBezTo>
                    <a:pt x="198" y="502"/>
                    <a:pt x="61" y="385"/>
                    <a:pt x="0" y="91"/>
                  </a:cubicBezTo>
                  <a:cubicBezTo>
                    <a:pt x="226" y="0"/>
                    <a:pt x="439" y="44"/>
                    <a:pt x="592" y="132"/>
                  </a:cubicBezTo>
                  <a:cubicBezTo>
                    <a:pt x="746" y="220"/>
                    <a:pt x="887" y="394"/>
                    <a:pt x="918" y="622"/>
                  </a:cubicBezTo>
                  <a:close/>
                </a:path>
              </a:pathLst>
            </a:custGeom>
            <a:solidFill>
              <a:schemeClr val="bg1">
                <a:lumMod val="95000"/>
              </a:schemeClr>
            </a:solidFill>
            <a:ln w="9525" cap="flat" cmpd="sng">
              <a:noFill/>
              <a:prstDash val="solid"/>
              <a:round/>
              <a:headEnd/>
              <a:tailEnd/>
            </a:ln>
            <a:effectLst/>
          </p:spPr>
          <p:txBody>
            <a:bodyPr vert="horz" wrap="none" lIns="90000" tIns="45720" rIns="90000" bIns="45720" numCol="1" anchor="ctr" anchorCtr="0" compatLnSpc="1">
              <a:prstTxWarp prst="textNoShape">
                <a:avLst/>
              </a:prstTxWarp>
            </a:bodyPr>
            <a:lstStyle/>
            <a:p>
              <a:pPr algn="ctr" fontAlgn="base">
                <a:spcBef>
                  <a:spcPct val="40000"/>
                </a:spcBef>
                <a:spcAft>
                  <a:spcPct val="0"/>
                </a:spcAft>
                <a:buClr>
                  <a:srgbClr val="215283"/>
                </a:buClr>
                <a:buSzPct val="85000"/>
                <a:buFont typeface="Wingdings" pitchFamily="2" charset="2"/>
                <a:buNone/>
              </a:pPr>
              <a:endParaRPr lang="en-US" sz="1050">
                <a:solidFill>
                  <a:schemeClr val="tx1">
                    <a:lumMod val="75000"/>
                    <a:lumOff val="25000"/>
                  </a:schemeClr>
                </a:solidFill>
                <a:latin typeface="Arial" panose="020B0604020202020204" pitchFamily="34" charset="0"/>
                <a:cs typeface="Arial" panose="020B0604020202020204" pitchFamily="34" charset="0"/>
              </a:endParaRPr>
            </a:p>
          </p:txBody>
        </p:sp>
        <p:sp>
          <p:nvSpPr>
            <p:cNvPr id="27" name="Freeform 25"/>
            <p:cNvSpPr>
              <a:spLocks/>
            </p:cNvSpPr>
            <p:nvPr/>
          </p:nvSpPr>
          <p:spPr bwMode="auto">
            <a:xfrm>
              <a:off x="4052593" y="3229856"/>
              <a:ext cx="1031912" cy="1058234"/>
            </a:xfrm>
            <a:custGeom>
              <a:avLst/>
              <a:gdLst/>
              <a:ahLst/>
              <a:cxnLst>
                <a:cxn ang="0">
                  <a:pos x="250" y="0"/>
                </a:cxn>
                <a:cxn ang="0">
                  <a:pos x="0" y="435"/>
                </a:cxn>
                <a:cxn ang="0">
                  <a:pos x="498" y="431"/>
                </a:cxn>
                <a:cxn ang="0">
                  <a:pos x="250" y="0"/>
                </a:cxn>
              </a:cxnLst>
              <a:rect l="0" t="0" r="r" b="b"/>
              <a:pathLst>
                <a:path w="498" h="511">
                  <a:moveTo>
                    <a:pt x="250" y="0"/>
                  </a:moveTo>
                  <a:cubicBezTo>
                    <a:pt x="73" y="150"/>
                    <a:pt x="22" y="303"/>
                    <a:pt x="0" y="435"/>
                  </a:cubicBezTo>
                  <a:cubicBezTo>
                    <a:pt x="201" y="511"/>
                    <a:pt x="355" y="487"/>
                    <a:pt x="498" y="431"/>
                  </a:cubicBezTo>
                  <a:cubicBezTo>
                    <a:pt x="487" y="336"/>
                    <a:pt x="433" y="139"/>
                    <a:pt x="250" y="0"/>
                  </a:cubicBezTo>
                  <a:close/>
                </a:path>
              </a:pathLst>
            </a:custGeom>
            <a:solidFill>
              <a:schemeClr val="bg1">
                <a:lumMod val="75000"/>
              </a:schemeClr>
            </a:solidFill>
            <a:ln w="9525" cap="flat" cmpd="sng">
              <a:noFill/>
              <a:prstDash val="solid"/>
              <a:round/>
              <a:headEnd/>
              <a:tailEnd/>
            </a:ln>
            <a:effectLst/>
          </p:spPr>
          <p:txBody>
            <a:bodyPr vert="horz" wrap="none" lIns="90000" tIns="45720" rIns="90000" bIns="45720" numCol="1" anchor="ctr" anchorCtr="0" compatLnSpc="1">
              <a:prstTxWarp prst="textNoShape">
                <a:avLst/>
              </a:prstTxWarp>
            </a:bodyPr>
            <a:lstStyle/>
            <a:p>
              <a:pPr algn="ctr" fontAlgn="base">
                <a:spcBef>
                  <a:spcPct val="40000"/>
                </a:spcBef>
                <a:spcAft>
                  <a:spcPct val="0"/>
                </a:spcAft>
                <a:buClr>
                  <a:srgbClr val="215283"/>
                </a:buClr>
                <a:buSzPct val="85000"/>
                <a:buFont typeface="Wingdings" pitchFamily="2" charset="2"/>
                <a:buNone/>
              </a:pPr>
              <a:endParaRPr lang="en-US" sz="1050">
                <a:solidFill>
                  <a:schemeClr val="tx1">
                    <a:lumMod val="75000"/>
                    <a:lumOff val="25000"/>
                  </a:schemeClr>
                </a:solidFill>
                <a:latin typeface="Arial" panose="020B0604020202020204" pitchFamily="34" charset="0"/>
                <a:cs typeface="Arial" panose="020B0604020202020204" pitchFamily="34" charset="0"/>
              </a:endParaRPr>
            </a:p>
          </p:txBody>
        </p:sp>
        <p:sp>
          <p:nvSpPr>
            <p:cNvPr id="28" name="Text Box 15"/>
            <p:cNvSpPr txBox="1">
              <a:spLocks noChangeArrowheads="1"/>
            </p:cNvSpPr>
            <p:nvPr/>
          </p:nvSpPr>
          <p:spPr bwMode="gray">
            <a:xfrm>
              <a:off x="4852646" y="3115221"/>
              <a:ext cx="915428" cy="243295"/>
            </a:xfrm>
            <a:prstGeom prst="rect">
              <a:avLst/>
            </a:prstGeom>
            <a:noFill/>
            <a:ln w="9525">
              <a:noFill/>
              <a:miter lim="800000"/>
              <a:headEnd/>
              <a:tailEnd/>
            </a:ln>
          </p:spPr>
          <p:txBody>
            <a:bodyPr wrap="none" lIns="113445" tIns="56723" rIns="113445" bIns="56723" anchor="ctr"/>
            <a:lstStyle/>
            <a:p>
              <a:pPr algn="ctr" defTabSz="1272086">
                <a:spcBef>
                  <a:spcPct val="50000"/>
                </a:spcBef>
              </a:pPr>
              <a:endParaRPr lang="en-GB" sz="700" u="sng"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29" name="Rectangle 28"/>
            <p:cNvSpPr/>
            <p:nvPr/>
          </p:nvSpPr>
          <p:spPr>
            <a:xfrm>
              <a:off x="4946831" y="4536210"/>
              <a:ext cx="1648938" cy="391440"/>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Acquire  Arriva</a:t>
              </a:r>
            </a:p>
          </p:txBody>
        </p:sp>
        <p:sp>
          <p:nvSpPr>
            <p:cNvPr id="30" name="Rectangle 29"/>
            <p:cNvSpPr/>
            <p:nvPr/>
          </p:nvSpPr>
          <p:spPr>
            <a:xfrm>
              <a:off x="4607799" y="2851407"/>
              <a:ext cx="1706271" cy="526882"/>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Customer Journey</a:t>
              </a:r>
            </a:p>
          </p:txBody>
        </p:sp>
        <p:sp>
          <p:nvSpPr>
            <p:cNvPr id="31" name="Rectangle 30"/>
            <p:cNvSpPr/>
            <p:nvPr/>
          </p:nvSpPr>
          <p:spPr>
            <a:xfrm>
              <a:off x="3247221" y="2943382"/>
              <a:ext cx="1750148" cy="436403"/>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Real time </a:t>
              </a:r>
            </a:p>
            <a:p>
              <a:r>
                <a:rPr lang="en-GB" sz="900" dirty="0">
                  <a:solidFill>
                    <a:schemeClr val="tx1">
                      <a:lumMod val="75000"/>
                      <a:lumOff val="25000"/>
                    </a:schemeClr>
                  </a:solidFill>
                  <a:latin typeface="Arial" panose="020B0604020202020204" pitchFamily="34" charset="0"/>
                  <a:cs typeface="Arial" panose="020B0604020202020204" pitchFamily="34" charset="0"/>
                </a:rPr>
                <a:t>data</a:t>
              </a:r>
            </a:p>
          </p:txBody>
        </p:sp>
        <p:sp>
          <p:nvSpPr>
            <p:cNvPr id="32" name="Rectangle 31"/>
            <p:cNvSpPr/>
            <p:nvPr/>
          </p:nvSpPr>
          <p:spPr>
            <a:xfrm>
              <a:off x="3001041" y="1887614"/>
              <a:ext cx="1615914" cy="630473"/>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Customer Research</a:t>
              </a:r>
            </a:p>
          </p:txBody>
        </p:sp>
        <p:sp>
          <p:nvSpPr>
            <p:cNvPr id="33" name="Rectangle 32"/>
            <p:cNvSpPr/>
            <p:nvPr/>
          </p:nvSpPr>
          <p:spPr>
            <a:xfrm>
              <a:off x="4603674" y="1887614"/>
              <a:ext cx="1615914" cy="630473"/>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Pricing strategy</a:t>
              </a:r>
            </a:p>
          </p:txBody>
        </p:sp>
        <p:sp>
          <p:nvSpPr>
            <p:cNvPr id="34" name="Oval 33"/>
            <p:cNvSpPr/>
            <p:nvPr/>
          </p:nvSpPr>
          <p:spPr>
            <a:xfrm>
              <a:off x="4401930" y="4373177"/>
              <a:ext cx="192363" cy="202305"/>
            </a:xfrm>
            <a:prstGeom prst="ellipse">
              <a:avLst/>
            </a:prstGeom>
            <a:solidFill>
              <a:srgbClr val="0C39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35" name="Oval 34"/>
            <p:cNvSpPr/>
            <p:nvPr/>
          </p:nvSpPr>
          <p:spPr>
            <a:xfrm>
              <a:off x="4778194" y="1973511"/>
              <a:ext cx="192363" cy="202305"/>
            </a:xfrm>
            <a:prstGeom prst="ellipse">
              <a:avLst/>
            </a:prstGeom>
            <a:solidFill>
              <a:srgbClr val="0D3A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Oval 35"/>
            <p:cNvSpPr/>
            <p:nvPr/>
          </p:nvSpPr>
          <p:spPr>
            <a:xfrm>
              <a:off x="4444227" y="4905344"/>
              <a:ext cx="192363" cy="202305"/>
            </a:xfrm>
            <a:prstGeom prst="ellipse">
              <a:avLst/>
            </a:prstGeom>
            <a:solidFill>
              <a:srgbClr val="0C39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37" name="Oval 36"/>
            <p:cNvSpPr/>
            <p:nvPr/>
          </p:nvSpPr>
          <p:spPr>
            <a:xfrm>
              <a:off x="5273888" y="3236868"/>
              <a:ext cx="192363" cy="202305"/>
            </a:xfrm>
            <a:prstGeom prst="ellipse">
              <a:avLst/>
            </a:prstGeom>
            <a:solidFill>
              <a:srgbClr val="0C39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38" name="Oval 37"/>
            <p:cNvSpPr/>
            <p:nvPr/>
          </p:nvSpPr>
          <p:spPr>
            <a:xfrm>
              <a:off x="3650162" y="3153580"/>
              <a:ext cx="192363" cy="202305"/>
            </a:xfrm>
            <a:prstGeom prst="ellipse">
              <a:avLst/>
            </a:prstGeom>
            <a:solidFill>
              <a:srgbClr val="0C39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39" name="Oval 38"/>
            <p:cNvSpPr/>
            <p:nvPr/>
          </p:nvSpPr>
          <p:spPr>
            <a:xfrm>
              <a:off x="4761282" y="4811926"/>
              <a:ext cx="192363" cy="202305"/>
            </a:xfrm>
            <a:prstGeom prst="ellipse">
              <a:avLst/>
            </a:prstGeom>
            <a:solidFill>
              <a:srgbClr val="0C39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0" name="Oval 39"/>
            <p:cNvSpPr/>
            <p:nvPr/>
          </p:nvSpPr>
          <p:spPr>
            <a:xfrm>
              <a:off x="5642532" y="3160058"/>
              <a:ext cx="192363" cy="202305"/>
            </a:xfrm>
            <a:prstGeom prst="ellipse">
              <a:avLst/>
            </a:prstGeom>
            <a:solidFill>
              <a:srgbClr val="0C39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1" name="Oval 40"/>
            <p:cNvSpPr/>
            <p:nvPr/>
          </p:nvSpPr>
          <p:spPr>
            <a:xfrm>
              <a:off x="4990352" y="3022496"/>
              <a:ext cx="192363" cy="202305"/>
            </a:xfrm>
            <a:prstGeom prst="ellipse">
              <a:avLst/>
            </a:prstGeom>
            <a:solidFill>
              <a:srgbClr val="0C39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2" name="Oval 41"/>
            <p:cNvSpPr/>
            <p:nvPr/>
          </p:nvSpPr>
          <p:spPr>
            <a:xfrm>
              <a:off x="2884567" y="4210375"/>
              <a:ext cx="192363" cy="202305"/>
            </a:xfrm>
            <a:prstGeom prst="ellipse">
              <a:avLst/>
            </a:prstGeom>
            <a:solidFill>
              <a:srgbClr val="0C39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3" name="Oval 42"/>
            <p:cNvSpPr/>
            <p:nvPr/>
          </p:nvSpPr>
          <p:spPr>
            <a:xfrm>
              <a:off x="3489249" y="4642746"/>
              <a:ext cx="192363" cy="202305"/>
            </a:xfrm>
            <a:prstGeom prst="ellipse">
              <a:avLst/>
            </a:prstGeom>
            <a:solidFill>
              <a:srgbClr val="0C39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4" name="Oval 43"/>
            <p:cNvSpPr/>
            <p:nvPr/>
          </p:nvSpPr>
          <p:spPr>
            <a:xfrm>
              <a:off x="6255165" y="4427220"/>
              <a:ext cx="192363" cy="202305"/>
            </a:xfrm>
            <a:prstGeom prst="ellipse">
              <a:avLst/>
            </a:prstGeom>
            <a:solidFill>
              <a:srgbClr val="0C39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5" name="Oval 44"/>
            <p:cNvSpPr/>
            <p:nvPr/>
          </p:nvSpPr>
          <p:spPr>
            <a:xfrm>
              <a:off x="4039144" y="2358899"/>
              <a:ext cx="192363" cy="202305"/>
            </a:xfrm>
            <a:prstGeom prst="ellipse">
              <a:avLst/>
            </a:prstGeom>
            <a:solidFill>
              <a:srgbClr val="0D3A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6" name="Oval 45"/>
            <p:cNvSpPr/>
            <p:nvPr/>
          </p:nvSpPr>
          <p:spPr>
            <a:xfrm>
              <a:off x="6081503" y="3853249"/>
              <a:ext cx="192363" cy="202305"/>
            </a:xfrm>
            <a:prstGeom prst="ellipse">
              <a:avLst/>
            </a:prstGeom>
            <a:solidFill>
              <a:srgbClr val="0C39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7" name="Oval 46"/>
            <p:cNvSpPr/>
            <p:nvPr/>
          </p:nvSpPr>
          <p:spPr>
            <a:xfrm>
              <a:off x="5895748" y="4814560"/>
              <a:ext cx="192363" cy="202305"/>
            </a:xfrm>
            <a:prstGeom prst="ellipse">
              <a:avLst/>
            </a:prstGeom>
            <a:solidFill>
              <a:srgbClr val="0C39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8" name="Oval 47"/>
            <p:cNvSpPr/>
            <p:nvPr/>
          </p:nvSpPr>
          <p:spPr>
            <a:xfrm>
              <a:off x="3287408" y="3940070"/>
              <a:ext cx="192363" cy="202305"/>
            </a:xfrm>
            <a:prstGeom prst="ellipse">
              <a:avLst/>
            </a:prstGeom>
            <a:solidFill>
              <a:srgbClr val="0C39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49" name="Oval 48"/>
            <p:cNvSpPr/>
            <p:nvPr/>
          </p:nvSpPr>
          <p:spPr>
            <a:xfrm>
              <a:off x="4970557" y="2380810"/>
              <a:ext cx="192363" cy="202305"/>
            </a:xfrm>
            <a:prstGeom prst="ellipse">
              <a:avLst/>
            </a:prstGeom>
            <a:solidFill>
              <a:srgbClr val="0D3A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50" name="Oval 49"/>
            <p:cNvSpPr/>
            <p:nvPr/>
          </p:nvSpPr>
          <p:spPr>
            <a:xfrm>
              <a:off x="4255874" y="3547363"/>
              <a:ext cx="192363" cy="202304"/>
            </a:xfrm>
            <a:prstGeom prst="ellipse">
              <a:avLst/>
            </a:prstGeom>
            <a:solidFill>
              <a:srgbClr val="0C39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51" name="Oval 50"/>
            <p:cNvSpPr/>
            <p:nvPr/>
          </p:nvSpPr>
          <p:spPr>
            <a:xfrm>
              <a:off x="4439838" y="3996863"/>
              <a:ext cx="192363" cy="202304"/>
            </a:xfrm>
            <a:prstGeom prst="ellipse">
              <a:avLst/>
            </a:prstGeom>
            <a:solidFill>
              <a:srgbClr val="0C39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52" name="Oval 51"/>
            <p:cNvSpPr/>
            <p:nvPr/>
          </p:nvSpPr>
          <p:spPr>
            <a:xfrm>
              <a:off x="4689041" y="3304060"/>
              <a:ext cx="192363" cy="202304"/>
            </a:xfrm>
            <a:prstGeom prst="ellipse">
              <a:avLst/>
            </a:prstGeom>
            <a:solidFill>
              <a:srgbClr val="0C39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53" name="Oval 52"/>
            <p:cNvSpPr/>
            <p:nvPr/>
          </p:nvSpPr>
          <p:spPr>
            <a:xfrm>
              <a:off x="4859803" y="3699591"/>
              <a:ext cx="192363" cy="202304"/>
            </a:xfrm>
            <a:prstGeom prst="ellipse">
              <a:avLst/>
            </a:prstGeom>
            <a:solidFill>
              <a:srgbClr val="0C39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54" name="Oval 53"/>
            <p:cNvSpPr/>
            <p:nvPr/>
          </p:nvSpPr>
          <p:spPr>
            <a:xfrm>
              <a:off x="4301793" y="3205167"/>
              <a:ext cx="192363" cy="202305"/>
            </a:xfrm>
            <a:prstGeom prst="ellipse">
              <a:avLst/>
            </a:prstGeom>
            <a:solidFill>
              <a:srgbClr val="0C39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1">
                    <a:lumMod val="75000"/>
                    <a:lumOff val="25000"/>
                  </a:schemeClr>
                </a:solidFill>
                <a:latin typeface="Arial" panose="020B0604020202020204" pitchFamily="34" charset="0"/>
                <a:cs typeface="Arial" panose="020B0604020202020204" pitchFamily="34" charset="0"/>
              </a:endParaRPr>
            </a:p>
          </p:txBody>
        </p:sp>
        <p:sp>
          <p:nvSpPr>
            <p:cNvPr id="55" name="Rectangle 54"/>
            <p:cNvSpPr/>
            <p:nvPr/>
          </p:nvSpPr>
          <p:spPr>
            <a:xfrm>
              <a:off x="4584177" y="3457088"/>
              <a:ext cx="1615764" cy="617551"/>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Loyalty Program</a:t>
              </a:r>
            </a:p>
          </p:txBody>
        </p:sp>
        <p:sp>
          <p:nvSpPr>
            <p:cNvPr id="56" name="Rectangle 55"/>
            <p:cNvSpPr/>
            <p:nvPr/>
          </p:nvSpPr>
          <p:spPr>
            <a:xfrm>
              <a:off x="4767956" y="3833722"/>
              <a:ext cx="1615764" cy="617551"/>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Loyalty Program</a:t>
              </a:r>
            </a:p>
          </p:txBody>
        </p:sp>
        <p:sp>
          <p:nvSpPr>
            <p:cNvPr id="57" name="Rectangle 56"/>
            <p:cNvSpPr/>
            <p:nvPr/>
          </p:nvSpPr>
          <p:spPr>
            <a:xfrm>
              <a:off x="3413203" y="3676103"/>
              <a:ext cx="1169622" cy="617551"/>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sz="900" dirty="0">
                  <a:solidFill>
                    <a:schemeClr val="tx1">
                      <a:lumMod val="75000"/>
                      <a:lumOff val="25000"/>
                    </a:schemeClr>
                  </a:solidFill>
                  <a:latin typeface="Arial" panose="020B0604020202020204" pitchFamily="34" charset="0"/>
                  <a:cs typeface="Arial" panose="020B0604020202020204" pitchFamily="34" charset="0"/>
                </a:rPr>
                <a:t>Loyalty Program</a:t>
              </a:r>
            </a:p>
          </p:txBody>
        </p:sp>
        <p:sp>
          <p:nvSpPr>
            <p:cNvPr id="58" name="Rectangle 57"/>
            <p:cNvSpPr/>
            <p:nvPr/>
          </p:nvSpPr>
          <p:spPr>
            <a:xfrm>
              <a:off x="3453542" y="3322985"/>
              <a:ext cx="1169622" cy="617551"/>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sz="900" dirty="0">
                  <a:solidFill>
                    <a:schemeClr val="tx1">
                      <a:lumMod val="75000"/>
                      <a:lumOff val="25000"/>
                    </a:schemeClr>
                  </a:solidFill>
                  <a:latin typeface="Arial" panose="020B0604020202020204" pitchFamily="34" charset="0"/>
                  <a:cs typeface="Arial" panose="020B0604020202020204" pitchFamily="34" charset="0"/>
                </a:rPr>
                <a:t>Loyalty Program</a:t>
              </a:r>
            </a:p>
          </p:txBody>
        </p:sp>
        <p:sp>
          <p:nvSpPr>
            <p:cNvPr id="59" name="Rectangle 58"/>
            <p:cNvSpPr/>
            <p:nvPr/>
          </p:nvSpPr>
          <p:spPr>
            <a:xfrm>
              <a:off x="4312422" y="4148863"/>
              <a:ext cx="1615764" cy="617551"/>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900" dirty="0">
                  <a:solidFill>
                    <a:schemeClr val="tx1">
                      <a:lumMod val="75000"/>
                      <a:lumOff val="25000"/>
                    </a:schemeClr>
                  </a:solidFill>
                  <a:latin typeface="Arial" panose="020B0604020202020204" pitchFamily="34" charset="0"/>
                  <a:cs typeface="Arial" panose="020B0604020202020204" pitchFamily="34" charset="0"/>
                </a:rPr>
                <a:t>Loyalty Program</a:t>
              </a:r>
            </a:p>
          </p:txBody>
        </p:sp>
        <p:sp>
          <p:nvSpPr>
            <p:cNvPr id="60" name="Rectangle 59"/>
            <p:cNvSpPr/>
            <p:nvPr/>
          </p:nvSpPr>
          <p:spPr>
            <a:xfrm>
              <a:off x="3931087" y="896406"/>
              <a:ext cx="1287170" cy="236126"/>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b="1" dirty="0">
                  <a:solidFill>
                    <a:schemeClr val="tx1">
                      <a:lumMod val="75000"/>
                      <a:lumOff val="25000"/>
                    </a:schemeClr>
                  </a:solidFill>
                  <a:latin typeface="Arial" panose="020B0604020202020204" pitchFamily="34" charset="0"/>
                  <a:cs typeface="Arial" panose="020B0604020202020204" pitchFamily="34" charset="0"/>
                </a:rPr>
                <a:t>Company fit</a:t>
              </a:r>
            </a:p>
          </p:txBody>
        </p:sp>
      </p:grpSp>
      <p:grpSp>
        <p:nvGrpSpPr>
          <p:cNvPr id="64" name="Grupper 63"/>
          <p:cNvGrpSpPr/>
          <p:nvPr/>
        </p:nvGrpSpPr>
        <p:grpSpPr>
          <a:xfrm>
            <a:off x="527349" y="1294002"/>
            <a:ext cx="2154990" cy="1557405"/>
            <a:chOff x="275812" y="1280960"/>
            <a:chExt cx="2154990" cy="1557405"/>
          </a:xfrm>
        </p:grpSpPr>
        <p:sp>
          <p:nvSpPr>
            <p:cNvPr id="62" name="Rectangle 61"/>
            <p:cNvSpPr/>
            <p:nvPr/>
          </p:nvSpPr>
          <p:spPr>
            <a:xfrm>
              <a:off x="275812" y="1280960"/>
              <a:ext cx="1978189" cy="325109"/>
            </a:xfrm>
            <a:prstGeom prst="rect">
              <a:avLst/>
            </a:prstGeom>
            <a:solidFill>
              <a:schemeClr val="bg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b="1" dirty="0">
                  <a:solidFill>
                    <a:schemeClr val="tx1">
                      <a:lumMod val="75000"/>
                      <a:lumOff val="25000"/>
                    </a:schemeClr>
                  </a:solidFill>
                  <a:latin typeface="Arial" charset="0"/>
                  <a:ea typeface="Arial" charset="0"/>
                  <a:cs typeface="Arial" charset="0"/>
                </a:rPr>
                <a:t>Legend</a:t>
              </a:r>
            </a:p>
          </p:txBody>
        </p:sp>
        <p:sp>
          <p:nvSpPr>
            <p:cNvPr id="18" name="Oval 17"/>
            <p:cNvSpPr/>
            <p:nvPr/>
          </p:nvSpPr>
          <p:spPr>
            <a:xfrm>
              <a:off x="406930" y="1662378"/>
              <a:ext cx="174017" cy="16942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75000"/>
                    <a:lumOff val="25000"/>
                  </a:schemeClr>
                </a:solidFill>
                <a:latin typeface="Arial" panose="020B0604020202020204" pitchFamily="34" charset="0"/>
                <a:cs typeface="Arial" panose="020B0604020202020204" pitchFamily="34" charset="0"/>
              </a:endParaRPr>
            </a:p>
          </p:txBody>
        </p:sp>
        <p:sp>
          <p:nvSpPr>
            <p:cNvPr id="19" name="Rectangle 18"/>
            <p:cNvSpPr/>
            <p:nvPr/>
          </p:nvSpPr>
          <p:spPr>
            <a:xfrm>
              <a:off x="617381" y="1550811"/>
              <a:ext cx="1813421" cy="539654"/>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solidFill>
                    <a:schemeClr val="tx1">
                      <a:lumMod val="75000"/>
                      <a:lumOff val="25000"/>
                    </a:schemeClr>
                  </a:solidFill>
                  <a:latin typeface="Arial" panose="020B0604020202020204" pitchFamily="34" charset="0"/>
                  <a:cs typeface="Arial" panose="020B0604020202020204" pitchFamily="34" charset="0"/>
                </a:rPr>
                <a:t>Strong impact on all three dimensions </a:t>
              </a:r>
            </a:p>
          </p:txBody>
        </p:sp>
        <p:sp>
          <p:nvSpPr>
            <p:cNvPr id="20" name="Oval 19"/>
            <p:cNvSpPr/>
            <p:nvPr/>
          </p:nvSpPr>
          <p:spPr>
            <a:xfrm>
              <a:off x="406930" y="2023809"/>
              <a:ext cx="174017" cy="169427"/>
            </a:xfrm>
            <a:prstGeom prst="ellipse">
              <a:avLst/>
            </a:prstGeom>
            <a:solidFill>
              <a:srgbClr val="0D3A5C">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75000"/>
                    <a:lumOff val="25000"/>
                  </a:schemeClr>
                </a:solidFill>
                <a:latin typeface="Arial" panose="020B0604020202020204" pitchFamily="34" charset="0"/>
                <a:cs typeface="Arial" panose="020B0604020202020204" pitchFamily="34" charset="0"/>
              </a:endParaRPr>
            </a:p>
          </p:txBody>
        </p:sp>
        <p:sp>
          <p:nvSpPr>
            <p:cNvPr id="21" name="Rectangle 20"/>
            <p:cNvSpPr/>
            <p:nvPr/>
          </p:nvSpPr>
          <p:spPr>
            <a:xfrm>
              <a:off x="605805" y="1930330"/>
              <a:ext cx="1813421" cy="539654"/>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solidFill>
                    <a:schemeClr val="tx1">
                      <a:lumMod val="75000"/>
                      <a:lumOff val="25000"/>
                    </a:schemeClr>
                  </a:solidFill>
                  <a:latin typeface="Arial" panose="020B0604020202020204" pitchFamily="34" charset="0"/>
                  <a:cs typeface="Arial" panose="020B0604020202020204" pitchFamily="34" charset="0"/>
                </a:rPr>
                <a:t>Strong impact on all three dimensions </a:t>
              </a:r>
            </a:p>
          </p:txBody>
        </p:sp>
        <p:sp>
          <p:nvSpPr>
            <p:cNvPr id="22" name="Oval 21"/>
            <p:cNvSpPr/>
            <p:nvPr/>
          </p:nvSpPr>
          <p:spPr>
            <a:xfrm>
              <a:off x="406929" y="2421090"/>
              <a:ext cx="174017" cy="169427"/>
            </a:xfrm>
            <a:prstGeom prst="ellipse">
              <a:avLst/>
            </a:prstGeom>
            <a:solidFill>
              <a:srgbClr val="0D3A5C">
                <a:alpha val="2509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75000"/>
                    <a:lumOff val="25000"/>
                  </a:schemeClr>
                </a:solidFill>
                <a:latin typeface="Arial" panose="020B0604020202020204" pitchFamily="34" charset="0"/>
                <a:cs typeface="Arial" panose="020B0604020202020204" pitchFamily="34" charset="0"/>
              </a:endParaRPr>
            </a:p>
          </p:txBody>
        </p:sp>
        <p:sp>
          <p:nvSpPr>
            <p:cNvPr id="23" name="Rectangle 22"/>
            <p:cNvSpPr/>
            <p:nvPr/>
          </p:nvSpPr>
          <p:spPr>
            <a:xfrm>
              <a:off x="606250" y="2298711"/>
              <a:ext cx="1813421" cy="539654"/>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solidFill>
                    <a:schemeClr val="tx1">
                      <a:lumMod val="75000"/>
                      <a:lumOff val="25000"/>
                    </a:schemeClr>
                  </a:solidFill>
                  <a:latin typeface="Arial" panose="020B0604020202020204" pitchFamily="34" charset="0"/>
                  <a:cs typeface="Arial" panose="020B0604020202020204" pitchFamily="34" charset="0"/>
                </a:rPr>
                <a:t>Strong impact on all three dimensions </a:t>
              </a:r>
            </a:p>
          </p:txBody>
        </p:sp>
        <p:sp>
          <p:nvSpPr>
            <p:cNvPr id="61" name="Rectangle 60"/>
            <p:cNvSpPr/>
            <p:nvPr/>
          </p:nvSpPr>
          <p:spPr>
            <a:xfrm>
              <a:off x="275813" y="1526932"/>
              <a:ext cx="1978188" cy="1169969"/>
            </a:xfrm>
            <a:prstGeom prst="rect">
              <a:avLst/>
            </a:prstGeom>
            <a:noFill/>
            <a:ln>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grpSp>
      <p:grpSp>
        <p:nvGrpSpPr>
          <p:cNvPr id="67" name="Group 5"/>
          <p:cNvGrpSpPr/>
          <p:nvPr/>
        </p:nvGrpSpPr>
        <p:grpSpPr>
          <a:xfrm>
            <a:off x="7843560" y="1790532"/>
            <a:ext cx="5162092" cy="1107996"/>
            <a:chOff x="7503320" y="1790532"/>
            <a:chExt cx="5162092" cy="1107996"/>
          </a:xfrm>
        </p:grpSpPr>
        <p:sp>
          <p:nvSpPr>
            <p:cNvPr id="68" name="Rectangle 6"/>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69" name="Rectangle 7"/>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1</a:t>
              </a:r>
              <a:endParaRPr lang="da-DK" sz="6600" b="1" dirty="0">
                <a:solidFill>
                  <a:schemeClr val="accent1"/>
                </a:solidFill>
                <a:latin typeface="Arial" panose="020B0604020202020204" pitchFamily="34" charset="0"/>
                <a:cs typeface="Arial" panose="020B0604020202020204" pitchFamily="34" charset="0"/>
              </a:endParaRPr>
            </a:p>
          </p:txBody>
        </p:sp>
        <p:sp>
          <p:nvSpPr>
            <p:cNvPr id="70" name="Rectangle 8"/>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71" name="Group 9"/>
          <p:cNvGrpSpPr/>
          <p:nvPr/>
        </p:nvGrpSpPr>
        <p:grpSpPr>
          <a:xfrm>
            <a:off x="7843560" y="3133256"/>
            <a:ext cx="5162092" cy="1107996"/>
            <a:chOff x="7503320" y="1790532"/>
            <a:chExt cx="5162092" cy="1107996"/>
          </a:xfrm>
        </p:grpSpPr>
        <p:sp>
          <p:nvSpPr>
            <p:cNvPr id="72" name="Rectangle 10"/>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73" name="Rectangle 11"/>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2</a:t>
              </a:r>
              <a:endParaRPr lang="da-DK" sz="6600" b="1" dirty="0">
                <a:solidFill>
                  <a:schemeClr val="accent1"/>
                </a:solidFill>
                <a:latin typeface="Arial" panose="020B0604020202020204" pitchFamily="34" charset="0"/>
                <a:cs typeface="Arial" panose="020B0604020202020204" pitchFamily="34" charset="0"/>
              </a:endParaRPr>
            </a:p>
          </p:txBody>
        </p:sp>
        <p:sp>
          <p:nvSpPr>
            <p:cNvPr id="74" name="Rectangle 12"/>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75" name="Group 13"/>
          <p:cNvGrpSpPr/>
          <p:nvPr/>
        </p:nvGrpSpPr>
        <p:grpSpPr>
          <a:xfrm>
            <a:off x="7843560" y="4475980"/>
            <a:ext cx="5162092" cy="1107996"/>
            <a:chOff x="7503320" y="1790532"/>
            <a:chExt cx="5162092" cy="1107996"/>
          </a:xfrm>
        </p:grpSpPr>
        <p:sp>
          <p:nvSpPr>
            <p:cNvPr id="76" name="Rectangle 14"/>
            <p:cNvSpPr/>
            <p:nvPr/>
          </p:nvSpPr>
          <p:spPr>
            <a:xfrm>
              <a:off x="7503320" y="1867159"/>
              <a:ext cx="516209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77" name="Rectangle 15"/>
            <p:cNvSpPr/>
            <p:nvPr/>
          </p:nvSpPr>
          <p:spPr>
            <a:xfrm>
              <a:off x="7558899" y="1790532"/>
              <a:ext cx="655949" cy="1107996"/>
            </a:xfrm>
            <a:prstGeom prst="rect">
              <a:avLst/>
            </a:prstGeom>
          </p:spPr>
          <p:txBody>
            <a:bodyPr wrap="none">
              <a:spAutoFit/>
            </a:bodyPr>
            <a:lstStyle/>
            <a:p>
              <a:r>
                <a:rPr lang="en-US" sz="6600" b="1" kern="0" dirty="0">
                  <a:solidFill>
                    <a:schemeClr val="accent1"/>
                  </a:solidFill>
                  <a:latin typeface="Arial" panose="020B0604020202020204" pitchFamily="34" charset="0"/>
                  <a:ea typeface="Verdana" panose="020B0604030504040204" pitchFamily="34" charset="0"/>
                  <a:cs typeface="Arial" panose="020B0604020202020204" pitchFamily="34" charset="0"/>
                </a:rPr>
                <a:t>3</a:t>
              </a:r>
              <a:endParaRPr lang="da-DK" sz="6600" b="1" dirty="0">
                <a:solidFill>
                  <a:schemeClr val="accent1"/>
                </a:solidFill>
                <a:latin typeface="Arial" panose="020B0604020202020204" pitchFamily="34" charset="0"/>
                <a:cs typeface="Arial" panose="020B0604020202020204" pitchFamily="34" charset="0"/>
              </a:endParaRPr>
            </a:p>
          </p:txBody>
        </p:sp>
        <p:sp>
          <p:nvSpPr>
            <p:cNvPr id="78" name="Rectangle 16"/>
            <p:cNvSpPr/>
            <p:nvPr/>
          </p:nvSpPr>
          <p:spPr>
            <a:xfrm>
              <a:off x="8132277" y="2077718"/>
              <a:ext cx="3719483" cy="584775"/>
            </a:xfrm>
            <a:prstGeom prst="rect">
              <a:avLst/>
            </a:prstGeom>
          </p:spPr>
          <p:txBody>
            <a:bodyPr wrap="square">
              <a:spAutoFit/>
            </a:bodyPr>
            <a:lstStyle/>
            <a:p>
              <a:r>
                <a:rPr lang="en-AU" sz="1600" b="1" dirty="0">
                  <a:solidFill>
                    <a:schemeClr val="tx1">
                      <a:lumMod val="75000"/>
                      <a:lumOff val="25000"/>
                    </a:schemeClr>
                  </a:solidFill>
                  <a:latin typeface="Arial" panose="020B0604020202020204" pitchFamily="34" charset="0"/>
                  <a:cs typeface="Arial" panose="020B0604020202020204" pitchFamily="34" charset="0"/>
                </a:rPr>
                <a:t>Generics</a:t>
              </a:r>
              <a:r>
                <a:rPr lang="en-AU" sz="1600" dirty="0">
                  <a:solidFill>
                    <a:schemeClr val="tx1">
                      <a:lumMod val="75000"/>
                      <a:lumOff val="25000"/>
                    </a:schemeClr>
                  </a:solidFill>
                  <a:latin typeface="Arial" panose="020B0604020202020204" pitchFamily="34" charset="0"/>
                  <a:cs typeface="Arial" panose="020B0604020202020204" pitchFamily="34" charset="0"/>
                </a:rPr>
                <a:t> are winning market shares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and squeezing margins</a:t>
              </a:r>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782455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294968" y="1120877"/>
            <a:ext cx="12816349" cy="46162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felt 5"/>
          <p:cNvSpPr txBox="1"/>
          <p:nvPr/>
        </p:nvSpPr>
        <p:spPr>
          <a:xfrm>
            <a:off x="1993692" y="2896523"/>
            <a:ext cx="6288901" cy="1200329"/>
          </a:xfrm>
          <a:prstGeom prst="rect">
            <a:avLst/>
          </a:prstGeom>
          <a:noFill/>
        </p:spPr>
        <p:txBody>
          <a:bodyPr wrap="none" rtlCol="0">
            <a:spAutoFit/>
          </a:bodyPr>
          <a:lstStyle/>
          <a:p>
            <a:r>
              <a:rPr lang="da-DK" sz="7200" dirty="0">
                <a:solidFill>
                  <a:schemeClr val="bg1"/>
                </a:solidFill>
              </a:rPr>
              <a:t>Solution Slides</a:t>
            </a:r>
          </a:p>
        </p:txBody>
      </p:sp>
    </p:spTree>
    <p:extLst>
      <p:ext uri="{BB962C8B-B14F-4D97-AF65-F5344CB8AC3E}">
        <p14:creationId xmlns:p14="http://schemas.microsoft.com/office/powerpoint/2010/main" val="6413257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8C5E9C-01D3-FF40-9F1A-4DCF7D7B0E06}"/>
              </a:ext>
            </a:extLst>
          </p:cNvPr>
          <p:cNvSpPr>
            <a:spLocks noGrp="1"/>
          </p:cNvSpPr>
          <p:nvPr>
            <p:ph type="body" sz="quarter" idx="13"/>
          </p:nvPr>
        </p:nvSpPr>
        <p:spPr/>
        <p:txBody>
          <a:bodyPr/>
          <a:lstStyle/>
          <a:p>
            <a:endParaRPr lang="en-GB"/>
          </a:p>
        </p:txBody>
      </p:sp>
      <p:sp>
        <p:nvSpPr>
          <p:cNvPr id="3" name="Text Placeholder 2">
            <a:extLst>
              <a:ext uri="{FF2B5EF4-FFF2-40B4-BE49-F238E27FC236}">
                <a16:creationId xmlns:a16="http://schemas.microsoft.com/office/drawing/2014/main" id="{A344A27F-C1F8-8542-88F6-4667E4DF5926}"/>
              </a:ext>
            </a:extLst>
          </p:cNvPr>
          <p:cNvSpPr>
            <a:spLocks noGrp="1"/>
          </p:cNvSpPr>
          <p:nvPr>
            <p:ph type="body" sz="quarter" idx="15"/>
          </p:nvPr>
        </p:nvSpPr>
        <p:spPr/>
        <p:txBody>
          <a:bodyPr/>
          <a:lstStyle/>
          <a:p>
            <a:endParaRPr lang="en-GB"/>
          </a:p>
        </p:txBody>
      </p:sp>
      <p:sp>
        <p:nvSpPr>
          <p:cNvPr id="219" name="Title 3"/>
          <p:cNvSpPr>
            <a:spLocks noGrp="1"/>
          </p:cNvSpPr>
          <p:nvPr>
            <p:ph type="title"/>
          </p:nvPr>
        </p:nvSpPr>
        <p:spPr/>
        <p:txBody>
          <a:bodyPr/>
          <a:lstStyle/>
          <a:p>
            <a:r>
              <a:rPr lang="en-US" dirty="0"/>
              <a:t>Title </a:t>
            </a:r>
            <a:r>
              <a:rPr lang="mr-IN" dirty="0"/>
              <a:t>–</a:t>
            </a:r>
            <a:r>
              <a:rPr lang="en-US" dirty="0"/>
              <a:t> 3 part solution</a:t>
            </a:r>
          </a:p>
        </p:txBody>
      </p:sp>
      <p:grpSp>
        <p:nvGrpSpPr>
          <p:cNvPr id="225" name="Group 224"/>
          <p:cNvGrpSpPr/>
          <p:nvPr/>
        </p:nvGrpSpPr>
        <p:grpSpPr>
          <a:xfrm>
            <a:off x="2604158" y="1680150"/>
            <a:ext cx="6552000" cy="6552000"/>
            <a:chOff x="2817812" y="1919823"/>
            <a:chExt cx="6552000" cy="6552000"/>
          </a:xfrm>
        </p:grpSpPr>
        <p:sp>
          <p:nvSpPr>
            <p:cNvPr id="198" name="Block Arc 197"/>
            <p:cNvSpPr/>
            <p:nvPr/>
          </p:nvSpPr>
          <p:spPr>
            <a:xfrm>
              <a:off x="4412126" y="3506989"/>
              <a:ext cx="3348000" cy="3348000"/>
            </a:xfrm>
            <a:prstGeom prst="blockArc">
              <a:avLst>
                <a:gd name="adj1" fmla="val 10792593"/>
                <a:gd name="adj2" fmla="val 19947"/>
                <a:gd name="adj3" fmla="val 2334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23" name="Group 222"/>
            <p:cNvGrpSpPr/>
            <p:nvPr/>
          </p:nvGrpSpPr>
          <p:grpSpPr>
            <a:xfrm>
              <a:off x="2817812" y="1919823"/>
              <a:ext cx="6552000" cy="6552000"/>
              <a:chOff x="2817812" y="1919823"/>
              <a:chExt cx="6552000" cy="6552000"/>
            </a:xfrm>
          </p:grpSpPr>
          <p:sp>
            <p:nvSpPr>
              <p:cNvPr id="160" name="Block Arc 159"/>
              <p:cNvSpPr/>
              <p:nvPr/>
            </p:nvSpPr>
            <p:spPr>
              <a:xfrm>
                <a:off x="2817812" y="1919823"/>
                <a:ext cx="6552000" cy="6552000"/>
              </a:xfrm>
              <a:prstGeom prst="blockArc">
                <a:avLst>
                  <a:gd name="adj1" fmla="val 18031564"/>
                  <a:gd name="adj2" fmla="val 2127"/>
                  <a:gd name="adj3" fmla="val 2266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1" name="Block Arc 160"/>
              <p:cNvSpPr/>
              <p:nvPr/>
            </p:nvSpPr>
            <p:spPr>
              <a:xfrm rot="17957775">
                <a:off x="2817812" y="1919823"/>
                <a:ext cx="6552000" cy="6552000"/>
              </a:xfrm>
              <a:prstGeom prst="blockArc">
                <a:avLst>
                  <a:gd name="adj1" fmla="val 17798100"/>
                  <a:gd name="adj2" fmla="val 45997"/>
                  <a:gd name="adj3" fmla="val 2265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2" name="Block Arc 161"/>
              <p:cNvSpPr/>
              <p:nvPr/>
            </p:nvSpPr>
            <p:spPr>
              <a:xfrm rot="14077908">
                <a:off x="2817812" y="1919823"/>
                <a:ext cx="6552000" cy="6552000"/>
              </a:xfrm>
              <a:prstGeom prst="blockArc">
                <a:avLst>
                  <a:gd name="adj1" fmla="val 18320096"/>
                  <a:gd name="adj2" fmla="val 45997"/>
                  <a:gd name="adj3" fmla="val 226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a:off x="3298396" y="3509355"/>
                <a:ext cx="1454851" cy="276999"/>
              </a:xfrm>
              <a:prstGeom prst="rect">
                <a:avLst/>
              </a:prstGeom>
              <a:noFill/>
            </p:spPr>
            <p:txBody>
              <a:bodyPr wrap="square" rtlCol="0">
                <a:spAutoFit/>
              </a:bodyPr>
              <a:lstStyle/>
              <a:p>
                <a:pPr algn="ctr"/>
                <a:r>
                  <a:rPr lang="en-US" sz="1200" b="1" i="1" dirty="0">
                    <a:solidFill>
                      <a:schemeClr val="accent1"/>
                    </a:solidFill>
                    <a:latin typeface="Arial" panose="020B0604020202020204" pitchFamily="34" charset="0"/>
                    <a:cs typeface="Arial" panose="020B0604020202020204" pitchFamily="34" charset="0"/>
                  </a:rPr>
                  <a:t>Solution par 1</a:t>
                </a:r>
                <a:r>
                  <a:rPr lang="mr-IN" sz="1200" b="1" i="1" dirty="0">
                    <a:solidFill>
                      <a:schemeClr val="accent1"/>
                    </a:solidFill>
                    <a:latin typeface="Arial" panose="020B0604020202020204" pitchFamily="34" charset="0"/>
                    <a:cs typeface="Arial" panose="020B0604020202020204" pitchFamily="34" charset="0"/>
                  </a:rPr>
                  <a:t>…</a:t>
                </a:r>
                <a:r>
                  <a:rPr lang="da-DK" sz="1200" b="1" i="1" dirty="0">
                    <a:solidFill>
                      <a:schemeClr val="accent1"/>
                    </a:solidFill>
                    <a:latin typeface="Arial" panose="020B0604020202020204" pitchFamily="34" charset="0"/>
                    <a:cs typeface="Arial" panose="020B0604020202020204" pitchFamily="34" charset="0"/>
                  </a:rPr>
                  <a:t>.</a:t>
                </a:r>
                <a:endParaRPr lang="en-US" sz="1200" i="1" dirty="0">
                  <a:solidFill>
                    <a:schemeClr val="accent1"/>
                  </a:solidFill>
                  <a:latin typeface="Arial" panose="020B0604020202020204" pitchFamily="34" charset="0"/>
                  <a:cs typeface="Arial" panose="020B0604020202020204" pitchFamily="34" charset="0"/>
                </a:endParaRPr>
              </a:p>
            </p:txBody>
          </p:sp>
          <p:sp>
            <p:nvSpPr>
              <p:cNvPr id="166" name="TextBox 165"/>
              <p:cNvSpPr txBox="1"/>
              <p:nvPr/>
            </p:nvSpPr>
            <p:spPr>
              <a:xfrm>
                <a:off x="5094011" y="2252871"/>
                <a:ext cx="1984229" cy="276999"/>
              </a:xfrm>
              <a:prstGeom prst="rect">
                <a:avLst/>
              </a:prstGeom>
              <a:noFill/>
            </p:spPr>
            <p:txBody>
              <a:bodyPr wrap="square" rtlCol="0">
                <a:spAutoFit/>
              </a:bodyPr>
              <a:lstStyle/>
              <a:p>
                <a:pPr algn="ctr"/>
                <a:r>
                  <a:rPr lang="mr-IN" sz="1200" i="1" dirty="0">
                    <a:solidFill>
                      <a:schemeClr val="accent1"/>
                    </a:solidFill>
                    <a:latin typeface="Arial" panose="020B0604020202020204" pitchFamily="34" charset="0"/>
                    <a:cs typeface="Arial" panose="020B0604020202020204" pitchFamily="34" charset="0"/>
                  </a:rPr>
                  <a:t>…</a:t>
                </a:r>
                <a:r>
                  <a:rPr lang="da-DK" sz="1200" i="1" dirty="0">
                    <a:solidFill>
                      <a:schemeClr val="accent1"/>
                    </a:solidFill>
                    <a:latin typeface="Arial" panose="020B0604020202020204" pitchFamily="34" charset="0"/>
                    <a:cs typeface="Arial" panose="020B0604020202020204" pitchFamily="34" charset="0"/>
                  </a:rPr>
                  <a:t>.Solution part 2</a:t>
                </a:r>
                <a:r>
                  <a:rPr lang="mr-IN" sz="1200" i="1" dirty="0">
                    <a:solidFill>
                      <a:schemeClr val="accent1"/>
                    </a:solidFill>
                    <a:latin typeface="Arial" panose="020B0604020202020204" pitchFamily="34" charset="0"/>
                    <a:cs typeface="Arial" panose="020B0604020202020204" pitchFamily="34" charset="0"/>
                  </a:rPr>
                  <a:t>…</a:t>
                </a:r>
                <a:r>
                  <a:rPr lang="da-DK" sz="1200" i="1" dirty="0">
                    <a:solidFill>
                      <a:schemeClr val="accent1"/>
                    </a:solidFill>
                    <a:latin typeface="Arial" panose="020B0604020202020204" pitchFamily="34" charset="0"/>
                    <a:cs typeface="Arial" panose="020B0604020202020204" pitchFamily="34" charset="0"/>
                  </a:rPr>
                  <a:t>.</a:t>
                </a:r>
                <a:endParaRPr lang="en-US" sz="1200" i="1" dirty="0">
                  <a:solidFill>
                    <a:schemeClr val="accent1"/>
                  </a:solidFill>
                  <a:latin typeface="Arial" panose="020B0604020202020204" pitchFamily="34" charset="0"/>
                  <a:cs typeface="Arial" panose="020B0604020202020204" pitchFamily="34" charset="0"/>
                </a:endParaRPr>
              </a:p>
            </p:txBody>
          </p:sp>
          <p:sp>
            <p:nvSpPr>
              <p:cNvPr id="199" name="TextBox 198"/>
              <p:cNvSpPr txBox="1"/>
              <p:nvPr/>
            </p:nvSpPr>
            <p:spPr>
              <a:xfrm>
                <a:off x="4791589" y="3797081"/>
                <a:ext cx="2509474" cy="276999"/>
              </a:xfrm>
              <a:prstGeom prst="rect">
                <a:avLst/>
              </a:prstGeom>
              <a:noFill/>
            </p:spPr>
            <p:txBody>
              <a:bodyPr wrap="square" rtlCol="0">
                <a:spAutoFit/>
              </a:bodyPr>
              <a:lstStyle/>
              <a:p>
                <a:pPr algn="ctr"/>
                <a:r>
                  <a:rPr lang="en-US" sz="1200" b="1" i="1" dirty="0">
                    <a:solidFill>
                      <a:schemeClr val="bg1"/>
                    </a:solidFill>
                    <a:latin typeface="Arial" panose="020B0604020202020204" pitchFamily="34" charset="0"/>
                    <a:cs typeface="Arial" panose="020B0604020202020204" pitchFamily="34" charset="0"/>
                  </a:rPr>
                  <a:t>GOAL</a:t>
                </a:r>
              </a:p>
            </p:txBody>
          </p:sp>
          <p:sp>
            <p:nvSpPr>
              <p:cNvPr id="218" name="TextBox 217"/>
              <p:cNvSpPr txBox="1"/>
              <p:nvPr/>
            </p:nvSpPr>
            <p:spPr>
              <a:xfrm>
                <a:off x="7469034" y="3550299"/>
                <a:ext cx="1695678" cy="276999"/>
              </a:xfrm>
              <a:prstGeom prst="rect">
                <a:avLst/>
              </a:prstGeom>
              <a:noFill/>
            </p:spPr>
            <p:txBody>
              <a:bodyPr wrap="square" rtlCol="0">
                <a:spAutoFit/>
              </a:bodyPr>
              <a:lstStyle/>
              <a:p>
                <a:pPr algn="ctr"/>
                <a:r>
                  <a:rPr lang="mr-IN" sz="1200" b="1" i="1" dirty="0">
                    <a:solidFill>
                      <a:schemeClr val="accent1"/>
                    </a:solidFill>
                    <a:latin typeface="Arial" panose="020B0604020202020204" pitchFamily="34" charset="0"/>
                    <a:cs typeface="Arial" panose="020B0604020202020204" pitchFamily="34" charset="0"/>
                  </a:rPr>
                  <a:t>…</a:t>
                </a:r>
                <a:r>
                  <a:rPr lang="da-DK" sz="1200" b="1" i="1" dirty="0">
                    <a:solidFill>
                      <a:schemeClr val="accent1"/>
                    </a:solidFill>
                    <a:latin typeface="Arial" panose="020B0604020202020204" pitchFamily="34" charset="0"/>
                    <a:cs typeface="Arial" panose="020B0604020202020204" pitchFamily="34" charset="0"/>
                  </a:rPr>
                  <a:t>Solution part 3</a:t>
                </a:r>
                <a:endParaRPr lang="en-US" sz="1200" b="1" i="1" dirty="0">
                  <a:solidFill>
                    <a:schemeClr val="accent1"/>
                  </a:solidFill>
                  <a:latin typeface="Arial" panose="020B0604020202020204" pitchFamily="34" charset="0"/>
                  <a:cs typeface="Arial" panose="020B0604020202020204" pitchFamily="34" charset="0"/>
                </a:endParaRPr>
              </a:p>
            </p:txBody>
          </p:sp>
        </p:grpSp>
        <p:sp>
          <p:nvSpPr>
            <p:cNvPr id="224" name="Oval 223"/>
            <p:cNvSpPr/>
            <p:nvPr/>
          </p:nvSpPr>
          <p:spPr>
            <a:xfrm>
              <a:off x="5424342" y="4443219"/>
              <a:ext cx="1338939" cy="127994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SERT LOGO</a:t>
              </a:r>
            </a:p>
          </p:txBody>
        </p:sp>
      </p:grpSp>
      <p:sp>
        <p:nvSpPr>
          <p:cNvPr id="226" name="TextBox 225"/>
          <p:cNvSpPr txBox="1"/>
          <p:nvPr/>
        </p:nvSpPr>
        <p:spPr>
          <a:xfrm>
            <a:off x="9835376" y="2212950"/>
            <a:ext cx="2653990" cy="2308324"/>
          </a:xfrm>
          <a:prstGeom prst="rect">
            <a:avLst/>
          </a:prstGeom>
          <a:noFill/>
        </p:spPr>
        <p:txBody>
          <a:bodyPr wrap="square" rtlCol="0">
            <a:spAutoFit/>
          </a:bodyPr>
          <a:lstStyle/>
          <a:p>
            <a:r>
              <a:rPr lang="en-US" dirty="0"/>
              <a:t>USE SLIDE AS SOLUTION TRANSITION SLIDE</a:t>
            </a:r>
          </a:p>
          <a:p>
            <a:endParaRPr lang="en-US" dirty="0"/>
          </a:p>
          <a:p>
            <a:r>
              <a:rPr lang="en-US" dirty="0"/>
              <a:t>OR </a:t>
            </a:r>
          </a:p>
          <a:p>
            <a:endParaRPr lang="en-US" dirty="0"/>
          </a:p>
          <a:p>
            <a:r>
              <a:rPr lang="en-US" dirty="0"/>
              <a:t>IN EXECUTIVE SUMMARY</a:t>
            </a:r>
          </a:p>
        </p:txBody>
      </p:sp>
    </p:spTree>
    <p:extLst>
      <p:ext uri="{BB962C8B-B14F-4D97-AF65-F5344CB8AC3E}">
        <p14:creationId xmlns:p14="http://schemas.microsoft.com/office/powerpoint/2010/main" val="40991905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p:cNvCxnSpPr/>
          <p:nvPr/>
        </p:nvCxnSpPr>
        <p:spPr>
          <a:xfrm>
            <a:off x="588936" y="1999281"/>
            <a:ext cx="323593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73437" y="1628526"/>
            <a:ext cx="3251434" cy="338554"/>
          </a:xfrm>
          <a:prstGeom prst="rect">
            <a:avLst/>
          </a:prstGeom>
          <a:noFill/>
        </p:spPr>
        <p:txBody>
          <a:bodyPr wrap="square" rtlCol="0">
            <a:spAutoFit/>
          </a:bodyPr>
          <a:lstStyle/>
          <a:p>
            <a:pPr algn="ctr"/>
            <a:r>
              <a:rPr lang="en-US" sz="1600" dirty="0">
                <a:latin typeface="Arial" panose="020B0604020202020204" pitchFamily="34" charset="0"/>
                <a:ea typeface="Gulim" charset="-127"/>
                <a:cs typeface="Arial" panose="020B0604020202020204" pitchFamily="34" charset="0"/>
              </a:rPr>
              <a:t>What is Mjölk?</a:t>
            </a:r>
          </a:p>
        </p:txBody>
      </p:sp>
      <p:cxnSp>
        <p:nvCxnSpPr>
          <p:cNvPr id="25" name="Straight Connector 24"/>
          <p:cNvCxnSpPr/>
          <p:nvPr/>
        </p:nvCxnSpPr>
        <p:spPr>
          <a:xfrm>
            <a:off x="8367128" y="1999281"/>
            <a:ext cx="323593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351629" y="1628526"/>
            <a:ext cx="3251434" cy="338554"/>
          </a:xfrm>
          <a:prstGeom prst="rect">
            <a:avLst/>
          </a:prstGeom>
          <a:noFill/>
        </p:spPr>
        <p:txBody>
          <a:bodyPr wrap="square" rtlCol="0">
            <a:spAutoFit/>
          </a:bodyPr>
          <a:lstStyle/>
          <a:p>
            <a:pPr algn="ctr"/>
            <a:r>
              <a:rPr lang="en-US" sz="1600" dirty="0">
                <a:latin typeface="Arial" panose="020B0604020202020204" pitchFamily="34" charset="0"/>
                <a:ea typeface="Gulim" charset="-127"/>
                <a:cs typeface="Arial" panose="020B0604020202020204" pitchFamily="34" charset="0"/>
              </a:rPr>
              <a:t>What products will Mjölk sell?</a:t>
            </a:r>
          </a:p>
        </p:txBody>
      </p:sp>
      <p:grpSp>
        <p:nvGrpSpPr>
          <p:cNvPr id="44" name="Group 43"/>
          <p:cNvGrpSpPr/>
          <p:nvPr/>
        </p:nvGrpSpPr>
        <p:grpSpPr>
          <a:xfrm>
            <a:off x="591479" y="2697355"/>
            <a:ext cx="4576686" cy="2779061"/>
            <a:chOff x="591479" y="2203788"/>
            <a:chExt cx="4576686" cy="2779061"/>
          </a:xfrm>
          <a:solidFill>
            <a:schemeClr val="bg1">
              <a:lumMod val="95000"/>
            </a:schemeClr>
          </a:solidFill>
        </p:grpSpPr>
        <p:sp>
          <p:nvSpPr>
            <p:cNvPr id="28" name="Triangle 27"/>
            <p:cNvSpPr/>
            <p:nvPr/>
          </p:nvSpPr>
          <p:spPr>
            <a:xfrm rot="5400000">
              <a:off x="2954991" y="2769676"/>
              <a:ext cx="2779061" cy="1647286"/>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Arial" panose="020B0604020202020204" pitchFamily="34" charset="0"/>
                <a:ea typeface="Gulim" charset="-127"/>
                <a:cs typeface="Arial" panose="020B0604020202020204" pitchFamily="34" charset="0"/>
              </a:endParaRPr>
            </a:p>
          </p:txBody>
        </p:sp>
        <p:sp>
          <p:nvSpPr>
            <p:cNvPr id="29" name="Text Placeholder 3"/>
            <p:cNvSpPr txBox="1">
              <a:spLocks/>
            </p:cNvSpPr>
            <p:nvPr/>
          </p:nvSpPr>
          <p:spPr>
            <a:xfrm flipH="1">
              <a:off x="591479" y="2203789"/>
              <a:ext cx="2948988" cy="2771660"/>
            </a:xfrm>
            <a:prstGeom prst="round1Rect">
              <a:avLst/>
            </a:prstGeom>
            <a:grpFill/>
            <a:ln>
              <a:noFill/>
            </a:ln>
          </p:spPr>
          <p:txBody>
            <a:bodyPr anchor="ctr"/>
            <a:lstStyle>
              <a:lvl1pPr marL="0" indent="0" algn="ctr" defTabSz="914400" rtl="0" eaLnBrk="1" latinLnBrk="0" hangingPunct="1">
                <a:spcBef>
                  <a:spcPct val="20000"/>
                </a:spcBef>
                <a:buFont typeface="Arial" panose="020B0604020202020204" pitchFamily="34" charset="0"/>
                <a:buNone/>
                <a:defRPr sz="1200" b="1"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l" defTabSz="1094458">
                <a:defRPr/>
              </a:pPr>
              <a:r>
                <a:rPr lang="da-DK" sz="1400" b="0" dirty="0">
                  <a:solidFill>
                    <a:srgbClr val="000000"/>
                  </a:solidFill>
                  <a:ea typeface="Gulim" charset="-127"/>
                </a:rPr>
                <a:t>Premium boutique café</a:t>
              </a:r>
            </a:p>
            <a:p>
              <a:pPr algn="l" defTabSz="1094458">
                <a:defRPr/>
              </a:pPr>
              <a:endParaRPr lang="da-DK" sz="1400" b="0" dirty="0">
                <a:solidFill>
                  <a:srgbClr val="000000"/>
                </a:solidFill>
                <a:ea typeface="Gulim" charset="-127"/>
              </a:endParaRPr>
            </a:p>
            <a:p>
              <a:pPr algn="l" defTabSz="1094458">
                <a:defRPr/>
              </a:pPr>
              <a:r>
                <a:rPr lang="da-DK" sz="1400" b="0" dirty="0">
                  <a:solidFill>
                    <a:srgbClr val="000000"/>
                  </a:solidFill>
                  <a:ea typeface="Gulim" charset="-127"/>
                </a:rPr>
                <a:t>Nordic feel, </a:t>
              </a:r>
              <a:r>
                <a:rPr lang="da-DK" sz="1400" b="0" dirty="0" err="1">
                  <a:solidFill>
                    <a:srgbClr val="000000"/>
                  </a:solidFill>
                  <a:ea typeface="Gulim" charset="-127"/>
                </a:rPr>
                <a:t>minimalistic</a:t>
              </a:r>
              <a:r>
                <a:rPr lang="da-DK" sz="1400" b="0" dirty="0">
                  <a:solidFill>
                    <a:srgbClr val="000000"/>
                  </a:solidFill>
                  <a:ea typeface="Gulim" charset="-127"/>
                </a:rPr>
                <a:t> </a:t>
              </a:r>
              <a:r>
                <a:rPr lang="da-DK" sz="1400" b="0" dirty="0" err="1">
                  <a:solidFill>
                    <a:srgbClr val="000000"/>
                  </a:solidFill>
                  <a:ea typeface="Gulim" charset="-127"/>
                </a:rPr>
                <a:t>interior</a:t>
              </a:r>
              <a:endParaRPr lang="da-DK" sz="1400" b="0" dirty="0">
                <a:solidFill>
                  <a:srgbClr val="000000"/>
                </a:solidFill>
                <a:ea typeface="Gulim" charset="-127"/>
              </a:endParaRPr>
            </a:p>
            <a:p>
              <a:pPr algn="l" defTabSz="1094458">
                <a:defRPr/>
              </a:pPr>
              <a:endParaRPr lang="da-DK" sz="1400" b="0" dirty="0">
                <a:solidFill>
                  <a:srgbClr val="000000"/>
                </a:solidFill>
                <a:ea typeface="Gulim" charset="-127"/>
              </a:endParaRPr>
            </a:p>
            <a:p>
              <a:pPr algn="l" defTabSz="1094458">
                <a:defRPr/>
              </a:pPr>
              <a:r>
                <a:rPr lang="da-DK" sz="1400" b="0" dirty="0" err="1">
                  <a:solidFill>
                    <a:srgbClr val="000000"/>
                  </a:solidFill>
                  <a:ea typeface="Gulim" charset="-127"/>
                </a:rPr>
                <a:t>Cozy</a:t>
              </a:r>
              <a:r>
                <a:rPr lang="da-DK" sz="1400" b="0" dirty="0">
                  <a:solidFill>
                    <a:srgbClr val="000000"/>
                  </a:solidFill>
                  <a:ea typeface="Gulim" charset="-127"/>
                </a:rPr>
                <a:t> to </a:t>
              </a:r>
              <a:r>
                <a:rPr lang="da-DK" sz="1400" b="0" dirty="0" err="1">
                  <a:solidFill>
                    <a:srgbClr val="000000"/>
                  </a:solidFill>
                  <a:ea typeface="Gulim" charset="-127"/>
                </a:rPr>
                <a:t>stay</a:t>
              </a:r>
              <a:r>
                <a:rPr lang="da-DK" sz="1400" b="0" dirty="0">
                  <a:solidFill>
                    <a:srgbClr val="000000"/>
                  </a:solidFill>
                  <a:ea typeface="Gulim" charset="-127"/>
                </a:rPr>
                <a:t>, </a:t>
              </a:r>
              <a:r>
                <a:rPr lang="da-DK" sz="1400" b="0" dirty="0" err="1">
                  <a:solidFill>
                    <a:srgbClr val="000000"/>
                  </a:solidFill>
                  <a:ea typeface="Gulim" charset="-127"/>
                </a:rPr>
                <a:t>convenient</a:t>
              </a:r>
              <a:r>
                <a:rPr lang="da-DK" sz="1400" b="0" dirty="0">
                  <a:solidFill>
                    <a:srgbClr val="000000"/>
                  </a:solidFill>
                  <a:ea typeface="Gulim" charset="-127"/>
                </a:rPr>
                <a:t> to go</a:t>
              </a:r>
              <a:endParaRPr lang="en-US" sz="1400" b="0" dirty="0">
                <a:solidFill>
                  <a:srgbClr val="000000"/>
                </a:solidFill>
                <a:ea typeface="Gulim" charset="-127"/>
              </a:endParaRPr>
            </a:p>
          </p:txBody>
        </p:sp>
      </p:grpSp>
      <p:sp>
        <p:nvSpPr>
          <p:cNvPr id="33" name="L-form 160"/>
          <p:cNvSpPr/>
          <p:nvPr/>
        </p:nvSpPr>
        <p:spPr>
          <a:xfrm rot="18259209">
            <a:off x="452320" y="3354581"/>
            <a:ext cx="346736" cy="191027"/>
          </a:xfrm>
          <a:prstGeom prst="corner">
            <a:avLst>
              <a:gd name="adj1" fmla="val 31460"/>
              <a:gd name="adj2" fmla="val 29738"/>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34" name="L-form 160"/>
          <p:cNvSpPr/>
          <p:nvPr/>
        </p:nvSpPr>
        <p:spPr>
          <a:xfrm rot="18259209">
            <a:off x="452320" y="3882867"/>
            <a:ext cx="346736" cy="191027"/>
          </a:xfrm>
          <a:prstGeom prst="corner">
            <a:avLst>
              <a:gd name="adj1" fmla="val 31460"/>
              <a:gd name="adj2" fmla="val 29738"/>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35" name="L-form 160"/>
          <p:cNvSpPr/>
          <p:nvPr/>
        </p:nvSpPr>
        <p:spPr>
          <a:xfrm rot="18259209">
            <a:off x="448896" y="4453978"/>
            <a:ext cx="346736" cy="191027"/>
          </a:xfrm>
          <a:prstGeom prst="corner">
            <a:avLst>
              <a:gd name="adj1" fmla="val 31460"/>
              <a:gd name="adj2" fmla="val 29738"/>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cxnSp>
        <p:nvCxnSpPr>
          <p:cNvPr id="41" name="Straight Connector 40"/>
          <p:cNvCxnSpPr/>
          <p:nvPr/>
        </p:nvCxnSpPr>
        <p:spPr>
          <a:xfrm flipV="1">
            <a:off x="5598836" y="2758287"/>
            <a:ext cx="321792" cy="281723"/>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912606" y="2761528"/>
            <a:ext cx="345319" cy="0"/>
          </a:xfrm>
          <a:prstGeom prst="line">
            <a:avLst/>
          </a:prstGeom>
          <a:ln w="28575">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flipH="1">
            <a:off x="7342249" y="2672247"/>
            <a:ext cx="4235725" cy="2779061"/>
            <a:chOff x="591479" y="2203788"/>
            <a:chExt cx="4235725" cy="2779061"/>
          </a:xfrm>
          <a:solidFill>
            <a:schemeClr val="bg1">
              <a:lumMod val="95000"/>
            </a:schemeClr>
          </a:solidFill>
        </p:grpSpPr>
        <p:sp>
          <p:nvSpPr>
            <p:cNvPr id="46" name="Triangle 45"/>
            <p:cNvSpPr/>
            <p:nvPr/>
          </p:nvSpPr>
          <p:spPr>
            <a:xfrm rot="5400000">
              <a:off x="2614030" y="2769676"/>
              <a:ext cx="2779061" cy="1647286"/>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Arial" panose="020B0604020202020204" pitchFamily="34" charset="0"/>
                <a:ea typeface="Gulim" charset="-127"/>
                <a:cs typeface="Arial" panose="020B0604020202020204" pitchFamily="34" charset="0"/>
              </a:endParaRPr>
            </a:p>
          </p:txBody>
        </p:sp>
        <p:sp>
          <p:nvSpPr>
            <p:cNvPr id="47" name="Text Placeholder 3"/>
            <p:cNvSpPr txBox="1">
              <a:spLocks/>
            </p:cNvSpPr>
            <p:nvPr/>
          </p:nvSpPr>
          <p:spPr>
            <a:xfrm flipH="1">
              <a:off x="591479" y="2203789"/>
              <a:ext cx="2597954" cy="2771660"/>
            </a:xfrm>
            <a:prstGeom prst="round1Rect">
              <a:avLst/>
            </a:prstGeom>
            <a:grpFill/>
            <a:ln>
              <a:noFill/>
            </a:ln>
          </p:spPr>
          <p:txBody>
            <a:bodyPr lIns="36000" rIns="36000" anchor="ctr"/>
            <a:lstStyle>
              <a:lvl1pPr marL="0" indent="0" algn="ctr" defTabSz="914400" rtl="0" eaLnBrk="1" latinLnBrk="0" hangingPunct="1">
                <a:spcBef>
                  <a:spcPct val="20000"/>
                </a:spcBef>
                <a:buFont typeface="Arial" panose="020B0604020202020204" pitchFamily="34" charset="0"/>
                <a:buNone/>
                <a:defRPr sz="1200" b="1"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defTabSz="1094458">
                <a:defRPr/>
              </a:pPr>
              <a:r>
                <a:rPr lang="da-DK" sz="1400" b="0" dirty="0">
                  <a:solidFill>
                    <a:srgbClr val="000000"/>
                  </a:solidFill>
                  <a:ea typeface="Gulim" charset="-127"/>
                </a:rPr>
                <a:t>Wide range of Arla products</a:t>
              </a:r>
            </a:p>
            <a:p>
              <a:pPr algn="r" defTabSz="1094458">
                <a:defRPr/>
              </a:pPr>
              <a:endParaRPr lang="da-DK" sz="1400" b="0" dirty="0">
                <a:solidFill>
                  <a:srgbClr val="000000"/>
                </a:solidFill>
                <a:ea typeface="Gulim" charset="-127"/>
              </a:endParaRPr>
            </a:p>
            <a:p>
              <a:pPr algn="r" defTabSz="1094458">
                <a:defRPr/>
              </a:pPr>
              <a:r>
                <a:rPr lang="da-DK" sz="1400" b="0" dirty="0">
                  <a:solidFill>
                    <a:srgbClr val="000000"/>
                  </a:solidFill>
                  <a:ea typeface="Gulim" charset="-127"/>
                </a:rPr>
                <a:t>”</a:t>
              </a:r>
              <a:r>
                <a:rPr lang="da-DK" sz="1400" b="0" dirty="0" err="1">
                  <a:solidFill>
                    <a:srgbClr val="000000"/>
                  </a:solidFill>
                  <a:ea typeface="Gulim" charset="-127"/>
                </a:rPr>
                <a:t>Build</a:t>
              </a:r>
              <a:r>
                <a:rPr lang="da-DK" sz="1400" b="0" dirty="0">
                  <a:solidFill>
                    <a:srgbClr val="000000"/>
                  </a:solidFill>
                  <a:ea typeface="Gulim" charset="-127"/>
                </a:rPr>
                <a:t> </a:t>
              </a:r>
              <a:r>
                <a:rPr lang="da-DK" sz="1400" b="0" dirty="0" err="1">
                  <a:solidFill>
                    <a:srgbClr val="000000"/>
                  </a:solidFill>
                  <a:ea typeface="Gulim" charset="-127"/>
                </a:rPr>
                <a:t>your</a:t>
              </a:r>
              <a:r>
                <a:rPr lang="da-DK" sz="1400" b="0" dirty="0">
                  <a:solidFill>
                    <a:srgbClr val="000000"/>
                  </a:solidFill>
                  <a:ea typeface="Gulim" charset="-127"/>
                </a:rPr>
                <a:t> </a:t>
              </a:r>
              <a:r>
                <a:rPr lang="da-DK" sz="1400" b="0" dirty="0" err="1">
                  <a:solidFill>
                    <a:srgbClr val="000000"/>
                  </a:solidFill>
                  <a:ea typeface="Gulim" charset="-127"/>
                </a:rPr>
                <a:t>own</a:t>
              </a:r>
              <a:r>
                <a:rPr lang="da-DK" sz="1400" b="0" dirty="0">
                  <a:solidFill>
                    <a:srgbClr val="000000"/>
                  </a:solidFill>
                  <a:ea typeface="Gulim" charset="-127"/>
                </a:rPr>
                <a:t> </a:t>
              </a:r>
              <a:r>
                <a:rPr lang="da-DK" sz="1400" b="0" dirty="0" err="1">
                  <a:solidFill>
                    <a:srgbClr val="000000"/>
                  </a:solidFill>
                  <a:ea typeface="Gulim" charset="-127"/>
                </a:rPr>
                <a:t>breakfast</a:t>
              </a:r>
              <a:r>
                <a:rPr lang="da-DK" sz="1400" b="0" dirty="0">
                  <a:solidFill>
                    <a:srgbClr val="000000"/>
                  </a:solidFill>
                  <a:ea typeface="Gulim" charset="-127"/>
                </a:rPr>
                <a:t>”</a:t>
              </a:r>
            </a:p>
            <a:p>
              <a:pPr algn="r" defTabSz="1094458">
                <a:defRPr/>
              </a:pPr>
              <a:endParaRPr lang="da-DK" sz="1400" b="0" dirty="0">
                <a:solidFill>
                  <a:srgbClr val="000000"/>
                </a:solidFill>
                <a:ea typeface="Gulim" charset="-127"/>
              </a:endParaRPr>
            </a:p>
            <a:p>
              <a:pPr algn="r" defTabSz="1094458">
                <a:defRPr/>
              </a:pPr>
              <a:r>
                <a:rPr lang="da-DK" sz="1400" b="0" dirty="0" err="1">
                  <a:solidFill>
                    <a:srgbClr val="000000"/>
                  </a:solidFill>
                  <a:ea typeface="Gulim" charset="-127"/>
                </a:rPr>
                <a:t>Supplementary</a:t>
              </a:r>
              <a:r>
                <a:rPr lang="da-DK" sz="1400" b="0" dirty="0">
                  <a:solidFill>
                    <a:srgbClr val="000000"/>
                  </a:solidFill>
                  <a:ea typeface="Gulim" charset="-127"/>
                </a:rPr>
                <a:t> drinks and sides (OJ, </a:t>
              </a:r>
              <a:r>
                <a:rPr lang="da-DK" sz="1400" b="0" dirty="0" err="1">
                  <a:solidFill>
                    <a:srgbClr val="000000"/>
                  </a:solidFill>
                  <a:ea typeface="Gulim" charset="-127"/>
                </a:rPr>
                <a:t>coffee</a:t>
              </a:r>
              <a:r>
                <a:rPr lang="da-DK" sz="1400" b="0" dirty="0">
                  <a:solidFill>
                    <a:srgbClr val="000000"/>
                  </a:solidFill>
                  <a:ea typeface="Gulim" charset="-127"/>
                </a:rPr>
                <a:t>, </a:t>
              </a:r>
              <a:r>
                <a:rPr lang="da-DK" sz="1400" b="0" dirty="0" err="1">
                  <a:solidFill>
                    <a:srgbClr val="000000"/>
                  </a:solidFill>
                  <a:ea typeface="Gulim" charset="-127"/>
                </a:rPr>
                <a:t>granola</a:t>
              </a:r>
              <a:r>
                <a:rPr lang="da-DK" sz="1400" b="0" dirty="0">
                  <a:solidFill>
                    <a:srgbClr val="000000"/>
                  </a:solidFill>
                  <a:ea typeface="Gulim" charset="-127"/>
                </a:rPr>
                <a:t>) </a:t>
              </a:r>
            </a:p>
          </p:txBody>
        </p:sp>
      </p:grpSp>
      <p:grpSp>
        <p:nvGrpSpPr>
          <p:cNvPr id="21" name="Group 20"/>
          <p:cNvGrpSpPr/>
          <p:nvPr/>
        </p:nvGrpSpPr>
        <p:grpSpPr>
          <a:xfrm>
            <a:off x="3824871" y="1596325"/>
            <a:ext cx="4542257" cy="4498614"/>
            <a:chOff x="4187932" y="1104884"/>
            <a:chExt cx="5382736" cy="5331018"/>
          </a:xfrm>
        </p:grpSpPr>
        <p:pic>
          <p:nvPicPr>
            <p:cNvPr id="17" name="Picture 16"/>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4187932" y="1104884"/>
              <a:ext cx="5382736" cy="5331018"/>
            </a:xfrm>
            <a:prstGeom prst="ellipse">
              <a:avLst/>
            </a:prstGeom>
          </p:spPr>
        </p:pic>
        <p:pic>
          <p:nvPicPr>
            <p:cNvPr id="18" name="Picture 17"/>
            <p:cNvPicPr>
              <a:picLocks noChangeAspect="1"/>
            </p:cNvPicPr>
            <p:nvPr/>
          </p:nvPicPr>
          <p:blipFill>
            <a:blip r:embed="rId3">
              <a:clrChange>
                <a:clrFrom>
                  <a:srgbClr val="FFFFFF"/>
                </a:clrFrom>
                <a:clrTo>
                  <a:srgbClr val="FFFFFF">
                    <a:alpha val="0"/>
                  </a:srgbClr>
                </a:clrTo>
              </a:clrChange>
              <a:alphaModFix amt="50000"/>
            </a:blip>
            <a:stretch>
              <a:fillRect/>
            </a:stretch>
          </p:blipFill>
          <p:spPr>
            <a:xfrm rot="60000">
              <a:off x="5700901" y="2966851"/>
              <a:ext cx="1009401" cy="664080"/>
            </a:xfrm>
            <a:prstGeom prst="rect">
              <a:avLst/>
            </a:prstGeom>
          </p:spPr>
        </p:pic>
        <p:sp>
          <p:nvSpPr>
            <p:cNvPr id="20" name="Rectangle 19"/>
            <p:cNvSpPr/>
            <p:nvPr/>
          </p:nvSpPr>
          <p:spPr>
            <a:xfrm>
              <a:off x="5955105" y="2716773"/>
              <a:ext cx="755833" cy="1349206"/>
            </a:xfrm>
            <a:custGeom>
              <a:avLst/>
              <a:gdLst>
                <a:gd name="connsiteX0" fmla="*/ 0 w 184994"/>
                <a:gd name="connsiteY0" fmla="*/ 0 h 339665"/>
                <a:gd name="connsiteX1" fmla="*/ 184994 w 184994"/>
                <a:gd name="connsiteY1" fmla="*/ 0 h 339665"/>
                <a:gd name="connsiteX2" fmla="*/ 184994 w 184994"/>
                <a:gd name="connsiteY2" fmla="*/ 339665 h 339665"/>
                <a:gd name="connsiteX3" fmla="*/ 0 w 184994"/>
                <a:gd name="connsiteY3" fmla="*/ 339665 h 339665"/>
                <a:gd name="connsiteX4" fmla="*/ 0 w 184994"/>
                <a:gd name="connsiteY4" fmla="*/ 0 h 339665"/>
                <a:gd name="connsiteX0" fmla="*/ 523269 w 708263"/>
                <a:gd name="connsiteY0" fmla="*/ 0 h 1343920"/>
                <a:gd name="connsiteX1" fmla="*/ 708263 w 708263"/>
                <a:gd name="connsiteY1" fmla="*/ 0 h 1343920"/>
                <a:gd name="connsiteX2" fmla="*/ 708263 w 708263"/>
                <a:gd name="connsiteY2" fmla="*/ 339665 h 1343920"/>
                <a:gd name="connsiteX3" fmla="*/ 0 w 708263"/>
                <a:gd name="connsiteY3" fmla="*/ 1343920 h 1343920"/>
                <a:gd name="connsiteX4" fmla="*/ 523269 w 708263"/>
                <a:gd name="connsiteY4" fmla="*/ 0 h 1343920"/>
                <a:gd name="connsiteX0" fmla="*/ 116282 w 708263"/>
                <a:gd name="connsiteY0" fmla="*/ 84569 h 1343920"/>
                <a:gd name="connsiteX1" fmla="*/ 708263 w 708263"/>
                <a:gd name="connsiteY1" fmla="*/ 0 h 1343920"/>
                <a:gd name="connsiteX2" fmla="*/ 708263 w 708263"/>
                <a:gd name="connsiteY2" fmla="*/ 339665 h 1343920"/>
                <a:gd name="connsiteX3" fmla="*/ 0 w 708263"/>
                <a:gd name="connsiteY3" fmla="*/ 1343920 h 1343920"/>
                <a:gd name="connsiteX4" fmla="*/ 116282 w 708263"/>
                <a:gd name="connsiteY4" fmla="*/ 84569 h 1343920"/>
                <a:gd name="connsiteX0" fmla="*/ 116282 w 708263"/>
                <a:gd name="connsiteY0" fmla="*/ 84569 h 1343920"/>
                <a:gd name="connsiteX1" fmla="*/ 708263 w 708263"/>
                <a:gd name="connsiteY1" fmla="*/ 0 h 1343920"/>
                <a:gd name="connsiteX2" fmla="*/ 671265 w 708263"/>
                <a:gd name="connsiteY2" fmla="*/ 1095499 h 1343920"/>
                <a:gd name="connsiteX3" fmla="*/ 0 w 708263"/>
                <a:gd name="connsiteY3" fmla="*/ 1343920 h 1343920"/>
                <a:gd name="connsiteX4" fmla="*/ 116282 w 708263"/>
                <a:gd name="connsiteY4" fmla="*/ 84569 h 1343920"/>
                <a:gd name="connsiteX0" fmla="*/ 116282 w 755833"/>
                <a:gd name="connsiteY0" fmla="*/ 89855 h 1349206"/>
                <a:gd name="connsiteX1" fmla="*/ 755833 w 755833"/>
                <a:gd name="connsiteY1" fmla="*/ 0 h 1349206"/>
                <a:gd name="connsiteX2" fmla="*/ 671265 w 755833"/>
                <a:gd name="connsiteY2" fmla="*/ 1100785 h 1349206"/>
                <a:gd name="connsiteX3" fmla="*/ 0 w 755833"/>
                <a:gd name="connsiteY3" fmla="*/ 1349206 h 1349206"/>
                <a:gd name="connsiteX4" fmla="*/ 116282 w 755833"/>
                <a:gd name="connsiteY4" fmla="*/ 89855 h 1349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833" h="1349206">
                  <a:moveTo>
                    <a:pt x="116282" y="89855"/>
                  </a:moveTo>
                  <a:lnTo>
                    <a:pt x="755833" y="0"/>
                  </a:lnTo>
                  <a:lnTo>
                    <a:pt x="671265" y="1100785"/>
                  </a:lnTo>
                  <a:lnTo>
                    <a:pt x="0" y="1349206"/>
                  </a:lnTo>
                  <a:lnTo>
                    <a:pt x="116282" y="89855"/>
                  </a:lnTo>
                  <a:close/>
                </a:path>
              </a:pathLst>
            </a:custGeom>
            <a:gradFill>
              <a:gsLst>
                <a:gs pos="0">
                  <a:schemeClr val="bg1">
                    <a:alpha val="2000"/>
                  </a:schemeClr>
                </a:gs>
                <a:gs pos="100000">
                  <a:schemeClr val="bg1">
                    <a:alpha val="35000"/>
                  </a:schemeClr>
                </a:gs>
              </a:gsLst>
              <a:lin ang="0" scaled="0"/>
            </a:gra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grpSp>
      <p:sp>
        <p:nvSpPr>
          <p:cNvPr id="36" name="L-form 160"/>
          <p:cNvSpPr/>
          <p:nvPr/>
        </p:nvSpPr>
        <p:spPr>
          <a:xfrm rot="18259209">
            <a:off x="11404604" y="3339025"/>
            <a:ext cx="346736" cy="191027"/>
          </a:xfrm>
          <a:prstGeom prst="corner">
            <a:avLst>
              <a:gd name="adj1" fmla="val 31460"/>
              <a:gd name="adj2" fmla="val 29738"/>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37" name="L-form 160"/>
          <p:cNvSpPr/>
          <p:nvPr/>
        </p:nvSpPr>
        <p:spPr>
          <a:xfrm rot="18259209">
            <a:off x="11404605" y="3790635"/>
            <a:ext cx="346736" cy="191027"/>
          </a:xfrm>
          <a:prstGeom prst="corner">
            <a:avLst>
              <a:gd name="adj1" fmla="val 31460"/>
              <a:gd name="adj2" fmla="val 29738"/>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38" name="L-form 160"/>
          <p:cNvSpPr/>
          <p:nvPr/>
        </p:nvSpPr>
        <p:spPr>
          <a:xfrm rot="18259209">
            <a:off x="11404604" y="4425361"/>
            <a:ext cx="346736" cy="191027"/>
          </a:xfrm>
          <a:prstGeom prst="corner">
            <a:avLst>
              <a:gd name="adj1" fmla="val 31460"/>
              <a:gd name="adj2" fmla="val 29738"/>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48" name="Rectangle 47"/>
          <p:cNvSpPr/>
          <p:nvPr/>
        </p:nvSpPr>
        <p:spPr>
          <a:xfrm>
            <a:off x="4153545" y="5021451"/>
            <a:ext cx="3905573" cy="1376361"/>
          </a:xfrm>
          <a:prstGeom prst="rect">
            <a:avLst/>
          </a:prstGeom>
          <a:solidFill>
            <a:srgbClr val="FFFFFF">
              <a:alpha val="50196"/>
            </a:srgbClr>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pic>
        <p:nvPicPr>
          <p:cNvPr id="16" name="Picture 15"/>
          <p:cNvPicPr>
            <a:picLocks noChangeAspect="1"/>
          </p:cNvPicPr>
          <p:nvPr/>
        </p:nvPicPr>
        <p:blipFill>
          <a:blip r:embed="rId3">
            <a:clrChange>
              <a:clrFrom>
                <a:srgbClr val="FFFFFF"/>
              </a:clrFrom>
              <a:clrTo>
                <a:srgbClr val="FFFFFF">
                  <a:alpha val="0"/>
                </a:srgbClr>
              </a:clrTo>
            </a:clrChange>
          </a:blip>
          <a:stretch>
            <a:fillRect/>
          </a:stretch>
        </p:blipFill>
        <p:spPr>
          <a:xfrm>
            <a:off x="5084756" y="5004428"/>
            <a:ext cx="2074145" cy="1364569"/>
          </a:xfrm>
          <a:prstGeom prst="rect">
            <a:avLst/>
          </a:prstGeom>
        </p:spPr>
      </p:pic>
      <p:sp>
        <p:nvSpPr>
          <p:cNvPr id="4" name="Text Placeholder 3">
            <a:extLst>
              <a:ext uri="{FF2B5EF4-FFF2-40B4-BE49-F238E27FC236}">
                <a16:creationId xmlns:a16="http://schemas.microsoft.com/office/drawing/2014/main" id="{7E280341-101C-DC4C-9B30-BFFD5B8BF3E6}"/>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9B2017F1-1CB0-6047-945B-D6814AC84C74}"/>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527050" y="127212"/>
            <a:ext cx="9314374" cy="925103"/>
          </a:xfrm>
          <a:prstGeom prst="rect">
            <a:avLst/>
          </a:prstGeom>
        </p:spPr>
        <p:txBody>
          <a:bodyPr/>
          <a:lstStyle/>
          <a:p>
            <a:r>
              <a:rPr lang="en-US" dirty="0" err="1">
                <a:latin typeface="Arial" panose="020B0604020202020204" pitchFamily="34" charset="0"/>
                <a:cs typeface="Arial" panose="020B0604020202020204" pitchFamily="34" charset="0"/>
              </a:rPr>
              <a:t>Arla</a:t>
            </a:r>
            <a:r>
              <a:rPr lang="en-US" dirty="0">
                <a:latin typeface="Arial" panose="020B0604020202020204" pitchFamily="34" charset="0"/>
                <a:cs typeface="Arial" panose="020B0604020202020204" pitchFamily="34" charset="0"/>
              </a:rPr>
              <a:t> should </a:t>
            </a:r>
            <a:r>
              <a:rPr lang="en-US" dirty="0" err="1">
                <a:latin typeface="Arial" panose="020B0604020202020204" pitchFamily="34" charset="0"/>
                <a:cs typeface="Arial" panose="020B0604020202020204" pitchFamily="34" charset="0"/>
              </a:rPr>
              <a:t>premiumize</a:t>
            </a:r>
            <a:r>
              <a:rPr lang="en-US" dirty="0">
                <a:latin typeface="Arial" panose="020B0604020202020204" pitchFamily="34" charset="0"/>
                <a:cs typeface="Arial" panose="020B0604020202020204" pitchFamily="34" charset="0"/>
              </a:rPr>
              <a:t> by opening boutique cafés,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Mjölk by </a:t>
            </a:r>
            <a:r>
              <a:rPr lang="en-US" dirty="0" err="1">
                <a:latin typeface="Arial" panose="020B0604020202020204" pitchFamily="34" charset="0"/>
                <a:cs typeface="Arial" panose="020B0604020202020204" pitchFamily="34" charset="0"/>
              </a:rPr>
              <a:t>Arla</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523391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6" grpId="0" animBg="1"/>
      <p:bldP spid="37" grpId="0" animBg="1"/>
      <p:bldP spid="3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E588BB8-ABB4-5E48-B978-CF593F79216A}"/>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C974F938-C496-B14A-A22A-69667972419E}"/>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527050" y="127212"/>
            <a:ext cx="9314374" cy="925103"/>
          </a:xfrm>
          <a:prstGeom prst="rect">
            <a:avLst/>
          </a:prstGeom>
        </p:spPr>
        <p:txBody>
          <a:bodyPr>
            <a:noAutofit/>
          </a:bodyPr>
          <a:lstStyle/>
          <a:p>
            <a:r>
              <a:rPr lang="da-DK" sz="2800" dirty="0">
                <a:latin typeface="Arial" panose="020B0604020202020204" pitchFamily="34" charset="0"/>
                <a:cs typeface="Arial" panose="020B0604020202020204" pitchFamily="34" charset="0"/>
              </a:rPr>
              <a:t>Arla </a:t>
            </a:r>
            <a:r>
              <a:rPr lang="da-DK" sz="2800" dirty="0" err="1">
                <a:latin typeface="Arial" panose="020B0604020202020204" pitchFamily="34" charset="0"/>
                <a:cs typeface="Arial" panose="020B0604020202020204" pitchFamily="34" charset="0"/>
              </a:rPr>
              <a:t>should</a:t>
            </a:r>
            <a:r>
              <a:rPr lang="da-DK" sz="2800" dirty="0">
                <a:latin typeface="Arial" panose="020B0604020202020204" pitchFamily="34" charset="0"/>
                <a:cs typeface="Arial" panose="020B0604020202020204" pitchFamily="34" charset="0"/>
              </a:rPr>
              <a:t> </a:t>
            </a:r>
            <a:r>
              <a:rPr lang="da-DK" sz="2800" dirty="0" err="1">
                <a:latin typeface="Arial" panose="020B0604020202020204" pitchFamily="34" charset="0"/>
                <a:cs typeface="Arial" panose="020B0604020202020204" pitchFamily="34" charset="0"/>
              </a:rPr>
              <a:t>leverage</a:t>
            </a:r>
            <a:r>
              <a:rPr lang="da-DK" sz="2800" dirty="0">
                <a:latin typeface="Arial" panose="020B0604020202020204" pitchFamily="34" charset="0"/>
                <a:cs typeface="Arial" panose="020B0604020202020204" pitchFamily="34" charset="0"/>
              </a:rPr>
              <a:t> core </a:t>
            </a:r>
            <a:r>
              <a:rPr lang="da-DK" sz="2800" dirty="0" err="1">
                <a:latin typeface="Arial" panose="020B0604020202020204" pitchFamily="34" charset="0"/>
                <a:cs typeface="Arial" panose="020B0604020202020204" pitchFamily="34" charset="0"/>
              </a:rPr>
              <a:t>capabilities</a:t>
            </a:r>
            <a:r>
              <a:rPr lang="da-DK" sz="2800" dirty="0">
                <a:latin typeface="Arial" panose="020B0604020202020204" pitchFamily="34" charset="0"/>
                <a:cs typeface="Arial" panose="020B0604020202020204" pitchFamily="34" charset="0"/>
              </a:rPr>
              <a:t> and </a:t>
            </a:r>
            <a:r>
              <a:rPr lang="da-DK" sz="2800" dirty="0" err="1">
                <a:latin typeface="Arial" panose="020B0604020202020204" pitchFamily="34" charset="0"/>
                <a:cs typeface="Arial" panose="020B0604020202020204" pitchFamily="34" charset="0"/>
              </a:rPr>
              <a:t>seek</a:t>
            </a:r>
            <a:r>
              <a:rPr lang="da-DK" sz="2800" dirty="0">
                <a:latin typeface="Arial" panose="020B0604020202020204" pitchFamily="34" charset="0"/>
                <a:cs typeface="Arial" panose="020B0604020202020204" pitchFamily="34" charset="0"/>
              </a:rPr>
              <a:t> new </a:t>
            </a:r>
            <a:r>
              <a:rPr lang="da-DK" sz="2800" dirty="0" err="1">
                <a:latin typeface="Arial" panose="020B0604020202020204" pitchFamily="34" charset="0"/>
                <a:cs typeface="Arial" panose="020B0604020202020204" pitchFamily="34" charset="0"/>
              </a:rPr>
              <a:t>partnerships</a:t>
            </a:r>
            <a:r>
              <a:rPr lang="da-DK" sz="2800" dirty="0">
                <a:latin typeface="Arial" panose="020B0604020202020204" pitchFamily="34" charset="0"/>
                <a:cs typeface="Arial" panose="020B0604020202020204" pitchFamily="34" charset="0"/>
              </a:rPr>
              <a:t> to </a:t>
            </a:r>
            <a:r>
              <a:rPr lang="da-DK" sz="2800" dirty="0" err="1">
                <a:latin typeface="Arial" panose="020B0604020202020204" pitchFamily="34" charset="0"/>
                <a:cs typeface="Arial" panose="020B0604020202020204" pitchFamily="34" charset="0"/>
              </a:rPr>
              <a:t>simplify</a:t>
            </a:r>
            <a:r>
              <a:rPr lang="da-DK" sz="2800" dirty="0">
                <a:latin typeface="Arial" panose="020B0604020202020204" pitchFamily="34" charset="0"/>
                <a:cs typeface="Arial" panose="020B0604020202020204" pitchFamily="34" charset="0"/>
              </a:rPr>
              <a:t> the </a:t>
            </a:r>
            <a:r>
              <a:rPr lang="da-DK" sz="2800" dirty="0" err="1">
                <a:latin typeface="Arial" panose="020B0604020202020204" pitchFamily="34" charset="0"/>
                <a:cs typeface="Arial" panose="020B0604020202020204" pitchFamily="34" charset="0"/>
              </a:rPr>
              <a:t>production</a:t>
            </a:r>
            <a:r>
              <a:rPr lang="da-DK" sz="2800" dirty="0">
                <a:latin typeface="Arial" panose="020B0604020202020204" pitchFamily="34" charset="0"/>
                <a:cs typeface="Arial" panose="020B0604020202020204" pitchFamily="34" charset="0"/>
              </a:rPr>
              <a:t> and </a:t>
            </a:r>
            <a:r>
              <a:rPr lang="da-DK" sz="2800" dirty="0" err="1">
                <a:latin typeface="Arial" panose="020B0604020202020204" pitchFamily="34" charset="0"/>
                <a:cs typeface="Arial" panose="020B0604020202020204" pitchFamily="34" charset="0"/>
              </a:rPr>
              <a:t>delivery</a:t>
            </a:r>
            <a:r>
              <a:rPr lang="da-DK" sz="2800" dirty="0">
                <a:latin typeface="Arial" panose="020B0604020202020204" pitchFamily="34" charset="0"/>
                <a:cs typeface="Arial" panose="020B0604020202020204" pitchFamily="34" charset="0"/>
              </a:rPr>
              <a:t> of My Arla products</a:t>
            </a:r>
          </a:p>
        </p:txBody>
      </p:sp>
      <p:cxnSp>
        <p:nvCxnSpPr>
          <p:cNvPr id="5" name="Straight Arrow Connector 4"/>
          <p:cNvCxnSpPr/>
          <p:nvPr/>
        </p:nvCxnSpPr>
        <p:spPr>
          <a:xfrm>
            <a:off x="682810" y="3644877"/>
            <a:ext cx="10719286" cy="0"/>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909460" y="3137674"/>
            <a:ext cx="3192651" cy="307777"/>
          </a:xfrm>
          <a:prstGeom prst="rect">
            <a:avLst/>
          </a:prstGeom>
          <a:noFill/>
        </p:spPr>
        <p:txBody>
          <a:bodyPr wrap="square" rtlCol="0">
            <a:spAutoFit/>
          </a:bodyPr>
          <a:lstStyle/>
          <a:p>
            <a:pPr algn="ctr"/>
            <a:r>
              <a:rPr lang="en-US" sz="1300" dirty="0">
                <a:latin typeface="Arial" panose="020B0604020202020204" pitchFamily="34" charset="0"/>
                <a:ea typeface="Gulim" charset="-127"/>
                <a:cs typeface="Arial" panose="020B0604020202020204" pitchFamily="34" charset="0"/>
              </a:rPr>
              <a:t>From </a:t>
            </a:r>
            <a:r>
              <a:rPr lang="en-US" sz="1400" dirty="0">
                <a:latin typeface="Arial" panose="020B0604020202020204" pitchFamily="34" charset="0"/>
                <a:ea typeface="Gulim" charset="-127"/>
                <a:cs typeface="Arial" panose="020B0604020202020204" pitchFamily="34" charset="0"/>
              </a:rPr>
              <a:t>c</a:t>
            </a:r>
            <a:r>
              <a:rPr lang="en-US" sz="1300" dirty="0">
                <a:latin typeface="Arial" panose="020B0604020202020204" pitchFamily="34" charset="0"/>
                <a:ea typeface="Gulim" charset="-127"/>
                <a:cs typeface="Arial" panose="020B0604020202020204" pitchFamily="34" charset="0"/>
              </a:rPr>
              <a:t>ow</a:t>
            </a:r>
          </a:p>
        </p:txBody>
      </p:sp>
      <p:sp>
        <p:nvSpPr>
          <p:cNvPr id="71" name="TextBox 70"/>
          <p:cNvSpPr txBox="1"/>
          <p:nvPr/>
        </p:nvSpPr>
        <p:spPr>
          <a:xfrm>
            <a:off x="9734895" y="3146153"/>
            <a:ext cx="3192651" cy="307777"/>
          </a:xfrm>
          <a:prstGeom prst="rect">
            <a:avLst/>
          </a:prstGeom>
          <a:noFill/>
        </p:spPr>
        <p:txBody>
          <a:bodyPr wrap="square" rtlCol="0">
            <a:spAutoFit/>
          </a:bodyPr>
          <a:lstStyle/>
          <a:p>
            <a:pPr algn="ctr"/>
            <a:r>
              <a:rPr lang="en-US" sz="1400">
                <a:latin typeface="Arial" panose="020B0604020202020204" pitchFamily="34" charset="0"/>
                <a:ea typeface="Gulim" charset="-127"/>
                <a:cs typeface="Arial" panose="020B0604020202020204" pitchFamily="34" charset="0"/>
              </a:rPr>
              <a:t>To consumer</a:t>
            </a:r>
            <a:endParaRPr lang="en-US" sz="1400" dirty="0">
              <a:latin typeface="Arial" panose="020B0604020202020204" pitchFamily="34" charset="0"/>
              <a:ea typeface="Gulim" charset="-127"/>
              <a:cs typeface="Arial" panose="020B0604020202020204" pitchFamily="34" charset="0"/>
            </a:endParaRP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775" y="2054409"/>
            <a:ext cx="1108526" cy="1108526"/>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79999" y="2124009"/>
            <a:ext cx="929515" cy="929515"/>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4942" y="2124009"/>
            <a:ext cx="1102875" cy="1102875"/>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14354" y="2054409"/>
            <a:ext cx="1067184" cy="1067184"/>
          </a:xfrm>
          <a:prstGeom prst="rect">
            <a:avLst/>
          </a:prstGeom>
        </p:spPr>
      </p:pic>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9673" y="2010416"/>
            <a:ext cx="1043108" cy="1043108"/>
          </a:xfrm>
          <a:prstGeom prst="rect">
            <a:avLst/>
          </a:prstGeom>
        </p:spPr>
      </p:pic>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03790" y="2060696"/>
            <a:ext cx="1054610" cy="1054610"/>
          </a:xfrm>
          <a:prstGeom prst="rect">
            <a:avLst/>
          </a:prstGeom>
        </p:spPr>
      </p:pic>
      <p:sp>
        <p:nvSpPr>
          <p:cNvPr id="27" name="TextBox 26"/>
          <p:cNvSpPr txBox="1"/>
          <p:nvPr/>
        </p:nvSpPr>
        <p:spPr>
          <a:xfrm>
            <a:off x="2414354" y="3131091"/>
            <a:ext cx="1067184" cy="307777"/>
          </a:xfrm>
          <a:prstGeom prst="rect">
            <a:avLst/>
          </a:prstGeom>
          <a:noFill/>
        </p:spPr>
        <p:txBody>
          <a:bodyPr wrap="square" rtlCol="0">
            <a:spAutoFit/>
          </a:bodyPr>
          <a:lstStyle/>
          <a:p>
            <a:pPr algn="ctr"/>
            <a:r>
              <a:rPr lang="en-US" sz="1400">
                <a:latin typeface="Arial" panose="020B0604020202020204" pitchFamily="34" charset="0"/>
                <a:ea typeface="Gulim" charset="-127"/>
                <a:cs typeface="Arial" panose="020B0604020202020204" pitchFamily="34" charset="0"/>
              </a:rPr>
              <a:t>To farm</a:t>
            </a:r>
            <a:endParaRPr lang="en-US" sz="1400" dirty="0">
              <a:latin typeface="Arial" panose="020B0604020202020204" pitchFamily="34" charset="0"/>
              <a:ea typeface="Gulim" charset="-127"/>
              <a:cs typeface="Arial" panose="020B0604020202020204" pitchFamily="34" charset="0"/>
            </a:endParaRPr>
          </a:p>
        </p:txBody>
      </p:sp>
      <p:sp>
        <p:nvSpPr>
          <p:cNvPr id="84" name="TextBox 83"/>
          <p:cNvSpPr txBox="1"/>
          <p:nvPr/>
        </p:nvSpPr>
        <p:spPr>
          <a:xfrm>
            <a:off x="4515597" y="3131091"/>
            <a:ext cx="1067184" cy="307777"/>
          </a:xfrm>
          <a:prstGeom prst="rect">
            <a:avLst/>
          </a:prstGeom>
          <a:noFill/>
        </p:spPr>
        <p:txBody>
          <a:bodyPr wrap="square" rtlCol="0">
            <a:spAutoFit/>
          </a:bodyPr>
          <a:lstStyle/>
          <a:p>
            <a:pPr algn="ctr"/>
            <a:r>
              <a:rPr lang="en-US" sz="1400" dirty="0">
                <a:latin typeface="Arial" panose="020B0604020202020204" pitchFamily="34" charset="0"/>
                <a:ea typeface="Gulim" charset="-127"/>
                <a:cs typeface="Arial" panose="020B0604020202020204" pitchFamily="34" charset="0"/>
              </a:rPr>
              <a:t>To dairy</a:t>
            </a:r>
          </a:p>
        </p:txBody>
      </p:sp>
      <p:sp>
        <p:nvSpPr>
          <p:cNvPr id="92" name="TextBox 91"/>
          <p:cNvSpPr txBox="1"/>
          <p:nvPr/>
        </p:nvSpPr>
        <p:spPr>
          <a:xfrm>
            <a:off x="6815509" y="3142682"/>
            <a:ext cx="1142308" cy="307777"/>
          </a:xfrm>
          <a:prstGeom prst="rect">
            <a:avLst/>
          </a:prstGeom>
          <a:noFill/>
        </p:spPr>
        <p:txBody>
          <a:bodyPr wrap="square" rtlCol="0">
            <a:spAutoFit/>
          </a:bodyPr>
          <a:lstStyle/>
          <a:p>
            <a:pPr algn="ctr"/>
            <a:r>
              <a:rPr lang="en-US" sz="1400">
                <a:latin typeface="Arial" panose="020B0604020202020204" pitchFamily="34" charset="0"/>
                <a:ea typeface="Gulim" charset="-127"/>
                <a:cs typeface="Arial" panose="020B0604020202020204" pitchFamily="34" charset="0"/>
              </a:rPr>
              <a:t>To truck</a:t>
            </a:r>
            <a:endParaRPr lang="en-US" sz="1400" dirty="0">
              <a:latin typeface="Arial" panose="020B0604020202020204" pitchFamily="34" charset="0"/>
              <a:ea typeface="Gulim" charset="-127"/>
              <a:cs typeface="Arial" panose="020B0604020202020204" pitchFamily="34" charset="0"/>
            </a:endParaRPr>
          </a:p>
        </p:txBody>
      </p:sp>
      <p:sp>
        <p:nvSpPr>
          <p:cNvPr id="95" name="TextBox 94"/>
          <p:cNvSpPr txBox="1"/>
          <p:nvPr/>
        </p:nvSpPr>
        <p:spPr>
          <a:xfrm>
            <a:off x="8789459" y="3123511"/>
            <a:ext cx="1483271" cy="307777"/>
          </a:xfrm>
          <a:prstGeom prst="rect">
            <a:avLst/>
          </a:prstGeom>
          <a:noFill/>
        </p:spPr>
        <p:txBody>
          <a:bodyPr wrap="square" rtlCol="0">
            <a:spAutoFit/>
          </a:bodyPr>
          <a:lstStyle/>
          <a:p>
            <a:pPr algn="ctr"/>
            <a:r>
              <a:rPr lang="en-US" sz="1400">
                <a:latin typeface="Arial" panose="020B0604020202020204" pitchFamily="34" charset="0"/>
                <a:ea typeface="Gulim" charset="-127"/>
                <a:cs typeface="Arial" panose="020B0604020202020204" pitchFamily="34" charset="0"/>
              </a:rPr>
              <a:t>To supermarket</a:t>
            </a:r>
            <a:endParaRPr lang="en-US" sz="1400" dirty="0">
              <a:latin typeface="Arial" panose="020B0604020202020204" pitchFamily="34" charset="0"/>
              <a:ea typeface="Gulim" charset="-127"/>
              <a:cs typeface="Arial" panose="020B0604020202020204" pitchFamily="34" charset="0"/>
            </a:endParaRPr>
          </a:p>
        </p:txBody>
      </p:sp>
      <p:sp>
        <p:nvSpPr>
          <p:cNvPr id="28" name="TextBox 27"/>
          <p:cNvSpPr txBox="1"/>
          <p:nvPr/>
        </p:nvSpPr>
        <p:spPr>
          <a:xfrm>
            <a:off x="8514664" y="4028339"/>
            <a:ext cx="2032857" cy="1292662"/>
          </a:xfrm>
          <a:prstGeom prst="rect">
            <a:avLst/>
          </a:prstGeom>
          <a:noFill/>
        </p:spPr>
        <p:txBody>
          <a:bodyPr wrap="square" rtlCol="0">
            <a:spAutoFit/>
          </a:bodyPr>
          <a:lstStyle/>
          <a:p>
            <a:pPr marL="285750" indent="-285750">
              <a:buFont typeface="Courier New" charset="0"/>
              <a:buChar char="o"/>
            </a:pPr>
            <a:r>
              <a:rPr lang="en-US" sz="1300" dirty="0">
                <a:latin typeface="Arial" panose="020B0604020202020204" pitchFamily="34" charset="0"/>
                <a:ea typeface="Gulim" charset="-127"/>
                <a:cs typeface="Arial" panose="020B0604020202020204" pitchFamily="34" charset="0"/>
              </a:rPr>
              <a:t>Leverage on current bargaining power</a:t>
            </a:r>
          </a:p>
          <a:p>
            <a:pPr marL="285750" indent="-285750">
              <a:buFont typeface="Courier New" charset="0"/>
              <a:buChar char="o"/>
            </a:pPr>
            <a:endParaRPr lang="en-US" sz="1300" dirty="0">
              <a:latin typeface="Arial" panose="020B0604020202020204" pitchFamily="34" charset="0"/>
              <a:ea typeface="Gulim" charset="-127"/>
              <a:cs typeface="Arial" panose="020B0604020202020204" pitchFamily="34" charset="0"/>
            </a:endParaRPr>
          </a:p>
          <a:p>
            <a:pPr marL="285750" indent="-285750">
              <a:buFont typeface="Courier New" charset="0"/>
              <a:buChar char="o"/>
            </a:pPr>
            <a:r>
              <a:rPr lang="en-US" sz="1300" dirty="0">
                <a:latin typeface="Arial" panose="020B0604020202020204" pitchFamily="34" charset="0"/>
                <a:ea typeface="Gulim" charset="-127"/>
                <a:cs typeface="Arial" panose="020B0604020202020204" pitchFamily="34" charset="0"/>
              </a:rPr>
              <a:t>Door delivery in urban areas</a:t>
            </a:r>
          </a:p>
          <a:p>
            <a:pPr marL="285750" indent="-285750">
              <a:buFont typeface="Courier New" charset="0"/>
              <a:buChar char="o"/>
            </a:pPr>
            <a:endParaRPr lang="en-US" sz="1300" dirty="0">
              <a:latin typeface="Arial" panose="020B0604020202020204" pitchFamily="34" charset="0"/>
              <a:ea typeface="Gulim" charset="-127"/>
              <a:cs typeface="Arial" panose="020B0604020202020204" pitchFamily="34" charset="0"/>
            </a:endParaRPr>
          </a:p>
        </p:txBody>
      </p:sp>
      <p:sp>
        <p:nvSpPr>
          <p:cNvPr id="30" name="Oval 29"/>
          <p:cNvSpPr/>
          <p:nvPr/>
        </p:nvSpPr>
        <p:spPr>
          <a:xfrm>
            <a:off x="9443980" y="3552248"/>
            <a:ext cx="174227" cy="174227"/>
          </a:xfrm>
          <a:prstGeom prst="ellipse">
            <a:avLst/>
          </a:prstGeom>
          <a:solidFill>
            <a:schemeClr val="tx2"/>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103" name="Oval 102"/>
          <p:cNvSpPr/>
          <p:nvPr/>
        </p:nvSpPr>
        <p:spPr>
          <a:xfrm>
            <a:off x="7319265" y="3552247"/>
            <a:ext cx="174227" cy="174227"/>
          </a:xfrm>
          <a:prstGeom prst="ellipse">
            <a:avLst/>
          </a:prstGeom>
          <a:solidFill>
            <a:schemeClr val="tx2"/>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104" name="Oval 103"/>
          <p:cNvSpPr/>
          <p:nvPr/>
        </p:nvSpPr>
        <p:spPr>
          <a:xfrm>
            <a:off x="4962075" y="3552247"/>
            <a:ext cx="174227" cy="174227"/>
          </a:xfrm>
          <a:prstGeom prst="ellipse">
            <a:avLst/>
          </a:prstGeom>
          <a:solidFill>
            <a:schemeClr val="tx2"/>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105" name="Oval 104"/>
          <p:cNvSpPr/>
          <p:nvPr/>
        </p:nvSpPr>
        <p:spPr>
          <a:xfrm>
            <a:off x="2860832" y="3552246"/>
            <a:ext cx="174227" cy="174227"/>
          </a:xfrm>
          <a:prstGeom prst="ellipse">
            <a:avLst/>
          </a:prstGeom>
          <a:solidFill>
            <a:schemeClr val="tx2"/>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106" name="Oval 105"/>
          <p:cNvSpPr/>
          <p:nvPr/>
        </p:nvSpPr>
        <p:spPr>
          <a:xfrm>
            <a:off x="590755" y="3552246"/>
            <a:ext cx="174227" cy="174227"/>
          </a:xfrm>
          <a:prstGeom prst="ellipse">
            <a:avLst/>
          </a:prstGeom>
          <a:solidFill>
            <a:schemeClr val="tx2"/>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107" name="Oval 106"/>
          <p:cNvSpPr/>
          <p:nvPr/>
        </p:nvSpPr>
        <p:spPr>
          <a:xfrm>
            <a:off x="11257642" y="3552245"/>
            <a:ext cx="174227" cy="174227"/>
          </a:xfrm>
          <a:prstGeom prst="ellipse">
            <a:avLst/>
          </a:prstGeom>
          <a:solidFill>
            <a:schemeClr val="tx2"/>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108" name="TextBox 107"/>
          <p:cNvSpPr txBox="1"/>
          <p:nvPr/>
        </p:nvSpPr>
        <p:spPr>
          <a:xfrm>
            <a:off x="6370234" y="4028339"/>
            <a:ext cx="2032857" cy="692497"/>
          </a:xfrm>
          <a:prstGeom prst="rect">
            <a:avLst/>
          </a:prstGeom>
          <a:noFill/>
        </p:spPr>
        <p:txBody>
          <a:bodyPr wrap="square" rtlCol="0">
            <a:spAutoFit/>
          </a:bodyPr>
          <a:lstStyle/>
          <a:p>
            <a:pPr marL="285750" indent="-285750">
              <a:buFont typeface="Courier New" charset="0"/>
              <a:buChar char="o"/>
            </a:pPr>
            <a:r>
              <a:rPr lang="en-US" sz="1300" dirty="0">
                <a:latin typeface="Arial" panose="020B0604020202020204" pitchFamily="34" charset="0"/>
                <a:ea typeface="Gulim" charset="-127"/>
                <a:cs typeface="Arial" panose="020B0604020202020204" pitchFamily="34" charset="0"/>
              </a:rPr>
              <a:t>Utilize current distribution channels</a:t>
            </a:r>
          </a:p>
          <a:p>
            <a:pPr marL="285750" indent="-285750">
              <a:buFont typeface="Courier New" charset="0"/>
              <a:buChar char="o"/>
            </a:pPr>
            <a:endParaRPr lang="en-US" sz="1300" dirty="0">
              <a:latin typeface="Arial" panose="020B0604020202020204" pitchFamily="34" charset="0"/>
              <a:ea typeface="Gulim" charset="-127"/>
              <a:cs typeface="Arial" panose="020B0604020202020204" pitchFamily="34" charset="0"/>
            </a:endParaRPr>
          </a:p>
        </p:txBody>
      </p:sp>
      <p:sp>
        <p:nvSpPr>
          <p:cNvPr id="109" name="TextBox 108"/>
          <p:cNvSpPr txBox="1"/>
          <p:nvPr/>
        </p:nvSpPr>
        <p:spPr>
          <a:xfrm>
            <a:off x="4047129" y="4035008"/>
            <a:ext cx="1995324" cy="2000548"/>
          </a:xfrm>
          <a:prstGeom prst="rect">
            <a:avLst/>
          </a:prstGeom>
          <a:noFill/>
        </p:spPr>
        <p:txBody>
          <a:bodyPr wrap="square" lIns="0" rIns="0" rtlCol="0">
            <a:spAutoFit/>
          </a:bodyPr>
          <a:lstStyle/>
          <a:p>
            <a:pPr marL="285750" indent="-285750">
              <a:buFont typeface="Courier New" charset="0"/>
              <a:buChar char="o"/>
            </a:pPr>
            <a:r>
              <a:rPr lang="en-US" sz="1300" dirty="0">
                <a:latin typeface="Arial" panose="020B0604020202020204" pitchFamily="34" charset="0"/>
                <a:ea typeface="Gulim" charset="-127"/>
                <a:cs typeface="Arial" panose="020B0604020202020204" pitchFamily="34" charset="0"/>
              </a:rPr>
              <a:t>Start in largest fresh-milk dairies</a:t>
            </a:r>
            <a:br>
              <a:rPr lang="en-US" sz="1300" dirty="0">
                <a:latin typeface="Arial" panose="020B0604020202020204" pitchFamily="34" charset="0"/>
                <a:ea typeface="Gulim" charset="-127"/>
                <a:cs typeface="Arial" panose="020B0604020202020204" pitchFamily="34" charset="0"/>
              </a:rPr>
            </a:br>
            <a:r>
              <a:rPr lang="en-US" sz="1000" dirty="0">
                <a:latin typeface="Arial" panose="020B0604020202020204" pitchFamily="34" charset="0"/>
                <a:ea typeface="Gulim" charset="-127"/>
                <a:cs typeface="Arial" panose="020B0604020202020204" pitchFamily="34" charset="0"/>
              </a:rPr>
              <a:t>DK: </a:t>
            </a:r>
            <a:r>
              <a:rPr lang="da-DK" sz="1000" dirty="0">
                <a:latin typeface="Arial" panose="020B0604020202020204" pitchFamily="34" charset="0"/>
                <a:ea typeface="Gulim" charset="-127"/>
                <a:cs typeface="Arial" panose="020B0604020202020204" pitchFamily="34" charset="0"/>
              </a:rPr>
              <a:t>Brabrand and Slagelse</a:t>
            </a:r>
            <a:endParaRPr lang="da-DK" sz="1000" dirty="0">
              <a:latin typeface="Arial" panose="020B0604020202020204" pitchFamily="34" charset="0"/>
              <a:cs typeface="Arial" panose="020B0604020202020204" pitchFamily="34" charset="0"/>
            </a:endParaRPr>
          </a:p>
          <a:p>
            <a:pPr marL="285750" indent="-285750">
              <a:buFont typeface="Courier New" charset="0"/>
              <a:buChar char="o"/>
            </a:pPr>
            <a:endParaRPr lang="da-DK" sz="1000" dirty="0">
              <a:latin typeface="Arial" panose="020B0604020202020204" pitchFamily="34" charset="0"/>
              <a:ea typeface="Gulim" charset="-127"/>
              <a:cs typeface="Arial" panose="020B0604020202020204" pitchFamily="34" charset="0"/>
            </a:endParaRPr>
          </a:p>
          <a:p>
            <a:pPr marL="285750" indent="-285750">
              <a:buFont typeface="Courier New" charset="0"/>
              <a:buChar char="o"/>
            </a:pPr>
            <a:r>
              <a:rPr lang="da-DK" sz="1300" dirty="0">
                <a:latin typeface="Arial" panose="020B0604020202020204" pitchFamily="34" charset="0"/>
                <a:ea typeface="Gulim" charset="-127"/>
                <a:cs typeface="Arial" panose="020B0604020202020204" pitchFamily="34" charset="0"/>
              </a:rPr>
              <a:t>Products </a:t>
            </a:r>
            <a:r>
              <a:rPr lang="da-DK" sz="1300" dirty="0" err="1">
                <a:latin typeface="Arial" panose="020B0604020202020204" pitchFamily="34" charset="0"/>
                <a:ea typeface="Gulim" charset="-127"/>
                <a:cs typeface="Arial" panose="020B0604020202020204" pitchFamily="34" charset="0"/>
              </a:rPr>
              <a:t>are</a:t>
            </a:r>
            <a:r>
              <a:rPr lang="da-DK" sz="1300" dirty="0">
                <a:latin typeface="Arial" panose="020B0604020202020204" pitchFamily="34" charset="0"/>
                <a:ea typeface="Gulim" charset="-127"/>
                <a:cs typeface="Arial" panose="020B0604020202020204" pitchFamily="34" charset="0"/>
              </a:rPr>
              <a:t> made </a:t>
            </a:r>
            <a:br>
              <a:rPr lang="da-DK" sz="1300" dirty="0">
                <a:latin typeface="Arial" panose="020B0604020202020204" pitchFamily="34" charset="0"/>
                <a:ea typeface="Gulim" charset="-127"/>
                <a:cs typeface="Arial" panose="020B0604020202020204" pitchFamily="34" charset="0"/>
              </a:rPr>
            </a:br>
            <a:r>
              <a:rPr lang="da-DK" sz="1300" dirty="0">
                <a:latin typeface="Arial" panose="020B0604020202020204" pitchFamily="34" charset="0"/>
                <a:ea typeface="Gulim" charset="-127"/>
                <a:cs typeface="Arial" panose="020B0604020202020204" pitchFamily="34" charset="0"/>
              </a:rPr>
              <a:t>from </a:t>
            </a:r>
            <a:r>
              <a:rPr lang="da-DK" sz="1300" dirty="0" err="1">
                <a:latin typeface="Arial" panose="020B0604020202020204" pitchFamily="34" charset="0"/>
                <a:ea typeface="Gulim" charset="-127"/>
                <a:cs typeface="Arial" panose="020B0604020202020204" pitchFamily="34" charset="0"/>
              </a:rPr>
              <a:t>already</a:t>
            </a:r>
            <a:r>
              <a:rPr lang="da-DK" sz="1300" dirty="0">
                <a:latin typeface="Arial" panose="020B0604020202020204" pitchFamily="34" charset="0"/>
                <a:ea typeface="Gulim" charset="-127"/>
                <a:cs typeface="Arial" panose="020B0604020202020204" pitchFamily="34" charset="0"/>
              </a:rPr>
              <a:t> </a:t>
            </a:r>
            <a:r>
              <a:rPr lang="da-DK" sz="1300" dirty="0" err="1">
                <a:latin typeface="Arial" panose="020B0604020202020204" pitchFamily="34" charset="0"/>
                <a:ea typeface="Gulim" charset="-127"/>
                <a:cs typeface="Arial" panose="020B0604020202020204" pitchFamily="34" charset="0"/>
              </a:rPr>
              <a:t>awailable</a:t>
            </a:r>
            <a:r>
              <a:rPr lang="da-DK" sz="1300" dirty="0">
                <a:latin typeface="Arial" panose="020B0604020202020204" pitchFamily="34" charset="0"/>
                <a:ea typeface="Gulim" charset="-127"/>
                <a:cs typeface="Arial" panose="020B0604020202020204" pitchFamily="34" charset="0"/>
              </a:rPr>
              <a:t> </a:t>
            </a:r>
            <a:r>
              <a:rPr lang="da-DK" sz="1300" dirty="0" err="1">
                <a:latin typeface="Arial" panose="020B0604020202020204" pitchFamily="34" charset="0"/>
                <a:ea typeface="Gulim" charset="-127"/>
                <a:cs typeface="Arial" panose="020B0604020202020204" pitchFamily="34" charset="0"/>
              </a:rPr>
              <a:t>ingredients</a:t>
            </a:r>
            <a:r>
              <a:rPr lang="da-DK" sz="1300" dirty="0">
                <a:latin typeface="Arial" panose="020B0604020202020204" pitchFamily="34" charset="0"/>
                <a:ea typeface="Gulim" charset="-127"/>
                <a:cs typeface="Arial" panose="020B0604020202020204" pitchFamily="34" charset="0"/>
              </a:rPr>
              <a:t> </a:t>
            </a:r>
            <a:br>
              <a:rPr lang="da-DK" sz="1300" dirty="0">
                <a:latin typeface="Arial" panose="020B0604020202020204" pitchFamily="34" charset="0"/>
                <a:ea typeface="Gulim" charset="-127"/>
                <a:cs typeface="Arial" panose="020B0604020202020204" pitchFamily="34" charset="0"/>
              </a:rPr>
            </a:br>
            <a:r>
              <a:rPr lang="da-DK" sz="1000" spc="-300" dirty="0">
                <a:latin typeface="Arial" panose="020B0604020202020204" pitchFamily="34" charset="0"/>
                <a:ea typeface="Gulim" charset="-127"/>
                <a:cs typeface="Arial" panose="020B0604020202020204" pitchFamily="34" charset="0"/>
              </a:rPr>
              <a:t>-&gt;              </a:t>
            </a:r>
            <a:r>
              <a:rPr lang="da-DK" sz="1000" dirty="0">
                <a:latin typeface="Arial" panose="020B0604020202020204" pitchFamily="34" charset="0"/>
                <a:ea typeface="Gulim" charset="-127"/>
                <a:cs typeface="Arial" panose="020B0604020202020204" pitchFamily="34" charset="0"/>
              </a:rPr>
              <a:t>Low </a:t>
            </a:r>
            <a:r>
              <a:rPr lang="da-DK" sz="1000" dirty="0" err="1">
                <a:latin typeface="Arial" panose="020B0604020202020204" pitchFamily="34" charset="0"/>
                <a:ea typeface="Gulim" charset="-127"/>
                <a:cs typeface="Arial" panose="020B0604020202020204" pitchFamily="34" charset="0"/>
              </a:rPr>
              <a:t>setup</a:t>
            </a:r>
            <a:r>
              <a:rPr lang="da-DK" sz="1000" dirty="0">
                <a:latin typeface="Arial" panose="020B0604020202020204" pitchFamily="34" charset="0"/>
                <a:ea typeface="Gulim" charset="-127"/>
                <a:cs typeface="Arial" panose="020B0604020202020204" pitchFamily="34" charset="0"/>
              </a:rPr>
              <a:t> </a:t>
            </a:r>
            <a:r>
              <a:rPr lang="da-DK" sz="1000" dirty="0" err="1">
                <a:latin typeface="Arial" panose="020B0604020202020204" pitchFamily="34" charset="0"/>
                <a:ea typeface="Gulim" charset="-127"/>
                <a:cs typeface="Arial" panose="020B0604020202020204" pitchFamily="34" charset="0"/>
              </a:rPr>
              <a:t>costs</a:t>
            </a:r>
            <a:endParaRPr lang="da-DK" sz="1000" dirty="0">
              <a:latin typeface="Arial" panose="020B0604020202020204" pitchFamily="34" charset="0"/>
              <a:cs typeface="Arial" panose="020B0604020202020204" pitchFamily="34" charset="0"/>
            </a:endParaRPr>
          </a:p>
          <a:p>
            <a:pPr marL="285750" indent="-285750">
              <a:buFont typeface="Courier New" charset="0"/>
              <a:buChar char="o"/>
            </a:pPr>
            <a:endParaRPr lang="en-US" sz="1300" dirty="0">
              <a:latin typeface="Arial" panose="020B0604020202020204" pitchFamily="34" charset="0"/>
              <a:ea typeface="Gulim" charset="-127"/>
              <a:cs typeface="Arial" panose="020B0604020202020204" pitchFamily="34" charset="0"/>
            </a:endParaRPr>
          </a:p>
          <a:p>
            <a:pPr marL="285750" indent="-285750">
              <a:buFont typeface="Courier New" charset="0"/>
              <a:buChar char="o"/>
            </a:pPr>
            <a:endParaRPr lang="en-US" sz="1300" dirty="0">
              <a:latin typeface="Arial" panose="020B0604020202020204" pitchFamily="34" charset="0"/>
              <a:ea typeface="Gulim" charset="-127"/>
              <a:cs typeface="Arial" panose="020B0604020202020204" pitchFamily="34" charset="0"/>
            </a:endParaRPr>
          </a:p>
        </p:txBody>
      </p:sp>
      <p:sp>
        <p:nvSpPr>
          <p:cNvPr id="35" name="TextBox 34"/>
          <p:cNvSpPr txBox="1"/>
          <p:nvPr/>
        </p:nvSpPr>
        <p:spPr>
          <a:xfrm>
            <a:off x="2051492" y="4034296"/>
            <a:ext cx="1792905" cy="692497"/>
          </a:xfrm>
          <a:prstGeom prst="rect">
            <a:avLst/>
          </a:prstGeom>
          <a:noFill/>
        </p:spPr>
        <p:txBody>
          <a:bodyPr wrap="square" rtlCol="0">
            <a:spAutoFit/>
          </a:bodyPr>
          <a:lstStyle/>
          <a:p>
            <a:pPr marL="285750" indent="-285750">
              <a:buFont typeface="Courier New" charset="0"/>
              <a:buChar char="o"/>
            </a:pPr>
            <a:r>
              <a:rPr lang="en-US" sz="1300" dirty="0">
                <a:latin typeface="Arial" panose="020B0604020202020204" pitchFamily="34" charset="0"/>
                <a:ea typeface="Gulim" charset="-127"/>
                <a:cs typeface="Arial" panose="020B0604020202020204" pitchFamily="34" charset="0"/>
              </a:rPr>
              <a:t>Unchanged from current operations</a:t>
            </a:r>
          </a:p>
        </p:txBody>
      </p:sp>
      <p:pic>
        <p:nvPicPr>
          <p:cNvPr id="43" name="Picture 42"/>
          <p:cNvPicPr>
            <a:picLocks noChangeAspect="1"/>
          </p:cNvPicPr>
          <p:nvPr/>
        </p:nvPicPr>
        <p:blipFill>
          <a:blip r:embed="rId8"/>
          <a:stretch>
            <a:fillRect/>
          </a:stretch>
        </p:blipFill>
        <p:spPr>
          <a:xfrm>
            <a:off x="9916471" y="5772907"/>
            <a:ext cx="603690" cy="215216"/>
          </a:xfrm>
          <a:prstGeom prst="rect">
            <a:avLst/>
          </a:prstGeom>
        </p:spPr>
      </p:pic>
      <p:pic>
        <p:nvPicPr>
          <p:cNvPr id="44" name="Picture 43"/>
          <p:cNvPicPr>
            <a:picLocks noChangeAspect="1"/>
          </p:cNvPicPr>
          <p:nvPr/>
        </p:nvPicPr>
        <p:blipFill>
          <a:blip r:embed="rId9"/>
          <a:stretch>
            <a:fillRect/>
          </a:stretch>
        </p:blipFill>
        <p:spPr>
          <a:xfrm>
            <a:off x="8403091" y="5800899"/>
            <a:ext cx="1237343" cy="353527"/>
          </a:xfrm>
          <a:prstGeom prst="rect">
            <a:avLst/>
          </a:prstGeom>
        </p:spPr>
      </p:pic>
      <p:pic>
        <p:nvPicPr>
          <p:cNvPr id="45" name="Picture 44"/>
          <p:cNvPicPr>
            <a:picLocks noChangeAspect="1"/>
          </p:cNvPicPr>
          <p:nvPr/>
        </p:nvPicPr>
        <p:blipFill>
          <a:blip r:embed="rId10"/>
          <a:stretch>
            <a:fillRect/>
          </a:stretch>
        </p:blipFill>
        <p:spPr>
          <a:xfrm>
            <a:off x="8527101" y="5449915"/>
            <a:ext cx="861993" cy="231876"/>
          </a:xfrm>
          <a:prstGeom prst="rect">
            <a:avLst/>
          </a:prstGeom>
        </p:spPr>
      </p:pic>
      <p:pic>
        <p:nvPicPr>
          <p:cNvPr id="50" name="Picture 49"/>
          <p:cNvPicPr>
            <a:picLocks noChangeAspect="1"/>
          </p:cNvPicPr>
          <p:nvPr/>
        </p:nvPicPr>
        <p:blipFill>
          <a:blip r:embed="rId11"/>
          <a:stretch>
            <a:fillRect/>
          </a:stretch>
        </p:blipFill>
        <p:spPr>
          <a:xfrm>
            <a:off x="9671811" y="5399189"/>
            <a:ext cx="979714" cy="290571"/>
          </a:xfrm>
          <a:prstGeom prst="rect">
            <a:avLst/>
          </a:prstGeom>
        </p:spPr>
      </p:pic>
    </p:spTree>
    <p:extLst>
      <p:ext uri="{BB962C8B-B14F-4D97-AF65-F5344CB8AC3E}">
        <p14:creationId xmlns:p14="http://schemas.microsoft.com/office/powerpoint/2010/main" val="31866523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9FB3A3-5BC0-E649-88DC-9A55A47FFF54}"/>
              </a:ext>
            </a:extLst>
          </p:cNvPr>
          <p:cNvSpPr>
            <a:spLocks noGrp="1"/>
          </p:cNvSpPr>
          <p:nvPr>
            <p:ph type="body" sz="quarter" idx="13"/>
          </p:nvPr>
        </p:nvSpPr>
        <p:spPr/>
        <p:txBody>
          <a:bodyPr/>
          <a:lstStyle/>
          <a:p>
            <a:endParaRPr lang="en-GB"/>
          </a:p>
        </p:txBody>
      </p:sp>
      <p:sp>
        <p:nvSpPr>
          <p:cNvPr id="6" name="Text Placeholder 5">
            <a:extLst>
              <a:ext uri="{FF2B5EF4-FFF2-40B4-BE49-F238E27FC236}">
                <a16:creationId xmlns:a16="http://schemas.microsoft.com/office/drawing/2014/main" id="{504CC64E-E8E0-F447-9F3F-969D012851A6}"/>
              </a:ext>
            </a:extLst>
          </p:cNvPr>
          <p:cNvSpPr>
            <a:spLocks noGrp="1"/>
          </p:cNvSpPr>
          <p:nvPr>
            <p:ph type="body" sz="quarter" idx="15"/>
          </p:nvPr>
        </p:nvSpPr>
        <p:spPr/>
        <p:txBody>
          <a:bodyPr/>
          <a:lstStyle/>
          <a:p>
            <a:endParaRPr lang="en-GB"/>
          </a:p>
        </p:txBody>
      </p:sp>
      <p:sp>
        <p:nvSpPr>
          <p:cNvPr id="2" name="Titel 1"/>
          <p:cNvSpPr>
            <a:spLocks noGrp="1"/>
          </p:cNvSpPr>
          <p:nvPr>
            <p:ph type="title"/>
          </p:nvPr>
        </p:nvSpPr>
        <p:spPr/>
        <p:txBody>
          <a:bodyPr>
            <a:normAutofit/>
          </a:bodyPr>
          <a:lstStyle/>
          <a:p>
            <a:r>
              <a:rPr lang="da-DK" dirty="0" err="1"/>
              <a:t>Use</a:t>
            </a:r>
            <a:r>
              <a:rPr lang="da-DK" dirty="0"/>
              <a:t> a timeline to show </a:t>
            </a:r>
            <a:r>
              <a:rPr lang="da-DK" dirty="0" err="1"/>
              <a:t>your</a:t>
            </a:r>
            <a:r>
              <a:rPr lang="da-DK" dirty="0"/>
              <a:t> </a:t>
            </a:r>
            <a:r>
              <a:rPr lang="da-DK" dirty="0" err="1"/>
              <a:t>audience</a:t>
            </a:r>
            <a:r>
              <a:rPr lang="da-DK" dirty="0"/>
              <a:t> </a:t>
            </a:r>
            <a:r>
              <a:rPr lang="da-DK" dirty="0" err="1"/>
              <a:t>how</a:t>
            </a:r>
            <a:r>
              <a:rPr lang="da-DK" dirty="0"/>
              <a:t> far </a:t>
            </a:r>
            <a:r>
              <a:rPr lang="da-DK" dirty="0" err="1"/>
              <a:t>you’ve</a:t>
            </a:r>
            <a:r>
              <a:rPr lang="da-DK" dirty="0"/>
              <a:t> </a:t>
            </a:r>
            <a:r>
              <a:rPr lang="da-DK" dirty="0" err="1"/>
              <a:t>come</a:t>
            </a:r>
            <a:endParaRPr lang="da-DK" dirty="0"/>
          </a:p>
        </p:txBody>
      </p:sp>
      <p:sp>
        <p:nvSpPr>
          <p:cNvPr id="5" name="Ellipse 4"/>
          <p:cNvSpPr/>
          <p:nvPr/>
        </p:nvSpPr>
        <p:spPr>
          <a:xfrm rot="8100000">
            <a:off x="1383247" y="2000436"/>
            <a:ext cx="1336354" cy="1347459"/>
          </a:xfrm>
          <a:prstGeom prst="ellipse">
            <a:avLst/>
          </a:prstGeom>
          <a:solidFill>
            <a:srgbClr val="FDFDFD"/>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Gulim" charset="-127"/>
            </a:endParaRPr>
          </a:p>
        </p:txBody>
      </p:sp>
      <p:sp>
        <p:nvSpPr>
          <p:cNvPr id="28" name="Ellipse 27"/>
          <p:cNvSpPr/>
          <p:nvPr/>
        </p:nvSpPr>
        <p:spPr>
          <a:xfrm rot="8100000">
            <a:off x="4088842" y="1986404"/>
            <a:ext cx="1336354" cy="1347459"/>
          </a:xfrm>
          <a:prstGeom prst="ellipse">
            <a:avLst/>
          </a:prstGeom>
          <a:solidFill>
            <a:srgbClr val="FDFDFD"/>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Gulim" charset="-127"/>
            </a:endParaRPr>
          </a:p>
        </p:txBody>
      </p:sp>
      <p:sp>
        <p:nvSpPr>
          <p:cNvPr id="29" name="Ellipse 28"/>
          <p:cNvSpPr/>
          <p:nvPr/>
        </p:nvSpPr>
        <p:spPr>
          <a:xfrm rot="8100000">
            <a:off x="6832042" y="1986404"/>
            <a:ext cx="1336354" cy="1347459"/>
          </a:xfrm>
          <a:prstGeom prst="ellipse">
            <a:avLst/>
          </a:prstGeom>
          <a:solidFill>
            <a:srgbClr val="FDFDFD"/>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Gulim" charset="-127"/>
            </a:endParaRPr>
          </a:p>
        </p:txBody>
      </p:sp>
      <p:sp>
        <p:nvSpPr>
          <p:cNvPr id="30" name="Ellipse 29"/>
          <p:cNvSpPr/>
          <p:nvPr/>
        </p:nvSpPr>
        <p:spPr>
          <a:xfrm rot="8100000">
            <a:off x="9571613" y="2000435"/>
            <a:ext cx="1336354" cy="1347459"/>
          </a:xfrm>
          <a:prstGeom prst="ellipse">
            <a:avLst/>
          </a:prstGeom>
          <a:solidFill>
            <a:srgbClr val="FDFDFD"/>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Gulim" charset="-127"/>
            </a:endParaRPr>
          </a:p>
        </p:txBody>
      </p:sp>
      <p:grpSp>
        <p:nvGrpSpPr>
          <p:cNvPr id="64" name="Grupper 63"/>
          <p:cNvGrpSpPr/>
          <p:nvPr/>
        </p:nvGrpSpPr>
        <p:grpSpPr>
          <a:xfrm>
            <a:off x="952885" y="2246653"/>
            <a:ext cx="10356943" cy="3190576"/>
            <a:chOff x="969818" y="2246653"/>
            <a:chExt cx="10356943" cy="3190576"/>
          </a:xfrm>
        </p:grpSpPr>
        <p:cxnSp>
          <p:nvCxnSpPr>
            <p:cNvPr id="4" name="Lige pilforbindelse 3"/>
            <p:cNvCxnSpPr/>
            <p:nvPr/>
          </p:nvCxnSpPr>
          <p:spPr>
            <a:xfrm>
              <a:off x="969818" y="3713018"/>
              <a:ext cx="10356943" cy="0"/>
            </a:xfrm>
            <a:prstGeom prst="straightConnector1">
              <a:avLst/>
            </a:prstGeom>
            <a:ln w="19050">
              <a:solidFill>
                <a:schemeClr val="accent4"/>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sp>
          <p:nvSpPr>
            <p:cNvPr id="21" name="Tekstfelt 20"/>
            <p:cNvSpPr txBox="1"/>
            <p:nvPr/>
          </p:nvSpPr>
          <p:spPr>
            <a:xfrm>
              <a:off x="1683803" y="3803996"/>
              <a:ext cx="735239" cy="278698"/>
            </a:xfrm>
            <a:prstGeom prst="rect">
              <a:avLst/>
            </a:prstGeom>
            <a:noFill/>
          </p:spPr>
          <p:txBody>
            <a:bodyPr wrap="square" rtlCol="0">
              <a:spAutoFit/>
            </a:bodyPr>
            <a:lstStyle/>
            <a:p>
              <a:pPr algn="ctr"/>
              <a:r>
                <a:rPr lang="da-DK" sz="1200" dirty="0">
                  <a:latin typeface="Gulim" charset="-127"/>
                  <a:ea typeface="Gulim" charset="-127"/>
                  <a:cs typeface="Gulim" charset="-127"/>
                </a:rPr>
                <a:t>2018</a:t>
              </a:r>
            </a:p>
          </p:txBody>
        </p:sp>
        <p:sp>
          <p:nvSpPr>
            <p:cNvPr id="22" name="Tekstfelt 21"/>
            <p:cNvSpPr txBox="1"/>
            <p:nvPr/>
          </p:nvSpPr>
          <p:spPr>
            <a:xfrm>
              <a:off x="4386898" y="3799985"/>
              <a:ext cx="735239" cy="278698"/>
            </a:xfrm>
            <a:prstGeom prst="rect">
              <a:avLst/>
            </a:prstGeom>
            <a:noFill/>
          </p:spPr>
          <p:txBody>
            <a:bodyPr wrap="square" rtlCol="0">
              <a:spAutoFit/>
            </a:bodyPr>
            <a:lstStyle/>
            <a:p>
              <a:pPr algn="ctr"/>
              <a:r>
                <a:rPr lang="da-DK" sz="1200" dirty="0">
                  <a:latin typeface="Gulim" charset="-127"/>
                  <a:ea typeface="Gulim" charset="-127"/>
                  <a:cs typeface="Gulim" charset="-127"/>
                </a:rPr>
                <a:t>2018</a:t>
              </a:r>
            </a:p>
          </p:txBody>
        </p:sp>
        <p:sp>
          <p:nvSpPr>
            <p:cNvPr id="23" name="Tekstfelt 22"/>
            <p:cNvSpPr txBox="1"/>
            <p:nvPr/>
          </p:nvSpPr>
          <p:spPr>
            <a:xfrm>
              <a:off x="7141483" y="3797437"/>
              <a:ext cx="735239" cy="278698"/>
            </a:xfrm>
            <a:prstGeom prst="rect">
              <a:avLst/>
            </a:prstGeom>
            <a:noFill/>
          </p:spPr>
          <p:txBody>
            <a:bodyPr wrap="square" rtlCol="0">
              <a:spAutoFit/>
            </a:bodyPr>
            <a:lstStyle/>
            <a:p>
              <a:pPr algn="ctr"/>
              <a:r>
                <a:rPr lang="da-DK" sz="1200" dirty="0">
                  <a:latin typeface="Gulim" charset="-127"/>
                  <a:ea typeface="Gulim" charset="-127"/>
                  <a:cs typeface="Gulim" charset="-127"/>
                </a:rPr>
                <a:t>2018</a:t>
              </a:r>
            </a:p>
          </p:txBody>
        </p:sp>
        <p:sp>
          <p:nvSpPr>
            <p:cNvPr id="24" name="Tekstfelt 23"/>
            <p:cNvSpPr txBox="1"/>
            <p:nvPr/>
          </p:nvSpPr>
          <p:spPr>
            <a:xfrm>
              <a:off x="8534138" y="3352997"/>
              <a:ext cx="735239" cy="278698"/>
            </a:xfrm>
            <a:prstGeom prst="rect">
              <a:avLst/>
            </a:prstGeom>
            <a:noFill/>
          </p:spPr>
          <p:txBody>
            <a:bodyPr wrap="square" rtlCol="0">
              <a:spAutoFit/>
            </a:bodyPr>
            <a:lstStyle/>
            <a:p>
              <a:pPr algn="ctr"/>
              <a:r>
                <a:rPr lang="da-DK" sz="1200" dirty="0">
                  <a:latin typeface="Gulim" charset="-127"/>
                  <a:ea typeface="Gulim" charset="-127"/>
                  <a:cs typeface="Gulim" charset="-127"/>
                </a:rPr>
                <a:t>2018</a:t>
              </a:r>
            </a:p>
          </p:txBody>
        </p:sp>
        <p:sp>
          <p:nvSpPr>
            <p:cNvPr id="25" name="Tekstfelt 24"/>
            <p:cNvSpPr txBox="1"/>
            <p:nvPr/>
          </p:nvSpPr>
          <p:spPr>
            <a:xfrm>
              <a:off x="9872170" y="3797437"/>
              <a:ext cx="735239" cy="278698"/>
            </a:xfrm>
            <a:prstGeom prst="rect">
              <a:avLst/>
            </a:prstGeom>
            <a:noFill/>
          </p:spPr>
          <p:txBody>
            <a:bodyPr wrap="square" rtlCol="0">
              <a:spAutoFit/>
            </a:bodyPr>
            <a:lstStyle/>
            <a:p>
              <a:pPr algn="ctr"/>
              <a:r>
                <a:rPr lang="da-DK" sz="1200" dirty="0">
                  <a:latin typeface="Gulim" charset="-127"/>
                  <a:ea typeface="Gulim" charset="-127"/>
                  <a:cs typeface="Gulim" charset="-127"/>
                </a:rPr>
                <a:t>2018</a:t>
              </a:r>
            </a:p>
          </p:txBody>
        </p:sp>
        <p:sp>
          <p:nvSpPr>
            <p:cNvPr id="26" name="Tekstfelt 25"/>
            <p:cNvSpPr txBox="1"/>
            <p:nvPr/>
          </p:nvSpPr>
          <p:spPr>
            <a:xfrm>
              <a:off x="5785777" y="3352351"/>
              <a:ext cx="735239" cy="278698"/>
            </a:xfrm>
            <a:prstGeom prst="rect">
              <a:avLst/>
            </a:prstGeom>
            <a:noFill/>
          </p:spPr>
          <p:txBody>
            <a:bodyPr wrap="square" rtlCol="0">
              <a:spAutoFit/>
            </a:bodyPr>
            <a:lstStyle/>
            <a:p>
              <a:pPr algn="ctr"/>
              <a:r>
                <a:rPr lang="da-DK" sz="1200" dirty="0">
                  <a:latin typeface="Gulim" charset="-127"/>
                  <a:ea typeface="Gulim" charset="-127"/>
                  <a:cs typeface="Gulim" charset="-127"/>
                </a:rPr>
                <a:t>2018</a:t>
              </a:r>
            </a:p>
          </p:txBody>
        </p:sp>
        <p:sp>
          <p:nvSpPr>
            <p:cNvPr id="27" name="Tekstfelt 26"/>
            <p:cNvSpPr txBox="1"/>
            <p:nvPr/>
          </p:nvSpPr>
          <p:spPr>
            <a:xfrm>
              <a:off x="3013534" y="3356857"/>
              <a:ext cx="735239" cy="278698"/>
            </a:xfrm>
            <a:prstGeom prst="rect">
              <a:avLst/>
            </a:prstGeom>
            <a:noFill/>
          </p:spPr>
          <p:txBody>
            <a:bodyPr wrap="square" rtlCol="0">
              <a:spAutoFit/>
            </a:bodyPr>
            <a:lstStyle/>
            <a:p>
              <a:pPr algn="ctr"/>
              <a:r>
                <a:rPr lang="da-DK" sz="1200" dirty="0">
                  <a:latin typeface="Gulim" charset="-127"/>
                  <a:ea typeface="Gulim" charset="-127"/>
                  <a:cs typeface="Gulim" charset="-127"/>
                </a:rPr>
                <a:t>2018</a:t>
              </a:r>
            </a:p>
          </p:txBody>
        </p:sp>
        <p:sp>
          <p:nvSpPr>
            <p:cNvPr id="31" name="Ellipse 30"/>
            <p:cNvSpPr/>
            <p:nvPr/>
          </p:nvSpPr>
          <p:spPr>
            <a:xfrm rot="18900000">
              <a:off x="2720447" y="4085638"/>
              <a:ext cx="1336354" cy="1347459"/>
            </a:xfrm>
            <a:prstGeom prst="ellipse">
              <a:avLst/>
            </a:prstGeom>
            <a:solidFill>
              <a:srgbClr val="FDFDFD"/>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Gulim" charset="-127"/>
              </a:endParaRPr>
            </a:p>
          </p:txBody>
        </p:sp>
        <p:sp>
          <p:nvSpPr>
            <p:cNvPr id="32" name="Ellipse 31"/>
            <p:cNvSpPr/>
            <p:nvPr/>
          </p:nvSpPr>
          <p:spPr>
            <a:xfrm rot="18900000">
              <a:off x="5476151" y="4079137"/>
              <a:ext cx="1336354" cy="1347459"/>
            </a:xfrm>
            <a:prstGeom prst="ellipse">
              <a:avLst/>
            </a:prstGeom>
            <a:solidFill>
              <a:srgbClr val="FDFDFD"/>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Gulim" charset="-127"/>
              </a:endParaRPr>
            </a:p>
          </p:txBody>
        </p:sp>
        <p:sp>
          <p:nvSpPr>
            <p:cNvPr id="33" name="Ellipse 32"/>
            <p:cNvSpPr/>
            <p:nvPr/>
          </p:nvSpPr>
          <p:spPr>
            <a:xfrm rot="18900000">
              <a:off x="8237044" y="4089770"/>
              <a:ext cx="1336354" cy="1347459"/>
            </a:xfrm>
            <a:prstGeom prst="ellipse">
              <a:avLst/>
            </a:prstGeom>
            <a:solidFill>
              <a:srgbClr val="FDFDFD"/>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Gulim" charset="-127"/>
              </a:endParaRPr>
            </a:p>
          </p:txBody>
        </p:sp>
        <p:sp>
          <p:nvSpPr>
            <p:cNvPr id="35" name="Tekstfelt 34"/>
            <p:cNvSpPr txBox="1"/>
            <p:nvPr/>
          </p:nvSpPr>
          <p:spPr>
            <a:xfrm>
              <a:off x="4267628" y="2246653"/>
              <a:ext cx="973777" cy="276999"/>
            </a:xfrm>
            <a:prstGeom prst="rect">
              <a:avLst/>
            </a:prstGeom>
            <a:noFill/>
          </p:spPr>
          <p:txBody>
            <a:bodyPr wrap="square" rtlCol="0">
              <a:spAutoFit/>
            </a:bodyPr>
            <a:lstStyle/>
            <a:p>
              <a:pPr algn="ctr"/>
              <a:endParaRPr lang="da-DK" sz="1200" dirty="0">
                <a:latin typeface="Gulim" charset="-127"/>
                <a:ea typeface="Gulim" charset="-127"/>
                <a:cs typeface="Gulim" charset="-127"/>
              </a:endParaRPr>
            </a:p>
          </p:txBody>
        </p:sp>
        <p:sp>
          <p:nvSpPr>
            <p:cNvPr id="36" name="Tekstfelt 35"/>
            <p:cNvSpPr txBox="1"/>
            <p:nvPr/>
          </p:nvSpPr>
          <p:spPr>
            <a:xfrm>
              <a:off x="7028093" y="2248640"/>
              <a:ext cx="973777" cy="276999"/>
            </a:xfrm>
            <a:prstGeom prst="rect">
              <a:avLst/>
            </a:prstGeom>
            <a:noFill/>
          </p:spPr>
          <p:txBody>
            <a:bodyPr wrap="square" rtlCol="0">
              <a:spAutoFit/>
            </a:bodyPr>
            <a:lstStyle/>
            <a:p>
              <a:pPr algn="ctr"/>
              <a:endParaRPr lang="da-DK" sz="1200" dirty="0">
                <a:latin typeface="Gulim" charset="-127"/>
                <a:ea typeface="Gulim" charset="-127"/>
                <a:cs typeface="Gulim" charset="-127"/>
              </a:endParaRPr>
            </a:p>
          </p:txBody>
        </p:sp>
        <p:sp>
          <p:nvSpPr>
            <p:cNvPr id="37" name="Tekstfelt 36"/>
            <p:cNvSpPr txBox="1"/>
            <p:nvPr/>
          </p:nvSpPr>
          <p:spPr>
            <a:xfrm>
              <a:off x="9770421" y="2248640"/>
              <a:ext cx="973777" cy="276999"/>
            </a:xfrm>
            <a:prstGeom prst="rect">
              <a:avLst/>
            </a:prstGeom>
            <a:noFill/>
          </p:spPr>
          <p:txBody>
            <a:bodyPr wrap="square" rtlCol="0">
              <a:spAutoFit/>
            </a:bodyPr>
            <a:lstStyle/>
            <a:p>
              <a:pPr algn="ctr"/>
              <a:endParaRPr lang="da-DK" sz="1200" dirty="0">
                <a:latin typeface="Gulim" charset="-127"/>
                <a:ea typeface="Gulim" charset="-127"/>
                <a:cs typeface="Gulim" charset="-127"/>
              </a:endParaRPr>
            </a:p>
          </p:txBody>
        </p:sp>
        <p:sp>
          <p:nvSpPr>
            <p:cNvPr id="38" name="Tekstfelt 37"/>
            <p:cNvSpPr txBox="1"/>
            <p:nvPr/>
          </p:nvSpPr>
          <p:spPr>
            <a:xfrm>
              <a:off x="5652590" y="4276200"/>
              <a:ext cx="973777" cy="276999"/>
            </a:xfrm>
            <a:prstGeom prst="rect">
              <a:avLst/>
            </a:prstGeom>
            <a:noFill/>
          </p:spPr>
          <p:txBody>
            <a:bodyPr wrap="square" rtlCol="0">
              <a:spAutoFit/>
            </a:bodyPr>
            <a:lstStyle/>
            <a:p>
              <a:pPr algn="ctr"/>
              <a:endParaRPr lang="da-DK" sz="1200" dirty="0">
                <a:latin typeface="Gulim" charset="-127"/>
                <a:ea typeface="Gulim" charset="-127"/>
                <a:cs typeface="Gulim" charset="-127"/>
              </a:endParaRPr>
            </a:p>
          </p:txBody>
        </p:sp>
        <p:sp>
          <p:nvSpPr>
            <p:cNvPr id="39" name="Tekstfelt 38"/>
            <p:cNvSpPr txBox="1"/>
            <p:nvPr/>
          </p:nvSpPr>
          <p:spPr>
            <a:xfrm>
              <a:off x="8389714" y="4290687"/>
              <a:ext cx="973777" cy="276999"/>
            </a:xfrm>
            <a:prstGeom prst="rect">
              <a:avLst/>
            </a:prstGeom>
            <a:noFill/>
          </p:spPr>
          <p:txBody>
            <a:bodyPr wrap="square" rtlCol="0">
              <a:spAutoFit/>
            </a:bodyPr>
            <a:lstStyle/>
            <a:p>
              <a:pPr algn="ctr"/>
              <a:endParaRPr lang="da-DK" sz="1200" dirty="0">
                <a:latin typeface="Gulim" charset="-127"/>
                <a:ea typeface="Gulim" charset="-127"/>
                <a:cs typeface="Gulim" charset="-127"/>
              </a:endParaRPr>
            </a:p>
          </p:txBody>
        </p:sp>
        <p:sp>
          <p:nvSpPr>
            <p:cNvPr id="40" name="Tekstfelt 39"/>
            <p:cNvSpPr txBox="1"/>
            <p:nvPr/>
          </p:nvSpPr>
          <p:spPr>
            <a:xfrm>
              <a:off x="2950365" y="4276199"/>
              <a:ext cx="973777" cy="276999"/>
            </a:xfrm>
            <a:prstGeom prst="rect">
              <a:avLst/>
            </a:prstGeom>
            <a:noFill/>
          </p:spPr>
          <p:txBody>
            <a:bodyPr wrap="square" rtlCol="0">
              <a:spAutoFit/>
            </a:bodyPr>
            <a:lstStyle/>
            <a:p>
              <a:pPr algn="ctr"/>
              <a:endParaRPr lang="da-DK" sz="1200" dirty="0">
                <a:latin typeface="Gulim" charset="-127"/>
                <a:ea typeface="Gulim" charset="-127"/>
                <a:cs typeface="Gulim" charset="-127"/>
              </a:endParaRPr>
            </a:p>
          </p:txBody>
        </p:sp>
        <p:sp>
          <p:nvSpPr>
            <p:cNvPr id="41" name="Tekstfelt 40"/>
            <p:cNvSpPr txBox="1"/>
            <p:nvPr/>
          </p:nvSpPr>
          <p:spPr>
            <a:xfrm>
              <a:off x="1543568" y="2246653"/>
              <a:ext cx="973777" cy="276999"/>
            </a:xfrm>
            <a:prstGeom prst="rect">
              <a:avLst/>
            </a:prstGeom>
            <a:noFill/>
          </p:spPr>
          <p:txBody>
            <a:bodyPr wrap="square" rtlCol="0">
              <a:spAutoFit/>
            </a:bodyPr>
            <a:lstStyle/>
            <a:p>
              <a:pPr algn="ctr"/>
              <a:endParaRPr lang="da-DK" sz="1200" dirty="0">
                <a:latin typeface="Gulim" charset="-127"/>
                <a:ea typeface="Gulim" charset="-127"/>
                <a:cs typeface="Gulim" charset="-127"/>
              </a:endParaRPr>
            </a:p>
          </p:txBody>
        </p:sp>
        <p:cxnSp>
          <p:nvCxnSpPr>
            <p:cNvPr id="10" name="Lige forbindelse 9"/>
            <p:cNvCxnSpPr>
              <a:stCxn id="5" idx="7"/>
            </p:cNvCxnSpPr>
            <p:nvPr/>
          </p:nvCxnSpPr>
          <p:spPr>
            <a:xfrm>
              <a:off x="2054200" y="3345118"/>
              <a:ext cx="0" cy="367900"/>
            </a:xfrm>
            <a:prstGeom prst="line">
              <a:avLst/>
            </a:prstGeom>
            <a:ln w="9525">
              <a:solidFill>
                <a:schemeClr val="bg1">
                  <a:lumMod val="50000"/>
                </a:schemeClr>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43" name="Lige forbindelse 42"/>
            <p:cNvCxnSpPr>
              <a:stCxn id="28" idx="7"/>
            </p:cNvCxnSpPr>
            <p:nvPr/>
          </p:nvCxnSpPr>
          <p:spPr>
            <a:xfrm>
              <a:off x="4759795" y="3331086"/>
              <a:ext cx="0" cy="369044"/>
            </a:xfrm>
            <a:prstGeom prst="line">
              <a:avLst/>
            </a:prstGeom>
            <a:ln w="9525">
              <a:solidFill>
                <a:schemeClr val="bg1">
                  <a:lumMod val="50000"/>
                </a:schemeClr>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44" name="Lige forbindelse 43"/>
            <p:cNvCxnSpPr>
              <a:stCxn id="29" idx="7"/>
            </p:cNvCxnSpPr>
            <p:nvPr/>
          </p:nvCxnSpPr>
          <p:spPr>
            <a:xfrm>
              <a:off x="7502995" y="3331086"/>
              <a:ext cx="0" cy="379677"/>
            </a:xfrm>
            <a:prstGeom prst="line">
              <a:avLst/>
            </a:prstGeom>
            <a:ln w="9525">
              <a:solidFill>
                <a:schemeClr val="bg1">
                  <a:lumMod val="50000"/>
                </a:schemeClr>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47" name="Lige forbindelse 46"/>
            <p:cNvCxnSpPr>
              <a:stCxn id="30" idx="7"/>
            </p:cNvCxnSpPr>
            <p:nvPr/>
          </p:nvCxnSpPr>
          <p:spPr>
            <a:xfrm>
              <a:off x="10242566" y="3345117"/>
              <a:ext cx="0" cy="365646"/>
            </a:xfrm>
            <a:prstGeom prst="line">
              <a:avLst/>
            </a:prstGeom>
            <a:ln w="9525">
              <a:solidFill>
                <a:schemeClr val="bg1">
                  <a:lumMod val="50000"/>
                </a:schemeClr>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51" name="Lige forbindelse 50"/>
            <p:cNvCxnSpPr>
              <a:stCxn id="31" idx="7"/>
            </p:cNvCxnSpPr>
            <p:nvPr/>
          </p:nvCxnSpPr>
          <p:spPr>
            <a:xfrm flipV="1">
              <a:off x="3385848" y="3721396"/>
              <a:ext cx="0" cy="367019"/>
            </a:xfrm>
            <a:prstGeom prst="line">
              <a:avLst/>
            </a:prstGeom>
            <a:ln w="9525">
              <a:solidFill>
                <a:schemeClr val="bg1">
                  <a:lumMod val="50000"/>
                </a:schemeClr>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56" name="Lige forbindelse 55"/>
            <p:cNvCxnSpPr>
              <a:stCxn id="32" idx="7"/>
            </p:cNvCxnSpPr>
            <p:nvPr/>
          </p:nvCxnSpPr>
          <p:spPr>
            <a:xfrm flipV="1">
              <a:off x="6141552" y="3710763"/>
              <a:ext cx="0" cy="371151"/>
            </a:xfrm>
            <a:prstGeom prst="line">
              <a:avLst/>
            </a:prstGeom>
            <a:ln w="9525">
              <a:solidFill>
                <a:schemeClr val="bg1">
                  <a:lumMod val="50000"/>
                </a:schemeClr>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59" name="Lige forbindelse 58"/>
            <p:cNvCxnSpPr>
              <a:stCxn id="33" idx="7"/>
            </p:cNvCxnSpPr>
            <p:nvPr/>
          </p:nvCxnSpPr>
          <p:spPr>
            <a:xfrm flipV="1">
              <a:off x="8902445" y="3721396"/>
              <a:ext cx="0" cy="371151"/>
            </a:xfrm>
            <a:prstGeom prst="line">
              <a:avLst/>
            </a:prstGeom>
            <a:ln w="9525">
              <a:solidFill>
                <a:schemeClr val="bg1">
                  <a:lumMod val="50000"/>
                </a:schemeClr>
              </a:solidFill>
              <a:headEnd w="lg" len="lg"/>
              <a:tailEnd type="oval"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3233203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endParaRPr lang="en-US" dirty="0">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D68288E8-3C99-BD4F-A969-859E95A9E3AA}"/>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527050" y="127212"/>
            <a:ext cx="9314374" cy="925103"/>
          </a:xfrm>
          <a:prstGeom prst="rect">
            <a:avLst/>
          </a:prstGeom>
        </p:spPr>
        <p:txBody>
          <a:bodyPr/>
          <a:lstStyle/>
          <a:p>
            <a:r>
              <a:rPr lang="en-US" dirty="0" err="1"/>
              <a:t>BigBang</a:t>
            </a:r>
            <a:r>
              <a:rPr lang="en-US" dirty="0"/>
              <a:t> should capture another layer of location-based technology to increase value added</a:t>
            </a:r>
            <a:r>
              <a:rPr lang="mr-IN" dirty="0"/>
              <a:t>…</a:t>
            </a:r>
            <a:endParaRPr lang="en-US" dirty="0"/>
          </a:p>
        </p:txBody>
      </p:sp>
      <p:grpSp>
        <p:nvGrpSpPr>
          <p:cNvPr id="41" name="Group 40"/>
          <p:cNvGrpSpPr/>
          <p:nvPr/>
        </p:nvGrpSpPr>
        <p:grpSpPr>
          <a:xfrm>
            <a:off x="1473329" y="1658730"/>
            <a:ext cx="9245341" cy="4730470"/>
            <a:chOff x="1111233" y="1501731"/>
            <a:chExt cx="9754707" cy="5038457"/>
          </a:xfrm>
        </p:grpSpPr>
        <p:pic>
          <p:nvPicPr>
            <p:cNvPr id="4" name="Picture 3"/>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415162" y="2944660"/>
              <a:ext cx="6022284" cy="3595528"/>
            </a:xfrm>
            <a:prstGeom prst="rect">
              <a:avLst/>
            </a:prstGeom>
          </p:spPr>
        </p:pic>
        <p:sp>
          <p:nvSpPr>
            <p:cNvPr id="11" name="Rectangle 5"/>
            <p:cNvSpPr/>
            <p:nvPr/>
          </p:nvSpPr>
          <p:spPr>
            <a:xfrm>
              <a:off x="2122617" y="3556241"/>
              <a:ext cx="4525636" cy="2390302"/>
            </a:xfrm>
            <a:custGeom>
              <a:avLst/>
              <a:gdLst>
                <a:gd name="connsiteX0" fmla="*/ 0 w 4125213"/>
                <a:gd name="connsiteY0" fmla="*/ 0 h 2796702"/>
                <a:gd name="connsiteX1" fmla="*/ 4125213 w 4125213"/>
                <a:gd name="connsiteY1" fmla="*/ 0 h 2796702"/>
                <a:gd name="connsiteX2" fmla="*/ 4125213 w 4125213"/>
                <a:gd name="connsiteY2" fmla="*/ 2796702 h 2796702"/>
                <a:gd name="connsiteX3" fmla="*/ 0 w 4125213"/>
                <a:gd name="connsiteY3" fmla="*/ 2796702 h 2796702"/>
                <a:gd name="connsiteX4" fmla="*/ 0 w 4125213"/>
                <a:gd name="connsiteY4" fmla="*/ 0 h 2796702"/>
                <a:gd name="connsiteX0" fmla="*/ 0 w 4196930"/>
                <a:gd name="connsiteY0" fmla="*/ 119529 h 2796702"/>
                <a:gd name="connsiteX1" fmla="*/ 4196930 w 4196930"/>
                <a:gd name="connsiteY1" fmla="*/ 0 h 2796702"/>
                <a:gd name="connsiteX2" fmla="*/ 4196930 w 4196930"/>
                <a:gd name="connsiteY2" fmla="*/ 2796702 h 2796702"/>
                <a:gd name="connsiteX3" fmla="*/ 71717 w 4196930"/>
                <a:gd name="connsiteY3" fmla="*/ 2796702 h 2796702"/>
                <a:gd name="connsiteX4" fmla="*/ 0 w 4196930"/>
                <a:gd name="connsiteY4" fmla="*/ 119529 h 2796702"/>
                <a:gd name="connsiteX0" fmla="*/ 0 w 4196930"/>
                <a:gd name="connsiteY0" fmla="*/ 442258 h 3119431"/>
                <a:gd name="connsiteX1" fmla="*/ 1913919 w 4196930"/>
                <a:gd name="connsiteY1" fmla="*/ 0 h 3119431"/>
                <a:gd name="connsiteX2" fmla="*/ 4196930 w 4196930"/>
                <a:gd name="connsiteY2" fmla="*/ 3119431 h 3119431"/>
                <a:gd name="connsiteX3" fmla="*/ 71717 w 4196930"/>
                <a:gd name="connsiteY3" fmla="*/ 3119431 h 3119431"/>
                <a:gd name="connsiteX4" fmla="*/ 0 w 4196930"/>
                <a:gd name="connsiteY4" fmla="*/ 442258 h 3119431"/>
                <a:gd name="connsiteX0" fmla="*/ 0 w 4196930"/>
                <a:gd name="connsiteY0" fmla="*/ 609599 h 3286772"/>
                <a:gd name="connsiteX1" fmla="*/ 1943801 w 4196930"/>
                <a:gd name="connsiteY1" fmla="*/ 0 h 3286772"/>
                <a:gd name="connsiteX2" fmla="*/ 4196930 w 4196930"/>
                <a:gd name="connsiteY2" fmla="*/ 3286772 h 3286772"/>
                <a:gd name="connsiteX3" fmla="*/ 71717 w 4196930"/>
                <a:gd name="connsiteY3" fmla="*/ 3286772 h 3286772"/>
                <a:gd name="connsiteX4" fmla="*/ 0 w 4196930"/>
                <a:gd name="connsiteY4" fmla="*/ 609599 h 3286772"/>
                <a:gd name="connsiteX0" fmla="*/ 0 w 4196930"/>
                <a:gd name="connsiteY0" fmla="*/ 484093 h 3161266"/>
                <a:gd name="connsiteX1" fmla="*/ 1901966 w 4196930"/>
                <a:gd name="connsiteY1" fmla="*/ 0 h 3161266"/>
                <a:gd name="connsiteX2" fmla="*/ 4196930 w 4196930"/>
                <a:gd name="connsiteY2" fmla="*/ 3161266 h 3161266"/>
                <a:gd name="connsiteX3" fmla="*/ 71717 w 4196930"/>
                <a:gd name="connsiteY3" fmla="*/ 3161266 h 3161266"/>
                <a:gd name="connsiteX4" fmla="*/ 0 w 4196930"/>
                <a:gd name="connsiteY4" fmla="*/ 484093 h 3161266"/>
                <a:gd name="connsiteX0" fmla="*/ 0 w 4477824"/>
                <a:gd name="connsiteY0" fmla="*/ 484093 h 3161266"/>
                <a:gd name="connsiteX1" fmla="*/ 1901966 w 4477824"/>
                <a:gd name="connsiteY1" fmla="*/ 0 h 3161266"/>
                <a:gd name="connsiteX2" fmla="*/ 4477824 w 4477824"/>
                <a:gd name="connsiteY2" fmla="*/ 1804607 h 3161266"/>
                <a:gd name="connsiteX3" fmla="*/ 71717 w 4477824"/>
                <a:gd name="connsiteY3" fmla="*/ 3161266 h 3161266"/>
                <a:gd name="connsiteX4" fmla="*/ 0 w 4477824"/>
                <a:gd name="connsiteY4" fmla="*/ 484093 h 3161266"/>
                <a:gd name="connsiteX0" fmla="*/ 0 w 4525636"/>
                <a:gd name="connsiteY0" fmla="*/ 484093 h 3161266"/>
                <a:gd name="connsiteX1" fmla="*/ 1901966 w 4525636"/>
                <a:gd name="connsiteY1" fmla="*/ 0 h 3161266"/>
                <a:gd name="connsiteX2" fmla="*/ 4525636 w 4525636"/>
                <a:gd name="connsiteY2" fmla="*/ 1499807 h 3161266"/>
                <a:gd name="connsiteX3" fmla="*/ 71717 w 4525636"/>
                <a:gd name="connsiteY3" fmla="*/ 3161266 h 3161266"/>
                <a:gd name="connsiteX4" fmla="*/ 0 w 4525636"/>
                <a:gd name="connsiteY4" fmla="*/ 484093 h 3161266"/>
                <a:gd name="connsiteX0" fmla="*/ 0 w 4525636"/>
                <a:gd name="connsiteY0" fmla="*/ 484093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84093 h 2390302"/>
                <a:gd name="connsiteX0" fmla="*/ 0 w 4525636"/>
                <a:gd name="connsiteY0" fmla="*/ 490069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90069 h 239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636" h="2390302">
                  <a:moveTo>
                    <a:pt x="0" y="490069"/>
                  </a:moveTo>
                  <a:lnTo>
                    <a:pt x="1901966" y="0"/>
                  </a:lnTo>
                  <a:lnTo>
                    <a:pt x="4525636" y="1499807"/>
                  </a:lnTo>
                  <a:lnTo>
                    <a:pt x="2271058" y="2390302"/>
                  </a:lnTo>
                  <a:lnTo>
                    <a:pt x="0" y="490069"/>
                  </a:lnTo>
                  <a:close/>
                </a:path>
              </a:pathLst>
            </a:custGeom>
            <a:solidFill>
              <a:srgbClr val="3131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Arial" panose="020B0604020202020204" pitchFamily="34" charset="0"/>
                <a:ea typeface="Gill Sans Light" charset="0"/>
                <a:cs typeface="Arial" panose="020B0604020202020204" pitchFamily="34" charset="0"/>
              </a:endParaRPr>
            </a:p>
          </p:txBody>
        </p:sp>
        <p:sp>
          <p:nvSpPr>
            <p:cNvPr id="6" name="Rectangle 5"/>
            <p:cNvSpPr/>
            <p:nvPr/>
          </p:nvSpPr>
          <p:spPr>
            <a:xfrm>
              <a:off x="2533748" y="3092557"/>
              <a:ext cx="4525636" cy="2390302"/>
            </a:xfrm>
            <a:custGeom>
              <a:avLst/>
              <a:gdLst>
                <a:gd name="connsiteX0" fmla="*/ 0 w 4125213"/>
                <a:gd name="connsiteY0" fmla="*/ 0 h 2796702"/>
                <a:gd name="connsiteX1" fmla="*/ 4125213 w 4125213"/>
                <a:gd name="connsiteY1" fmla="*/ 0 h 2796702"/>
                <a:gd name="connsiteX2" fmla="*/ 4125213 w 4125213"/>
                <a:gd name="connsiteY2" fmla="*/ 2796702 h 2796702"/>
                <a:gd name="connsiteX3" fmla="*/ 0 w 4125213"/>
                <a:gd name="connsiteY3" fmla="*/ 2796702 h 2796702"/>
                <a:gd name="connsiteX4" fmla="*/ 0 w 4125213"/>
                <a:gd name="connsiteY4" fmla="*/ 0 h 2796702"/>
                <a:gd name="connsiteX0" fmla="*/ 0 w 4196930"/>
                <a:gd name="connsiteY0" fmla="*/ 119529 h 2796702"/>
                <a:gd name="connsiteX1" fmla="*/ 4196930 w 4196930"/>
                <a:gd name="connsiteY1" fmla="*/ 0 h 2796702"/>
                <a:gd name="connsiteX2" fmla="*/ 4196930 w 4196930"/>
                <a:gd name="connsiteY2" fmla="*/ 2796702 h 2796702"/>
                <a:gd name="connsiteX3" fmla="*/ 71717 w 4196930"/>
                <a:gd name="connsiteY3" fmla="*/ 2796702 h 2796702"/>
                <a:gd name="connsiteX4" fmla="*/ 0 w 4196930"/>
                <a:gd name="connsiteY4" fmla="*/ 119529 h 2796702"/>
                <a:gd name="connsiteX0" fmla="*/ 0 w 4196930"/>
                <a:gd name="connsiteY0" fmla="*/ 442258 h 3119431"/>
                <a:gd name="connsiteX1" fmla="*/ 1913919 w 4196930"/>
                <a:gd name="connsiteY1" fmla="*/ 0 h 3119431"/>
                <a:gd name="connsiteX2" fmla="*/ 4196930 w 4196930"/>
                <a:gd name="connsiteY2" fmla="*/ 3119431 h 3119431"/>
                <a:gd name="connsiteX3" fmla="*/ 71717 w 4196930"/>
                <a:gd name="connsiteY3" fmla="*/ 3119431 h 3119431"/>
                <a:gd name="connsiteX4" fmla="*/ 0 w 4196930"/>
                <a:gd name="connsiteY4" fmla="*/ 442258 h 3119431"/>
                <a:gd name="connsiteX0" fmla="*/ 0 w 4196930"/>
                <a:gd name="connsiteY0" fmla="*/ 609599 h 3286772"/>
                <a:gd name="connsiteX1" fmla="*/ 1943801 w 4196930"/>
                <a:gd name="connsiteY1" fmla="*/ 0 h 3286772"/>
                <a:gd name="connsiteX2" fmla="*/ 4196930 w 4196930"/>
                <a:gd name="connsiteY2" fmla="*/ 3286772 h 3286772"/>
                <a:gd name="connsiteX3" fmla="*/ 71717 w 4196930"/>
                <a:gd name="connsiteY3" fmla="*/ 3286772 h 3286772"/>
                <a:gd name="connsiteX4" fmla="*/ 0 w 4196930"/>
                <a:gd name="connsiteY4" fmla="*/ 609599 h 3286772"/>
                <a:gd name="connsiteX0" fmla="*/ 0 w 4196930"/>
                <a:gd name="connsiteY0" fmla="*/ 484093 h 3161266"/>
                <a:gd name="connsiteX1" fmla="*/ 1901966 w 4196930"/>
                <a:gd name="connsiteY1" fmla="*/ 0 h 3161266"/>
                <a:gd name="connsiteX2" fmla="*/ 4196930 w 4196930"/>
                <a:gd name="connsiteY2" fmla="*/ 3161266 h 3161266"/>
                <a:gd name="connsiteX3" fmla="*/ 71717 w 4196930"/>
                <a:gd name="connsiteY3" fmla="*/ 3161266 h 3161266"/>
                <a:gd name="connsiteX4" fmla="*/ 0 w 4196930"/>
                <a:gd name="connsiteY4" fmla="*/ 484093 h 3161266"/>
                <a:gd name="connsiteX0" fmla="*/ 0 w 4477824"/>
                <a:gd name="connsiteY0" fmla="*/ 484093 h 3161266"/>
                <a:gd name="connsiteX1" fmla="*/ 1901966 w 4477824"/>
                <a:gd name="connsiteY1" fmla="*/ 0 h 3161266"/>
                <a:gd name="connsiteX2" fmla="*/ 4477824 w 4477824"/>
                <a:gd name="connsiteY2" fmla="*/ 1804607 h 3161266"/>
                <a:gd name="connsiteX3" fmla="*/ 71717 w 4477824"/>
                <a:gd name="connsiteY3" fmla="*/ 3161266 h 3161266"/>
                <a:gd name="connsiteX4" fmla="*/ 0 w 4477824"/>
                <a:gd name="connsiteY4" fmla="*/ 484093 h 3161266"/>
                <a:gd name="connsiteX0" fmla="*/ 0 w 4525636"/>
                <a:gd name="connsiteY0" fmla="*/ 484093 h 3161266"/>
                <a:gd name="connsiteX1" fmla="*/ 1901966 w 4525636"/>
                <a:gd name="connsiteY1" fmla="*/ 0 h 3161266"/>
                <a:gd name="connsiteX2" fmla="*/ 4525636 w 4525636"/>
                <a:gd name="connsiteY2" fmla="*/ 1499807 h 3161266"/>
                <a:gd name="connsiteX3" fmla="*/ 71717 w 4525636"/>
                <a:gd name="connsiteY3" fmla="*/ 3161266 h 3161266"/>
                <a:gd name="connsiteX4" fmla="*/ 0 w 4525636"/>
                <a:gd name="connsiteY4" fmla="*/ 484093 h 3161266"/>
                <a:gd name="connsiteX0" fmla="*/ 0 w 4525636"/>
                <a:gd name="connsiteY0" fmla="*/ 484093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84093 h 2390302"/>
                <a:gd name="connsiteX0" fmla="*/ 0 w 4525636"/>
                <a:gd name="connsiteY0" fmla="*/ 490069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90069 h 239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636" h="2390302">
                  <a:moveTo>
                    <a:pt x="0" y="490069"/>
                  </a:moveTo>
                  <a:lnTo>
                    <a:pt x="1901966" y="0"/>
                  </a:lnTo>
                  <a:lnTo>
                    <a:pt x="4525636" y="1499807"/>
                  </a:lnTo>
                  <a:lnTo>
                    <a:pt x="2271058" y="2390302"/>
                  </a:lnTo>
                  <a:lnTo>
                    <a:pt x="0" y="490069"/>
                  </a:lnTo>
                  <a:close/>
                </a:path>
              </a:pathLst>
            </a:custGeom>
            <a:solidFill>
              <a:schemeClr val="bg1">
                <a:lumMod val="50000"/>
                <a:alpha val="96863"/>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Arial" panose="020B0604020202020204" pitchFamily="34" charset="0"/>
                <a:ea typeface="Gill Sans Light" charset="0"/>
                <a:cs typeface="Arial" panose="020B0604020202020204" pitchFamily="34" charset="0"/>
              </a:endParaRPr>
            </a:p>
          </p:txBody>
        </p:sp>
        <p:sp>
          <p:nvSpPr>
            <p:cNvPr id="8" name="Rectangle 5"/>
            <p:cNvSpPr/>
            <p:nvPr/>
          </p:nvSpPr>
          <p:spPr>
            <a:xfrm>
              <a:off x="2696907" y="2714703"/>
              <a:ext cx="4525636" cy="2390302"/>
            </a:xfrm>
            <a:custGeom>
              <a:avLst/>
              <a:gdLst>
                <a:gd name="connsiteX0" fmla="*/ 0 w 4125213"/>
                <a:gd name="connsiteY0" fmla="*/ 0 h 2796702"/>
                <a:gd name="connsiteX1" fmla="*/ 4125213 w 4125213"/>
                <a:gd name="connsiteY1" fmla="*/ 0 h 2796702"/>
                <a:gd name="connsiteX2" fmla="*/ 4125213 w 4125213"/>
                <a:gd name="connsiteY2" fmla="*/ 2796702 h 2796702"/>
                <a:gd name="connsiteX3" fmla="*/ 0 w 4125213"/>
                <a:gd name="connsiteY3" fmla="*/ 2796702 h 2796702"/>
                <a:gd name="connsiteX4" fmla="*/ 0 w 4125213"/>
                <a:gd name="connsiteY4" fmla="*/ 0 h 2796702"/>
                <a:gd name="connsiteX0" fmla="*/ 0 w 4196930"/>
                <a:gd name="connsiteY0" fmla="*/ 119529 h 2796702"/>
                <a:gd name="connsiteX1" fmla="*/ 4196930 w 4196930"/>
                <a:gd name="connsiteY1" fmla="*/ 0 h 2796702"/>
                <a:gd name="connsiteX2" fmla="*/ 4196930 w 4196930"/>
                <a:gd name="connsiteY2" fmla="*/ 2796702 h 2796702"/>
                <a:gd name="connsiteX3" fmla="*/ 71717 w 4196930"/>
                <a:gd name="connsiteY3" fmla="*/ 2796702 h 2796702"/>
                <a:gd name="connsiteX4" fmla="*/ 0 w 4196930"/>
                <a:gd name="connsiteY4" fmla="*/ 119529 h 2796702"/>
                <a:gd name="connsiteX0" fmla="*/ 0 w 4196930"/>
                <a:gd name="connsiteY0" fmla="*/ 442258 h 3119431"/>
                <a:gd name="connsiteX1" fmla="*/ 1913919 w 4196930"/>
                <a:gd name="connsiteY1" fmla="*/ 0 h 3119431"/>
                <a:gd name="connsiteX2" fmla="*/ 4196930 w 4196930"/>
                <a:gd name="connsiteY2" fmla="*/ 3119431 h 3119431"/>
                <a:gd name="connsiteX3" fmla="*/ 71717 w 4196930"/>
                <a:gd name="connsiteY3" fmla="*/ 3119431 h 3119431"/>
                <a:gd name="connsiteX4" fmla="*/ 0 w 4196930"/>
                <a:gd name="connsiteY4" fmla="*/ 442258 h 3119431"/>
                <a:gd name="connsiteX0" fmla="*/ 0 w 4196930"/>
                <a:gd name="connsiteY0" fmla="*/ 609599 h 3286772"/>
                <a:gd name="connsiteX1" fmla="*/ 1943801 w 4196930"/>
                <a:gd name="connsiteY1" fmla="*/ 0 h 3286772"/>
                <a:gd name="connsiteX2" fmla="*/ 4196930 w 4196930"/>
                <a:gd name="connsiteY2" fmla="*/ 3286772 h 3286772"/>
                <a:gd name="connsiteX3" fmla="*/ 71717 w 4196930"/>
                <a:gd name="connsiteY3" fmla="*/ 3286772 h 3286772"/>
                <a:gd name="connsiteX4" fmla="*/ 0 w 4196930"/>
                <a:gd name="connsiteY4" fmla="*/ 609599 h 3286772"/>
                <a:gd name="connsiteX0" fmla="*/ 0 w 4196930"/>
                <a:gd name="connsiteY0" fmla="*/ 484093 h 3161266"/>
                <a:gd name="connsiteX1" fmla="*/ 1901966 w 4196930"/>
                <a:gd name="connsiteY1" fmla="*/ 0 h 3161266"/>
                <a:gd name="connsiteX2" fmla="*/ 4196930 w 4196930"/>
                <a:gd name="connsiteY2" fmla="*/ 3161266 h 3161266"/>
                <a:gd name="connsiteX3" fmla="*/ 71717 w 4196930"/>
                <a:gd name="connsiteY3" fmla="*/ 3161266 h 3161266"/>
                <a:gd name="connsiteX4" fmla="*/ 0 w 4196930"/>
                <a:gd name="connsiteY4" fmla="*/ 484093 h 3161266"/>
                <a:gd name="connsiteX0" fmla="*/ 0 w 4477824"/>
                <a:gd name="connsiteY0" fmla="*/ 484093 h 3161266"/>
                <a:gd name="connsiteX1" fmla="*/ 1901966 w 4477824"/>
                <a:gd name="connsiteY1" fmla="*/ 0 h 3161266"/>
                <a:gd name="connsiteX2" fmla="*/ 4477824 w 4477824"/>
                <a:gd name="connsiteY2" fmla="*/ 1804607 h 3161266"/>
                <a:gd name="connsiteX3" fmla="*/ 71717 w 4477824"/>
                <a:gd name="connsiteY3" fmla="*/ 3161266 h 3161266"/>
                <a:gd name="connsiteX4" fmla="*/ 0 w 4477824"/>
                <a:gd name="connsiteY4" fmla="*/ 484093 h 3161266"/>
                <a:gd name="connsiteX0" fmla="*/ 0 w 4525636"/>
                <a:gd name="connsiteY0" fmla="*/ 484093 h 3161266"/>
                <a:gd name="connsiteX1" fmla="*/ 1901966 w 4525636"/>
                <a:gd name="connsiteY1" fmla="*/ 0 h 3161266"/>
                <a:gd name="connsiteX2" fmla="*/ 4525636 w 4525636"/>
                <a:gd name="connsiteY2" fmla="*/ 1499807 h 3161266"/>
                <a:gd name="connsiteX3" fmla="*/ 71717 w 4525636"/>
                <a:gd name="connsiteY3" fmla="*/ 3161266 h 3161266"/>
                <a:gd name="connsiteX4" fmla="*/ 0 w 4525636"/>
                <a:gd name="connsiteY4" fmla="*/ 484093 h 3161266"/>
                <a:gd name="connsiteX0" fmla="*/ 0 w 4525636"/>
                <a:gd name="connsiteY0" fmla="*/ 484093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84093 h 2390302"/>
                <a:gd name="connsiteX0" fmla="*/ 0 w 4525636"/>
                <a:gd name="connsiteY0" fmla="*/ 490069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90069 h 239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636" h="2390302">
                  <a:moveTo>
                    <a:pt x="0" y="490069"/>
                  </a:moveTo>
                  <a:lnTo>
                    <a:pt x="1901966" y="0"/>
                  </a:lnTo>
                  <a:lnTo>
                    <a:pt x="4525636" y="1499807"/>
                  </a:lnTo>
                  <a:lnTo>
                    <a:pt x="2271058" y="2390302"/>
                  </a:lnTo>
                  <a:lnTo>
                    <a:pt x="0" y="490069"/>
                  </a:lnTo>
                  <a:close/>
                </a:path>
              </a:pathLst>
            </a:custGeom>
            <a:solidFill>
              <a:schemeClr val="bg2">
                <a:alpha val="96863"/>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Arial" panose="020B0604020202020204" pitchFamily="34" charset="0"/>
                <a:ea typeface="Gill Sans Light" charset="0"/>
                <a:cs typeface="Arial" panose="020B0604020202020204" pitchFamily="34" charset="0"/>
              </a:endParaRPr>
            </a:p>
          </p:txBody>
        </p:sp>
        <p:sp>
          <p:nvSpPr>
            <p:cNvPr id="9" name="Rectangle 5"/>
            <p:cNvSpPr/>
            <p:nvPr/>
          </p:nvSpPr>
          <p:spPr>
            <a:xfrm>
              <a:off x="2883237" y="2331993"/>
              <a:ext cx="4525636" cy="2390302"/>
            </a:xfrm>
            <a:custGeom>
              <a:avLst/>
              <a:gdLst>
                <a:gd name="connsiteX0" fmla="*/ 0 w 4125213"/>
                <a:gd name="connsiteY0" fmla="*/ 0 h 2796702"/>
                <a:gd name="connsiteX1" fmla="*/ 4125213 w 4125213"/>
                <a:gd name="connsiteY1" fmla="*/ 0 h 2796702"/>
                <a:gd name="connsiteX2" fmla="*/ 4125213 w 4125213"/>
                <a:gd name="connsiteY2" fmla="*/ 2796702 h 2796702"/>
                <a:gd name="connsiteX3" fmla="*/ 0 w 4125213"/>
                <a:gd name="connsiteY3" fmla="*/ 2796702 h 2796702"/>
                <a:gd name="connsiteX4" fmla="*/ 0 w 4125213"/>
                <a:gd name="connsiteY4" fmla="*/ 0 h 2796702"/>
                <a:gd name="connsiteX0" fmla="*/ 0 w 4196930"/>
                <a:gd name="connsiteY0" fmla="*/ 119529 h 2796702"/>
                <a:gd name="connsiteX1" fmla="*/ 4196930 w 4196930"/>
                <a:gd name="connsiteY1" fmla="*/ 0 h 2796702"/>
                <a:gd name="connsiteX2" fmla="*/ 4196930 w 4196930"/>
                <a:gd name="connsiteY2" fmla="*/ 2796702 h 2796702"/>
                <a:gd name="connsiteX3" fmla="*/ 71717 w 4196930"/>
                <a:gd name="connsiteY3" fmla="*/ 2796702 h 2796702"/>
                <a:gd name="connsiteX4" fmla="*/ 0 w 4196930"/>
                <a:gd name="connsiteY4" fmla="*/ 119529 h 2796702"/>
                <a:gd name="connsiteX0" fmla="*/ 0 w 4196930"/>
                <a:gd name="connsiteY0" fmla="*/ 442258 h 3119431"/>
                <a:gd name="connsiteX1" fmla="*/ 1913919 w 4196930"/>
                <a:gd name="connsiteY1" fmla="*/ 0 h 3119431"/>
                <a:gd name="connsiteX2" fmla="*/ 4196930 w 4196930"/>
                <a:gd name="connsiteY2" fmla="*/ 3119431 h 3119431"/>
                <a:gd name="connsiteX3" fmla="*/ 71717 w 4196930"/>
                <a:gd name="connsiteY3" fmla="*/ 3119431 h 3119431"/>
                <a:gd name="connsiteX4" fmla="*/ 0 w 4196930"/>
                <a:gd name="connsiteY4" fmla="*/ 442258 h 3119431"/>
                <a:gd name="connsiteX0" fmla="*/ 0 w 4196930"/>
                <a:gd name="connsiteY0" fmla="*/ 609599 h 3286772"/>
                <a:gd name="connsiteX1" fmla="*/ 1943801 w 4196930"/>
                <a:gd name="connsiteY1" fmla="*/ 0 h 3286772"/>
                <a:gd name="connsiteX2" fmla="*/ 4196930 w 4196930"/>
                <a:gd name="connsiteY2" fmla="*/ 3286772 h 3286772"/>
                <a:gd name="connsiteX3" fmla="*/ 71717 w 4196930"/>
                <a:gd name="connsiteY3" fmla="*/ 3286772 h 3286772"/>
                <a:gd name="connsiteX4" fmla="*/ 0 w 4196930"/>
                <a:gd name="connsiteY4" fmla="*/ 609599 h 3286772"/>
                <a:gd name="connsiteX0" fmla="*/ 0 w 4196930"/>
                <a:gd name="connsiteY0" fmla="*/ 484093 h 3161266"/>
                <a:gd name="connsiteX1" fmla="*/ 1901966 w 4196930"/>
                <a:gd name="connsiteY1" fmla="*/ 0 h 3161266"/>
                <a:gd name="connsiteX2" fmla="*/ 4196930 w 4196930"/>
                <a:gd name="connsiteY2" fmla="*/ 3161266 h 3161266"/>
                <a:gd name="connsiteX3" fmla="*/ 71717 w 4196930"/>
                <a:gd name="connsiteY3" fmla="*/ 3161266 h 3161266"/>
                <a:gd name="connsiteX4" fmla="*/ 0 w 4196930"/>
                <a:gd name="connsiteY4" fmla="*/ 484093 h 3161266"/>
                <a:gd name="connsiteX0" fmla="*/ 0 w 4477824"/>
                <a:gd name="connsiteY0" fmla="*/ 484093 h 3161266"/>
                <a:gd name="connsiteX1" fmla="*/ 1901966 w 4477824"/>
                <a:gd name="connsiteY1" fmla="*/ 0 h 3161266"/>
                <a:gd name="connsiteX2" fmla="*/ 4477824 w 4477824"/>
                <a:gd name="connsiteY2" fmla="*/ 1804607 h 3161266"/>
                <a:gd name="connsiteX3" fmla="*/ 71717 w 4477824"/>
                <a:gd name="connsiteY3" fmla="*/ 3161266 h 3161266"/>
                <a:gd name="connsiteX4" fmla="*/ 0 w 4477824"/>
                <a:gd name="connsiteY4" fmla="*/ 484093 h 3161266"/>
                <a:gd name="connsiteX0" fmla="*/ 0 w 4525636"/>
                <a:gd name="connsiteY0" fmla="*/ 484093 h 3161266"/>
                <a:gd name="connsiteX1" fmla="*/ 1901966 w 4525636"/>
                <a:gd name="connsiteY1" fmla="*/ 0 h 3161266"/>
                <a:gd name="connsiteX2" fmla="*/ 4525636 w 4525636"/>
                <a:gd name="connsiteY2" fmla="*/ 1499807 h 3161266"/>
                <a:gd name="connsiteX3" fmla="*/ 71717 w 4525636"/>
                <a:gd name="connsiteY3" fmla="*/ 3161266 h 3161266"/>
                <a:gd name="connsiteX4" fmla="*/ 0 w 4525636"/>
                <a:gd name="connsiteY4" fmla="*/ 484093 h 3161266"/>
                <a:gd name="connsiteX0" fmla="*/ 0 w 4525636"/>
                <a:gd name="connsiteY0" fmla="*/ 484093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84093 h 2390302"/>
                <a:gd name="connsiteX0" fmla="*/ 0 w 4525636"/>
                <a:gd name="connsiteY0" fmla="*/ 490069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90069 h 239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636" h="2390302">
                  <a:moveTo>
                    <a:pt x="0" y="490069"/>
                  </a:moveTo>
                  <a:lnTo>
                    <a:pt x="1901966" y="0"/>
                  </a:lnTo>
                  <a:lnTo>
                    <a:pt x="4525636" y="1499807"/>
                  </a:lnTo>
                  <a:lnTo>
                    <a:pt x="2271058" y="2390302"/>
                  </a:lnTo>
                  <a:lnTo>
                    <a:pt x="0" y="490069"/>
                  </a:lnTo>
                  <a:close/>
                </a:path>
              </a:pathLst>
            </a:custGeom>
            <a:solidFill>
              <a:schemeClr val="accent1">
                <a:lumMod val="20000"/>
                <a:lumOff val="80000"/>
                <a:alpha val="96863"/>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Arial" panose="020B0604020202020204" pitchFamily="34" charset="0"/>
                <a:ea typeface="Gill Sans Light" charset="0"/>
                <a:cs typeface="Arial" panose="020B0604020202020204" pitchFamily="34" charset="0"/>
              </a:endParaRPr>
            </a:p>
          </p:txBody>
        </p:sp>
        <p:sp>
          <p:nvSpPr>
            <p:cNvPr id="12" name="Rectangle 5"/>
            <p:cNvSpPr/>
            <p:nvPr/>
          </p:nvSpPr>
          <p:spPr>
            <a:xfrm>
              <a:off x="3096367" y="1919607"/>
              <a:ext cx="4525636" cy="2390302"/>
            </a:xfrm>
            <a:custGeom>
              <a:avLst/>
              <a:gdLst>
                <a:gd name="connsiteX0" fmla="*/ 0 w 4125213"/>
                <a:gd name="connsiteY0" fmla="*/ 0 h 2796702"/>
                <a:gd name="connsiteX1" fmla="*/ 4125213 w 4125213"/>
                <a:gd name="connsiteY1" fmla="*/ 0 h 2796702"/>
                <a:gd name="connsiteX2" fmla="*/ 4125213 w 4125213"/>
                <a:gd name="connsiteY2" fmla="*/ 2796702 h 2796702"/>
                <a:gd name="connsiteX3" fmla="*/ 0 w 4125213"/>
                <a:gd name="connsiteY3" fmla="*/ 2796702 h 2796702"/>
                <a:gd name="connsiteX4" fmla="*/ 0 w 4125213"/>
                <a:gd name="connsiteY4" fmla="*/ 0 h 2796702"/>
                <a:gd name="connsiteX0" fmla="*/ 0 w 4196930"/>
                <a:gd name="connsiteY0" fmla="*/ 119529 h 2796702"/>
                <a:gd name="connsiteX1" fmla="*/ 4196930 w 4196930"/>
                <a:gd name="connsiteY1" fmla="*/ 0 h 2796702"/>
                <a:gd name="connsiteX2" fmla="*/ 4196930 w 4196930"/>
                <a:gd name="connsiteY2" fmla="*/ 2796702 h 2796702"/>
                <a:gd name="connsiteX3" fmla="*/ 71717 w 4196930"/>
                <a:gd name="connsiteY3" fmla="*/ 2796702 h 2796702"/>
                <a:gd name="connsiteX4" fmla="*/ 0 w 4196930"/>
                <a:gd name="connsiteY4" fmla="*/ 119529 h 2796702"/>
                <a:gd name="connsiteX0" fmla="*/ 0 w 4196930"/>
                <a:gd name="connsiteY0" fmla="*/ 442258 h 3119431"/>
                <a:gd name="connsiteX1" fmla="*/ 1913919 w 4196930"/>
                <a:gd name="connsiteY1" fmla="*/ 0 h 3119431"/>
                <a:gd name="connsiteX2" fmla="*/ 4196930 w 4196930"/>
                <a:gd name="connsiteY2" fmla="*/ 3119431 h 3119431"/>
                <a:gd name="connsiteX3" fmla="*/ 71717 w 4196930"/>
                <a:gd name="connsiteY3" fmla="*/ 3119431 h 3119431"/>
                <a:gd name="connsiteX4" fmla="*/ 0 w 4196930"/>
                <a:gd name="connsiteY4" fmla="*/ 442258 h 3119431"/>
                <a:gd name="connsiteX0" fmla="*/ 0 w 4196930"/>
                <a:gd name="connsiteY0" fmla="*/ 609599 h 3286772"/>
                <a:gd name="connsiteX1" fmla="*/ 1943801 w 4196930"/>
                <a:gd name="connsiteY1" fmla="*/ 0 h 3286772"/>
                <a:gd name="connsiteX2" fmla="*/ 4196930 w 4196930"/>
                <a:gd name="connsiteY2" fmla="*/ 3286772 h 3286772"/>
                <a:gd name="connsiteX3" fmla="*/ 71717 w 4196930"/>
                <a:gd name="connsiteY3" fmla="*/ 3286772 h 3286772"/>
                <a:gd name="connsiteX4" fmla="*/ 0 w 4196930"/>
                <a:gd name="connsiteY4" fmla="*/ 609599 h 3286772"/>
                <a:gd name="connsiteX0" fmla="*/ 0 w 4196930"/>
                <a:gd name="connsiteY0" fmla="*/ 484093 h 3161266"/>
                <a:gd name="connsiteX1" fmla="*/ 1901966 w 4196930"/>
                <a:gd name="connsiteY1" fmla="*/ 0 h 3161266"/>
                <a:gd name="connsiteX2" fmla="*/ 4196930 w 4196930"/>
                <a:gd name="connsiteY2" fmla="*/ 3161266 h 3161266"/>
                <a:gd name="connsiteX3" fmla="*/ 71717 w 4196930"/>
                <a:gd name="connsiteY3" fmla="*/ 3161266 h 3161266"/>
                <a:gd name="connsiteX4" fmla="*/ 0 w 4196930"/>
                <a:gd name="connsiteY4" fmla="*/ 484093 h 3161266"/>
                <a:gd name="connsiteX0" fmla="*/ 0 w 4477824"/>
                <a:gd name="connsiteY0" fmla="*/ 484093 h 3161266"/>
                <a:gd name="connsiteX1" fmla="*/ 1901966 w 4477824"/>
                <a:gd name="connsiteY1" fmla="*/ 0 h 3161266"/>
                <a:gd name="connsiteX2" fmla="*/ 4477824 w 4477824"/>
                <a:gd name="connsiteY2" fmla="*/ 1804607 h 3161266"/>
                <a:gd name="connsiteX3" fmla="*/ 71717 w 4477824"/>
                <a:gd name="connsiteY3" fmla="*/ 3161266 h 3161266"/>
                <a:gd name="connsiteX4" fmla="*/ 0 w 4477824"/>
                <a:gd name="connsiteY4" fmla="*/ 484093 h 3161266"/>
                <a:gd name="connsiteX0" fmla="*/ 0 w 4525636"/>
                <a:gd name="connsiteY0" fmla="*/ 484093 h 3161266"/>
                <a:gd name="connsiteX1" fmla="*/ 1901966 w 4525636"/>
                <a:gd name="connsiteY1" fmla="*/ 0 h 3161266"/>
                <a:gd name="connsiteX2" fmla="*/ 4525636 w 4525636"/>
                <a:gd name="connsiteY2" fmla="*/ 1499807 h 3161266"/>
                <a:gd name="connsiteX3" fmla="*/ 71717 w 4525636"/>
                <a:gd name="connsiteY3" fmla="*/ 3161266 h 3161266"/>
                <a:gd name="connsiteX4" fmla="*/ 0 w 4525636"/>
                <a:gd name="connsiteY4" fmla="*/ 484093 h 3161266"/>
                <a:gd name="connsiteX0" fmla="*/ 0 w 4525636"/>
                <a:gd name="connsiteY0" fmla="*/ 484093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84093 h 2390302"/>
                <a:gd name="connsiteX0" fmla="*/ 0 w 4525636"/>
                <a:gd name="connsiteY0" fmla="*/ 490069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90069 h 239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636" h="2390302">
                  <a:moveTo>
                    <a:pt x="0" y="490069"/>
                  </a:moveTo>
                  <a:lnTo>
                    <a:pt x="1901966" y="0"/>
                  </a:lnTo>
                  <a:lnTo>
                    <a:pt x="4525636" y="1499807"/>
                  </a:lnTo>
                  <a:lnTo>
                    <a:pt x="2271058" y="2390302"/>
                  </a:lnTo>
                  <a:lnTo>
                    <a:pt x="0" y="490069"/>
                  </a:lnTo>
                  <a:close/>
                </a:path>
              </a:pathLst>
            </a:custGeom>
            <a:solidFill>
              <a:schemeClr val="accent1">
                <a:lumMod val="40000"/>
                <a:lumOff val="60000"/>
                <a:alpha val="96863"/>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Arial" panose="020B0604020202020204" pitchFamily="34" charset="0"/>
                <a:ea typeface="Gill Sans Light" charset="0"/>
                <a:cs typeface="Arial" panose="020B0604020202020204" pitchFamily="34" charset="0"/>
              </a:endParaRPr>
            </a:p>
          </p:txBody>
        </p:sp>
        <p:sp>
          <p:nvSpPr>
            <p:cNvPr id="13" name="Rectangle 5"/>
            <p:cNvSpPr/>
            <p:nvPr/>
          </p:nvSpPr>
          <p:spPr>
            <a:xfrm>
              <a:off x="3330485" y="1501731"/>
              <a:ext cx="4525636" cy="2390302"/>
            </a:xfrm>
            <a:custGeom>
              <a:avLst/>
              <a:gdLst>
                <a:gd name="connsiteX0" fmla="*/ 0 w 4125213"/>
                <a:gd name="connsiteY0" fmla="*/ 0 h 2796702"/>
                <a:gd name="connsiteX1" fmla="*/ 4125213 w 4125213"/>
                <a:gd name="connsiteY1" fmla="*/ 0 h 2796702"/>
                <a:gd name="connsiteX2" fmla="*/ 4125213 w 4125213"/>
                <a:gd name="connsiteY2" fmla="*/ 2796702 h 2796702"/>
                <a:gd name="connsiteX3" fmla="*/ 0 w 4125213"/>
                <a:gd name="connsiteY3" fmla="*/ 2796702 h 2796702"/>
                <a:gd name="connsiteX4" fmla="*/ 0 w 4125213"/>
                <a:gd name="connsiteY4" fmla="*/ 0 h 2796702"/>
                <a:gd name="connsiteX0" fmla="*/ 0 w 4196930"/>
                <a:gd name="connsiteY0" fmla="*/ 119529 h 2796702"/>
                <a:gd name="connsiteX1" fmla="*/ 4196930 w 4196930"/>
                <a:gd name="connsiteY1" fmla="*/ 0 h 2796702"/>
                <a:gd name="connsiteX2" fmla="*/ 4196930 w 4196930"/>
                <a:gd name="connsiteY2" fmla="*/ 2796702 h 2796702"/>
                <a:gd name="connsiteX3" fmla="*/ 71717 w 4196930"/>
                <a:gd name="connsiteY3" fmla="*/ 2796702 h 2796702"/>
                <a:gd name="connsiteX4" fmla="*/ 0 w 4196930"/>
                <a:gd name="connsiteY4" fmla="*/ 119529 h 2796702"/>
                <a:gd name="connsiteX0" fmla="*/ 0 w 4196930"/>
                <a:gd name="connsiteY0" fmla="*/ 442258 h 3119431"/>
                <a:gd name="connsiteX1" fmla="*/ 1913919 w 4196930"/>
                <a:gd name="connsiteY1" fmla="*/ 0 h 3119431"/>
                <a:gd name="connsiteX2" fmla="*/ 4196930 w 4196930"/>
                <a:gd name="connsiteY2" fmla="*/ 3119431 h 3119431"/>
                <a:gd name="connsiteX3" fmla="*/ 71717 w 4196930"/>
                <a:gd name="connsiteY3" fmla="*/ 3119431 h 3119431"/>
                <a:gd name="connsiteX4" fmla="*/ 0 w 4196930"/>
                <a:gd name="connsiteY4" fmla="*/ 442258 h 3119431"/>
                <a:gd name="connsiteX0" fmla="*/ 0 w 4196930"/>
                <a:gd name="connsiteY0" fmla="*/ 609599 h 3286772"/>
                <a:gd name="connsiteX1" fmla="*/ 1943801 w 4196930"/>
                <a:gd name="connsiteY1" fmla="*/ 0 h 3286772"/>
                <a:gd name="connsiteX2" fmla="*/ 4196930 w 4196930"/>
                <a:gd name="connsiteY2" fmla="*/ 3286772 h 3286772"/>
                <a:gd name="connsiteX3" fmla="*/ 71717 w 4196930"/>
                <a:gd name="connsiteY3" fmla="*/ 3286772 h 3286772"/>
                <a:gd name="connsiteX4" fmla="*/ 0 w 4196930"/>
                <a:gd name="connsiteY4" fmla="*/ 609599 h 3286772"/>
                <a:gd name="connsiteX0" fmla="*/ 0 w 4196930"/>
                <a:gd name="connsiteY0" fmla="*/ 484093 h 3161266"/>
                <a:gd name="connsiteX1" fmla="*/ 1901966 w 4196930"/>
                <a:gd name="connsiteY1" fmla="*/ 0 h 3161266"/>
                <a:gd name="connsiteX2" fmla="*/ 4196930 w 4196930"/>
                <a:gd name="connsiteY2" fmla="*/ 3161266 h 3161266"/>
                <a:gd name="connsiteX3" fmla="*/ 71717 w 4196930"/>
                <a:gd name="connsiteY3" fmla="*/ 3161266 h 3161266"/>
                <a:gd name="connsiteX4" fmla="*/ 0 w 4196930"/>
                <a:gd name="connsiteY4" fmla="*/ 484093 h 3161266"/>
                <a:gd name="connsiteX0" fmla="*/ 0 w 4477824"/>
                <a:gd name="connsiteY0" fmla="*/ 484093 h 3161266"/>
                <a:gd name="connsiteX1" fmla="*/ 1901966 w 4477824"/>
                <a:gd name="connsiteY1" fmla="*/ 0 h 3161266"/>
                <a:gd name="connsiteX2" fmla="*/ 4477824 w 4477824"/>
                <a:gd name="connsiteY2" fmla="*/ 1804607 h 3161266"/>
                <a:gd name="connsiteX3" fmla="*/ 71717 w 4477824"/>
                <a:gd name="connsiteY3" fmla="*/ 3161266 h 3161266"/>
                <a:gd name="connsiteX4" fmla="*/ 0 w 4477824"/>
                <a:gd name="connsiteY4" fmla="*/ 484093 h 3161266"/>
                <a:gd name="connsiteX0" fmla="*/ 0 w 4525636"/>
                <a:gd name="connsiteY0" fmla="*/ 484093 h 3161266"/>
                <a:gd name="connsiteX1" fmla="*/ 1901966 w 4525636"/>
                <a:gd name="connsiteY1" fmla="*/ 0 h 3161266"/>
                <a:gd name="connsiteX2" fmla="*/ 4525636 w 4525636"/>
                <a:gd name="connsiteY2" fmla="*/ 1499807 h 3161266"/>
                <a:gd name="connsiteX3" fmla="*/ 71717 w 4525636"/>
                <a:gd name="connsiteY3" fmla="*/ 3161266 h 3161266"/>
                <a:gd name="connsiteX4" fmla="*/ 0 w 4525636"/>
                <a:gd name="connsiteY4" fmla="*/ 484093 h 3161266"/>
                <a:gd name="connsiteX0" fmla="*/ 0 w 4525636"/>
                <a:gd name="connsiteY0" fmla="*/ 484093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84093 h 2390302"/>
                <a:gd name="connsiteX0" fmla="*/ 0 w 4525636"/>
                <a:gd name="connsiteY0" fmla="*/ 490069 h 2390302"/>
                <a:gd name="connsiteX1" fmla="*/ 1901966 w 4525636"/>
                <a:gd name="connsiteY1" fmla="*/ 0 h 2390302"/>
                <a:gd name="connsiteX2" fmla="*/ 4525636 w 4525636"/>
                <a:gd name="connsiteY2" fmla="*/ 1499807 h 2390302"/>
                <a:gd name="connsiteX3" fmla="*/ 2271058 w 4525636"/>
                <a:gd name="connsiteY3" fmla="*/ 2390302 h 2390302"/>
                <a:gd name="connsiteX4" fmla="*/ 0 w 4525636"/>
                <a:gd name="connsiteY4" fmla="*/ 490069 h 239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636" h="2390302">
                  <a:moveTo>
                    <a:pt x="0" y="490069"/>
                  </a:moveTo>
                  <a:lnTo>
                    <a:pt x="1901966" y="0"/>
                  </a:lnTo>
                  <a:lnTo>
                    <a:pt x="4525636" y="1499807"/>
                  </a:lnTo>
                  <a:lnTo>
                    <a:pt x="2271058" y="2390302"/>
                  </a:lnTo>
                  <a:lnTo>
                    <a:pt x="0" y="490069"/>
                  </a:lnTo>
                  <a:close/>
                </a:path>
              </a:pathLst>
            </a:custGeom>
            <a:solidFill>
              <a:schemeClr val="accent1">
                <a:lumMod val="60000"/>
                <a:lumOff val="40000"/>
                <a:alpha val="96863"/>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Arial" panose="020B0604020202020204" pitchFamily="34" charset="0"/>
                <a:ea typeface="Gill Sans Light" charset="0"/>
                <a:cs typeface="Arial" panose="020B0604020202020204" pitchFamily="34" charset="0"/>
              </a:endParaRPr>
            </a:p>
          </p:txBody>
        </p:sp>
        <p:sp>
          <p:nvSpPr>
            <p:cNvPr id="14" name="TextBox 13"/>
            <p:cNvSpPr txBox="1"/>
            <p:nvPr/>
          </p:nvSpPr>
          <p:spPr>
            <a:xfrm>
              <a:off x="1809998" y="1729204"/>
              <a:ext cx="2095410" cy="278643"/>
            </a:xfrm>
            <a:prstGeom prst="rect">
              <a:avLst/>
            </a:prstGeom>
            <a:noFill/>
          </p:spPr>
          <p:txBody>
            <a:bodyPr wrap="square" rtlCol="0">
              <a:spAutoFit/>
            </a:bodyPr>
            <a:lstStyle/>
            <a:p>
              <a:pPr algn="ctr"/>
              <a:r>
                <a:rPr lang="en-US" sz="1100">
                  <a:solidFill>
                    <a:schemeClr val="tx1">
                      <a:lumMod val="65000"/>
                      <a:lumOff val="35000"/>
                    </a:schemeClr>
                  </a:solidFill>
                  <a:latin typeface="Arial" panose="020B0604020202020204" pitchFamily="34" charset="0"/>
                  <a:ea typeface="Gill Sans Light" charset="0"/>
                  <a:cs typeface="Arial" panose="020B0604020202020204" pitchFamily="34" charset="0"/>
                </a:rPr>
                <a:t>Front-end value</a:t>
              </a:r>
            </a:p>
          </p:txBody>
        </p:sp>
        <p:sp>
          <p:nvSpPr>
            <p:cNvPr id="15" name="TextBox 14"/>
            <p:cNvSpPr txBox="1"/>
            <p:nvPr/>
          </p:nvSpPr>
          <p:spPr>
            <a:xfrm>
              <a:off x="1111233" y="3095571"/>
              <a:ext cx="2095410" cy="278643"/>
            </a:xfrm>
            <a:prstGeom prst="rect">
              <a:avLst/>
            </a:prstGeom>
            <a:noFill/>
          </p:spPr>
          <p:txBody>
            <a:bodyPr wrap="square" rtlCol="0">
              <a:spAutoFit/>
            </a:bodyPr>
            <a:lstStyle/>
            <a:p>
              <a:pPr algn="ctr"/>
              <a:r>
                <a:rPr lang="en-US" sz="1100" dirty="0">
                  <a:solidFill>
                    <a:schemeClr val="tx1">
                      <a:lumMod val="65000"/>
                      <a:lumOff val="35000"/>
                    </a:schemeClr>
                  </a:solidFill>
                  <a:latin typeface="Arial" panose="020B0604020202020204" pitchFamily="34" charset="0"/>
                  <a:ea typeface="Gill Sans Light" charset="0"/>
                  <a:cs typeface="Arial" panose="020B0604020202020204" pitchFamily="34" charset="0"/>
                </a:rPr>
                <a:t>Back-end value</a:t>
              </a:r>
            </a:p>
          </p:txBody>
        </p:sp>
        <p:grpSp>
          <p:nvGrpSpPr>
            <p:cNvPr id="16" name="Group 15"/>
            <p:cNvGrpSpPr/>
            <p:nvPr/>
          </p:nvGrpSpPr>
          <p:grpSpPr>
            <a:xfrm>
              <a:off x="7139987" y="3621579"/>
              <a:ext cx="3725953" cy="155281"/>
              <a:chOff x="4849015" y="2357795"/>
              <a:chExt cx="4310461" cy="179641"/>
            </a:xfrm>
          </p:grpSpPr>
          <p:cxnSp>
            <p:nvCxnSpPr>
              <p:cNvPr id="17" name="Straight Connector 16"/>
              <p:cNvCxnSpPr/>
              <p:nvPr/>
            </p:nvCxnSpPr>
            <p:spPr>
              <a:xfrm flipV="1">
                <a:off x="4849015" y="2357795"/>
                <a:ext cx="1882775" cy="179641"/>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723915" y="2358257"/>
                <a:ext cx="2435561" cy="0"/>
              </a:xfrm>
              <a:prstGeom prst="line">
                <a:avLst/>
              </a:prstGeom>
              <a:ln w="28575">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6830216" y="4692322"/>
              <a:ext cx="2920775" cy="379391"/>
              <a:chOff x="5780506" y="1928254"/>
              <a:chExt cx="3378970" cy="438907"/>
            </a:xfrm>
          </p:grpSpPr>
          <p:cxnSp>
            <p:nvCxnSpPr>
              <p:cNvPr id="20" name="Straight Connector 19"/>
              <p:cNvCxnSpPr/>
              <p:nvPr/>
            </p:nvCxnSpPr>
            <p:spPr>
              <a:xfrm>
                <a:off x="5780506" y="1928254"/>
                <a:ext cx="958769" cy="438907"/>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723915" y="2358257"/>
                <a:ext cx="2435561" cy="0"/>
              </a:xfrm>
              <a:prstGeom prst="line">
                <a:avLst/>
              </a:prstGeom>
              <a:ln w="28575">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6398798" y="1640407"/>
              <a:ext cx="2557609" cy="540097"/>
              <a:chOff x="6200643" y="2358257"/>
              <a:chExt cx="2958833" cy="624824"/>
            </a:xfrm>
          </p:grpSpPr>
          <p:cxnSp>
            <p:nvCxnSpPr>
              <p:cNvPr id="23" name="Straight Connector 22"/>
              <p:cNvCxnSpPr/>
              <p:nvPr/>
            </p:nvCxnSpPr>
            <p:spPr>
              <a:xfrm flipV="1">
                <a:off x="6200643" y="2367161"/>
                <a:ext cx="538630" cy="61592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723915" y="2358257"/>
                <a:ext cx="2435561" cy="0"/>
              </a:xfrm>
              <a:prstGeom prst="line">
                <a:avLst/>
              </a:prstGeom>
              <a:ln w="28575">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25" name="TextBox 24"/>
            <p:cNvSpPr txBox="1"/>
            <p:nvPr/>
          </p:nvSpPr>
          <p:spPr>
            <a:xfrm>
              <a:off x="7687203" y="5141696"/>
              <a:ext cx="2060812" cy="327815"/>
            </a:xfrm>
            <a:prstGeom prst="rect">
              <a:avLst/>
            </a:prstGeom>
            <a:noFill/>
          </p:spPr>
          <p:txBody>
            <a:bodyPr wrap="square" rtlCol="0">
              <a:spAutoFit/>
            </a:bodyPr>
            <a:lstStyle/>
            <a:p>
              <a:pPr algn="ctr"/>
              <a:r>
                <a:rPr lang="en-US" sz="1400" dirty="0">
                  <a:latin typeface="Arial" panose="020B0604020202020204" pitchFamily="34" charset="0"/>
                  <a:ea typeface="Gill Sans Light" charset="0"/>
                  <a:cs typeface="Arial" panose="020B0604020202020204" pitchFamily="34" charset="0"/>
                </a:rPr>
                <a:t>Maps</a:t>
              </a:r>
            </a:p>
          </p:txBody>
        </p:sp>
        <p:sp>
          <p:nvSpPr>
            <p:cNvPr id="26" name="TextBox 25"/>
            <p:cNvSpPr txBox="1"/>
            <p:nvPr/>
          </p:nvSpPr>
          <p:spPr>
            <a:xfrm>
              <a:off x="8782887" y="3694050"/>
              <a:ext cx="2060812" cy="327815"/>
            </a:xfrm>
            <a:prstGeom prst="rect">
              <a:avLst/>
            </a:prstGeom>
            <a:noFill/>
          </p:spPr>
          <p:txBody>
            <a:bodyPr wrap="square" rtlCol="0">
              <a:spAutoFit/>
            </a:bodyPr>
            <a:lstStyle/>
            <a:p>
              <a:pPr algn="ctr"/>
              <a:r>
                <a:rPr lang="en-US" sz="1400" dirty="0">
                  <a:latin typeface="Arial" panose="020B0604020202020204" pitchFamily="34" charset="0"/>
                  <a:ea typeface="Gill Sans Light" charset="0"/>
                  <a:cs typeface="Arial" panose="020B0604020202020204" pitchFamily="34" charset="0"/>
                </a:rPr>
                <a:t>Multi-dot</a:t>
              </a:r>
            </a:p>
          </p:txBody>
        </p:sp>
        <p:sp>
          <p:nvSpPr>
            <p:cNvPr id="27" name="TextBox 26"/>
            <p:cNvSpPr txBox="1"/>
            <p:nvPr/>
          </p:nvSpPr>
          <p:spPr>
            <a:xfrm>
              <a:off x="6892620" y="1718089"/>
              <a:ext cx="2060812" cy="499918"/>
            </a:xfrm>
            <a:prstGeom prst="rect">
              <a:avLst/>
            </a:prstGeom>
            <a:noFill/>
          </p:spPr>
          <p:txBody>
            <a:bodyPr wrap="square" rtlCol="0">
              <a:spAutoFit/>
            </a:bodyPr>
            <a:lstStyle/>
            <a:p>
              <a:pPr algn="ctr"/>
              <a:r>
                <a:rPr lang="en-US" sz="1400" dirty="0">
                  <a:latin typeface="Arial" panose="020B0604020202020204" pitchFamily="34" charset="0"/>
                  <a:ea typeface="Gill Sans Light" charset="0"/>
                  <a:cs typeface="Arial" panose="020B0604020202020204" pitchFamily="34" charset="0"/>
                </a:rPr>
                <a:t>Ease of Use </a:t>
              </a:r>
            </a:p>
            <a:p>
              <a:pPr algn="ctr"/>
              <a:r>
                <a:rPr lang="en-US" sz="1050" dirty="0">
                  <a:latin typeface="Arial" panose="020B0604020202020204" pitchFamily="34" charset="0"/>
                  <a:ea typeface="Gill Sans Light" charset="0"/>
                  <a:cs typeface="Arial" panose="020B0604020202020204" pitchFamily="34" charset="0"/>
                </a:rPr>
                <a:t>Layout, Design, Speed</a:t>
              </a:r>
            </a:p>
          </p:txBody>
        </p:sp>
        <p:grpSp>
          <p:nvGrpSpPr>
            <p:cNvPr id="31" name="Group 30"/>
            <p:cNvGrpSpPr/>
            <p:nvPr/>
          </p:nvGrpSpPr>
          <p:grpSpPr>
            <a:xfrm>
              <a:off x="7443699" y="2551504"/>
              <a:ext cx="3113640" cy="805676"/>
              <a:chOff x="5557385" y="2358257"/>
              <a:chExt cx="3602091" cy="932065"/>
            </a:xfrm>
          </p:grpSpPr>
          <p:cxnSp>
            <p:nvCxnSpPr>
              <p:cNvPr id="32" name="Straight Connector 31"/>
              <p:cNvCxnSpPr/>
              <p:nvPr/>
            </p:nvCxnSpPr>
            <p:spPr>
              <a:xfrm flipV="1">
                <a:off x="5557385" y="2367162"/>
                <a:ext cx="1181889" cy="92316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723915" y="2358257"/>
                <a:ext cx="2435561" cy="0"/>
              </a:xfrm>
              <a:prstGeom prst="line">
                <a:avLst/>
              </a:prstGeom>
              <a:ln w="28575">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34" name="TextBox 33"/>
            <p:cNvSpPr txBox="1"/>
            <p:nvPr/>
          </p:nvSpPr>
          <p:spPr>
            <a:xfrm>
              <a:off x="8493551" y="2629186"/>
              <a:ext cx="2060812" cy="327815"/>
            </a:xfrm>
            <a:prstGeom prst="rect">
              <a:avLst/>
            </a:prstGeom>
            <a:noFill/>
          </p:spPr>
          <p:txBody>
            <a:bodyPr wrap="square" rtlCol="0">
              <a:spAutoFit/>
            </a:bodyPr>
            <a:lstStyle/>
            <a:p>
              <a:pPr algn="ctr"/>
              <a:r>
                <a:rPr lang="en-US" sz="1400" dirty="0">
                  <a:latin typeface="Arial" panose="020B0604020202020204" pitchFamily="34" charset="0"/>
                  <a:ea typeface="Gill Sans Light" charset="0"/>
                  <a:cs typeface="Arial" panose="020B0604020202020204" pitchFamily="34" charset="0"/>
                </a:rPr>
                <a:t>Indoor Wayfinding</a:t>
              </a:r>
              <a:endParaRPr lang="en-US" sz="1050" dirty="0">
                <a:latin typeface="Arial" panose="020B0604020202020204" pitchFamily="34" charset="0"/>
                <a:ea typeface="Gill Sans Light" charset="0"/>
                <a:cs typeface="Arial" panose="020B0604020202020204" pitchFamily="34" charset="0"/>
              </a:endParaRPr>
            </a:p>
          </p:txBody>
        </p:sp>
        <p:grpSp>
          <p:nvGrpSpPr>
            <p:cNvPr id="36" name="Group 35"/>
            <p:cNvGrpSpPr/>
            <p:nvPr/>
          </p:nvGrpSpPr>
          <p:grpSpPr>
            <a:xfrm>
              <a:off x="6992595" y="4119432"/>
              <a:ext cx="3438735" cy="212841"/>
              <a:chOff x="5181291" y="2112028"/>
              <a:chExt cx="3978185" cy="246229"/>
            </a:xfrm>
          </p:grpSpPr>
          <p:cxnSp>
            <p:nvCxnSpPr>
              <p:cNvPr id="37" name="Straight Connector 36"/>
              <p:cNvCxnSpPr/>
              <p:nvPr/>
            </p:nvCxnSpPr>
            <p:spPr>
              <a:xfrm>
                <a:off x="5181291" y="2112028"/>
                <a:ext cx="1550499" cy="245767"/>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723915" y="2358257"/>
                <a:ext cx="2435561" cy="0"/>
              </a:xfrm>
              <a:prstGeom prst="line">
                <a:avLst/>
              </a:prstGeom>
              <a:ln w="28575">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a:xfrm>
              <a:off x="8348276" y="4404329"/>
              <a:ext cx="2060812" cy="327815"/>
            </a:xfrm>
            <a:prstGeom prst="rect">
              <a:avLst/>
            </a:prstGeom>
            <a:noFill/>
          </p:spPr>
          <p:txBody>
            <a:bodyPr wrap="square" rtlCol="0">
              <a:spAutoFit/>
            </a:bodyPr>
            <a:lstStyle/>
            <a:p>
              <a:pPr algn="ctr"/>
              <a:r>
                <a:rPr lang="en-US" sz="1400" dirty="0">
                  <a:latin typeface="Arial" panose="020B0604020202020204" pitchFamily="34" charset="0"/>
                  <a:ea typeface="Gill Sans Light" charset="0"/>
                  <a:cs typeface="Arial" panose="020B0604020202020204" pitchFamily="34" charset="0"/>
                </a:rPr>
                <a:t>Tracking capability</a:t>
              </a:r>
            </a:p>
          </p:txBody>
        </p:sp>
      </p:grpSp>
      <p:cxnSp>
        <p:nvCxnSpPr>
          <p:cNvPr id="47" name="Straight Arrow Connector 46"/>
          <p:cNvCxnSpPr/>
          <p:nvPr/>
        </p:nvCxnSpPr>
        <p:spPr>
          <a:xfrm flipV="1">
            <a:off x="2716306" y="2218765"/>
            <a:ext cx="618565" cy="82027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Ellipse 24"/>
          <p:cNvSpPr/>
          <p:nvPr/>
        </p:nvSpPr>
        <p:spPr>
          <a:xfrm>
            <a:off x="8039830" y="4855332"/>
            <a:ext cx="1285379" cy="730685"/>
          </a:xfrm>
          <a:prstGeom prst="ellipse">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53" name="Ellipse 24"/>
          <p:cNvSpPr/>
          <p:nvPr/>
        </p:nvSpPr>
        <p:spPr>
          <a:xfrm>
            <a:off x="8411954" y="4183783"/>
            <a:ext cx="1768330" cy="676336"/>
          </a:xfrm>
          <a:prstGeom prst="ellipse">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4941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9B76CE-A0E3-D341-9AE4-1251C64031BF}"/>
              </a:ext>
            </a:extLst>
          </p:cNvPr>
          <p:cNvSpPr>
            <a:spLocks noGrp="1"/>
          </p:cNvSpPr>
          <p:nvPr>
            <p:ph type="body" sz="quarter" idx="13"/>
          </p:nvPr>
        </p:nvSpPr>
        <p:spPr/>
        <p:txBody>
          <a:bodyPr/>
          <a:lstStyle/>
          <a:p>
            <a:endParaRPr lang="en-GB"/>
          </a:p>
        </p:txBody>
      </p:sp>
      <p:sp>
        <p:nvSpPr>
          <p:cNvPr id="21" name="Text Placeholder 20">
            <a:extLst>
              <a:ext uri="{FF2B5EF4-FFF2-40B4-BE49-F238E27FC236}">
                <a16:creationId xmlns:a16="http://schemas.microsoft.com/office/drawing/2014/main" id="{2C49DA0C-373D-644B-8F0F-37E9CE1AA534}"/>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a:t>Visual elements</a:t>
            </a:r>
          </a:p>
        </p:txBody>
      </p:sp>
      <p:grpSp>
        <p:nvGrpSpPr>
          <p:cNvPr id="5" name="Group 3"/>
          <p:cNvGrpSpPr>
            <a:grpSpLocks/>
          </p:cNvGrpSpPr>
          <p:nvPr/>
        </p:nvGrpSpPr>
        <p:grpSpPr bwMode="auto">
          <a:xfrm>
            <a:off x="798232" y="2726262"/>
            <a:ext cx="3460982" cy="1421780"/>
            <a:chOff x="1390" y="1488"/>
            <a:chExt cx="3593" cy="1565"/>
          </a:xfrm>
        </p:grpSpPr>
        <p:pic>
          <p:nvPicPr>
            <p:cNvPr id="6" name="Picture 4" descr="Newspaper clipping_Small"/>
            <p:cNvPicPr preferRelativeResize="0">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90" y="1488"/>
              <a:ext cx="3593" cy="1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5"/>
            <p:cNvSpPr txBox="1">
              <a:spLocks noChangeArrowheads="1"/>
            </p:cNvSpPr>
            <p:nvPr/>
          </p:nvSpPr>
          <p:spPr bwMode="auto">
            <a:xfrm rot="-303798">
              <a:off x="2722" y="2091"/>
              <a:ext cx="931"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50000"/>
                </a:spcBef>
              </a:pPr>
              <a:r>
                <a:rPr lang="en-GB" altLang="en-US" b="1"/>
                <a:t>Text</a:t>
              </a:r>
            </a:p>
          </p:txBody>
        </p:sp>
      </p:grpSp>
      <p:grpSp>
        <p:nvGrpSpPr>
          <p:cNvPr id="33" name="Group 32"/>
          <p:cNvGrpSpPr/>
          <p:nvPr/>
        </p:nvGrpSpPr>
        <p:grpSpPr>
          <a:xfrm>
            <a:off x="6095311" y="1632934"/>
            <a:ext cx="3802681" cy="3727507"/>
            <a:chOff x="5608948" y="1468961"/>
            <a:chExt cx="4348162" cy="4365625"/>
          </a:xfrm>
        </p:grpSpPr>
        <p:grpSp>
          <p:nvGrpSpPr>
            <p:cNvPr id="9" name="Group 3"/>
            <p:cNvGrpSpPr>
              <a:grpSpLocks/>
            </p:cNvGrpSpPr>
            <p:nvPr/>
          </p:nvGrpSpPr>
          <p:grpSpPr bwMode="auto">
            <a:xfrm>
              <a:off x="5608948" y="1468961"/>
              <a:ext cx="4348162" cy="800100"/>
              <a:chOff x="1749" y="1129"/>
              <a:chExt cx="2739" cy="504"/>
            </a:xfrm>
          </p:grpSpPr>
          <p:sp>
            <p:nvSpPr>
              <p:cNvPr id="10" name="Freeform 4"/>
              <p:cNvSpPr>
                <a:spLocks/>
              </p:cNvSpPr>
              <p:nvPr/>
            </p:nvSpPr>
            <p:spPr bwMode="auto">
              <a:xfrm>
                <a:off x="1749" y="1129"/>
                <a:ext cx="2739" cy="504"/>
              </a:xfrm>
              <a:custGeom>
                <a:avLst/>
                <a:gdLst>
                  <a:gd name="T0" fmla="*/ 0 w 5004"/>
                  <a:gd name="T1" fmla="*/ 0 h 1288"/>
                  <a:gd name="T2" fmla="*/ 2739 w 5004"/>
                  <a:gd name="T3" fmla="*/ 474 h 1288"/>
                  <a:gd name="T4" fmla="*/ 2716 w 5004"/>
                  <a:gd name="T5" fmla="*/ 482 h 1288"/>
                  <a:gd name="T6" fmla="*/ 2667 w 5004"/>
                  <a:gd name="T7" fmla="*/ 474 h 1288"/>
                  <a:gd name="T8" fmla="*/ 2598 w 5004"/>
                  <a:gd name="T9" fmla="*/ 470 h 1288"/>
                  <a:gd name="T10" fmla="*/ 2542 w 5004"/>
                  <a:gd name="T11" fmla="*/ 474 h 1288"/>
                  <a:gd name="T12" fmla="*/ 2483 w 5004"/>
                  <a:gd name="T13" fmla="*/ 465 h 1288"/>
                  <a:gd name="T14" fmla="*/ 2452 w 5004"/>
                  <a:gd name="T15" fmla="*/ 455 h 1288"/>
                  <a:gd name="T16" fmla="*/ 2413 w 5004"/>
                  <a:gd name="T17" fmla="*/ 459 h 1288"/>
                  <a:gd name="T18" fmla="*/ 2352 w 5004"/>
                  <a:gd name="T19" fmla="*/ 474 h 1288"/>
                  <a:gd name="T20" fmla="*/ 2309 w 5004"/>
                  <a:gd name="T21" fmla="*/ 475 h 1288"/>
                  <a:gd name="T22" fmla="*/ 2283 w 5004"/>
                  <a:gd name="T23" fmla="*/ 486 h 1288"/>
                  <a:gd name="T24" fmla="*/ 2232 w 5004"/>
                  <a:gd name="T25" fmla="*/ 490 h 1288"/>
                  <a:gd name="T26" fmla="*/ 2229 w 5004"/>
                  <a:gd name="T27" fmla="*/ 488 h 1288"/>
                  <a:gd name="T28" fmla="*/ 2182 w 5004"/>
                  <a:gd name="T29" fmla="*/ 492 h 1288"/>
                  <a:gd name="T30" fmla="*/ 1996 w 5004"/>
                  <a:gd name="T31" fmla="*/ 494 h 1288"/>
                  <a:gd name="T32" fmla="*/ 1950 w 5004"/>
                  <a:gd name="T33" fmla="*/ 493 h 1288"/>
                  <a:gd name="T34" fmla="*/ 1927 w 5004"/>
                  <a:gd name="T35" fmla="*/ 485 h 1288"/>
                  <a:gd name="T36" fmla="*/ 1889 w 5004"/>
                  <a:gd name="T37" fmla="*/ 479 h 1288"/>
                  <a:gd name="T38" fmla="*/ 1848 w 5004"/>
                  <a:gd name="T39" fmla="*/ 486 h 1288"/>
                  <a:gd name="T40" fmla="*/ 1833 w 5004"/>
                  <a:gd name="T41" fmla="*/ 497 h 1288"/>
                  <a:gd name="T42" fmla="*/ 1798 w 5004"/>
                  <a:gd name="T43" fmla="*/ 490 h 1288"/>
                  <a:gd name="T44" fmla="*/ 1753 w 5004"/>
                  <a:gd name="T45" fmla="*/ 477 h 1288"/>
                  <a:gd name="T46" fmla="*/ 1691 w 5004"/>
                  <a:gd name="T47" fmla="*/ 478 h 1288"/>
                  <a:gd name="T48" fmla="*/ 1606 w 5004"/>
                  <a:gd name="T49" fmla="*/ 498 h 1288"/>
                  <a:gd name="T50" fmla="*/ 1507 w 5004"/>
                  <a:gd name="T51" fmla="*/ 498 h 1288"/>
                  <a:gd name="T52" fmla="*/ 1396 w 5004"/>
                  <a:gd name="T53" fmla="*/ 490 h 1288"/>
                  <a:gd name="T54" fmla="*/ 1340 w 5004"/>
                  <a:gd name="T55" fmla="*/ 503 h 1288"/>
                  <a:gd name="T56" fmla="*/ 1305 w 5004"/>
                  <a:gd name="T57" fmla="*/ 498 h 1288"/>
                  <a:gd name="T58" fmla="*/ 1261 w 5004"/>
                  <a:gd name="T59" fmla="*/ 487 h 1288"/>
                  <a:gd name="T60" fmla="*/ 1223 w 5004"/>
                  <a:gd name="T61" fmla="*/ 488 h 1288"/>
                  <a:gd name="T62" fmla="*/ 1158 w 5004"/>
                  <a:gd name="T63" fmla="*/ 482 h 1288"/>
                  <a:gd name="T64" fmla="*/ 1124 w 5004"/>
                  <a:gd name="T65" fmla="*/ 484 h 1288"/>
                  <a:gd name="T66" fmla="*/ 1078 w 5004"/>
                  <a:gd name="T67" fmla="*/ 472 h 1288"/>
                  <a:gd name="T68" fmla="*/ 1047 w 5004"/>
                  <a:gd name="T69" fmla="*/ 464 h 1288"/>
                  <a:gd name="T70" fmla="*/ 1013 w 5004"/>
                  <a:gd name="T71" fmla="*/ 488 h 1288"/>
                  <a:gd name="T72" fmla="*/ 973 w 5004"/>
                  <a:gd name="T73" fmla="*/ 500 h 1288"/>
                  <a:gd name="T74" fmla="*/ 805 w 5004"/>
                  <a:gd name="T75" fmla="*/ 478 h 1288"/>
                  <a:gd name="T76" fmla="*/ 757 w 5004"/>
                  <a:gd name="T77" fmla="*/ 472 h 1288"/>
                  <a:gd name="T78" fmla="*/ 721 w 5004"/>
                  <a:gd name="T79" fmla="*/ 468 h 1288"/>
                  <a:gd name="T80" fmla="*/ 679 w 5004"/>
                  <a:gd name="T81" fmla="*/ 478 h 1288"/>
                  <a:gd name="T82" fmla="*/ 625 w 5004"/>
                  <a:gd name="T83" fmla="*/ 493 h 1288"/>
                  <a:gd name="T84" fmla="*/ 519 w 5004"/>
                  <a:gd name="T85" fmla="*/ 496 h 1288"/>
                  <a:gd name="T86" fmla="*/ 466 w 5004"/>
                  <a:gd name="T87" fmla="*/ 488 h 1288"/>
                  <a:gd name="T88" fmla="*/ 400 w 5004"/>
                  <a:gd name="T89" fmla="*/ 461 h 1288"/>
                  <a:gd name="T90" fmla="*/ 379 w 5004"/>
                  <a:gd name="T91" fmla="*/ 464 h 1288"/>
                  <a:gd name="T92" fmla="*/ 333 w 5004"/>
                  <a:gd name="T93" fmla="*/ 481 h 1288"/>
                  <a:gd name="T94" fmla="*/ 276 w 5004"/>
                  <a:gd name="T95" fmla="*/ 483 h 1288"/>
                  <a:gd name="T96" fmla="*/ 223 w 5004"/>
                  <a:gd name="T97" fmla="*/ 475 h 1288"/>
                  <a:gd name="T98" fmla="*/ 183 w 5004"/>
                  <a:gd name="T99" fmla="*/ 477 h 1288"/>
                  <a:gd name="T100" fmla="*/ 160 w 5004"/>
                  <a:gd name="T101" fmla="*/ 483 h 1288"/>
                  <a:gd name="T102" fmla="*/ 54 w 5004"/>
                  <a:gd name="T103" fmla="*/ 470 h 12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04"/>
                  <a:gd name="T157" fmla="*/ 0 h 1288"/>
                  <a:gd name="T158" fmla="*/ 5004 w 5004"/>
                  <a:gd name="T159" fmla="*/ 1288 h 12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solidFill>
                <a:schemeClr val="accent1"/>
              </a:solidFill>
              <a:ln w="0">
                <a:solidFill>
                  <a:schemeClr val="folHlink"/>
                </a:solidFill>
                <a:round/>
                <a:headEnd/>
                <a:tailEnd/>
              </a:ln>
            </p:spPr>
            <p:txBody>
              <a:bodyPr lIns="45720" rIns="45720"/>
              <a:lstStyle/>
              <a:p>
                <a:endParaRPr lang="en-US">
                  <a:solidFill>
                    <a:schemeClr val="bg1"/>
                  </a:solidFill>
                </a:endParaRPr>
              </a:p>
            </p:txBody>
          </p:sp>
          <p:sp>
            <p:nvSpPr>
              <p:cNvPr id="11" name="Rectangle 5"/>
              <p:cNvSpPr>
                <a:spLocks noChangeArrowheads="1"/>
              </p:cNvSpPr>
              <p:nvPr/>
            </p:nvSpPr>
            <p:spPr bwMode="auto">
              <a:xfrm>
                <a:off x="1749" y="1129"/>
                <a:ext cx="2739"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buClr>
                    <a:schemeClr val="tx1"/>
                  </a:buClr>
                </a:pPr>
                <a:r>
                  <a:rPr lang="en-US" altLang="en-US" sz="1200">
                    <a:solidFill>
                      <a:schemeClr val="bg1"/>
                    </a:solidFill>
                  </a:rPr>
                  <a:t>“Quotation...”</a:t>
                </a:r>
              </a:p>
            </p:txBody>
          </p:sp>
          <p:sp>
            <p:nvSpPr>
              <p:cNvPr id="12" name="Text Box 6"/>
              <p:cNvSpPr txBox="1">
                <a:spLocks noChangeArrowheads="1"/>
              </p:cNvSpPr>
              <p:nvPr/>
            </p:nvSpPr>
            <p:spPr bwMode="auto">
              <a:xfrm>
                <a:off x="3641" y="1371"/>
                <a:ext cx="847" cy="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buFont typeface="Wingdings" charset="2"/>
                  <a:buNone/>
                </a:pPr>
                <a:r>
                  <a:rPr lang="en-US" altLang="en-US" sz="1100" i="1">
                    <a:solidFill>
                      <a:schemeClr val="bg1"/>
                    </a:solidFill>
                  </a:rPr>
                  <a:t>Source</a:t>
                </a:r>
              </a:p>
            </p:txBody>
          </p:sp>
        </p:grpSp>
        <p:grpSp>
          <p:nvGrpSpPr>
            <p:cNvPr id="13" name="Group 7"/>
            <p:cNvGrpSpPr>
              <a:grpSpLocks/>
            </p:cNvGrpSpPr>
            <p:nvPr/>
          </p:nvGrpSpPr>
          <p:grpSpPr bwMode="auto">
            <a:xfrm>
              <a:off x="5608948" y="2978673"/>
              <a:ext cx="4348162" cy="1111250"/>
              <a:chOff x="1749" y="2080"/>
              <a:chExt cx="2739" cy="700"/>
            </a:xfrm>
          </p:grpSpPr>
          <p:sp>
            <p:nvSpPr>
              <p:cNvPr id="14" name="Freeform 8"/>
              <p:cNvSpPr>
                <a:spLocks/>
              </p:cNvSpPr>
              <p:nvPr/>
            </p:nvSpPr>
            <p:spPr bwMode="auto">
              <a:xfrm>
                <a:off x="1749" y="2080"/>
                <a:ext cx="2739" cy="700"/>
              </a:xfrm>
              <a:custGeom>
                <a:avLst/>
                <a:gdLst>
                  <a:gd name="T0" fmla="*/ 0 w 5004"/>
                  <a:gd name="T1" fmla="*/ 0 h 1288"/>
                  <a:gd name="T2" fmla="*/ 2739 w 5004"/>
                  <a:gd name="T3" fmla="*/ 659 h 1288"/>
                  <a:gd name="T4" fmla="*/ 2716 w 5004"/>
                  <a:gd name="T5" fmla="*/ 670 h 1288"/>
                  <a:gd name="T6" fmla="*/ 2667 w 5004"/>
                  <a:gd name="T7" fmla="*/ 659 h 1288"/>
                  <a:gd name="T8" fmla="*/ 2598 w 5004"/>
                  <a:gd name="T9" fmla="*/ 652 h 1288"/>
                  <a:gd name="T10" fmla="*/ 2542 w 5004"/>
                  <a:gd name="T11" fmla="*/ 658 h 1288"/>
                  <a:gd name="T12" fmla="*/ 2483 w 5004"/>
                  <a:gd name="T13" fmla="*/ 646 h 1288"/>
                  <a:gd name="T14" fmla="*/ 2452 w 5004"/>
                  <a:gd name="T15" fmla="*/ 632 h 1288"/>
                  <a:gd name="T16" fmla="*/ 2413 w 5004"/>
                  <a:gd name="T17" fmla="*/ 637 h 1288"/>
                  <a:gd name="T18" fmla="*/ 2352 w 5004"/>
                  <a:gd name="T19" fmla="*/ 659 h 1288"/>
                  <a:gd name="T20" fmla="*/ 2309 w 5004"/>
                  <a:gd name="T21" fmla="*/ 660 h 1288"/>
                  <a:gd name="T22" fmla="*/ 2283 w 5004"/>
                  <a:gd name="T23" fmla="*/ 675 h 1288"/>
                  <a:gd name="T24" fmla="*/ 2232 w 5004"/>
                  <a:gd name="T25" fmla="*/ 680 h 1288"/>
                  <a:gd name="T26" fmla="*/ 2229 w 5004"/>
                  <a:gd name="T27" fmla="*/ 678 h 1288"/>
                  <a:gd name="T28" fmla="*/ 2182 w 5004"/>
                  <a:gd name="T29" fmla="*/ 684 h 1288"/>
                  <a:gd name="T30" fmla="*/ 1996 w 5004"/>
                  <a:gd name="T31" fmla="*/ 686 h 1288"/>
                  <a:gd name="T32" fmla="*/ 1950 w 5004"/>
                  <a:gd name="T33" fmla="*/ 685 h 1288"/>
                  <a:gd name="T34" fmla="*/ 1927 w 5004"/>
                  <a:gd name="T35" fmla="*/ 673 h 1288"/>
                  <a:gd name="T36" fmla="*/ 1889 w 5004"/>
                  <a:gd name="T37" fmla="*/ 666 h 1288"/>
                  <a:gd name="T38" fmla="*/ 1848 w 5004"/>
                  <a:gd name="T39" fmla="*/ 676 h 1288"/>
                  <a:gd name="T40" fmla="*/ 1833 w 5004"/>
                  <a:gd name="T41" fmla="*/ 690 h 1288"/>
                  <a:gd name="T42" fmla="*/ 1798 w 5004"/>
                  <a:gd name="T43" fmla="*/ 680 h 1288"/>
                  <a:gd name="T44" fmla="*/ 1753 w 5004"/>
                  <a:gd name="T45" fmla="*/ 662 h 1288"/>
                  <a:gd name="T46" fmla="*/ 1691 w 5004"/>
                  <a:gd name="T47" fmla="*/ 664 h 1288"/>
                  <a:gd name="T48" fmla="*/ 1606 w 5004"/>
                  <a:gd name="T49" fmla="*/ 692 h 1288"/>
                  <a:gd name="T50" fmla="*/ 1507 w 5004"/>
                  <a:gd name="T51" fmla="*/ 692 h 1288"/>
                  <a:gd name="T52" fmla="*/ 1396 w 5004"/>
                  <a:gd name="T53" fmla="*/ 680 h 1288"/>
                  <a:gd name="T54" fmla="*/ 1340 w 5004"/>
                  <a:gd name="T55" fmla="*/ 698 h 1288"/>
                  <a:gd name="T56" fmla="*/ 1305 w 5004"/>
                  <a:gd name="T57" fmla="*/ 692 h 1288"/>
                  <a:gd name="T58" fmla="*/ 1261 w 5004"/>
                  <a:gd name="T59" fmla="*/ 677 h 1288"/>
                  <a:gd name="T60" fmla="*/ 1223 w 5004"/>
                  <a:gd name="T61" fmla="*/ 678 h 1288"/>
                  <a:gd name="T62" fmla="*/ 1158 w 5004"/>
                  <a:gd name="T63" fmla="*/ 670 h 1288"/>
                  <a:gd name="T64" fmla="*/ 1124 w 5004"/>
                  <a:gd name="T65" fmla="*/ 672 h 1288"/>
                  <a:gd name="T66" fmla="*/ 1078 w 5004"/>
                  <a:gd name="T67" fmla="*/ 655 h 1288"/>
                  <a:gd name="T68" fmla="*/ 1047 w 5004"/>
                  <a:gd name="T69" fmla="*/ 644 h 1288"/>
                  <a:gd name="T70" fmla="*/ 1013 w 5004"/>
                  <a:gd name="T71" fmla="*/ 677 h 1288"/>
                  <a:gd name="T72" fmla="*/ 973 w 5004"/>
                  <a:gd name="T73" fmla="*/ 695 h 1288"/>
                  <a:gd name="T74" fmla="*/ 805 w 5004"/>
                  <a:gd name="T75" fmla="*/ 664 h 1288"/>
                  <a:gd name="T76" fmla="*/ 757 w 5004"/>
                  <a:gd name="T77" fmla="*/ 655 h 1288"/>
                  <a:gd name="T78" fmla="*/ 721 w 5004"/>
                  <a:gd name="T79" fmla="*/ 650 h 1288"/>
                  <a:gd name="T80" fmla="*/ 679 w 5004"/>
                  <a:gd name="T81" fmla="*/ 664 h 1288"/>
                  <a:gd name="T82" fmla="*/ 625 w 5004"/>
                  <a:gd name="T83" fmla="*/ 685 h 1288"/>
                  <a:gd name="T84" fmla="*/ 519 w 5004"/>
                  <a:gd name="T85" fmla="*/ 689 h 1288"/>
                  <a:gd name="T86" fmla="*/ 466 w 5004"/>
                  <a:gd name="T87" fmla="*/ 678 h 1288"/>
                  <a:gd name="T88" fmla="*/ 400 w 5004"/>
                  <a:gd name="T89" fmla="*/ 641 h 1288"/>
                  <a:gd name="T90" fmla="*/ 379 w 5004"/>
                  <a:gd name="T91" fmla="*/ 644 h 1288"/>
                  <a:gd name="T92" fmla="*/ 333 w 5004"/>
                  <a:gd name="T93" fmla="*/ 668 h 1288"/>
                  <a:gd name="T94" fmla="*/ 276 w 5004"/>
                  <a:gd name="T95" fmla="*/ 671 h 1288"/>
                  <a:gd name="T96" fmla="*/ 223 w 5004"/>
                  <a:gd name="T97" fmla="*/ 660 h 1288"/>
                  <a:gd name="T98" fmla="*/ 183 w 5004"/>
                  <a:gd name="T99" fmla="*/ 662 h 1288"/>
                  <a:gd name="T100" fmla="*/ 160 w 5004"/>
                  <a:gd name="T101" fmla="*/ 671 h 1288"/>
                  <a:gd name="T102" fmla="*/ 54 w 5004"/>
                  <a:gd name="T103" fmla="*/ 652 h 12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04"/>
                  <a:gd name="T157" fmla="*/ 0 h 1288"/>
                  <a:gd name="T158" fmla="*/ 5004 w 5004"/>
                  <a:gd name="T159" fmla="*/ 1288 h 12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solidFill>
                <a:schemeClr val="accent1"/>
              </a:solidFill>
              <a:ln w="0">
                <a:solidFill>
                  <a:schemeClr val="folHlink"/>
                </a:solidFill>
                <a:round/>
                <a:headEnd/>
                <a:tailEnd/>
              </a:ln>
            </p:spPr>
            <p:txBody>
              <a:bodyPr lIns="45720" rIns="45720"/>
              <a:lstStyle/>
              <a:p>
                <a:endParaRPr lang="en-US">
                  <a:solidFill>
                    <a:schemeClr val="bg1"/>
                  </a:solidFill>
                </a:endParaRPr>
              </a:p>
            </p:txBody>
          </p:sp>
          <p:sp>
            <p:nvSpPr>
              <p:cNvPr id="15" name="Rectangle 9"/>
              <p:cNvSpPr>
                <a:spLocks noChangeArrowheads="1"/>
              </p:cNvSpPr>
              <p:nvPr/>
            </p:nvSpPr>
            <p:spPr bwMode="auto">
              <a:xfrm>
                <a:off x="1749" y="2080"/>
                <a:ext cx="2739" cy="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buClr>
                    <a:schemeClr val="tx1"/>
                  </a:buClr>
                </a:pPr>
                <a:r>
                  <a:rPr lang="en-US" altLang="en-US" sz="1200">
                    <a:solidFill>
                      <a:schemeClr val="bg1"/>
                    </a:solidFill>
                  </a:rPr>
                  <a:t>“Quotation...”</a:t>
                </a:r>
              </a:p>
            </p:txBody>
          </p:sp>
          <p:sp>
            <p:nvSpPr>
              <p:cNvPr id="16" name="Text Box 10"/>
              <p:cNvSpPr txBox="1">
                <a:spLocks noChangeArrowheads="1"/>
              </p:cNvSpPr>
              <p:nvPr/>
            </p:nvSpPr>
            <p:spPr bwMode="auto">
              <a:xfrm>
                <a:off x="3641" y="2496"/>
                <a:ext cx="847" cy="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buFont typeface="Wingdings" charset="2"/>
                  <a:buNone/>
                </a:pPr>
                <a:r>
                  <a:rPr lang="en-US" altLang="en-US" sz="1100" i="1">
                    <a:solidFill>
                      <a:schemeClr val="bg1"/>
                    </a:solidFill>
                  </a:rPr>
                  <a:t>Source</a:t>
                </a:r>
              </a:p>
            </p:txBody>
          </p:sp>
        </p:grpSp>
        <p:grpSp>
          <p:nvGrpSpPr>
            <p:cNvPr id="17" name="Group 11"/>
            <p:cNvGrpSpPr>
              <a:grpSpLocks/>
            </p:cNvGrpSpPr>
            <p:nvPr/>
          </p:nvGrpSpPr>
          <p:grpSpPr bwMode="auto">
            <a:xfrm>
              <a:off x="5608948" y="4799536"/>
              <a:ext cx="4348162" cy="1035050"/>
              <a:chOff x="1749" y="3227"/>
              <a:chExt cx="2739" cy="652"/>
            </a:xfrm>
          </p:grpSpPr>
          <p:sp>
            <p:nvSpPr>
              <p:cNvPr id="18" name="Freeform 12"/>
              <p:cNvSpPr>
                <a:spLocks/>
              </p:cNvSpPr>
              <p:nvPr/>
            </p:nvSpPr>
            <p:spPr bwMode="auto">
              <a:xfrm>
                <a:off x="1749" y="3227"/>
                <a:ext cx="2739" cy="652"/>
              </a:xfrm>
              <a:custGeom>
                <a:avLst/>
                <a:gdLst>
                  <a:gd name="T0" fmla="*/ 0 w 5004"/>
                  <a:gd name="T1" fmla="*/ 0 h 1288"/>
                  <a:gd name="T2" fmla="*/ 2739 w 5004"/>
                  <a:gd name="T3" fmla="*/ 614 h 1288"/>
                  <a:gd name="T4" fmla="*/ 2716 w 5004"/>
                  <a:gd name="T5" fmla="*/ 624 h 1288"/>
                  <a:gd name="T6" fmla="*/ 2667 w 5004"/>
                  <a:gd name="T7" fmla="*/ 614 h 1288"/>
                  <a:gd name="T8" fmla="*/ 2598 w 5004"/>
                  <a:gd name="T9" fmla="*/ 607 h 1288"/>
                  <a:gd name="T10" fmla="*/ 2542 w 5004"/>
                  <a:gd name="T11" fmla="*/ 613 h 1288"/>
                  <a:gd name="T12" fmla="*/ 2483 w 5004"/>
                  <a:gd name="T13" fmla="*/ 601 h 1288"/>
                  <a:gd name="T14" fmla="*/ 2452 w 5004"/>
                  <a:gd name="T15" fmla="*/ 589 h 1288"/>
                  <a:gd name="T16" fmla="*/ 2413 w 5004"/>
                  <a:gd name="T17" fmla="*/ 593 h 1288"/>
                  <a:gd name="T18" fmla="*/ 2352 w 5004"/>
                  <a:gd name="T19" fmla="*/ 614 h 1288"/>
                  <a:gd name="T20" fmla="*/ 2309 w 5004"/>
                  <a:gd name="T21" fmla="*/ 615 h 1288"/>
                  <a:gd name="T22" fmla="*/ 2283 w 5004"/>
                  <a:gd name="T23" fmla="*/ 629 h 1288"/>
                  <a:gd name="T24" fmla="*/ 2232 w 5004"/>
                  <a:gd name="T25" fmla="*/ 634 h 1288"/>
                  <a:gd name="T26" fmla="*/ 2229 w 5004"/>
                  <a:gd name="T27" fmla="*/ 632 h 1288"/>
                  <a:gd name="T28" fmla="*/ 2182 w 5004"/>
                  <a:gd name="T29" fmla="*/ 637 h 1288"/>
                  <a:gd name="T30" fmla="*/ 1996 w 5004"/>
                  <a:gd name="T31" fmla="*/ 639 h 1288"/>
                  <a:gd name="T32" fmla="*/ 1950 w 5004"/>
                  <a:gd name="T33" fmla="*/ 638 h 1288"/>
                  <a:gd name="T34" fmla="*/ 1927 w 5004"/>
                  <a:gd name="T35" fmla="*/ 627 h 1288"/>
                  <a:gd name="T36" fmla="*/ 1889 w 5004"/>
                  <a:gd name="T37" fmla="*/ 620 h 1288"/>
                  <a:gd name="T38" fmla="*/ 1848 w 5004"/>
                  <a:gd name="T39" fmla="*/ 629 h 1288"/>
                  <a:gd name="T40" fmla="*/ 1833 w 5004"/>
                  <a:gd name="T41" fmla="*/ 642 h 1288"/>
                  <a:gd name="T42" fmla="*/ 1798 w 5004"/>
                  <a:gd name="T43" fmla="*/ 634 h 1288"/>
                  <a:gd name="T44" fmla="*/ 1753 w 5004"/>
                  <a:gd name="T45" fmla="*/ 617 h 1288"/>
                  <a:gd name="T46" fmla="*/ 1691 w 5004"/>
                  <a:gd name="T47" fmla="*/ 619 h 1288"/>
                  <a:gd name="T48" fmla="*/ 1606 w 5004"/>
                  <a:gd name="T49" fmla="*/ 644 h 1288"/>
                  <a:gd name="T50" fmla="*/ 1507 w 5004"/>
                  <a:gd name="T51" fmla="*/ 644 h 1288"/>
                  <a:gd name="T52" fmla="*/ 1396 w 5004"/>
                  <a:gd name="T53" fmla="*/ 633 h 1288"/>
                  <a:gd name="T54" fmla="*/ 1340 w 5004"/>
                  <a:gd name="T55" fmla="*/ 650 h 1288"/>
                  <a:gd name="T56" fmla="*/ 1305 w 5004"/>
                  <a:gd name="T57" fmla="*/ 644 h 1288"/>
                  <a:gd name="T58" fmla="*/ 1261 w 5004"/>
                  <a:gd name="T59" fmla="*/ 630 h 1288"/>
                  <a:gd name="T60" fmla="*/ 1223 w 5004"/>
                  <a:gd name="T61" fmla="*/ 632 h 1288"/>
                  <a:gd name="T62" fmla="*/ 1158 w 5004"/>
                  <a:gd name="T63" fmla="*/ 624 h 1288"/>
                  <a:gd name="T64" fmla="*/ 1124 w 5004"/>
                  <a:gd name="T65" fmla="*/ 626 h 1288"/>
                  <a:gd name="T66" fmla="*/ 1078 w 5004"/>
                  <a:gd name="T67" fmla="*/ 610 h 1288"/>
                  <a:gd name="T68" fmla="*/ 1047 w 5004"/>
                  <a:gd name="T69" fmla="*/ 600 h 1288"/>
                  <a:gd name="T70" fmla="*/ 1013 w 5004"/>
                  <a:gd name="T71" fmla="*/ 631 h 1288"/>
                  <a:gd name="T72" fmla="*/ 973 w 5004"/>
                  <a:gd name="T73" fmla="*/ 647 h 1288"/>
                  <a:gd name="T74" fmla="*/ 805 w 5004"/>
                  <a:gd name="T75" fmla="*/ 618 h 1288"/>
                  <a:gd name="T76" fmla="*/ 757 w 5004"/>
                  <a:gd name="T77" fmla="*/ 610 h 1288"/>
                  <a:gd name="T78" fmla="*/ 721 w 5004"/>
                  <a:gd name="T79" fmla="*/ 605 h 1288"/>
                  <a:gd name="T80" fmla="*/ 679 w 5004"/>
                  <a:gd name="T81" fmla="*/ 619 h 1288"/>
                  <a:gd name="T82" fmla="*/ 625 w 5004"/>
                  <a:gd name="T83" fmla="*/ 638 h 1288"/>
                  <a:gd name="T84" fmla="*/ 519 w 5004"/>
                  <a:gd name="T85" fmla="*/ 641 h 1288"/>
                  <a:gd name="T86" fmla="*/ 466 w 5004"/>
                  <a:gd name="T87" fmla="*/ 632 h 1288"/>
                  <a:gd name="T88" fmla="*/ 400 w 5004"/>
                  <a:gd name="T89" fmla="*/ 597 h 1288"/>
                  <a:gd name="T90" fmla="*/ 379 w 5004"/>
                  <a:gd name="T91" fmla="*/ 600 h 1288"/>
                  <a:gd name="T92" fmla="*/ 333 w 5004"/>
                  <a:gd name="T93" fmla="*/ 623 h 1288"/>
                  <a:gd name="T94" fmla="*/ 276 w 5004"/>
                  <a:gd name="T95" fmla="*/ 625 h 1288"/>
                  <a:gd name="T96" fmla="*/ 223 w 5004"/>
                  <a:gd name="T97" fmla="*/ 615 h 1288"/>
                  <a:gd name="T98" fmla="*/ 183 w 5004"/>
                  <a:gd name="T99" fmla="*/ 617 h 1288"/>
                  <a:gd name="T100" fmla="*/ 160 w 5004"/>
                  <a:gd name="T101" fmla="*/ 625 h 1288"/>
                  <a:gd name="T102" fmla="*/ 54 w 5004"/>
                  <a:gd name="T103" fmla="*/ 607 h 12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04"/>
                  <a:gd name="T157" fmla="*/ 0 h 1288"/>
                  <a:gd name="T158" fmla="*/ 5004 w 5004"/>
                  <a:gd name="T159" fmla="*/ 1288 h 12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04" h="1288">
                    <a:moveTo>
                      <a:pt x="0" y="1175"/>
                    </a:moveTo>
                    <a:lnTo>
                      <a:pt x="0" y="0"/>
                    </a:lnTo>
                    <a:lnTo>
                      <a:pt x="5004" y="0"/>
                    </a:lnTo>
                    <a:lnTo>
                      <a:pt x="5004" y="1212"/>
                    </a:lnTo>
                    <a:lnTo>
                      <a:pt x="4986" y="1227"/>
                    </a:lnTo>
                    <a:lnTo>
                      <a:pt x="4962" y="1233"/>
                    </a:lnTo>
                    <a:lnTo>
                      <a:pt x="4924" y="1227"/>
                    </a:lnTo>
                    <a:lnTo>
                      <a:pt x="4872" y="1212"/>
                    </a:lnTo>
                    <a:lnTo>
                      <a:pt x="4810" y="1203"/>
                    </a:lnTo>
                    <a:lnTo>
                      <a:pt x="4747" y="1200"/>
                    </a:lnTo>
                    <a:lnTo>
                      <a:pt x="4694" y="1206"/>
                    </a:lnTo>
                    <a:lnTo>
                      <a:pt x="4644" y="1211"/>
                    </a:lnTo>
                    <a:lnTo>
                      <a:pt x="4588" y="1203"/>
                    </a:lnTo>
                    <a:lnTo>
                      <a:pt x="4536" y="1188"/>
                    </a:lnTo>
                    <a:lnTo>
                      <a:pt x="4497" y="1170"/>
                    </a:lnTo>
                    <a:lnTo>
                      <a:pt x="4480" y="1163"/>
                    </a:lnTo>
                    <a:lnTo>
                      <a:pt x="4458" y="1161"/>
                    </a:lnTo>
                    <a:lnTo>
                      <a:pt x="4408" y="1172"/>
                    </a:lnTo>
                    <a:lnTo>
                      <a:pt x="4326" y="1206"/>
                    </a:lnTo>
                    <a:lnTo>
                      <a:pt x="4297" y="1212"/>
                    </a:lnTo>
                    <a:lnTo>
                      <a:pt x="4257" y="1214"/>
                    </a:lnTo>
                    <a:lnTo>
                      <a:pt x="4219" y="1215"/>
                    </a:lnTo>
                    <a:lnTo>
                      <a:pt x="4192" y="1227"/>
                    </a:lnTo>
                    <a:lnTo>
                      <a:pt x="4171" y="1242"/>
                    </a:lnTo>
                    <a:lnTo>
                      <a:pt x="4145" y="1252"/>
                    </a:lnTo>
                    <a:lnTo>
                      <a:pt x="4078" y="1252"/>
                    </a:lnTo>
                    <a:lnTo>
                      <a:pt x="4065" y="1248"/>
                    </a:lnTo>
                    <a:lnTo>
                      <a:pt x="4073" y="1248"/>
                    </a:lnTo>
                    <a:lnTo>
                      <a:pt x="4061" y="1251"/>
                    </a:lnTo>
                    <a:lnTo>
                      <a:pt x="3987" y="1258"/>
                    </a:lnTo>
                    <a:lnTo>
                      <a:pt x="3757" y="1263"/>
                    </a:lnTo>
                    <a:lnTo>
                      <a:pt x="3646" y="1263"/>
                    </a:lnTo>
                    <a:lnTo>
                      <a:pt x="3599" y="1263"/>
                    </a:lnTo>
                    <a:lnTo>
                      <a:pt x="3562" y="1260"/>
                    </a:lnTo>
                    <a:lnTo>
                      <a:pt x="3534" y="1248"/>
                    </a:lnTo>
                    <a:lnTo>
                      <a:pt x="3521" y="1239"/>
                    </a:lnTo>
                    <a:lnTo>
                      <a:pt x="3501" y="1231"/>
                    </a:lnTo>
                    <a:lnTo>
                      <a:pt x="3451" y="1225"/>
                    </a:lnTo>
                    <a:lnTo>
                      <a:pt x="3399" y="1233"/>
                    </a:lnTo>
                    <a:lnTo>
                      <a:pt x="3377" y="1243"/>
                    </a:lnTo>
                    <a:lnTo>
                      <a:pt x="3361" y="1258"/>
                    </a:lnTo>
                    <a:lnTo>
                      <a:pt x="3348" y="1269"/>
                    </a:lnTo>
                    <a:lnTo>
                      <a:pt x="3329" y="1270"/>
                    </a:lnTo>
                    <a:lnTo>
                      <a:pt x="3285" y="1252"/>
                    </a:lnTo>
                    <a:lnTo>
                      <a:pt x="3231" y="1227"/>
                    </a:lnTo>
                    <a:lnTo>
                      <a:pt x="3202" y="1218"/>
                    </a:lnTo>
                    <a:lnTo>
                      <a:pt x="3172" y="1217"/>
                    </a:lnTo>
                    <a:lnTo>
                      <a:pt x="3089" y="1222"/>
                    </a:lnTo>
                    <a:lnTo>
                      <a:pt x="2988" y="1252"/>
                    </a:lnTo>
                    <a:lnTo>
                      <a:pt x="2934" y="1273"/>
                    </a:lnTo>
                    <a:lnTo>
                      <a:pt x="2900" y="1282"/>
                    </a:lnTo>
                    <a:lnTo>
                      <a:pt x="2753" y="1273"/>
                    </a:lnTo>
                    <a:lnTo>
                      <a:pt x="2588" y="1254"/>
                    </a:lnTo>
                    <a:lnTo>
                      <a:pt x="2551" y="1251"/>
                    </a:lnTo>
                    <a:lnTo>
                      <a:pt x="2519" y="1258"/>
                    </a:lnTo>
                    <a:lnTo>
                      <a:pt x="2449" y="1285"/>
                    </a:lnTo>
                    <a:lnTo>
                      <a:pt x="2416" y="1288"/>
                    </a:lnTo>
                    <a:lnTo>
                      <a:pt x="2385" y="1273"/>
                    </a:lnTo>
                    <a:lnTo>
                      <a:pt x="2348" y="1254"/>
                    </a:lnTo>
                    <a:lnTo>
                      <a:pt x="2304" y="1245"/>
                    </a:lnTo>
                    <a:lnTo>
                      <a:pt x="2264" y="1243"/>
                    </a:lnTo>
                    <a:lnTo>
                      <a:pt x="2234" y="1248"/>
                    </a:lnTo>
                    <a:lnTo>
                      <a:pt x="2171" y="1243"/>
                    </a:lnTo>
                    <a:lnTo>
                      <a:pt x="2116" y="1233"/>
                    </a:lnTo>
                    <a:lnTo>
                      <a:pt x="2094" y="1231"/>
                    </a:lnTo>
                    <a:lnTo>
                      <a:pt x="2053" y="1237"/>
                    </a:lnTo>
                    <a:lnTo>
                      <a:pt x="2013" y="1228"/>
                    </a:lnTo>
                    <a:lnTo>
                      <a:pt x="1970" y="1206"/>
                    </a:lnTo>
                    <a:lnTo>
                      <a:pt x="1929" y="1187"/>
                    </a:lnTo>
                    <a:lnTo>
                      <a:pt x="1912" y="1185"/>
                    </a:lnTo>
                    <a:lnTo>
                      <a:pt x="1899" y="1191"/>
                    </a:lnTo>
                    <a:lnTo>
                      <a:pt x="1850" y="1246"/>
                    </a:lnTo>
                    <a:lnTo>
                      <a:pt x="1818" y="1270"/>
                    </a:lnTo>
                    <a:lnTo>
                      <a:pt x="1777" y="1279"/>
                    </a:lnTo>
                    <a:lnTo>
                      <a:pt x="1512" y="1242"/>
                    </a:lnTo>
                    <a:lnTo>
                      <a:pt x="1471" y="1221"/>
                    </a:lnTo>
                    <a:lnTo>
                      <a:pt x="1436" y="1209"/>
                    </a:lnTo>
                    <a:lnTo>
                      <a:pt x="1383" y="1206"/>
                    </a:lnTo>
                    <a:lnTo>
                      <a:pt x="1340" y="1203"/>
                    </a:lnTo>
                    <a:lnTo>
                      <a:pt x="1317" y="1196"/>
                    </a:lnTo>
                    <a:lnTo>
                      <a:pt x="1291" y="1199"/>
                    </a:lnTo>
                    <a:lnTo>
                      <a:pt x="1241" y="1222"/>
                    </a:lnTo>
                    <a:lnTo>
                      <a:pt x="1182" y="1251"/>
                    </a:lnTo>
                    <a:lnTo>
                      <a:pt x="1141" y="1260"/>
                    </a:lnTo>
                    <a:lnTo>
                      <a:pt x="1052" y="1263"/>
                    </a:lnTo>
                    <a:lnTo>
                      <a:pt x="949" y="1267"/>
                    </a:lnTo>
                    <a:lnTo>
                      <a:pt x="902" y="1263"/>
                    </a:lnTo>
                    <a:lnTo>
                      <a:pt x="851" y="1248"/>
                    </a:lnTo>
                    <a:lnTo>
                      <a:pt x="765" y="1196"/>
                    </a:lnTo>
                    <a:lnTo>
                      <a:pt x="730" y="1179"/>
                    </a:lnTo>
                    <a:lnTo>
                      <a:pt x="712" y="1179"/>
                    </a:lnTo>
                    <a:lnTo>
                      <a:pt x="692" y="1185"/>
                    </a:lnTo>
                    <a:lnTo>
                      <a:pt x="636" y="1220"/>
                    </a:lnTo>
                    <a:lnTo>
                      <a:pt x="608" y="1230"/>
                    </a:lnTo>
                    <a:lnTo>
                      <a:pt x="561" y="1237"/>
                    </a:lnTo>
                    <a:lnTo>
                      <a:pt x="505" y="1234"/>
                    </a:lnTo>
                    <a:lnTo>
                      <a:pt x="454" y="1224"/>
                    </a:lnTo>
                    <a:lnTo>
                      <a:pt x="408" y="1214"/>
                    </a:lnTo>
                    <a:lnTo>
                      <a:pt x="364" y="1212"/>
                    </a:lnTo>
                    <a:lnTo>
                      <a:pt x="334" y="1218"/>
                    </a:lnTo>
                    <a:lnTo>
                      <a:pt x="314" y="1227"/>
                    </a:lnTo>
                    <a:lnTo>
                      <a:pt x="292" y="1234"/>
                    </a:lnTo>
                    <a:lnTo>
                      <a:pt x="251" y="1233"/>
                    </a:lnTo>
                    <a:lnTo>
                      <a:pt x="99" y="1200"/>
                    </a:lnTo>
                    <a:lnTo>
                      <a:pt x="0" y="1175"/>
                    </a:lnTo>
                    <a:close/>
                  </a:path>
                </a:pathLst>
              </a:custGeom>
              <a:solidFill>
                <a:schemeClr val="accent1"/>
              </a:solidFill>
              <a:ln w="0">
                <a:solidFill>
                  <a:schemeClr val="folHlink"/>
                </a:solidFill>
                <a:round/>
                <a:headEnd/>
                <a:tailEnd/>
              </a:ln>
            </p:spPr>
            <p:txBody>
              <a:bodyPr lIns="45720" rIns="45720"/>
              <a:lstStyle/>
              <a:p>
                <a:endParaRPr lang="en-US">
                  <a:solidFill>
                    <a:schemeClr val="bg1"/>
                  </a:solidFill>
                </a:endParaRPr>
              </a:p>
            </p:txBody>
          </p:sp>
          <p:sp>
            <p:nvSpPr>
              <p:cNvPr id="19" name="Rectangle 13"/>
              <p:cNvSpPr>
                <a:spLocks noChangeArrowheads="1"/>
              </p:cNvSpPr>
              <p:nvPr/>
            </p:nvSpPr>
            <p:spPr bwMode="auto">
              <a:xfrm>
                <a:off x="1749" y="3228"/>
                <a:ext cx="2739"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buClr>
                    <a:schemeClr val="tx1"/>
                  </a:buClr>
                </a:pPr>
                <a:r>
                  <a:rPr lang="en-US" altLang="en-US" sz="1200">
                    <a:solidFill>
                      <a:schemeClr val="bg1"/>
                    </a:solidFill>
                  </a:rPr>
                  <a:t>“Quotation...”</a:t>
                </a:r>
              </a:p>
            </p:txBody>
          </p:sp>
          <p:sp>
            <p:nvSpPr>
              <p:cNvPr id="20" name="Text Box 14"/>
              <p:cNvSpPr txBox="1">
                <a:spLocks noChangeArrowheads="1"/>
              </p:cNvSpPr>
              <p:nvPr/>
            </p:nvSpPr>
            <p:spPr bwMode="auto">
              <a:xfrm>
                <a:off x="3641" y="3606"/>
                <a:ext cx="847" cy="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buFont typeface="Wingdings" charset="2"/>
                  <a:buNone/>
                </a:pPr>
                <a:r>
                  <a:rPr lang="en-US" altLang="en-US" sz="1100" i="1">
                    <a:solidFill>
                      <a:schemeClr val="bg1"/>
                    </a:solidFill>
                  </a:rPr>
                  <a:t>Source</a:t>
                </a:r>
              </a:p>
            </p:txBody>
          </p:sp>
        </p:grpSp>
      </p:grpSp>
      <p:sp>
        <p:nvSpPr>
          <p:cNvPr id="58" name="Text Box 6"/>
          <p:cNvSpPr txBox="1">
            <a:spLocks noChangeArrowheads="1"/>
          </p:cNvSpPr>
          <p:nvPr/>
        </p:nvSpPr>
        <p:spPr bwMode="auto">
          <a:xfrm>
            <a:off x="3413369" y="3596990"/>
            <a:ext cx="1175929" cy="222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buFont typeface="Wingdings" charset="2"/>
              <a:buNone/>
            </a:pPr>
            <a:r>
              <a:rPr lang="en-US" altLang="en-US" sz="1100" i="1">
                <a:solidFill>
                  <a:schemeClr val="tx2"/>
                </a:solidFill>
              </a:rPr>
              <a:t>Source</a:t>
            </a:r>
          </a:p>
        </p:txBody>
      </p:sp>
    </p:spTree>
    <p:extLst>
      <p:ext uri="{BB962C8B-B14F-4D97-AF65-F5344CB8AC3E}">
        <p14:creationId xmlns:p14="http://schemas.microsoft.com/office/powerpoint/2010/main" val="24174122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 name="Text Placeholder 792">
            <a:extLst>
              <a:ext uri="{FF2B5EF4-FFF2-40B4-BE49-F238E27FC236}">
                <a16:creationId xmlns:a16="http://schemas.microsoft.com/office/drawing/2014/main" id="{F5E3011A-09DE-1242-BD1E-E0B8F0BA5F93}"/>
              </a:ext>
            </a:extLst>
          </p:cNvPr>
          <p:cNvSpPr>
            <a:spLocks noGrp="1"/>
          </p:cNvSpPr>
          <p:nvPr>
            <p:ph type="body" sz="quarter" idx="13"/>
          </p:nvPr>
        </p:nvSpPr>
        <p:spPr/>
        <p:txBody>
          <a:bodyPr/>
          <a:lstStyle/>
          <a:p>
            <a:endParaRPr lang="en-GB"/>
          </a:p>
        </p:txBody>
      </p:sp>
      <p:sp>
        <p:nvSpPr>
          <p:cNvPr id="794" name="Text Placeholder 793">
            <a:extLst>
              <a:ext uri="{FF2B5EF4-FFF2-40B4-BE49-F238E27FC236}">
                <a16:creationId xmlns:a16="http://schemas.microsoft.com/office/drawing/2014/main" id="{D5D2592E-46F1-D440-A490-8698C951CFA6}"/>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a:t>World Map</a:t>
            </a:r>
          </a:p>
        </p:txBody>
      </p:sp>
      <p:grpSp>
        <p:nvGrpSpPr>
          <p:cNvPr id="5" name="Group 4"/>
          <p:cNvGrpSpPr/>
          <p:nvPr/>
        </p:nvGrpSpPr>
        <p:grpSpPr>
          <a:xfrm>
            <a:off x="1888920" y="1506818"/>
            <a:ext cx="7758663" cy="4167404"/>
            <a:chOff x="484189" y="1115278"/>
            <a:chExt cx="8212136" cy="4963994"/>
          </a:xfrm>
          <a:solidFill>
            <a:schemeClr val="accent1"/>
          </a:solidFill>
        </p:grpSpPr>
        <p:sp>
          <p:nvSpPr>
            <p:cNvPr id="6" name="Freeform 1012"/>
            <p:cNvSpPr>
              <a:spLocks/>
            </p:cNvSpPr>
            <p:nvPr/>
          </p:nvSpPr>
          <p:spPr bwMode="auto">
            <a:xfrm>
              <a:off x="3560896" y="3724713"/>
              <a:ext cx="3034" cy="3034"/>
            </a:xfrm>
            <a:custGeom>
              <a:avLst/>
              <a:gdLst>
                <a:gd name="T0" fmla="*/ 2147483647 w 4"/>
                <a:gd name="T1" fmla="*/ 2147483647 h 6"/>
                <a:gd name="T2" fmla="*/ 2147483647 w 4"/>
                <a:gd name="T3" fmla="*/ 0 h 6"/>
                <a:gd name="T4" fmla="*/ 0 w 4"/>
                <a:gd name="T5" fmla="*/ 2147483647 h 6"/>
                <a:gd name="T6" fmla="*/ 2147483647 w 4"/>
                <a:gd name="T7" fmla="*/ 2147483647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4" y="4"/>
                  </a:moveTo>
                  <a:lnTo>
                    <a:pt x="1" y="0"/>
                  </a:lnTo>
                  <a:lnTo>
                    <a:pt x="0" y="6"/>
                  </a:lnTo>
                  <a:lnTo>
                    <a:pt x="4" y="4"/>
                  </a:lnTo>
                  <a:close/>
                </a:path>
              </a:pathLst>
            </a:custGeom>
            <a:grpFill/>
            <a:ln w="6350">
              <a:solidFill>
                <a:schemeClr val="tx2"/>
              </a:solidFill>
              <a:round/>
              <a:headEnd/>
              <a:tailEnd/>
            </a:ln>
          </p:spPr>
          <p:txBody>
            <a:bodyPr/>
            <a:lstStyle/>
            <a:p>
              <a:endParaRPr lang="en-US"/>
            </a:p>
          </p:txBody>
        </p:sp>
        <p:sp>
          <p:nvSpPr>
            <p:cNvPr id="7" name="Freeform 1013"/>
            <p:cNvSpPr>
              <a:spLocks/>
            </p:cNvSpPr>
            <p:nvPr/>
          </p:nvSpPr>
          <p:spPr bwMode="auto">
            <a:xfrm>
              <a:off x="3615512" y="3748986"/>
              <a:ext cx="3034" cy="3034"/>
            </a:xfrm>
            <a:custGeom>
              <a:avLst/>
              <a:gdLst>
                <a:gd name="T0" fmla="*/ 2147483647 w 2"/>
                <a:gd name="T1" fmla="*/ 0 h 6"/>
                <a:gd name="T2" fmla="*/ 0 w 2"/>
                <a:gd name="T3" fmla="*/ 2147483647 h 6"/>
                <a:gd name="T4" fmla="*/ 2147483647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2" y="0"/>
                  </a:moveTo>
                  <a:lnTo>
                    <a:pt x="0" y="6"/>
                  </a:lnTo>
                  <a:lnTo>
                    <a:pt x="2" y="0"/>
                  </a:lnTo>
                  <a:close/>
                </a:path>
              </a:pathLst>
            </a:custGeom>
            <a:grpFill/>
            <a:ln w="6350">
              <a:solidFill>
                <a:schemeClr val="tx2"/>
              </a:solidFill>
              <a:round/>
              <a:headEnd/>
              <a:tailEnd/>
            </a:ln>
          </p:spPr>
          <p:txBody>
            <a:bodyPr/>
            <a:lstStyle/>
            <a:p>
              <a:endParaRPr lang="en-US"/>
            </a:p>
          </p:txBody>
        </p:sp>
        <p:sp>
          <p:nvSpPr>
            <p:cNvPr id="8" name="Freeform 1014"/>
            <p:cNvSpPr>
              <a:spLocks/>
            </p:cNvSpPr>
            <p:nvPr/>
          </p:nvSpPr>
          <p:spPr bwMode="auto">
            <a:xfrm>
              <a:off x="3621580" y="3752020"/>
              <a:ext cx="9103" cy="3034"/>
            </a:xfrm>
            <a:custGeom>
              <a:avLst/>
              <a:gdLst>
                <a:gd name="T0" fmla="*/ 2147483647 w 19"/>
                <a:gd name="T1" fmla="*/ 2147483647 h 7"/>
                <a:gd name="T2" fmla="*/ 2147483647 w 19"/>
                <a:gd name="T3" fmla="*/ 2147483647 h 7"/>
                <a:gd name="T4" fmla="*/ 2147483647 w 19"/>
                <a:gd name="T5" fmla="*/ 2147483647 h 7"/>
                <a:gd name="T6" fmla="*/ 0 w 19"/>
                <a:gd name="T7" fmla="*/ 0 h 7"/>
                <a:gd name="T8" fmla="*/ 2147483647 w 19"/>
                <a:gd name="T9" fmla="*/ 2147483647 h 7"/>
                <a:gd name="T10" fmla="*/ 0 60000 65536"/>
                <a:gd name="T11" fmla="*/ 0 60000 65536"/>
                <a:gd name="T12" fmla="*/ 0 60000 65536"/>
                <a:gd name="T13" fmla="*/ 0 60000 65536"/>
                <a:gd name="T14" fmla="*/ 0 60000 65536"/>
                <a:gd name="T15" fmla="*/ 0 w 19"/>
                <a:gd name="T16" fmla="*/ 0 h 7"/>
                <a:gd name="T17" fmla="*/ 19 w 19"/>
                <a:gd name="T18" fmla="*/ 7 h 7"/>
              </a:gdLst>
              <a:ahLst/>
              <a:cxnLst>
                <a:cxn ang="T10">
                  <a:pos x="T0" y="T1"/>
                </a:cxn>
                <a:cxn ang="T11">
                  <a:pos x="T2" y="T3"/>
                </a:cxn>
                <a:cxn ang="T12">
                  <a:pos x="T4" y="T5"/>
                </a:cxn>
                <a:cxn ang="T13">
                  <a:pos x="T6" y="T7"/>
                </a:cxn>
                <a:cxn ang="T14">
                  <a:pos x="T8" y="T9"/>
                </a:cxn>
              </a:cxnLst>
              <a:rect l="T15" t="T16" r="T17" b="T18"/>
              <a:pathLst>
                <a:path w="19" h="7">
                  <a:moveTo>
                    <a:pt x="16" y="7"/>
                  </a:moveTo>
                  <a:lnTo>
                    <a:pt x="19" y="6"/>
                  </a:lnTo>
                  <a:lnTo>
                    <a:pt x="15" y="3"/>
                  </a:lnTo>
                  <a:lnTo>
                    <a:pt x="0" y="0"/>
                  </a:lnTo>
                  <a:lnTo>
                    <a:pt x="16" y="7"/>
                  </a:lnTo>
                  <a:close/>
                </a:path>
              </a:pathLst>
            </a:custGeom>
            <a:grpFill/>
            <a:ln w="6350">
              <a:solidFill>
                <a:schemeClr val="tx2"/>
              </a:solidFill>
              <a:round/>
              <a:headEnd/>
              <a:tailEnd/>
            </a:ln>
          </p:spPr>
          <p:txBody>
            <a:bodyPr/>
            <a:lstStyle/>
            <a:p>
              <a:endParaRPr lang="en-US"/>
            </a:p>
          </p:txBody>
        </p:sp>
        <p:sp>
          <p:nvSpPr>
            <p:cNvPr id="9" name="Freeform 992"/>
            <p:cNvSpPr>
              <a:spLocks/>
            </p:cNvSpPr>
            <p:nvPr/>
          </p:nvSpPr>
          <p:spPr bwMode="auto">
            <a:xfrm>
              <a:off x="2489813" y="4619809"/>
              <a:ext cx="121369" cy="136541"/>
            </a:xfrm>
            <a:custGeom>
              <a:avLst/>
              <a:gdLst>
                <a:gd name="T0" fmla="*/ 2147483647 w 243"/>
                <a:gd name="T1" fmla="*/ 2147483647 h 271"/>
                <a:gd name="T2" fmla="*/ 2147483647 w 243"/>
                <a:gd name="T3" fmla="*/ 2147483647 h 271"/>
                <a:gd name="T4" fmla="*/ 2147483647 w 243"/>
                <a:gd name="T5" fmla="*/ 2147483647 h 271"/>
                <a:gd name="T6" fmla="*/ 2147483647 w 243"/>
                <a:gd name="T7" fmla="*/ 2147483647 h 271"/>
                <a:gd name="T8" fmla="*/ 2147483647 w 243"/>
                <a:gd name="T9" fmla="*/ 2147483647 h 271"/>
                <a:gd name="T10" fmla="*/ 2147483647 w 243"/>
                <a:gd name="T11" fmla="*/ 2147483647 h 271"/>
                <a:gd name="T12" fmla="*/ 2147483647 w 243"/>
                <a:gd name="T13" fmla="*/ 2147483647 h 271"/>
                <a:gd name="T14" fmla="*/ 2147483647 w 243"/>
                <a:gd name="T15" fmla="*/ 0 h 271"/>
                <a:gd name="T16" fmla="*/ 2147483647 w 243"/>
                <a:gd name="T17" fmla="*/ 2147483647 h 271"/>
                <a:gd name="T18" fmla="*/ 2147483647 w 243"/>
                <a:gd name="T19" fmla="*/ 2147483647 h 271"/>
                <a:gd name="T20" fmla="*/ 2147483647 w 243"/>
                <a:gd name="T21" fmla="*/ 2147483647 h 271"/>
                <a:gd name="T22" fmla="*/ 2147483647 w 243"/>
                <a:gd name="T23" fmla="*/ 2147483647 h 271"/>
                <a:gd name="T24" fmla="*/ 2147483647 w 243"/>
                <a:gd name="T25" fmla="*/ 2147483647 h 271"/>
                <a:gd name="T26" fmla="*/ 2147483647 w 243"/>
                <a:gd name="T27" fmla="*/ 2147483647 h 271"/>
                <a:gd name="T28" fmla="*/ 0 w 243"/>
                <a:gd name="T29" fmla="*/ 2147483647 h 271"/>
                <a:gd name="T30" fmla="*/ 0 w 243"/>
                <a:gd name="T31" fmla="*/ 2147483647 h 271"/>
                <a:gd name="T32" fmla="*/ 2147483647 w 243"/>
                <a:gd name="T33" fmla="*/ 2147483647 h 271"/>
                <a:gd name="T34" fmla="*/ 2147483647 w 243"/>
                <a:gd name="T35" fmla="*/ 2147483647 h 271"/>
                <a:gd name="T36" fmla="*/ 2147483647 w 243"/>
                <a:gd name="T37" fmla="*/ 2147483647 h 271"/>
                <a:gd name="T38" fmla="*/ 2147483647 w 243"/>
                <a:gd name="T39" fmla="*/ 2147483647 h 271"/>
                <a:gd name="T40" fmla="*/ 2147483647 w 243"/>
                <a:gd name="T41" fmla="*/ 2147483647 h 271"/>
                <a:gd name="T42" fmla="*/ 2147483647 w 243"/>
                <a:gd name="T43" fmla="*/ 2147483647 h 271"/>
                <a:gd name="T44" fmla="*/ 2147483647 w 243"/>
                <a:gd name="T45" fmla="*/ 2147483647 h 271"/>
                <a:gd name="T46" fmla="*/ 2147483647 w 243"/>
                <a:gd name="T47" fmla="*/ 2147483647 h 271"/>
                <a:gd name="T48" fmla="*/ 2147483647 w 243"/>
                <a:gd name="T49" fmla="*/ 2147483647 h 271"/>
                <a:gd name="T50" fmla="*/ 2147483647 w 243"/>
                <a:gd name="T51" fmla="*/ 2147483647 h 271"/>
                <a:gd name="T52" fmla="*/ 2147483647 w 243"/>
                <a:gd name="T53" fmla="*/ 2147483647 h 271"/>
                <a:gd name="T54" fmla="*/ 2147483647 w 243"/>
                <a:gd name="T55" fmla="*/ 2147483647 h 271"/>
                <a:gd name="T56" fmla="*/ 2147483647 w 243"/>
                <a:gd name="T57" fmla="*/ 2147483647 h 271"/>
                <a:gd name="T58" fmla="*/ 2147483647 w 243"/>
                <a:gd name="T59" fmla="*/ 2147483647 h 271"/>
                <a:gd name="T60" fmla="*/ 2147483647 w 243"/>
                <a:gd name="T61" fmla="*/ 2147483647 h 271"/>
                <a:gd name="T62" fmla="*/ 2147483647 w 243"/>
                <a:gd name="T63" fmla="*/ 2147483647 h 271"/>
                <a:gd name="T64" fmla="*/ 2147483647 w 243"/>
                <a:gd name="T65" fmla="*/ 2147483647 h 271"/>
                <a:gd name="T66" fmla="*/ 2147483647 w 243"/>
                <a:gd name="T67" fmla="*/ 2147483647 h 271"/>
                <a:gd name="T68" fmla="*/ 2147483647 w 243"/>
                <a:gd name="T69" fmla="*/ 2147483647 h 271"/>
                <a:gd name="T70" fmla="*/ 2147483647 w 243"/>
                <a:gd name="T71" fmla="*/ 2147483647 h 271"/>
                <a:gd name="T72" fmla="*/ 2147483647 w 243"/>
                <a:gd name="T73" fmla="*/ 2147483647 h 271"/>
                <a:gd name="T74" fmla="*/ 2147483647 w 243"/>
                <a:gd name="T75" fmla="*/ 2147483647 h 271"/>
                <a:gd name="T76" fmla="*/ 2147483647 w 243"/>
                <a:gd name="T77" fmla="*/ 2147483647 h 271"/>
                <a:gd name="T78" fmla="*/ 2147483647 w 243"/>
                <a:gd name="T79" fmla="*/ 2147483647 h 271"/>
                <a:gd name="T80" fmla="*/ 2147483647 w 243"/>
                <a:gd name="T81" fmla="*/ 2147483647 h 2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3"/>
                <a:gd name="T124" fmla="*/ 0 h 271"/>
                <a:gd name="T125" fmla="*/ 243 w 243"/>
                <a:gd name="T126" fmla="*/ 271 h 2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3" h="271">
                  <a:moveTo>
                    <a:pt x="238" y="60"/>
                  </a:moveTo>
                  <a:lnTo>
                    <a:pt x="206" y="43"/>
                  </a:lnTo>
                  <a:lnTo>
                    <a:pt x="197" y="49"/>
                  </a:lnTo>
                  <a:lnTo>
                    <a:pt x="153" y="48"/>
                  </a:lnTo>
                  <a:lnTo>
                    <a:pt x="147" y="33"/>
                  </a:lnTo>
                  <a:lnTo>
                    <a:pt x="137" y="25"/>
                  </a:lnTo>
                  <a:lnTo>
                    <a:pt x="112" y="13"/>
                  </a:lnTo>
                  <a:lnTo>
                    <a:pt x="84" y="0"/>
                  </a:lnTo>
                  <a:lnTo>
                    <a:pt x="52" y="21"/>
                  </a:lnTo>
                  <a:lnTo>
                    <a:pt x="35" y="21"/>
                  </a:lnTo>
                  <a:lnTo>
                    <a:pt x="31" y="26"/>
                  </a:lnTo>
                  <a:lnTo>
                    <a:pt x="33" y="52"/>
                  </a:lnTo>
                  <a:lnTo>
                    <a:pt x="20" y="70"/>
                  </a:lnTo>
                  <a:lnTo>
                    <a:pt x="18" y="87"/>
                  </a:lnTo>
                  <a:lnTo>
                    <a:pt x="0" y="102"/>
                  </a:lnTo>
                  <a:lnTo>
                    <a:pt x="0" y="156"/>
                  </a:lnTo>
                  <a:lnTo>
                    <a:pt x="22" y="170"/>
                  </a:lnTo>
                  <a:lnTo>
                    <a:pt x="40" y="150"/>
                  </a:lnTo>
                  <a:lnTo>
                    <a:pt x="45" y="167"/>
                  </a:lnTo>
                  <a:lnTo>
                    <a:pt x="41" y="190"/>
                  </a:lnTo>
                  <a:lnTo>
                    <a:pt x="20" y="205"/>
                  </a:lnTo>
                  <a:lnTo>
                    <a:pt x="24" y="223"/>
                  </a:lnTo>
                  <a:lnTo>
                    <a:pt x="10" y="232"/>
                  </a:lnTo>
                  <a:lnTo>
                    <a:pt x="15" y="252"/>
                  </a:lnTo>
                  <a:lnTo>
                    <a:pt x="32" y="246"/>
                  </a:lnTo>
                  <a:lnTo>
                    <a:pt x="39" y="254"/>
                  </a:lnTo>
                  <a:lnTo>
                    <a:pt x="51" y="254"/>
                  </a:lnTo>
                  <a:lnTo>
                    <a:pt x="60" y="271"/>
                  </a:lnTo>
                  <a:lnTo>
                    <a:pt x="75" y="268"/>
                  </a:lnTo>
                  <a:lnTo>
                    <a:pt x="89" y="258"/>
                  </a:lnTo>
                  <a:lnTo>
                    <a:pt x="93" y="224"/>
                  </a:lnTo>
                  <a:lnTo>
                    <a:pt x="105" y="208"/>
                  </a:lnTo>
                  <a:lnTo>
                    <a:pt x="114" y="209"/>
                  </a:lnTo>
                  <a:lnTo>
                    <a:pt x="121" y="192"/>
                  </a:lnTo>
                  <a:lnTo>
                    <a:pt x="181" y="167"/>
                  </a:lnTo>
                  <a:lnTo>
                    <a:pt x="219" y="130"/>
                  </a:lnTo>
                  <a:lnTo>
                    <a:pt x="236" y="98"/>
                  </a:lnTo>
                  <a:lnTo>
                    <a:pt x="243" y="98"/>
                  </a:lnTo>
                  <a:lnTo>
                    <a:pt x="226" y="68"/>
                  </a:lnTo>
                  <a:lnTo>
                    <a:pt x="227" y="62"/>
                  </a:lnTo>
                  <a:lnTo>
                    <a:pt x="238" y="60"/>
                  </a:lnTo>
                  <a:close/>
                </a:path>
              </a:pathLst>
            </a:custGeom>
            <a:grpFill/>
            <a:ln w="6350">
              <a:solidFill>
                <a:schemeClr val="tx2"/>
              </a:solidFill>
              <a:round/>
              <a:headEnd/>
              <a:tailEnd/>
            </a:ln>
          </p:spPr>
          <p:txBody>
            <a:bodyPr/>
            <a:lstStyle/>
            <a:p>
              <a:endParaRPr lang="en-US"/>
            </a:p>
          </p:txBody>
        </p:sp>
        <p:sp>
          <p:nvSpPr>
            <p:cNvPr id="10" name="Freeform 993"/>
            <p:cNvSpPr>
              <a:spLocks/>
            </p:cNvSpPr>
            <p:nvPr/>
          </p:nvSpPr>
          <p:spPr bwMode="auto">
            <a:xfrm>
              <a:off x="2532292" y="4383140"/>
              <a:ext cx="257910" cy="353488"/>
            </a:xfrm>
            <a:custGeom>
              <a:avLst/>
              <a:gdLst>
                <a:gd name="T0" fmla="*/ 2147483647 w 521"/>
                <a:gd name="T1" fmla="*/ 2147483647 h 712"/>
                <a:gd name="T2" fmla="*/ 2147483647 w 521"/>
                <a:gd name="T3" fmla="*/ 2147483647 h 712"/>
                <a:gd name="T4" fmla="*/ 2147483647 w 521"/>
                <a:gd name="T5" fmla="*/ 2147483647 h 712"/>
                <a:gd name="T6" fmla="*/ 2147483647 w 521"/>
                <a:gd name="T7" fmla="*/ 2147483647 h 712"/>
                <a:gd name="T8" fmla="*/ 2147483647 w 521"/>
                <a:gd name="T9" fmla="*/ 2147483647 h 712"/>
                <a:gd name="T10" fmla="*/ 2147483647 w 521"/>
                <a:gd name="T11" fmla="*/ 2147483647 h 712"/>
                <a:gd name="T12" fmla="*/ 2147483647 w 521"/>
                <a:gd name="T13" fmla="*/ 2147483647 h 712"/>
                <a:gd name="T14" fmla="*/ 2147483647 w 521"/>
                <a:gd name="T15" fmla="*/ 2147483647 h 712"/>
                <a:gd name="T16" fmla="*/ 2147483647 w 521"/>
                <a:gd name="T17" fmla="*/ 2147483647 h 712"/>
                <a:gd name="T18" fmla="*/ 2147483647 w 521"/>
                <a:gd name="T19" fmla="*/ 2147483647 h 712"/>
                <a:gd name="T20" fmla="*/ 2147483647 w 521"/>
                <a:gd name="T21" fmla="*/ 2147483647 h 712"/>
                <a:gd name="T22" fmla="*/ 2147483647 w 521"/>
                <a:gd name="T23" fmla="*/ 2147483647 h 712"/>
                <a:gd name="T24" fmla="*/ 2147483647 w 521"/>
                <a:gd name="T25" fmla="*/ 2147483647 h 712"/>
                <a:gd name="T26" fmla="*/ 2147483647 w 521"/>
                <a:gd name="T27" fmla="*/ 2147483647 h 712"/>
                <a:gd name="T28" fmla="*/ 2147483647 w 521"/>
                <a:gd name="T29" fmla="*/ 2147483647 h 712"/>
                <a:gd name="T30" fmla="*/ 2147483647 w 521"/>
                <a:gd name="T31" fmla="*/ 2147483647 h 712"/>
                <a:gd name="T32" fmla="*/ 2147483647 w 521"/>
                <a:gd name="T33" fmla="*/ 2147483647 h 712"/>
                <a:gd name="T34" fmla="*/ 2147483647 w 521"/>
                <a:gd name="T35" fmla="*/ 2147483647 h 712"/>
                <a:gd name="T36" fmla="*/ 2147483647 w 521"/>
                <a:gd name="T37" fmla="*/ 2147483647 h 712"/>
                <a:gd name="T38" fmla="*/ 2147483647 w 521"/>
                <a:gd name="T39" fmla="*/ 2147483647 h 712"/>
                <a:gd name="T40" fmla="*/ 2147483647 w 521"/>
                <a:gd name="T41" fmla="*/ 2147483647 h 712"/>
                <a:gd name="T42" fmla="*/ 2147483647 w 521"/>
                <a:gd name="T43" fmla="*/ 2147483647 h 712"/>
                <a:gd name="T44" fmla="*/ 2147483647 w 521"/>
                <a:gd name="T45" fmla="*/ 2147483647 h 712"/>
                <a:gd name="T46" fmla="*/ 2147483647 w 521"/>
                <a:gd name="T47" fmla="*/ 2147483647 h 712"/>
                <a:gd name="T48" fmla="*/ 2147483647 w 521"/>
                <a:gd name="T49" fmla="*/ 2147483647 h 712"/>
                <a:gd name="T50" fmla="*/ 2147483647 w 521"/>
                <a:gd name="T51" fmla="*/ 2147483647 h 712"/>
                <a:gd name="T52" fmla="*/ 2147483647 w 521"/>
                <a:gd name="T53" fmla="*/ 2147483647 h 712"/>
                <a:gd name="T54" fmla="*/ 2147483647 w 521"/>
                <a:gd name="T55" fmla="*/ 2147483647 h 712"/>
                <a:gd name="T56" fmla="*/ 2147483647 w 521"/>
                <a:gd name="T57" fmla="*/ 2147483647 h 712"/>
                <a:gd name="T58" fmla="*/ 2147483647 w 521"/>
                <a:gd name="T59" fmla="*/ 2147483647 h 712"/>
                <a:gd name="T60" fmla="*/ 2147483647 w 521"/>
                <a:gd name="T61" fmla="*/ 2147483647 h 712"/>
                <a:gd name="T62" fmla="*/ 2147483647 w 521"/>
                <a:gd name="T63" fmla="*/ 2147483647 h 712"/>
                <a:gd name="T64" fmla="*/ 2147483647 w 521"/>
                <a:gd name="T65" fmla="*/ 2147483647 h 712"/>
                <a:gd name="T66" fmla="*/ 2147483647 w 521"/>
                <a:gd name="T67" fmla="*/ 2147483647 h 712"/>
                <a:gd name="T68" fmla="*/ 2147483647 w 521"/>
                <a:gd name="T69" fmla="*/ 2147483647 h 712"/>
                <a:gd name="T70" fmla="*/ 2147483647 w 521"/>
                <a:gd name="T71" fmla="*/ 2147483647 h 712"/>
                <a:gd name="T72" fmla="*/ 2147483647 w 521"/>
                <a:gd name="T73" fmla="*/ 2147483647 h 712"/>
                <a:gd name="T74" fmla="*/ 2147483647 w 521"/>
                <a:gd name="T75" fmla="*/ 2147483647 h 712"/>
                <a:gd name="T76" fmla="*/ 2147483647 w 521"/>
                <a:gd name="T77" fmla="*/ 2147483647 h 712"/>
                <a:gd name="T78" fmla="*/ 2147483647 w 521"/>
                <a:gd name="T79" fmla="*/ 2147483647 h 712"/>
                <a:gd name="T80" fmla="*/ 2147483647 w 521"/>
                <a:gd name="T81" fmla="*/ 2147483647 h 712"/>
                <a:gd name="T82" fmla="*/ 2147483647 w 521"/>
                <a:gd name="T83" fmla="*/ 2147483647 h 712"/>
                <a:gd name="T84" fmla="*/ 2147483647 w 521"/>
                <a:gd name="T85" fmla="*/ 2147483647 h 712"/>
                <a:gd name="T86" fmla="*/ 2147483647 w 521"/>
                <a:gd name="T87" fmla="*/ 2147483647 h 712"/>
                <a:gd name="T88" fmla="*/ 2147483647 w 521"/>
                <a:gd name="T89" fmla="*/ 2147483647 h 712"/>
                <a:gd name="T90" fmla="*/ 2147483647 w 521"/>
                <a:gd name="T91" fmla="*/ 2147483647 h 712"/>
                <a:gd name="T92" fmla="*/ 2147483647 w 521"/>
                <a:gd name="T93" fmla="*/ 2147483647 h 712"/>
                <a:gd name="T94" fmla="*/ 2147483647 w 521"/>
                <a:gd name="T95" fmla="*/ 2147483647 h 712"/>
                <a:gd name="T96" fmla="*/ 2147483647 w 521"/>
                <a:gd name="T97" fmla="*/ 2147483647 h 712"/>
                <a:gd name="T98" fmla="*/ 2147483647 w 521"/>
                <a:gd name="T99" fmla="*/ 2147483647 h 712"/>
                <a:gd name="T100" fmla="*/ 2147483647 w 521"/>
                <a:gd name="T101" fmla="*/ 2147483647 h 712"/>
                <a:gd name="T102" fmla="*/ 2147483647 w 521"/>
                <a:gd name="T103" fmla="*/ 2147483647 h 712"/>
                <a:gd name="T104" fmla="*/ 2147483647 w 521"/>
                <a:gd name="T105" fmla="*/ 2147483647 h 712"/>
                <a:gd name="T106" fmla="*/ 2147483647 w 521"/>
                <a:gd name="T107" fmla="*/ 2147483647 h 712"/>
                <a:gd name="T108" fmla="*/ 2147483647 w 521"/>
                <a:gd name="T109" fmla="*/ 2147483647 h 712"/>
                <a:gd name="T110" fmla="*/ 2147483647 w 521"/>
                <a:gd name="T111" fmla="*/ 2147483647 h 712"/>
                <a:gd name="T112" fmla="*/ 2147483647 w 521"/>
                <a:gd name="T113" fmla="*/ 2147483647 h 71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1"/>
                <a:gd name="T172" fmla="*/ 0 h 712"/>
                <a:gd name="T173" fmla="*/ 521 w 521"/>
                <a:gd name="T174" fmla="*/ 712 h 71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1" h="712">
                  <a:moveTo>
                    <a:pt x="403" y="623"/>
                  </a:moveTo>
                  <a:lnTo>
                    <a:pt x="395" y="667"/>
                  </a:lnTo>
                  <a:lnTo>
                    <a:pt x="387" y="712"/>
                  </a:lnTo>
                  <a:lnTo>
                    <a:pt x="371" y="699"/>
                  </a:lnTo>
                  <a:lnTo>
                    <a:pt x="360" y="697"/>
                  </a:lnTo>
                  <a:lnTo>
                    <a:pt x="360" y="689"/>
                  </a:lnTo>
                  <a:lnTo>
                    <a:pt x="382" y="658"/>
                  </a:lnTo>
                  <a:lnTo>
                    <a:pt x="374" y="645"/>
                  </a:lnTo>
                  <a:lnTo>
                    <a:pt x="342" y="632"/>
                  </a:lnTo>
                  <a:lnTo>
                    <a:pt x="327" y="637"/>
                  </a:lnTo>
                  <a:lnTo>
                    <a:pt x="305" y="632"/>
                  </a:lnTo>
                  <a:lnTo>
                    <a:pt x="286" y="642"/>
                  </a:lnTo>
                  <a:lnTo>
                    <a:pt x="254" y="639"/>
                  </a:lnTo>
                  <a:lnTo>
                    <a:pt x="247" y="631"/>
                  </a:lnTo>
                  <a:lnTo>
                    <a:pt x="247" y="614"/>
                  </a:lnTo>
                  <a:lnTo>
                    <a:pt x="234" y="611"/>
                  </a:lnTo>
                  <a:lnTo>
                    <a:pt x="226" y="586"/>
                  </a:lnTo>
                  <a:lnTo>
                    <a:pt x="209" y="580"/>
                  </a:lnTo>
                  <a:lnTo>
                    <a:pt x="195" y="557"/>
                  </a:lnTo>
                  <a:lnTo>
                    <a:pt x="180" y="545"/>
                  </a:lnTo>
                  <a:lnTo>
                    <a:pt x="158" y="538"/>
                  </a:lnTo>
                  <a:lnTo>
                    <a:pt x="126" y="521"/>
                  </a:lnTo>
                  <a:lnTo>
                    <a:pt x="117" y="527"/>
                  </a:lnTo>
                  <a:lnTo>
                    <a:pt x="73" y="526"/>
                  </a:lnTo>
                  <a:lnTo>
                    <a:pt x="67" y="511"/>
                  </a:lnTo>
                  <a:lnTo>
                    <a:pt x="57" y="503"/>
                  </a:lnTo>
                  <a:lnTo>
                    <a:pt x="32" y="491"/>
                  </a:lnTo>
                  <a:lnTo>
                    <a:pt x="4" y="478"/>
                  </a:lnTo>
                  <a:lnTo>
                    <a:pt x="0" y="466"/>
                  </a:lnTo>
                  <a:lnTo>
                    <a:pt x="5" y="459"/>
                  </a:lnTo>
                  <a:lnTo>
                    <a:pt x="15" y="457"/>
                  </a:lnTo>
                  <a:lnTo>
                    <a:pt x="19" y="428"/>
                  </a:lnTo>
                  <a:lnTo>
                    <a:pt x="56" y="418"/>
                  </a:lnTo>
                  <a:lnTo>
                    <a:pt x="63" y="397"/>
                  </a:lnTo>
                  <a:lnTo>
                    <a:pt x="86" y="369"/>
                  </a:lnTo>
                  <a:lnTo>
                    <a:pt x="86" y="365"/>
                  </a:lnTo>
                  <a:lnTo>
                    <a:pt x="77" y="370"/>
                  </a:lnTo>
                  <a:lnTo>
                    <a:pt x="66" y="367"/>
                  </a:lnTo>
                  <a:lnTo>
                    <a:pt x="70" y="344"/>
                  </a:lnTo>
                  <a:lnTo>
                    <a:pt x="64" y="302"/>
                  </a:lnTo>
                  <a:lnTo>
                    <a:pt x="69" y="291"/>
                  </a:lnTo>
                  <a:lnTo>
                    <a:pt x="67" y="259"/>
                  </a:lnTo>
                  <a:lnTo>
                    <a:pt x="54" y="244"/>
                  </a:lnTo>
                  <a:lnTo>
                    <a:pt x="46" y="221"/>
                  </a:lnTo>
                  <a:lnTo>
                    <a:pt x="54" y="206"/>
                  </a:lnTo>
                  <a:lnTo>
                    <a:pt x="61" y="208"/>
                  </a:lnTo>
                  <a:lnTo>
                    <a:pt x="76" y="192"/>
                  </a:lnTo>
                  <a:lnTo>
                    <a:pt x="65" y="173"/>
                  </a:lnTo>
                  <a:lnTo>
                    <a:pt x="67" y="163"/>
                  </a:lnTo>
                  <a:lnTo>
                    <a:pt x="94" y="191"/>
                  </a:lnTo>
                  <a:lnTo>
                    <a:pt x="92" y="163"/>
                  </a:lnTo>
                  <a:lnTo>
                    <a:pt x="112" y="149"/>
                  </a:lnTo>
                  <a:lnTo>
                    <a:pt x="125" y="132"/>
                  </a:lnTo>
                  <a:lnTo>
                    <a:pt x="140" y="124"/>
                  </a:lnTo>
                  <a:lnTo>
                    <a:pt x="144" y="82"/>
                  </a:lnTo>
                  <a:lnTo>
                    <a:pt x="170" y="62"/>
                  </a:lnTo>
                  <a:lnTo>
                    <a:pt x="182" y="62"/>
                  </a:lnTo>
                  <a:lnTo>
                    <a:pt x="189" y="62"/>
                  </a:lnTo>
                  <a:lnTo>
                    <a:pt x="193" y="70"/>
                  </a:lnTo>
                  <a:lnTo>
                    <a:pt x="205" y="49"/>
                  </a:lnTo>
                  <a:lnTo>
                    <a:pt x="226" y="50"/>
                  </a:lnTo>
                  <a:lnTo>
                    <a:pt x="246" y="45"/>
                  </a:lnTo>
                  <a:lnTo>
                    <a:pt x="287" y="26"/>
                  </a:lnTo>
                  <a:lnTo>
                    <a:pt x="298" y="9"/>
                  </a:lnTo>
                  <a:lnTo>
                    <a:pt x="307" y="9"/>
                  </a:lnTo>
                  <a:lnTo>
                    <a:pt x="307" y="3"/>
                  </a:lnTo>
                  <a:lnTo>
                    <a:pt x="316" y="0"/>
                  </a:lnTo>
                  <a:lnTo>
                    <a:pt x="335" y="9"/>
                  </a:lnTo>
                  <a:lnTo>
                    <a:pt x="335" y="16"/>
                  </a:lnTo>
                  <a:lnTo>
                    <a:pt x="328" y="25"/>
                  </a:lnTo>
                  <a:lnTo>
                    <a:pt x="305" y="32"/>
                  </a:lnTo>
                  <a:lnTo>
                    <a:pt x="274" y="66"/>
                  </a:lnTo>
                  <a:lnTo>
                    <a:pt x="264" y="83"/>
                  </a:lnTo>
                  <a:lnTo>
                    <a:pt x="254" y="119"/>
                  </a:lnTo>
                  <a:lnTo>
                    <a:pt x="243" y="141"/>
                  </a:lnTo>
                  <a:lnTo>
                    <a:pt x="262" y="141"/>
                  </a:lnTo>
                  <a:lnTo>
                    <a:pt x="267" y="161"/>
                  </a:lnTo>
                  <a:lnTo>
                    <a:pt x="283" y="181"/>
                  </a:lnTo>
                  <a:lnTo>
                    <a:pt x="285" y="216"/>
                  </a:lnTo>
                  <a:lnTo>
                    <a:pt x="301" y="228"/>
                  </a:lnTo>
                  <a:lnTo>
                    <a:pt x="326" y="234"/>
                  </a:lnTo>
                  <a:lnTo>
                    <a:pt x="361" y="229"/>
                  </a:lnTo>
                  <a:lnTo>
                    <a:pt x="384" y="237"/>
                  </a:lnTo>
                  <a:lnTo>
                    <a:pt x="413" y="274"/>
                  </a:lnTo>
                  <a:lnTo>
                    <a:pt x="434" y="270"/>
                  </a:lnTo>
                  <a:lnTo>
                    <a:pt x="458" y="276"/>
                  </a:lnTo>
                  <a:lnTo>
                    <a:pt x="483" y="268"/>
                  </a:lnTo>
                  <a:lnTo>
                    <a:pt x="495" y="270"/>
                  </a:lnTo>
                  <a:lnTo>
                    <a:pt x="497" y="280"/>
                  </a:lnTo>
                  <a:lnTo>
                    <a:pt x="484" y="307"/>
                  </a:lnTo>
                  <a:lnTo>
                    <a:pt x="479" y="338"/>
                  </a:lnTo>
                  <a:lnTo>
                    <a:pt x="484" y="363"/>
                  </a:lnTo>
                  <a:lnTo>
                    <a:pt x="497" y="375"/>
                  </a:lnTo>
                  <a:lnTo>
                    <a:pt x="504" y="392"/>
                  </a:lnTo>
                  <a:lnTo>
                    <a:pt x="483" y="416"/>
                  </a:lnTo>
                  <a:lnTo>
                    <a:pt x="503" y="435"/>
                  </a:lnTo>
                  <a:lnTo>
                    <a:pt x="521" y="479"/>
                  </a:lnTo>
                  <a:lnTo>
                    <a:pt x="512" y="485"/>
                  </a:lnTo>
                  <a:lnTo>
                    <a:pt x="507" y="462"/>
                  </a:lnTo>
                  <a:lnTo>
                    <a:pt x="497" y="449"/>
                  </a:lnTo>
                  <a:lnTo>
                    <a:pt x="474" y="457"/>
                  </a:lnTo>
                  <a:lnTo>
                    <a:pt x="463" y="451"/>
                  </a:lnTo>
                  <a:lnTo>
                    <a:pt x="457" y="462"/>
                  </a:lnTo>
                  <a:lnTo>
                    <a:pt x="392" y="461"/>
                  </a:lnTo>
                  <a:lnTo>
                    <a:pt x="393" y="488"/>
                  </a:lnTo>
                  <a:lnTo>
                    <a:pt x="398" y="492"/>
                  </a:lnTo>
                  <a:lnTo>
                    <a:pt x="414" y="490"/>
                  </a:lnTo>
                  <a:lnTo>
                    <a:pt x="423" y="508"/>
                  </a:lnTo>
                  <a:lnTo>
                    <a:pt x="405" y="506"/>
                  </a:lnTo>
                  <a:lnTo>
                    <a:pt x="383" y="512"/>
                  </a:lnTo>
                  <a:lnTo>
                    <a:pt x="383" y="542"/>
                  </a:lnTo>
                  <a:lnTo>
                    <a:pt x="401" y="559"/>
                  </a:lnTo>
                  <a:lnTo>
                    <a:pt x="410" y="588"/>
                  </a:lnTo>
                  <a:lnTo>
                    <a:pt x="403" y="623"/>
                  </a:lnTo>
                  <a:close/>
                </a:path>
              </a:pathLst>
            </a:custGeom>
            <a:grpFill/>
            <a:ln w="6350">
              <a:solidFill>
                <a:schemeClr val="tx2"/>
              </a:solidFill>
              <a:round/>
              <a:headEnd/>
              <a:tailEnd/>
            </a:ln>
          </p:spPr>
          <p:txBody>
            <a:bodyPr/>
            <a:lstStyle/>
            <a:p>
              <a:endParaRPr lang="en-US"/>
            </a:p>
          </p:txBody>
        </p:sp>
        <p:sp>
          <p:nvSpPr>
            <p:cNvPr id="11" name="Freeform 994"/>
            <p:cNvSpPr>
              <a:spLocks/>
            </p:cNvSpPr>
            <p:nvPr/>
          </p:nvSpPr>
          <p:spPr bwMode="auto">
            <a:xfrm>
              <a:off x="2641524" y="4537885"/>
              <a:ext cx="832895" cy="872340"/>
            </a:xfrm>
            <a:custGeom>
              <a:avLst/>
              <a:gdLst>
                <a:gd name="T0" fmla="*/ 2147483647 w 1676"/>
                <a:gd name="T1" fmla="*/ 2147483647 h 1756"/>
                <a:gd name="T2" fmla="*/ 2147483647 w 1676"/>
                <a:gd name="T3" fmla="*/ 2147483647 h 1756"/>
                <a:gd name="T4" fmla="*/ 2147483647 w 1676"/>
                <a:gd name="T5" fmla="*/ 2147483647 h 1756"/>
                <a:gd name="T6" fmla="*/ 2147483647 w 1676"/>
                <a:gd name="T7" fmla="*/ 2147483647 h 1756"/>
                <a:gd name="T8" fmla="*/ 2147483647 w 1676"/>
                <a:gd name="T9" fmla="*/ 2147483647 h 1756"/>
                <a:gd name="T10" fmla="*/ 2147483647 w 1676"/>
                <a:gd name="T11" fmla="*/ 2147483647 h 1756"/>
                <a:gd name="T12" fmla="*/ 2147483647 w 1676"/>
                <a:gd name="T13" fmla="*/ 2147483647 h 1756"/>
                <a:gd name="T14" fmla="*/ 2147483647 w 1676"/>
                <a:gd name="T15" fmla="*/ 2147483647 h 1756"/>
                <a:gd name="T16" fmla="*/ 2147483647 w 1676"/>
                <a:gd name="T17" fmla="*/ 2147483647 h 1756"/>
                <a:gd name="T18" fmla="*/ 2147483647 w 1676"/>
                <a:gd name="T19" fmla="*/ 2147483647 h 1756"/>
                <a:gd name="T20" fmla="*/ 2147483647 w 1676"/>
                <a:gd name="T21" fmla="*/ 2147483647 h 1756"/>
                <a:gd name="T22" fmla="*/ 2147483647 w 1676"/>
                <a:gd name="T23" fmla="*/ 2147483647 h 1756"/>
                <a:gd name="T24" fmla="*/ 2147483647 w 1676"/>
                <a:gd name="T25" fmla="*/ 2147483647 h 1756"/>
                <a:gd name="T26" fmla="*/ 2147483647 w 1676"/>
                <a:gd name="T27" fmla="*/ 2147483647 h 1756"/>
                <a:gd name="T28" fmla="*/ 2147483647 w 1676"/>
                <a:gd name="T29" fmla="*/ 2147483647 h 1756"/>
                <a:gd name="T30" fmla="*/ 2147483647 w 1676"/>
                <a:gd name="T31" fmla="*/ 2147483647 h 1756"/>
                <a:gd name="T32" fmla="*/ 2147483647 w 1676"/>
                <a:gd name="T33" fmla="*/ 2147483647 h 1756"/>
                <a:gd name="T34" fmla="*/ 2147483647 w 1676"/>
                <a:gd name="T35" fmla="*/ 2147483647 h 1756"/>
                <a:gd name="T36" fmla="*/ 2147483647 w 1676"/>
                <a:gd name="T37" fmla="*/ 2147483647 h 1756"/>
                <a:gd name="T38" fmla="*/ 2147483647 w 1676"/>
                <a:gd name="T39" fmla="*/ 2147483647 h 1756"/>
                <a:gd name="T40" fmla="*/ 2147483647 w 1676"/>
                <a:gd name="T41" fmla="*/ 2147483647 h 1756"/>
                <a:gd name="T42" fmla="*/ 2147483647 w 1676"/>
                <a:gd name="T43" fmla="*/ 2147483647 h 1756"/>
                <a:gd name="T44" fmla="*/ 2147483647 w 1676"/>
                <a:gd name="T45" fmla="*/ 2147483647 h 1756"/>
                <a:gd name="T46" fmla="*/ 2147483647 w 1676"/>
                <a:gd name="T47" fmla="*/ 2147483647 h 1756"/>
                <a:gd name="T48" fmla="*/ 2147483647 w 1676"/>
                <a:gd name="T49" fmla="*/ 2147483647 h 1756"/>
                <a:gd name="T50" fmla="*/ 2147483647 w 1676"/>
                <a:gd name="T51" fmla="*/ 2147483647 h 1756"/>
                <a:gd name="T52" fmla="*/ 2147483647 w 1676"/>
                <a:gd name="T53" fmla="*/ 2147483647 h 1756"/>
                <a:gd name="T54" fmla="*/ 2147483647 w 1676"/>
                <a:gd name="T55" fmla="*/ 2147483647 h 1756"/>
                <a:gd name="T56" fmla="*/ 2147483647 w 1676"/>
                <a:gd name="T57" fmla="*/ 2147483647 h 1756"/>
                <a:gd name="T58" fmla="*/ 2147483647 w 1676"/>
                <a:gd name="T59" fmla="*/ 2147483647 h 1756"/>
                <a:gd name="T60" fmla="*/ 2147483647 w 1676"/>
                <a:gd name="T61" fmla="*/ 0 h 1756"/>
                <a:gd name="T62" fmla="*/ 2147483647 w 1676"/>
                <a:gd name="T63" fmla="*/ 2147483647 h 1756"/>
                <a:gd name="T64" fmla="*/ 2147483647 w 1676"/>
                <a:gd name="T65" fmla="*/ 2147483647 h 1756"/>
                <a:gd name="T66" fmla="*/ 2147483647 w 1676"/>
                <a:gd name="T67" fmla="*/ 2147483647 h 1756"/>
                <a:gd name="T68" fmla="*/ 2147483647 w 1676"/>
                <a:gd name="T69" fmla="*/ 2147483647 h 1756"/>
                <a:gd name="T70" fmla="*/ 2147483647 w 1676"/>
                <a:gd name="T71" fmla="*/ 2147483647 h 1756"/>
                <a:gd name="T72" fmla="*/ 2147483647 w 1676"/>
                <a:gd name="T73" fmla="*/ 2147483647 h 1756"/>
                <a:gd name="T74" fmla="*/ 2147483647 w 1676"/>
                <a:gd name="T75" fmla="*/ 2147483647 h 1756"/>
                <a:gd name="T76" fmla="*/ 2147483647 w 1676"/>
                <a:gd name="T77" fmla="*/ 2147483647 h 1756"/>
                <a:gd name="T78" fmla="*/ 2147483647 w 1676"/>
                <a:gd name="T79" fmla="*/ 2147483647 h 1756"/>
                <a:gd name="T80" fmla="*/ 2147483647 w 1676"/>
                <a:gd name="T81" fmla="*/ 2147483647 h 1756"/>
                <a:gd name="T82" fmla="*/ 2147483647 w 1676"/>
                <a:gd name="T83" fmla="*/ 2147483647 h 1756"/>
                <a:gd name="T84" fmla="*/ 2147483647 w 1676"/>
                <a:gd name="T85" fmla="*/ 2147483647 h 1756"/>
                <a:gd name="T86" fmla="*/ 2147483647 w 1676"/>
                <a:gd name="T87" fmla="*/ 2147483647 h 1756"/>
                <a:gd name="T88" fmla="*/ 2147483647 w 1676"/>
                <a:gd name="T89" fmla="*/ 2147483647 h 1756"/>
                <a:gd name="T90" fmla="*/ 2147483647 w 1676"/>
                <a:gd name="T91" fmla="*/ 2147483647 h 1756"/>
                <a:gd name="T92" fmla="*/ 2147483647 w 1676"/>
                <a:gd name="T93" fmla="*/ 2147483647 h 1756"/>
                <a:gd name="T94" fmla="*/ 2147483647 w 1676"/>
                <a:gd name="T95" fmla="*/ 2147483647 h 1756"/>
                <a:gd name="T96" fmla="*/ 2147483647 w 1676"/>
                <a:gd name="T97" fmla="*/ 2147483647 h 1756"/>
                <a:gd name="T98" fmla="*/ 2147483647 w 1676"/>
                <a:gd name="T99" fmla="*/ 2147483647 h 1756"/>
                <a:gd name="T100" fmla="*/ 2147483647 w 1676"/>
                <a:gd name="T101" fmla="*/ 2147483647 h 1756"/>
                <a:gd name="T102" fmla="*/ 2147483647 w 1676"/>
                <a:gd name="T103" fmla="*/ 2147483647 h 1756"/>
                <a:gd name="T104" fmla="*/ 2147483647 w 1676"/>
                <a:gd name="T105" fmla="*/ 2147483647 h 1756"/>
                <a:gd name="T106" fmla="*/ 2147483647 w 1676"/>
                <a:gd name="T107" fmla="*/ 2147483647 h 1756"/>
                <a:gd name="T108" fmla="*/ 2147483647 w 1676"/>
                <a:gd name="T109" fmla="*/ 2147483647 h 1756"/>
                <a:gd name="T110" fmla="*/ 2147483647 w 1676"/>
                <a:gd name="T111" fmla="*/ 2147483647 h 1756"/>
                <a:gd name="T112" fmla="*/ 2147483647 w 1676"/>
                <a:gd name="T113" fmla="*/ 2147483647 h 1756"/>
                <a:gd name="T114" fmla="*/ 2147483647 w 1676"/>
                <a:gd name="T115" fmla="*/ 2147483647 h 1756"/>
                <a:gd name="T116" fmla="*/ 2147483647 w 1676"/>
                <a:gd name="T117" fmla="*/ 2147483647 h 1756"/>
                <a:gd name="T118" fmla="*/ 2147483647 w 1676"/>
                <a:gd name="T119" fmla="*/ 2147483647 h 1756"/>
                <a:gd name="T120" fmla="*/ 2147483647 w 1676"/>
                <a:gd name="T121" fmla="*/ 2147483647 h 1756"/>
                <a:gd name="T122" fmla="*/ 2147483647 w 1676"/>
                <a:gd name="T123" fmla="*/ 2147483647 h 1756"/>
                <a:gd name="T124" fmla="*/ 2147483647 w 1676"/>
                <a:gd name="T125" fmla="*/ 2147483647 h 17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6"/>
                <a:gd name="T190" fmla="*/ 0 h 1756"/>
                <a:gd name="T191" fmla="*/ 1676 w 1676"/>
                <a:gd name="T192" fmla="*/ 1756 h 17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6" h="1756">
                  <a:moveTo>
                    <a:pt x="878" y="1756"/>
                  </a:moveTo>
                  <a:lnTo>
                    <a:pt x="899" y="1735"/>
                  </a:lnTo>
                  <a:lnTo>
                    <a:pt x="917" y="1711"/>
                  </a:lnTo>
                  <a:lnTo>
                    <a:pt x="926" y="1683"/>
                  </a:lnTo>
                  <a:lnTo>
                    <a:pt x="978" y="1642"/>
                  </a:lnTo>
                  <a:lnTo>
                    <a:pt x="1011" y="1591"/>
                  </a:lnTo>
                  <a:lnTo>
                    <a:pt x="1014" y="1574"/>
                  </a:lnTo>
                  <a:lnTo>
                    <a:pt x="1033" y="1538"/>
                  </a:lnTo>
                  <a:lnTo>
                    <a:pt x="1052" y="1512"/>
                  </a:lnTo>
                  <a:lnTo>
                    <a:pt x="1071" y="1501"/>
                  </a:lnTo>
                  <a:lnTo>
                    <a:pt x="1081" y="1485"/>
                  </a:lnTo>
                  <a:lnTo>
                    <a:pt x="1085" y="1436"/>
                  </a:lnTo>
                  <a:lnTo>
                    <a:pt x="1093" y="1430"/>
                  </a:lnTo>
                  <a:lnTo>
                    <a:pt x="1084" y="1417"/>
                  </a:lnTo>
                  <a:lnTo>
                    <a:pt x="1081" y="1379"/>
                  </a:lnTo>
                  <a:lnTo>
                    <a:pt x="1097" y="1346"/>
                  </a:lnTo>
                  <a:lnTo>
                    <a:pt x="1168" y="1281"/>
                  </a:lnTo>
                  <a:lnTo>
                    <a:pt x="1195" y="1267"/>
                  </a:lnTo>
                  <a:lnTo>
                    <a:pt x="1217" y="1264"/>
                  </a:lnTo>
                  <a:lnTo>
                    <a:pt x="1240" y="1246"/>
                  </a:lnTo>
                  <a:lnTo>
                    <a:pt x="1256" y="1244"/>
                  </a:lnTo>
                  <a:lnTo>
                    <a:pt x="1254" y="1234"/>
                  </a:lnTo>
                  <a:lnTo>
                    <a:pt x="1261" y="1228"/>
                  </a:lnTo>
                  <a:lnTo>
                    <a:pt x="1269" y="1232"/>
                  </a:lnTo>
                  <a:lnTo>
                    <a:pt x="1286" y="1227"/>
                  </a:lnTo>
                  <a:lnTo>
                    <a:pt x="1302" y="1229"/>
                  </a:lnTo>
                  <a:lnTo>
                    <a:pt x="1315" y="1225"/>
                  </a:lnTo>
                  <a:lnTo>
                    <a:pt x="1361" y="1225"/>
                  </a:lnTo>
                  <a:lnTo>
                    <a:pt x="1370" y="1208"/>
                  </a:lnTo>
                  <a:lnTo>
                    <a:pt x="1404" y="1184"/>
                  </a:lnTo>
                  <a:lnTo>
                    <a:pt x="1411" y="1151"/>
                  </a:lnTo>
                  <a:lnTo>
                    <a:pt x="1435" y="1122"/>
                  </a:lnTo>
                  <a:lnTo>
                    <a:pt x="1450" y="1087"/>
                  </a:lnTo>
                  <a:lnTo>
                    <a:pt x="1464" y="1069"/>
                  </a:lnTo>
                  <a:lnTo>
                    <a:pt x="1471" y="1011"/>
                  </a:lnTo>
                  <a:lnTo>
                    <a:pt x="1488" y="988"/>
                  </a:lnTo>
                  <a:lnTo>
                    <a:pt x="1499" y="904"/>
                  </a:lnTo>
                  <a:lnTo>
                    <a:pt x="1494" y="845"/>
                  </a:lnTo>
                  <a:lnTo>
                    <a:pt x="1501" y="789"/>
                  </a:lnTo>
                  <a:lnTo>
                    <a:pt x="1510" y="779"/>
                  </a:lnTo>
                  <a:lnTo>
                    <a:pt x="1521" y="780"/>
                  </a:lnTo>
                  <a:lnTo>
                    <a:pt x="1533" y="771"/>
                  </a:lnTo>
                  <a:lnTo>
                    <a:pt x="1569" y="706"/>
                  </a:lnTo>
                  <a:lnTo>
                    <a:pt x="1610" y="673"/>
                  </a:lnTo>
                  <a:lnTo>
                    <a:pt x="1615" y="667"/>
                  </a:lnTo>
                  <a:lnTo>
                    <a:pt x="1661" y="607"/>
                  </a:lnTo>
                  <a:lnTo>
                    <a:pt x="1673" y="566"/>
                  </a:lnTo>
                  <a:lnTo>
                    <a:pt x="1676" y="526"/>
                  </a:lnTo>
                  <a:lnTo>
                    <a:pt x="1676" y="509"/>
                  </a:lnTo>
                  <a:lnTo>
                    <a:pt x="1665" y="467"/>
                  </a:lnTo>
                  <a:lnTo>
                    <a:pt x="1651" y="446"/>
                  </a:lnTo>
                  <a:lnTo>
                    <a:pt x="1582" y="437"/>
                  </a:lnTo>
                  <a:lnTo>
                    <a:pt x="1516" y="379"/>
                  </a:lnTo>
                  <a:lnTo>
                    <a:pt x="1479" y="355"/>
                  </a:lnTo>
                  <a:lnTo>
                    <a:pt x="1461" y="346"/>
                  </a:lnTo>
                  <a:lnTo>
                    <a:pt x="1377" y="344"/>
                  </a:lnTo>
                  <a:lnTo>
                    <a:pt x="1309" y="327"/>
                  </a:lnTo>
                  <a:lnTo>
                    <a:pt x="1304" y="322"/>
                  </a:lnTo>
                  <a:lnTo>
                    <a:pt x="1265" y="337"/>
                  </a:lnTo>
                  <a:lnTo>
                    <a:pt x="1272" y="320"/>
                  </a:lnTo>
                  <a:lnTo>
                    <a:pt x="1266" y="314"/>
                  </a:lnTo>
                  <a:lnTo>
                    <a:pt x="1257" y="314"/>
                  </a:lnTo>
                  <a:lnTo>
                    <a:pt x="1261" y="302"/>
                  </a:lnTo>
                  <a:lnTo>
                    <a:pt x="1247" y="286"/>
                  </a:lnTo>
                  <a:lnTo>
                    <a:pt x="1228" y="295"/>
                  </a:lnTo>
                  <a:lnTo>
                    <a:pt x="1221" y="276"/>
                  </a:lnTo>
                  <a:lnTo>
                    <a:pt x="1191" y="264"/>
                  </a:lnTo>
                  <a:lnTo>
                    <a:pt x="1176" y="263"/>
                  </a:lnTo>
                  <a:lnTo>
                    <a:pt x="1151" y="250"/>
                  </a:lnTo>
                  <a:lnTo>
                    <a:pt x="1119" y="249"/>
                  </a:lnTo>
                  <a:lnTo>
                    <a:pt x="1112" y="252"/>
                  </a:lnTo>
                  <a:lnTo>
                    <a:pt x="1093" y="285"/>
                  </a:lnTo>
                  <a:lnTo>
                    <a:pt x="1072" y="293"/>
                  </a:lnTo>
                  <a:lnTo>
                    <a:pt x="1056" y="327"/>
                  </a:lnTo>
                  <a:lnTo>
                    <a:pt x="1055" y="301"/>
                  </a:lnTo>
                  <a:lnTo>
                    <a:pt x="999" y="302"/>
                  </a:lnTo>
                  <a:lnTo>
                    <a:pt x="988" y="306"/>
                  </a:lnTo>
                  <a:lnTo>
                    <a:pt x="970" y="302"/>
                  </a:lnTo>
                  <a:lnTo>
                    <a:pt x="963" y="310"/>
                  </a:lnTo>
                  <a:lnTo>
                    <a:pt x="968" y="297"/>
                  </a:lnTo>
                  <a:lnTo>
                    <a:pt x="990" y="301"/>
                  </a:lnTo>
                  <a:lnTo>
                    <a:pt x="999" y="296"/>
                  </a:lnTo>
                  <a:lnTo>
                    <a:pt x="1000" y="276"/>
                  </a:lnTo>
                  <a:lnTo>
                    <a:pt x="988" y="267"/>
                  </a:lnTo>
                  <a:lnTo>
                    <a:pt x="996" y="257"/>
                  </a:lnTo>
                  <a:lnTo>
                    <a:pt x="986" y="258"/>
                  </a:lnTo>
                  <a:lnTo>
                    <a:pt x="980" y="270"/>
                  </a:lnTo>
                  <a:lnTo>
                    <a:pt x="972" y="271"/>
                  </a:lnTo>
                  <a:lnTo>
                    <a:pt x="968" y="240"/>
                  </a:lnTo>
                  <a:lnTo>
                    <a:pt x="1024" y="180"/>
                  </a:lnTo>
                  <a:lnTo>
                    <a:pt x="1032" y="152"/>
                  </a:lnTo>
                  <a:lnTo>
                    <a:pt x="1010" y="145"/>
                  </a:lnTo>
                  <a:lnTo>
                    <a:pt x="995" y="100"/>
                  </a:lnTo>
                  <a:lnTo>
                    <a:pt x="980" y="52"/>
                  </a:lnTo>
                  <a:lnTo>
                    <a:pt x="968" y="40"/>
                  </a:lnTo>
                  <a:lnTo>
                    <a:pt x="960" y="48"/>
                  </a:lnTo>
                  <a:lnTo>
                    <a:pt x="930" y="88"/>
                  </a:lnTo>
                  <a:lnTo>
                    <a:pt x="921" y="110"/>
                  </a:lnTo>
                  <a:lnTo>
                    <a:pt x="897" y="131"/>
                  </a:lnTo>
                  <a:lnTo>
                    <a:pt x="874" y="130"/>
                  </a:lnTo>
                  <a:lnTo>
                    <a:pt x="855" y="138"/>
                  </a:lnTo>
                  <a:lnTo>
                    <a:pt x="838" y="123"/>
                  </a:lnTo>
                  <a:lnTo>
                    <a:pt x="813" y="115"/>
                  </a:lnTo>
                  <a:lnTo>
                    <a:pt x="796" y="120"/>
                  </a:lnTo>
                  <a:lnTo>
                    <a:pt x="780" y="117"/>
                  </a:lnTo>
                  <a:lnTo>
                    <a:pt x="775" y="120"/>
                  </a:lnTo>
                  <a:lnTo>
                    <a:pt x="774" y="142"/>
                  </a:lnTo>
                  <a:lnTo>
                    <a:pt x="749" y="138"/>
                  </a:lnTo>
                  <a:lnTo>
                    <a:pt x="729" y="140"/>
                  </a:lnTo>
                  <a:lnTo>
                    <a:pt x="717" y="136"/>
                  </a:lnTo>
                  <a:lnTo>
                    <a:pt x="701" y="149"/>
                  </a:lnTo>
                  <a:lnTo>
                    <a:pt x="665" y="158"/>
                  </a:lnTo>
                  <a:lnTo>
                    <a:pt x="656" y="167"/>
                  </a:lnTo>
                  <a:lnTo>
                    <a:pt x="637" y="165"/>
                  </a:lnTo>
                  <a:lnTo>
                    <a:pt x="625" y="157"/>
                  </a:lnTo>
                  <a:lnTo>
                    <a:pt x="612" y="144"/>
                  </a:lnTo>
                  <a:lnTo>
                    <a:pt x="611" y="125"/>
                  </a:lnTo>
                  <a:lnTo>
                    <a:pt x="601" y="114"/>
                  </a:lnTo>
                  <a:lnTo>
                    <a:pt x="607" y="65"/>
                  </a:lnTo>
                  <a:lnTo>
                    <a:pt x="617" y="53"/>
                  </a:lnTo>
                  <a:lnTo>
                    <a:pt x="612" y="31"/>
                  </a:lnTo>
                  <a:lnTo>
                    <a:pt x="594" y="27"/>
                  </a:lnTo>
                  <a:lnTo>
                    <a:pt x="598" y="11"/>
                  </a:lnTo>
                  <a:lnTo>
                    <a:pt x="594" y="0"/>
                  </a:lnTo>
                  <a:lnTo>
                    <a:pt x="569" y="1"/>
                  </a:lnTo>
                  <a:lnTo>
                    <a:pt x="569" y="11"/>
                  </a:lnTo>
                  <a:lnTo>
                    <a:pt x="555" y="26"/>
                  </a:lnTo>
                  <a:lnTo>
                    <a:pt x="540" y="28"/>
                  </a:lnTo>
                  <a:lnTo>
                    <a:pt x="520" y="43"/>
                  </a:lnTo>
                  <a:lnTo>
                    <a:pt x="484" y="47"/>
                  </a:lnTo>
                  <a:lnTo>
                    <a:pt x="466" y="56"/>
                  </a:lnTo>
                  <a:lnTo>
                    <a:pt x="447" y="56"/>
                  </a:lnTo>
                  <a:lnTo>
                    <a:pt x="416" y="42"/>
                  </a:lnTo>
                  <a:lnTo>
                    <a:pt x="390" y="38"/>
                  </a:lnTo>
                  <a:lnTo>
                    <a:pt x="394" y="53"/>
                  </a:lnTo>
                  <a:lnTo>
                    <a:pt x="413" y="64"/>
                  </a:lnTo>
                  <a:lnTo>
                    <a:pt x="410" y="89"/>
                  </a:lnTo>
                  <a:lnTo>
                    <a:pt x="417" y="118"/>
                  </a:lnTo>
                  <a:lnTo>
                    <a:pt x="451" y="119"/>
                  </a:lnTo>
                  <a:lnTo>
                    <a:pt x="450" y="128"/>
                  </a:lnTo>
                  <a:lnTo>
                    <a:pt x="422" y="140"/>
                  </a:lnTo>
                  <a:lnTo>
                    <a:pt x="411" y="159"/>
                  </a:lnTo>
                  <a:lnTo>
                    <a:pt x="363" y="177"/>
                  </a:lnTo>
                  <a:lnTo>
                    <a:pt x="352" y="187"/>
                  </a:lnTo>
                  <a:lnTo>
                    <a:pt x="321" y="189"/>
                  </a:lnTo>
                  <a:lnTo>
                    <a:pt x="299" y="166"/>
                  </a:lnTo>
                  <a:lnTo>
                    <a:pt x="290" y="172"/>
                  </a:lnTo>
                  <a:lnTo>
                    <a:pt x="285" y="149"/>
                  </a:lnTo>
                  <a:lnTo>
                    <a:pt x="275" y="136"/>
                  </a:lnTo>
                  <a:lnTo>
                    <a:pt x="252" y="144"/>
                  </a:lnTo>
                  <a:lnTo>
                    <a:pt x="241" y="138"/>
                  </a:lnTo>
                  <a:lnTo>
                    <a:pt x="235" y="149"/>
                  </a:lnTo>
                  <a:lnTo>
                    <a:pt x="170" y="148"/>
                  </a:lnTo>
                  <a:lnTo>
                    <a:pt x="171" y="175"/>
                  </a:lnTo>
                  <a:lnTo>
                    <a:pt x="176" y="179"/>
                  </a:lnTo>
                  <a:lnTo>
                    <a:pt x="192" y="177"/>
                  </a:lnTo>
                  <a:lnTo>
                    <a:pt x="201" y="195"/>
                  </a:lnTo>
                  <a:lnTo>
                    <a:pt x="183" y="193"/>
                  </a:lnTo>
                  <a:lnTo>
                    <a:pt x="161" y="199"/>
                  </a:lnTo>
                  <a:lnTo>
                    <a:pt x="161" y="229"/>
                  </a:lnTo>
                  <a:lnTo>
                    <a:pt x="179" y="246"/>
                  </a:lnTo>
                  <a:lnTo>
                    <a:pt x="188" y="275"/>
                  </a:lnTo>
                  <a:lnTo>
                    <a:pt x="181" y="310"/>
                  </a:lnTo>
                  <a:lnTo>
                    <a:pt x="173" y="354"/>
                  </a:lnTo>
                  <a:lnTo>
                    <a:pt x="165" y="399"/>
                  </a:lnTo>
                  <a:lnTo>
                    <a:pt x="159" y="403"/>
                  </a:lnTo>
                  <a:lnTo>
                    <a:pt x="143" y="402"/>
                  </a:lnTo>
                  <a:lnTo>
                    <a:pt x="93" y="419"/>
                  </a:lnTo>
                  <a:lnTo>
                    <a:pt x="57" y="440"/>
                  </a:lnTo>
                  <a:lnTo>
                    <a:pt x="33" y="474"/>
                  </a:lnTo>
                  <a:lnTo>
                    <a:pt x="31" y="503"/>
                  </a:lnTo>
                  <a:lnTo>
                    <a:pt x="14" y="509"/>
                  </a:lnTo>
                  <a:lnTo>
                    <a:pt x="0" y="546"/>
                  </a:lnTo>
                  <a:lnTo>
                    <a:pt x="12" y="577"/>
                  </a:lnTo>
                  <a:lnTo>
                    <a:pt x="39" y="606"/>
                  </a:lnTo>
                  <a:lnTo>
                    <a:pt x="35" y="624"/>
                  </a:lnTo>
                  <a:lnTo>
                    <a:pt x="61" y="627"/>
                  </a:lnTo>
                  <a:lnTo>
                    <a:pt x="72" y="646"/>
                  </a:lnTo>
                  <a:lnTo>
                    <a:pt x="94" y="650"/>
                  </a:lnTo>
                  <a:lnTo>
                    <a:pt x="114" y="642"/>
                  </a:lnTo>
                  <a:lnTo>
                    <a:pt x="142" y="619"/>
                  </a:lnTo>
                  <a:lnTo>
                    <a:pt x="142" y="689"/>
                  </a:lnTo>
                  <a:lnTo>
                    <a:pt x="152" y="695"/>
                  </a:lnTo>
                  <a:lnTo>
                    <a:pt x="177" y="689"/>
                  </a:lnTo>
                  <a:lnTo>
                    <a:pt x="232" y="694"/>
                  </a:lnTo>
                  <a:lnTo>
                    <a:pt x="270" y="678"/>
                  </a:lnTo>
                  <a:lnTo>
                    <a:pt x="306" y="642"/>
                  </a:lnTo>
                  <a:lnTo>
                    <a:pt x="360" y="636"/>
                  </a:lnTo>
                  <a:lnTo>
                    <a:pt x="366" y="644"/>
                  </a:lnTo>
                  <a:lnTo>
                    <a:pt x="368" y="658"/>
                  </a:lnTo>
                  <a:lnTo>
                    <a:pt x="368" y="682"/>
                  </a:lnTo>
                  <a:lnTo>
                    <a:pt x="362" y="705"/>
                  </a:lnTo>
                  <a:lnTo>
                    <a:pt x="373" y="733"/>
                  </a:lnTo>
                  <a:lnTo>
                    <a:pt x="401" y="753"/>
                  </a:lnTo>
                  <a:lnTo>
                    <a:pt x="452" y="761"/>
                  </a:lnTo>
                  <a:lnTo>
                    <a:pt x="464" y="776"/>
                  </a:lnTo>
                  <a:lnTo>
                    <a:pt x="499" y="786"/>
                  </a:lnTo>
                  <a:lnTo>
                    <a:pt x="517" y="800"/>
                  </a:lnTo>
                  <a:lnTo>
                    <a:pt x="545" y="800"/>
                  </a:lnTo>
                  <a:lnTo>
                    <a:pt x="560" y="809"/>
                  </a:lnTo>
                  <a:lnTo>
                    <a:pt x="570" y="821"/>
                  </a:lnTo>
                  <a:lnTo>
                    <a:pt x="581" y="856"/>
                  </a:lnTo>
                  <a:lnTo>
                    <a:pt x="580" y="876"/>
                  </a:lnTo>
                  <a:lnTo>
                    <a:pt x="572" y="880"/>
                  </a:lnTo>
                  <a:lnTo>
                    <a:pt x="589" y="924"/>
                  </a:lnTo>
                  <a:lnTo>
                    <a:pt x="663" y="930"/>
                  </a:lnTo>
                  <a:lnTo>
                    <a:pt x="661" y="953"/>
                  </a:lnTo>
                  <a:lnTo>
                    <a:pt x="664" y="968"/>
                  </a:lnTo>
                  <a:lnTo>
                    <a:pt x="680" y="975"/>
                  </a:lnTo>
                  <a:lnTo>
                    <a:pt x="693" y="1009"/>
                  </a:lnTo>
                  <a:lnTo>
                    <a:pt x="692" y="1050"/>
                  </a:lnTo>
                  <a:lnTo>
                    <a:pt x="683" y="1076"/>
                  </a:lnTo>
                  <a:lnTo>
                    <a:pt x="685" y="1095"/>
                  </a:lnTo>
                  <a:lnTo>
                    <a:pt x="677" y="1099"/>
                  </a:lnTo>
                  <a:lnTo>
                    <a:pt x="676" y="1104"/>
                  </a:lnTo>
                  <a:lnTo>
                    <a:pt x="683" y="1117"/>
                  </a:lnTo>
                  <a:lnTo>
                    <a:pt x="683" y="1180"/>
                  </a:lnTo>
                  <a:lnTo>
                    <a:pt x="686" y="1186"/>
                  </a:lnTo>
                  <a:lnTo>
                    <a:pt x="722" y="1198"/>
                  </a:lnTo>
                  <a:lnTo>
                    <a:pt x="751" y="1191"/>
                  </a:lnTo>
                  <a:lnTo>
                    <a:pt x="776" y="1201"/>
                  </a:lnTo>
                  <a:lnTo>
                    <a:pt x="782" y="1212"/>
                  </a:lnTo>
                  <a:lnTo>
                    <a:pt x="786" y="1259"/>
                  </a:lnTo>
                  <a:lnTo>
                    <a:pt x="791" y="1270"/>
                  </a:lnTo>
                  <a:lnTo>
                    <a:pt x="802" y="1275"/>
                  </a:lnTo>
                  <a:lnTo>
                    <a:pt x="831" y="1271"/>
                  </a:lnTo>
                  <a:lnTo>
                    <a:pt x="835" y="1275"/>
                  </a:lnTo>
                  <a:lnTo>
                    <a:pt x="840" y="1301"/>
                  </a:lnTo>
                  <a:lnTo>
                    <a:pt x="831" y="1352"/>
                  </a:lnTo>
                  <a:lnTo>
                    <a:pt x="853" y="1351"/>
                  </a:lnTo>
                  <a:lnTo>
                    <a:pt x="858" y="1356"/>
                  </a:lnTo>
                  <a:lnTo>
                    <a:pt x="868" y="1387"/>
                  </a:lnTo>
                  <a:lnTo>
                    <a:pt x="864" y="1424"/>
                  </a:lnTo>
                  <a:lnTo>
                    <a:pt x="845" y="1439"/>
                  </a:lnTo>
                  <a:lnTo>
                    <a:pt x="822" y="1445"/>
                  </a:lnTo>
                  <a:lnTo>
                    <a:pt x="774" y="1493"/>
                  </a:lnTo>
                  <a:lnTo>
                    <a:pt x="736" y="1541"/>
                  </a:lnTo>
                  <a:lnTo>
                    <a:pt x="695" y="1579"/>
                  </a:lnTo>
                  <a:lnTo>
                    <a:pt x="711" y="1580"/>
                  </a:lnTo>
                  <a:lnTo>
                    <a:pt x="722" y="1571"/>
                  </a:lnTo>
                  <a:lnTo>
                    <a:pt x="731" y="1573"/>
                  </a:lnTo>
                  <a:lnTo>
                    <a:pt x="761" y="1598"/>
                  </a:lnTo>
                  <a:lnTo>
                    <a:pt x="766" y="1617"/>
                  </a:lnTo>
                  <a:lnTo>
                    <a:pt x="776" y="1617"/>
                  </a:lnTo>
                  <a:lnTo>
                    <a:pt x="786" y="1608"/>
                  </a:lnTo>
                  <a:lnTo>
                    <a:pt x="803" y="1630"/>
                  </a:lnTo>
                  <a:lnTo>
                    <a:pt x="827" y="1639"/>
                  </a:lnTo>
                  <a:lnTo>
                    <a:pt x="840" y="1655"/>
                  </a:lnTo>
                  <a:lnTo>
                    <a:pt x="862" y="1665"/>
                  </a:lnTo>
                  <a:lnTo>
                    <a:pt x="870" y="1688"/>
                  </a:lnTo>
                  <a:lnTo>
                    <a:pt x="890" y="1705"/>
                  </a:lnTo>
                  <a:lnTo>
                    <a:pt x="876" y="1726"/>
                  </a:lnTo>
                  <a:lnTo>
                    <a:pt x="874" y="1750"/>
                  </a:lnTo>
                  <a:lnTo>
                    <a:pt x="878" y="1756"/>
                  </a:lnTo>
                  <a:close/>
                </a:path>
              </a:pathLst>
            </a:custGeom>
            <a:grpFill/>
            <a:ln w="6350">
              <a:solidFill>
                <a:schemeClr val="tx2"/>
              </a:solidFill>
              <a:round/>
              <a:headEnd/>
              <a:tailEnd/>
            </a:ln>
          </p:spPr>
          <p:txBody>
            <a:bodyPr/>
            <a:lstStyle/>
            <a:p>
              <a:endParaRPr lang="en-US"/>
            </a:p>
          </p:txBody>
        </p:sp>
        <p:sp>
          <p:nvSpPr>
            <p:cNvPr id="12" name="Freeform 1003"/>
            <p:cNvSpPr>
              <a:spLocks/>
            </p:cNvSpPr>
            <p:nvPr/>
          </p:nvSpPr>
          <p:spPr bwMode="auto">
            <a:xfrm>
              <a:off x="2652144" y="4387691"/>
              <a:ext cx="288252" cy="244254"/>
            </a:xfrm>
            <a:custGeom>
              <a:avLst/>
              <a:gdLst>
                <a:gd name="T0" fmla="*/ 2147483647 w 583"/>
                <a:gd name="T1" fmla="*/ 2147483647 h 494"/>
                <a:gd name="T2" fmla="*/ 2147483647 w 583"/>
                <a:gd name="T3" fmla="*/ 2147483647 h 494"/>
                <a:gd name="T4" fmla="*/ 2147483647 w 583"/>
                <a:gd name="T5" fmla="*/ 2147483647 h 494"/>
                <a:gd name="T6" fmla="*/ 2147483647 w 583"/>
                <a:gd name="T7" fmla="*/ 2147483647 h 494"/>
                <a:gd name="T8" fmla="*/ 2147483647 w 583"/>
                <a:gd name="T9" fmla="*/ 2147483647 h 494"/>
                <a:gd name="T10" fmla="*/ 2147483647 w 583"/>
                <a:gd name="T11" fmla="*/ 2147483647 h 494"/>
                <a:gd name="T12" fmla="*/ 2147483647 w 583"/>
                <a:gd name="T13" fmla="*/ 2147483647 h 494"/>
                <a:gd name="T14" fmla="*/ 2147483647 w 583"/>
                <a:gd name="T15" fmla="*/ 2147483647 h 494"/>
                <a:gd name="T16" fmla="*/ 2147483647 w 583"/>
                <a:gd name="T17" fmla="*/ 2147483647 h 494"/>
                <a:gd name="T18" fmla="*/ 2147483647 w 583"/>
                <a:gd name="T19" fmla="*/ 2147483647 h 494"/>
                <a:gd name="T20" fmla="*/ 2147483647 w 583"/>
                <a:gd name="T21" fmla="*/ 2147483647 h 494"/>
                <a:gd name="T22" fmla="*/ 2147483647 w 583"/>
                <a:gd name="T23" fmla="*/ 2147483647 h 494"/>
                <a:gd name="T24" fmla="*/ 2147483647 w 583"/>
                <a:gd name="T25" fmla="*/ 2147483647 h 494"/>
                <a:gd name="T26" fmla="*/ 2147483647 w 583"/>
                <a:gd name="T27" fmla="*/ 2147483647 h 494"/>
                <a:gd name="T28" fmla="*/ 2147483647 w 583"/>
                <a:gd name="T29" fmla="*/ 2147483647 h 494"/>
                <a:gd name="T30" fmla="*/ 2147483647 w 583"/>
                <a:gd name="T31" fmla="*/ 2147483647 h 494"/>
                <a:gd name="T32" fmla="*/ 2147483647 w 583"/>
                <a:gd name="T33" fmla="*/ 2147483647 h 494"/>
                <a:gd name="T34" fmla="*/ 2147483647 w 583"/>
                <a:gd name="T35" fmla="*/ 2147483647 h 494"/>
                <a:gd name="T36" fmla="*/ 2147483647 w 583"/>
                <a:gd name="T37" fmla="*/ 2147483647 h 494"/>
                <a:gd name="T38" fmla="*/ 2147483647 w 583"/>
                <a:gd name="T39" fmla="*/ 2147483647 h 494"/>
                <a:gd name="T40" fmla="*/ 2147483647 w 583"/>
                <a:gd name="T41" fmla="*/ 2147483647 h 494"/>
                <a:gd name="T42" fmla="*/ 2147483647 w 583"/>
                <a:gd name="T43" fmla="*/ 2147483647 h 494"/>
                <a:gd name="T44" fmla="*/ 2147483647 w 583"/>
                <a:gd name="T45" fmla="*/ 2147483647 h 494"/>
                <a:gd name="T46" fmla="*/ 2147483647 w 583"/>
                <a:gd name="T47" fmla="*/ 2147483647 h 494"/>
                <a:gd name="T48" fmla="*/ 2147483647 w 583"/>
                <a:gd name="T49" fmla="*/ 2147483647 h 494"/>
                <a:gd name="T50" fmla="*/ 2147483647 w 583"/>
                <a:gd name="T51" fmla="*/ 2147483647 h 494"/>
                <a:gd name="T52" fmla="*/ 2147483647 w 583"/>
                <a:gd name="T53" fmla="*/ 2147483647 h 494"/>
                <a:gd name="T54" fmla="*/ 2147483647 w 583"/>
                <a:gd name="T55" fmla="*/ 2147483647 h 494"/>
                <a:gd name="T56" fmla="*/ 2147483647 w 583"/>
                <a:gd name="T57" fmla="*/ 2147483647 h 494"/>
                <a:gd name="T58" fmla="*/ 2147483647 w 583"/>
                <a:gd name="T59" fmla="*/ 2147483647 h 494"/>
                <a:gd name="T60" fmla="*/ 2147483647 w 583"/>
                <a:gd name="T61" fmla="*/ 2147483647 h 494"/>
                <a:gd name="T62" fmla="*/ 2147483647 w 583"/>
                <a:gd name="T63" fmla="*/ 2147483647 h 494"/>
                <a:gd name="T64" fmla="*/ 2147483647 w 583"/>
                <a:gd name="T65" fmla="*/ 2147483647 h 494"/>
                <a:gd name="T66" fmla="*/ 2147483647 w 583"/>
                <a:gd name="T67" fmla="*/ 2147483647 h 494"/>
                <a:gd name="T68" fmla="*/ 2147483647 w 583"/>
                <a:gd name="T69" fmla="*/ 2147483647 h 494"/>
                <a:gd name="T70" fmla="*/ 2147483647 w 583"/>
                <a:gd name="T71" fmla="*/ 2147483647 h 494"/>
                <a:gd name="T72" fmla="*/ 2147483647 w 583"/>
                <a:gd name="T73" fmla="*/ 2147483647 h 494"/>
                <a:gd name="T74" fmla="*/ 2147483647 w 583"/>
                <a:gd name="T75" fmla="*/ 2147483647 h 494"/>
                <a:gd name="T76" fmla="*/ 2147483647 w 583"/>
                <a:gd name="T77" fmla="*/ 2147483647 h 494"/>
                <a:gd name="T78" fmla="*/ 2147483647 w 583"/>
                <a:gd name="T79" fmla="*/ 2147483647 h 494"/>
                <a:gd name="T80" fmla="*/ 2147483647 w 583"/>
                <a:gd name="T81" fmla="*/ 2147483647 h 494"/>
                <a:gd name="T82" fmla="*/ 2147483647 w 583"/>
                <a:gd name="T83" fmla="*/ 2147483647 h 494"/>
                <a:gd name="T84" fmla="*/ 2147483647 w 583"/>
                <a:gd name="T85" fmla="*/ 2147483647 h 494"/>
                <a:gd name="T86" fmla="*/ 2147483647 w 583"/>
                <a:gd name="T87" fmla="*/ 2147483647 h 494"/>
                <a:gd name="T88" fmla="*/ 2147483647 w 583"/>
                <a:gd name="T89" fmla="*/ 2147483647 h 494"/>
                <a:gd name="T90" fmla="*/ 2147483647 w 583"/>
                <a:gd name="T91" fmla="*/ 2147483647 h 494"/>
                <a:gd name="T92" fmla="*/ 2147483647 w 583"/>
                <a:gd name="T93" fmla="*/ 2147483647 h 494"/>
                <a:gd name="T94" fmla="*/ 2147483647 w 583"/>
                <a:gd name="T95" fmla="*/ 2147483647 h 494"/>
                <a:gd name="T96" fmla="*/ 2147483647 w 583"/>
                <a:gd name="T97" fmla="*/ 2147483647 h 494"/>
                <a:gd name="T98" fmla="*/ 2147483647 w 583"/>
                <a:gd name="T99" fmla="*/ 2147483647 h 494"/>
                <a:gd name="T100" fmla="*/ 2147483647 w 583"/>
                <a:gd name="T101" fmla="*/ 2147483647 h 494"/>
                <a:gd name="T102" fmla="*/ 2147483647 w 583"/>
                <a:gd name="T103" fmla="*/ 2147483647 h 4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83"/>
                <a:gd name="T157" fmla="*/ 0 h 494"/>
                <a:gd name="T158" fmla="*/ 583 w 583"/>
                <a:gd name="T159" fmla="*/ 494 h 4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83" h="494">
                  <a:moveTo>
                    <a:pt x="85" y="17"/>
                  </a:moveTo>
                  <a:lnTo>
                    <a:pt x="64" y="28"/>
                  </a:lnTo>
                  <a:lnTo>
                    <a:pt x="75" y="65"/>
                  </a:lnTo>
                  <a:lnTo>
                    <a:pt x="73" y="75"/>
                  </a:lnTo>
                  <a:lnTo>
                    <a:pt x="57" y="94"/>
                  </a:lnTo>
                  <a:lnTo>
                    <a:pt x="59" y="111"/>
                  </a:lnTo>
                  <a:lnTo>
                    <a:pt x="68" y="120"/>
                  </a:lnTo>
                  <a:lnTo>
                    <a:pt x="76" y="138"/>
                  </a:lnTo>
                  <a:lnTo>
                    <a:pt x="88" y="137"/>
                  </a:lnTo>
                  <a:lnTo>
                    <a:pt x="98" y="125"/>
                  </a:lnTo>
                  <a:lnTo>
                    <a:pt x="97" y="106"/>
                  </a:lnTo>
                  <a:lnTo>
                    <a:pt x="81" y="79"/>
                  </a:lnTo>
                  <a:lnTo>
                    <a:pt x="81" y="61"/>
                  </a:lnTo>
                  <a:lnTo>
                    <a:pt x="109" y="42"/>
                  </a:lnTo>
                  <a:lnTo>
                    <a:pt x="153" y="34"/>
                  </a:lnTo>
                  <a:lnTo>
                    <a:pt x="152" y="26"/>
                  </a:lnTo>
                  <a:lnTo>
                    <a:pt x="131" y="21"/>
                  </a:lnTo>
                  <a:lnTo>
                    <a:pt x="137" y="4"/>
                  </a:lnTo>
                  <a:lnTo>
                    <a:pt x="145" y="0"/>
                  </a:lnTo>
                  <a:lnTo>
                    <a:pt x="150" y="4"/>
                  </a:lnTo>
                  <a:lnTo>
                    <a:pt x="162" y="32"/>
                  </a:lnTo>
                  <a:lnTo>
                    <a:pt x="213" y="44"/>
                  </a:lnTo>
                  <a:lnTo>
                    <a:pt x="223" y="69"/>
                  </a:lnTo>
                  <a:lnTo>
                    <a:pt x="229" y="75"/>
                  </a:lnTo>
                  <a:lnTo>
                    <a:pt x="311" y="69"/>
                  </a:lnTo>
                  <a:lnTo>
                    <a:pt x="332" y="88"/>
                  </a:lnTo>
                  <a:lnTo>
                    <a:pt x="354" y="91"/>
                  </a:lnTo>
                  <a:lnTo>
                    <a:pt x="374" y="86"/>
                  </a:lnTo>
                  <a:lnTo>
                    <a:pt x="389" y="77"/>
                  </a:lnTo>
                  <a:lnTo>
                    <a:pt x="411" y="75"/>
                  </a:lnTo>
                  <a:lnTo>
                    <a:pt x="413" y="72"/>
                  </a:lnTo>
                  <a:lnTo>
                    <a:pt x="392" y="69"/>
                  </a:lnTo>
                  <a:lnTo>
                    <a:pt x="397" y="66"/>
                  </a:lnTo>
                  <a:lnTo>
                    <a:pt x="486" y="68"/>
                  </a:lnTo>
                  <a:lnTo>
                    <a:pt x="471" y="74"/>
                  </a:lnTo>
                  <a:lnTo>
                    <a:pt x="450" y="75"/>
                  </a:lnTo>
                  <a:lnTo>
                    <a:pt x="448" y="81"/>
                  </a:lnTo>
                  <a:lnTo>
                    <a:pt x="463" y="87"/>
                  </a:lnTo>
                  <a:lnTo>
                    <a:pt x="474" y="106"/>
                  </a:lnTo>
                  <a:lnTo>
                    <a:pt x="501" y="107"/>
                  </a:lnTo>
                  <a:lnTo>
                    <a:pt x="532" y="125"/>
                  </a:lnTo>
                  <a:lnTo>
                    <a:pt x="541" y="151"/>
                  </a:lnTo>
                  <a:lnTo>
                    <a:pt x="531" y="159"/>
                  </a:lnTo>
                  <a:lnTo>
                    <a:pt x="533" y="163"/>
                  </a:lnTo>
                  <a:lnTo>
                    <a:pt x="549" y="166"/>
                  </a:lnTo>
                  <a:lnTo>
                    <a:pt x="567" y="157"/>
                  </a:lnTo>
                  <a:lnTo>
                    <a:pt x="583" y="171"/>
                  </a:lnTo>
                  <a:lnTo>
                    <a:pt x="581" y="179"/>
                  </a:lnTo>
                  <a:lnTo>
                    <a:pt x="540" y="198"/>
                  </a:lnTo>
                  <a:lnTo>
                    <a:pt x="540" y="220"/>
                  </a:lnTo>
                  <a:lnTo>
                    <a:pt x="555" y="224"/>
                  </a:lnTo>
                  <a:lnTo>
                    <a:pt x="529" y="240"/>
                  </a:lnTo>
                  <a:lnTo>
                    <a:pt x="528" y="253"/>
                  </a:lnTo>
                  <a:lnTo>
                    <a:pt x="520" y="265"/>
                  </a:lnTo>
                  <a:lnTo>
                    <a:pt x="520" y="270"/>
                  </a:lnTo>
                  <a:lnTo>
                    <a:pt x="548" y="306"/>
                  </a:lnTo>
                  <a:lnTo>
                    <a:pt x="548" y="316"/>
                  </a:lnTo>
                  <a:lnTo>
                    <a:pt x="534" y="331"/>
                  </a:lnTo>
                  <a:lnTo>
                    <a:pt x="519" y="333"/>
                  </a:lnTo>
                  <a:lnTo>
                    <a:pt x="499" y="348"/>
                  </a:lnTo>
                  <a:lnTo>
                    <a:pt x="463" y="352"/>
                  </a:lnTo>
                  <a:lnTo>
                    <a:pt x="445" y="361"/>
                  </a:lnTo>
                  <a:lnTo>
                    <a:pt x="426" y="361"/>
                  </a:lnTo>
                  <a:lnTo>
                    <a:pt x="395" y="347"/>
                  </a:lnTo>
                  <a:lnTo>
                    <a:pt x="369" y="343"/>
                  </a:lnTo>
                  <a:lnTo>
                    <a:pt x="373" y="358"/>
                  </a:lnTo>
                  <a:lnTo>
                    <a:pt x="392" y="369"/>
                  </a:lnTo>
                  <a:lnTo>
                    <a:pt x="389" y="394"/>
                  </a:lnTo>
                  <a:lnTo>
                    <a:pt x="396" y="423"/>
                  </a:lnTo>
                  <a:lnTo>
                    <a:pt x="430" y="424"/>
                  </a:lnTo>
                  <a:lnTo>
                    <a:pt x="429" y="433"/>
                  </a:lnTo>
                  <a:lnTo>
                    <a:pt x="401" y="445"/>
                  </a:lnTo>
                  <a:lnTo>
                    <a:pt x="390" y="464"/>
                  </a:lnTo>
                  <a:lnTo>
                    <a:pt x="342" y="482"/>
                  </a:lnTo>
                  <a:lnTo>
                    <a:pt x="331" y="492"/>
                  </a:lnTo>
                  <a:lnTo>
                    <a:pt x="300" y="494"/>
                  </a:lnTo>
                  <a:lnTo>
                    <a:pt x="278" y="471"/>
                  </a:lnTo>
                  <a:lnTo>
                    <a:pt x="260" y="427"/>
                  </a:lnTo>
                  <a:lnTo>
                    <a:pt x="240" y="408"/>
                  </a:lnTo>
                  <a:lnTo>
                    <a:pt x="261" y="384"/>
                  </a:lnTo>
                  <a:lnTo>
                    <a:pt x="254" y="367"/>
                  </a:lnTo>
                  <a:lnTo>
                    <a:pt x="241" y="355"/>
                  </a:lnTo>
                  <a:lnTo>
                    <a:pt x="236" y="330"/>
                  </a:lnTo>
                  <a:lnTo>
                    <a:pt x="241" y="299"/>
                  </a:lnTo>
                  <a:lnTo>
                    <a:pt x="254" y="272"/>
                  </a:lnTo>
                  <a:lnTo>
                    <a:pt x="252" y="262"/>
                  </a:lnTo>
                  <a:lnTo>
                    <a:pt x="240" y="260"/>
                  </a:lnTo>
                  <a:lnTo>
                    <a:pt x="215" y="268"/>
                  </a:lnTo>
                  <a:lnTo>
                    <a:pt x="191" y="262"/>
                  </a:lnTo>
                  <a:lnTo>
                    <a:pt x="170" y="266"/>
                  </a:lnTo>
                  <a:lnTo>
                    <a:pt x="141" y="229"/>
                  </a:lnTo>
                  <a:lnTo>
                    <a:pt x="118" y="221"/>
                  </a:lnTo>
                  <a:lnTo>
                    <a:pt x="83" y="226"/>
                  </a:lnTo>
                  <a:lnTo>
                    <a:pt x="58" y="220"/>
                  </a:lnTo>
                  <a:lnTo>
                    <a:pt x="42" y="208"/>
                  </a:lnTo>
                  <a:lnTo>
                    <a:pt x="40" y="173"/>
                  </a:lnTo>
                  <a:lnTo>
                    <a:pt x="24" y="153"/>
                  </a:lnTo>
                  <a:lnTo>
                    <a:pt x="19" y="133"/>
                  </a:lnTo>
                  <a:lnTo>
                    <a:pt x="0" y="133"/>
                  </a:lnTo>
                  <a:lnTo>
                    <a:pt x="11" y="111"/>
                  </a:lnTo>
                  <a:lnTo>
                    <a:pt x="21" y="75"/>
                  </a:lnTo>
                  <a:lnTo>
                    <a:pt x="31" y="58"/>
                  </a:lnTo>
                  <a:lnTo>
                    <a:pt x="62" y="24"/>
                  </a:lnTo>
                  <a:lnTo>
                    <a:pt x="85" y="17"/>
                  </a:lnTo>
                  <a:close/>
                </a:path>
              </a:pathLst>
            </a:custGeom>
            <a:grpFill/>
            <a:ln w="6350">
              <a:solidFill>
                <a:schemeClr val="tx2"/>
              </a:solidFill>
              <a:round/>
              <a:headEnd/>
              <a:tailEnd/>
            </a:ln>
          </p:spPr>
          <p:txBody>
            <a:bodyPr/>
            <a:lstStyle/>
            <a:p>
              <a:endParaRPr lang="en-US"/>
            </a:p>
          </p:txBody>
        </p:sp>
        <p:sp>
          <p:nvSpPr>
            <p:cNvPr id="13" name="Freeform 1004"/>
            <p:cNvSpPr>
              <a:spLocks/>
            </p:cNvSpPr>
            <p:nvPr/>
          </p:nvSpPr>
          <p:spPr bwMode="auto">
            <a:xfrm>
              <a:off x="2979841" y="4522714"/>
              <a:ext cx="87993" cy="86476"/>
            </a:xfrm>
            <a:custGeom>
              <a:avLst/>
              <a:gdLst>
                <a:gd name="T0" fmla="*/ 2147483647 w 179"/>
                <a:gd name="T1" fmla="*/ 2147483647 h 174"/>
                <a:gd name="T2" fmla="*/ 2147483647 w 179"/>
                <a:gd name="T3" fmla="*/ 2147483647 h 174"/>
                <a:gd name="T4" fmla="*/ 2147483647 w 179"/>
                <a:gd name="T5" fmla="*/ 2147483647 h 174"/>
                <a:gd name="T6" fmla="*/ 2147483647 w 179"/>
                <a:gd name="T7" fmla="*/ 2147483647 h 174"/>
                <a:gd name="T8" fmla="*/ 2147483647 w 179"/>
                <a:gd name="T9" fmla="*/ 2147483647 h 174"/>
                <a:gd name="T10" fmla="*/ 2147483647 w 179"/>
                <a:gd name="T11" fmla="*/ 2147483647 h 174"/>
                <a:gd name="T12" fmla="*/ 2147483647 w 179"/>
                <a:gd name="T13" fmla="*/ 2147483647 h 174"/>
                <a:gd name="T14" fmla="*/ 2147483647 w 179"/>
                <a:gd name="T15" fmla="*/ 2147483647 h 174"/>
                <a:gd name="T16" fmla="*/ 2147483647 w 179"/>
                <a:gd name="T17" fmla="*/ 2147483647 h 174"/>
                <a:gd name="T18" fmla="*/ 2147483647 w 179"/>
                <a:gd name="T19" fmla="*/ 2147483647 h 174"/>
                <a:gd name="T20" fmla="*/ 0 w 179"/>
                <a:gd name="T21" fmla="*/ 2147483647 h 174"/>
                <a:gd name="T22" fmla="*/ 2147483647 w 179"/>
                <a:gd name="T23" fmla="*/ 2147483647 h 174"/>
                <a:gd name="T24" fmla="*/ 2147483647 w 179"/>
                <a:gd name="T25" fmla="*/ 2147483647 h 174"/>
                <a:gd name="T26" fmla="*/ 2147483647 w 179"/>
                <a:gd name="T27" fmla="*/ 2147483647 h 174"/>
                <a:gd name="T28" fmla="*/ 2147483647 w 179"/>
                <a:gd name="T29" fmla="*/ 2147483647 h 174"/>
                <a:gd name="T30" fmla="*/ 2147483647 w 179"/>
                <a:gd name="T31" fmla="*/ 2147483647 h 174"/>
                <a:gd name="T32" fmla="*/ 2147483647 w 179"/>
                <a:gd name="T33" fmla="*/ 0 h 174"/>
                <a:gd name="T34" fmla="*/ 2147483647 w 179"/>
                <a:gd name="T35" fmla="*/ 2147483647 h 174"/>
                <a:gd name="T36" fmla="*/ 2147483647 w 179"/>
                <a:gd name="T37" fmla="*/ 0 h 174"/>
                <a:gd name="T38" fmla="*/ 2147483647 w 179"/>
                <a:gd name="T39" fmla="*/ 2147483647 h 174"/>
                <a:gd name="T40" fmla="*/ 2147483647 w 179"/>
                <a:gd name="T41" fmla="*/ 2147483647 h 174"/>
                <a:gd name="T42" fmla="*/ 2147483647 w 179"/>
                <a:gd name="T43" fmla="*/ 2147483647 h 174"/>
                <a:gd name="T44" fmla="*/ 2147483647 w 179"/>
                <a:gd name="T45" fmla="*/ 2147483647 h 174"/>
                <a:gd name="T46" fmla="*/ 2147483647 w 179"/>
                <a:gd name="T47" fmla="*/ 2147483647 h 174"/>
                <a:gd name="T48" fmla="*/ 2147483647 w 179"/>
                <a:gd name="T49" fmla="*/ 2147483647 h 174"/>
                <a:gd name="T50" fmla="*/ 2147483647 w 179"/>
                <a:gd name="T51" fmla="*/ 2147483647 h 1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9"/>
                <a:gd name="T79" fmla="*/ 0 h 174"/>
                <a:gd name="T80" fmla="*/ 179 w 179"/>
                <a:gd name="T81" fmla="*/ 174 h 1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9" h="174">
                  <a:moveTo>
                    <a:pt x="161" y="155"/>
                  </a:moveTo>
                  <a:lnTo>
                    <a:pt x="136" y="147"/>
                  </a:lnTo>
                  <a:lnTo>
                    <a:pt x="119" y="152"/>
                  </a:lnTo>
                  <a:lnTo>
                    <a:pt x="103" y="149"/>
                  </a:lnTo>
                  <a:lnTo>
                    <a:pt x="98" y="152"/>
                  </a:lnTo>
                  <a:lnTo>
                    <a:pt x="97" y="174"/>
                  </a:lnTo>
                  <a:lnTo>
                    <a:pt x="72" y="170"/>
                  </a:lnTo>
                  <a:lnTo>
                    <a:pt x="52" y="148"/>
                  </a:lnTo>
                  <a:lnTo>
                    <a:pt x="36" y="113"/>
                  </a:lnTo>
                  <a:lnTo>
                    <a:pt x="23" y="110"/>
                  </a:lnTo>
                  <a:lnTo>
                    <a:pt x="0" y="79"/>
                  </a:lnTo>
                  <a:lnTo>
                    <a:pt x="8" y="46"/>
                  </a:lnTo>
                  <a:lnTo>
                    <a:pt x="31" y="40"/>
                  </a:lnTo>
                  <a:lnTo>
                    <a:pt x="36" y="32"/>
                  </a:lnTo>
                  <a:lnTo>
                    <a:pt x="34" y="21"/>
                  </a:lnTo>
                  <a:lnTo>
                    <a:pt x="46" y="6"/>
                  </a:lnTo>
                  <a:lnTo>
                    <a:pt x="52" y="0"/>
                  </a:lnTo>
                  <a:lnTo>
                    <a:pt x="74" y="6"/>
                  </a:lnTo>
                  <a:lnTo>
                    <a:pt x="138" y="0"/>
                  </a:lnTo>
                  <a:lnTo>
                    <a:pt x="177" y="8"/>
                  </a:lnTo>
                  <a:lnTo>
                    <a:pt x="178" y="18"/>
                  </a:lnTo>
                  <a:lnTo>
                    <a:pt x="163" y="40"/>
                  </a:lnTo>
                  <a:lnTo>
                    <a:pt x="164" y="71"/>
                  </a:lnTo>
                  <a:lnTo>
                    <a:pt x="179" y="99"/>
                  </a:lnTo>
                  <a:lnTo>
                    <a:pt x="172" y="142"/>
                  </a:lnTo>
                  <a:lnTo>
                    <a:pt x="161" y="155"/>
                  </a:lnTo>
                  <a:close/>
                </a:path>
              </a:pathLst>
            </a:custGeom>
            <a:grpFill/>
            <a:ln w="6350">
              <a:solidFill>
                <a:schemeClr val="tx2"/>
              </a:solidFill>
              <a:round/>
              <a:headEnd/>
              <a:tailEnd/>
            </a:ln>
          </p:spPr>
          <p:txBody>
            <a:bodyPr/>
            <a:lstStyle/>
            <a:p>
              <a:endParaRPr lang="en-US"/>
            </a:p>
          </p:txBody>
        </p:sp>
        <p:sp>
          <p:nvSpPr>
            <p:cNvPr id="14" name="Freeform 1005"/>
            <p:cNvSpPr>
              <a:spLocks/>
            </p:cNvSpPr>
            <p:nvPr/>
          </p:nvSpPr>
          <p:spPr bwMode="auto">
            <a:xfrm>
              <a:off x="2908537" y="4471133"/>
              <a:ext cx="106198" cy="150195"/>
            </a:xfrm>
            <a:custGeom>
              <a:avLst/>
              <a:gdLst>
                <a:gd name="T0" fmla="*/ 2147483647 w 208"/>
                <a:gd name="T1" fmla="*/ 2147483647 h 302"/>
                <a:gd name="T2" fmla="*/ 2147483647 w 208"/>
                <a:gd name="T3" fmla="*/ 2147483647 h 302"/>
                <a:gd name="T4" fmla="*/ 2147483647 w 208"/>
                <a:gd name="T5" fmla="*/ 2147483647 h 302"/>
                <a:gd name="T6" fmla="*/ 2147483647 w 208"/>
                <a:gd name="T7" fmla="*/ 2147483647 h 302"/>
                <a:gd name="T8" fmla="*/ 2147483647 w 208"/>
                <a:gd name="T9" fmla="*/ 2147483647 h 302"/>
                <a:gd name="T10" fmla="*/ 2147483647 w 208"/>
                <a:gd name="T11" fmla="*/ 2147483647 h 302"/>
                <a:gd name="T12" fmla="*/ 2147483647 w 208"/>
                <a:gd name="T13" fmla="*/ 2147483647 h 302"/>
                <a:gd name="T14" fmla="*/ 2147483647 w 208"/>
                <a:gd name="T15" fmla="*/ 2147483647 h 302"/>
                <a:gd name="T16" fmla="*/ 2147483647 w 208"/>
                <a:gd name="T17" fmla="*/ 2147483647 h 302"/>
                <a:gd name="T18" fmla="*/ 2147483647 w 208"/>
                <a:gd name="T19" fmla="*/ 2147483647 h 302"/>
                <a:gd name="T20" fmla="*/ 2147483647 w 208"/>
                <a:gd name="T21" fmla="*/ 2147483647 h 302"/>
                <a:gd name="T22" fmla="*/ 2147483647 w 208"/>
                <a:gd name="T23" fmla="*/ 2147483647 h 302"/>
                <a:gd name="T24" fmla="*/ 2147483647 w 208"/>
                <a:gd name="T25" fmla="*/ 2147483647 h 302"/>
                <a:gd name="T26" fmla="*/ 2147483647 w 208"/>
                <a:gd name="T27" fmla="*/ 2147483647 h 302"/>
                <a:gd name="T28" fmla="*/ 2147483647 w 208"/>
                <a:gd name="T29" fmla="*/ 2147483647 h 302"/>
                <a:gd name="T30" fmla="*/ 2147483647 w 208"/>
                <a:gd name="T31" fmla="*/ 2147483647 h 302"/>
                <a:gd name="T32" fmla="*/ 2147483647 w 208"/>
                <a:gd name="T33" fmla="*/ 2147483647 h 302"/>
                <a:gd name="T34" fmla="*/ 2147483647 w 208"/>
                <a:gd name="T35" fmla="*/ 2147483647 h 302"/>
                <a:gd name="T36" fmla="*/ 0 w 208"/>
                <a:gd name="T37" fmla="*/ 2147483647 h 302"/>
                <a:gd name="T38" fmla="*/ 0 w 208"/>
                <a:gd name="T39" fmla="*/ 2147483647 h 302"/>
                <a:gd name="T40" fmla="*/ 2147483647 w 208"/>
                <a:gd name="T41" fmla="*/ 2147483647 h 302"/>
                <a:gd name="T42" fmla="*/ 2147483647 w 208"/>
                <a:gd name="T43" fmla="*/ 2147483647 h 302"/>
                <a:gd name="T44" fmla="*/ 2147483647 w 208"/>
                <a:gd name="T45" fmla="*/ 2147483647 h 302"/>
                <a:gd name="T46" fmla="*/ 2147483647 w 208"/>
                <a:gd name="T47" fmla="*/ 2147483647 h 302"/>
                <a:gd name="T48" fmla="*/ 2147483647 w 208"/>
                <a:gd name="T49" fmla="*/ 2147483647 h 302"/>
                <a:gd name="T50" fmla="*/ 2147483647 w 208"/>
                <a:gd name="T51" fmla="*/ 2147483647 h 302"/>
                <a:gd name="T52" fmla="*/ 2147483647 w 208"/>
                <a:gd name="T53" fmla="*/ 2147483647 h 302"/>
                <a:gd name="T54" fmla="*/ 2147483647 w 208"/>
                <a:gd name="T55" fmla="*/ 0 h 302"/>
                <a:gd name="T56" fmla="*/ 2147483647 w 208"/>
                <a:gd name="T57" fmla="*/ 2147483647 h 302"/>
                <a:gd name="T58" fmla="*/ 2147483647 w 208"/>
                <a:gd name="T59" fmla="*/ 2147483647 h 302"/>
                <a:gd name="T60" fmla="*/ 2147483647 w 208"/>
                <a:gd name="T61" fmla="*/ 2147483647 h 302"/>
                <a:gd name="T62" fmla="*/ 2147483647 w 208"/>
                <a:gd name="T63" fmla="*/ 2147483647 h 302"/>
                <a:gd name="T64" fmla="*/ 2147483647 w 208"/>
                <a:gd name="T65" fmla="*/ 2147483647 h 302"/>
                <a:gd name="T66" fmla="*/ 2147483647 w 208"/>
                <a:gd name="T67" fmla="*/ 2147483647 h 302"/>
                <a:gd name="T68" fmla="*/ 2147483647 w 208"/>
                <a:gd name="T69" fmla="*/ 2147483647 h 302"/>
                <a:gd name="T70" fmla="*/ 2147483647 w 208"/>
                <a:gd name="T71" fmla="*/ 2147483647 h 302"/>
                <a:gd name="T72" fmla="*/ 2147483647 w 208"/>
                <a:gd name="T73" fmla="*/ 2147483647 h 302"/>
                <a:gd name="T74" fmla="*/ 2147483647 w 208"/>
                <a:gd name="T75" fmla="*/ 2147483647 h 302"/>
                <a:gd name="T76" fmla="*/ 2147483647 w 208"/>
                <a:gd name="T77" fmla="*/ 2147483647 h 302"/>
                <a:gd name="T78" fmla="*/ 2147483647 w 208"/>
                <a:gd name="T79" fmla="*/ 2147483647 h 302"/>
                <a:gd name="T80" fmla="*/ 2147483647 w 208"/>
                <a:gd name="T81" fmla="*/ 2147483647 h 302"/>
                <a:gd name="T82" fmla="*/ 2147483647 w 208"/>
                <a:gd name="T83" fmla="*/ 2147483647 h 302"/>
                <a:gd name="T84" fmla="*/ 2147483647 w 208"/>
                <a:gd name="T85" fmla="*/ 2147483647 h 302"/>
                <a:gd name="T86" fmla="*/ 2147483647 w 208"/>
                <a:gd name="T87" fmla="*/ 2147483647 h 302"/>
                <a:gd name="T88" fmla="*/ 2147483647 w 208"/>
                <a:gd name="T89" fmla="*/ 2147483647 h 3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8"/>
                <a:gd name="T136" fmla="*/ 0 h 302"/>
                <a:gd name="T137" fmla="*/ 208 w 208"/>
                <a:gd name="T138" fmla="*/ 302 h 3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8" h="302">
                  <a:moveTo>
                    <a:pt x="208" y="273"/>
                  </a:moveTo>
                  <a:lnTo>
                    <a:pt x="188" y="275"/>
                  </a:lnTo>
                  <a:lnTo>
                    <a:pt x="176" y="271"/>
                  </a:lnTo>
                  <a:lnTo>
                    <a:pt x="160" y="284"/>
                  </a:lnTo>
                  <a:lnTo>
                    <a:pt x="124" y="293"/>
                  </a:lnTo>
                  <a:lnTo>
                    <a:pt x="115" y="302"/>
                  </a:lnTo>
                  <a:lnTo>
                    <a:pt x="96" y="300"/>
                  </a:lnTo>
                  <a:lnTo>
                    <a:pt x="84" y="292"/>
                  </a:lnTo>
                  <a:lnTo>
                    <a:pt x="71" y="279"/>
                  </a:lnTo>
                  <a:lnTo>
                    <a:pt x="70" y="260"/>
                  </a:lnTo>
                  <a:lnTo>
                    <a:pt x="60" y="249"/>
                  </a:lnTo>
                  <a:lnTo>
                    <a:pt x="66" y="200"/>
                  </a:lnTo>
                  <a:lnTo>
                    <a:pt x="76" y="188"/>
                  </a:lnTo>
                  <a:lnTo>
                    <a:pt x="71" y="166"/>
                  </a:lnTo>
                  <a:lnTo>
                    <a:pt x="53" y="162"/>
                  </a:lnTo>
                  <a:lnTo>
                    <a:pt x="57" y="146"/>
                  </a:lnTo>
                  <a:lnTo>
                    <a:pt x="53" y="135"/>
                  </a:lnTo>
                  <a:lnTo>
                    <a:pt x="28" y="136"/>
                  </a:lnTo>
                  <a:lnTo>
                    <a:pt x="0" y="100"/>
                  </a:lnTo>
                  <a:lnTo>
                    <a:pt x="0" y="95"/>
                  </a:lnTo>
                  <a:lnTo>
                    <a:pt x="8" y="83"/>
                  </a:lnTo>
                  <a:lnTo>
                    <a:pt x="9" y="70"/>
                  </a:lnTo>
                  <a:lnTo>
                    <a:pt x="35" y="54"/>
                  </a:lnTo>
                  <a:lnTo>
                    <a:pt x="20" y="50"/>
                  </a:lnTo>
                  <a:lnTo>
                    <a:pt x="20" y="28"/>
                  </a:lnTo>
                  <a:lnTo>
                    <a:pt x="61" y="9"/>
                  </a:lnTo>
                  <a:lnTo>
                    <a:pt x="63" y="1"/>
                  </a:lnTo>
                  <a:lnTo>
                    <a:pt x="73" y="0"/>
                  </a:lnTo>
                  <a:lnTo>
                    <a:pt x="111" y="31"/>
                  </a:lnTo>
                  <a:lnTo>
                    <a:pt x="117" y="41"/>
                  </a:lnTo>
                  <a:lnTo>
                    <a:pt x="119" y="65"/>
                  </a:lnTo>
                  <a:lnTo>
                    <a:pt x="123" y="67"/>
                  </a:lnTo>
                  <a:lnTo>
                    <a:pt x="140" y="67"/>
                  </a:lnTo>
                  <a:lnTo>
                    <a:pt x="152" y="73"/>
                  </a:lnTo>
                  <a:lnTo>
                    <a:pt x="174" y="93"/>
                  </a:lnTo>
                  <a:lnTo>
                    <a:pt x="182" y="109"/>
                  </a:lnTo>
                  <a:lnTo>
                    <a:pt x="170" y="124"/>
                  </a:lnTo>
                  <a:lnTo>
                    <a:pt x="172" y="135"/>
                  </a:lnTo>
                  <a:lnTo>
                    <a:pt x="167" y="143"/>
                  </a:lnTo>
                  <a:lnTo>
                    <a:pt x="144" y="149"/>
                  </a:lnTo>
                  <a:lnTo>
                    <a:pt x="136" y="182"/>
                  </a:lnTo>
                  <a:lnTo>
                    <a:pt x="159" y="213"/>
                  </a:lnTo>
                  <a:lnTo>
                    <a:pt x="172" y="216"/>
                  </a:lnTo>
                  <a:lnTo>
                    <a:pt x="188" y="251"/>
                  </a:lnTo>
                  <a:lnTo>
                    <a:pt x="208" y="273"/>
                  </a:lnTo>
                  <a:close/>
                </a:path>
              </a:pathLst>
            </a:custGeom>
            <a:grpFill/>
            <a:ln w="6350">
              <a:solidFill>
                <a:schemeClr val="tx2"/>
              </a:solidFill>
              <a:round/>
              <a:headEnd/>
              <a:tailEnd/>
            </a:ln>
          </p:spPr>
          <p:txBody>
            <a:bodyPr/>
            <a:lstStyle/>
            <a:p>
              <a:endParaRPr lang="en-US"/>
            </a:p>
          </p:txBody>
        </p:sp>
        <p:sp>
          <p:nvSpPr>
            <p:cNvPr id="15" name="Freeform 1006"/>
            <p:cNvSpPr>
              <a:spLocks/>
            </p:cNvSpPr>
            <p:nvPr/>
          </p:nvSpPr>
          <p:spPr bwMode="auto">
            <a:xfrm>
              <a:off x="2480710" y="4650151"/>
              <a:ext cx="267013" cy="389899"/>
            </a:xfrm>
            <a:custGeom>
              <a:avLst/>
              <a:gdLst>
                <a:gd name="T0" fmla="*/ 2147483647 w 537"/>
                <a:gd name="T1" fmla="*/ 2147483647 h 788"/>
                <a:gd name="T2" fmla="*/ 2147483647 w 537"/>
                <a:gd name="T3" fmla="*/ 2147483647 h 788"/>
                <a:gd name="T4" fmla="*/ 2147483647 w 537"/>
                <a:gd name="T5" fmla="*/ 2147483647 h 788"/>
                <a:gd name="T6" fmla="*/ 2147483647 w 537"/>
                <a:gd name="T7" fmla="*/ 2147483647 h 788"/>
                <a:gd name="T8" fmla="*/ 2147483647 w 537"/>
                <a:gd name="T9" fmla="*/ 2147483647 h 788"/>
                <a:gd name="T10" fmla="*/ 2147483647 w 537"/>
                <a:gd name="T11" fmla="*/ 2147483647 h 788"/>
                <a:gd name="T12" fmla="*/ 2147483647 w 537"/>
                <a:gd name="T13" fmla="*/ 2147483647 h 788"/>
                <a:gd name="T14" fmla="*/ 2147483647 w 537"/>
                <a:gd name="T15" fmla="*/ 2147483647 h 788"/>
                <a:gd name="T16" fmla="*/ 2147483647 w 537"/>
                <a:gd name="T17" fmla="*/ 2147483647 h 788"/>
                <a:gd name="T18" fmla="*/ 2147483647 w 537"/>
                <a:gd name="T19" fmla="*/ 2147483647 h 788"/>
                <a:gd name="T20" fmla="*/ 2147483647 w 537"/>
                <a:gd name="T21" fmla="*/ 2147483647 h 788"/>
                <a:gd name="T22" fmla="*/ 2147483647 w 537"/>
                <a:gd name="T23" fmla="*/ 2147483647 h 788"/>
                <a:gd name="T24" fmla="*/ 2147483647 w 537"/>
                <a:gd name="T25" fmla="*/ 2147483647 h 788"/>
                <a:gd name="T26" fmla="*/ 2147483647 w 537"/>
                <a:gd name="T27" fmla="*/ 2147483647 h 788"/>
                <a:gd name="T28" fmla="*/ 2147483647 w 537"/>
                <a:gd name="T29" fmla="*/ 2147483647 h 788"/>
                <a:gd name="T30" fmla="*/ 2147483647 w 537"/>
                <a:gd name="T31" fmla="*/ 2147483647 h 788"/>
                <a:gd name="T32" fmla="*/ 2147483647 w 537"/>
                <a:gd name="T33" fmla="*/ 2147483647 h 788"/>
                <a:gd name="T34" fmla="*/ 2147483647 w 537"/>
                <a:gd name="T35" fmla="*/ 2147483647 h 788"/>
                <a:gd name="T36" fmla="*/ 2147483647 w 537"/>
                <a:gd name="T37" fmla="*/ 2147483647 h 788"/>
                <a:gd name="T38" fmla="*/ 2147483647 w 537"/>
                <a:gd name="T39" fmla="*/ 2147483647 h 788"/>
                <a:gd name="T40" fmla="*/ 2147483647 w 537"/>
                <a:gd name="T41" fmla="*/ 2147483647 h 788"/>
                <a:gd name="T42" fmla="*/ 2147483647 w 537"/>
                <a:gd name="T43" fmla="*/ 2147483647 h 788"/>
                <a:gd name="T44" fmla="*/ 2147483647 w 537"/>
                <a:gd name="T45" fmla="*/ 2147483647 h 788"/>
                <a:gd name="T46" fmla="*/ 2147483647 w 537"/>
                <a:gd name="T47" fmla="*/ 2147483647 h 788"/>
                <a:gd name="T48" fmla="*/ 2147483647 w 537"/>
                <a:gd name="T49" fmla="*/ 2147483647 h 788"/>
                <a:gd name="T50" fmla="*/ 2147483647 w 537"/>
                <a:gd name="T51" fmla="*/ 0 h 788"/>
                <a:gd name="T52" fmla="*/ 2147483647 w 537"/>
                <a:gd name="T53" fmla="*/ 2147483647 h 788"/>
                <a:gd name="T54" fmla="*/ 2147483647 w 537"/>
                <a:gd name="T55" fmla="*/ 2147483647 h 788"/>
                <a:gd name="T56" fmla="*/ 2147483647 w 537"/>
                <a:gd name="T57" fmla="*/ 2147483647 h 788"/>
                <a:gd name="T58" fmla="*/ 2147483647 w 537"/>
                <a:gd name="T59" fmla="*/ 2147483647 h 788"/>
                <a:gd name="T60" fmla="*/ 2147483647 w 537"/>
                <a:gd name="T61" fmla="*/ 2147483647 h 788"/>
                <a:gd name="T62" fmla="*/ 2147483647 w 537"/>
                <a:gd name="T63" fmla="*/ 2147483647 h 788"/>
                <a:gd name="T64" fmla="*/ 2147483647 w 537"/>
                <a:gd name="T65" fmla="*/ 2147483647 h 788"/>
                <a:gd name="T66" fmla="*/ 2147483647 w 537"/>
                <a:gd name="T67" fmla="*/ 2147483647 h 788"/>
                <a:gd name="T68" fmla="*/ 2147483647 w 537"/>
                <a:gd name="T69" fmla="*/ 2147483647 h 788"/>
                <a:gd name="T70" fmla="*/ 2147483647 w 537"/>
                <a:gd name="T71" fmla="*/ 2147483647 h 788"/>
                <a:gd name="T72" fmla="*/ 2147483647 w 537"/>
                <a:gd name="T73" fmla="*/ 2147483647 h 788"/>
                <a:gd name="T74" fmla="*/ 2147483647 w 537"/>
                <a:gd name="T75" fmla="*/ 2147483647 h 788"/>
                <a:gd name="T76" fmla="*/ 2147483647 w 537"/>
                <a:gd name="T77" fmla="*/ 2147483647 h 788"/>
                <a:gd name="T78" fmla="*/ 2147483647 w 537"/>
                <a:gd name="T79" fmla="*/ 2147483647 h 788"/>
                <a:gd name="T80" fmla="*/ 2147483647 w 537"/>
                <a:gd name="T81" fmla="*/ 2147483647 h 788"/>
                <a:gd name="T82" fmla="*/ 2147483647 w 537"/>
                <a:gd name="T83" fmla="*/ 2147483647 h 788"/>
                <a:gd name="T84" fmla="*/ 2147483647 w 537"/>
                <a:gd name="T85" fmla="*/ 2147483647 h 788"/>
                <a:gd name="T86" fmla="*/ 2147483647 w 537"/>
                <a:gd name="T87" fmla="*/ 2147483647 h 788"/>
                <a:gd name="T88" fmla="*/ 2147483647 w 537"/>
                <a:gd name="T89" fmla="*/ 2147483647 h 788"/>
                <a:gd name="T90" fmla="*/ 2147483647 w 537"/>
                <a:gd name="T91" fmla="*/ 2147483647 h 788"/>
                <a:gd name="T92" fmla="*/ 2147483647 w 537"/>
                <a:gd name="T93" fmla="*/ 2147483647 h 7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37"/>
                <a:gd name="T142" fmla="*/ 0 h 788"/>
                <a:gd name="T143" fmla="*/ 537 w 537"/>
                <a:gd name="T144" fmla="*/ 788 h 7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37" h="788">
                  <a:moveTo>
                    <a:pt x="460" y="788"/>
                  </a:moveTo>
                  <a:lnTo>
                    <a:pt x="470" y="781"/>
                  </a:lnTo>
                  <a:lnTo>
                    <a:pt x="489" y="779"/>
                  </a:lnTo>
                  <a:lnTo>
                    <a:pt x="500" y="759"/>
                  </a:lnTo>
                  <a:lnTo>
                    <a:pt x="497" y="749"/>
                  </a:lnTo>
                  <a:lnTo>
                    <a:pt x="526" y="712"/>
                  </a:lnTo>
                  <a:lnTo>
                    <a:pt x="525" y="700"/>
                  </a:lnTo>
                  <a:lnTo>
                    <a:pt x="510" y="684"/>
                  </a:lnTo>
                  <a:lnTo>
                    <a:pt x="510" y="667"/>
                  </a:lnTo>
                  <a:lnTo>
                    <a:pt x="521" y="652"/>
                  </a:lnTo>
                  <a:lnTo>
                    <a:pt x="511" y="631"/>
                  </a:lnTo>
                  <a:lnTo>
                    <a:pt x="526" y="620"/>
                  </a:lnTo>
                  <a:lnTo>
                    <a:pt x="526" y="549"/>
                  </a:lnTo>
                  <a:lnTo>
                    <a:pt x="537" y="530"/>
                  </a:lnTo>
                  <a:lnTo>
                    <a:pt x="497" y="464"/>
                  </a:lnTo>
                  <a:lnTo>
                    <a:pt x="472" y="470"/>
                  </a:lnTo>
                  <a:lnTo>
                    <a:pt x="462" y="464"/>
                  </a:lnTo>
                  <a:lnTo>
                    <a:pt x="462" y="394"/>
                  </a:lnTo>
                  <a:lnTo>
                    <a:pt x="434" y="417"/>
                  </a:lnTo>
                  <a:lnTo>
                    <a:pt x="414" y="425"/>
                  </a:lnTo>
                  <a:lnTo>
                    <a:pt x="392" y="421"/>
                  </a:lnTo>
                  <a:lnTo>
                    <a:pt x="381" y="402"/>
                  </a:lnTo>
                  <a:lnTo>
                    <a:pt x="355" y="399"/>
                  </a:lnTo>
                  <a:lnTo>
                    <a:pt x="359" y="381"/>
                  </a:lnTo>
                  <a:lnTo>
                    <a:pt x="332" y="352"/>
                  </a:lnTo>
                  <a:lnTo>
                    <a:pt x="320" y="321"/>
                  </a:lnTo>
                  <a:lnTo>
                    <a:pt x="334" y="284"/>
                  </a:lnTo>
                  <a:lnTo>
                    <a:pt x="351" y="278"/>
                  </a:lnTo>
                  <a:lnTo>
                    <a:pt x="353" y="249"/>
                  </a:lnTo>
                  <a:lnTo>
                    <a:pt x="377" y="215"/>
                  </a:lnTo>
                  <a:lnTo>
                    <a:pt x="413" y="194"/>
                  </a:lnTo>
                  <a:lnTo>
                    <a:pt x="463" y="177"/>
                  </a:lnTo>
                  <a:lnTo>
                    <a:pt x="479" y="178"/>
                  </a:lnTo>
                  <a:lnTo>
                    <a:pt x="485" y="174"/>
                  </a:lnTo>
                  <a:lnTo>
                    <a:pt x="469" y="161"/>
                  </a:lnTo>
                  <a:lnTo>
                    <a:pt x="458" y="159"/>
                  </a:lnTo>
                  <a:lnTo>
                    <a:pt x="458" y="151"/>
                  </a:lnTo>
                  <a:lnTo>
                    <a:pt x="480" y="120"/>
                  </a:lnTo>
                  <a:lnTo>
                    <a:pt x="472" y="107"/>
                  </a:lnTo>
                  <a:lnTo>
                    <a:pt x="440" y="94"/>
                  </a:lnTo>
                  <a:lnTo>
                    <a:pt x="425" y="99"/>
                  </a:lnTo>
                  <a:lnTo>
                    <a:pt x="403" y="94"/>
                  </a:lnTo>
                  <a:lnTo>
                    <a:pt x="384" y="104"/>
                  </a:lnTo>
                  <a:lnTo>
                    <a:pt x="352" y="101"/>
                  </a:lnTo>
                  <a:lnTo>
                    <a:pt x="345" y="93"/>
                  </a:lnTo>
                  <a:lnTo>
                    <a:pt x="345" y="76"/>
                  </a:lnTo>
                  <a:lnTo>
                    <a:pt x="332" y="73"/>
                  </a:lnTo>
                  <a:lnTo>
                    <a:pt x="324" y="48"/>
                  </a:lnTo>
                  <a:lnTo>
                    <a:pt x="307" y="42"/>
                  </a:lnTo>
                  <a:lnTo>
                    <a:pt x="293" y="19"/>
                  </a:lnTo>
                  <a:lnTo>
                    <a:pt x="278" y="7"/>
                  </a:lnTo>
                  <a:lnTo>
                    <a:pt x="256" y="0"/>
                  </a:lnTo>
                  <a:lnTo>
                    <a:pt x="245" y="2"/>
                  </a:lnTo>
                  <a:lnTo>
                    <a:pt x="244" y="8"/>
                  </a:lnTo>
                  <a:lnTo>
                    <a:pt x="261" y="38"/>
                  </a:lnTo>
                  <a:lnTo>
                    <a:pt x="254" y="38"/>
                  </a:lnTo>
                  <a:lnTo>
                    <a:pt x="237" y="70"/>
                  </a:lnTo>
                  <a:lnTo>
                    <a:pt x="199" y="107"/>
                  </a:lnTo>
                  <a:lnTo>
                    <a:pt x="139" y="132"/>
                  </a:lnTo>
                  <a:lnTo>
                    <a:pt x="132" y="149"/>
                  </a:lnTo>
                  <a:lnTo>
                    <a:pt x="123" y="148"/>
                  </a:lnTo>
                  <a:lnTo>
                    <a:pt x="111" y="164"/>
                  </a:lnTo>
                  <a:lnTo>
                    <a:pt x="107" y="198"/>
                  </a:lnTo>
                  <a:lnTo>
                    <a:pt x="93" y="208"/>
                  </a:lnTo>
                  <a:lnTo>
                    <a:pt x="78" y="211"/>
                  </a:lnTo>
                  <a:lnTo>
                    <a:pt x="69" y="194"/>
                  </a:lnTo>
                  <a:lnTo>
                    <a:pt x="57" y="194"/>
                  </a:lnTo>
                  <a:lnTo>
                    <a:pt x="50" y="186"/>
                  </a:lnTo>
                  <a:lnTo>
                    <a:pt x="33" y="192"/>
                  </a:lnTo>
                  <a:lnTo>
                    <a:pt x="28" y="172"/>
                  </a:lnTo>
                  <a:lnTo>
                    <a:pt x="42" y="163"/>
                  </a:lnTo>
                  <a:lnTo>
                    <a:pt x="38" y="145"/>
                  </a:lnTo>
                  <a:lnTo>
                    <a:pt x="0" y="184"/>
                  </a:lnTo>
                  <a:lnTo>
                    <a:pt x="7" y="223"/>
                  </a:lnTo>
                  <a:lnTo>
                    <a:pt x="17" y="235"/>
                  </a:lnTo>
                  <a:lnTo>
                    <a:pt x="7" y="249"/>
                  </a:lnTo>
                  <a:lnTo>
                    <a:pt x="54" y="288"/>
                  </a:lnTo>
                  <a:lnTo>
                    <a:pt x="68" y="304"/>
                  </a:lnTo>
                  <a:lnTo>
                    <a:pt x="79" y="331"/>
                  </a:lnTo>
                  <a:lnTo>
                    <a:pt x="102" y="355"/>
                  </a:lnTo>
                  <a:lnTo>
                    <a:pt x="132" y="430"/>
                  </a:lnTo>
                  <a:lnTo>
                    <a:pt x="146" y="453"/>
                  </a:lnTo>
                  <a:lnTo>
                    <a:pt x="155" y="490"/>
                  </a:lnTo>
                  <a:lnTo>
                    <a:pt x="168" y="501"/>
                  </a:lnTo>
                  <a:lnTo>
                    <a:pt x="199" y="558"/>
                  </a:lnTo>
                  <a:lnTo>
                    <a:pt x="209" y="569"/>
                  </a:lnTo>
                  <a:lnTo>
                    <a:pt x="215" y="591"/>
                  </a:lnTo>
                  <a:lnTo>
                    <a:pt x="208" y="599"/>
                  </a:lnTo>
                  <a:lnTo>
                    <a:pt x="212" y="611"/>
                  </a:lnTo>
                  <a:lnTo>
                    <a:pt x="261" y="660"/>
                  </a:lnTo>
                  <a:lnTo>
                    <a:pt x="321" y="698"/>
                  </a:lnTo>
                  <a:lnTo>
                    <a:pt x="383" y="725"/>
                  </a:lnTo>
                  <a:lnTo>
                    <a:pt x="410" y="743"/>
                  </a:lnTo>
                  <a:lnTo>
                    <a:pt x="438" y="776"/>
                  </a:lnTo>
                  <a:lnTo>
                    <a:pt x="460" y="788"/>
                  </a:lnTo>
                  <a:close/>
                </a:path>
              </a:pathLst>
            </a:custGeom>
            <a:grpFill/>
            <a:ln w="6350">
              <a:solidFill>
                <a:schemeClr val="tx2"/>
              </a:solidFill>
              <a:round/>
              <a:headEnd/>
              <a:tailEnd/>
            </a:ln>
          </p:spPr>
          <p:txBody>
            <a:bodyPr/>
            <a:lstStyle/>
            <a:p>
              <a:endParaRPr lang="en-US"/>
            </a:p>
          </p:txBody>
        </p:sp>
        <p:sp>
          <p:nvSpPr>
            <p:cNvPr id="16" name="Freeform 1007"/>
            <p:cNvSpPr>
              <a:spLocks/>
            </p:cNvSpPr>
            <p:nvPr/>
          </p:nvSpPr>
          <p:spPr bwMode="auto">
            <a:xfrm>
              <a:off x="2878195" y="5064323"/>
              <a:ext cx="179020" cy="189639"/>
            </a:xfrm>
            <a:custGeom>
              <a:avLst/>
              <a:gdLst>
                <a:gd name="T0" fmla="*/ 0 w 362"/>
                <a:gd name="T1" fmla="*/ 2147483647 h 383"/>
                <a:gd name="T2" fmla="*/ 2147483647 w 362"/>
                <a:gd name="T3" fmla="*/ 2147483647 h 383"/>
                <a:gd name="T4" fmla="*/ 2147483647 w 362"/>
                <a:gd name="T5" fmla="*/ 2147483647 h 383"/>
                <a:gd name="T6" fmla="*/ 2147483647 w 362"/>
                <a:gd name="T7" fmla="*/ 2147483647 h 383"/>
                <a:gd name="T8" fmla="*/ 2147483647 w 362"/>
                <a:gd name="T9" fmla="*/ 2147483647 h 383"/>
                <a:gd name="T10" fmla="*/ 2147483647 w 362"/>
                <a:gd name="T11" fmla="*/ 0 h 383"/>
                <a:gd name="T12" fmla="*/ 2147483647 w 362"/>
                <a:gd name="T13" fmla="*/ 0 h 383"/>
                <a:gd name="T14" fmla="*/ 2147483647 w 362"/>
                <a:gd name="T15" fmla="*/ 2147483647 h 383"/>
                <a:gd name="T16" fmla="*/ 2147483647 w 362"/>
                <a:gd name="T17" fmla="*/ 2147483647 h 383"/>
                <a:gd name="T18" fmla="*/ 2147483647 w 362"/>
                <a:gd name="T19" fmla="*/ 2147483647 h 383"/>
                <a:gd name="T20" fmla="*/ 2147483647 w 362"/>
                <a:gd name="T21" fmla="*/ 2147483647 h 383"/>
                <a:gd name="T22" fmla="*/ 2147483647 w 362"/>
                <a:gd name="T23" fmla="*/ 2147483647 h 383"/>
                <a:gd name="T24" fmla="*/ 2147483647 w 362"/>
                <a:gd name="T25" fmla="*/ 2147483647 h 383"/>
                <a:gd name="T26" fmla="*/ 2147483647 w 362"/>
                <a:gd name="T27" fmla="*/ 2147483647 h 383"/>
                <a:gd name="T28" fmla="*/ 2147483647 w 362"/>
                <a:gd name="T29" fmla="*/ 2147483647 h 383"/>
                <a:gd name="T30" fmla="*/ 2147483647 w 362"/>
                <a:gd name="T31" fmla="*/ 2147483647 h 383"/>
                <a:gd name="T32" fmla="*/ 2147483647 w 362"/>
                <a:gd name="T33" fmla="*/ 2147483647 h 383"/>
                <a:gd name="T34" fmla="*/ 2147483647 w 362"/>
                <a:gd name="T35" fmla="*/ 2147483647 h 383"/>
                <a:gd name="T36" fmla="*/ 2147483647 w 362"/>
                <a:gd name="T37" fmla="*/ 2147483647 h 383"/>
                <a:gd name="T38" fmla="*/ 2147483647 w 362"/>
                <a:gd name="T39" fmla="*/ 2147483647 h 383"/>
                <a:gd name="T40" fmla="*/ 2147483647 w 362"/>
                <a:gd name="T41" fmla="*/ 2147483647 h 383"/>
                <a:gd name="T42" fmla="*/ 2147483647 w 362"/>
                <a:gd name="T43" fmla="*/ 2147483647 h 383"/>
                <a:gd name="T44" fmla="*/ 2147483647 w 362"/>
                <a:gd name="T45" fmla="*/ 2147483647 h 383"/>
                <a:gd name="T46" fmla="*/ 2147483647 w 362"/>
                <a:gd name="T47" fmla="*/ 2147483647 h 383"/>
                <a:gd name="T48" fmla="*/ 2147483647 w 362"/>
                <a:gd name="T49" fmla="*/ 2147483647 h 383"/>
                <a:gd name="T50" fmla="*/ 2147483647 w 362"/>
                <a:gd name="T51" fmla="*/ 2147483647 h 383"/>
                <a:gd name="T52" fmla="*/ 2147483647 w 362"/>
                <a:gd name="T53" fmla="*/ 2147483647 h 383"/>
                <a:gd name="T54" fmla="*/ 2147483647 w 362"/>
                <a:gd name="T55" fmla="*/ 2147483647 h 383"/>
                <a:gd name="T56" fmla="*/ 2147483647 w 362"/>
                <a:gd name="T57" fmla="*/ 2147483647 h 383"/>
                <a:gd name="T58" fmla="*/ 2147483647 w 362"/>
                <a:gd name="T59" fmla="*/ 2147483647 h 383"/>
                <a:gd name="T60" fmla="*/ 2147483647 w 362"/>
                <a:gd name="T61" fmla="*/ 2147483647 h 383"/>
                <a:gd name="T62" fmla="*/ 2147483647 w 362"/>
                <a:gd name="T63" fmla="*/ 2147483647 h 383"/>
                <a:gd name="T64" fmla="*/ 2147483647 w 362"/>
                <a:gd name="T65" fmla="*/ 2147483647 h 383"/>
                <a:gd name="T66" fmla="*/ 2147483647 w 362"/>
                <a:gd name="T67" fmla="*/ 2147483647 h 383"/>
                <a:gd name="T68" fmla="*/ 2147483647 w 362"/>
                <a:gd name="T69" fmla="*/ 2147483647 h 383"/>
                <a:gd name="T70" fmla="*/ 2147483647 w 362"/>
                <a:gd name="T71" fmla="*/ 2147483647 h 383"/>
                <a:gd name="T72" fmla="*/ 2147483647 w 362"/>
                <a:gd name="T73" fmla="*/ 2147483647 h 383"/>
                <a:gd name="T74" fmla="*/ 2147483647 w 362"/>
                <a:gd name="T75" fmla="*/ 2147483647 h 383"/>
                <a:gd name="T76" fmla="*/ 2147483647 w 362"/>
                <a:gd name="T77" fmla="*/ 2147483647 h 383"/>
                <a:gd name="T78" fmla="*/ 0 w 362"/>
                <a:gd name="T79" fmla="*/ 2147483647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2"/>
                <a:gd name="T121" fmla="*/ 0 h 383"/>
                <a:gd name="T122" fmla="*/ 362 w 362"/>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2" h="383">
                  <a:moveTo>
                    <a:pt x="0" y="140"/>
                  </a:moveTo>
                  <a:lnTo>
                    <a:pt x="15" y="97"/>
                  </a:lnTo>
                  <a:lnTo>
                    <a:pt x="15" y="66"/>
                  </a:lnTo>
                  <a:lnTo>
                    <a:pt x="31" y="39"/>
                  </a:lnTo>
                  <a:lnTo>
                    <a:pt x="36" y="23"/>
                  </a:lnTo>
                  <a:lnTo>
                    <a:pt x="119" y="0"/>
                  </a:lnTo>
                  <a:lnTo>
                    <a:pt x="155" y="0"/>
                  </a:lnTo>
                  <a:lnTo>
                    <a:pt x="175" y="8"/>
                  </a:lnTo>
                  <a:lnTo>
                    <a:pt x="199" y="39"/>
                  </a:lnTo>
                  <a:lnTo>
                    <a:pt x="198" y="44"/>
                  </a:lnTo>
                  <a:lnTo>
                    <a:pt x="205" y="57"/>
                  </a:lnTo>
                  <a:lnTo>
                    <a:pt x="205" y="120"/>
                  </a:lnTo>
                  <a:lnTo>
                    <a:pt x="208" y="126"/>
                  </a:lnTo>
                  <a:lnTo>
                    <a:pt x="244" y="138"/>
                  </a:lnTo>
                  <a:lnTo>
                    <a:pt x="273" y="131"/>
                  </a:lnTo>
                  <a:lnTo>
                    <a:pt x="298" y="141"/>
                  </a:lnTo>
                  <a:lnTo>
                    <a:pt x="304" y="152"/>
                  </a:lnTo>
                  <a:lnTo>
                    <a:pt x="308" y="199"/>
                  </a:lnTo>
                  <a:lnTo>
                    <a:pt x="313" y="210"/>
                  </a:lnTo>
                  <a:lnTo>
                    <a:pt x="324" y="215"/>
                  </a:lnTo>
                  <a:lnTo>
                    <a:pt x="353" y="211"/>
                  </a:lnTo>
                  <a:lnTo>
                    <a:pt x="357" y="215"/>
                  </a:lnTo>
                  <a:lnTo>
                    <a:pt x="362" y="241"/>
                  </a:lnTo>
                  <a:lnTo>
                    <a:pt x="353" y="292"/>
                  </a:lnTo>
                  <a:lnTo>
                    <a:pt x="345" y="335"/>
                  </a:lnTo>
                  <a:lnTo>
                    <a:pt x="304" y="375"/>
                  </a:lnTo>
                  <a:lnTo>
                    <a:pt x="254" y="383"/>
                  </a:lnTo>
                  <a:lnTo>
                    <a:pt x="227" y="371"/>
                  </a:lnTo>
                  <a:lnTo>
                    <a:pt x="185" y="367"/>
                  </a:lnTo>
                  <a:lnTo>
                    <a:pt x="186" y="356"/>
                  </a:lnTo>
                  <a:lnTo>
                    <a:pt x="187" y="345"/>
                  </a:lnTo>
                  <a:lnTo>
                    <a:pt x="214" y="299"/>
                  </a:lnTo>
                  <a:lnTo>
                    <a:pt x="211" y="281"/>
                  </a:lnTo>
                  <a:lnTo>
                    <a:pt x="180" y="256"/>
                  </a:lnTo>
                  <a:lnTo>
                    <a:pt x="131" y="227"/>
                  </a:lnTo>
                  <a:lnTo>
                    <a:pt x="80" y="216"/>
                  </a:lnTo>
                  <a:lnTo>
                    <a:pt x="70" y="200"/>
                  </a:lnTo>
                  <a:lnTo>
                    <a:pt x="39" y="178"/>
                  </a:lnTo>
                  <a:lnTo>
                    <a:pt x="13" y="144"/>
                  </a:lnTo>
                  <a:lnTo>
                    <a:pt x="0" y="140"/>
                  </a:lnTo>
                  <a:close/>
                </a:path>
              </a:pathLst>
            </a:custGeom>
            <a:grpFill/>
            <a:ln w="6350">
              <a:solidFill>
                <a:schemeClr val="tx2"/>
              </a:solidFill>
              <a:round/>
              <a:headEnd/>
              <a:tailEnd/>
            </a:ln>
          </p:spPr>
          <p:txBody>
            <a:bodyPr/>
            <a:lstStyle/>
            <a:p>
              <a:endParaRPr lang="en-US"/>
            </a:p>
          </p:txBody>
        </p:sp>
        <p:sp>
          <p:nvSpPr>
            <p:cNvPr id="17" name="Freeform 1008"/>
            <p:cNvSpPr>
              <a:spLocks/>
            </p:cNvSpPr>
            <p:nvPr/>
          </p:nvSpPr>
          <p:spPr bwMode="auto">
            <a:xfrm>
              <a:off x="3057214" y="4528782"/>
              <a:ext cx="60685" cy="77374"/>
            </a:xfrm>
            <a:custGeom>
              <a:avLst/>
              <a:gdLst>
                <a:gd name="T0" fmla="*/ 2147483647 w 122"/>
                <a:gd name="T1" fmla="*/ 2147483647 h 158"/>
                <a:gd name="T2" fmla="*/ 2147483647 w 122"/>
                <a:gd name="T3" fmla="*/ 2147483647 h 158"/>
                <a:gd name="T4" fmla="*/ 2147483647 w 122"/>
                <a:gd name="T5" fmla="*/ 2147483647 h 158"/>
                <a:gd name="T6" fmla="*/ 2147483647 w 122"/>
                <a:gd name="T7" fmla="*/ 2147483647 h 158"/>
                <a:gd name="T8" fmla="*/ 2147483647 w 122"/>
                <a:gd name="T9" fmla="*/ 0 h 158"/>
                <a:gd name="T10" fmla="*/ 2147483647 w 122"/>
                <a:gd name="T11" fmla="*/ 2147483647 h 158"/>
                <a:gd name="T12" fmla="*/ 2147483647 w 122"/>
                <a:gd name="T13" fmla="*/ 2147483647 h 158"/>
                <a:gd name="T14" fmla="*/ 2147483647 w 122"/>
                <a:gd name="T15" fmla="*/ 2147483647 h 158"/>
                <a:gd name="T16" fmla="*/ 2147483647 w 122"/>
                <a:gd name="T17" fmla="*/ 2147483647 h 158"/>
                <a:gd name="T18" fmla="*/ 2147483647 w 122"/>
                <a:gd name="T19" fmla="*/ 2147483647 h 158"/>
                <a:gd name="T20" fmla="*/ 0 w 122"/>
                <a:gd name="T21" fmla="*/ 2147483647 h 158"/>
                <a:gd name="T22" fmla="*/ 2147483647 w 122"/>
                <a:gd name="T23" fmla="*/ 2147483647 h 158"/>
                <a:gd name="T24" fmla="*/ 2147483647 w 122"/>
                <a:gd name="T25" fmla="*/ 2147483647 h 158"/>
                <a:gd name="T26" fmla="*/ 2147483647 w 122"/>
                <a:gd name="T27" fmla="*/ 2147483647 h 158"/>
                <a:gd name="T28" fmla="*/ 2147483647 w 122"/>
                <a:gd name="T29" fmla="*/ 2147483647 h 158"/>
                <a:gd name="T30" fmla="*/ 2147483647 w 122"/>
                <a:gd name="T31" fmla="*/ 2147483647 h 158"/>
                <a:gd name="T32" fmla="*/ 2147483647 w 122"/>
                <a:gd name="T33" fmla="*/ 2147483647 h 1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2"/>
                <a:gd name="T52" fmla="*/ 0 h 158"/>
                <a:gd name="T53" fmla="*/ 122 w 122"/>
                <a:gd name="T54" fmla="*/ 158 h 1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2" h="158">
                  <a:moveTo>
                    <a:pt x="122" y="68"/>
                  </a:moveTo>
                  <a:lnTo>
                    <a:pt x="121" y="59"/>
                  </a:lnTo>
                  <a:lnTo>
                    <a:pt x="114" y="51"/>
                  </a:lnTo>
                  <a:lnTo>
                    <a:pt x="77" y="23"/>
                  </a:lnTo>
                  <a:lnTo>
                    <a:pt x="27" y="0"/>
                  </a:lnTo>
                  <a:lnTo>
                    <a:pt x="17" y="6"/>
                  </a:lnTo>
                  <a:lnTo>
                    <a:pt x="2" y="28"/>
                  </a:lnTo>
                  <a:lnTo>
                    <a:pt x="3" y="59"/>
                  </a:lnTo>
                  <a:lnTo>
                    <a:pt x="18" y="87"/>
                  </a:lnTo>
                  <a:lnTo>
                    <a:pt x="11" y="130"/>
                  </a:lnTo>
                  <a:lnTo>
                    <a:pt x="0" y="143"/>
                  </a:lnTo>
                  <a:lnTo>
                    <a:pt x="17" y="158"/>
                  </a:lnTo>
                  <a:lnTo>
                    <a:pt x="36" y="150"/>
                  </a:lnTo>
                  <a:lnTo>
                    <a:pt x="59" y="151"/>
                  </a:lnTo>
                  <a:lnTo>
                    <a:pt x="83" y="130"/>
                  </a:lnTo>
                  <a:lnTo>
                    <a:pt x="92" y="108"/>
                  </a:lnTo>
                  <a:lnTo>
                    <a:pt x="122" y="68"/>
                  </a:lnTo>
                  <a:close/>
                </a:path>
              </a:pathLst>
            </a:custGeom>
            <a:grpFill/>
            <a:ln w="6350">
              <a:solidFill>
                <a:schemeClr val="tx2"/>
              </a:solidFill>
              <a:round/>
              <a:headEnd/>
              <a:tailEnd/>
            </a:ln>
          </p:spPr>
          <p:txBody>
            <a:bodyPr/>
            <a:lstStyle/>
            <a:p>
              <a:endParaRPr lang="en-US"/>
            </a:p>
          </p:txBody>
        </p:sp>
        <p:sp>
          <p:nvSpPr>
            <p:cNvPr id="18" name="Freeform 1009"/>
            <p:cNvSpPr>
              <a:spLocks/>
            </p:cNvSpPr>
            <p:nvPr/>
          </p:nvSpPr>
          <p:spPr bwMode="auto">
            <a:xfrm>
              <a:off x="2969221" y="5317682"/>
              <a:ext cx="115300" cy="122886"/>
            </a:xfrm>
            <a:custGeom>
              <a:avLst/>
              <a:gdLst>
                <a:gd name="T0" fmla="*/ 2147483647 w 229"/>
                <a:gd name="T1" fmla="*/ 2147483647 h 246"/>
                <a:gd name="T2" fmla="*/ 2147483647 w 229"/>
                <a:gd name="T3" fmla="*/ 2147483647 h 246"/>
                <a:gd name="T4" fmla="*/ 2147483647 w 229"/>
                <a:gd name="T5" fmla="*/ 2147483647 h 246"/>
                <a:gd name="T6" fmla="*/ 2147483647 w 229"/>
                <a:gd name="T7" fmla="*/ 2147483647 h 246"/>
                <a:gd name="T8" fmla="*/ 2147483647 w 229"/>
                <a:gd name="T9" fmla="*/ 2147483647 h 246"/>
                <a:gd name="T10" fmla="*/ 2147483647 w 229"/>
                <a:gd name="T11" fmla="*/ 2147483647 h 246"/>
                <a:gd name="T12" fmla="*/ 0 w 229"/>
                <a:gd name="T13" fmla="*/ 2147483647 h 246"/>
                <a:gd name="T14" fmla="*/ 2147483647 w 229"/>
                <a:gd name="T15" fmla="*/ 2147483647 h 246"/>
                <a:gd name="T16" fmla="*/ 2147483647 w 229"/>
                <a:gd name="T17" fmla="*/ 2147483647 h 246"/>
                <a:gd name="T18" fmla="*/ 2147483647 w 229"/>
                <a:gd name="T19" fmla="*/ 2147483647 h 246"/>
                <a:gd name="T20" fmla="*/ 2147483647 w 229"/>
                <a:gd name="T21" fmla="*/ 2147483647 h 246"/>
                <a:gd name="T22" fmla="*/ 2147483647 w 229"/>
                <a:gd name="T23" fmla="*/ 2147483647 h 246"/>
                <a:gd name="T24" fmla="*/ 2147483647 w 229"/>
                <a:gd name="T25" fmla="*/ 2147483647 h 246"/>
                <a:gd name="T26" fmla="*/ 2147483647 w 229"/>
                <a:gd name="T27" fmla="*/ 2147483647 h 246"/>
                <a:gd name="T28" fmla="*/ 2147483647 w 229"/>
                <a:gd name="T29" fmla="*/ 2147483647 h 246"/>
                <a:gd name="T30" fmla="*/ 2147483647 w 229"/>
                <a:gd name="T31" fmla="*/ 2147483647 h 246"/>
                <a:gd name="T32" fmla="*/ 2147483647 w 229"/>
                <a:gd name="T33" fmla="*/ 2147483647 h 246"/>
                <a:gd name="T34" fmla="*/ 2147483647 w 229"/>
                <a:gd name="T35" fmla="*/ 2147483647 h 246"/>
                <a:gd name="T36" fmla="*/ 2147483647 w 229"/>
                <a:gd name="T37" fmla="*/ 2147483647 h 246"/>
                <a:gd name="T38" fmla="*/ 2147483647 w 229"/>
                <a:gd name="T39" fmla="*/ 2147483647 h 246"/>
                <a:gd name="T40" fmla="*/ 2147483647 w 229"/>
                <a:gd name="T41" fmla="*/ 2147483647 h 246"/>
                <a:gd name="T42" fmla="*/ 2147483647 w 229"/>
                <a:gd name="T43" fmla="*/ 2147483647 h 246"/>
                <a:gd name="T44" fmla="*/ 2147483647 w 229"/>
                <a:gd name="T45" fmla="*/ 2147483647 h 246"/>
                <a:gd name="T46" fmla="*/ 2147483647 w 229"/>
                <a:gd name="T47" fmla="*/ 2147483647 h 246"/>
                <a:gd name="T48" fmla="*/ 2147483647 w 229"/>
                <a:gd name="T49" fmla="*/ 2147483647 h 246"/>
                <a:gd name="T50" fmla="*/ 2147483647 w 229"/>
                <a:gd name="T51" fmla="*/ 2147483647 h 246"/>
                <a:gd name="T52" fmla="*/ 2147483647 w 229"/>
                <a:gd name="T53" fmla="*/ 2147483647 h 246"/>
                <a:gd name="T54" fmla="*/ 2147483647 w 229"/>
                <a:gd name="T55" fmla="*/ 2147483647 h 246"/>
                <a:gd name="T56" fmla="*/ 2147483647 w 229"/>
                <a:gd name="T57" fmla="*/ 0 h 246"/>
                <a:gd name="T58" fmla="*/ 2147483647 w 229"/>
                <a:gd name="T59" fmla="*/ 2147483647 h 246"/>
                <a:gd name="T60" fmla="*/ 2147483647 w 229"/>
                <a:gd name="T61" fmla="*/ 2147483647 h 2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9"/>
                <a:gd name="T94" fmla="*/ 0 h 246"/>
                <a:gd name="T95" fmla="*/ 229 w 229"/>
                <a:gd name="T96" fmla="*/ 246 h 2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9" h="246">
                  <a:moveTo>
                    <a:pt x="34" y="8"/>
                  </a:moveTo>
                  <a:lnTo>
                    <a:pt x="25" y="21"/>
                  </a:lnTo>
                  <a:lnTo>
                    <a:pt x="23" y="68"/>
                  </a:lnTo>
                  <a:lnTo>
                    <a:pt x="15" y="95"/>
                  </a:lnTo>
                  <a:lnTo>
                    <a:pt x="14" y="142"/>
                  </a:lnTo>
                  <a:lnTo>
                    <a:pt x="3" y="164"/>
                  </a:lnTo>
                  <a:lnTo>
                    <a:pt x="0" y="198"/>
                  </a:lnTo>
                  <a:lnTo>
                    <a:pt x="5" y="198"/>
                  </a:lnTo>
                  <a:lnTo>
                    <a:pt x="22" y="220"/>
                  </a:lnTo>
                  <a:lnTo>
                    <a:pt x="52" y="222"/>
                  </a:lnTo>
                  <a:lnTo>
                    <a:pt x="96" y="242"/>
                  </a:lnTo>
                  <a:lnTo>
                    <a:pt x="127" y="239"/>
                  </a:lnTo>
                  <a:lnTo>
                    <a:pt x="154" y="246"/>
                  </a:lnTo>
                  <a:lnTo>
                    <a:pt x="186" y="230"/>
                  </a:lnTo>
                  <a:lnTo>
                    <a:pt x="217" y="185"/>
                  </a:lnTo>
                  <a:lnTo>
                    <a:pt x="213" y="179"/>
                  </a:lnTo>
                  <a:lnTo>
                    <a:pt x="215" y="155"/>
                  </a:lnTo>
                  <a:lnTo>
                    <a:pt x="229" y="134"/>
                  </a:lnTo>
                  <a:lnTo>
                    <a:pt x="209" y="117"/>
                  </a:lnTo>
                  <a:lnTo>
                    <a:pt x="201" y="94"/>
                  </a:lnTo>
                  <a:lnTo>
                    <a:pt x="179" y="84"/>
                  </a:lnTo>
                  <a:lnTo>
                    <a:pt x="166" y="68"/>
                  </a:lnTo>
                  <a:lnTo>
                    <a:pt x="142" y="59"/>
                  </a:lnTo>
                  <a:lnTo>
                    <a:pt x="125" y="37"/>
                  </a:lnTo>
                  <a:lnTo>
                    <a:pt x="115" y="46"/>
                  </a:lnTo>
                  <a:lnTo>
                    <a:pt x="105" y="46"/>
                  </a:lnTo>
                  <a:lnTo>
                    <a:pt x="100" y="27"/>
                  </a:lnTo>
                  <a:lnTo>
                    <a:pt x="70" y="2"/>
                  </a:lnTo>
                  <a:lnTo>
                    <a:pt x="61" y="0"/>
                  </a:lnTo>
                  <a:lnTo>
                    <a:pt x="50" y="9"/>
                  </a:lnTo>
                  <a:lnTo>
                    <a:pt x="34" y="8"/>
                  </a:lnTo>
                  <a:close/>
                </a:path>
              </a:pathLst>
            </a:custGeom>
            <a:grpFill/>
            <a:ln w="6350">
              <a:solidFill>
                <a:schemeClr val="tx2"/>
              </a:solidFill>
              <a:round/>
              <a:headEnd/>
              <a:tailEnd/>
            </a:ln>
          </p:spPr>
          <p:txBody>
            <a:bodyPr/>
            <a:lstStyle/>
            <a:p>
              <a:endParaRPr lang="en-US"/>
            </a:p>
          </p:txBody>
        </p:sp>
        <p:sp>
          <p:nvSpPr>
            <p:cNvPr id="19" name="Freeform 1010"/>
            <p:cNvSpPr>
              <a:spLocks/>
            </p:cNvSpPr>
            <p:nvPr/>
          </p:nvSpPr>
          <p:spPr bwMode="auto">
            <a:xfrm>
              <a:off x="2729517" y="4854963"/>
              <a:ext cx="256392" cy="291286"/>
            </a:xfrm>
            <a:custGeom>
              <a:avLst/>
              <a:gdLst>
                <a:gd name="T0" fmla="*/ 2147483647 w 516"/>
                <a:gd name="T1" fmla="*/ 2147483647 h 591"/>
                <a:gd name="T2" fmla="*/ 2147483647 w 516"/>
                <a:gd name="T3" fmla="*/ 2147483647 h 591"/>
                <a:gd name="T4" fmla="*/ 2147483647 w 516"/>
                <a:gd name="T5" fmla="*/ 2147483647 h 591"/>
                <a:gd name="T6" fmla="*/ 2147483647 w 516"/>
                <a:gd name="T7" fmla="*/ 2147483647 h 591"/>
                <a:gd name="T8" fmla="*/ 2147483647 w 516"/>
                <a:gd name="T9" fmla="*/ 2147483647 h 591"/>
                <a:gd name="T10" fmla="*/ 2147483647 w 516"/>
                <a:gd name="T11" fmla="*/ 2147483647 h 591"/>
                <a:gd name="T12" fmla="*/ 2147483647 w 516"/>
                <a:gd name="T13" fmla="*/ 2147483647 h 591"/>
                <a:gd name="T14" fmla="*/ 2147483647 w 516"/>
                <a:gd name="T15" fmla="*/ 2147483647 h 591"/>
                <a:gd name="T16" fmla="*/ 2147483647 w 516"/>
                <a:gd name="T17" fmla="*/ 2147483647 h 591"/>
                <a:gd name="T18" fmla="*/ 2147483647 w 516"/>
                <a:gd name="T19" fmla="*/ 2147483647 h 591"/>
                <a:gd name="T20" fmla="*/ 2147483647 w 516"/>
                <a:gd name="T21" fmla="*/ 2147483647 h 591"/>
                <a:gd name="T22" fmla="*/ 2147483647 w 516"/>
                <a:gd name="T23" fmla="*/ 2147483647 h 591"/>
                <a:gd name="T24" fmla="*/ 2147483647 w 516"/>
                <a:gd name="T25" fmla="*/ 2147483647 h 591"/>
                <a:gd name="T26" fmla="*/ 2147483647 w 516"/>
                <a:gd name="T27" fmla="*/ 2147483647 h 591"/>
                <a:gd name="T28" fmla="*/ 2147483647 w 516"/>
                <a:gd name="T29" fmla="*/ 2147483647 h 591"/>
                <a:gd name="T30" fmla="*/ 2147483647 w 516"/>
                <a:gd name="T31" fmla="*/ 2147483647 h 591"/>
                <a:gd name="T32" fmla="*/ 2147483647 w 516"/>
                <a:gd name="T33" fmla="*/ 2147483647 h 591"/>
                <a:gd name="T34" fmla="*/ 2147483647 w 516"/>
                <a:gd name="T35" fmla="*/ 2147483647 h 591"/>
                <a:gd name="T36" fmla="*/ 2147483647 w 516"/>
                <a:gd name="T37" fmla="*/ 2147483647 h 591"/>
                <a:gd name="T38" fmla="*/ 2147483647 w 516"/>
                <a:gd name="T39" fmla="*/ 2147483647 h 591"/>
                <a:gd name="T40" fmla="*/ 2147483647 w 516"/>
                <a:gd name="T41" fmla="*/ 2147483647 h 591"/>
                <a:gd name="T42" fmla="*/ 2147483647 w 516"/>
                <a:gd name="T43" fmla="*/ 2147483647 h 591"/>
                <a:gd name="T44" fmla="*/ 2147483647 w 516"/>
                <a:gd name="T45" fmla="*/ 2147483647 h 591"/>
                <a:gd name="T46" fmla="*/ 2147483647 w 516"/>
                <a:gd name="T47" fmla="*/ 2147483647 h 591"/>
                <a:gd name="T48" fmla="*/ 2147483647 w 516"/>
                <a:gd name="T49" fmla="*/ 2147483647 h 591"/>
                <a:gd name="T50" fmla="*/ 2147483647 w 516"/>
                <a:gd name="T51" fmla="*/ 2147483647 h 591"/>
                <a:gd name="T52" fmla="*/ 2147483647 w 516"/>
                <a:gd name="T53" fmla="*/ 2147483647 h 591"/>
                <a:gd name="T54" fmla="*/ 2147483647 w 516"/>
                <a:gd name="T55" fmla="*/ 2147483647 h 591"/>
                <a:gd name="T56" fmla="*/ 2147483647 w 516"/>
                <a:gd name="T57" fmla="*/ 2147483647 h 591"/>
                <a:gd name="T58" fmla="*/ 2147483647 w 516"/>
                <a:gd name="T59" fmla="*/ 2147483647 h 591"/>
                <a:gd name="T60" fmla="*/ 2147483647 w 516"/>
                <a:gd name="T61" fmla="*/ 2147483647 h 591"/>
                <a:gd name="T62" fmla="*/ 2147483647 w 516"/>
                <a:gd name="T63" fmla="*/ 2147483647 h 591"/>
                <a:gd name="T64" fmla="*/ 2147483647 w 516"/>
                <a:gd name="T65" fmla="*/ 2147483647 h 591"/>
                <a:gd name="T66" fmla="*/ 2147483647 w 516"/>
                <a:gd name="T67" fmla="*/ 2147483647 h 5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591"/>
                <a:gd name="T104" fmla="*/ 516 w 516"/>
                <a:gd name="T105" fmla="*/ 591 h 5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591">
                  <a:moveTo>
                    <a:pt x="0" y="53"/>
                  </a:moveTo>
                  <a:lnTo>
                    <a:pt x="55" y="58"/>
                  </a:lnTo>
                  <a:lnTo>
                    <a:pt x="93" y="42"/>
                  </a:lnTo>
                  <a:lnTo>
                    <a:pt x="129" y="6"/>
                  </a:lnTo>
                  <a:lnTo>
                    <a:pt x="183" y="0"/>
                  </a:lnTo>
                  <a:lnTo>
                    <a:pt x="189" y="8"/>
                  </a:lnTo>
                  <a:lnTo>
                    <a:pt x="191" y="22"/>
                  </a:lnTo>
                  <a:lnTo>
                    <a:pt x="191" y="46"/>
                  </a:lnTo>
                  <a:lnTo>
                    <a:pt x="185" y="69"/>
                  </a:lnTo>
                  <a:lnTo>
                    <a:pt x="196" y="97"/>
                  </a:lnTo>
                  <a:lnTo>
                    <a:pt x="224" y="117"/>
                  </a:lnTo>
                  <a:lnTo>
                    <a:pt x="275" y="125"/>
                  </a:lnTo>
                  <a:lnTo>
                    <a:pt x="287" y="140"/>
                  </a:lnTo>
                  <a:lnTo>
                    <a:pt x="322" y="150"/>
                  </a:lnTo>
                  <a:lnTo>
                    <a:pt x="340" y="164"/>
                  </a:lnTo>
                  <a:lnTo>
                    <a:pt x="368" y="164"/>
                  </a:lnTo>
                  <a:lnTo>
                    <a:pt x="383" y="173"/>
                  </a:lnTo>
                  <a:lnTo>
                    <a:pt x="393" y="185"/>
                  </a:lnTo>
                  <a:lnTo>
                    <a:pt x="404" y="220"/>
                  </a:lnTo>
                  <a:lnTo>
                    <a:pt x="403" y="240"/>
                  </a:lnTo>
                  <a:lnTo>
                    <a:pt x="395" y="244"/>
                  </a:lnTo>
                  <a:lnTo>
                    <a:pt x="412" y="288"/>
                  </a:lnTo>
                  <a:lnTo>
                    <a:pt x="486" y="294"/>
                  </a:lnTo>
                  <a:lnTo>
                    <a:pt x="484" y="317"/>
                  </a:lnTo>
                  <a:lnTo>
                    <a:pt x="487" y="332"/>
                  </a:lnTo>
                  <a:lnTo>
                    <a:pt x="503" y="339"/>
                  </a:lnTo>
                  <a:lnTo>
                    <a:pt x="516" y="373"/>
                  </a:lnTo>
                  <a:lnTo>
                    <a:pt x="515" y="414"/>
                  </a:lnTo>
                  <a:lnTo>
                    <a:pt x="506" y="440"/>
                  </a:lnTo>
                  <a:lnTo>
                    <a:pt x="508" y="459"/>
                  </a:lnTo>
                  <a:lnTo>
                    <a:pt x="500" y="463"/>
                  </a:lnTo>
                  <a:lnTo>
                    <a:pt x="476" y="432"/>
                  </a:lnTo>
                  <a:lnTo>
                    <a:pt x="456" y="424"/>
                  </a:lnTo>
                  <a:lnTo>
                    <a:pt x="420" y="424"/>
                  </a:lnTo>
                  <a:lnTo>
                    <a:pt x="337" y="447"/>
                  </a:lnTo>
                  <a:lnTo>
                    <a:pt x="332" y="463"/>
                  </a:lnTo>
                  <a:lnTo>
                    <a:pt x="316" y="490"/>
                  </a:lnTo>
                  <a:lnTo>
                    <a:pt x="316" y="521"/>
                  </a:lnTo>
                  <a:lnTo>
                    <a:pt x="301" y="564"/>
                  </a:lnTo>
                  <a:lnTo>
                    <a:pt x="283" y="552"/>
                  </a:lnTo>
                  <a:lnTo>
                    <a:pt x="241" y="549"/>
                  </a:lnTo>
                  <a:lnTo>
                    <a:pt x="231" y="580"/>
                  </a:lnTo>
                  <a:lnTo>
                    <a:pt x="213" y="561"/>
                  </a:lnTo>
                  <a:lnTo>
                    <a:pt x="166" y="554"/>
                  </a:lnTo>
                  <a:lnTo>
                    <a:pt x="152" y="539"/>
                  </a:lnTo>
                  <a:lnTo>
                    <a:pt x="108" y="589"/>
                  </a:lnTo>
                  <a:lnTo>
                    <a:pt x="86" y="591"/>
                  </a:lnTo>
                  <a:lnTo>
                    <a:pt x="74" y="587"/>
                  </a:lnTo>
                  <a:lnTo>
                    <a:pt x="59" y="500"/>
                  </a:lnTo>
                  <a:lnTo>
                    <a:pt x="47" y="488"/>
                  </a:lnTo>
                  <a:lnTo>
                    <a:pt x="47" y="475"/>
                  </a:lnTo>
                  <a:lnTo>
                    <a:pt x="38" y="468"/>
                  </a:lnTo>
                  <a:lnTo>
                    <a:pt x="40" y="454"/>
                  </a:lnTo>
                  <a:lnTo>
                    <a:pt x="48" y="449"/>
                  </a:lnTo>
                  <a:lnTo>
                    <a:pt x="49" y="426"/>
                  </a:lnTo>
                  <a:lnTo>
                    <a:pt x="29" y="407"/>
                  </a:lnTo>
                  <a:lnTo>
                    <a:pt x="24" y="369"/>
                  </a:lnTo>
                  <a:lnTo>
                    <a:pt x="3" y="348"/>
                  </a:lnTo>
                  <a:lnTo>
                    <a:pt x="0" y="338"/>
                  </a:lnTo>
                  <a:lnTo>
                    <a:pt x="29" y="301"/>
                  </a:lnTo>
                  <a:lnTo>
                    <a:pt x="28" y="289"/>
                  </a:lnTo>
                  <a:lnTo>
                    <a:pt x="13" y="273"/>
                  </a:lnTo>
                  <a:lnTo>
                    <a:pt x="13" y="256"/>
                  </a:lnTo>
                  <a:lnTo>
                    <a:pt x="24" y="241"/>
                  </a:lnTo>
                  <a:lnTo>
                    <a:pt x="14" y="220"/>
                  </a:lnTo>
                  <a:lnTo>
                    <a:pt x="29" y="209"/>
                  </a:lnTo>
                  <a:lnTo>
                    <a:pt x="29" y="138"/>
                  </a:lnTo>
                  <a:lnTo>
                    <a:pt x="40" y="119"/>
                  </a:lnTo>
                  <a:lnTo>
                    <a:pt x="0" y="53"/>
                  </a:lnTo>
                  <a:close/>
                </a:path>
              </a:pathLst>
            </a:custGeom>
            <a:grpFill/>
            <a:ln w="6350">
              <a:solidFill>
                <a:schemeClr val="tx2"/>
              </a:solidFill>
              <a:round/>
              <a:headEnd/>
              <a:tailEnd/>
            </a:ln>
          </p:spPr>
          <p:txBody>
            <a:bodyPr/>
            <a:lstStyle/>
            <a:p>
              <a:endParaRPr lang="en-US"/>
            </a:p>
          </p:txBody>
        </p:sp>
        <p:sp>
          <p:nvSpPr>
            <p:cNvPr id="20" name="Freeform 1011"/>
            <p:cNvSpPr>
              <a:spLocks/>
            </p:cNvSpPr>
            <p:nvPr/>
          </p:nvSpPr>
          <p:spPr bwMode="auto">
            <a:xfrm>
              <a:off x="2878195" y="5064323"/>
              <a:ext cx="179020" cy="189639"/>
            </a:xfrm>
            <a:custGeom>
              <a:avLst/>
              <a:gdLst>
                <a:gd name="T0" fmla="*/ 2147483647 w 362"/>
                <a:gd name="T1" fmla="*/ 2147483647 h 383"/>
                <a:gd name="T2" fmla="*/ 2147483647 w 362"/>
                <a:gd name="T3" fmla="*/ 2147483647 h 383"/>
                <a:gd name="T4" fmla="*/ 2147483647 w 362"/>
                <a:gd name="T5" fmla="*/ 2147483647 h 383"/>
                <a:gd name="T6" fmla="*/ 2147483647 w 362"/>
                <a:gd name="T7" fmla="*/ 2147483647 h 383"/>
                <a:gd name="T8" fmla="*/ 2147483647 w 362"/>
                <a:gd name="T9" fmla="*/ 2147483647 h 383"/>
                <a:gd name="T10" fmla="*/ 2147483647 w 362"/>
                <a:gd name="T11" fmla="*/ 2147483647 h 383"/>
                <a:gd name="T12" fmla="*/ 2147483647 w 362"/>
                <a:gd name="T13" fmla="*/ 2147483647 h 383"/>
                <a:gd name="T14" fmla="*/ 2147483647 w 362"/>
                <a:gd name="T15" fmla="*/ 2147483647 h 383"/>
                <a:gd name="T16" fmla="*/ 2147483647 w 362"/>
                <a:gd name="T17" fmla="*/ 2147483647 h 383"/>
                <a:gd name="T18" fmla="*/ 2147483647 w 362"/>
                <a:gd name="T19" fmla="*/ 2147483647 h 383"/>
                <a:gd name="T20" fmla="*/ 2147483647 w 362"/>
                <a:gd name="T21" fmla="*/ 2147483647 h 383"/>
                <a:gd name="T22" fmla="*/ 2147483647 w 362"/>
                <a:gd name="T23" fmla="*/ 2147483647 h 383"/>
                <a:gd name="T24" fmla="*/ 2147483647 w 362"/>
                <a:gd name="T25" fmla="*/ 2147483647 h 383"/>
                <a:gd name="T26" fmla="*/ 2147483647 w 362"/>
                <a:gd name="T27" fmla="*/ 2147483647 h 383"/>
                <a:gd name="T28" fmla="*/ 2147483647 w 362"/>
                <a:gd name="T29" fmla="*/ 2147483647 h 383"/>
                <a:gd name="T30" fmla="*/ 2147483647 w 362"/>
                <a:gd name="T31" fmla="*/ 2147483647 h 383"/>
                <a:gd name="T32" fmla="*/ 2147483647 w 362"/>
                <a:gd name="T33" fmla="*/ 2147483647 h 383"/>
                <a:gd name="T34" fmla="*/ 2147483647 w 362"/>
                <a:gd name="T35" fmla="*/ 2147483647 h 383"/>
                <a:gd name="T36" fmla="*/ 2147483647 w 362"/>
                <a:gd name="T37" fmla="*/ 2147483647 h 383"/>
                <a:gd name="T38" fmla="*/ 2147483647 w 362"/>
                <a:gd name="T39" fmla="*/ 2147483647 h 383"/>
                <a:gd name="T40" fmla="*/ 2147483647 w 362"/>
                <a:gd name="T41" fmla="*/ 2147483647 h 383"/>
                <a:gd name="T42" fmla="*/ 2147483647 w 362"/>
                <a:gd name="T43" fmla="*/ 2147483647 h 383"/>
                <a:gd name="T44" fmla="*/ 2147483647 w 362"/>
                <a:gd name="T45" fmla="*/ 2147483647 h 383"/>
                <a:gd name="T46" fmla="*/ 2147483647 w 362"/>
                <a:gd name="T47" fmla="*/ 2147483647 h 383"/>
                <a:gd name="T48" fmla="*/ 2147483647 w 362"/>
                <a:gd name="T49" fmla="*/ 2147483647 h 383"/>
                <a:gd name="T50" fmla="*/ 2147483647 w 362"/>
                <a:gd name="T51" fmla="*/ 2147483647 h 383"/>
                <a:gd name="T52" fmla="*/ 2147483647 w 362"/>
                <a:gd name="T53" fmla="*/ 2147483647 h 383"/>
                <a:gd name="T54" fmla="*/ 2147483647 w 362"/>
                <a:gd name="T55" fmla="*/ 2147483647 h 383"/>
                <a:gd name="T56" fmla="*/ 2147483647 w 362"/>
                <a:gd name="T57" fmla="*/ 2147483647 h 383"/>
                <a:gd name="T58" fmla="*/ 2147483647 w 362"/>
                <a:gd name="T59" fmla="*/ 2147483647 h 383"/>
                <a:gd name="T60" fmla="*/ 2147483647 w 362"/>
                <a:gd name="T61" fmla="*/ 2147483647 h 383"/>
                <a:gd name="T62" fmla="*/ 0 w 362"/>
                <a:gd name="T63" fmla="*/ 2147483647 h 383"/>
                <a:gd name="T64" fmla="*/ 2147483647 w 362"/>
                <a:gd name="T65" fmla="*/ 2147483647 h 383"/>
                <a:gd name="T66" fmla="*/ 2147483647 w 362"/>
                <a:gd name="T67" fmla="*/ 2147483647 h 383"/>
                <a:gd name="T68" fmla="*/ 2147483647 w 362"/>
                <a:gd name="T69" fmla="*/ 2147483647 h 383"/>
                <a:gd name="T70" fmla="*/ 2147483647 w 362"/>
                <a:gd name="T71" fmla="*/ 2147483647 h 383"/>
                <a:gd name="T72" fmla="*/ 2147483647 w 362"/>
                <a:gd name="T73" fmla="*/ 0 h 383"/>
                <a:gd name="T74" fmla="*/ 2147483647 w 362"/>
                <a:gd name="T75" fmla="*/ 0 h 383"/>
                <a:gd name="T76" fmla="*/ 2147483647 w 362"/>
                <a:gd name="T77" fmla="*/ 2147483647 h 383"/>
                <a:gd name="T78" fmla="*/ 2147483647 w 362"/>
                <a:gd name="T79" fmla="*/ 2147483647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2"/>
                <a:gd name="T121" fmla="*/ 0 h 383"/>
                <a:gd name="T122" fmla="*/ 362 w 362"/>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2" h="383">
                  <a:moveTo>
                    <a:pt x="199" y="39"/>
                  </a:moveTo>
                  <a:lnTo>
                    <a:pt x="198" y="44"/>
                  </a:lnTo>
                  <a:lnTo>
                    <a:pt x="205" y="57"/>
                  </a:lnTo>
                  <a:lnTo>
                    <a:pt x="205" y="120"/>
                  </a:lnTo>
                  <a:lnTo>
                    <a:pt x="208" y="126"/>
                  </a:lnTo>
                  <a:lnTo>
                    <a:pt x="244" y="138"/>
                  </a:lnTo>
                  <a:lnTo>
                    <a:pt x="273" y="131"/>
                  </a:lnTo>
                  <a:lnTo>
                    <a:pt x="298" y="141"/>
                  </a:lnTo>
                  <a:lnTo>
                    <a:pt x="304" y="152"/>
                  </a:lnTo>
                  <a:lnTo>
                    <a:pt x="308" y="199"/>
                  </a:lnTo>
                  <a:lnTo>
                    <a:pt x="313" y="210"/>
                  </a:lnTo>
                  <a:lnTo>
                    <a:pt x="324" y="215"/>
                  </a:lnTo>
                  <a:lnTo>
                    <a:pt x="353" y="211"/>
                  </a:lnTo>
                  <a:lnTo>
                    <a:pt x="357" y="215"/>
                  </a:lnTo>
                  <a:lnTo>
                    <a:pt x="362" y="241"/>
                  </a:lnTo>
                  <a:lnTo>
                    <a:pt x="353" y="292"/>
                  </a:lnTo>
                  <a:lnTo>
                    <a:pt x="345" y="335"/>
                  </a:lnTo>
                  <a:lnTo>
                    <a:pt x="304" y="375"/>
                  </a:lnTo>
                  <a:lnTo>
                    <a:pt x="254" y="383"/>
                  </a:lnTo>
                  <a:lnTo>
                    <a:pt x="227" y="371"/>
                  </a:lnTo>
                  <a:lnTo>
                    <a:pt x="185" y="367"/>
                  </a:lnTo>
                  <a:lnTo>
                    <a:pt x="186" y="356"/>
                  </a:lnTo>
                  <a:lnTo>
                    <a:pt x="187" y="345"/>
                  </a:lnTo>
                  <a:lnTo>
                    <a:pt x="214" y="299"/>
                  </a:lnTo>
                  <a:lnTo>
                    <a:pt x="211" y="281"/>
                  </a:lnTo>
                  <a:lnTo>
                    <a:pt x="180" y="256"/>
                  </a:lnTo>
                  <a:lnTo>
                    <a:pt x="131" y="227"/>
                  </a:lnTo>
                  <a:lnTo>
                    <a:pt x="80" y="216"/>
                  </a:lnTo>
                  <a:lnTo>
                    <a:pt x="70" y="200"/>
                  </a:lnTo>
                  <a:lnTo>
                    <a:pt x="39" y="178"/>
                  </a:lnTo>
                  <a:lnTo>
                    <a:pt x="13" y="144"/>
                  </a:lnTo>
                  <a:lnTo>
                    <a:pt x="0" y="140"/>
                  </a:lnTo>
                  <a:lnTo>
                    <a:pt x="15" y="97"/>
                  </a:lnTo>
                  <a:lnTo>
                    <a:pt x="15" y="66"/>
                  </a:lnTo>
                  <a:lnTo>
                    <a:pt x="31" y="39"/>
                  </a:lnTo>
                  <a:lnTo>
                    <a:pt x="36" y="23"/>
                  </a:lnTo>
                  <a:lnTo>
                    <a:pt x="119" y="0"/>
                  </a:lnTo>
                  <a:lnTo>
                    <a:pt x="155" y="0"/>
                  </a:lnTo>
                  <a:lnTo>
                    <a:pt x="175" y="8"/>
                  </a:lnTo>
                  <a:lnTo>
                    <a:pt x="199" y="39"/>
                  </a:lnTo>
                  <a:close/>
                </a:path>
              </a:pathLst>
            </a:custGeom>
            <a:grpFill/>
            <a:ln w="6350">
              <a:solidFill>
                <a:schemeClr val="tx2"/>
              </a:solidFill>
              <a:round/>
              <a:headEnd/>
              <a:tailEnd/>
            </a:ln>
          </p:spPr>
          <p:txBody>
            <a:bodyPr/>
            <a:lstStyle/>
            <a:p>
              <a:endParaRPr lang="en-US"/>
            </a:p>
          </p:txBody>
        </p:sp>
        <p:sp>
          <p:nvSpPr>
            <p:cNvPr id="21" name="Freeform 1032"/>
            <p:cNvSpPr>
              <a:spLocks/>
            </p:cNvSpPr>
            <p:nvPr/>
          </p:nvSpPr>
          <p:spPr bwMode="auto">
            <a:xfrm>
              <a:off x="2268314" y="4636498"/>
              <a:ext cx="15172" cy="27308"/>
            </a:xfrm>
            <a:custGeom>
              <a:avLst/>
              <a:gdLst>
                <a:gd name="T0" fmla="*/ 2147483647 w 28"/>
                <a:gd name="T1" fmla="*/ 0 h 54"/>
                <a:gd name="T2" fmla="*/ 2147483647 w 28"/>
                <a:gd name="T3" fmla="*/ 2147483647 h 54"/>
                <a:gd name="T4" fmla="*/ 2147483647 w 28"/>
                <a:gd name="T5" fmla="*/ 2147483647 h 54"/>
                <a:gd name="T6" fmla="*/ 2147483647 w 28"/>
                <a:gd name="T7" fmla="*/ 2147483647 h 54"/>
                <a:gd name="T8" fmla="*/ 2147483647 w 28"/>
                <a:gd name="T9" fmla="*/ 2147483647 h 54"/>
                <a:gd name="T10" fmla="*/ 2147483647 w 28"/>
                <a:gd name="T11" fmla="*/ 2147483647 h 54"/>
                <a:gd name="T12" fmla="*/ 2147483647 w 28"/>
                <a:gd name="T13" fmla="*/ 2147483647 h 54"/>
                <a:gd name="T14" fmla="*/ 2147483647 w 28"/>
                <a:gd name="T15" fmla="*/ 2147483647 h 54"/>
                <a:gd name="T16" fmla="*/ 2147483647 w 28"/>
                <a:gd name="T17" fmla="*/ 2147483647 h 54"/>
                <a:gd name="T18" fmla="*/ 0 w 28"/>
                <a:gd name="T19" fmla="*/ 2147483647 h 54"/>
                <a:gd name="T20" fmla="*/ 0 w 28"/>
                <a:gd name="T21" fmla="*/ 2147483647 h 54"/>
                <a:gd name="T22" fmla="*/ 2147483647 w 28"/>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54"/>
                <a:gd name="T38" fmla="*/ 28 w 28"/>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54">
                  <a:moveTo>
                    <a:pt x="10" y="0"/>
                  </a:moveTo>
                  <a:lnTo>
                    <a:pt x="14" y="18"/>
                  </a:lnTo>
                  <a:lnTo>
                    <a:pt x="22" y="26"/>
                  </a:lnTo>
                  <a:lnTo>
                    <a:pt x="28" y="42"/>
                  </a:lnTo>
                  <a:lnTo>
                    <a:pt x="21" y="51"/>
                  </a:lnTo>
                  <a:lnTo>
                    <a:pt x="12" y="54"/>
                  </a:lnTo>
                  <a:lnTo>
                    <a:pt x="6" y="51"/>
                  </a:lnTo>
                  <a:lnTo>
                    <a:pt x="4" y="42"/>
                  </a:lnTo>
                  <a:lnTo>
                    <a:pt x="16" y="27"/>
                  </a:lnTo>
                  <a:lnTo>
                    <a:pt x="0" y="9"/>
                  </a:lnTo>
                  <a:lnTo>
                    <a:pt x="0" y="4"/>
                  </a:lnTo>
                  <a:lnTo>
                    <a:pt x="10" y="0"/>
                  </a:lnTo>
                  <a:close/>
                </a:path>
              </a:pathLst>
            </a:custGeom>
            <a:grpFill/>
            <a:ln w="6350">
              <a:solidFill>
                <a:schemeClr val="tx2"/>
              </a:solidFill>
              <a:round/>
              <a:headEnd/>
              <a:tailEnd/>
            </a:ln>
          </p:spPr>
          <p:txBody>
            <a:bodyPr/>
            <a:lstStyle/>
            <a:p>
              <a:endParaRPr lang="en-US"/>
            </a:p>
          </p:txBody>
        </p:sp>
        <p:sp>
          <p:nvSpPr>
            <p:cNvPr id="22" name="Freeform 1033"/>
            <p:cNvSpPr>
              <a:spLocks/>
            </p:cNvSpPr>
            <p:nvPr/>
          </p:nvSpPr>
          <p:spPr bwMode="auto">
            <a:xfrm>
              <a:off x="2283486" y="4644083"/>
              <a:ext cx="6069" cy="4551"/>
            </a:xfrm>
            <a:custGeom>
              <a:avLst/>
              <a:gdLst>
                <a:gd name="T0" fmla="*/ 2147483647 w 10"/>
                <a:gd name="T1" fmla="*/ 0 h 9"/>
                <a:gd name="T2" fmla="*/ 2147483647 w 10"/>
                <a:gd name="T3" fmla="*/ 0 h 9"/>
                <a:gd name="T4" fmla="*/ 0 w 10"/>
                <a:gd name="T5" fmla="*/ 2147483647 h 9"/>
                <a:gd name="T6" fmla="*/ 2147483647 w 10"/>
                <a:gd name="T7" fmla="*/ 2147483647 h 9"/>
                <a:gd name="T8" fmla="*/ 2147483647 w 10"/>
                <a:gd name="T9" fmla="*/ 2147483647 h 9"/>
                <a:gd name="T10" fmla="*/ 2147483647 w 10"/>
                <a:gd name="T11" fmla="*/ 0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7" y="0"/>
                  </a:moveTo>
                  <a:lnTo>
                    <a:pt x="2" y="0"/>
                  </a:lnTo>
                  <a:lnTo>
                    <a:pt x="0" y="7"/>
                  </a:lnTo>
                  <a:lnTo>
                    <a:pt x="8" y="9"/>
                  </a:lnTo>
                  <a:lnTo>
                    <a:pt x="10" y="3"/>
                  </a:lnTo>
                  <a:lnTo>
                    <a:pt x="7" y="0"/>
                  </a:lnTo>
                  <a:close/>
                </a:path>
              </a:pathLst>
            </a:custGeom>
            <a:grpFill/>
            <a:ln w="6350">
              <a:solidFill>
                <a:schemeClr val="tx2"/>
              </a:solidFill>
              <a:round/>
              <a:headEnd/>
              <a:tailEnd/>
            </a:ln>
          </p:spPr>
          <p:txBody>
            <a:bodyPr/>
            <a:lstStyle/>
            <a:p>
              <a:endParaRPr lang="en-US"/>
            </a:p>
          </p:txBody>
        </p:sp>
        <p:sp>
          <p:nvSpPr>
            <p:cNvPr id="23" name="Freeform 1034"/>
            <p:cNvSpPr>
              <a:spLocks/>
            </p:cNvSpPr>
            <p:nvPr/>
          </p:nvSpPr>
          <p:spPr bwMode="auto">
            <a:xfrm>
              <a:off x="2292589" y="4651669"/>
              <a:ext cx="6069" cy="4550"/>
            </a:xfrm>
            <a:custGeom>
              <a:avLst/>
              <a:gdLst>
                <a:gd name="T0" fmla="*/ 2147483647 w 12"/>
                <a:gd name="T1" fmla="*/ 0 h 10"/>
                <a:gd name="T2" fmla="*/ 2147483647 w 12"/>
                <a:gd name="T3" fmla="*/ 2147483647 h 10"/>
                <a:gd name="T4" fmla="*/ 0 w 12"/>
                <a:gd name="T5" fmla="*/ 2147483647 h 10"/>
                <a:gd name="T6" fmla="*/ 2147483647 w 12"/>
                <a:gd name="T7" fmla="*/ 0 h 10"/>
                <a:gd name="T8" fmla="*/ 2147483647 w 12"/>
                <a:gd name="T9" fmla="*/ 0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2" y="0"/>
                  </a:moveTo>
                  <a:lnTo>
                    <a:pt x="8" y="10"/>
                  </a:lnTo>
                  <a:lnTo>
                    <a:pt x="0" y="7"/>
                  </a:lnTo>
                  <a:lnTo>
                    <a:pt x="3" y="0"/>
                  </a:lnTo>
                  <a:lnTo>
                    <a:pt x="12" y="0"/>
                  </a:lnTo>
                  <a:close/>
                </a:path>
              </a:pathLst>
            </a:custGeom>
            <a:grpFill/>
            <a:ln w="6350">
              <a:solidFill>
                <a:schemeClr val="tx2"/>
              </a:solidFill>
              <a:round/>
              <a:headEnd/>
              <a:tailEnd/>
            </a:ln>
          </p:spPr>
          <p:txBody>
            <a:bodyPr/>
            <a:lstStyle/>
            <a:p>
              <a:endParaRPr lang="en-US"/>
            </a:p>
          </p:txBody>
        </p:sp>
        <p:sp>
          <p:nvSpPr>
            <p:cNvPr id="24" name="Freeform 1035"/>
            <p:cNvSpPr>
              <a:spLocks/>
            </p:cNvSpPr>
            <p:nvPr/>
          </p:nvSpPr>
          <p:spPr bwMode="auto">
            <a:xfrm>
              <a:off x="2307759" y="4656220"/>
              <a:ext cx="6069" cy="4551"/>
            </a:xfrm>
            <a:custGeom>
              <a:avLst/>
              <a:gdLst>
                <a:gd name="T0" fmla="*/ 2147483647 w 11"/>
                <a:gd name="T1" fmla="*/ 0 h 9"/>
                <a:gd name="T2" fmla="*/ 2147483647 w 11"/>
                <a:gd name="T3" fmla="*/ 2147483647 h 9"/>
                <a:gd name="T4" fmla="*/ 0 w 11"/>
                <a:gd name="T5" fmla="*/ 2147483647 h 9"/>
                <a:gd name="T6" fmla="*/ 2147483647 w 11"/>
                <a:gd name="T7" fmla="*/ 0 h 9"/>
                <a:gd name="T8" fmla="*/ 0 60000 65536"/>
                <a:gd name="T9" fmla="*/ 0 60000 65536"/>
                <a:gd name="T10" fmla="*/ 0 60000 65536"/>
                <a:gd name="T11" fmla="*/ 0 60000 65536"/>
                <a:gd name="T12" fmla="*/ 0 w 11"/>
                <a:gd name="T13" fmla="*/ 0 h 9"/>
                <a:gd name="T14" fmla="*/ 11 w 11"/>
                <a:gd name="T15" fmla="*/ 9 h 9"/>
              </a:gdLst>
              <a:ahLst/>
              <a:cxnLst>
                <a:cxn ang="T8">
                  <a:pos x="T0" y="T1"/>
                </a:cxn>
                <a:cxn ang="T9">
                  <a:pos x="T2" y="T3"/>
                </a:cxn>
                <a:cxn ang="T10">
                  <a:pos x="T4" y="T5"/>
                </a:cxn>
                <a:cxn ang="T11">
                  <a:pos x="T6" y="T7"/>
                </a:cxn>
              </a:cxnLst>
              <a:rect l="T12" t="T13" r="T14" b="T15"/>
              <a:pathLst>
                <a:path w="11" h="9">
                  <a:moveTo>
                    <a:pt x="11" y="0"/>
                  </a:moveTo>
                  <a:lnTo>
                    <a:pt x="6" y="9"/>
                  </a:lnTo>
                  <a:lnTo>
                    <a:pt x="0" y="8"/>
                  </a:lnTo>
                  <a:lnTo>
                    <a:pt x="11" y="0"/>
                  </a:lnTo>
                  <a:close/>
                </a:path>
              </a:pathLst>
            </a:custGeom>
            <a:grpFill/>
            <a:ln w="6350">
              <a:solidFill>
                <a:schemeClr val="tx2"/>
              </a:solidFill>
              <a:round/>
              <a:headEnd/>
              <a:tailEnd/>
            </a:ln>
          </p:spPr>
          <p:txBody>
            <a:bodyPr/>
            <a:lstStyle/>
            <a:p>
              <a:endParaRPr lang="en-US"/>
            </a:p>
          </p:txBody>
        </p:sp>
        <p:sp>
          <p:nvSpPr>
            <p:cNvPr id="25" name="Freeform 1073"/>
            <p:cNvSpPr>
              <a:spLocks/>
            </p:cNvSpPr>
            <p:nvPr/>
          </p:nvSpPr>
          <p:spPr bwMode="auto">
            <a:xfrm>
              <a:off x="3145206" y="4628912"/>
              <a:ext cx="12137" cy="10620"/>
            </a:xfrm>
            <a:custGeom>
              <a:avLst/>
              <a:gdLst>
                <a:gd name="T0" fmla="*/ 2147483647 w 25"/>
                <a:gd name="T1" fmla="*/ 0 h 20"/>
                <a:gd name="T2" fmla="*/ 0 w 25"/>
                <a:gd name="T3" fmla="*/ 2147483647 h 20"/>
                <a:gd name="T4" fmla="*/ 2147483647 w 25"/>
                <a:gd name="T5" fmla="*/ 2147483647 h 20"/>
                <a:gd name="T6" fmla="*/ 2147483647 w 25"/>
                <a:gd name="T7" fmla="*/ 2147483647 h 20"/>
                <a:gd name="T8" fmla="*/ 2147483647 w 25"/>
                <a:gd name="T9" fmla="*/ 2147483647 h 20"/>
                <a:gd name="T10" fmla="*/ 2147483647 w 25"/>
                <a:gd name="T11" fmla="*/ 0 h 20"/>
                <a:gd name="T12" fmla="*/ 0 60000 65536"/>
                <a:gd name="T13" fmla="*/ 0 60000 65536"/>
                <a:gd name="T14" fmla="*/ 0 60000 65536"/>
                <a:gd name="T15" fmla="*/ 0 60000 65536"/>
                <a:gd name="T16" fmla="*/ 0 60000 65536"/>
                <a:gd name="T17" fmla="*/ 0 60000 65536"/>
                <a:gd name="T18" fmla="*/ 0 w 25"/>
                <a:gd name="T19" fmla="*/ 0 h 20"/>
                <a:gd name="T20" fmla="*/ 25 w 2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25" h="20">
                  <a:moveTo>
                    <a:pt x="6" y="0"/>
                  </a:moveTo>
                  <a:lnTo>
                    <a:pt x="0" y="6"/>
                  </a:lnTo>
                  <a:lnTo>
                    <a:pt x="5" y="17"/>
                  </a:lnTo>
                  <a:lnTo>
                    <a:pt x="24" y="20"/>
                  </a:lnTo>
                  <a:lnTo>
                    <a:pt x="25" y="14"/>
                  </a:lnTo>
                  <a:lnTo>
                    <a:pt x="6" y="0"/>
                  </a:lnTo>
                  <a:close/>
                </a:path>
              </a:pathLst>
            </a:custGeom>
            <a:grpFill/>
            <a:ln w="6350">
              <a:solidFill>
                <a:schemeClr val="tx2"/>
              </a:solidFill>
              <a:round/>
              <a:headEnd/>
              <a:tailEnd/>
            </a:ln>
          </p:spPr>
          <p:txBody>
            <a:bodyPr/>
            <a:lstStyle/>
            <a:p>
              <a:endParaRPr lang="en-US"/>
            </a:p>
          </p:txBody>
        </p:sp>
        <p:sp>
          <p:nvSpPr>
            <p:cNvPr id="26" name="Freeform 1074"/>
            <p:cNvSpPr>
              <a:spLocks/>
            </p:cNvSpPr>
            <p:nvPr/>
          </p:nvSpPr>
          <p:spPr bwMode="auto">
            <a:xfrm>
              <a:off x="3160378" y="4639532"/>
              <a:ext cx="7585" cy="4550"/>
            </a:xfrm>
            <a:custGeom>
              <a:avLst/>
              <a:gdLst>
                <a:gd name="T0" fmla="*/ 2147483647 w 14"/>
                <a:gd name="T1" fmla="*/ 2147483647 h 8"/>
                <a:gd name="T2" fmla="*/ 0 w 14"/>
                <a:gd name="T3" fmla="*/ 2147483647 h 8"/>
                <a:gd name="T4" fmla="*/ 2147483647 w 14"/>
                <a:gd name="T5" fmla="*/ 0 h 8"/>
                <a:gd name="T6" fmla="*/ 2147483647 w 14"/>
                <a:gd name="T7" fmla="*/ 2147483647 h 8"/>
                <a:gd name="T8" fmla="*/ 2147483647 w 14"/>
                <a:gd name="T9" fmla="*/ 2147483647 h 8"/>
                <a:gd name="T10" fmla="*/ 0 60000 65536"/>
                <a:gd name="T11" fmla="*/ 0 60000 65536"/>
                <a:gd name="T12" fmla="*/ 0 60000 65536"/>
                <a:gd name="T13" fmla="*/ 0 60000 65536"/>
                <a:gd name="T14" fmla="*/ 0 60000 65536"/>
                <a:gd name="T15" fmla="*/ 0 w 14"/>
                <a:gd name="T16" fmla="*/ 0 h 8"/>
                <a:gd name="T17" fmla="*/ 14 w 14"/>
                <a:gd name="T18" fmla="*/ 8 h 8"/>
              </a:gdLst>
              <a:ahLst/>
              <a:cxnLst>
                <a:cxn ang="T10">
                  <a:pos x="T0" y="T1"/>
                </a:cxn>
                <a:cxn ang="T11">
                  <a:pos x="T2" y="T3"/>
                </a:cxn>
                <a:cxn ang="T12">
                  <a:pos x="T4" y="T5"/>
                </a:cxn>
                <a:cxn ang="T13">
                  <a:pos x="T6" y="T7"/>
                </a:cxn>
                <a:cxn ang="T14">
                  <a:pos x="T8" y="T9"/>
                </a:cxn>
              </a:cxnLst>
              <a:rect l="T15" t="T16" r="T17" b="T18"/>
              <a:pathLst>
                <a:path w="14" h="8">
                  <a:moveTo>
                    <a:pt x="13" y="6"/>
                  </a:moveTo>
                  <a:lnTo>
                    <a:pt x="0" y="8"/>
                  </a:lnTo>
                  <a:lnTo>
                    <a:pt x="9" y="0"/>
                  </a:lnTo>
                  <a:lnTo>
                    <a:pt x="14" y="1"/>
                  </a:lnTo>
                  <a:lnTo>
                    <a:pt x="13" y="6"/>
                  </a:lnTo>
                  <a:close/>
                </a:path>
              </a:pathLst>
            </a:custGeom>
            <a:grpFill/>
            <a:ln w="6350">
              <a:solidFill>
                <a:schemeClr val="tx2"/>
              </a:solidFill>
              <a:round/>
              <a:headEnd/>
              <a:tailEnd/>
            </a:ln>
          </p:spPr>
          <p:txBody>
            <a:bodyPr/>
            <a:lstStyle/>
            <a:p>
              <a:endParaRPr lang="en-US"/>
            </a:p>
          </p:txBody>
        </p:sp>
        <p:sp>
          <p:nvSpPr>
            <p:cNvPr id="27" name="Freeform 1075"/>
            <p:cNvSpPr>
              <a:spLocks/>
            </p:cNvSpPr>
            <p:nvPr/>
          </p:nvSpPr>
          <p:spPr bwMode="auto">
            <a:xfrm>
              <a:off x="3140655" y="4647117"/>
              <a:ext cx="45514" cy="34894"/>
            </a:xfrm>
            <a:custGeom>
              <a:avLst/>
              <a:gdLst>
                <a:gd name="T0" fmla="*/ 2147483647 w 91"/>
                <a:gd name="T1" fmla="*/ 2147483647 h 69"/>
                <a:gd name="T2" fmla="*/ 2147483647 w 91"/>
                <a:gd name="T3" fmla="*/ 2147483647 h 69"/>
                <a:gd name="T4" fmla="*/ 2147483647 w 91"/>
                <a:gd name="T5" fmla="*/ 2147483647 h 69"/>
                <a:gd name="T6" fmla="*/ 2147483647 w 91"/>
                <a:gd name="T7" fmla="*/ 2147483647 h 69"/>
                <a:gd name="T8" fmla="*/ 2147483647 w 91"/>
                <a:gd name="T9" fmla="*/ 2147483647 h 69"/>
                <a:gd name="T10" fmla="*/ 2147483647 w 91"/>
                <a:gd name="T11" fmla="*/ 2147483647 h 69"/>
                <a:gd name="T12" fmla="*/ 0 w 91"/>
                <a:gd name="T13" fmla="*/ 2147483647 h 69"/>
                <a:gd name="T14" fmla="*/ 2147483647 w 91"/>
                <a:gd name="T15" fmla="*/ 2147483647 h 69"/>
                <a:gd name="T16" fmla="*/ 2147483647 w 91"/>
                <a:gd name="T17" fmla="*/ 2147483647 h 69"/>
                <a:gd name="T18" fmla="*/ 2147483647 w 91"/>
                <a:gd name="T19" fmla="*/ 0 h 69"/>
                <a:gd name="T20" fmla="*/ 2147483647 w 91"/>
                <a:gd name="T21" fmla="*/ 2147483647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69"/>
                <a:gd name="T35" fmla="*/ 91 w 91"/>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69">
                  <a:moveTo>
                    <a:pt x="91" y="8"/>
                  </a:moveTo>
                  <a:lnTo>
                    <a:pt x="91" y="30"/>
                  </a:lnTo>
                  <a:lnTo>
                    <a:pt x="65" y="59"/>
                  </a:lnTo>
                  <a:lnTo>
                    <a:pt x="33" y="69"/>
                  </a:lnTo>
                  <a:lnTo>
                    <a:pt x="12" y="68"/>
                  </a:lnTo>
                  <a:lnTo>
                    <a:pt x="3" y="62"/>
                  </a:lnTo>
                  <a:lnTo>
                    <a:pt x="0" y="13"/>
                  </a:lnTo>
                  <a:lnTo>
                    <a:pt x="12" y="4"/>
                  </a:lnTo>
                  <a:lnTo>
                    <a:pt x="49" y="5"/>
                  </a:lnTo>
                  <a:lnTo>
                    <a:pt x="74" y="0"/>
                  </a:lnTo>
                  <a:lnTo>
                    <a:pt x="91" y="8"/>
                  </a:lnTo>
                  <a:close/>
                </a:path>
              </a:pathLst>
            </a:custGeom>
            <a:grpFill/>
            <a:ln w="6350">
              <a:solidFill>
                <a:schemeClr val="tx2"/>
              </a:solidFill>
              <a:round/>
              <a:headEnd/>
              <a:tailEnd/>
            </a:ln>
          </p:spPr>
          <p:txBody>
            <a:bodyPr/>
            <a:lstStyle/>
            <a:p>
              <a:endParaRPr lang="en-US"/>
            </a:p>
          </p:txBody>
        </p:sp>
        <p:sp>
          <p:nvSpPr>
            <p:cNvPr id="28" name="Freeform 1076"/>
            <p:cNvSpPr>
              <a:spLocks/>
            </p:cNvSpPr>
            <p:nvPr/>
          </p:nvSpPr>
          <p:spPr bwMode="auto">
            <a:xfrm>
              <a:off x="3127002" y="4647117"/>
              <a:ext cx="9103" cy="15172"/>
            </a:xfrm>
            <a:custGeom>
              <a:avLst/>
              <a:gdLst>
                <a:gd name="T0" fmla="*/ 2147483647 w 24"/>
                <a:gd name="T1" fmla="*/ 2147483647 h 30"/>
                <a:gd name="T2" fmla="*/ 2147483647 w 24"/>
                <a:gd name="T3" fmla="*/ 2147483647 h 30"/>
                <a:gd name="T4" fmla="*/ 2147483647 w 24"/>
                <a:gd name="T5" fmla="*/ 2147483647 h 30"/>
                <a:gd name="T6" fmla="*/ 0 w 24"/>
                <a:gd name="T7" fmla="*/ 2147483647 h 30"/>
                <a:gd name="T8" fmla="*/ 2147483647 w 24"/>
                <a:gd name="T9" fmla="*/ 2147483647 h 30"/>
                <a:gd name="T10" fmla="*/ 2147483647 w 24"/>
                <a:gd name="T11" fmla="*/ 0 h 30"/>
                <a:gd name="T12" fmla="*/ 2147483647 w 24"/>
                <a:gd name="T13" fmla="*/ 2147483647 h 30"/>
                <a:gd name="T14" fmla="*/ 2147483647 w 24"/>
                <a:gd name="T15" fmla="*/ 2147483647 h 30"/>
                <a:gd name="T16" fmla="*/ 2147483647 w 24"/>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30"/>
                <a:gd name="T29" fmla="*/ 24 w 24"/>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30">
                  <a:moveTo>
                    <a:pt x="24" y="12"/>
                  </a:moveTo>
                  <a:lnTo>
                    <a:pt x="9" y="29"/>
                  </a:lnTo>
                  <a:lnTo>
                    <a:pt x="4" y="30"/>
                  </a:lnTo>
                  <a:lnTo>
                    <a:pt x="0" y="21"/>
                  </a:lnTo>
                  <a:lnTo>
                    <a:pt x="9" y="5"/>
                  </a:lnTo>
                  <a:lnTo>
                    <a:pt x="24" y="0"/>
                  </a:lnTo>
                  <a:lnTo>
                    <a:pt x="15" y="10"/>
                  </a:lnTo>
                  <a:lnTo>
                    <a:pt x="22" y="9"/>
                  </a:lnTo>
                  <a:lnTo>
                    <a:pt x="24" y="12"/>
                  </a:lnTo>
                  <a:close/>
                </a:path>
              </a:pathLst>
            </a:custGeom>
            <a:grpFill/>
            <a:ln w="6350">
              <a:solidFill>
                <a:schemeClr val="tx2"/>
              </a:solidFill>
              <a:round/>
              <a:headEnd/>
              <a:tailEnd/>
            </a:ln>
          </p:spPr>
          <p:txBody>
            <a:bodyPr/>
            <a:lstStyle/>
            <a:p>
              <a:endParaRPr lang="en-US"/>
            </a:p>
          </p:txBody>
        </p:sp>
        <p:sp>
          <p:nvSpPr>
            <p:cNvPr id="29" name="Freeform 1077"/>
            <p:cNvSpPr>
              <a:spLocks/>
            </p:cNvSpPr>
            <p:nvPr/>
          </p:nvSpPr>
          <p:spPr bwMode="auto">
            <a:xfrm>
              <a:off x="3142172" y="4639532"/>
              <a:ext cx="3034" cy="3034"/>
            </a:xfrm>
            <a:custGeom>
              <a:avLst/>
              <a:gdLst>
                <a:gd name="T0" fmla="*/ 2147483647 w 5"/>
                <a:gd name="T1" fmla="*/ 0 h 5"/>
                <a:gd name="T2" fmla="*/ 2147483647 w 5"/>
                <a:gd name="T3" fmla="*/ 2147483647 h 5"/>
                <a:gd name="T4" fmla="*/ 2147483647 w 5"/>
                <a:gd name="T5" fmla="*/ 2147483647 h 5"/>
                <a:gd name="T6" fmla="*/ 0 w 5"/>
                <a:gd name="T7" fmla="*/ 2147483647 h 5"/>
                <a:gd name="T8" fmla="*/ 2147483647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lnTo>
                    <a:pt x="5" y="5"/>
                  </a:lnTo>
                  <a:lnTo>
                    <a:pt x="1" y="5"/>
                  </a:lnTo>
                  <a:lnTo>
                    <a:pt x="0" y="1"/>
                  </a:lnTo>
                  <a:lnTo>
                    <a:pt x="4" y="0"/>
                  </a:lnTo>
                  <a:close/>
                </a:path>
              </a:pathLst>
            </a:custGeom>
            <a:grpFill/>
            <a:ln w="6350">
              <a:solidFill>
                <a:schemeClr val="tx2"/>
              </a:solidFill>
              <a:round/>
              <a:headEnd/>
              <a:tailEnd/>
            </a:ln>
          </p:spPr>
          <p:txBody>
            <a:bodyPr/>
            <a:lstStyle/>
            <a:p>
              <a:endParaRPr lang="en-US"/>
            </a:p>
          </p:txBody>
        </p:sp>
        <p:sp>
          <p:nvSpPr>
            <p:cNvPr id="30" name="Freeform 1078"/>
            <p:cNvSpPr>
              <a:spLocks/>
            </p:cNvSpPr>
            <p:nvPr/>
          </p:nvSpPr>
          <p:spPr bwMode="auto">
            <a:xfrm>
              <a:off x="2649110" y="5118940"/>
              <a:ext cx="421758" cy="835929"/>
            </a:xfrm>
            <a:custGeom>
              <a:avLst/>
              <a:gdLst>
                <a:gd name="T0" fmla="*/ 2147483647 w 849"/>
                <a:gd name="T1" fmla="*/ 2147483647 h 1683"/>
                <a:gd name="T2" fmla="*/ 2147483647 w 849"/>
                <a:gd name="T3" fmla="*/ 2147483647 h 1683"/>
                <a:gd name="T4" fmla="*/ 2147483647 w 849"/>
                <a:gd name="T5" fmla="*/ 2147483647 h 1683"/>
                <a:gd name="T6" fmla="*/ 2147483647 w 849"/>
                <a:gd name="T7" fmla="*/ 2147483647 h 1683"/>
                <a:gd name="T8" fmla="*/ 2147483647 w 849"/>
                <a:gd name="T9" fmla="*/ 2147483647 h 1683"/>
                <a:gd name="T10" fmla="*/ 2147483647 w 849"/>
                <a:gd name="T11" fmla="*/ 2147483647 h 1683"/>
                <a:gd name="T12" fmla="*/ 2147483647 w 849"/>
                <a:gd name="T13" fmla="*/ 2147483647 h 1683"/>
                <a:gd name="T14" fmla="*/ 2147483647 w 849"/>
                <a:gd name="T15" fmla="*/ 2147483647 h 1683"/>
                <a:gd name="T16" fmla="*/ 2147483647 w 849"/>
                <a:gd name="T17" fmla="*/ 2147483647 h 1683"/>
                <a:gd name="T18" fmla="*/ 2147483647 w 849"/>
                <a:gd name="T19" fmla="*/ 2147483647 h 1683"/>
                <a:gd name="T20" fmla="*/ 2147483647 w 849"/>
                <a:gd name="T21" fmla="*/ 2147483647 h 1683"/>
                <a:gd name="T22" fmla="*/ 2147483647 w 849"/>
                <a:gd name="T23" fmla="*/ 2147483647 h 1683"/>
                <a:gd name="T24" fmla="*/ 2147483647 w 849"/>
                <a:gd name="T25" fmla="*/ 2147483647 h 1683"/>
                <a:gd name="T26" fmla="*/ 2147483647 w 849"/>
                <a:gd name="T27" fmla="*/ 2147483647 h 1683"/>
                <a:gd name="T28" fmla="*/ 2147483647 w 849"/>
                <a:gd name="T29" fmla="*/ 2147483647 h 1683"/>
                <a:gd name="T30" fmla="*/ 2147483647 w 849"/>
                <a:gd name="T31" fmla="*/ 2147483647 h 1683"/>
                <a:gd name="T32" fmla="*/ 2147483647 w 849"/>
                <a:gd name="T33" fmla="*/ 2147483647 h 1683"/>
                <a:gd name="T34" fmla="*/ 2147483647 w 849"/>
                <a:gd name="T35" fmla="*/ 2147483647 h 1683"/>
                <a:gd name="T36" fmla="*/ 2147483647 w 849"/>
                <a:gd name="T37" fmla="*/ 2147483647 h 1683"/>
                <a:gd name="T38" fmla="*/ 2147483647 w 849"/>
                <a:gd name="T39" fmla="*/ 2147483647 h 1683"/>
                <a:gd name="T40" fmla="*/ 2147483647 w 849"/>
                <a:gd name="T41" fmla="*/ 2147483647 h 1683"/>
                <a:gd name="T42" fmla="*/ 2147483647 w 849"/>
                <a:gd name="T43" fmla="*/ 2147483647 h 1683"/>
                <a:gd name="T44" fmla="*/ 2147483647 w 849"/>
                <a:gd name="T45" fmla="*/ 2147483647 h 1683"/>
                <a:gd name="T46" fmla="*/ 2147483647 w 849"/>
                <a:gd name="T47" fmla="*/ 2147483647 h 1683"/>
                <a:gd name="T48" fmla="*/ 2147483647 w 849"/>
                <a:gd name="T49" fmla="*/ 2147483647 h 1683"/>
                <a:gd name="T50" fmla="*/ 2147483647 w 849"/>
                <a:gd name="T51" fmla="*/ 2147483647 h 1683"/>
                <a:gd name="T52" fmla="*/ 2147483647 w 849"/>
                <a:gd name="T53" fmla="*/ 2147483647 h 1683"/>
                <a:gd name="T54" fmla="*/ 2147483647 w 849"/>
                <a:gd name="T55" fmla="*/ 2147483647 h 1683"/>
                <a:gd name="T56" fmla="*/ 2147483647 w 849"/>
                <a:gd name="T57" fmla="*/ 2147483647 h 1683"/>
                <a:gd name="T58" fmla="*/ 2147483647 w 849"/>
                <a:gd name="T59" fmla="*/ 2147483647 h 1683"/>
                <a:gd name="T60" fmla="*/ 2147483647 w 849"/>
                <a:gd name="T61" fmla="*/ 2147483647 h 1683"/>
                <a:gd name="T62" fmla="*/ 2147483647 w 849"/>
                <a:gd name="T63" fmla="*/ 2147483647 h 1683"/>
                <a:gd name="T64" fmla="*/ 2147483647 w 849"/>
                <a:gd name="T65" fmla="*/ 2147483647 h 1683"/>
                <a:gd name="T66" fmla="*/ 2147483647 w 849"/>
                <a:gd name="T67" fmla="*/ 2147483647 h 1683"/>
                <a:gd name="T68" fmla="*/ 2147483647 w 849"/>
                <a:gd name="T69" fmla="*/ 2147483647 h 1683"/>
                <a:gd name="T70" fmla="*/ 2147483647 w 849"/>
                <a:gd name="T71" fmla="*/ 2147483647 h 1683"/>
                <a:gd name="T72" fmla="*/ 2147483647 w 849"/>
                <a:gd name="T73" fmla="*/ 2147483647 h 1683"/>
                <a:gd name="T74" fmla="*/ 2147483647 w 849"/>
                <a:gd name="T75" fmla="*/ 2147483647 h 1683"/>
                <a:gd name="T76" fmla="*/ 2147483647 w 849"/>
                <a:gd name="T77" fmla="*/ 2147483647 h 1683"/>
                <a:gd name="T78" fmla="*/ 2147483647 w 849"/>
                <a:gd name="T79" fmla="*/ 2147483647 h 1683"/>
                <a:gd name="T80" fmla="*/ 2147483647 w 849"/>
                <a:gd name="T81" fmla="*/ 2147483647 h 1683"/>
                <a:gd name="T82" fmla="*/ 2147483647 w 849"/>
                <a:gd name="T83" fmla="*/ 2147483647 h 1683"/>
                <a:gd name="T84" fmla="*/ 2147483647 w 849"/>
                <a:gd name="T85" fmla="*/ 2147483647 h 1683"/>
                <a:gd name="T86" fmla="*/ 2147483647 w 849"/>
                <a:gd name="T87" fmla="*/ 2147483647 h 1683"/>
                <a:gd name="T88" fmla="*/ 2147483647 w 849"/>
                <a:gd name="T89" fmla="*/ 2147483647 h 1683"/>
                <a:gd name="T90" fmla="*/ 2147483647 w 849"/>
                <a:gd name="T91" fmla="*/ 2147483647 h 1683"/>
                <a:gd name="T92" fmla="*/ 2147483647 w 849"/>
                <a:gd name="T93" fmla="*/ 2147483647 h 1683"/>
                <a:gd name="T94" fmla="*/ 2147483647 w 849"/>
                <a:gd name="T95" fmla="*/ 2147483647 h 1683"/>
                <a:gd name="T96" fmla="*/ 2147483647 w 849"/>
                <a:gd name="T97" fmla="*/ 2147483647 h 1683"/>
                <a:gd name="T98" fmla="*/ 2147483647 w 849"/>
                <a:gd name="T99" fmla="*/ 2147483647 h 1683"/>
                <a:gd name="T100" fmla="*/ 2147483647 w 849"/>
                <a:gd name="T101" fmla="*/ 2147483647 h 1683"/>
                <a:gd name="T102" fmla="*/ 2147483647 w 849"/>
                <a:gd name="T103" fmla="*/ 2147483647 h 1683"/>
                <a:gd name="T104" fmla="*/ 2147483647 w 849"/>
                <a:gd name="T105" fmla="*/ 2147483647 h 1683"/>
                <a:gd name="T106" fmla="*/ 2147483647 w 849"/>
                <a:gd name="T107" fmla="*/ 2147483647 h 1683"/>
                <a:gd name="T108" fmla="*/ 2147483647 w 849"/>
                <a:gd name="T109" fmla="*/ 2147483647 h 1683"/>
                <a:gd name="T110" fmla="*/ 2147483647 w 849"/>
                <a:gd name="T111" fmla="*/ 2147483647 h 1683"/>
                <a:gd name="T112" fmla="*/ 2147483647 w 849"/>
                <a:gd name="T113" fmla="*/ 2147483647 h 1683"/>
                <a:gd name="T114" fmla="*/ 2147483647 w 849"/>
                <a:gd name="T115" fmla="*/ 2147483647 h 1683"/>
                <a:gd name="T116" fmla="*/ 2147483647 w 849"/>
                <a:gd name="T117" fmla="*/ 2147483647 h 1683"/>
                <a:gd name="T118" fmla="*/ 2147483647 w 849"/>
                <a:gd name="T119" fmla="*/ 2147483647 h 16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9"/>
                <a:gd name="T181" fmla="*/ 0 h 1683"/>
                <a:gd name="T182" fmla="*/ 849 w 849"/>
                <a:gd name="T183" fmla="*/ 1683 h 16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9" h="1683">
                  <a:moveTo>
                    <a:pt x="216" y="1683"/>
                  </a:moveTo>
                  <a:lnTo>
                    <a:pt x="155" y="1665"/>
                  </a:lnTo>
                  <a:lnTo>
                    <a:pt x="55" y="1661"/>
                  </a:lnTo>
                  <a:lnTo>
                    <a:pt x="46" y="1643"/>
                  </a:lnTo>
                  <a:lnTo>
                    <a:pt x="44" y="1572"/>
                  </a:lnTo>
                  <a:lnTo>
                    <a:pt x="19" y="1571"/>
                  </a:lnTo>
                  <a:lnTo>
                    <a:pt x="5" y="1582"/>
                  </a:lnTo>
                  <a:lnTo>
                    <a:pt x="0" y="1539"/>
                  </a:lnTo>
                  <a:lnTo>
                    <a:pt x="6" y="1497"/>
                  </a:lnTo>
                  <a:lnTo>
                    <a:pt x="35" y="1450"/>
                  </a:lnTo>
                  <a:lnTo>
                    <a:pt x="44" y="1417"/>
                  </a:lnTo>
                  <a:lnTo>
                    <a:pt x="42" y="1375"/>
                  </a:lnTo>
                  <a:lnTo>
                    <a:pt x="62" y="1341"/>
                  </a:lnTo>
                  <a:lnTo>
                    <a:pt x="73" y="1309"/>
                  </a:lnTo>
                  <a:lnTo>
                    <a:pt x="74" y="1239"/>
                  </a:lnTo>
                  <a:lnTo>
                    <a:pt x="82" y="1217"/>
                  </a:lnTo>
                  <a:lnTo>
                    <a:pt x="63" y="1202"/>
                  </a:lnTo>
                  <a:lnTo>
                    <a:pt x="61" y="1194"/>
                  </a:lnTo>
                  <a:lnTo>
                    <a:pt x="86" y="1193"/>
                  </a:lnTo>
                  <a:lnTo>
                    <a:pt x="87" y="1187"/>
                  </a:lnTo>
                  <a:lnTo>
                    <a:pt x="81" y="1174"/>
                  </a:lnTo>
                  <a:lnTo>
                    <a:pt x="65" y="1170"/>
                  </a:lnTo>
                  <a:lnTo>
                    <a:pt x="67" y="1143"/>
                  </a:lnTo>
                  <a:lnTo>
                    <a:pt x="61" y="1123"/>
                  </a:lnTo>
                  <a:lnTo>
                    <a:pt x="61" y="1095"/>
                  </a:lnTo>
                  <a:lnTo>
                    <a:pt x="55" y="1088"/>
                  </a:lnTo>
                  <a:lnTo>
                    <a:pt x="55" y="1060"/>
                  </a:lnTo>
                  <a:lnTo>
                    <a:pt x="71" y="1023"/>
                  </a:lnTo>
                  <a:lnTo>
                    <a:pt x="71" y="1013"/>
                  </a:lnTo>
                  <a:lnTo>
                    <a:pt x="61" y="991"/>
                  </a:lnTo>
                  <a:lnTo>
                    <a:pt x="69" y="920"/>
                  </a:lnTo>
                  <a:lnTo>
                    <a:pt x="85" y="860"/>
                  </a:lnTo>
                  <a:lnTo>
                    <a:pt x="99" y="838"/>
                  </a:lnTo>
                  <a:lnTo>
                    <a:pt x="93" y="797"/>
                  </a:lnTo>
                  <a:lnTo>
                    <a:pt x="96" y="737"/>
                  </a:lnTo>
                  <a:lnTo>
                    <a:pt x="99" y="726"/>
                  </a:lnTo>
                  <a:lnTo>
                    <a:pt x="124" y="702"/>
                  </a:lnTo>
                  <a:lnTo>
                    <a:pt x="122" y="660"/>
                  </a:lnTo>
                  <a:lnTo>
                    <a:pt x="131" y="651"/>
                  </a:lnTo>
                  <a:lnTo>
                    <a:pt x="135" y="626"/>
                  </a:lnTo>
                  <a:lnTo>
                    <a:pt x="150" y="602"/>
                  </a:lnTo>
                  <a:lnTo>
                    <a:pt x="146" y="560"/>
                  </a:lnTo>
                  <a:lnTo>
                    <a:pt x="139" y="550"/>
                  </a:lnTo>
                  <a:lnTo>
                    <a:pt x="139" y="533"/>
                  </a:lnTo>
                  <a:lnTo>
                    <a:pt x="128" y="507"/>
                  </a:lnTo>
                  <a:lnTo>
                    <a:pt x="128" y="484"/>
                  </a:lnTo>
                  <a:lnTo>
                    <a:pt x="122" y="477"/>
                  </a:lnTo>
                  <a:lnTo>
                    <a:pt x="123" y="455"/>
                  </a:lnTo>
                  <a:lnTo>
                    <a:pt x="145" y="405"/>
                  </a:lnTo>
                  <a:lnTo>
                    <a:pt x="148" y="360"/>
                  </a:lnTo>
                  <a:lnTo>
                    <a:pt x="164" y="301"/>
                  </a:lnTo>
                  <a:lnTo>
                    <a:pt x="185" y="278"/>
                  </a:lnTo>
                  <a:lnTo>
                    <a:pt x="193" y="256"/>
                  </a:lnTo>
                  <a:lnTo>
                    <a:pt x="216" y="240"/>
                  </a:lnTo>
                  <a:lnTo>
                    <a:pt x="207" y="174"/>
                  </a:lnTo>
                  <a:lnTo>
                    <a:pt x="207" y="161"/>
                  </a:lnTo>
                  <a:lnTo>
                    <a:pt x="212" y="153"/>
                  </a:lnTo>
                  <a:lnTo>
                    <a:pt x="211" y="127"/>
                  </a:lnTo>
                  <a:lnTo>
                    <a:pt x="263" y="104"/>
                  </a:lnTo>
                  <a:lnTo>
                    <a:pt x="270" y="67"/>
                  </a:lnTo>
                  <a:lnTo>
                    <a:pt x="266" y="50"/>
                  </a:lnTo>
                  <a:lnTo>
                    <a:pt x="310" y="0"/>
                  </a:lnTo>
                  <a:lnTo>
                    <a:pt x="324" y="15"/>
                  </a:lnTo>
                  <a:lnTo>
                    <a:pt x="371" y="22"/>
                  </a:lnTo>
                  <a:lnTo>
                    <a:pt x="389" y="41"/>
                  </a:lnTo>
                  <a:lnTo>
                    <a:pt x="399" y="10"/>
                  </a:lnTo>
                  <a:lnTo>
                    <a:pt x="441" y="13"/>
                  </a:lnTo>
                  <a:lnTo>
                    <a:pt x="459" y="25"/>
                  </a:lnTo>
                  <a:lnTo>
                    <a:pt x="472" y="29"/>
                  </a:lnTo>
                  <a:lnTo>
                    <a:pt x="498" y="63"/>
                  </a:lnTo>
                  <a:lnTo>
                    <a:pt x="529" y="85"/>
                  </a:lnTo>
                  <a:lnTo>
                    <a:pt x="539" y="101"/>
                  </a:lnTo>
                  <a:lnTo>
                    <a:pt x="590" y="112"/>
                  </a:lnTo>
                  <a:lnTo>
                    <a:pt x="639" y="141"/>
                  </a:lnTo>
                  <a:lnTo>
                    <a:pt x="670" y="166"/>
                  </a:lnTo>
                  <a:lnTo>
                    <a:pt x="673" y="184"/>
                  </a:lnTo>
                  <a:lnTo>
                    <a:pt x="646" y="230"/>
                  </a:lnTo>
                  <a:lnTo>
                    <a:pt x="645" y="241"/>
                  </a:lnTo>
                  <a:lnTo>
                    <a:pt x="644" y="252"/>
                  </a:lnTo>
                  <a:lnTo>
                    <a:pt x="686" y="256"/>
                  </a:lnTo>
                  <a:lnTo>
                    <a:pt x="713" y="268"/>
                  </a:lnTo>
                  <a:lnTo>
                    <a:pt x="763" y="260"/>
                  </a:lnTo>
                  <a:lnTo>
                    <a:pt x="804" y="220"/>
                  </a:lnTo>
                  <a:lnTo>
                    <a:pt x="812" y="177"/>
                  </a:lnTo>
                  <a:lnTo>
                    <a:pt x="834" y="176"/>
                  </a:lnTo>
                  <a:lnTo>
                    <a:pt x="839" y="181"/>
                  </a:lnTo>
                  <a:lnTo>
                    <a:pt x="849" y="212"/>
                  </a:lnTo>
                  <a:lnTo>
                    <a:pt x="845" y="249"/>
                  </a:lnTo>
                  <a:lnTo>
                    <a:pt x="826" y="264"/>
                  </a:lnTo>
                  <a:lnTo>
                    <a:pt x="803" y="270"/>
                  </a:lnTo>
                  <a:lnTo>
                    <a:pt x="755" y="318"/>
                  </a:lnTo>
                  <a:lnTo>
                    <a:pt x="717" y="366"/>
                  </a:lnTo>
                  <a:lnTo>
                    <a:pt x="676" y="404"/>
                  </a:lnTo>
                  <a:lnTo>
                    <a:pt x="667" y="417"/>
                  </a:lnTo>
                  <a:lnTo>
                    <a:pt x="665" y="464"/>
                  </a:lnTo>
                  <a:lnTo>
                    <a:pt x="657" y="491"/>
                  </a:lnTo>
                  <a:lnTo>
                    <a:pt x="656" y="538"/>
                  </a:lnTo>
                  <a:lnTo>
                    <a:pt x="645" y="560"/>
                  </a:lnTo>
                  <a:lnTo>
                    <a:pt x="642" y="594"/>
                  </a:lnTo>
                  <a:lnTo>
                    <a:pt x="639" y="609"/>
                  </a:lnTo>
                  <a:lnTo>
                    <a:pt x="645" y="625"/>
                  </a:lnTo>
                  <a:lnTo>
                    <a:pt x="672" y="641"/>
                  </a:lnTo>
                  <a:lnTo>
                    <a:pt x="695" y="663"/>
                  </a:lnTo>
                  <a:lnTo>
                    <a:pt x="686" y="690"/>
                  </a:lnTo>
                  <a:lnTo>
                    <a:pt x="698" y="710"/>
                  </a:lnTo>
                  <a:lnTo>
                    <a:pt x="716" y="715"/>
                  </a:lnTo>
                  <a:lnTo>
                    <a:pt x="717" y="745"/>
                  </a:lnTo>
                  <a:lnTo>
                    <a:pt x="712" y="756"/>
                  </a:lnTo>
                  <a:lnTo>
                    <a:pt x="682" y="796"/>
                  </a:lnTo>
                  <a:lnTo>
                    <a:pt x="678" y="816"/>
                  </a:lnTo>
                  <a:lnTo>
                    <a:pt x="659" y="829"/>
                  </a:lnTo>
                  <a:lnTo>
                    <a:pt x="600" y="848"/>
                  </a:lnTo>
                  <a:lnTo>
                    <a:pt x="531" y="859"/>
                  </a:lnTo>
                  <a:lnTo>
                    <a:pt x="487" y="856"/>
                  </a:lnTo>
                  <a:lnTo>
                    <a:pt x="476" y="847"/>
                  </a:lnTo>
                  <a:lnTo>
                    <a:pt x="476" y="874"/>
                  </a:lnTo>
                  <a:lnTo>
                    <a:pt x="485" y="887"/>
                  </a:lnTo>
                  <a:lnTo>
                    <a:pt x="483" y="901"/>
                  </a:lnTo>
                  <a:lnTo>
                    <a:pt x="483" y="907"/>
                  </a:lnTo>
                  <a:lnTo>
                    <a:pt x="474" y="918"/>
                  </a:lnTo>
                  <a:lnTo>
                    <a:pt x="476" y="958"/>
                  </a:lnTo>
                  <a:lnTo>
                    <a:pt x="468" y="970"/>
                  </a:lnTo>
                  <a:lnTo>
                    <a:pt x="457" y="974"/>
                  </a:lnTo>
                  <a:lnTo>
                    <a:pt x="443" y="982"/>
                  </a:lnTo>
                  <a:lnTo>
                    <a:pt x="412" y="981"/>
                  </a:lnTo>
                  <a:lnTo>
                    <a:pt x="370" y="963"/>
                  </a:lnTo>
                  <a:lnTo>
                    <a:pt x="362" y="954"/>
                  </a:lnTo>
                  <a:lnTo>
                    <a:pt x="354" y="965"/>
                  </a:lnTo>
                  <a:lnTo>
                    <a:pt x="360" y="1033"/>
                  </a:lnTo>
                  <a:lnTo>
                    <a:pt x="382" y="1046"/>
                  </a:lnTo>
                  <a:lnTo>
                    <a:pt x="379" y="1051"/>
                  </a:lnTo>
                  <a:lnTo>
                    <a:pt x="383" y="1055"/>
                  </a:lnTo>
                  <a:lnTo>
                    <a:pt x="399" y="1051"/>
                  </a:lnTo>
                  <a:lnTo>
                    <a:pt x="391" y="1041"/>
                  </a:lnTo>
                  <a:lnTo>
                    <a:pt x="413" y="1034"/>
                  </a:lnTo>
                  <a:lnTo>
                    <a:pt x="419" y="1043"/>
                  </a:lnTo>
                  <a:lnTo>
                    <a:pt x="422" y="1063"/>
                  </a:lnTo>
                  <a:lnTo>
                    <a:pt x="415" y="1077"/>
                  </a:lnTo>
                  <a:lnTo>
                    <a:pt x="393" y="1077"/>
                  </a:lnTo>
                  <a:lnTo>
                    <a:pt x="393" y="1066"/>
                  </a:lnTo>
                  <a:lnTo>
                    <a:pt x="380" y="1059"/>
                  </a:lnTo>
                  <a:lnTo>
                    <a:pt x="360" y="1071"/>
                  </a:lnTo>
                  <a:lnTo>
                    <a:pt x="360" y="1077"/>
                  </a:lnTo>
                  <a:lnTo>
                    <a:pt x="392" y="1090"/>
                  </a:lnTo>
                  <a:lnTo>
                    <a:pt x="366" y="1104"/>
                  </a:lnTo>
                  <a:lnTo>
                    <a:pt x="362" y="1110"/>
                  </a:lnTo>
                  <a:lnTo>
                    <a:pt x="352" y="1124"/>
                  </a:lnTo>
                  <a:lnTo>
                    <a:pt x="352" y="1169"/>
                  </a:lnTo>
                  <a:lnTo>
                    <a:pt x="334" y="1191"/>
                  </a:lnTo>
                  <a:lnTo>
                    <a:pt x="337" y="1210"/>
                  </a:lnTo>
                  <a:lnTo>
                    <a:pt x="311" y="1208"/>
                  </a:lnTo>
                  <a:lnTo>
                    <a:pt x="297" y="1221"/>
                  </a:lnTo>
                  <a:lnTo>
                    <a:pt x="281" y="1224"/>
                  </a:lnTo>
                  <a:lnTo>
                    <a:pt x="253" y="1267"/>
                  </a:lnTo>
                  <a:lnTo>
                    <a:pt x="250" y="1279"/>
                  </a:lnTo>
                  <a:lnTo>
                    <a:pt x="262" y="1306"/>
                  </a:lnTo>
                  <a:lnTo>
                    <a:pt x="286" y="1331"/>
                  </a:lnTo>
                  <a:lnTo>
                    <a:pt x="325" y="1338"/>
                  </a:lnTo>
                  <a:lnTo>
                    <a:pt x="331" y="1343"/>
                  </a:lnTo>
                  <a:lnTo>
                    <a:pt x="333" y="1365"/>
                  </a:lnTo>
                  <a:lnTo>
                    <a:pt x="324" y="1377"/>
                  </a:lnTo>
                  <a:lnTo>
                    <a:pt x="328" y="1394"/>
                  </a:lnTo>
                  <a:lnTo>
                    <a:pt x="322" y="1396"/>
                  </a:lnTo>
                  <a:lnTo>
                    <a:pt x="321" y="1405"/>
                  </a:lnTo>
                  <a:lnTo>
                    <a:pt x="309" y="1409"/>
                  </a:lnTo>
                  <a:lnTo>
                    <a:pt x="252" y="1461"/>
                  </a:lnTo>
                  <a:lnTo>
                    <a:pt x="245" y="1476"/>
                  </a:lnTo>
                  <a:lnTo>
                    <a:pt x="243" y="1485"/>
                  </a:lnTo>
                  <a:lnTo>
                    <a:pt x="250" y="1480"/>
                  </a:lnTo>
                  <a:lnTo>
                    <a:pt x="240" y="1521"/>
                  </a:lnTo>
                  <a:lnTo>
                    <a:pt x="217" y="1532"/>
                  </a:lnTo>
                  <a:lnTo>
                    <a:pt x="204" y="1511"/>
                  </a:lnTo>
                  <a:lnTo>
                    <a:pt x="205" y="1525"/>
                  </a:lnTo>
                  <a:lnTo>
                    <a:pt x="213" y="1536"/>
                  </a:lnTo>
                  <a:lnTo>
                    <a:pt x="188" y="1555"/>
                  </a:lnTo>
                  <a:lnTo>
                    <a:pt x="171" y="1597"/>
                  </a:lnTo>
                  <a:lnTo>
                    <a:pt x="181" y="1595"/>
                  </a:lnTo>
                  <a:lnTo>
                    <a:pt x="189" y="1626"/>
                  </a:lnTo>
                  <a:lnTo>
                    <a:pt x="172" y="1633"/>
                  </a:lnTo>
                  <a:lnTo>
                    <a:pt x="189" y="1640"/>
                  </a:lnTo>
                  <a:lnTo>
                    <a:pt x="216" y="1683"/>
                  </a:lnTo>
                  <a:close/>
                </a:path>
              </a:pathLst>
            </a:custGeom>
            <a:grpFill/>
            <a:ln w="6350">
              <a:solidFill>
                <a:schemeClr val="tx2"/>
              </a:solidFill>
              <a:round/>
              <a:headEnd/>
              <a:tailEnd/>
            </a:ln>
          </p:spPr>
          <p:txBody>
            <a:bodyPr/>
            <a:lstStyle/>
            <a:p>
              <a:endParaRPr lang="en-US"/>
            </a:p>
          </p:txBody>
        </p:sp>
        <p:sp>
          <p:nvSpPr>
            <p:cNvPr id="31" name="Freeform 1079"/>
            <p:cNvSpPr>
              <a:spLocks/>
            </p:cNvSpPr>
            <p:nvPr/>
          </p:nvSpPr>
          <p:spPr bwMode="auto">
            <a:xfrm>
              <a:off x="2750757" y="5967006"/>
              <a:ext cx="72821" cy="86476"/>
            </a:xfrm>
            <a:custGeom>
              <a:avLst/>
              <a:gdLst>
                <a:gd name="T0" fmla="*/ 2147483647 w 150"/>
                <a:gd name="T1" fmla="*/ 2147483647 h 175"/>
                <a:gd name="T2" fmla="*/ 0 w 150"/>
                <a:gd name="T3" fmla="*/ 0 h 175"/>
                <a:gd name="T4" fmla="*/ 2147483647 w 150"/>
                <a:gd name="T5" fmla="*/ 2147483647 h 175"/>
                <a:gd name="T6" fmla="*/ 2147483647 w 150"/>
                <a:gd name="T7" fmla="*/ 2147483647 h 175"/>
                <a:gd name="T8" fmla="*/ 2147483647 w 150"/>
                <a:gd name="T9" fmla="*/ 2147483647 h 175"/>
                <a:gd name="T10" fmla="*/ 2147483647 w 150"/>
                <a:gd name="T11" fmla="*/ 2147483647 h 175"/>
                <a:gd name="T12" fmla="*/ 2147483647 w 150"/>
                <a:gd name="T13" fmla="*/ 2147483647 h 175"/>
                <a:gd name="T14" fmla="*/ 2147483647 w 150"/>
                <a:gd name="T15" fmla="*/ 2147483647 h 175"/>
                <a:gd name="T16" fmla="*/ 2147483647 w 150"/>
                <a:gd name="T17" fmla="*/ 2147483647 h 175"/>
                <a:gd name="T18" fmla="*/ 2147483647 w 150"/>
                <a:gd name="T19" fmla="*/ 2147483647 h 175"/>
                <a:gd name="T20" fmla="*/ 2147483647 w 150"/>
                <a:gd name="T21" fmla="*/ 2147483647 h 175"/>
                <a:gd name="T22" fmla="*/ 2147483647 w 150"/>
                <a:gd name="T23" fmla="*/ 2147483647 h 175"/>
                <a:gd name="T24" fmla="*/ 2147483647 w 150"/>
                <a:gd name="T25" fmla="*/ 2147483647 h 175"/>
                <a:gd name="T26" fmla="*/ 2147483647 w 150"/>
                <a:gd name="T27" fmla="*/ 2147483647 h 1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0"/>
                <a:gd name="T43" fmla="*/ 0 h 175"/>
                <a:gd name="T44" fmla="*/ 150 w 150"/>
                <a:gd name="T45" fmla="*/ 175 h 1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0" h="175">
                  <a:moveTo>
                    <a:pt x="3" y="163"/>
                  </a:moveTo>
                  <a:lnTo>
                    <a:pt x="0" y="0"/>
                  </a:lnTo>
                  <a:lnTo>
                    <a:pt x="21" y="33"/>
                  </a:lnTo>
                  <a:lnTo>
                    <a:pt x="13" y="30"/>
                  </a:lnTo>
                  <a:lnTo>
                    <a:pt x="7" y="37"/>
                  </a:lnTo>
                  <a:lnTo>
                    <a:pt x="33" y="76"/>
                  </a:lnTo>
                  <a:lnTo>
                    <a:pt x="110" y="139"/>
                  </a:lnTo>
                  <a:lnTo>
                    <a:pt x="150" y="151"/>
                  </a:lnTo>
                  <a:lnTo>
                    <a:pt x="146" y="164"/>
                  </a:lnTo>
                  <a:lnTo>
                    <a:pt x="136" y="169"/>
                  </a:lnTo>
                  <a:lnTo>
                    <a:pt x="121" y="165"/>
                  </a:lnTo>
                  <a:lnTo>
                    <a:pt x="100" y="175"/>
                  </a:lnTo>
                  <a:lnTo>
                    <a:pt x="25" y="157"/>
                  </a:lnTo>
                  <a:lnTo>
                    <a:pt x="3" y="163"/>
                  </a:lnTo>
                  <a:close/>
                </a:path>
              </a:pathLst>
            </a:custGeom>
            <a:grpFill/>
            <a:ln w="6350">
              <a:solidFill>
                <a:schemeClr val="tx2"/>
              </a:solidFill>
              <a:round/>
              <a:headEnd/>
              <a:tailEnd/>
            </a:ln>
          </p:spPr>
          <p:txBody>
            <a:bodyPr/>
            <a:lstStyle/>
            <a:p>
              <a:endParaRPr lang="en-US"/>
            </a:p>
          </p:txBody>
        </p:sp>
        <p:sp>
          <p:nvSpPr>
            <p:cNvPr id="32" name="Freeform 1080"/>
            <p:cNvSpPr>
              <a:spLocks/>
            </p:cNvSpPr>
            <p:nvPr/>
          </p:nvSpPr>
          <p:spPr bwMode="auto">
            <a:xfrm>
              <a:off x="2756826" y="6048930"/>
              <a:ext cx="27308" cy="15172"/>
            </a:xfrm>
            <a:custGeom>
              <a:avLst/>
              <a:gdLst>
                <a:gd name="T0" fmla="*/ 2147483647 w 53"/>
                <a:gd name="T1" fmla="*/ 2147483647 h 31"/>
                <a:gd name="T2" fmla="*/ 0 w 53"/>
                <a:gd name="T3" fmla="*/ 2147483647 h 31"/>
                <a:gd name="T4" fmla="*/ 2147483647 w 53"/>
                <a:gd name="T5" fmla="*/ 0 h 31"/>
                <a:gd name="T6" fmla="*/ 2147483647 w 53"/>
                <a:gd name="T7" fmla="*/ 2147483647 h 31"/>
                <a:gd name="T8" fmla="*/ 2147483647 w 53"/>
                <a:gd name="T9" fmla="*/ 2147483647 h 31"/>
                <a:gd name="T10" fmla="*/ 2147483647 w 53"/>
                <a:gd name="T11" fmla="*/ 2147483647 h 31"/>
                <a:gd name="T12" fmla="*/ 2147483647 w 53"/>
                <a:gd name="T13" fmla="*/ 2147483647 h 31"/>
                <a:gd name="T14" fmla="*/ 2147483647 w 53"/>
                <a:gd name="T15" fmla="*/ 2147483647 h 31"/>
                <a:gd name="T16" fmla="*/ 2147483647 w 53"/>
                <a:gd name="T17" fmla="*/ 2147483647 h 31"/>
                <a:gd name="T18" fmla="*/ 2147483647 w 53"/>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31"/>
                <a:gd name="T32" fmla="*/ 53 w 53"/>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31">
                  <a:moveTo>
                    <a:pt x="8" y="7"/>
                  </a:moveTo>
                  <a:lnTo>
                    <a:pt x="0" y="3"/>
                  </a:lnTo>
                  <a:lnTo>
                    <a:pt x="21" y="0"/>
                  </a:lnTo>
                  <a:lnTo>
                    <a:pt x="48" y="5"/>
                  </a:lnTo>
                  <a:lnTo>
                    <a:pt x="53" y="22"/>
                  </a:lnTo>
                  <a:lnTo>
                    <a:pt x="45" y="31"/>
                  </a:lnTo>
                  <a:lnTo>
                    <a:pt x="34" y="23"/>
                  </a:lnTo>
                  <a:lnTo>
                    <a:pt x="26" y="26"/>
                  </a:lnTo>
                  <a:lnTo>
                    <a:pt x="11" y="21"/>
                  </a:lnTo>
                  <a:lnTo>
                    <a:pt x="8" y="7"/>
                  </a:lnTo>
                  <a:close/>
                </a:path>
              </a:pathLst>
            </a:custGeom>
            <a:grpFill/>
            <a:ln w="6350">
              <a:solidFill>
                <a:schemeClr val="tx2"/>
              </a:solidFill>
              <a:round/>
              <a:headEnd/>
              <a:tailEnd/>
            </a:ln>
          </p:spPr>
          <p:txBody>
            <a:bodyPr/>
            <a:lstStyle/>
            <a:p>
              <a:endParaRPr lang="en-US"/>
            </a:p>
          </p:txBody>
        </p:sp>
        <p:sp>
          <p:nvSpPr>
            <p:cNvPr id="33" name="Freeform 1081"/>
            <p:cNvSpPr>
              <a:spLocks/>
            </p:cNvSpPr>
            <p:nvPr/>
          </p:nvSpPr>
          <p:spPr bwMode="auto">
            <a:xfrm>
              <a:off x="2837232" y="6042861"/>
              <a:ext cx="21239" cy="6069"/>
            </a:xfrm>
            <a:custGeom>
              <a:avLst/>
              <a:gdLst>
                <a:gd name="T0" fmla="*/ 2147483647 w 40"/>
                <a:gd name="T1" fmla="*/ 2147483647 h 12"/>
                <a:gd name="T2" fmla="*/ 2147483647 w 40"/>
                <a:gd name="T3" fmla="*/ 0 h 12"/>
                <a:gd name="T4" fmla="*/ 2147483647 w 40"/>
                <a:gd name="T5" fmla="*/ 2147483647 h 12"/>
                <a:gd name="T6" fmla="*/ 0 w 40"/>
                <a:gd name="T7" fmla="*/ 2147483647 h 12"/>
                <a:gd name="T8" fmla="*/ 2147483647 w 40"/>
                <a:gd name="T9" fmla="*/ 2147483647 h 12"/>
                <a:gd name="T10" fmla="*/ 0 60000 65536"/>
                <a:gd name="T11" fmla="*/ 0 60000 65536"/>
                <a:gd name="T12" fmla="*/ 0 60000 65536"/>
                <a:gd name="T13" fmla="*/ 0 60000 65536"/>
                <a:gd name="T14" fmla="*/ 0 60000 65536"/>
                <a:gd name="T15" fmla="*/ 0 w 40"/>
                <a:gd name="T16" fmla="*/ 0 h 12"/>
                <a:gd name="T17" fmla="*/ 40 w 40"/>
                <a:gd name="T18" fmla="*/ 12 h 12"/>
              </a:gdLst>
              <a:ahLst/>
              <a:cxnLst>
                <a:cxn ang="T10">
                  <a:pos x="T0" y="T1"/>
                </a:cxn>
                <a:cxn ang="T11">
                  <a:pos x="T2" y="T3"/>
                </a:cxn>
                <a:cxn ang="T12">
                  <a:pos x="T4" y="T5"/>
                </a:cxn>
                <a:cxn ang="T13">
                  <a:pos x="T6" y="T7"/>
                </a:cxn>
                <a:cxn ang="T14">
                  <a:pos x="T8" y="T9"/>
                </a:cxn>
              </a:cxnLst>
              <a:rect l="T15" t="T16" r="T17" b="T18"/>
              <a:pathLst>
                <a:path w="40" h="12">
                  <a:moveTo>
                    <a:pt x="9" y="4"/>
                  </a:moveTo>
                  <a:lnTo>
                    <a:pt x="40" y="0"/>
                  </a:lnTo>
                  <a:lnTo>
                    <a:pt x="9" y="12"/>
                  </a:lnTo>
                  <a:lnTo>
                    <a:pt x="0" y="11"/>
                  </a:lnTo>
                  <a:lnTo>
                    <a:pt x="9" y="4"/>
                  </a:lnTo>
                  <a:close/>
                </a:path>
              </a:pathLst>
            </a:custGeom>
            <a:grpFill/>
            <a:ln w="6350">
              <a:solidFill>
                <a:schemeClr val="tx2"/>
              </a:solidFill>
              <a:round/>
              <a:headEnd/>
              <a:tailEnd/>
            </a:ln>
          </p:spPr>
          <p:txBody>
            <a:bodyPr/>
            <a:lstStyle/>
            <a:p>
              <a:endParaRPr lang="en-US"/>
            </a:p>
          </p:txBody>
        </p:sp>
        <p:sp>
          <p:nvSpPr>
            <p:cNvPr id="34" name="Freeform 1082"/>
            <p:cNvSpPr>
              <a:spLocks/>
            </p:cNvSpPr>
            <p:nvPr/>
          </p:nvSpPr>
          <p:spPr bwMode="auto">
            <a:xfrm>
              <a:off x="2917640" y="5923009"/>
              <a:ext cx="36411" cy="30342"/>
            </a:xfrm>
            <a:custGeom>
              <a:avLst/>
              <a:gdLst>
                <a:gd name="T0" fmla="*/ 2147483647 w 74"/>
                <a:gd name="T1" fmla="*/ 2147483647 h 60"/>
                <a:gd name="T2" fmla="*/ 2147483647 w 74"/>
                <a:gd name="T3" fmla="*/ 2147483647 h 60"/>
                <a:gd name="T4" fmla="*/ 2147483647 w 74"/>
                <a:gd name="T5" fmla="*/ 2147483647 h 60"/>
                <a:gd name="T6" fmla="*/ 2147483647 w 74"/>
                <a:gd name="T7" fmla="*/ 2147483647 h 60"/>
                <a:gd name="T8" fmla="*/ 2147483647 w 74"/>
                <a:gd name="T9" fmla="*/ 2147483647 h 60"/>
                <a:gd name="T10" fmla="*/ 2147483647 w 74"/>
                <a:gd name="T11" fmla="*/ 2147483647 h 60"/>
                <a:gd name="T12" fmla="*/ 2147483647 w 74"/>
                <a:gd name="T13" fmla="*/ 2147483647 h 60"/>
                <a:gd name="T14" fmla="*/ 0 w 74"/>
                <a:gd name="T15" fmla="*/ 2147483647 h 60"/>
                <a:gd name="T16" fmla="*/ 2147483647 w 74"/>
                <a:gd name="T17" fmla="*/ 2147483647 h 60"/>
                <a:gd name="T18" fmla="*/ 2147483647 w 74"/>
                <a:gd name="T19" fmla="*/ 2147483647 h 60"/>
                <a:gd name="T20" fmla="*/ 2147483647 w 74"/>
                <a:gd name="T21" fmla="*/ 2147483647 h 60"/>
                <a:gd name="T22" fmla="*/ 2147483647 w 74"/>
                <a:gd name="T23" fmla="*/ 2147483647 h 60"/>
                <a:gd name="T24" fmla="*/ 2147483647 w 74"/>
                <a:gd name="T25" fmla="*/ 2147483647 h 60"/>
                <a:gd name="T26" fmla="*/ 2147483647 w 74"/>
                <a:gd name="T27" fmla="*/ 0 h 60"/>
                <a:gd name="T28" fmla="*/ 2147483647 w 74"/>
                <a:gd name="T29" fmla="*/ 2147483647 h 60"/>
                <a:gd name="T30" fmla="*/ 2147483647 w 74"/>
                <a:gd name="T31" fmla="*/ 2147483647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60"/>
                <a:gd name="T50" fmla="*/ 74 w 74"/>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60">
                  <a:moveTo>
                    <a:pt x="67" y="3"/>
                  </a:moveTo>
                  <a:lnTo>
                    <a:pt x="74" y="8"/>
                  </a:lnTo>
                  <a:lnTo>
                    <a:pt x="70" y="16"/>
                  </a:lnTo>
                  <a:lnTo>
                    <a:pt x="49" y="43"/>
                  </a:lnTo>
                  <a:lnTo>
                    <a:pt x="31" y="44"/>
                  </a:lnTo>
                  <a:lnTo>
                    <a:pt x="31" y="52"/>
                  </a:lnTo>
                  <a:lnTo>
                    <a:pt x="15" y="60"/>
                  </a:lnTo>
                  <a:lnTo>
                    <a:pt x="0" y="48"/>
                  </a:lnTo>
                  <a:lnTo>
                    <a:pt x="19" y="43"/>
                  </a:lnTo>
                  <a:lnTo>
                    <a:pt x="23" y="32"/>
                  </a:lnTo>
                  <a:lnTo>
                    <a:pt x="40" y="24"/>
                  </a:lnTo>
                  <a:lnTo>
                    <a:pt x="21" y="10"/>
                  </a:lnTo>
                  <a:lnTo>
                    <a:pt x="24" y="8"/>
                  </a:lnTo>
                  <a:lnTo>
                    <a:pt x="16" y="0"/>
                  </a:lnTo>
                  <a:lnTo>
                    <a:pt x="36" y="8"/>
                  </a:lnTo>
                  <a:lnTo>
                    <a:pt x="67" y="3"/>
                  </a:lnTo>
                  <a:close/>
                </a:path>
              </a:pathLst>
            </a:custGeom>
            <a:grpFill/>
            <a:ln w="6350">
              <a:solidFill>
                <a:schemeClr val="tx2"/>
              </a:solidFill>
              <a:round/>
              <a:headEnd/>
              <a:tailEnd/>
            </a:ln>
          </p:spPr>
          <p:txBody>
            <a:bodyPr/>
            <a:lstStyle/>
            <a:p>
              <a:endParaRPr lang="en-US"/>
            </a:p>
          </p:txBody>
        </p:sp>
        <p:sp>
          <p:nvSpPr>
            <p:cNvPr id="35" name="Freeform 1083"/>
            <p:cNvSpPr>
              <a:spLocks/>
            </p:cNvSpPr>
            <p:nvPr/>
          </p:nvSpPr>
          <p:spPr bwMode="auto">
            <a:xfrm>
              <a:off x="2944947" y="5919975"/>
              <a:ext cx="39445" cy="36411"/>
            </a:xfrm>
            <a:custGeom>
              <a:avLst/>
              <a:gdLst>
                <a:gd name="T0" fmla="*/ 2147483647 w 80"/>
                <a:gd name="T1" fmla="*/ 2147483647 h 73"/>
                <a:gd name="T2" fmla="*/ 2147483647 w 80"/>
                <a:gd name="T3" fmla="*/ 2147483647 h 73"/>
                <a:gd name="T4" fmla="*/ 2147483647 w 80"/>
                <a:gd name="T5" fmla="*/ 2147483647 h 73"/>
                <a:gd name="T6" fmla="*/ 2147483647 w 80"/>
                <a:gd name="T7" fmla="*/ 2147483647 h 73"/>
                <a:gd name="T8" fmla="*/ 2147483647 w 80"/>
                <a:gd name="T9" fmla="*/ 2147483647 h 73"/>
                <a:gd name="T10" fmla="*/ 2147483647 w 80"/>
                <a:gd name="T11" fmla="*/ 2147483647 h 73"/>
                <a:gd name="T12" fmla="*/ 2147483647 w 80"/>
                <a:gd name="T13" fmla="*/ 2147483647 h 73"/>
                <a:gd name="T14" fmla="*/ 2147483647 w 80"/>
                <a:gd name="T15" fmla="*/ 2147483647 h 73"/>
                <a:gd name="T16" fmla="*/ 2147483647 w 80"/>
                <a:gd name="T17" fmla="*/ 2147483647 h 73"/>
                <a:gd name="T18" fmla="*/ 0 w 80"/>
                <a:gd name="T19" fmla="*/ 2147483647 h 73"/>
                <a:gd name="T20" fmla="*/ 2147483647 w 80"/>
                <a:gd name="T21" fmla="*/ 2147483647 h 73"/>
                <a:gd name="T22" fmla="*/ 2147483647 w 80"/>
                <a:gd name="T23" fmla="*/ 2147483647 h 73"/>
                <a:gd name="T24" fmla="*/ 2147483647 w 80"/>
                <a:gd name="T25" fmla="*/ 2147483647 h 73"/>
                <a:gd name="T26" fmla="*/ 2147483647 w 80"/>
                <a:gd name="T27" fmla="*/ 2147483647 h 73"/>
                <a:gd name="T28" fmla="*/ 2147483647 w 80"/>
                <a:gd name="T29" fmla="*/ 0 h 73"/>
                <a:gd name="T30" fmla="*/ 2147483647 w 80"/>
                <a:gd name="T31" fmla="*/ 0 h 73"/>
                <a:gd name="T32" fmla="*/ 2147483647 w 80"/>
                <a:gd name="T33" fmla="*/ 2147483647 h 73"/>
                <a:gd name="T34" fmla="*/ 2147483647 w 80"/>
                <a:gd name="T35" fmla="*/ 2147483647 h 73"/>
                <a:gd name="T36" fmla="*/ 2147483647 w 80"/>
                <a:gd name="T37" fmla="*/ 2147483647 h 73"/>
                <a:gd name="T38" fmla="*/ 2147483647 w 80"/>
                <a:gd name="T39" fmla="*/ 2147483647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73"/>
                <a:gd name="T62" fmla="*/ 80 w 80"/>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73">
                  <a:moveTo>
                    <a:pt x="74" y="32"/>
                  </a:moveTo>
                  <a:lnTo>
                    <a:pt x="59" y="41"/>
                  </a:lnTo>
                  <a:lnTo>
                    <a:pt x="34" y="40"/>
                  </a:lnTo>
                  <a:lnTo>
                    <a:pt x="44" y="57"/>
                  </a:lnTo>
                  <a:lnTo>
                    <a:pt x="25" y="52"/>
                  </a:lnTo>
                  <a:lnTo>
                    <a:pt x="24" y="61"/>
                  </a:lnTo>
                  <a:lnTo>
                    <a:pt x="30" y="66"/>
                  </a:lnTo>
                  <a:lnTo>
                    <a:pt x="14" y="60"/>
                  </a:lnTo>
                  <a:lnTo>
                    <a:pt x="12" y="73"/>
                  </a:lnTo>
                  <a:lnTo>
                    <a:pt x="0" y="56"/>
                  </a:lnTo>
                  <a:lnTo>
                    <a:pt x="4" y="39"/>
                  </a:lnTo>
                  <a:lnTo>
                    <a:pt x="17" y="29"/>
                  </a:lnTo>
                  <a:lnTo>
                    <a:pt x="28" y="35"/>
                  </a:lnTo>
                  <a:lnTo>
                    <a:pt x="23" y="10"/>
                  </a:lnTo>
                  <a:lnTo>
                    <a:pt x="36" y="0"/>
                  </a:lnTo>
                  <a:lnTo>
                    <a:pt x="48" y="0"/>
                  </a:lnTo>
                  <a:lnTo>
                    <a:pt x="57" y="11"/>
                  </a:lnTo>
                  <a:lnTo>
                    <a:pt x="73" y="10"/>
                  </a:lnTo>
                  <a:lnTo>
                    <a:pt x="80" y="27"/>
                  </a:lnTo>
                  <a:lnTo>
                    <a:pt x="74" y="32"/>
                  </a:lnTo>
                  <a:close/>
                </a:path>
              </a:pathLst>
            </a:custGeom>
            <a:grpFill/>
            <a:ln w="6350">
              <a:solidFill>
                <a:schemeClr val="tx2"/>
              </a:solidFill>
              <a:round/>
              <a:headEnd/>
              <a:tailEnd/>
            </a:ln>
          </p:spPr>
          <p:txBody>
            <a:bodyPr/>
            <a:lstStyle/>
            <a:p>
              <a:endParaRPr lang="en-US"/>
            </a:p>
          </p:txBody>
        </p:sp>
        <p:sp>
          <p:nvSpPr>
            <p:cNvPr id="36" name="Freeform 1084"/>
            <p:cNvSpPr>
              <a:spLocks/>
            </p:cNvSpPr>
            <p:nvPr/>
          </p:nvSpPr>
          <p:spPr bwMode="auto">
            <a:xfrm>
              <a:off x="2699175" y="6050447"/>
              <a:ext cx="6069" cy="4550"/>
            </a:xfrm>
            <a:custGeom>
              <a:avLst/>
              <a:gdLst>
                <a:gd name="T0" fmla="*/ 0 w 11"/>
                <a:gd name="T1" fmla="*/ 2147483647 h 9"/>
                <a:gd name="T2" fmla="*/ 2147483647 w 11"/>
                <a:gd name="T3" fmla="*/ 0 h 9"/>
                <a:gd name="T4" fmla="*/ 2147483647 w 11"/>
                <a:gd name="T5" fmla="*/ 2147483647 h 9"/>
                <a:gd name="T6" fmla="*/ 0 w 11"/>
                <a:gd name="T7" fmla="*/ 2147483647 h 9"/>
                <a:gd name="T8" fmla="*/ 0 60000 65536"/>
                <a:gd name="T9" fmla="*/ 0 60000 65536"/>
                <a:gd name="T10" fmla="*/ 0 60000 65536"/>
                <a:gd name="T11" fmla="*/ 0 60000 65536"/>
                <a:gd name="T12" fmla="*/ 0 w 11"/>
                <a:gd name="T13" fmla="*/ 0 h 9"/>
                <a:gd name="T14" fmla="*/ 11 w 11"/>
                <a:gd name="T15" fmla="*/ 9 h 9"/>
              </a:gdLst>
              <a:ahLst/>
              <a:cxnLst>
                <a:cxn ang="T8">
                  <a:pos x="T0" y="T1"/>
                </a:cxn>
                <a:cxn ang="T9">
                  <a:pos x="T2" y="T3"/>
                </a:cxn>
                <a:cxn ang="T10">
                  <a:pos x="T4" y="T5"/>
                </a:cxn>
                <a:cxn ang="T11">
                  <a:pos x="T6" y="T7"/>
                </a:cxn>
              </a:cxnLst>
              <a:rect l="T12" t="T13" r="T14" b="T15"/>
              <a:pathLst>
                <a:path w="11" h="9">
                  <a:moveTo>
                    <a:pt x="0" y="9"/>
                  </a:moveTo>
                  <a:lnTo>
                    <a:pt x="9" y="0"/>
                  </a:lnTo>
                  <a:lnTo>
                    <a:pt x="11" y="8"/>
                  </a:lnTo>
                  <a:lnTo>
                    <a:pt x="0" y="9"/>
                  </a:lnTo>
                  <a:close/>
                </a:path>
              </a:pathLst>
            </a:custGeom>
            <a:grpFill/>
            <a:ln w="6350">
              <a:solidFill>
                <a:schemeClr val="tx2"/>
              </a:solidFill>
              <a:round/>
              <a:headEnd/>
              <a:tailEnd/>
            </a:ln>
          </p:spPr>
          <p:txBody>
            <a:bodyPr/>
            <a:lstStyle/>
            <a:p>
              <a:endParaRPr lang="en-US"/>
            </a:p>
          </p:txBody>
        </p:sp>
        <p:sp>
          <p:nvSpPr>
            <p:cNvPr id="37" name="Freeform 1085"/>
            <p:cNvSpPr>
              <a:spLocks/>
            </p:cNvSpPr>
            <p:nvPr/>
          </p:nvSpPr>
          <p:spPr bwMode="auto">
            <a:xfrm>
              <a:off x="2709794" y="6056516"/>
              <a:ext cx="4551" cy="4550"/>
            </a:xfrm>
            <a:custGeom>
              <a:avLst/>
              <a:gdLst>
                <a:gd name="T0" fmla="*/ 2147483647 w 11"/>
                <a:gd name="T1" fmla="*/ 2147483647 h 10"/>
                <a:gd name="T2" fmla="*/ 0 w 11"/>
                <a:gd name="T3" fmla="*/ 0 h 10"/>
                <a:gd name="T4" fmla="*/ 2147483647 w 11"/>
                <a:gd name="T5" fmla="*/ 2147483647 h 10"/>
                <a:gd name="T6" fmla="*/ 2147483647 w 11"/>
                <a:gd name="T7" fmla="*/ 2147483647 h 10"/>
                <a:gd name="T8" fmla="*/ 0 60000 65536"/>
                <a:gd name="T9" fmla="*/ 0 60000 65536"/>
                <a:gd name="T10" fmla="*/ 0 60000 65536"/>
                <a:gd name="T11" fmla="*/ 0 60000 65536"/>
                <a:gd name="T12" fmla="*/ 0 w 11"/>
                <a:gd name="T13" fmla="*/ 0 h 10"/>
                <a:gd name="T14" fmla="*/ 11 w 11"/>
                <a:gd name="T15" fmla="*/ 10 h 10"/>
              </a:gdLst>
              <a:ahLst/>
              <a:cxnLst>
                <a:cxn ang="T8">
                  <a:pos x="T0" y="T1"/>
                </a:cxn>
                <a:cxn ang="T9">
                  <a:pos x="T2" y="T3"/>
                </a:cxn>
                <a:cxn ang="T10">
                  <a:pos x="T4" y="T5"/>
                </a:cxn>
                <a:cxn ang="T11">
                  <a:pos x="T6" y="T7"/>
                </a:cxn>
              </a:cxnLst>
              <a:rect l="T12" t="T13" r="T14" b="T15"/>
              <a:pathLst>
                <a:path w="11" h="10">
                  <a:moveTo>
                    <a:pt x="11" y="10"/>
                  </a:moveTo>
                  <a:lnTo>
                    <a:pt x="0" y="0"/>
                  </a:lnTo>
                  <a:lnTo>
                    <a:pt x="11" y="1"/>
                  </a:lnTo>
                  <a:lnTo>
                    <a:pt x="11" y="10"/>
                  </a:lnTo>
                  <a:close/>
                </a:path>
              </a:pathLst>
            </a:custGeom>
            <a:grpFill/>
            <a:ln w="6350">
              <a:solidFill>
                <a:schemeClr val="tx2"/>
              </a:solidFill>
              <a:round/>
              <a:headEnd/>
              <a:tailEnd/>
            </a:ln>
          </p:spPr>
          <p:txBody>
            <a:bodyPr/>
            <a:lstStyle/>
            <a:p>
              <a:endParaRPr lang="en-US"/>
            </a:p>
          </p:txBody>
        </p:sp>
        <p:sp>
          <p:nvSpPr>
            <p:cNvPr id="38" name="Freeform 1086"/>
            <p:cNvSpPr>
              <a:spLocks/>
            </p:cNvSpPr>
            <p:nvPr/>
          </p:nvSpPr>
          <p:spPr bwMode="auto">
            <a:xfrm>
              <a:off x="2724966" y="6048930"/>
              <a:ext cx="15172" cy="6069"/>
            </a:xfrm>
            <a:custGeom>
              <a:avLst/>
              <a:gdLst>
                <a:gd name="T0" fmla="*/ 2147483647 w 31"/>
                <a:gd name="T1" fmla="*/ 2147483647 h 11"/>
                <a:gd name="T2" fmla="*/ 2147483647 w 31"/>
                <a:gd name="T3" fmla="*/ 2147483647 h 11"/>
                <a:gd name="T4" fmla="*/ 0 w 31"/>
                <a:gd name="T5" fmla="*/ 0 h 11"/>
                <a:gd name="T6" fmla="*/ 2147483647 w 31"/>
                <a:gd name="T7" fmla="*/ 2147483647 h 11"/>
                <a:gd name="T8" fmla="*/ 0 60000 65536"/>
                <a:gd name="T9" fmla="*/ 0 60000 65536"/>
                <a:gd name="T10" fmla="*/ 0 60000 65536"/>
                <a:gd name="T11" fmla="*/ 0 60000 65536"/>
                <a:gd name="T12" fmla="*/ 0 w 31"/>
                <a:gd name="T13" fmla="*/ 0 h 11"/>
                <a:gd name="T14" fmla="*/ 31 w 31"/>
                <a:gd name="T15" fmla="*/ 11 h 11"/>
              </a:gdLst>
              <a:ahLst/>
              <a:cxnLst>
                <a:cxn ang="T8">
                  <a:pos x="T0" y="T1"/>
                </a:cxn>
                <a:cxn ang="T9">
                  <a:pos x="T2" y="T3"/>
                </a:cxn>
                <a:cxn ang="T10">
                  <a:pos x="T4" y="T5"/>
                </a:cxn>
                <a:cxn ang="T11">
                  <a:pos x="T6" y="T7"/>
                </a:cxn>
              </a:cxnLst>
              <a:rect l="T12" t="T13" r="T14" b="T15"/>
              <a:pathLst>
                <a:path w="31" h="11">
                  <a:moveTo>
                    <a:pt x="31" y="5"/>
                  </a:moveTo>
                  <a:lnTo>
                    <a:pt x="3" y="11"/>
                  </a:lnTo>
                  <a:lnTo>
                    <a:pt x="0" y="0"/>
                  </a:lnTo>
                  <a:lnTo>
                    <a:pt x="31" y="5"/>
                  </a:lnTo>
                  <a:close/>
                </a:path>
              </a:pathLst>
            </a:custGeom>
            <a:grpFill/>
            <a:ln w="6350">
              <a:solidFill>
                <a:schemeClr val="tx2"/>
              </a:solidFill>
              <a:round/>
              <a:headEnd/>
              <a:tailEnd/>
            </a:ln>
          </p:spPr>
          <p:txBody>
            <a:bodyPr/>
            <a:lstStyle/>
            <a:p>
              <a:endParaRPr lang="en-US"/>
            </a:p>
          </p:txBody>
        </p:sp>
        <p:sp>
          <p:nvSpPr>
            <p:cNvPr id="39" name="Freeform 1151"/>
            <p:cNvSpPr>
              <a:spLocks/>
            </p:cNvSpPr>
            <p:nvPr/>
          </p:nvSpPr>
          <p:spPr bwMode="auto">
            <a:xfrm>
              <a:off x="2602079" y="5024878"/>
              <a:ext cx="179020" cy="983089"/>
            </a:xfrm>
            <a:custGeom>
              <a:avLst/>
              <a:gdLst>
                <a:gd name="T0" fmla="*/ 2147483647 w 364"/>
                <a:gd name="T1" fmla="*/ 2147483647 h 1980"/>
                <a:gd name="T2" fmla="*/ 2147483647 w 364"/>
                <a:gd name="T3" fmla="*/ 2147483647 h 1980"/>
                <a:gd name="T4" fmla="*/ 2147483647 w 364"/>
                <a:gd name="T5" fmla="*/ 2147483647 h 1980"/>
                <a:gd name="T6" fmla="*/ 2147483647 w 364"/>
                <a:gd name="T7" fmla="*/ 2147483647 h 1980"/>
                <a:gd name="T8" fmla="*/ 2147483647 w 364"/>
                <a:gd name="T9" fmla="*/ 2147483647 h 1980"/>
                <a:gd name="T10" fmla="*/ 2147483647 w 364"/>
                <a:gd name="T11" fmla="*/ 2147483647 h 1980"/>
                <a:gd name="T12" fmla="*/ 2147483647 w 364"/>
                <a:gd name="T13" fmla="*/ 2147483647 h 1980"/>
                <a:gd name="T14" fmla="*/ 2147483647 w 364"/>
                <a:gd name="T15" fmla="*/ 2147483647 h 1980"/>
                <a:gd name="T16" fmla="*/ 2147483647 w 364"/>
                <a:gd name="T17" fmla="*/ 2147483647 h 1980"/>
                <a:gd name="T18" fmla="*/ 2147483647 w 364"/>
                <a:gd name="T19" fmla="*/ 2147483647 h 1980"/>
                <a:gd name="T20" fmla="*/ 2147483647 w 364"/>
                <a:gd name="T21" fmla="*/ 2147483647 h 1980"/>
                <a:gd name="T22" fmla="*/ 2147483647 w 364"/>
                <a:gd name="T23" fmla="*/ 2147483647 h 1980"/>
                <a:gd name="T24" fmla="*/ 2147483647 w 364"/>
                <a:gd name="T25" fmla="*/ 2147483647 h 1980"/>
                <a:gd name="T26" fmla="*/ 2147483647 w 364"/>
                <a:gd name="T27" fmla="*/ 2147483647 h 1980"/>
                <a:gd name="T28" fmla="*/ 2147483647 w 364"/>
                <a:gd name="T29" fmla="*/ 2147483647 h 1980"/>
                <a:gd name="T30" fmla="*/ 2147483647 w 364"/>
                <a:gd name="T31" fmla="*/ 2147483647 h 1980"/>
                <a:gd name="T32" fmla="*/ 2147483647 w 364"/>
                <a:gd name="T33" fmla="*/ 2147483647 h 1980"/>
                <a:gd name="T34" fmla="*/ 2147483647 w 364"/>
                <a:gd name="T35" fmla="*/ 2147483647 h 1980"/>
                <a:gd name="T36" fmla="*/ 2147483647 w 364"/>
                <a:gd name="T37" fmla="*/ 2147483647 h 1980"/>
                <a:gd name="T38" fmla="*/ 2147483647 w 364"/>
                <a:gd name="T39" fmla="*/ 2147483647 h 1980"/>
                <a:gd name="T40" fmla="*/ 2147483647 w 364"/>
                <a:gd name="T41" fmla="*/ 2147483647 h 1980"/>
                <a:gd name="T42" fmla="*/ 2147483647 w 364"/>
                <a:gd name="T43" fmla="*/ 2147483647 h 1980"/>
                <a:gd name="T44" fmla="*/ 2147483647 w 364"/>
                <a:gd name="T45" fmla="*/ 2147483647 h 1980"/>
                <a:gd name="T46" fmla="*/ 2147483647 w 364"/>
                <a:gd name="T47" fmla="*/ 2147483647 h 1980"/>
                <a:gd name="T48" fmla="*/ 2147483647 w 364"/>
                <a:gd name="T49" fmla="*/ 2147483647 h 1980"/>
                <a:gd name="T50" fmla="*/ 2147483647 w 364"/>
                <a:gd name="T51" fmla="*/ 2147483647 h 1980"/>
                <a:gd name="T52" fmla="*/ 2147483647 w 364"/>
                <a:gd name="T53" fmla="*/ 2147483647 h 1980"/>
                <a:gd name="T54" fmla="*/ 2147483647 w 364"/>
                <a:gd name="T55" fmla="*/ 2147483647 h 1980"/>
                <a:gd name="T56" fmla="*/ 2147483647 w 364"/>
                <a:gd name="T57" fmla="*/ 2147483647 h 1980"/>
                <a:gd name="T58" fmla="*/ 2147483647 w 364"/>
                <a:gd name="T59" fmla="*/ 2147483647 h 1980"/>
                <a:gd name="T60" fmla="*/ 2147483647 w 364"/>
                <a:gd name="T61" fmla="*/ 2147483647 h 1980"/>
                <a:gd name="T62" fmla="*/ 2147483647 w 364"/>
                <a:gd name="T63" fmla="*/ 2147483647 h 1980"/>
                <a:gd name="T64" fmla="*/ 2147483647 w 364"/>
                <a:gd name="T65" fmla="*/ 2147483647 h 1980"/>
                <a:gd name="T66" fmla="*/ 2147483647 w 364"/>
                <a:gd name="T67" fmla="*/ 2147483647 h 1980"/>
                <a:gd name="T68" fmla="*/ 2147483647 w 364"/>
                <a:gd name="T69" fmla="*/ 2147483647 h 1980"/>
                <a:gd name="T70" fmla="*/ 2147483647 w 364"/>
                <a:gd name="T71" fmla="*/ 2147483647 h 1980"/>
                <a:gd name="T72" fmla="*/ 2147483647 w 364"/>
                <a:gd name="T73" fmla="*/ 2147483647 h 1980"/>
                <a:gd name="T74" fmla="*/ 0 w 364"/>
                <a:gd name="T75" fmla="*/ 2147483647 h 1980"/>
                <a:gd name="T76" fmla="*/ 2147483647 w 364"/>
                <a:gd name="T77" fmla="*/ 2147483647 h 1980"/>
                <a:gd name="T78" fmla="*/ 2147483647 w 364"/>
                <a:gd name="T79" fmla="*/ 2147483647 h 1980"/>
                <a:gd name="T80" fmla="*/ 2147483647 w 364"/>
                <a:gd name="T81" fmla="*/ 2147483647 h 1980"/>
                <a:gd name="T82" fmla="*/ 2147483647 w 364"/>
                <a:gd name="T83" fmla="*/ 2147483647 h 1980"/>
                <a:gd name="T84" fmla="*/ 2147483647 w 364"/>
                <a:gd name="T85" fmla="*/ 2147483647 h 1980"/>
                <a:gd name="T86" fmla="*/ 2147483647 w 364"/>
                <a:gd name="T87" fmla="*/ 2147483647 h 1980"/>
                <a:gd name="T88" fmla="*/ 2147483647 w 364"/>
                <a:gd name="T89" fmla="*/ 2147483647 h 1980"/>
                <a:gd name="T90" fmla="*/ 2147483647 w 364"/>
                <a:gd name="T91" fmla="*/ 2147483647 h 1980"/>
                <a:gd name="T92" fmla="*/ 2147483647 w 364"/>
                <a:gd name="T93" fmla="*/ 2147483647 h 1980"/>
                <a:gd name="T94" fmla="*/ 2147483647 w 364"/>
                <a:gd name="T95" fmla="*/ 2147483647 h 1980"/>
                <a:gd name="T96" fmla="*/ 2147483647 w 364"/>
                <a:gd name="T97" fmla="*/ 2147483647 h 1980"/>
                <a:gd name="T98" fmla="*/ 2147483647 w 364"/>
                <a:gd name="T99" fmla="*/ 2147483647 h 1980"/>
                <a:gd name="T100" fmla="*/ 2147483647 w 364"/>
                <a:gd name="T101" fmla="*/ 2147483647 h 1980"/>
                <a:gd name="T102" fmla="*/ 2147483647 w 364"/>
                <a:gd name="T103" fmla="*/ 2147483647 h 1980"/>
                <a:gd name="T104" fmla="*/ 2147483647 w 364"/>
                <a:gd name="T105" fmla="*/ 2147483647 h 1980"/>
                <a:gd name="T106" fmla="*/ 2147483647 w 364"/>
                <a:gd name="T107" fmla="*/ 2147483647 h 1980"/>
                <a:gd name="T108" fmla="*/ 2147483647 w 364"/>
                <a:gd name="T109" fmla="*/ 2147483647 h 1980"/>
                <a:gd name="T110" fmla="*/ 2147483647 w 364"/>
                <a:gd name="T111" fmla="*/ 2147483647 h 1980"/>
                <a:gd name="T112" fmla="*/ 2147483647 w 364"/>
                <a:gd name="T113" fmla="*/ 2147483647 h 1980"/>
                <a:gd name="T114" fmla="*/ 2147483647 w 364"/>
                <a:gd name="T115" fmla="*/ 2147483647 h 1980"/>
                <a:gd name="T116" fmla="*/ 2147483647 w 364"/>
                <a:gd name="T117" fmla="*/ 2147483647 h 1980"/>
                <a:gd name="T118" fmla="*/ 2147483647 w 364"/>
                <a:gd name="T119" fmla="*/ 2147483647 h 1980"/>
                <a:gd name="T120" fmla="*/ 2147483647 w 364"/>
                <a:gd name="T121" fmla="*/ 0 h 1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4"/>
                <a:gd name="T184" fmla="*/ 0 h 1980"/>
                <a:gd name="T185" fmla="*/ 364 w 364"/>
                <a:gd name="T186" fmla="*/ 1980 h 1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4" h="1980">
                  <a:moveTo>
                    <a:pt x="255" y="0"/>
                  </a:moveTo>
                  <a:lnTo>
                    <a:pt x="276" y="21"/>
                  </a:lnTo>
                  <a:lnTo>
                    <a:pt x="281" y="59"/>
                  </a:lnTo>
                  <a:lnTo>
                    <a:pt x="301" y="78"/>
                  </a:lnTo>
                  <a:lnTo>
                    <a:pt x="300" y="101"/>
                  </a:lnTo>
                  <a:lnTo>
                    <a:pt x="292" y="106"/>
                  </a:lnTo>
                  <a:lnTo>
                    <a:pt x="290" y="120"/>
                  </a:lnTo>
                  <a:lnTo>
                    <a:pt x="299" y="127"/>
                  </a:lnTo>
                  <a:lnTo>
                    <a:pt x="299" y="140"/>
                  </a:lnTo>
                  <a:lnTo>
                    <a:pt x="311" y="152"/>
                  </a:lnTo>
                  <a:lnTo>
                    <a:pt x="326" y="239"/>
                  </a:lnTo>
                  <a:lnTo>
                    <a:pt x="338" y="243"/>
                  </a:lnTo>
                  <a:lnTo>
                    <a:pt x="360" y="241"/>
                  </a:lnTo>
                  <a:lnTo>
                    <a:pt x="364" y="258"/>
                  </a:lnTo>
                  <a:lnTo>
                    <a:pt x="357" y="295"/>
                  </a:lnTo>
                  <a:lnTo>
                    <a:pt x="305" y="318"/>
                  </a:lnTo>
                  <a:lnTo>
                    <a:pt x="306" y="344"/>
                  </a:lnTo>
                  <a:lnTo>
                    <a:pt x="301" y="352"/>
                  </a:lnTo>
                  <a:lnTo>
                    <a:pt x="301" y="365"/>
                  </a:lnTo>
                  <a:lnTo>
                    <a:pt x="310" y="431"/>
                  </a:lnTo>
                  <a:lnTo>
                    <a:pt x="287" y="447"/>
                  </a:lnTo>
                  <a:lnTo>
                    <a:pt x="279" y="469"/>
                  </a:lnTo>
                  <a:lnTo>
                    <a:pt x="258" y="492"/>
                  </a:lnTo>
                  <a:lnTo>
                    <a:pt x="242" y="551"/>
                  </a:lnTo>
                  <a:lnTo>
                    <a:pt x="239" y="596"/>
                  </a:lnTo>
                  <a:lnTo>
                    <a:pt x="217" y="646"/>
                  </a:lnTo>
                  <a:lnTo>
                    <a:pt x="216" y="668"/>
                  </a:lnTo>
                  <a:lnTo>
                    <a:pt x="222" y="675"/>
                  </a:lnTo>
                  <a:lnTo>
                    <a:pt x="222" y="698"/>
                  </a:lnTo>
                  <a:lnTo>
                    <a:pt x="233" y="724"/>
                  </a:lnTo>
                  <a:lnTo>
                    <a:pt x="233" y="741"/>
                  </a:lnTo>
                  <a:lnTo>
                    <a:pt x="240" y="751"/>
                  </a:lnTo>
                  <a:lnTo>
                    <a:pt x="244" y="793"/>
                  </a:lnTo>
                  <a:lnTo>
                    <a:pt x="229" y="817"/>
                  </a:lnTo>
                  <a:lnTo>
                    <a:pt x="225" y="842"/>
                  </a:lnTo>
                  <a:lnTo>
                    <a:pt x="216" y="851"/>
                  </a:lnTo>
                  <a:lnTo>
                    <a:pt x="218" y="893"/>
                  </a:lnTo>
                  <a:lnTo>
                    <a:pt x="193" y="917"/>
                  </a:lnTo>
                  <a:lnTo>
                    <a:pt x="190" y="928"/>
                  </a:lnTo>
                  <a:lnTo>
                    <a:pt x="187" y="988"/>
                  </a:lnTo>
                  <a:lnTo>
                    <a:pt x="193" y="1029"/>
                  </a:lnTo>
                  <a:lnTo>
                    <a:pt x="179" y="1051"/>
                  </a:lnTo>
                  <a:lnTo>
                    <a:pt x="163" y="1111"/>
                  </a:lnTo>
                  <a:lnTo>
                    <a:pt x="155" y="1182"/>
                  </a:lnTo>
                  <a:lnTo>
                    <a:pt x="165" y="1204"/>
                  </a:lnTo>
                  <a:lnTo>
                    <a:pt x="165" y="1214"/>
                  </a:lnTo>
                  <a:lnTo>
                    <a:pt x="149" y="1251"/>
                  </a:lnTo>
                  <a:lnTo>
                    <a:pt x="149" y="1279"/>
                  </a:lnTo>
                  <a:lnTo>
                    <a:pt x="155" y="1286"/>
                  </a:lnTo>
                  <a:lnTo>
                    <a:pt x="155" y="1314"/>
                  </a:lnTo>
                  <a:lnTo>
                    <a:pt x="161" y="1334"/>
                  </a:lnTo>
                  <a:lnTo>
                    <a:pt x="159" y="1361"/>
                  </a:lnTo>
                  <a:lnTo>
                    <a:pt x="175" y="1365"/>
                  </a:lnTo>
                  <a:lnTo>
                    <a:pt x="181" y="1378"/>
                  </a:lnTo>
                  <a:lnTo>
                    <a:pt x="180" y="1384"/>
                  </a:lnTo>
                  <a:lnTo>
                    <a:pt x="155" y="1385"/>
                  </a:lnTo>
                  <a:lnTo>
                    <a:pt x="157" y="1393"/>
                  </a:lnTo>
                  <a:lnTo>
                    <a:pt x="176" y="1408"/>
                  </a:lnTo>
                  <a:lnTo>
                    <a:pt x="168" y="1430"/>
                  </a:lnTo>
                  <a:lnTo>
                    <a:pt x="167" y="1500"/>
                  </a:lnTo>
                  <a:lnTo>
                    <a:pt x="156" y="1532"/>
                  </a:lnTo>
                  <a:lnTo>
                    <a:pt x="136" y="1566"/>
                  </a:lnTo>
                  <a:lnTo>
                    <a:pt x="138" y="1608"/>
                  </a:lnTo>
                  <a:lnTo>
                    <a:pt x="129" y="1641"/>
                  </a:lnTo>
                  <a:lnTo>
                    <a:pt x="100" y="1688"/>
                  </a:lnTo>
                  <a:lnTo>
                    <a:pt x="94" y="1730"/>
                  </a:lnTo>
                  <a:lnTo>
                    <a:pt x="99" y="1773"/>
                  </a:lnTo>
                  <a:lnTo>
                    <a:pt x="113" y="1762"/>
                  </a:lnTo>
                  <a:lnTo>
                    <a:pt x="138" y="1763"/>
                  </a:lnTo>
                  <a:lnTo>
                    <a:pt x="140" y="1834"/>
                  </a:lnTo>
                  <a:lnTo>
                    <a:pt x="149" y="1852"/>
                  </a:lnTo>
                  <a:lnTo>
                    <a:pt x="249" y="1856"/>
                  </a:lnTo>
                  <a:lnTo>
                    <a:pt x="310" y="1874"/>
                  </a:lnTo>
                  <a:lnTo>
                    <a:pt x="305" y="1878"/>
                  </a:lnTo>
                  <a:lnTo>
                    <a:pt x="274" y="1876"/>
                  </a:lnTo>
                  <a:lnTo>
                    <a:pt x="261" y="1873"/>
                  </a:lnTo>
                  <a:lnTo>
                    <a:pt x="254" y="1882"/>
                  </a:lnTo>
                  <a:lnTo>
                    <a:pt x="204" y="1905"/>
                  </a:lnTo>
                  <a:lnTo>
                    <a:pt x="193" y="1980"/>
                  </a:lnTo>
                  <a:lnTo>
                    <a:pt x="168" y="1978"/>
                  </a:lnTo>
                  <a:lnTo>
                    <a:pt x="144" y="1962"/>
                  </a:lnTo>
                  <a:lnTo>
                    <a:pt x="141" y="1946"/>
                  </a:lnTo>
                  <a:lnTo>
                    <a:pt x="148" y="1943"/>
                  </a:lnTo>
                  <a:lnTo>
                    <a:pt x="149" y="1953"/>
                  </a:lnTo>
                  <a:lnTo>
                    <a:pt x="181" y="1933"/>
                  </a:lnTo>
                  <a:lnTo>
                    <a:pt x="192" y="1914"/>
                  </a:lnTo>
                  <a:lnTo>
                    <a:pt x="174" y="1893"/>
                  </a:lnTo>
                  <a:lnTo>
                    <a:pt x="149" y="1890"/>
                  </a:lnTo>
                  <a:lnTo>
                    <a:pt x="133" y="1899"/>
                  </a:lnTo>
                  <a:lnTo>
                    <a:pt x="132" y="1889"/>
                  </a:lnTo>
                  <a:lnTo>
                    <a:pt x="121" y="1891"/>
                  </a:lnTo>
                  <a:lnTo>
                    <a:pt x="135" y="1871"/>
                  </a:lnTo>
                  <a:lnTo>
                    <a:pt x="125" y="1852"/>
                  </a:lnTo>
                  <a:lnTo>
                    <a:pt x="132" y="1849"/>
                  </a:lnTo>
                  <a:lnTo>
                    <a:pt x="131" y="1838"/>
                  </a:lnTo>
                  <a:lnTo>
                    <a:pt x="125" y="1832"/>
                  </a:lnTo>
                  <a:lnTo>
                    <a:pt x="125" y="1838"/>
                  </a:lnTo>
                  <a:lnTo>
                    <a:pt x="107" y="1832"/>
                  </a:lnTo>
                  <a:lnTo>
                    <a:pt x="111" y="1843"/>
                  </a:lnTo>
                  <a:lnTo>
                    <a:pt x="104" y="1853"/>
                  </a:lnTo>
                  <a:lnTo>
                    <a:pt x="94" y="1824"/>
                  </a:lnTo>
                  <a:lnTo>
                    <a:pt x="98" y="1857"/>
                  </a:lnTo>
                  <a:lnTo>
                    <a:pt x="90" y="1854"/>
                  </a:lnTo>
                  <a:lnTo>
                    <a:pt x="89" y="1827"/>
                  </a:lnTo>
                  <a:lnTo>
                    <a:pt x="83" y="1811"/>
                  </a:lnTo>
                  <a:lnTo>
                    <a:pt x="64" y="1790"/>
                  </a:lnTo>
                  <a:lnTo>
                    <a:pt x="63" y="1776"/>
                  </a:lnTo>
                  <a:lnTo>
                    <a:pt x="80" y="1773"/>
                  </a:lnTo>
                  <a:lnTo>
                    <a:pt x="80" y="1764"/>
                  </a:lnTo>
                  <a:lnTo>
                    <a:pt x="65" y="1763"/>
                  </a:lnTo>
                  <a:lnTo>
                    <a:pt x="62" y="1754"/>
                  </a:lnTo>
                  <a:lnTo>
                    <a:pt x="72" y="1750"/>
                  </a:lnTo>
                  <a:lnTo>
                    <a:pt x="52" y="1740"/>
                  </a:lnTo>
                  <a:lnTo>
                    <a:pt x="43" y="1727"/>
                  </a:lnTo>
                  <a:lnTo>
                    <a:pt x="54" y="1716"/>
                  </a:lnTo>
                  <a:lnTo>
                    <a:pt x="57" y="1696"/>
                  </a:lnTo>
                  <a:lnTo>
                    <a:pt x="77" y="1690"/>
                  </a:lnTo>
                  <a:lnTo>
                    <a:pt x="71" y="1679"/>
                  </a:lnTo>
                  <a:lnTo>
                    <a:pt x="77" y="1658"/>
                  </a:lnTo>
                  <a:lnTo>
                    <a:pt x="66" y="1665"/>
                  </a:lnTo>
                  <a:lnTo>
                    <a:pt x="61" y="1679"/>
                  </a:lnTo>
                  <a:lnTo>
                    <a:pt x="57" y="1677"/>
                  </a:lnTo>
                  <a:lnTo>
                    <a:pt x="54" y="1637"/>
                  </a:lnTo>
                  <a:lnTo>
                    <a:pt x="60" y="1633"/>
                  </a:lnTo>
                  <a:lnTo>
                    <a:pt x="55" y="1627"/>
                  </a:lnTo>
                  <a:lnTo>
                    <a:pt x="57" y="1618"/>
                  </a:lnTo>
                  <a:lnTo>
                    <a:pt x="78" y="1624"/>
                  </a:lnTo>
                  <a:lnTo>
                    <a:pt x="74" y="1608"/>
                  </a:lnTo>
                  <a:lnTo>
                    <a:pt x="51" y="1612"/>
                  </a:lnTo>
                  <a:lnTo>
                    <a:pt x="46" y="1583"/>
                  </a:lnTo>
                  <a:lnTo>
                    <a:pt x="52" y="1585"/>
                  </a:lnTo>
                  <a:lnTo>
                    <a:pt x="59" y="1600"/>
                  </a:lnTo>
                  <a:lnTo>
                    <a:pt x="61" y="1586"/>
                  </a:lnTo>
                  <a:lnTo>
                    <a:pt x="86" y="1592"/>
                  </a:lnTo>
                  <a:lnTo>
                    <a:pt x="80" y="1573"/>
                  </a:lnTo>
                  <a:lnTo>
                    <a:pt x="76" y="1567"/>
                  </a:lnTo>
                  <a:lnTo>
                    <a:pt x="64" y="1571"/>
                  </a:lnTo>
                  <a:lnTo>
                    <a:pt x="60" y="1563"/>
                  </a:lnTo>
                  <a:lnTo>
                    <a:pt x="66" y="1559"/>
                  </a:lnTo>
                  <a:lnTo>
                    <a:pt x="47" y="1549"/>
                  </a:lnTo>
                  <a:lnTo>
                    <a:pt x="66" y="1534"/>
                  </a:lnTo>
                  <a:lnTo>
                    <a:pt x="60" y="1528"/>
                  </a:lnTo>
                  <a:lnTo>
                    <a:pt x="68" y="1521"/>
                  </a:lnTo>
                  <a:lnTo>
                    <a:pt x="57" y="1507"/>
                  </a:lnTo>
                  <a:lnTo>
                    <a:pt x="46" y="1504"/>
                  </a:lnTo>
                  <a:lnTo>
                    <a:pt x="38" y="1511"/>
                  </a:lnTo>
                  <a:lnTo>
                    <a:pt x="18" y="1496"/>
                  </a:lnTo>
                  <a:lnTo>
                    <a:pt x="7" y="1503"/>
                  </a:lnTo>
                  <a:lnTo>
                    <a:pt x="12" y="1512"/>
                  </a:lnTo>
                  <a:lnTo>
                    <a:pt x="10" y="1520"/>
                  </a:lnTo>
                  <a:lnTo>
                    <a:pt x="1" y="1518"/>
                  </a:lnTo>
                  <a:lnTo>
                    <a:pt x="0" y="1511"/>
                  </a:lnTo>
                  <a:lnTo>
                    <a:pt x="3" y="1494"/>
                  </a:lnTo>
                  <a:lnTo>
                    <a:pt x="35" y="1471"/>
                  </a:lnTo>
                  <a:lnTo>
                    <a:pt x="35" y="1465"/>
                  </a:lnTo>
                  <a:lnTo>
                    <a:pt x="26" y="1463"/>
                  </a:lnTo>
                  <a:lnTo>
                    <a:pt x="23" y="1453"/>
                  </a:lnTo>
                  <a:lnTo>
                    <a:pt x="57" y="1454"/>
                  </a:lnTo>
                  <a:lnTo>
                    <a:pt x="64" y="1468"/>
                  </a:lnTo>
                  <a:lnTo>
                    <a:pt x="58" y="1480"/>
                  </a:lnTo>
                  <a:lnTo>
                    <a:pt x="67" y="1487"/>
                  </a:lnTo>
                  <a:lnTo>
                    <a:pt x="76" y="1475"/>
                  </a:lnTo>
                  <a:lnTo>
                    <a:pt x="75" y="1492"/>
                  </a:lnTo>
                  <a:lnTo>
                    <a:pt x="93" y="1475"/>
                  </a:lnTo>
                  <a:lnTo>
                    <a:pt x="85" y="1471"/>
                  </a:lnTo>
                  <a:lnTo>
                    <a:pt x="87" y="1452"/>
                  </a:lnTo>
                  <a:lnTo>
                    <a:pt x="100" y="1446"/>
                  </a:lnTo>
                  <a:lnTo>
                    <a:pt x="94" y="1441"/>
                  </a:lnTo>
                  <a:lnTo>
                    <a:pt x="103" y="1431"/>
                  </a:lnTo>
                  <a:lnTo>
                    <a:pt x="88" y="1436"/>
                  </a:lnTo>
                  <a:lnTo>
                    <a:pt x="89" y="1428"/>
                  </a:lnTo>
                  <a:lnTo>
                    <a:pt x="99" y="1419"/>
                  </a:lnTo>
                  <a:lnTo>
                    <a:pt x="106" y="1424"/>
                  </a:lnTo>
                  <a:lnTo>
                    <a:pt x="113" y="1429"/>
                  </a:lnTo>
                  <a:lnTo>
                    <a:pt x="118" y="1428"/>
                  </a:lnTo>
                  <a:lnTo>
                    <a:pt x="117" y="1422"/>
                  </a:lnTo>
                  <a:lnTo>
                    <a:pt x="94" y="1415"/>
                  </a:lnTo>
                  <a:lnTo>
                    <a:pt x="96" y="1400"/>
                  </a:lnTo>
                  <a:lnTo>
                    <a:pt x="114" y="1397"/>
                  </a:lnTo>
                  <a:lnTo>
                    <a:pt x="123" y="1384"/>
                  </a:lnTo>
                  <a:lnTo>
                    <a:pt x="121" y="1364"/>
                  </a:lnTo>
                  <a:lnTo>
                    <a:pt x="100" y="1347"/>
                  </a:lnTo>
                  <a:lnTo>
                    <a:pt x="115" y="1324"/>
                  </a:lnTo>
                  <a:lnTo>
                    <a:pt x="109" y="1306"/>
                  </a:lnTo>
                  <a:lnTo>
                    <a:pt x="121" y="1279"/>
                  </a:lnTo>
                  <a:lnTo>
                    <a:pt x="118" y="1262"/>
                  </a:lnTo>
                  <a:lnTo>
                    <a:pt x="124" y="1254"/>
                  </a:lnTo>
                  <a:lnTo>
                    <a:pt x="130" y="1255"/>
                  </a:lnTo>
                  <a:lnTo>
                    <a:pt x="122" y="1243"/>
                  </a:lnTo>
                  <a:lnTo>
                    <a:pt x="125" y="1236"/>
                  </a:lnTo>
                  <a:lnTo>
                    <a:pt x="131" y="1237"/>
                  </a:lnTo>
                  <a:lnTo>
                    <a:pt x="136" y="1248"/>
                  </a:lnTo>
                  <a:lnTo>
                    <a:pt x="133" y="1223"/>
                  </a:lnTo>
                  <a:lnTo>
                    <a:pt x="120" y="1220"/>
                  </a:lnTo>
                  <a:lnTo>
                    <a:pt x="122" y="1213"/>
                  </a:lnTo>
                  <a:lnTo>
                    <a:pt x="140" y="1200"/>
                  </a:lnTo>
                  <a:lnTo>
                    <a:pt x="128" y="1203"/>
                  </a:lnTo>
                  <a:lnTo>
                    <a:pt x="111" y="1194"/>
                  </a:lnTo>
                  <a:lnTo>
                    <a:pt x="102" y="1206"/>
                  </a:lnTo>
                  <a:lnTo>
                    <a:pt x="92" y="1209"/>
                  </a:lnTo>
                  <a:lnTo>
                    <a:pt x="81" y="1204"/>
                  </a:lnTo>
                  <a:lnTo>
                    <a:pt x="74" y="1187"/>
                  </a:lnTo>
                  <a:lnTo>
                    <a:pt x="80" y="1102"/>
                  </a:lnTo>
                  <a:lnTo>
                    <a:pt x="88" y="1098"/>
                  </a:lnTo>
                  <a:lnTo>
                    <a:pt x="96" y="1080"/>
                  </a:lnTo>
                  <a:lnTo>
                    <a:pt x="94" y="1057"/>
                  </a:lnTo>
                  <a:lnTo>
                    <a:pt x="85" y="1028"/>
                  </a:lnTo>
                  <a:lnTo>
                    <a:pt x="88" y="1007"/>
                  </a:lnTo>
                  <a:lnTo>
                    <a:pt x="82" y="987"/>
                  </a:lnTo>
                  <a:lnTo>
                    <a:pt x="83" y="958"/>
                  </a:lnTo>
                  <a:lnTo>
                    <a:pt x="89" y="951"/>
                  </a:lnTo>
                  <a:lnTo>
                    <a:pt x="102" y="951"/>
                  </a:lnTo>
                  <a:lnTo>
                    <a:pt x="101" y="925"/>
                  </a:lnTo>
                  <a:lnTo>
                    <a:pt x="111" y="924"/>
                  </a:lnTo>
                  <a:lnTo>
                    <a:pt x="130" y="865"/>
                  </a:lnTo>
                  <a:lnTo>
                    <a:pt x="143" y="843"/>
                  </a:lnTo>
                  <a:lnTo>
                    <a:pt x="160" y="779"/>
                  </a:lnTo>
                  <a:lnTo>
                    <a:pt x="165" y="772"/>
                  </a:lnTo>
                  <a:lnTo>
                    <a:pt x="165" y="743"/>
                  </a:lnTo>
                  <a:lnTo>
                    <a:pt x="173" y="727"/>
                  </a:lnTo>
                  <a:lnTo>
                    <a:pt x="173" y="707"/>
                  </a:lnTo>
                  <a:lnTo>
                    <a:pt x="164" y="617"/>
                  </a:lnTo>
                  <a:lnTo>
                    <a:pt x="166" y="597"/>
                  </a:lnTo>
                  <a:lnTo>
                    <a:pt x="175" y="592"/>
                  </a:lnTo>
                  <a:lnTo>
                    <a:pt x="179" y="577"/>
                  </a:lnTo>
                  <a:lnTo>
                    <a:pt x="170" y="543"/>
                  </a:lnTo>
                  <a:lnTo>
                    <a:pt x="173" y="531"/>
                  </a:lnTo>
                  <a:lnTo>
                    <a:pt x="181" y="520"/>
                  </a:lnTo>
                  <a:lnTo>
                    <a:pt x="190" y="474"/>
                  </a:lnTo>
                  <a:lnTo>
                    <a:pt x="196" y="462"/>
                  </a:lnTo>
                  <a:lnTo>
                    <a:pt x="196" y="446"/>
                  </a:lnTo>
                  <a:lnTo>
                    <a:pt x="206" y="429"/>
                  </a:lnTo>
                  <a:lnTo>
                    <a:pt x="206" y="378"/>
                  </a:lnTo>
                  <a:lnTo>
                    <a:pt x="216" y="354"/>
                  </a:lnTo>
                  <a:lnTo>
                    <a:pt x="217" y="273"/>
                  </a:lnTo>
                  <a:lnTo>
                    <a:pt x="213" y="262"/>
                  </a:lnTo>
                  <a:lnTo>
                    <a:pt x="225" y="242"/>
                  </a:lnTo>
                  <a:lnTo>
                    <a:pt x="232" y="181"/>
                  </a:lnTo>
                  <a:lnTo>
                    <a:pt x="227" y="152"/>
                  </a:lnTo>
                  <a:lnTo>
                    <a:pt x="229" y="110"/>
                  </a:lnTo>
                  <a:lnTo>
                    <a:pt x="215" y="29"/>
                  </a:lnTo>
                  <a:lnTo>
                    <a:pt x="225" y="22"/>
                  </a:lnTo>
                  <a:lnTo>
                    <a:pt x="244" y="20"/>
                  </a:lnTo>
                  <a:lnTo>
                    <a:pt x="255" y="0"/>
                  </a:lnTo>
                  <a:close/>
                </a:path>
              </a:pathLst>
            </a:custGeom>
            <a:grpFill/>
            <a:ln w="6350">
              <a:solidFill>
                <a:schemeClr val="tx2"/>
              </a:solidFill>
              <a:round/>
              <a:headEnd/>
              <a:tailEnd/>
            </a:ln>
          </p:spPr>
          <p:txBody>
            <a:bodyPr/>
            <a:lstStyle/>
            <a:p>
              <a:endParaRPr lang="en-US"/>
            </a:p>
          </p:txBody>
        </p:sp>
        <p:sp>
          <p:nvSpPr>
            <p:cNvPr id="40" name="Freeform 1152"/>
            <p:cNvSpPr>
              <a:spLocks/>
            </p:cNvSpPr>
            <p:nvPr/>
          </p:nvSpPr>
          <p:spPr bwMode="auto">
            <a:xfrm>
              <a:off x="2690072" y="5959420"/>
              <a:ext cx="60685" cy="92543"/>
            </a:xfrm>
            <a:custGeom>
              <a:avLst/>
              <a:gdLst>
                <a:gd name="T0" fmla="*/ 2147483647 w 121"/>
                <a:gd name="T1" fmla="*/ 2147483647 h 185"/>
                <a:gd name="T2" fmla="*/ 2147483647 w 121"/>
                <a:gd name="T3" fmla="*/ 2147483647 h 185"/>
                <a:gd name="T4" fmla="*/ 2147483647 w 121"/>
                <a:gd name="T5" fmla="*/ 2147483647 h 185"/>
                <a:gd name="T6" fmla="*/ 2147483647 w 121"/>
                <a:gd name="T7" fmla="*/ 2147483647 h 185"/>
                <a:gd name="T8" fmla="*/ 2147483647 w 121"/>
                <a:gd name="T9" fmla="*/ 2147483647 h 185"/>
                <a:gd name="T10" fmla="*/ 2147483647 w 121"/>
                <a:gd name="T11" fmla="*/ 2147483647 h 185"/>
                <a:gd name="T12" fmla="*/ 2147483647 w 121"/>
                <a:gd name="T13" fmla="*/ 2147483647 h 185"/>
                <a:gd name="T14" fmla="*/ 0 w 121"/>
                <a:gd name="T15" fmla="*/ 2147483647 h 185"/>
                <a:gd name="T16" fmla="*/ 2147483647 w 121"/>
                <a:gd name="T17" fmla="*/ 2147483647 h 185"/>
                <a:gd name="T18" fmla="*/ 2147483647 w 121"/>
                <a:gd name="T19" fmla="*/ 2147483647 h 185"/>
                <a:gd name="T20" fmla="*/ 2147483647 w 121"/>
                <a:gd name="T21" fmla="*/ 2147483647 h 185"/>
                <a:gd name="T22" fmla="*/ 2147483647 w 121"/>
                <a:gd name="T23" fmla="*/ 2147483647 h 185"/>
                <a:gd name="T24" fmla="*/ 2147483647 w 121"/>
                <a:gd name="T25" fmla="*/ 2147483647 h 185"/>
                <a:gd name="T26" fmla="*/ 2147483647 w 121"/>
                <a:gd name="T27" fmla="*/ 2147483647 h 185"/>
                <a:gd name="T28" fmla="*/ 2147483647 w 121"/>
                <a:gd name="T29" fmla="*/ 2147483647 h 185"/>
                <a:gd name="T30" fmla="*/ 2147483647 w 121"/>
                <a:gd name="T31" fmla="*/ 2147483647 h 185"/>
                <a:gd name="T32" fmla="*/ 2147483647 w 121"/>
                <a:gd name="T33" fmla="*/ 2147483647 h 185"/>
                <a:gd name="T34" fmla="*/ 2147483647 w 121"/>
                <a:gd name="T35" fmla="*/ 2147483647 h 185"/>
                <a:gd name="T36" fmla="*/ 2147483647 w 121"/>
                <a:gd name="T37" fmla="*/ 2147483647 h 185"/>
                <a:gd name="T38" fmla="*/ 2147483647 w 121"/>
                <a:gd name="T39" fmla="*/ 2147483647 h 185"/>
                <a:gd name="T40" fmla="*/ 2147483647 w 121"/>
                <a:gd name="T41" fmla="*/ 2147483647 h 185"/>
                <a:gd name="T42" fmla="*/ 2147483647 w 121"/>
                <a:gd name="T43" fmla="*/ 2147483647 h 185"/>
                <a:gd name="T44" fmla="*/ 2147483647 w 121"/>
                <a:gd name="T45" fmla="*/ 2147483647 h 185"/>
                <a:gd name="T46" fmla="*/ 2147483647 w 121"/>
                <a:gd name="T47" fmla="*/ 2147483647 h 185"/>
                <a:gd name="T48" fmla="*/ 2147483647 w 121"/>
                <a:gd name="T49" fmla="*/ 2147483647 h 185"/>
                <a:gd name="T50" fmla="*/ 2147483647 w 121"/>
                <a:gd name="T51" fmla="*/ 2147483647 h 185"/>
                <a:gd name="T52" fmla="*/ 2147483647 w 121"/>
                <a:gd name="T53" fmla="*/ 2147483647 h 185"/>
                <a:gd name="T54" fmla="*/ 2147483647 w 121"/>
                <a:gd name="T55" fmla="*/ 2147483647 h 185"/>
                <a:gd name="T56" fmla="*/ 2147483647 w 121"/>
                <a:gd name="T57" fmla="*/ 2147483647 h 185"/>
                <a:gd name="T58" fmla="*/ 2147483647 w 121"/>
                <a:gd name="T59" fmla="*/ 2147483647 h 185"/>
                <a:gd name="T60" fmla="*/ 2147483647 w 121"/>
                <a:gd name="T61" fmla="*/ 2147483647 h 185"/>
                <a:gd name="T62" fmla="*/ 2147483647 w 121"/>
                <a:gd name="T63" fmla="*/ 2147483647 h 185"/>
                <a:gd name="T64" fmla="*/ 2147483647 w 121"/>
                <a:gd name="T65" fmla="*/ 0 h 185"/>
                <a:gd name="T66" fmla="*/ 2147483647 w 121"/>
                <a:gd name="T67" fmla="*/ 2147483647 h 185"/>
                <a:gd name="T68" fmla="*/ 2147483647 w 121"/>
                <a:gd name="T69" fmla="*/ 2147483647 h 185"/>
                <a:gd name="T70" fmla="*/ 2147483647 w 121"/>
                <a:gd name="T71" fmla="*/ 2147483647 h 185"/>
                <a:gd name="T72" fmla="*/ 2147483647 w 121"/>
                <a:gd name="T73" fmla="*/ 2147483647 h 18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1"/>
                <a:gd name="T112" fmla="*/ 0 h 185"/>
                <a:gd name="T113" fmla="*/ 121 w 121"/>
                <a:gd name="T114" fmla="*/ 185 h 18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1" h="185">
                  <a:moveTo>
                    <a:pt x="121" y="178"/>
                  </a:moveTo>
                  <a:lnTo>
                    <a:pt x="102" y="185"/>
                  </a:lnTo>
                  <a:lnTo>
                    <a:pt x="78" y="175"/>
                  </a:lnTo>
                  <a:lnTo>
                    <a:pt x="21" y="172"/>
                  </a:lnTo>
                  <a:lnTo>
                    <a:pt x="18" y="168"/>
                  </a:lnTo>
                  <a:lnTo>
                    <a:pt x="25" y="162"/>
                  </a:lnTo>
                  <a:lnTo>
                    <a:pt x="3" y="162"/>
                  </a:lnTo>
                  <a:lnTo>
                    <a:pt x="0" y="149"/>
                  </a:lnTo>
                  <a:lnTo>
                    <a:pt x="29" y="137"/>
                  </a:lnTo>
                  <a:lnTo>
                    <a:pt x="18" y="118"/>
                  </a:lnTo>
                  <a:lnTo>
                    <a:pt x="51" y="144"/>
                  </a:lnTo>
                  <a:lnTo>
                    <a:pt x="58" y="139"/>
                  </a:lnTo>
                  <a:lnTo>
                    <a:pt x="50" y="134"/>
                  </a:lnTo>
                  <a:lnTo>
                    <a:pt x="54" y="129"/>
                  </a:lnTo>
                  <a:lnTo>
                    <a:pt x="64" y="139"/>
                  </a:lnTo>
                  <a:lnTo>
                    <a:pt x="65" y="131"/>
                  </a:lnTo>
                  <a:lnTo>
                    <a:pt x="78" y="141"/>
                  </a:lnTo>
                  <a:lnTo>
                    <a:pt x="87" y="137"/>
                  </a:lnTo>
                  <a:lnTo>
                    <a:pt x="59" y="122"/>
                  </a:lnTo>
                  <a:lnTo>
                    <a:pt x="53" y="95"/>
                  </a:lnTo>
                  <a:lnTo>
                    <a:pt x="86" y="78"/>
                  </a:lnTo>
                  <a:lnTo>
                    <a:pt x="88" y="69"/>
                  </a:lnTo>
                  <a:lnTo>
                    <a:pt x="78" y="62"/>
                  </a:lnTo>
                  <a:lnTo>
                    <a:pt x="52" y="70"/>
                  </a:lnTo>
                  <a:lnTo>
                    <a:pt x="41" y="63"/>
                  </a:lnTo>
                  <a:lnTo>
                    <a:pt x="40" y="39"/>
                  </a:lnTo>
                  <a:lnTo>
                    <a:pt x="52" y="40"/>
                  </a:lnTo>
                  <a:lnTo>
                    <a:pt x="54" y="34"/>
                  </a:lnTo>
                  <a:lnTo>
                    <a:pt x="49" y="26"/>
                  </a:lnTo>
                  <a:lnTo>
                    <a:pt x="41" y="21"/>
                  </a:lnTo>
                  <a:lnTo>
                    <a:pt x="70" y="20"/>
                  </a:lnTo>
                  <a:lnTo>
                    <a:pt x="75" y="4"/>
                  </a:lnTo>
                  <a:lnTo>
                    <a:pt x="85" y="0"/>
                  </a:lnTo>
                  <a:lnTo>
                    <a:pt x="91" y="12"/>
                  </a:lnTo>
                  <a:lnTo>
                    <a:pt x="114" y="6"/>
                  </a:lnTo>
                  <a:lnTo>
                    <a:pt x="118" y="15"/>
                  </a:lnTo>
                  <a:lnTo>
                    <a:pt x="121" y="178"/>
                  </a:lnTo>
                  <a:close/>
                </a:path>
              </a:pathLst>
            </a:custGeom>
            <a:grpFill/>
            <a:ln w="6350">
              <a:solidFill>
                <a:schemeClr val="tx2"/>
              </a:solidFill>
              <a:round/>
              <a:headEnd/>
              <a:tailEnd/>
            </a:ln>
          </p:spPr>
          <p:txBody>
            <a:bodyPr/>
            <a:lstStyle/>
            <a:p>
              <a:endParaRPr lang="en-US"/>
            </a:p>
          </p:txBody>
        </p:sp>
        <p:sp>
          <p:nvSpPr>
            <p:cNvPr id="41" name="Freeform 1220"/>
            <p:cNvSpPr>
              <a:spLocks/>
            </p:cNvSpPr>
            <p:nvPr/>
          </p:nvSpPr>
          <p:spPr bwMode="auto">
            <a:xfrm>
              <a:off x="2627870" y="5622622"/>
              <a:ext cx="21239" cy="50064"/>
            </a:xfrm>
            <a:custGeom>
              <a:avLst/>
              <a:gdLst>
                <a:gd name="T0" fmla="*/ 2147483647 w 44"/>
                <a:gd name="T1" fmla="*/ 0 h 98"/>
                <a:gd name="T2" fmla="*/ 2147483647 w 44"/>
                <a:gd name="T3" fmla="*/ 2147483647 h 98"/>
                <a:gd name="T4" fmla="*/ 2147483647 w 44"/>
                <a:gd name="T5" fmla="*/ 2147483647 h 98"/>
                <a:gd name="T6" fmla="*/ 2147483647 w 44"/>
                <a:gd name="T7" fmla="*/ 2147483647 h 98"/>
                <a:gd name="T8" fmla="*/ 2147483647 w 44"/>
                <a:gd name="T9" fmla="*/ 2147483647 h 98"/>
                <a:gd name="T10" fmla="*/ 2147483647 w 44"/>
                <a:gd name="T11" fmla="*/ 2147483647 h 98"/>
                <a:gd name="T12" fmla="*/ 2147483647 w 44"/>
                <a:gd name="T13" fmla="*/ 2147483647 h 98"/>
                <a:gd name="T14" fmla="*/ 2147483647 w 44"/>
                <a:gd name="T15" fmla="*/ 2147483647 h 98"/>
                <a:gd name="T16" fmla="*/ 2147483647 w 44"/>
                <a:gd name="T17" fmla="*/ 2147483647 h 98"/>
                <a:gd name="T18" fmla="*/ 2147483647 w 44"/>
                <a:gd name="T19" fmla="*/ 2147483647 h 98"/>
                <a:gd name="T20" fmla="*/ 2147483647 w 44"/>
                <a:gd name="T21" fmla="*/ 2147483647 h 98"/>
                <a:gd name="T22" fmla="*/ 0 w 44"/>
                <a:gd name="T23" fmla="*/ 2147483647 h 98"/>
                <a:gd name="T24" fmla="*/ 2147483647 w 44"/>
                <a:gd name="T25" fmla="*/ 2147483647 h 98"/>
                <a:gd name="T26" fmla="*/ 2147483647 w 44"/>
                <a:gd name="T27" fmla="*/ 2147483647 h 98"/>
                <a:gd name="T28" fmla="*/ 2147483647 w 44"/>
                <a:gd name="T29" fmla="*/ 0 h 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
                <a:gd name="T46" fmla="*/ 0 h 98"/>
                <a:gd name="T47" fmla="*/ 44 w 44"/>
                <a:gd name="T48" fmla="*/ 98 h 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 h="98">
                  <a:moveTo>
                    <a:pt x="23" y="0"/>
                  </a:moveTo>
                  <a:lnTo>
                    <a:pt x="26" y="7"/>
                  </a:lnTo>
                  <a:lnTo>
                    <a:pt x="35" y="8"/>
                  </a:lnTo>
                  <a:lnTo>
                    <a:pt x="44" y="37"/>
                  </a:lnTo>
                  <a:lnTo>
                    <a:pt x="29" y="49"/>
                  </a:lnTo>
                  <a:lnTo>
                    <a:pt x="37" y="64"/>
                  </a:lnTo>
                  <a:lnTo>
                    <a:pt x="30" y="65"/>
                  </a:lnTo>
                  <a:lnTo>
                    <a:pt x="36" y="85"/>
                  </a:lnTo>
                  <a:lnTo>
                    <a:pt x="29" y="84"/>
                  </a:lnTo>
                  <a:lnTo>
                    <a:pt x="27" y="98"/>
                  </a:lnTo>
                  <a:lnTo>
                    <a:pt x="5" y="93"/>
                  </a:lnTo>
                  <a:lnTo>
                    <a:pt x="0" y="83"/>
                  </a:lnTo>
                  <a:lnTo>
                    <a:pt x="9" y="56"/>
                  </a:lnTo>
                  <a:lnTo>
                    <a:pt x="13" y="12"/>
                  </a:lnTo>
                  <a:lnTo>
                    <a:pt x="23" y="0"/>
                  </a:lnTo>
                  <a:close/>
                </a:path>
              </a:pathLst>
            </a:custGeom>
            <a:grpFill/>
            <a:ln w="6350">
              <a:solidFill>
                <a:schemeClr val="tx2"/>
              </a:solidFill>
              <a:round/>
              <a:headEnd/>
              <a:tailEnd/>
            </a:ln>
          </p:spPr>
          <p:txBody>
            <a:bodyPr/>
            <a:lstStyle/>
            <a:p>
              <a:endParaRPr lang="en-US"/>
            </a:p>
          </p:txBody>
        </p:sp>
        <p:sp>
          <p:nvSpPr>
            <p:cNvPr id="42" name="Freeform 1221"/>
            <p:cNvSpPr>
              <a:spLocks/>
            </p:cNvSpPr>
            <p:nvPr/>
          </p:nvSpPr>
          <p:spPr bwMode="auto">
            <a:xfrm>
              <a:off x="2647593" y="5699993"/>
              <a:ext cx="15172" cy="16689"/>
            </a:xfrm>
            <a:custGeom>
              <a:avLst/>
              <a:gdLst>
                <a:gd name="T0" fmla="*/ 2147483647 w 29"/>
                <a:gd name="T1" fmla="*/ 0 h 32"/>
                <a:gd name="T2" fmla="*/ 2147483647 w 29"/>
                <a:gd name="T3" fmla="*/ 2147483647 h 32"/>
                <a:gd name="T4" fmla="*/ 2147483647 w 29"/>
                <a:gd name="T5" fmla="*/ 2147483647 h 32"/>
                <a:gd name="T6" fmla="*/ 2147483647 w 29"/>
                <a:gd name="T7" fmla="*/ 2147483647 h 32"/>
                <a:gd name="T8" fmla="*/ 0 w 29"/>
                <a:gd name="T9" fmla="*/ 2147483647 h 32"/>
                <a:gd name="T10" fmla="*/ 2147483647 w 29"/>
                <a:gd name="T11" fmla="*/ 0 h 32"/>
                <a:gd name="T12" fmla="*/ 0 60000 65536"/>
                <a:gd name="T13" fmla="*/ 0 60000 65536"/>
                <a:gd name="T14" fmla="*/ 0 60000 65536"/>
                <a:gd name="T15" fmla="*/ 0 60000 65536"/>
                <a:gd name="T16" fmla="*/ 0 60000 65536"/>
                <a:gd name="T17" fmla="*/ 0 60000 65536"/>
                <a:gd name="T18" fmla="*/ 0 w 29"/>
                <a:gd name="T19" fmla="*/ 0 h 32"/>
                <a:gd name="T20" fmla="*/ 29 w 29"/>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9" h="32">
                  <a:moveTo>
                    <a:pt x="19" y="0"/>
                  </a:moveTo>
                  <a:lnTo>
                    <a:pt x="29" y="10"/>
                  </a:lnTo>
                  <a:lnTo>
                    <a:pt x="27" y="26"/>
                  </a:lnTo>
                  <a:lnTo>
                    <a:pt x="8" y="32"/>
                  </a:lnTo>
                  <a:lnTo>
                    <a:pt x="0" y="13"/>
                  </a:lnTo>
                  <a:lnTo>
                    <a:pt x="19" y="0"/>
                  </a:lnTo>
                  <a:close/>
                </a:path>
              </a:pathLst>
            </a:custGeom>
            <a:grpFill/>
            <a:ln w="6350">
              <a:solidFill>
                <a:schemeClr val="tx2"/>
              </a:solidFill>
              <a:round/>
              <a:headEnd/>
              <a:tailEnd/>
            </a:ln>
          </p:spPr>
          <p:txBody>
            <a:bodyPr/>
            <a:lstStyle/>
            <a:p>
              <a:endParaRPr lang="en-US"/>
            </a:p>
          </p:txBody>
        </p:sp>
        <p:sp>
          <p:nvSpPr>
            <p:cNvPr id="43" name="Freeform 1222"/>
            <p:cNvSpPr>
              <a:spLocks/>
            </p:cNvSpPr>
            <p:nvPr/>
          </p:nvSpPr>
          <p:spPr bwMode="auto">
            <a:xfrm>
              <a:off x="2629388" y="5707580"/>
              <a:ext cx="7585" cy="4550"/>
            </a:xfrm>
            <a:custGeom>
              <a:avLst/>
              <a:gdLst>
                <a:gd name="T0" fmla="*/ 0 w 16"/>
                <a:gd name="T1" fmla="*/ 0 h 8"/>
                <a:gd name="T2" fmla="*/ 2147483647 w 16"/>
                <a:gd name="T3" fmla="*/ 2147483647 h 8"/>
                <a:gd name="T4" fmla="*/ 2147483647 w 16"/>
                <a:gd name="T5" fmla="*/ 2147483647 h 8"/>
                <a:gd name="T6" fmla="*/ 0 w 16"/>
                <a:gd name="T7" fmla="*/ 0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0" y="0"/>
                  </a:moveTo>
                  <a:lnTo>
                    <a:pt x="16" y="4"/>
                  </a:lnTo>
                  <a:lnTo>
                    <a:pt x="4" y="8"/>
                  </a:lnTo>
                  <a:lnTo>
                    <a:pt x="0" y="0"/>
                  </a:lnTo>
                  <a:close/>
                </a:path>
              </a:pathLst>
            </a:custGeom>
            <a:grpFill/>
            <a:ln w="6350">
              <a:solidFill>
                <a:schemeClr val="tx2"/>
              </a:solidFill>
              <a:round/>
              <a:headEnd/>
              <a:tailEnd/>
            </a:ln>
          </p:spPr>
          <p:txBody>
            <a:bodyPr/>
            <a:lstStyle/>
            <a:p>
              <a:endParaRPr lang="en-US"/>
            </a:p>
          </p:txBody>
        </p:sp>
        <p:sp>
          <p:nvSpPr>
            <p:cNvPr id="44" name="Freeform 1223"/>
            <p:cNvSpPr>
              <a:spLocks/>
            </p:cNvSpPr>
            <p:nvPr/>
          </p:nvSpPr>
          <p:spPr bwMode="auto">
            <a:xfrm>
              <a:off x="2629388" y="5715165"/>
              <a:ext cx="7585" cy="4551"/>
            </a:xfrm>
            <a:custGeom>
              <a:avLst/>
              <a:gdLst>
                <a:gd name="T0" fmla="*/ 2147483647 w 15"/>
                <a:gd name="T1" fmla="*/ 2147483647 h 7"/>
                <a:gd name="T2" fmla="*/ 0 w 15"/>
                <a:gd name="T3" fmla="*/ 2147483647 h 7"/>
                <a:gd name="T4" fmla="*/ 2147483647 w 15"/>
                <a:gd name="T5" fmla="*/ 0 h 7"/>
                <a:gd name="T6" fmla="*/ 2147483647 w 15"/>
                <a:gd name="T7" fmla="*/ 2147483647 h 7"/>
                <a:gd name="T8" fmla="*/ 2147483647 w 15"/>
                <a:gd name="T9" fmla="*/ 2147483647 h 7"/>
                <a:gd name="T10" fmla="*/ 0 60000 65536"/>
                <a:gd name="T11" fmla="*/ 0 60000 65536"/>
                <a:gd name="T12" fmla="*/ 0 60000 65536"/>
                <a:gd name="T13" fmla="*/ 0 60000 65536"/>
                <a:gd name="T14" fmla="*/ 0 60000 65536"/>
                <a:gd name="T15" fmla="*/ 0 w 15"/>
                <a:gd name="T16" fmla="*/ 0 h 7"/>
                <a:gd name="T17" fmla="*/ 15 w 15"/>
                <a:gd name="T18" fmla="*/ 7 h 7"/>
              </a:gdLst>
              <a:ahLst/>
              <a:cxnLst>
                <a:cxn ang="T10">
                  <a:pos x="T0" y="T1"/>
                </a:cxn>
                <a:cxn ang="T11">
                  <a:pos x="T2" y="T3"/>
                </a:cxn>
                <a:cxn ang="T12">
                  <a:pos x="T4" y="T5"/>
                </a:cxn>
                <a:cxn ang="T13">
                  <a:pos x="T6" y="T7"/>
                </a:cxn>
                <a:cxn ang="T14">
                  <a:pos x="T8" y="T9"/>
                </a:cxn>
              </a:cxnLst>
              <a:rect l="T15" t="T16" r="T17" b="T18"/>
              <a:pathLst>
                <a:path w="15" h="7">
                  <a:moveTo>
                    <a:pt x="4" y="7"/>
                  </a:moveTo>
                  <a:lnTo>
                    <a:pt x="0" y="4"/>
                  </a:lnTo>
                  <a:lnTo>
                    <a:pt x="7" y="0"/>
                  </a:lnTo>
                  <a:lnTo>
                    <a:pt x="15" y="3"/>
                  </a:lnTo>
                  <a:lnTo>
                    <a:pt x="4" y="7"/>
                  </a:lnTo>
                  <a:close/>
                </a:path>
              </a:pathLst>
            </a:custGeom>
            <a:grpFill/>
            <a:ln w="6350">
              <a:solidFill>
                <a:schemeClr val="tx2"/>
              </a:solidFill>
              <a:round/>
              <a:headEnd/>
              <a:tailEnd/>
            </a:ln>
          </p:spPr>
          <p:txBody>
            <a:bodyPr/>
            <a:lstStyle/>
            <a:p>
              <a:endParaRPr lang="en-US"/>
            </a:p>
          </p:txBody>
        </p:sp>
        <p:sp>
          <p:nvSpPr>
            <p:cNvPr id="45" name="Freeform 1224"/>
            <p:cNvSpPr>
              <a:spLocks/>
            </p:cNvSpPr>
            <p:nvPr/>
          </p:nvSpPr>
          <p:spPr bwMode="auto">
            <a:xfrm>
              <a:off x="2632422" y="5719716"/>
              <a:ext cx="9103" cy="7585"/>
            </a:xfrm>
            <a:custGeom>
              <a:avLst/>
              <a:gdLst>
                <a:gd name="T0" fmla="*/ 0 w 19"/>
                <a:gd name="T1" fmla="*/ 2147483647 h 14"/>
                <a:gd name="T2" fmla="*/ 2147483647 w 19"/>
                <a:gd name="T3" fmla="*/ 0 h 14"/>
                <a:gd name="T4" fmla="*/ 2147483647 w 19"/>
                <a:gd name="T5" fmla="*/ 2147483647 h 14"/>
                <a:gd name="T6" fmla="*/ 0 w 19"/>
                <a:gd name="T7" fmla="*/ 2147483647 h 14"/>
                <a:gd name="T8" fmla="*/ 0 60000 65536"/>
                <a:gd name="T9" fmla="*/ 0 60000 65536"/>
                <a:gd name="T10" fmla="*/ 0 60000 65536"/>
                <a:gd name="T11" fmla="*/ 0 60000 65536"/>
                <a:gd name="T12" fmla="*/ 0 w 19"/>
                <a:gd name="T13" fmla="*/ 0 h 14"/>
                <a:gd name="T14" fmla="*/ 19 w 19"/>
                <a:gd name="T15" fmla="*/ 14 h 14"/>
              </a:gdLst>
              <a:ahLst/>
              <a:cxnLst>
                <a:cxn ang="T8">
                  <a:pos x="T0" y="T1"/>
                </a:cxn>
                <a:cxn ang="T9">
                  <a:pos x="T2" y="T3"/>
                </a:cxn>
                <a:cxn ang="T10">
                  <a:pos x="T4" y="T5"/>
                </a:cxn>
                <a:cxn ang="T11">
                  <a:pos x="T6" y="T7"/>
                </a:cxn>
              </a:cxnLst>
              <a:rect l="T12" t="T13" r="T14" b="T15"/>
              <a:pathLst>
                <a:path w="19" h="14">
                  <a:moveTo>
                    <a:pt x="0" y="4"/>
                  </a:moveTo>
                  <a:lnTo>
                    <a:pt x="16" y="0"/>
                  </a:lnTo>
                  <a:lnTo>
                    <a:pt x="19" y="14"/>
                  </a:lnTo>
                  <a:lnTo>
                    <a:pt x="0" y="4"/>
                  </a:lnTo>
                  <a:close/>
                </a:path>
              </a:pathLst>
            </a:custGeom>
            <a:grpFill/>
            <a:ln w="6350">
              <a:solidFill>
                <a:schemeClr val="tx2"/>
              </a:solidFill>
              <a:round/>
              <a:headEnd/>
              <a:tailEnd/>
            </a:ln>
          </p:spPr>
          <p:txBody>
            <a:bodyPr/>
            <a:lstStyle/>
            <a:p>
              <a:endParaRPr lang="en-US"/>
            </a:p>
          </p:txBody>
        </p:sp>
        <p:sp>
          <p:nvSpPr>
            <p:cNvPr id="46" name="Freeform 1225"/>
            <p:cNvSpPr>
              <a:spLocks/>
            </p:cNvSpPr>
            <p:nvPr/>
          </p:nvSpPr>
          <p:spPr bwMode="auto">
            <a:xfrm>
              <a:off x="2632422" y="5725785"/>
              <a:ext cx="7585" cy="4550"/>
            </a:xfrm>
            <a:custGeom>
              <a:avLst/>
              <a:gdLst>
                <a:gd name="T0" fmla="*/ 0 w 13"/>
                <a:gd name="T1" fmla="*/ 0 h 9"/>
                <a:gd name="T2" fmla="*/ 2147483647 w 13"/>
                <a:gd name="T3" fmla="*/ 2147483647 h 9"/>
                <a:gd name="T4" fmla="*/ 0 w 13"/>
                <a:gd name="T5" fmla="*/ 0 h 9"/>
                <a:gd name="T6" fmla="*/ 0 60000 65536"/>
                <a:gd name="T7" fmla="*/ 0 60000 65536"/>
                <a:gd name="T8" fmla="*/ 0 60000 65536"/>
                <a:gd name="T9" fmla="*/ 0 w 13"/>
                <a:gd name="T10" fmla="*/ 0 h 9"/>
                <a:gd name="T11" fmla="*/ 13 w 13"/>
                <a:gd name="T12" fmla="*/ 9 h 9"/>
              </a:gdLst>
              <a:ahLst/>
              <a:cxnLst>
                <a:cxn ang="T6">
                  <a:pos x="T0" y="T1"/>
                </a:cxn>
                <a:cxn ang="T7">
                  <a:pos x="T2" y="T3"/>
                </a:cxn>
                <a:cxn ang="T8">
                  <a:pos x="T4" y="T5"/>
                </a:cxn>
              </a:cxnLst>
              <a:rect l="T9" t="T10" r="T11" b="T12"/>
              <a:pathLst>
                <a:path w="13" h="9">
                  <a:moveTo>
                    <a:pt x="0" y="0"/>
                  </a:moveTo>
                  <a:lnTo>
                    <a:pt x="13" y="9"/>
                  </a:lnTo>
                  <a:lnTo>
                    <a:pt x="0" y="0"/>
                  </a:lnTo>
                  <a:close/>
                </a:path>
              </a:pathLst>
            </a:custGeom>
            <a:grpFill/>
            <a:ln w="6350">
              <a:solidFill>
                <a:schemeClr val="tx2"/>
              </a:solidFill>
              <a:round/>
              <a:headEnd/>
              <a:tailEnd/>
            </a:ln>
          </p:spPr>
          <p:txBody>
            <a:bodyPr/>
            <a:lstStyle/>
            <a:p>
              <a:endParaRPr lang="en-US"/>
            </a:p>
          </p:txBody>
        </p:sp>
        <p:sp>
          <p:nvSpPr>
            <p:cNvPr id="47" name="Freeform 1226"/>
            <p:cNvSpPr>
              <a:spLocks/>
            </p:cNvSpPr>
            <p:nvPr/>
          </p:nvSpPr>
          <p:spPr bwMode="auto">
            <a:xfrm>
              <a:off x="2638490" y="5742473"/>
              <a:ext cx="3034" cy="4551"/>
            </a:xfrm>
            <a:custGeom>
              <a:avLst/>
              <a:gdLst>
                <a:gd name="T0" fmla="*/ 0 w 6"/>
                <a:gd name="T1" fmla="*/ 0 h 10"/>
                <a:gd name="T2" fmla="*/ 2147483647 w 6"/>
                <a:gd name="T3" fmla="*/ 2147483647 h 10"/>
                <a:gd name="T4" fmla="*/ 2147483647 w 6"/>
                <a:gd name="T5" fmla="*/ 2147483647 h 10"/>
                <a:gd name="T6" fmla="*/ 0 w 6"/>
                <a:gd name="T7" fmla="*/ 0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0" y="0"/>
                  </a:moveTo>
                  <a:lnTo>
                    <a:pt x="6" y="9"/>
                  </a:lnTo>
                  <a:lnTo>
                    <a:pt x="1" y="10"/>
                  </a:lnTo>
                  <a:lnTo>
                    <a:pt x="0" y="0"/>
                  </a:lnTo>
                  <a:close/>
                </a:path>
              </a:pathLst>
            </a:custGeom>
            <a:grpFill/>
            <a:ln w="6350">
              <a:solidFill>
                <a:schemeClr val="tx2"/>
              </a:solidFill>
              <a:round/>
              <a:headEnd/>
              <a:tailEnd/>
            </a:ln>
          </p:spPr>
          <p:txBody>
            <a:bodyPr/>
            <a:lstStyle/>
            <a:p>
              <a:endParaRPr lang="en-US"/>
            </a:p>
          </p:txBody>
        </p:sp>
        <p:sp>
          <p:nvSpPr>
            <p:cNvPr id="48" name="Freeform 1227"/>
            <p:cNvSpPr>
              <a:spLocks/>
            </p:cNvSpPr>
            <p:nvPr/>
          </p:nvSpPr>
          <p:spPr bwMode="auto">
            <a:xfrm>
              <a:off x="2620285" y="5797089"/>
              <a:ext cx="9103" cy="7586"/>
            </a:xfrm>
            <a:custGeom>
              <a:avLst/>
              <a:gdLst>
                <a:gd name="T0" fmla="*/ 2147483647 w 14"/>
                <a:gd name="T1" fmla="*/ 2147483647 h 13"/>
                <a:gd name="T2" fmla="*/ 0 w 14"/>
                <a:gd name="T3" fmla="*/ 2147483647 h 13"/>
                <a:gd name="T4" fmla="*/ 2147483647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13"/>
                  </a:moveTo>
                  <a:lnTo>
                    <a:pt x="0" y="11"/>
                  </a:lnTo>
                  <a:lnTo>
                    <a:pt x="1" y="5"/>
                  </a:lnTo>
                  <a:lnTo>
                    <a:pt x="7" y="0"/>
                  </a:lnTo>
                  <a:lnTo>
                    <a:pt x="14" y="13"/>
                  </a:lnTo>
                  <a:close/>
                </a:path>
              </a:pathLst>
            </a:custGeom>
            <a:grpFill/>
            <a:ln w="6350">
              <a:solidFill>
                <a:schemeClr val="tx2"/>
              </a:solidFill>
              <a:round/>
              <a:headEnd/>
              <a:tailEnd/>
            </a:ln>
          </p:spPr>
          <p:txBody>
            <a:bodyPr/>
            <a:lstStyle/>
            <a:p>
              <a:endParaRPr lang="en-US"/>
            </a:p>
          </p:txBody>
        </p:sp>
        <p:sp>
          <p:nvSpPr>
            <p:cNvPr id="49" name="Freeform 1228"/>
            <p:cNvSpPr>
              <a:spLocks/>
            </p:cNvSpPr>
            <p:nvPr/>
          </p:nvSpPr>
          <p:spPr bwMode="auto">
            <a:xfrm>
              <a:off x="2608148" y="5801640"/>
              <a:ext cx="6069" cy="4550"/>
            </a:xfrm>
            <a:custGeom>
              <a:avLst/>
              <a:gdLst>
                <a:gd name="T0" fmla="*/ 2147483647 w 13"/>
                <a:gd name="T1" fmla="*/ 0 h 8"/>
                <a:gd name="T2" fmla="*/ 2147483647 w 13"/>
                <a:gd name="T3" fmla="*/ 2147483647 h 8"/>
                <a:gd name="T4" fmla="*/ 0 w 13"/>
                <a:gd name="T5" fmla="*/ 2147483647 h 8"/>
                <a:gd name="T6" fmla="*/ 2147483647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13" y="0"/>
                  </a:moveTo>
                  <a:lnTo>
                    <a:pt x="10" y="8"/>
                  </a:lnTo>
                  <a:lnTo>
                    <a:pt x="0" y="7"/>
                  </a:lnTo>
                  <a:lnTo>
                    <a:pt x="13" y="0"/>
                  </a:lnTo>
                  <a:close/>
                </a:path>
              </a:pathLst>
            </a:custGeom>
            <a:grpFill/>
            <a:ln w="6350">
              <a:solidFill>
                <a:schemeClr val="tx2"/>
              </a:solidFill>
              <a:round/>
              <a:headEnd/>
              <a:tailEnd/>
            </a:ln>
          </p:spPr>
          <p:txBody>
            <a:bodyPr/>
            <a:lstStyle/>
            <a:p>
              <a:endParaRPr lang="en-US"/>
            </a:p>
          </p:txBody>
        </p:sp>
        <p:sp>
          <p:nvSpPr>
            <p:cNvPr id="50" name="Freeform 1229"/>
            <p:cNvSpPr>
              <a:spLocks/>
            </p:cNvSpPr>
            <p:nvPr/>
          </p:nvSpPr>
          <p:spPr bwMode="auto">
            <a:xfrm>
              <a:off x="2611182" y="5813778"/>
              <a:ext cx="9103" cy="9103"/>
            </a:xfrm>
            <a:custGeom>
              <a:avLst/>
              <a:gdLst>
                <a:gd name="T0" fmla="*/ 0 w 14"/>
                <a:gd name="T1" fmla="*/ 0 h 16"/>
                <a:gd name="T2" fmla="*/ 2147483647 w 14"/>
                <a:gd name="T3" fmla="*/ 2147483647 h 16"/>
                <a:gd name="T4" fmla="*/ 2147483647 w 14"/>
                <a:gd name="T5" fmla="*/ 2147483647 h 16"/>
                <a:gd name="T6" fmla="*/ 2147483647 w 14"/>
                <a:gd name="T7" fmla="*/ 2147483647 h 16"/>
                <a:gd name="T8" fmla="*/ 0 w 14"/>
                <a:gd name="T9" fmla="*/ 0 h 16"/>
                <a:gd name="T10" fmla="*/ 0 60000 65536"/>
                <a:gd name="T11" fmla="*/ 0 60000 65536"/>
                <a:gd name="T12" fmla="*/ 0 60000 65536"/>
                <a:gd name="T13" fmla="*/ 0 60000 65536"/>
                <a:gd name="T14" fmla="*/ 0 60000 65536"/>
                <a:gd name="T15" fmla="*/ 0 w 14"/>
                <a:gd name="T16" fmla="*/ 0 h 16"/>
                <a:gd name="T17" fmla="*/ 14 w 14"/>
                <a:gd name="T18" fmla="*/ 16 h 16"/>
              </a:gdLst>
              <a:ahLst/>
              <a:cxnLst>
                <a:cxn ang="T10">
                  <a:pos x="T0" y="T1"/>
                </a:cxn>
                <a:cxn ang="T11">
                  <a:pos x="T2" y="T3"/>
                </a:cxn>
                <a:cxn ang="T12">
                  <a:pos x="T4" y="T5"/>
                </a:cxn>
                <a:cxn ang="T13">
                  <a:pos x="T6" y="T7"/>
                </a:cxn>
                <a:cxn ang="T14">
                  <a:pos x="T8" y="T9"/>
                </a:cxn>
              </a:cxnLst>
              <a:rect l="T15" t="T16" r="T17" b="T18"/>
              <a:pathLst>
                <a:path w="14" h="16">
                  <a:moveTo>
                    <a:pt x="0" y="0"/>
                  </a:moveTo>
                  <a:lnTo>
                    <a:pt x="13" y="5"/>
                  </a:lnTo>
                  <a:lnTo>
                    <a:pt x="14" y="13"/>
                  </a:lnTo>
                  <a:lnTo>
                    <a:pt x="8" y="16"/>
                  </a:lnTo>
                  <a:lnTo>
                    <a:pt x="0" y="0"/>
                  </a:lnTo>
                  <a:close/>
                </a:path>
              </a:pathLst>
            </a:custGeom>
            <a:grpFill/>
            <a:ln w="6350">
              <a:solidFill>
                <a:schemeClr val="tx2"/>
              </a:solidFill>
              <a:round/>
              <a:headEnd/>
              <a:tailEnd/>
            </a:ln>
          </p:spPr>
          <p:txBody>
            <a:bodyPr/>
            <a:lstStyle/>
            <a:p>
              <a:endParaRPr lang="en-US"/>
            </a:p>
          </p:txBody>
        </p:sp>
        <p:sp>
          <p:nvSpPr>
            <p:cNvPr id="51" name="Freeform 1230"/>
            <p:cNvSpPr>
              <a:spLocks/>
            </p:cNvSpPr>
            <p:nvPr/>
          </p:nvSpPr>
          <p:spPr bwMode="auto">
            <a:xfrm>
              <a:off x="2603597" y="5812261"/>
              <a:ext cx="9103" cy="18206"/>
            </a:xfrm>
            <a:custGeom>
              <a:avLst/>
              <a:gdLst>
                <a:gd name="T0" fmla="*/ 2147483647 w 18"/>
                <a:gd name="T1" fmla="*/ 2147483647 h 36"/>
                <a:gd name="T2" fmla="*/ 0 w 18"/>
                <a:gd name="T3" fmla="*/ 2147483647 h 36"/>
                <a:gd name="T4" fmla="*/ 2147483647 w 18"/>
                <a:gd name="T5" fmla="*/ 0 h 36"/>
                <a:gd name="T6" fmla="*/ 2147483647 w 18"/>
                <a:gd name="T7" fmla="*/ 2147483647 h 36"/>
                <a:gd name="T8" fmla="*/ 2147483647 w 18"/>
                <a:gd name="T9" fmla="*/ 2147483647 h 36"/>
                <a:gd name="T10" fmla="*/ 0 60000 65536"/>
                <a:gd name="T11" fmla="*/ 0 60000 65536"/>
                <a:gd name="T12" fmla="*/ 0 60000 65536"/>
                <a:gd name="T13" fmla="*/ 0 60000 65536"/>
                <a:gd name="T14" fmla="*/ 0 60000 65536"/>
                <a:gd name="T15" fmla="*/ 0 w 18"/>
                <a:gd name="T16" fmla="*/ 0 h 36"/>
                <a:gd name="T17" fmla="*/ 18 w 18"/>
                <a:gd name="T18" fmla="*/ 36 h 36"/>
              </a:gdLst>
              <a:ahLst/>
              <a:cxnLst>
                <a:cxn ang="T10">
                  <a:pos x="T0" y="T1"/>
                </a:cxn>
                <a:cxn ang="T11">
                  <a:pos x="T2" y="T3"/>
                </a:cxn>
                <a:cxn ang="T12">
                  <a:pos x="T4" y="T5"/>
                </a:cxn>
                <a:cxn ang="T13">
                  <a:pos x="T6" y="T7"/>
                </a:cxn>
                <a:cxn ang="T14">
                  <a:pos x="T8" y="T9"/>
                </a:cxn>
              </a:cxnLst>
              <a:rect l="T15" t="T16" r="T17" b="T18"/>
              <a:pathLst>
                <a:path w="18" h="36">
                  <a:moveTo>
                    <a:pt x="2" y="9"/>
                  </a:moveTo>
                  <a:lnTo>
                    <a:pt x="0" y="3"/>
                  </a:lnTo>
                  <a:lnTo>
                    <a:pt x="7" y="0"/>
                  </a:lnTo>
                  <a:lnTo>
                    <a:pt x="18" y="36"/>
                  </a:lnTo>
                  <a:lnTo>
                    <a:pt x="2" y="9"/>
                  </a:lnTo>
                  <a:close/>
                </a:path>
              </a:pathLst>
            </a:custGeom>
            <a:grpFill/>
            <a:ln w="6350">
              <a:solidFill>
                <a:schemeClr val="tx2"/>
              </a:solidFill>
              <a:round/>
              <a:headEnd/>
              <a:tailEnd/>
            </a:ln>
          </p:spPr>
          <p:txBody>
            <a:bodyPr/>
            <a:lstStyle/>
            <a:p>
              <a:endParaRPr lang="en-US"/>
            </a:p>
          </p:txBody>
        </p:sp>
        <p:sp>
          <p:nvSpPr>
            <p:cNvPr id="52" name="Freeform 1231"/>
            <p:cNvSpPr>
              <a:spLocks/>
            </p:cNvSpPr>
            <p:nvPr/>
          </p:nvSpPr>
          <p:spPr bwMode="auto">
            <a:xfrm>
              <a:off x="2615733" y="5824397"/>
              <a:ext cx="9103" cy="7586"/>
            </a:xfrm>
            <a:custGeom>
              <a:avLst/>
              <a:gdLst>
                <a:gd name="T0" fmla="*/ 0 w 17"/>
                <a:gd name="T1" fmla="*/ 0 h 15"/>
                <a:gd name="T2" fmla="*/ 2147483647 w 17"/>
                <a:gd name="T3" fmla="*/ 2147483647 h 15"/>
                <a:gd name="T4" fmla="*/ 2147483647 w 17"/>
                <a:gd name="T5" fmla="*/ 2147483647 h 15"/>
                <a:gd name="T6" fmla="*/ 2147483647 w 17"/>
                <a:gd name="T7" fmla="*/ 2147483647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9" y="2"/>
                  </a:lnTo>
                  <a:lnTo>
                    <a:pt x="17" y="15"/>
                  </a:lnTo>
                  <a:lnTo>
                    <a:pt x="2" y="10"/>
                  </a:lnTo>
                  <a:lnTo>
                    <a:pt x="0" y="0"/>
                  </a:lnTo>
                  <a:close/>
                </a:path>
              </a:pathLst>
            </a:custGeom>
            <a:grpFill/>
            <a:ln w="6350">
              <a:solidFill>
                <a:schemeClr val="tx2"/>
              </a:solidFill>
              <a:round/>
              <a:headEnd/>
              <a:tailEnd/>
            </a:ln>
          </p:spPr>
          <p:txBody>
            <a:bodyPr/>
            <a:lstStyle/>
            <a:p>
              <a:endParaRPr lang="en-US"/>
            </a:p>
          </p:txBody>
        </p:sp>
        <p:sp>
          <p:nvSpPr>
            <p:cNvPr id="53" name="Freeform 1232"/>
            <p:cNvSpPr>
              <a:spLocks/>
            </p:cNvSpPr>
            <p:nvPr/>
          </p:nvSpPr>
          <p:spPr bwMode="auto">
            <a:xfrm>
              <a:off x="2603597" y="5827431"/>
              <a:ext cx="4551" cy="9103"/>
            </a:xfrm>
            <a:custGeom>
              <a:avLst/>
              <a:gdLst>
                <a:gd name="T0" fmla="*/ 2147483647 w 9"/>
                <a:gd name="T1" fmla="*/ 2147483647 h 18"/>
                <a:gd name="T2" fmla="*/ 0 w 9"/>
                <a:gd name="T3" fmla="*/ 2147483647 h 18"/>
                <a:gd name="T4" fmla="*/ 2147483647 w 9"/>
                <a:gd name="T5" fmla="*/ 0 h 18"/>
                <a:gd name="T6" fmla="*/ 2147483647 w 9"/>
                <a:gd name="T7" fmla="*/ 2147483647 h 18"/>
                <a:gd name="T8" fmla="*/ 2147483647 w 9"/>
                <a:gd name="T9" fmla="*/ 2147483647 h 18"/>
                <a:gd name="T10" fmla="*/ 2147483647 w 9"/>
                <a:gd name="T11" fmla="*/ 2147483647 h 18"/>
                <a:gd name="T12" fmla="*/ 0 60000 65536"/>
                <a:gd name="T13" fmla="*/ 0 60000 65536"/>
                <a:gd name="T14" fmla="*/ 0 60000 65536"/>
                <a:gd name="T15" fmla="*/ 0 60000 65536"/>
                <a:gd name="T16" fmla="*/ 0 60000 65536"/>
                <a:gd name="T17" fmla="*/ 0 60000 65536"/>
                <a:gd name="T18" fmla="*/ 0 w 9"/>
                <a:gd name="T19" fmla="*/ 0 h 18"/>
                <a:gd name="T20" fmla="*/ 9 w 9"/>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9" h="18">
                  <a:moveTo>
                    <a:pt x="1" y="9"/>
                  </a:moveTo>
                  <a:lnTo>
                    <a:pt x="0" y="2"/>
                  </a:lnTo>
                  <a:lnTo>
                    <a:pt x="6" y="0"/>
                  </a:lnTo>
                  <a:lnTo>
                    <a:pt x="9" y="10"/>
                  </a:lnTo>
                  <a:lnTo>
                    <a:pt x="3" y="18"/>
                  </a:lnTo>
                  <a:lnTo>
                    <a:pt x="1" y="9"/>
                  </a:lnTo>
                  <a:close/>
                </a:path>
              </a:pathLst>
            </a:custGeom>
            <a:grpFill/>
            <a:ln w="6350">
              <a:solidFill>
                <a:schemeClr val="tx2"/>
              </a:solidFill>
              <a:round/>
              <a:headEnd/>
              <a:tailEnd/>
            </a:ln>
          </p:spPr>
          <p:txBody>
            <a:bodyPr/>
            <a:lstStyle/>
            <a:p>
              <a:endParaRPr lang="en-US"/>
            </a:p>
          </p:txBody>
        </p:sp>
        <p:sp>
          <p:nvSpPr>
            <p:cNvPr id="54" name="Freeform 1233"/>
            <p:cNvSpPr>
              <a:spLocks/>
            </p:cNvSpPr>
            <p:nvPr/>
          </p:nvSpPr>
          <p:spPr bwMode="auto">
            <a:xfrm>
              <a:off x="2609665" y="5833500"/>
              <a:ext cx="16689" cy="43996"/>
            </a:xfrm>
            <a:custGeom>
              <a:avLst/>
              <a:gdLst>
                <a:gd name="T0" fmla="*/ 2147483647 w 34"/>
                <a:gd name="T1" fmla="*/ 2147483647 h 89"/>
                <a:gd name="T2" fmla="*/ 2147483647 w 34"/>
                <a:gd name="T3" fmla="*/ 2147483647 h 89"/>
                <a:gd name="T4" fmla="*/ 2147483647 w 34"/>
                <a:gd name="T5" fmla="*/ 0 h 89"/>
                <a:gd name="T6" fmla="*/ 2147483647 w 34"/>
                <a:gd name="T7" fmla="*/ 2147483647 h 89"/>
                <a:gd name="T8" fmla="*/ 2147483647 w 34"/>
                <a:gd name="T9" fmla="*/ 2147483647 h 89"/>
                <a:gd name="T10" fmla="*/ 2147483647 w 34"/>
                <a:gd name="T11" fmla="*/ 2147483647 h 89"/>
                <a:gd name="T12" fmla="*/ 2147483647 w 34"/>
                <a:gd name="T13" fmla="*/ 2147483647 h 89"/>
                <a:gd name="T14" fmla="*/ 2147483647 w 34"/>
                <a:gd name="T15" fmla="*/ 2147483647 h 89"/>
                <a:gd name="T16" fmla="*/ 2147483647 w 34"/>
                <a:gd name="T17" fmla="*/ 2147483647 h 89"/>
                <a:gd name="T18" fmla="*/ 0 w 34"/>
                <a:gd name="T19" fmla="*/ 2147483647 h 89"/>
                <a:gd name="T20" fmla="*/ 2147483647 w 34"/>
                <a:gd name="T21" fmla="*/ 2147483647 h 89"/>
                <a:gd name="T22" fmla="*/ 2147483647 w 34"/>
                <a:gd name="T23" fmla="*/ 2147483647 h 89"/>
                <a:gd name="T24" fmla="*/ 2147483647 w 34"/>
                <a:gd name="T25" fmla="*/ 2147483647 h 89"/>
                <a:gd name="T26" fmla="*/ 2147483647 w 34"/>
                <a:gd name="T27" fmla="*/ 2147483647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89"/>
                <a:gd name="T44" fmla="*/ 34 w 34"/>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89">
                  <a:moveTo>
                    <a:pt x="9" y="19"/>
                  </a:moveTo>
                  <a:lnTo>
                    <a:pt x="10" y="8"/>
                  </a:lnTo>
                  <a:lnTo>
                    <a:pt x="18" y="0"/>
                  </a:lnTo>
                  <a:lnTo>
                    <a:pt x="30" y="16"/>
                  </a:lnTo>
                  <a:lnTo>
                    <a:pt x="34" y="72"/>
                  </a:lnTo>
                  <a:lnTo>
                    <a:pt x="28" y="88"/>
                  </a:lnTo>
                  <a:lnTo>
                    <a:pt x="21" y="89"/>
                  </a:lnTo>
                  <a:lnTo>
                    <a:pt x="16" y="82"/>
                  </a:lnTo>
                  <a:lnTo>
                    <a:pt x="17" y="54"/>
                  </a:lnTo>
                  <a:lnTo>
                    <a:pt x="0" y="40"/>
                  </a:lnTo>
                  <a:lnTo>
                    <a:pt x="10" y="42"/>
                  </a:lnTo>
                  <a:lnTo>
                    <a:pt x="11" y="33"/>
                  </a:lnTo>
                  <a:lnTo>
                    <a:pt x="2" y="28"/>
                  </a:lnTo>
                  <a:lnTo>
                    <a:pt x="9" y="19"/>
                  </a:lnTo>
                  <a:close/>
                </a:path>
              </a:pathLst>
            </a:custGeom>
            <a:grpFill/>
            <a:ln w="6350">
              <a:solidFill>
                <a:schemeClr val="tx2"/>
              </a:solidFill>
              <a:round/>
              <a:headEnd/>
              <a:tailEnd/>
            </a:ln>
          </p:spPr>
          <p:txBody>
            <a:bodyPr/>
            <a:lstStyle/>
            <a:p>
              <a:endParaRPr lang="en-US"/>
            </a:p>
          </p:txBody>
        </p:sp>
        <p:sp>
          <p:nvSpPr>
            <p:cNvPr id="55" name="Freeform 1234"/>
            <p:cNvSpPr>
              <a:spLocks/>
            </p:cNvSpPr>
            <p:nvPr/>
          </p:nvSpPr>
          <p:spPr bwMode="auto">
            <a:xfrm>
              <a:off x="2602079" y="5865360"/>
              <a:ext cx="6069" cy="6069"/>
            </a:xfrm>
            <a:custGeom>
              <a:avLst/>
              <a:gdLst>
                <a:gd name="T0" fmla="*/ 0 w 13"/>
                <a:gd name="T1" fmla="*/ 2147483647 h 14"/>
                <a:gd name="T2" fmla="*/ 2147483647 w 13"/>
                <a:gd name="T3" fmla="*/ 0 h 14"/>
                <a:gd name="T4" fmla="*/ 2147483647 w 13"/>
                <a:gd name="T5" fmla="*/ 2147483647 h 14"/>
                <a:gd name="T6" fmla="*/ 2147483647 w 13"/>
                <a:gd name="T7" fmla="*/ 2147483647 h 14"/>
                <a:gd name="T8" fmla="*/ 0 w 13"/>
                <a:gd name="T9" fmla="*/ 2147483647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0" y="4"/>
                  </a:moveTo>
                  <a:lnTo>
                    <a:pt x="6" y="0"/>
                  </a:lnTo>
                  <a:lnTo>
                    <a:pt x="13" y="13"/>
                  </a:lnTo>
                  <a:lnTo>
                    <a:pt x="5" y="14"/>
                  </a:lnTo>
                  <a:lnTo>
                    <a:pt x="0" y="4"/>
                  </a:lnTo>
                  <a:close/>
                </a:path>
              </a:pathLst>
            </a:custGeom>
            <a:grpFill/>
            <a:ln w="6350">
              <a:solidFill>
                <a:schemeClr val="tx2"/>
              </a:solidFill>
              <a:round/>
              <a:headEnd/>
              <a:tailEnd/>
            </a:ln>
          </p:spPr>
          <p:txBody>
            <a:bodyPr/>
            <a:lstStyle/>
            <a:p>
              <a:endParaRPr lang="en-US"/>
            </a:p>
          </p:txBody>
        </p:sp>
        <p:sp>
          <p:nvSpPr>
            <p:cNvPr id="56" name="Freeform 1235"/>
            <p:cNvSpPr>
              <a:spLocks/>
            </p:cNvSpPr>
            <p:nvPr/>
          </p:nvSpPr>
          <p:spPr bwMode="auto">
            <a:xfrm>
              <a:off x="2605114" y="5882047"/>
              <a:ext cx="12137" cy="10620"/>
            </a:xfrm>
            <a:custGeom>
              <a:avLst/>
              <a:gdLst>
                <a:gd name="T0" fmla="*/ 0 w 22"/>
                <a:gd name="T1" fmla="*/ 2147483647 h 20"/>
                <a:gd name="T2" fmla="*/ 0 w 22"/>
                <a:gd name="T3" fmla="*/ 0 h 20"/>
                <a:gd name="T4" fmla="*/ 2147483647 w 22"/>
                <a:gd name="T5" fmla="*/ 2147483647 h 20"/>
                <a:gd name="T6" fmla="*/ 2147483647 w 22"/>
                <a:gd name="T7" fmla="*/ 2147483647 h 20"/>
                <a:gd name="T8" fmla="*/ 2147483647 w 22"/>
                <a:gd name="T9" fmla="*/ 2147483647 h 20"/>
                <a:gd name="T10" fmla="*/ 2147483647 w 22"/>
                <a:gd name="T11" fmla="*/ 2147483647 h 20"/>
                <a:gd name="T12" fmla="*/ 0 w 22"/>
                <a:gd name="T13" fmla="*/ 2147483647 h 20"/>
                <a:gd name="T14" fmla="*/ 0 60000 65536"/>
                <a:gd name="T15" fmla="*/ 0 60000 65536"/>
                <a:gd name="T16" fmla="*/ 0 60000 65536"/>
                <a:gd name="T17" fmla="*/ 0 60000 65536"/>
                <a:gd name="T18" fmla="*/ 0 60000 65536"/>
                <a:gd name="T19" fmla="*/ 0 60000 65536"/>
                <a:gd name="T20" fmla="*/ 0 60000 65536"/>
                <a:gd name="T21" fmla="*/ 0 w 22"/>
                <a:gd name="T22" fmla="*/ 0 h 20"/>
                <a:gd name="T23" fmla="*/ 22 w 2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0">
                  <a:moveTo>
                    <a:pt x="0" y="8"/>
                  </a:moveTo>
                  <a:lnTo>
                    <a:pt x="0" y="0"/>
                  </a:lnTo>
                  <a:lnTo>
                    <a:pt x="22" y="3"/>
                  </a:lnTo>
                  <a:lnTo>
                    <a:pt x="17" y="20"/>
                  </a:lnTo>
                  <a:lnTo>
                    <a:pt x="7" y="12"/>
                  </a:lnTo>
                  <a:lnTo>
                    <a:pt x="2" y="15"/>
                  </a:lnTo>
                  <a:lnTo>
                    <a:pt x="0" y="8"/>
                  </a:lnTo>
                  <a:close/>
                </a:path>
              </a:pathLst>
            </a:custGeom>
            <a:grpFill/>
            <a:ln w="6350">
              <a:solidFill>
                <a:schemeClr val="tx2"/>
              </a:solidFill>
              <a:round/>
              <a:headEnd/>
              <a:tailEnd/>
            </a:ln>
          </p:spPr>
          <p:txBody>
            <a:bodyPr/>
            <a:lstStyle/>
            <a:p>
              <a:endParaRPr lang="en-US"/>
            </a:p>
          </p:txBody>
        </p:sp>
        <p:sp>
          <p:nvSpPr>
            <p:cNvPr id="57" name="Freeform 1236"/>
            <p:cNvSpPr>
              <a:spLocks/>
            </p:cNvSpPr>
            <p:nvPr/>
          </p:nvSpPr>
          <p:spPr bwMode="auto">
            <a:xfrm>
              <a:off x="2621801" y="5889633"/>
              <a:ext cx="10620" cy="15172"/>
            </a:xfrm>
            <a:custGeom>
              <a:avLst/>
              <a:gdLst>
                <a:gd name="T0" fmla="*/ 2147483647 w 23"/>
                <a:gd name="T1" fmla="*/ 2147483647 h 30"/>
                <a:gd name="T2" fmla="*/ 2147483647 w 23"/>
                <a:gd name="T3" fmla="*/ 2147483647 h 30"/>
                <a:gd name="T4" fmla="*/ 0 w 23"/>
                <a:gd name="T5" fmla="*/ 0 h 30"/>
                <a:gd name="T6" fmla="*/ 2147483647 w 23"/>
                <a:gd name="T7" fmla="*/ 2147483647 h 30"/>
                <a:gd name="T8" fmla="*/ 2147483647 w 23"/>
                <a:gd name="T9" fmla="*/ 2147483647 h 30"/>
                <a:gd name="T10" fmla="*/ 2147483647 w 23"/>
                <a:gd name="T11" fmla="*/ 2147483647 h 30"/>
                <a:gd name="T12" fmla="*/ 0 60000 65536"/>
                <a:gd name="T13" fmla="*/ 0 60000 65536"/>
                <a:gd name="T14" fmla="*/ 0 60000 65536"/>
                <a:gd name="T15" fmla="*/ 0 60000 65536"/>
                <a:gd name="T16" fmla="*/ 0 60000 65536"/>
                <a:gd name="T17" fmla="*/ 0 60000 65536"/>
                <a:gd name="T18" fmla="*/ 0 w 23"/>
                <a:gd name="T19" fmla="*/ 0 h 30"/>
                <a:gd name="T20" fmla="*/ 23 w 23"/>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3" h="30">
                  <a:moveTo>
                    <a:pt x="11" y="21"/>
                  </a:moveTo>
                  <a:lnTo>
                    <a:pt x="6" y="19"/>
                  </a:lnTo>
                  <a:lnTo>
                    <a:pt x="0" y="0"/>
                  </a:lnTo>
                  <a:lnTo>
                    <a:pt x="19" y="17"/>
                  </a:lnTo>
                  <a:lnTo>
                    <a:pt x="23" y="30"/>
                  </a:lnTo>
                  <a:lnTo>
                    <a:pt x="11" y="21"/>
                  </a:lnTo>
                  <a:close/>
                </a:path>
              </a:pathLst>
            </a:custGeom>
            <a:grpFill/>
            <a:ln w="6350">
              <a:solidFill>
                <a:schemeClr val="tx2"/>
              </a:solidFill>
              <a:round/>
              <a:headEnd/>
              <a:tailEnd/>
            </a:ln>
          </p:spPr>
          <p:txBody>
            <a:bodyPr/>
            <a:lstStyle/>
            <a:p>
              <a:endParaRPr lang="en-US"/>
            </a:p>
          </p:txBody>
        </p:sp>
        <p:sp>
          <p:nvSpPr>
            <p:cNvPr id="58" name="Freeform 1237"/>
            <p:cNvSpPr>
              <a:spLocks/>
            </p:cNvSpPr>
            <p:nvPr/>
          </p:nvSpPr>
          <p:spPr bwMode="auto">
            <a:xfrm>
              <a:off x="2620285" y="5898736"/>
              <a:ext cx="7585" cy="18206"/>
            </a:xfrm>
            <a:custGeom>
              <a:avLst/>
              <a:gdLst>
                <a:gd name="T0" fmla="*/ 2147483647 w 18"/>
                <a:gd name="T1" fmla="*/ 2147483647 h 35"/>
                <a:gd name="T2" fmla="*/ 2147483647 w 18"/>
                <a:gd name="T3" fmla="*/ 2147483647 h 35"/>
                <a:gd name="T4" fmla="*/ 2147483647 w 18"/>
                <a:gd name="T5" fmla="*/ 2147483647 h 35"/>
                <a:gd name="T6" fmla="*/ 0 w 18"/>
                <a:gd name="T7" fmla="*/ 2147483647 h 35"/>
                <a:gd name="T8" fmla="*/ 0 w 18"/>
                <a:gd name="T9" fmla="*/ 0 h 35"/>
                <a:gd name="T10" fmla="*/ 2147483647 w 18"/>
                <a:gd name="T11" fmla="*/ 2147483647 h 35"/>
                <a:gd name="T12" fmla="*/ 2147483647 w 18"/>
                <a:gd name="T13" fmla="*/ 2147483647 h 35"/>
                <a:gd name="T14" fmla="*/ 0 60000 65536"/>
                <a:gd name="T15" fmla="*/ 0 60000 65536"/>
                <a:gd name="T16" fmla="*/ 0 60000 65536"/>
                <a:gd name="T17" fmla="*/ 0 60000 65536"/>
                <a:gd name="T18" fmla="*/ 0 60000 65536"/>
                <a:gd name="T19" fmla="*/ 0 60000 65536"/>
                <a:gd name="T20" fmla="*/ 0 60000 65536"/>
                <a:gd name="T21" fmla="*/ 0 w 18"/>
                <a:gd name="T22" fmla="*/ 0 h 35"/>
                <a:gd name="T23" fmla="*/ 18 w 18"/>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35">
                  <a:moveTo>
                    <a:pt x="18" y="20"/>
                  </a:moveTo>
                  <a:lnTo>
                    <a:pt x="15" y="35"/>
                  </a:lnTo>
                  <a:lnTo>
                    <a:pt x="8" y="33"/>
                  </a:lnTo>
                  <a:lnTo>
                    <a:pt x="0" y="16"/>
                  </a:lnTo>
                  <a:lnTo>
                    <a:pt x="0" y="0"/>
                  </a:lnTo>
                  <a:lnTo>
                    <a:pt x="14" y="7"/>
                  </a:lnTo>
                  <a:lnTo>
                    <a:pt x="18" y="20"/>
                  </a:lnTo>
                  <a:close/>
                </a:path>
              </a:pathLst>
            </a:custGeom>
            <a:grpFill/>
            <a:ln w="6350">
              <a:solidFill>
                <a:schemeClr val="tx2"/>
              </a:solidFill>
              <a:round/>
              <a:headEnd/>
              <a:tailEnd/>
            </a:ln>
          </p:spPr>
          <p:txBody>
            <a:bodyPr/>
            <a:lstStyle/>
            <a:p>
              <a:endParaRPr lang="en-US"/>
            </a:p>
          </p:txBody>
        </p:sp>
        <p:sp>
          <p:nvSpPr>
            <p:cNvPr id="59" name="Freeform 1238"/>
            <p:cNvSpPr>
              <a:spLocks/>
            </p:cNvSpPr>
            <p:nvPr/>
          </p:nvSpPr>
          <p:spPr bwMode="auto">
            <a:xfrm>
              <a:off x="2618767" y="5916942"/>
              <a:ext cx="4551" cy="7585"/>
            </a:xfrm>
            <a:custGeom>
              <a:avLst/>
              <a:gdLst>
                <a:gd name="T0" fmla="*/ 0 w 14"/>
                <a:gd name="T1" fmla="*/ 2147483647 h 16"/>
                <a:gd name="T2" fmla="*/ 2147483647 w 14"/>
                <a:gd name="T3" fmla="*/ 0 h 16"/>
                <a:gd name="T4" fmla="*/ 2147483647 w 14"/>
                <a:gd name="T5" fmla="*/ 2147483647 h 16"/>
                <a:gd name="T6" fmla="*/ 0 w 14"/>
                <a:gd name="T7" fmla="*/ 2147483647 h 16"/>
                <a:gd name="T8" fmla="*/ 0 60000 65536"/>
                <a:gd name="T9" fmla="*/ 0 60000 65536"/>
                <a:gd name="T10" fmla="*/ 0 60000 65536"/>
                <a:gd name="T11" fmla="*/ 0 60000 65536"/>
                <a:gd name="T12" fmla="*/ 0 w 14"/>
                <a:gd name="T13" fmla="*/ 0 h 16"/>
                <a:gd name="T14" fmla="*/ 14 w 14"/>
                <a:gd name="T15" fmla="*/ 16 h 16"/>
              </a:gdLst>
              <a:ahLst/>
              <a:cxnLst>
                <a:cxn ang="T8">
                  <a:pos x="T0" y="T1"/>
                </a:cxn>
                <a:cxn ang="T9">
                  <a:pos x="T2" y="T3"/>
                </a:cxn>
                <a:cxn ang="T10">
                  <a:pos x="T4" y="T5"/>
                </a:cxn>
                <a:cxn ang="T11">
                  <a:pos x="T6" y="T7"/>
                </a:cxn>
              </a:cxnLst>
              <a:rect l="T12" t="T13" r="T14" b="T15"/>
              <a:pathLst>
                <a:path w="14" h="16">
                  <a:moveTo>
                    <a:pt x="0" y="16"/>
                  </a:moveTo>
                  <a:lnTo>
                    <a:pt x="11" y="0"/>
                  </a:lnTo>
                  <a:lnTo>
                    <a:pt x="14" y="14"/>
                  </a:lnTo>
                  <a:lnTo>
                    <a:pt x="0" y="16"/>
                  </a:lnTo>
                  <a:close/>
                </a:path>
              </a:pathLst>
            </a:custGeom>
            <a:grpFill/>
            <a:ln w="6350">
              <a:solidFill>
                <a:schemeClr val="tx2"/>
              </a:solidFill>
              <a:round/>
              <a:headEnd/>
              <a:tailEnd/>
            </a:ln>
          </p:spPr>
          <p:txBody>
            <a:bodyPr/>
            <a:lstStyle/>
            <a:p>
              <a:endParaRPr lang="en-US"/>
            </a:p>
          </p:txBody>
        </p:sp>
        <p:sp>
          <p:nvSpPr>
            <p:cNvPr id="60" name="Freeform 1239"/>
            <p:cNvSpPr>
              <a:spLocks/>
            </p:cNvSpPr>
            <p:nvPr/>
          </p:nvSpPr>
          <p:spPr bwMode="auto">
            <a:xfrm>
              <a:off x="2615733" y="5933630"/>
              <a:ext cx="4551" cy="16689"/>
            </a:xfrm>
            <a:custGeom>
              <a:avLst/>
              <a:gdLst>
                <a:gd name="T0" fmla="*/ 2147483647 w 8"/>
                <a:gd name="T1" fmla="*/ 2147483647 h 31"/>
                <a:gd name="T2" fmla="*/ 0 w 8"/>
                <a:gd name="T3" fmla="*/ 2147483647 h 31"/>
                <a:gd name="T4" fmla="*/ 0 w 8"/>
                <a:gd name="T5" fmla="*/ 2147483647 h 31"/>
                <a:gd name="T6" fmla="*/ 2147483647 w 8"/>
                <a:gd name="T7" fmla="*/ 0 h 31"/>
                <a:gd name="T8" fmla="*/ 2147483647 w 8"/>
                <a:gd name="T9" fmla="*/ 2147483647 h 31"/>
                <a:gd name="T10" fmla="*/ 2147483647 w 8"/>
                <a:gd name="T11" fmla="*/ 2147483647 h 31"/>
                <a:gd name="T12" fmla="*/ 0 60000 65536"/>
                <a:gd name="T13" fmla="*/ 0 60000 65536"/>
                <a:gd name="T14" fmla="*/ 0 60000 65536"/>
                <a:gd name="T15" fmla="*/ 0 60000 65536"/>
                <a:gd name="T16" fmla="*/ 0 60000 65536"/>
                <a:gd name="T17" fmla="*/ 0 60000 65536"/>
                <a:gd name="T18" fmla="*/ 0 w 8"/>
                <a:gd name="T19" fmla="*/ 0 h 31"/>
                <a:gd name="T20" fmla="*/ 8 w 8"/>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8" h="31">
                  <a:moveTo>
                    <a:pt x="4" y="31"/>
                  </a:moveTo>
                  <a:lnTo>
                    <a:pt x="0" y="30"/>
                  </a:lnTo>
                  <a:lnTo>
                    <a:pt x="0" y="19"/>
                  </a:lnTo>
                  <a:lnTo>
                    <a:pt x="5" y="0"/>
                  </a:lnTo>
                  <a:lnTo>
                    <a:pt x="8" y="14"/>
                  </a:lnTo>
                  <a:lnTo>
                    <a:pt x="4" y="31"/>
                  </a:lnTo>
                  <a:close/>
                </a:path>
              </a:pathLst>
            </a:custGeom>
            <a:grpFill/>
            <a:ln w="6350">
              <a:solidFill>
                <a:schemeClr val="tx2"/>
              </a:solidFill>
              <a:round/>
              <a:headEnd/>
              <a:tailEnd/>
            </a:ln>
          </p:spPr>
          <p:txBody>
            <a:bodyPr/>
            <a:lstStyle/>
            <a:p>
              <a:endParaRPr lang="en-US"/>
            </a:p>
          </p:txBody>
        </p:sp>
        <p:sp>
          <p:nvSpPr>
            <p:cNvPr id="61" name="Freeform 1240"/>
            <p:cNvSpPr>
              <a:spLocks/>
            </p:cNvSpPr>
            <p:nvPr/>
          </p:nvSpPr>
          <p:spPr bwMode="auto">
            <a:xfrm>
              <a:off x="2632422" y="5930595"/>
              <a:ext cx="6069" cy="10620"/>
            </a:xfrm>
            <a:custGeom>
              <a:avLst/>
              <a:gdLst>
                <a:gd name="T0" fmla="*/ 2147483647 w 13"/>
                <a:gd name="T1" fmla="*/ 2147483647 h 20"/>
                <a:gd name="T2" fmla="*/ 2147483647 w 13"/>
                <a:gd name="T3" fmla="*/ 2147483647 h 20"/>
                <a:gd name="T4" fmla="*/ 2147483647 w 13"/>
                <a:gd name="T5" fmla="*/ 2147483647 h 20"/>
                <a:gd name="T6" fmla="*/ 0 w 13"/>
                <a:gd name="T7" fmla="*/ 0 h 20"/>
                <a:gd name="T8" fmla="*/ 2147483647 w 13"/>
                <a:gd name="T9" fmla="*/ 2147483647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4" y="6"/>
                  </a:moveTo>
                  <a:lnTo>
                    <a:pt x="13" y="20"/>
                  </a:lnTo>
                  <a:lnTo>
                    <a:pt x="2" y="14"/>
                  </a:lnTo>
                  <a:lnTo>
                    <a:pt x="0" y="0"/>
                  </a:lnTo>
                  <a:lnTo>
                    <a:pt x="4" y="6"/>
                  </a:lnTo>
                  <a:close/>
                </a:path>
              </a:pathLst>
            </a:custGeom>
            <a:grpFill/>
            <a:ln w="6350">
              <a:solidFill>
                <a:schemeClr val="tx2"/>
              </a:solidFill>
              <a:round/>
              <a:headEnd/>
              <a:tailEnd/>
            </a:ln>
          </p:spPr>
          <p:txBody>
            <a:bodyPr/>
            <a:lstStyle/>
            <a:p>
              <a:endParaRPr lang="en-US"/>
            </a:p>
          </p:txBody>
        </p:sp>
        <p:sp>
          <p:nvSpPr>
            <p:cNvPr id="62" name="Freeform 1241"/>
            <p:cNvSpPr>
              <a:spLocks/>
            </p:cNvSpPr>
            <p:nvPr/>
          </p:nvSpPr>
          <p:spPr bwMode="auto">
            <a:xfrm>
              <a:off x="2638490" y="5924527"/>
              <a:ext cx="3034" cy="10620"/>
            </a:xfrm>
            <a:custGeom>
              <a:avLst/>
              <a:gdLst>
                <a:gd name="T0" fmla="*/ 2147483647 w 10"/>
                <a:gd name="T1" fmla="*/ 2147483647 h 22"/>
                <a:gd name="T2" fmla="*/ 2147483647 w 10"/>
                <a:gd name="T3" fmla="*/ 2147483647 h 22"/>
                <a:gd name="T4" fmla="*/ 0 w 10"/>
                <a:gd name="T5" fmla="*/ 0 h 22"/>
                <a:gd name="T6" fmla="*/ 2147483647 w 10"/>
                <a:gd name="T7" fmla="*/ 2147483647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8" y="7"/>
                  </a:moveTo>
                  <a:lnTo>
                    <a:pt x="10" y="22"/>
                  </a:lnTo>
                  <a:lnTo>
                    <a:pt x="0" y="0"/>
                  </a:lnTo>
                  <a:lnTo>
                    <a:pt x="8" y="7"/>
                  </a:lnTo>
                  <a:close/>
                </a:path>
              </a:pathLst>
            </a:custGeom>
            <a:grpFill/>
            <a:ln w="6350">
              <a:solidFill>
                <a:schemeClr val="tx2"/>
              </a:solidFill>
              <a:round/>
              <a:headEnd/>
              <a:tailEnd/>
            </a:ln>
          </p:spPr>
          <p:txBody>
            <a:bodyPr/>
            <a:lstStyle/>
            <a:p>
              <a:endParaRPr lang="en-US"/>
            </a:p>
          </p:txBody>
        </p:sp>
        <p:sp>
          <p:nvSpPr>
            <p:cNvPr id="63" name="Freeform 1242"/>
            <p:cNvSpPr>
              <a:spLocks/>
            </p:cNvSpPr>
            <p:nvPr/>
          </p:nvSpPr>
          <p:spPr bwMode="auto">
            <a:xfrm>
              <a:off x="2644559" y="5945766"/>
              <a:ext cx="45514" cy="51582"/>
            </a:xfrm>
            <a:custGeom>
              <a:avLst/>
              <a:gdLst>
                <a:gd name="T0" fmla="*/ 2147483647 w 90"/>
                <a:gd name="T1" fmla="*/ 2147483647 h 103"/>
                <a:gd name="T2" fmla="*/ 2147483647 w 90"/>
                <a:gd name="T3" fmla="*/ 2147483647 h 103"/>
                <a:gd name="T4" fmla="*/ 2147483647 w 90"/>
                <a:gd name="T5" fmla="*/ 2147483647 h 103"/>
                <a:gd name="T6" fmla="*/ 2147483647 w 90"/>
                <a:gd name="T7" fmla="*/ 0 h 103"/>
                <a:gd name="T8" fmla="*/ 2147483647 w 90"/>
                <a:gd name="T9" fmla="*/ 2147483647 h 103"/>
                <a:gd name="T10" fmla="*/ 2147483647 w 90"/>
                <a:gd name="T11" fmla="*/ 2147483647 h 103"/>
                <a:gd name="T12" fmla="*/ 2147483647 w 90"/>
                <a:gd name="T13" fmla="*/ 2147483647 h 103"/>
                <a:gd name="T14" fmla="*/ 2147483647 w 90"/>
                <a:gd name="T15" fmla="*/ 2147483647 h 103"/>
                <a:gd name="T16" fmla="*/ 2147483647 w 90"/>
                <a:gd name="T17" fmla="*/ 2147483647 h 103"/>
                <a:gd name="T18" fmla="*/ 2147483647 w 90"/>
                <a:gd name="T19" fmla="*/ 2147483647 h 103"/>
                <a:gd name="T20" fmla="*/ 2147483647 w 90"/>
                <a:gd name="T21" fmla="*/ 2147483647 h 103"/>
                <a:gd name="T22" fmla="*/ 2147483647 w 90"/>
                <a:gd name="T23" fmla="*/ 2147483647 h 103"/>
                <a:gd name="T24" fmla="*/ 2147483647 w 90"/>
                <a:gd name="T25" fmla="*/ 2147483647 h 103"/>
                <a:gd name="T26" fmla="*/ 2147483647 w 90"/>
                <a:gd name="T27" fmla="*/ 2147483647 h 103"/>
                <a:gd name="T28" fmla="*/ 2147483647 w 90"/>
                <a:gd name="T29" fmla="*/ 2147483647 h 103"/>
                <a:gd name="T30" fmla="*/ 2147483647 w 90"/>
                <a:gd name="T31" fmla="*/ 2147483647 h 103"/>
                <a:gd name="T32" fmla="*/ 2147483647 w 90"/>
                <a:gd name="T33" fmla="*/ 2147483647 h 103"/>
                <a:gd name="T34" fmla="*/ 2147483647 w 90"/>
                <a:gd name="T35" fmla="*/ 2147483647 h 103"/>
                <a:gd name="T36" fmla="*/ 2147483647 w 90"/>
                <a:gd name="T37" fmla="*/ 2147483647 h 103"/>
                <a:gd name="T38" fmla="*/ 2147483647 w 90"/>
                <a:gd name="T39" fmla="*/ 2147483647 h 103"/>
                <a:gd name="T40" fmla="*/ 0 w 90"/>
                <a:gd name="T41" fmla="*/ 2147483647 h 103"/>
                <a:gd name="T42" fmla="*/ 2147483647 w 90"/>
                <a:gd name="T43" fmla="*/ 2147483647 h 10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0"/>
                <a:gd name="T67" fmla="*/ 0 h 103"/>
                <a:gd name="T68" fmla="*/ 90 w 90"/>
                <a:gd name="T69" fmla="*/ 103 h 10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0" h="103">
                  <a:moveTo>
                    <a:pt x="2" y="13"/>
                  </a:moveTo>
                  <a:lnTo>
                    <a:pt x="22" y="7"/>
                  </a:lnTo>
                  <a:lnTo>
                    <a:pt x="27" y="20"/>
                  </a:lnTo>
                  <a:lnTo>
                    <a:pt x="34" y="0"/>
                  </a:lnTo>
                  <a:lnTo>
                    <a:pt x="39" y="4"/>
                  </a:lnTo>
                  <a:lnTo>
                    <a:pt x="42" y="20"/>
                  </a:lnTo>
                  <a:lnTo>
                    <a:pt x="28" y="43"/>
                  </a:lnTo>
                  <a:lnTo>
                    <a:pt x="50" y="62"/>
                  </a:lnTo>
                  <a:lnTo>
                    <a:pt x="68" y="47"/>
                  </a:lnTo>
                  <a:lnTo>
                    <a:pt x="87" y="48"/>
                  </a:lnTo>
                  <a:lnTo>
                    <a:pt x="90" y="60"/>
                  </a:lnTo>
                  <a:lnTo>
                    <a:pt x="47" y="85"/>
                  </a:lnTo>
                  <a:lnTo>
                    <a:pt x="48" y="103"/>
                  </a:lnTo>
                  <a:lnTo>
                    <a:pt x="41" y="101"/>
                  </a:lnTo>
                  <a:lnTo>
                    <a:pt x="20" y="81"/>
                  </a:lnTo>
                  <a:lnTo>
                    <a:pt x="38" y="81"/>
                  </a:lnTo>
                  <a:lnTo>
                    <a:pt x="30" y="65"/>
                  </a:lnTo>
                  <a:lnTo>
                    <a:pt x="25" y="72"/>
                  </a:lnTo>
                  <a:lnTo>
                    <a:pt x="14" y="71"/>
                  </a:lnTo>
                  <a:lnTo>
                    <a:pt x="15" y="63"/>
                  </a:lnTo>
                  <a:lnTo>
                    <a:pt x="0" y="51"/>
                  </a:lnTo>
                  <a:lnTo>
                    <a:pt x="2" y="13"/>
                  </a:lnTo>
                  <a:close/>
                </a:path>
              </a:pathLst>
            </a:custGeom>
            <a:grpFill/>
            <a:ln w="6350">
              <a:solidFill>
                <a:schemeClr val="tx2"/>
              </a:solidFill>
              <a:round/>
              <a:headEnd/>
              <a:tailEnd/>
            </a:ln>
          </p:spPr>
          <p:txBody>
            <a:bodyPr/>
            <a:lstStyle/>
            <a:p>
              <a:endParaRPr lang="en-US"/>
            </a:p>
          </p:txBody>
        </p:sp>
        <p:sp>
          <p:nvSpPr>
            <p:cNvPr id="64" name="Freeform 1243"/>
            <p:cNvSpPr>
              <a:spLocks/>
            </p:cNvSpPr>
            <p:nvPr/>
          </p:nvSpPr>
          <p:spPr bwMode="auto">
            <a:xfrm>
              <a:off x="2635456" y="5959420"/>
              <a:ext cx="6069" cy="9103"/>
            </a:xfrm>
            <a:custGeom>
              <a:avLst/>
              <a:gdLst>
                <a:gd name="T0" fmla="*/ 2147483647 w 10"/>
                <a:gd name="T1" fmla="*/ 0 h 19"/>
                <a:gd name="T2" fmla="*/ 2147483647 w 10"/>
                <a:gd name="T3" fmla="*/ 2147483647 h 19"/>
                <a:gd name="T4" fmla="*/ 2147483647 w 10"/>
                <a:gd name="T5" fmla="*/ 2147483647 h 19"/>
                <a:gd name="T6" fmla="*/ 2147483647 w 10"/>
                <a:gd name="T7" fmla="*/ 2147483647 h 19"/>
                <a:gd name="T8" fmla="*/ 2147483647 w 10"/>
                <a:gd name="T9" fmla="*/ 2147483647 h 19"/>
                <a:gd name="T10" fmla="*/ 0 w 10"/>
                <a:gd name="T11" fmla="*/ 2147483647 h 19"/>
                <a:gd name="T12" fmla="*/ 2147483647 w 10"/>
                <a:gd name="T13" fmla="*/ 0 h 19"/>
                <a:gd name="T14" fmla="*/ 0 60000 65536"/>
                <a:gd name="T15" fmla="*/ 0 60000 65536"/>
                <a:gd name="T16" fmla="*/ 0 60000 65536"/>
                <a:gd name="T17" fmla="*/ 0 60000 65536"/>
                <a:gd name="T18" fmla="*/ 0 60000 65536"/>
                <a:gd name="T19" fmla="*/ 0 60000 65536"/>
                <a:gd name="T20" fmla="*/ 0 60000 65536"/>
                <a:gd name="T21" fmla="*/ 0 w 10"/>
                <a:gd name="T22" fmla="*/ 0 h 19"/>
                <a:gd name="T23" fmla="*/ 10 w 1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9">
                  <a:moveTo>
                    <a:pt x="10" y="0"/>
                  </a:moveTo>
                  <a:lnTo>
                    <a:pt x="10" y="15"/>
                  </a:lnTo>
                  <a:lnTo>
                    <a:pt x="4" y="19"/>
                  </a:lnTo>
                  <a:lnTo>
                    <a:pt x="6" y="10"/>
                  </a:lnTo>
                  <a:lnTo>
                    <a:pt x="2" y="11"/>
                  </a:lnTo>
                  <a:lnTo>
                    <a:pt x="0" y="3"/>
                  </a:lnTo>
                  <a:lnTo>
                    <a:pt x="10" y="0"/>
                  </a:lnTo>
                  <a:close/>
                </a:path>
              </a:pathLst>
            </a:custGeom>
            <a:grpFill/>
            <a:ln w="6350">
              <a:solidFill>
                <a:schemeClr val="tx2"/>
              </a:solidFill>
              <a:round/>
              <a:headEnd/>
              <a:tailEnd/>
            </a:ln>
          </p:spPr>
          <p:txBody>
            <a:bodyPr/>
            <a:lstStyle/>
            <a:p>
              <a:endParaRPr lang="en-US"/>
            </a:p>
          </p:txBody>
        </p:sp>
        <p:sp>
          <p:nvSpPr>
            <p:cNvPr id="65" name="Freeform 1244"/>
            <p:cNvSpPr>
              <a:spLocks/>
            </p:cNvSpPr>
            <p:nvPr/>
          </p:nvSpPr>
          <p:spPr bwMode="auto">
            <a:xfrm>
              <a:off x="2621801" y="5970040"/>
              <a:ext cx="33376" cy="22757"/>
            </a:xfrm>
            <a:custGeom>
              <a:avLst/>
              <a:gdLst>
                <a:gd name="T0" fmla="*/ 0 w 68"/>
                <a:gd name="T1" fmla="*/ 0 h 44"/>
                <a:gd name="T2" fmla="*/ 2147483647 w 68"/>
                <a:gd name="T3" fmla="*/ 2147483647 h 44"/>
                <a:gd name="T4" fmla="*/ 2147483647 w 68"/>
                <a:gd name="T5" fmla="*/ 2147483647 h 44"/>
                <a:gd name="T6" fmla="*/ 2147483647 w 68"/>
                <a:gd name="T7" fmla="*/ 2147483647 h 44"/>
                <a:gd name="T8" fmla="*/ 2147483647 w 68"/>
                <a:gd name="T9" fmla="*/ 2147483647 h 44"/>
                <a:gd name="T10" fmla="*/ 0 w 68"/>
                <a:gd name="T11" fmla="*/ 0 h 44"/>
                <a:gd name="T12" fmla="*/ 0 60000 65536"/>
                <a:gd name="T13" fmla="*/ 0 60000 65536"/>
                <a:gd name="T14" fmla="*/ 0 60000 65536"/>
                <a:gd name="T15" fmla="*/ 0 60000 65536"/>
                <a:gd name="T16" fmla="*/ 0 60000 65536"/>
                <a:gd name="T17" fmla="*/ 0 60000 65536"/>
                <a:gd name="T18" fmla="*/ 0 w 68"/>
                <a:gd name="T19" fmla="*/ 0 h 44"/>
                <a:gd name="T20" fmla="*/ 68 w 6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68" h="44">
                  <a:moveTo>
                    <a:pt x="0" y="0"/>
                  </a:moveTo>
                  <a:lnTo>
                    <a:pt x="68" y="44"/>
                  </a:lnTo>
                  <a:lnTo>
                    <a:pt x="51" y="40"/>
                  </a:lnTo>
                  <a:lnTo>
                    <a:pt x="35" y="32"/>
                  </a:lnTo>
                  <a:lnTo>
                    <a:pt x="9" y="18"/>
                  </a:lnTo>
                  <a:lnTo>
                    <a:pt x="0" y="0"/>
                  </a:lnTo>
                  <a:close/>
                </a:path>
              </a:pathLst>
            </a:custGeom>
            <a:grpFill/>
            <a:ln w="6350">
              <a:solidFill>
                <a:schemeClr val="tx2"/>
              </a:solidFill>
              <a:round/>
              <a:headEnd/>
              <a:tailEnd/>
            </a:ln>
          </p:spPr>
          <p:txBody>
            <a:bodyPr/>
            <a:lstStyle/>
            <a:p>
              <a:endParaRPr lang="en-US"/>
            </a:p>
          </p:txBody>
        </p:sp>
        <p:sp>
          <p:nvSpPr>
            <p:cNvPr id="66" name="Freeform 1245"/>
            <p:cNvSpPr>
              <a:spLocks/>
            </p:cNvSpPr>
            <p:nvPr/>
          </p:nvSpPr>
          <p:spPr bwMode="auto">
            <a:xfrm>
              <a:off x="2620285" y="5935147"/>
              <a:ext cx="3034" cy="13653"/>
            </a:xfrm>
            <a:custGeom>
              <a:avLst/>
              <a:gdLst>
                <a:gd name="T0" fmla="*/ 2147483647 w 7"/>
                <a:gd name="T1" fmla="*/ 0 h 27"/>
                <a:gd name="T2" fmla="*/ 2147483647 w 7"/>
                <a:gd name="T3" fmla="*/ 2147483647 h 27"/>
                <a:gd name="T4" fmla="*/ 2147483647 w 7"/>
                <a:gd name="T5" fmla="*/ 2147483647 h 27"/>
                <a:gd name="T6" fmla="*/ 0 w 7"/>
                <a:gd name="T7" fmla="*/ 2147483647 h 27"/>
                <a:gd name="T8" fmla="*/ 2147483647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5" y="0"/>
                  </a:moveTo>
                  <a:lnTo>
                    <a:pt x="7" y="20"/>
                  </a:lnTo>
                  <a:lnTo>
                    <a:pt x="2" y="27"/>
                  </a:lnTo>
                  <a:lnTo>
                    <a:pt x="0" y="16"/>
                  </a:lnTo>
                  <a:lnTo>
                    <a:pt x="5" y="0"/>
                  </a:lnTo>
                  <a:close/>
                </a:path>
              </a:pathLst>
            </a:custGeom>
            <a:grpFill/>
            <a:ln w="6350">
              <a:solidFill>
                <a:schemeClr val="tx2"/>
              </a:solidFill>
              <a:round/>
              <a:headEnd/>
              <a:tailEnd/>
            </a:ln>
          </p:spPr>
          <p:txBody>
            <a:bodyPr/>
            <a:lstStyle/>
            <a:p>
              <a:endParaRPr lang="en-US"/>
            </a:p>
          </p:txBody>
        </p:sp>
        <p:sp>
          <p:nvSpPr>
            <p:cNvPr id="67" name="Freeform 1246"/>
            <p:cNvSpPr>
              <a:spLocks/>
            </p:cNvSpPr>
            <p:nvPr/>
          </p:nvSpPr>
          <p:spPr bwMode="auto">
            <a:xfrm>
              <a:off x="2641524" y="5992797"/>
              <a:ext cx="30342" cy="27308"/>
            </a:xfrm>
            <a:custGeom>
              <a:avLst/>
              <a:gdLst>
                <a:gd name="T0" fmla="*/ 2147483647 w 63"/>
                <a:gd name="T1" fmla="*/ 0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2147483647 h 54"/>
                <a:gd name="T30" fmla="*/ 2147483647 w 63"/>
                <a:gd name="T31" fmla="*/ 2147483647 h 54"/>
                <a:gd name="T32" fmla="*/ 0 w 63"/>
                <a:gd name="T33" fmla="*/ 2147483647 h 54"/>
                <a:gd name="T34" fmla="*/ 2147483647 w 63"/>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3"/>
                <a:gd name="T55" fmla="*/ 0 h 54"/>
                <a:gd name="T56" fmla="*/ 63 w 63"/>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3" h="54">
                  <a:moveTo>
                    <a:pt x="3" y="0"/>
                  </a:moveTo>
                  <a:lnTo>
                    <a:pt x="22" y="9"/>
                  </a:lnTo>
                  <a:lnTo>
                    <a:pt x="36" y="6"/>
                  </a:lnTo>
                  <a:lnTo>
                    <a:pt x="42" y="18"/>
                  </a:lnTo>
                  <a:lnTo>
                    <a:pt x="51" y="15"/>
                  </a:lnTo>
                  <a:lnTo>
                    <a:pt x="62" y="27"/>
                  </a:lnTo>
                  <a:lnTo>
                    <a:pt x="63" y="34"/>
                  </a:lnTo>
                  <a:lnTo>
                    <a:pt x="58" y="35"/>
                  </a:lnTo>
                  <a:lnTo>
                    <a:pt x="55" y="50"/>
                  </a:lnTo>
                  <a:lnTo>
                    <a:pt x="46" y="46"/>
                  </a:lnTo>
                  <a:lnTo>
                    <a:pt x="46" y="54"/>
                  </a:lnTo>
                  <a:lnTo>
                    <a:pt x="33" y="54"/>
                  </a:lnTo>
                  <a:lnTo>
                    <a:pt x="37" y="49"/>
                  </a:lnTo>
                  <a:lnTo>
                    <a:pt x="17" y="42"/>
                  </a:lnTo>
                  <a:lnTo>
                    <a:pt x="18" y="30"/>
                  </a:lnTo>
                  <a:lnTo>
                    <a:pt x="10" y="27"/>
                  </a:lnTo>
                  <a:lnTo>
                    <a:pt x="0" y="5"/>
                  </a:lnTo>
                  <a:lnTo>
                    <a:pt x="3" y="0"/>
                  </a:lnTo>
                  <a:close/>
                </a:path>
              </a:pathLst>
            </a:custGeom>
            <a:grpFill/>
            <a:ln w="6350">
              <a:solidFill>
                <a:schemeClr val="tx2"/>
              </a:solidFill>
              <a:round/>
              <a:headEnd/>
              <a:tailEnd/>
            </a:ln>
          </p:spPr>
          <p:txBody>
            <a:bodyPr/>
            <a:lstStyle/>
            <a:p>
              <a:endParaRPr lang="en-US"/>
            </a:p>
          </p:txBody>
        </p:sp>
        <p:sp>
          <p:nvSpPr>
            <p:cNvPr id="68" name="Freeform 1247"/>
            <p:cNvSpPr>
              <a:spLocks/>
            </p:cNvSpPr>
            <p:nvPr/>
          </p:nvSpPr>
          <p:spPr bwMode="auto">
            <a:xfrm>
              <a:off x="2674902" y="6011002"/>
              <a:ext cx="24273" cy="16688"/>
            </a:xfrm>
            <a:custGeom>
              <a:avLst/>
              <a:gdLst>
                <a:gd name="T0" fmla="*/ 2147483647 w 50"/>
                <a:gd name="T1" fmla="*/ 0 h 35"/>
                <a:gd name="T2" fmla="*/ 2147483647 w 50"/>
                <a:gd name="T3" fmla="*/ 2147483647 h 35"/>
                <a:gd name="T4" fmla="*/ 2147483647 w 50"/>
                <a:gd name="T5" fmla="*/ 2147483647 h 35"/>
                <a:gd name="T6" fmla="*/ 2147483647 w 50"/>
                <a:gd name="T7" fmla="*/ 2147483647 h 35"/>
                <a:gd name="T8" fmla="*/ 2147483647 w 50"/>
                <a:gd name="T9" fmla="*/ 2147483647 h 35"/>
                <a:gd name="T10" fmla="*/ 2147483647 w 50"/>
                <a:gd name="T11" fmla="*/ 2147483647 h 35"/>
                <a:gd name="T12" fmla="*/ 2147483647 w 50"/>
                <a:gd name="T13" fmla="*/ 2147483647 h 35"/>
                <a:gd name="T14" fmla="*/ 2147483647 w 50"/>
                <a:gd name="T15" fmla="*/ 2147483647 h 35"/>
                <a:gd name="T16" fmla="*/ 2147483647 w 50"/>
                <a:gd name="T17" fmla="*/ 2147483647 h 35"/>
                <a:gd name="T18" fmla="*/ 2147483647 w 50"/>
                <a:gd name="T19" fmla="*/ 2147483647 h 35"/>
                <a:gd name="T20" fmla="*/ 2147483647 w 50"/>
                <a:gd name="T21" fmla="*/ 2147483647 h 35"/>
                <a:gd name="T22" fmla="*/ 0 w 50"/>
                <a:gd name="T23" fmla="*/ 2147483647 h 35"/>
                <a:gd name="T24" fmla="*/ 2147483647 w 50"/>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5"/>
                <a:gd name="T41" fmla="*/ 50 w 50"/>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5">
                  <a:moveTo>
                    <a:pt x="12" y="0"/>
                  </a:moveTo>
                  <a:lnTo>
                    <a:pt x="22" y="16"/>
                  </a:lnTo>
                  <a:lnTo>
                    <a:pt x="26" y="9"/>
                  </a:lnTo>
                  <a:lnTo>
                    <a:pt x="37" y="12"/>
                  </a:lnTo>
                  <a:lnTo>
                    <a:pt x="40" y="24"/>
                  </a:lnTo>
                  <a:lnTo>
                    <a:pt x="46" y="21"/>
                  </a:lnTo>
                  <a:lnTo>
                    <a:pt x="50" y="30"/>
                  </a:lnTo>
                  <a:lnTo>
                    <a:pt x="40" y="35"/>
                  </a:lnTo>
                  <a:lnTo>
                    <a:pt x="22" y="26"/>
                  </a:lnTo>
                  <a:lnTo>
                    <a:pt x="20" y="32"/>
                  </a:lnTo>
                  <a:lnTo>
                    <a:pt x="3" y="22"/>
                  </a:lnTo>
                  <a:lnTo>
                    <a:pt x="0" y="6"/>
                  </a:lnTo>
                  <a:lnTo>
                    <a:pt x="12" y="0"/>
                  </a:lnTo>
                  <a:close/>
                </a:path>
              </a:pathLst>
            </a:custGeom>
            <a:grpFill/>
            <a:ln w="6350">
              <a:solidFill>
                <a:schemeClr val="tx2"/>
              </a:solidFill>
              <a:round/>
              <a:headEnd/>
              <a:tailEnd/>
            </a:ln>
          </p:spPr>
          <p:txBody>
            <a:bodyPr/>
            <a:lstStyle/>
            <a:p>
              <a:endParaRPr lang="en-US"/>
            </a:p>
          </p:txBody>
        </p:sp>
        <p:sp>
          <p:nvSpPr>
            <p:cNvPr id="69" name="Freeform 1248"/>
            <p:cNvSpPr>
              <a:spLocks/>
            </p:cNvSpPr>
            <p:nvPr/>
          </p:nvSpPr>
          <p:spPr bwMode="auto">
            <a:xfrm>
              <a:off x="2703726" y="6000382"/>
              <a:ext cx="10620" cy="25792"/>
            </a:xfrm>
            <a:custGeom>
              <a:avLst/>
              <a:gdLst>
                <a:gd name="T0" fmla="*/ 2147483647 w 22"/>
                <a:gd name="T1" fmla="*/ 0 h 51"/>
                <a:gd name="T2" fmla="*/ 2147483647 w 22"/>
                <a:gd name="T3" fmla="*/ 2147483647 h 51"/>
                <a:gd name="T4" fmla="*/ 2147483647 w 22"/>
                <a:gd name="T5" fmla="*/ 2147483647 h 51"/>
                <a:gd name="T6" fmla="*/ 2147483647 w 22"/>
                <a:gd name="T7" fmla="*/ 2147483647 h 51"/>
                <a:gd name="T8" fmla="*/ 2147483647 w 22"/>
                <a:gd name="T9" fmla="*/ 2147483647 h 51"/>
                <a:gd name="T10" fmla="*/ 0 w 22"/>
                <a:gd name="T11" fmla="*/ 2147483647 h 51"/>
                <a:gd name="T12" fmla="*/ 0 w 22"/>
                <a:gd name="T13" fmla="*/ 2147483647 h 51"/>
                <a:gd name="T14" fmla="*/ 2147483647 w 22"/>
                <a:gd name="T15" fmla="*/ 2147483647 h 51"/>
                <a:gd name="T16" fmla="*/ 2147483647 w 22"/>
                <a:gd name="T17" fmla="*/ 2147483647 h 51"/>
                <a:gd name="T18" fmla="*/ 2147483647 w 22"/>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51"/>
                <a:gd name="T32" fmla="*/ 22 w 22"/>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51">
                  <a:moveTo>
                    <a:pt x="12" y="0"/>
                  </a:moveTo>
                  <a:lnTo>
                    <a:pt x="19" y="34"/>
                  </a:lnTo>
                  <a:lnTo>
                    <a:pt x="8" y="29"/>
                  </a:lnTo>
                  <a:lnTo>
                    <a:pt x="9" y="37"/>
                  </a:lnTo>
                  <a:lnTo>
                    <a:pt x="22" y="51"/>
                  </a:lnTo>
                  <a:lnTo>
                    <a:pt x="0" y="34"/>
                  </a:lnTo>
                  <a:lnTo>
                    <a:pt x="0" y="24"/>
                  </a:lnTo>
                  <a:lnTo>
                    <a:pt x="9" y="20"/>
                  </a:lnTo>
                  <a:lnTo>
                    <a:pt x="7" y="11"/>
                  </a:lnTo>
                  <a:lnTo>
                    <a:pt x="12" y="0"/>
                  </a:lnTo>
                  <a:close/>
                </a:path>
              </a:pathLst>
            </a:custGeom>
            <a:grpFill/>
            <a:ln w="6350">
              <a:solidFill>
                <a:schemeClr val="tx2"/>
              </a:solidFill>
              <a:round/>
              <a:headEnd/>
              <a:tailEnd/>
            </a:ln>
          </p:spPr>
          <p:txBody>
            <a:bodyPr/>
            <a:lstStyle/>
            <a:p>
              <a:endParaRPr lang="en-US"/>
            </a:p>
          </p:txBody>
        </p:sp>
        <p:sp>
          <p:nvSpPr>
            <p:cNvPr id="70" name="Freeform 1249"/>
            <p:cNvSpPr>
              <a:spLocks/>
            </p:cNvSpPr>
            <p:nvPr/>
          </p:nvSpPr>
          <p:spPr bwMode="auto">
            <a:xfrm>
              <a:off x="2723448" y="6050447"/>
              <a:ext cx="43995" cy="28825"/>
            </a:xfrm>
            <a:custGeom>
              <a:avLst/>
              <a:gdLst>
                <a:gd name="T0" fmla="*/ 0 w 88"/>
                <a:gd name="T1" fmla="*/ 2147483647 h 55"/>
                <a:gd name="T2" fmla="*/ 2147483647 w 88"/>
                <a:gd name="T3" fmla="*/ 0 h 55"/>
                <a:gd name="T4" fmla="*/ 2147483647 w 88"/>
                <a:gd name="T5" fmla="*/ 2147483647 h 55"/>
                <a:gd name="T6" fmla="*/ 2147483647 w 88"/>
                <a:gd name="T7" fmla="*/ 2147483647 h 55"/>
                <a:gd name="T8" fmla="*/ 2147483647 w 88"/>
                <a:gd name="T9" fmla="*/ 2147483647 h 55"/>
                <a:gd name="T10" fmla="*/ 2147483647 w 88"/>
                <a:gd name="T11" fmla="*/ 2147483647 h 55"/>
                <a:gd name="T12" fmla="*/ 2147483647 w 88"/>
                <a:gd name="T13" fmla="*/ 2147483647 h 55"/>
                <a:gd name="T14" fmla="*/ 2147483647 w 88"/>
                <a:gd name="T15" fmla="*/ 2147483647 h 55"/>
                <a:gd name="T16" fmla="*/ 2147483647 w 88"/>
                <a:gd name="T17" fmla="*/ 2147483647 h 55"/>
                <a:gd name="T18" fmla="*/ 2147483647 w 88"/>
                <a:gd name="T19" fmla="*/ 2147483647 h 55"/>
                <a:gd name="T20" fmla="*/ 2147483647 w 88"/>
                <a:gd name="T21" fmla="*/ 2147483647 h 55"/>
                <a:gd name="T22" fmla="*/ 2147483647 w 88"/>
                <a:gd name="T23" fmla="*/ 2147483647 h 55"/>
                <a:gd name="T24" fmla="*/ 2147483647 w 88"/>
                <a:gd name="T25" fmla="*/ 2147483647 h 55"/>
                <a:gd name="T26" fmla="*/ 2147483647 w 88"/>
                <a:gd name="T27" fmla="*/ 2147483647 h 55"/>
                <a:gd name="T28" fmla="*/ 2147483647 w 88"/>
                <a:gd name="T29" fmla="*/ 2147483647 h 55"/>
                <a:gd name="T30" fmla="*/ 2147483647 w 88"/>
                <a:gd name="T31" fmla="*/ 2147483647 h 55"/>
                <a:gd name="T32" fmla="*/ 0 w 88"/>
                <a:gd name="T33" fmla="*/ 2147483647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
                <a:gd name="T52" fmla="*/ 0 h 55"/>
                <a:gd name="T53" fmla="*/ 88 w 88"/>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 h="55">
                  <a:moveTo>
                    <a:pt x="0" y="14"/>
                  </a:moveTo>
                  <a:lnTo>
                    <a:pt x="66" y="0"/>
                  </a:lnTo>
                  <a:lnTo>
                    <a:pt x="73" y="10"/>
                  </a:lnTo>
                  <a:lnTo>
                    <a:pt x="76" y="19"/>
                  </a:lnTo>
                  <a:lnTo>
                    <a:pt x="78" y="24"/>
                  </a:lnTo>
                  <a:lnTo>
                    <a:pt x="80" y="33"/>
                  </a:lnTo>
                  <a:lnTo>
                    <a:pt x="88" y="55"/>
                  </a:lnTo>
                  <a:lnTo>
                    <a:pt x="68" y="35"/>
                  </a:lnTo>
                  <a:lnTo>
                    <a:pt x="56" y="39"/>
                  </a:lnTo>
                  <a:lnTo>
                    <a:pt x="42" y="21"/>
                  </a:lnTo>
                  <a:lnTo>
                    <a:pt x="28" y="25"/>
                  </a:lnTo>
                  <a:lnTo>
                    <a:pt x="42" y="43"/>
                  </a:lnTo>
                  <a:lnTo>
                    <a:pt x="26" y="42"/>
                  </a:lnTo>
                  <a:lnTo>
                    <a:pt x="13" y="28"/>
                  </a:lnTo>
                  <a:lnTo>
                    <a:pt x="26" y="17"/>
                  </a:lnTo>
                  <a:lnTo>
                    <a:pt x="4" y="23"/>
                  </a:lnTo>
                  <a:lnTo>
                    <a:pt x="0" y="14"/>
                  </a:lnTo>
                  <a:close/>
                </a:path>
              </a:pathLst>
            </a:custGeom>
            <a:grpFill/>
            <a:ln w="6350">
              <a:solidFill>
                <a:schemeClr val="tx2"/>
              </a:solidFill>
              <a:round/>
              <a:headEnd/>
              <a:tailEnd/>
            </a:ln>
          </p:spPr>
          <p:txBody>
            <a:bodyPr/>
            <a:lstStyle/>
            <a:p>
              <a:endParaRPr lang="en-US"/>
            </a:p>
          </p:txBody>
        </p:sp>
        <p:sp>
          <p:nvSpPr>
            <p:cNvPr id="71" name="Freeform 1015"/>
            <p:cNvSpPr>
              <a:spLocks/>
            </p:cNvSpPr>
            <p:nvPr/>
          </p:nvSpPr>
          <p:spPr bwMode="auto">
            <a:xfrm>
              <a:off x="3073901" y="1339810"/>
              <a:ext cx="45514" cy="56134"/>
            </a:xfrm>
            <a:custGeom>
              <a:avLst/>
              <a:gdLst>
                <a:gd name="T0" fmla="*/ 2147483647 w 92"/>
                <a:gd name="T1" fmla="*/ 0 h 110"/>
                <a:gd name="T2" fmla="*/ 2147483647 w 92"/>
                <a:gd name="T3" fmla="*/ 2147483647 h 110"/>
                <a:gd name="T4" fmla="*/ 2147483647 w 92"/>
                <a:gd name="T5" fmla="*/ 2147483647 h 110"/>
                <a:gd name="T6" fmla="*/ 0 w 92"/>
                <a:gd name="T7" fmla="*/ 2147483647 h 110"/>
                <a:gd name="T8" fmla="*/ 2147483647 w 92"/>
                <a:gd name="T9" fmla="*/ 0 h 110"/>
                <a:gd name="T10" fmla="*/ 0 60000 65536"/>
                <a:gd name="T11" fmla="*/ 0 60000 65536"/>
                <a:gd name="T12" fmla="*/ 0 60000 65536"/>
                <a:gd name="T13" fmla="*/ 0 60000 65536"/>
                <a:gd name="T14" fmla="*/ 0 60000 65536"/>
                <a:gd name="T15" fmla="*/ 0 w 92"/>
                <a:gd name="T16" fmla="*/ 0 h 110"/>
                <a:gd name="T17" fmla="*/ 92 w 92"/>
                <a:gd name="T18" fmla="*/ 110 h 110"/>
              </a:gdLst>
              <a:ahLst/>
              <a:cxnLst>
                <a:cxn ang="T10">
                  <a:pos x="T0" y="T1"/>
                </a:cxn>
                <a:cxn ang="T11">
                  <a:pos x="T2" y="T3"/>
                </a:cxn>
                <a:cxn ang="T12">
                  <a:pos x="T4" y="T5"/>
                </a:cxn>
                <a:cxn ang="T13">
                  <a:pos x="T6" y="T7"/>
                </a:cxn>
                <a:cxn ang="T14">
                  <a:pos x="T8" y="T9"/>
                </a:cxn>
              </a:cxnLst>
              <a:rect l="T15" t="T16" r="T17" b="T18"/>
              <a:pathLst>
                <a:path w="92" h="110">
                  <a:moveTo>
                    <a:pt x="10" y="0"/>
                  </a:moveTo>
                  <a:lnTo>
                    <a:pt x="92" y="110"/>
                  </a:lnTo>
                  <a:lnTo>
                    <a:pt x="17" y="77"/>
                  </a:lnTo>
                  <a:lnTo>
                    <a:pt x="0" y="23"/>
                  </a:lnTo>
                  <a:lnTo>
                    <a:pt x="10" y="0"/>
                  </a:lnTo>
                  <a:close/>
                </a:path>
              </a:pathLst>
            </a:custGeom>
            <a:grpFill/>
            <a:ln w="6350">
              <a:solidFill>
                <a:schemeClr val="tx2"/>
              </a:solidFill>
              <a:round/>
              <a:headEnd/>
              <a:tailEnd/>
            </a:ln>
          </p:spPr>
          <p:txBody>
            <a:bodyPr/>
            <a:lstStyle/>
            <a:p>
              <a:endParaRPr lang="en-US"/>
            </a:p>
          </p:txBody>
        </p:sp>
        <p:sp>
          <p:nvSpPr>
            <p:cNvPr id="72" name="Freeform 1016"/>
            <p:cNvSpPr>
              <a:spLocks/>
            </p:cNvSpPr>
            <p:nvPr/>
          </p:nvSpPr>
          <p:spPr bwMode="auto">
            <a:xfrm>
              <a:off x="3193754" y="1286712"/>
              <a:ext cx="63718" cy="100130"/>
            </a:xfrm>
            <a:custGeom>
              <a:avLst/>
              <a:gdLst>
                <a:gd name="T0" fmla="*/ 0 w 134"/>
                <a:gd name="T1" fmla="*/ 2147483647 h 201"/>
                <a:gd name="T2" fmla="*/ 2147483647 w 134"/>
                <a:gd name="T3" fmla="*/ 0 h 201"/>
                <a:gd name="T4" fmla="*/ 2147483647 w 134"/>
                <a:gd name="T5" fmla="*/ 2147483647 h 201"/>
                <a:gd name="T6" fmla="*/ 2147483647 w 134"/>
                <a:gd name="T7" fmla="*/ 2147483647 h 201"/>
                <a:gd name="T8" fmla="*/ 2147483647 w 134"/>
                <a:gd name="T9" fmla="*/ 2147483647 h 201"/>
                <a:gd name="T10" fmla="*/ 2147483647 w 134"/>
                <a:gd name="T11" fmla="*/ 2147483647 h 201"/>
                <a:gd name="T12" fmla="*/ 0 w 134"/>
                <a:gd name="T13" fmla="*/ 2147483647 h 201"/>
                <a:gd name="T14" fmla="*/ 0 60000 65536"/>
                <a:gd name="T15" fmla="*/ 0 60000 65536"/>
                <a:gd name="T16" fmla="*/ 0 60000 65536"/>
                <a:gd name="T17" fmla="*/ 0 60000 65536"/>
                <a:gd name="T18" fmla="*/ 0 60000 65536"/>
                <a:gd name="T19" fmla="*/ 0 60000 65536"/>
                <a:gd name="T20" fmla="*/ 0 60000 65536"/>
                <a:gd name="T21" fmla="*/ 0 w 134"/>
                <a:gd name="T22" fmla="*/ 0 h 201"/>
                <a:gd name="T23" fmla="*/ 134 w 134"/>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4" h="201">
                  <a:moveTo>
                    <a:pt x="0" y="9"/>
                  </a:moveTo>
                  <a:lnTo>
                    <a:pt x="64" y="0"/>
                  </a:lnTo>
                  <a:lnTo>
                    <a:pt x="134" y="106"/>
                  </a:lnTo>
                  <a:lnTo>
                    <a:pt x="107" y="147"/>
                  </a:lnTo>
                  <a:lnTo>
                    <a:pt x="111" y="201"/>
                  </a:lnTo>
                  <a:lnTo>
                    <a:pt x="33" y="92"/>
                  </a:lnTo>
                  <a:lnTo>
                    <a:pt x="0" y="9"/>
                  </a:lnTo>
                  <a:close/>
                </a:path>
              </a:pathLst>
            </a:custGeom>
            <a:grpFill/>
            <a:ln w="6350">
              <a:solidFill>
                <a:schemeClr val="tx2"/>
              </a:solidFill>
              <a:round/>
              <a:headEnd/>
              <a:tailEnd/>
            </a:ln>
          </p:spPr>
          <p:txBody>
            <a:bodyPr/>
            <a:lstStyle/>
            <a:p>
              <a:endParaRPr lang="en-US"/>
            </a:p>
          </p:txBody>
        </p:sp>
        <p:sp>
          <p:nvSpPr>
            <p:cNvPr id="73" name="Freeform 1017"/>
            <p:cNvSpPr>
              <a:spLocks/>
            </p:cNvSpPr>
            <p:nvPr/>
          </p:nvSpPr>
          <p:spPr bwMode="auto">
            <a:xfrm>
              <a:off x="3208926" y="1215408"/>
              <a:ext cx="36411" cy="37929"/>
            </a:xfrm>
            <a:custGeom>
              <a:avLst/>
              <a:gdLst>
                <a:gd name="T0" fmla="*/ 2147483647 w 69"/>
                <a:gd name="T1" fmla="*/ 2147483647 h 77"/>
                <a:gd name="T2" fmla="*/ 0 w 69"/>
                <a:gd name="T3" fmla="*/ 2147483647 h 77"/>
                <a:gd name="T4" fmla="*/ 2147483647 w 69"/>
                <a:gd name="T5" fmla="*/ 0 h 77"/>
                <a:gd name="T6" fmla="*/ 2147483647 w 69"/>
                <a:gd name="T7" fmla="*/ 2147483647 h 77"/>
                <a:gd name="T8" fmla="*/ 2147483647 w 69"/>
                <a:gd name="T9" fmla="*/ 2147483647 h 77"/>
                <a:gd name="T10" fmla="*/ 0 60000 65536"/>
                <a:gd name="T11" fmla="*/ 0 60000 65536"/>
                <a:gd name="T12" fmla="*/ 0 60000 65536"/>
                <a:gd name="T13" fmla="*/ 0 60000 65536"/>
                <a:gd name="T14" fmla="*/ 0 60000 65536"/>
                <a:gd name="T15" fmla="*/ 0 w 69"/>
                <a:gd name="T16" fmla="*/ 0 h 77"/>
                <a:gd name="T17" fmla="*/ 69 w 69"/>
                <a:gd name="T18" fmla="*/ 77 h 77"/>
              </a:gdLst>
              <a:ahLst/>
              <a:cxnLst>
                <a:cxn ang="T10">
                  <a:pos x="T0" y="T1"/>
                </a:cxn>
                <a:cxn ang="T11">
                  <a:pos x="T2" y="T3"/>
                </a:cxn>
                <a:cxn ang="T12">
                  <a:pos x="T4" y="T5"/>
                </a:cxn>
                <a:cxn ang="T13">
                  <a:pos x="T6" y="T7"/>
                </a:cxn>
                <a:cxn ang="T14">
                  <a:pos x="T8" y="T9"/>
                </a:cxn>
              </a:cxnLst>
              <a:rect l="T15" t="T16" r="T17" b="T18"/>
              <a:pathLst>
                <a:path w="69" h="77">
                  <a:moveTo>
                    <a:pt x="26" y="60"/>
                  </a:moveTo>
                  <a:lnTo>
                    <a:pt x="0" y="25"/>
                  </a:lnTo>
                  <a:lnTo>
                    <a:pt x="30" y="0"/>
                  </a:lnTo>
                  <a:lnTo>
                    <a:pt x="69" y="77"/>
                  </a:lnTo>
                  <a:lnTo>
                    <a:pt x="26" y="60"/>
                  </a:lnTo>
                  <a:close/>
                </a:path>
              </a:pathLst>
            </a:custGeom>
            <a:grpFill/>
            <a:ln w="6350">
              <a:solidFill>
                <a:schemeClr val="tx2"/>
              </a:solidFill>
              <a:round/>
              <a:headEnd/>
              <a:tailEnd/>
            </a:ln>
          </p:spPr>
          <p:txBody>
            <a:bodyPr/>
            <a:lstStyle/>
            <a:p>
              <a:endParaRPr lang="en-US"/>
            </a:p>
          </p:txBody>
        </p:sp>
        <p:sp>
          <p:nvSpPr>
            <p:cNvPr id="74" name="Freeform 1018"/>
            <p:cNvSpPr>
              <a:spLocks/>
            </p:cNvSpPr>
            <p:nvPr/>
          </p:nvSpPr>
          <p:spPr bwMode="auto">
            <a:xfrm>
              <a:off x="3337880" y="1203271"/>
              <a:ext cx="27308" cy="31860"/>
            </a:xfrm>
            <a:custGeom>
              <a:avLst/>
              <a:gdLst>
                <a:gd name="T0" fmla="*/ 0 w 52"/>
                <a:gd name="T1" fmla="*/ 0 h 63"/>
                <a:gd name="T2" fmla="*/ 2147483647 w 52"/>
                <a:gd name="T3" fmla="*/ 2147483647 h 63"/>
                <a:gd name="T4" fmla="*/ 2147483647 w 52"/>
                <a:gd name="T5" fmla="*/ 2147483647 h 63"/>
                <a:gd name="T6" fmla="*/ 0 w 52"/>
                <a:gd name="T7" fmla="*/ 0 h 63"/>
                <a:gd name="T8" fmla="*/ 0 60000 65536"/>
                <a:gd name="T9" fmla="*/ 0 60000 65536"/>
                <a:gd name="T10" fmla="*/ 0 60000 65536"/>
                <a:gd name="T11" fmla="*/ 0 60000 65536"/>
                <a:gd name="T12" fmla="*/ 0 w 52"/>
                <a:gd name="T13" fmla="*/ 0 h 63"/>
                <a:gd name="T14" fmla="*/ 52 w 52"/>
                <a:gd name="T15" fmla="*/ 63 h 63"/>
              </a:gdLst>
              <a:ahLst/>
              <a:cxnLst>
                <a:cxn ang="T8">
                  <a:pos x="T0" y="T1"/>
                </a:cxn>
                <a:cxn ang="T9">
                  <a:pos x="T2" y="T3"/>
                </a:cxn>
                <a:cxn ang="T10">
                  <a:pos x="T4" y="T5"/>
                </a:cxn>
                <a:cxn ang="T11">
                  <a:pos x="T6" y="T7"/>
                </a:cxn>
              </a:cxnLst>
              <a:rect l="T12" t="T13" r="T14" b="T15"/>
              <a:pathLst>
                <a:path w="52" h="63">
                  <a:moveTo>
                    <a:pt x="0" y="0"/>
                  </a:moveTo>
                  <a:lnTo>
                    <a:pt x="52" y="30"/>
                  </a:lnTo>
                  <a:lnTo>
                    <a:pt x="43" y="63"/>
                  </a:lnTo>
                  <a:lnTo>
                    <a:pt x="0" y="0"/>
                  </a:lnTo>
                  <a:close/>
                </a:path>
              </a:pathLst>
            </a:custGeom>
            <a:grpFill/>
            <a:ln w="6350">
              <a:solidFill>
                <a:schemeClr val="tx2"/>
              </a:solidFill>
              <a:round/>
              <a:headEnd/>
              <a:tailEnd/>
            </a:ln>
          </p:spPr>
          <p:txBody>
            <a:bodyPr/>
            <a:lstStyle/>
            <a:p>
              <a:endParaRPr lang="en-US"/>
            </a:p>
          </p:txBody>
        </p:sp>
        <p:sp>
          <p:nvSpPr>
            <p:cNvPr id="75" name="Freeform 1019"/>
            <p:cNvSpPr>
              <a:spLocks/>
            </p:cNvSpPr>
            <p:nvPr/>
          </p:nvSpPr>
          <p:spPr bwMode="auto">
            <a:xfrm>
              <a:off x="3336362" y="1160792"/>
              <a:ext cx="39445" cy="47031"/>
            </a:xfrm>
            <a:custGeom>
              <a:avLst/>
              <a:gdLst>
                <a:gd name="T0" fmla="*/ 2147483647 w 79"/>
                <a:gd name="T1" fmla="*/ 0 h 92"/>
                <a:gd name="T2" fmla="*/ 2147483647 w 79"/>
                <a:gd name="T3" fmla="*/ 2147483647 h 92"/>
                <a:gd name="T4" fmla="*/ 2147483647 w 79"/>
                <a:gd name="T5" fmla="*/ 2147483647 h 92"/>
                <a:gd name="T6" fmla="*/ 0 w 79"/>
                <a:gd name="T7" fmla="*/ 2147483647 h 92"/>
                <a:gd name="T8" fmla="*/ 2147483647 w 79"/>
                <a:gd name="T9" fmla="*/ 0 h 92"/>
                <a:gd name="T10" fmla="*/ 0 60000 65536"/>
                <a:gd name="T11" fmla="*/ 0 60000 65536"/>
                <a:gd name="T12" fmla="*/ 0 60000 65536"/>
                <a:gd name="T13" fmla="*/ 0 60000 65536"/>
                <a:gd name="T14" fmla="*/ 0 60000 65536"/>
                <a:gd name="T15" fmla="*/ 0 w 79"/>
                <a:gd name="T16" fmla="*/ 0 h 92"/>
                <a:gd name="T17" fmla="*/ 79 w 79"/>
                <a:gd name="T18" fmla="*/ 92 h 92"/>
              </a:gdLst>
              <a:ahLst/>
              <a:cxnLst>
                <a:cxn ang="T10">
                  <a:pos x="T0" y="T1"/>
                </a:cxn>
                <a:cxn ang="T11">
                  <a:pos x="T2" y="T3"/>
                </a:cxn>
                <a:cxn ang="T12">
                  <a:pos x="T4" y="T5"/>
                </a:cxn>
                <a:cxn ang="T13">
                  <a:pos x="T6" y="T7"/>
                </a:cxn>
                <a:cxn ang="T14">
                  <a:pos x="T8" y="T9"/>
                </a:cxn>
              </a:cxnLst>
              <a:rect l="T15" t="T16" r="T17" b="T18"/>
              <a:pathLst>
                <a:path w="79" h="92">
                  <a:moveTo>
                    <a:pt x="5" y="0"/>
                  </a:moveTo>
                  <a:lnTo>
                    <a:pt x="79" y="92"/>
                  </a:lnTo>
                  <a:lnTo>
                    <a:pt x="3" y="36"/>
                  </a:lnTo>
                  <a:lnTo>
                    <a:pt x="0" y="17"/>
                  </a:lnTo>
                  <a:lnTo>
                    <a:pt x="5" y="0"/>
                  </a:lnTo>
                  <a:close/>
                </a:path>
              </a:pathLst>
            </a:custGeom>
            <a:grpFill/>
            <a:ln w="6350">
              <a:solidFill>
                <a:schemeClr val="tx2"/>
              </a:solidFill>
              <a:round/>
              <a:headEnd/>
              <a:tailEnd/>
            </a:ln>
          </p:spPr>
          <p:txBody>
            <a:bodyPr/>
            <a:lstStyle/>
            <a:p>
              <a:endParaRPr lang="en-US"/>
            </a:p>
          </p:txBody>
        </p:sp>
        <p:sp>
          <p:nvSpPr>
            <p:cNvPr id="76" name="Freeform 1024"/>
            <p:cNvSpPr>
              <a:spLocks/>
            </p:cNvSpPr>
            <p:nvPr/>
          </p:nvSpPr>
          <p:spPr bwMode="auto">
            <a:xfrm>
              <a:off x="3679230" y="2289523"/>
              <a:ext cx="57651" cy="27308"/>
            </a:xfrm>
            <a:custGeom>
              <a:avLst/>
              <a:gdLst>
                <a:gd name="T0" fmla="*/ 2147483647 w 115"/>
                <a:gd name="T1" fmla="*/ 2147483647 h 53"/>
                <a:gd name="T2" fmla="*/ 0 w 115"/>
                <a:gd name="T3" fmla="*/ 2147483647 h 53"/>
                <a:gd name="T4" fmla="*/ 2147483647 w 115"/>
                <a:gd name="T5" fmla="*/ 2147483647 h 53"/>
                <a:gd name="T6" fmla="*/ 2147483647 w 115"/>
                <a:gd name="T7" fmla="*/ 2147483647 h 53"/>
                <a:gd name="T8" fmla="*/ 2147483647 w 115"/>
                <a:gd name="T9" fmla="*/ 2147483647 h 53"/>
                <a:gd name="T10" fmla="*/ 2147483647 w 115"/>
                <a:gd name="T11" fmla="*/ 0 h 53"/>
                <a:gd name="T12" fmla="*/ 2147483647 w 115"/>
                <a:gd name="T13" fmla="*/ 2147483647 h 53"/>
                <a:gd name="T14" fmla="*/ 0 60000 65536"/>
                <a:gd name="T15" fmla="*/ 0 60000 65536"/>
                <a:gd name="T16" fmla="*/ 0 60000 65536"/>
                <a:gd name="T17" fmla="*/ 0 60000 65536"/>
                <a:gd name="T18" fmla="*/ 0 60000 65536"/>
                <a:gd name="T19" fmla="*/ 0 60000 65536"/>
                <a:gd name="T20" fmla="*/ 0 60000 65536"/>
                <a:gd name="T21" fmla="*/ 0 w 115"/>
                <a:gd name="T22" fmla="*/ 0 h 53"/>
                <a:gd name="T23" fmla="*/ 115 w 115"/>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53">
                  <a:moveTo>
                    <a:pt x="2" y="31"/>
                  </a:moveTo>
                  <a:lnTo>
                    <a:pt x="0" y="43"/>
                  </a:lnTo>
                  <a:lnTo>
                    <a:pt x="57" y="53"/>
                  </a:lnTo>
                  <a:lnTo>
                    <a:pt x="115" y="39"/>
                  </a:lnTo>
                  <a:lnTo>
                    <a:pt x="99" y="25"/>
                  </a:lnTo>
                  <a:lnTo>
                    <a:pt x="26" y="0"/>
                  </a:lnTo>
                  <a:lnTo>
                    <a:pt x="2" y="31"/>
                  </a:lnTo>
                  <a:close/>
                </a:path>
              </a:pathLst>
            </a:custGeom>
            <a:grpFill/>
            <a:ln w="6350">
              <a:solidFill>
                <a:schemeClr val="tx2"/>
              </a:solidFill>
              <a:round/>
              <a:headEnd/>
              <a:tailEnd/>
            </a:ln>
          </p:spPr>
          <p:txBody>
            <a:bodyPr/>
            <a:lstStyle/>
            <a:p>
              <a:endParaRPr lang="en-US"/>
            </a:p>
          </p:txBody>
        </p:sp>
        <p:sp>
          <p:nvSpPr>
            <p:cNvPr id="77" name="Freeform 1025"/>
            <p:cNvSpPr>
              <a:spLocks/>
            </p:cNvSpPr>
            <p:nvPr/>
          </p:nvSpPr>
          <p:spPr bwMode="auto">
            <a:xfrm>
              <a:off x="3700471" y="2318349"/>
              <a:ext cx="57651" cy="24273"/>
            </a:xfrm>
            <a:custGeom>
              <a:avLst/>
              <a:gdLst>
                <a:gd name="T0" fmla="*/ 2147483647 w 112"/>
                <a:gd name="T1" fmla="*/ 2147483647 h 50"/>
                <a:gd name="T2" fmla="*/ 2147483647 w 112"/>
                <a:gd name="T3" fmla="*/ 2147483647 h 50"/>
                <a:gd name="T4" fmla="*/ 2147483647 w 112"/>
                <a:gd name="T5" fmla="*/ 2147483647 h 50"/>
                <a:gd name="T6" fmla="*/ 2147483647 w 112"/>
                <a:gd name="T7" fmla="*/ 2147483647 h 50"/>
                <a:gd name="T8" fmla="*/ 2147483647 w 112"/>
                <a:gd name="T9" fmla="*/ 2147483647 h 50"/>
                <a:gd name="T10" fmla="*/ 2147483647 w 112"/>
                <a:gd name="T11" fmla="*/ 2147483647 h 50"/>
                <a:gd name="T12" fmla="*/ 0 w 112"/>
                <a:gd name="T13" fmla="*/ 2147483647 h 50"/>
                <a:gd name="T14" fmla="*/ 2147483647 w 112"/>
                <a:gd name="T15" fmla="*/ 0 h 50"/>
                <a:gd name="T16" fmla="*/ 2147483647 w 112"/>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
                <a:gd name="T28" fmla="*/ 0 h 50"/>
                <a:gd name="T29" fmla="*/ 112 w 11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 h="50">
                  <a:moveTo>
                    <a:pt x="112" y="25"/>
                  </a:moveTo>
                  <a:lnTo>
                    <a:pt x="103" y="35"/>
                  </a:lnTo>
                  <a:lnTo>
                    <a:pt x="112" y="47"/>
                  </a:lnTo>
                  <a:lnTo>
                    <a:pt x="102" y="50"/>
                  </a:lnTo>
                  <a:lnTo>
                    <a:pt x="56" y="21"/>
                  </a:lnTo>
                  <a:lnTo>
                    <a:pt x="15" y="21"/>
                  </a:lnTo>
                  <a:lnTo>
                    <a:pt x="0" y="11"/>
                  </a:lnTo>
                  <a:lnTo>
                    <a:pt x="57" y="0"/>
                  </a:lnTo>
                  <a:lnTo>
                    <a:pt x="112" y="25"/>
                  </a:lnTo>
                  <a:close/>
                </a:path>
              </a:pathLst>
            </a:custGeom>
            <a:grpFill/>
            <a:ln w="6350">
              <a:solidFill>
                <a:schemeClr val="tx2"/>
              </a:solidFill>
              <a:round/>
              <a:headEnd/>
              <a:tailEnd/>
            </a:ln>
          </p:spPr>
          <p:txBody>
            <a:bodyPr/>
            <a:lstStyle/>
            <a:p>
              <a:endParaRPr lang="en-US"/>
            </a:p>
          </p:txBody>
        </p:sp>
        <p:sp>
          <p:nvSpPr>
            <p:cNvPr id="78" name="Freeform 1026"/>
            <p:cNvSpPr>
              <a:spLocks/>
            </p:cNvSpPr>
            <p:nvPr/>
          </p:nvSpPr>
          <p:spPr bwMode="auto">
            <a:xfrm>
              <a:off x="3703504" y="2332003"/>
              <a:ext cx="56133" cy="53099"/>
            </a:xfrm>
            <a:custGeom>
              <a:avLst/>
              <a:gdLst>
                <a:gd name="T0" fmla="*/ 2147483647 w 110"/>
                <a:gd name="T1" fmla="*/ 2147483647 h 106"/>
                <a:gd name="T2" fmla="*/ 2147483647 w 110"/>
                <a:gd name="T3" fmla="*/ 2147483647 h 106"/>
                <a:gd name="T4" fmla="*/ 2147483647 w 110"/>
                <a:gd name="T5" fmla="*/ 2147483647 h 106"/>
                <a:gd name="T6" fmla="*/ 2147483647 w 110"/>
                <a:gd name="T7" fmla="*/ 2147483647 h 106"/>
                <a:gd name="T8" fmla="*/ 2147483647 w 110"/>
                <a:gd name="T9" fmla="*/ 2147483647 h 106"/>
                <a:gd name="T10" fmla="*/ 2147483647 w 110"/>
                <a:gd name="T11" fmla="*/ 2147483647 h 106"/>
                <a:gd name="T12" fmla="*/ 2147483647 w 110"/>
                <a:gd name="T13" fmla="*/ 2147483647 h 106"/>
                <a:gd name="T14" fmla="*/ 2147483647 w 110"/>
                <a:gd name="T15" fmla="*/ 2147483647 h 106"/>
                <a:gd name="T16" fmla="*/ 2147483647 w 110"/>
                <a:gd name="T17" fmla="*/ 2147483647 h 106"/>
                <a:gd name="T18" fmla="*/ 0 w 110"/>
                <a:gd name="T19" fmla="*/ 2147483647 h 106"/>
                <a:gd name="T20" fmla="*/ 2147483647 w 110"/>
                <a:gd name="T21" fmla="*/ 0 h 106"/>
                <a:gd name="T22" fmla="*/ 2147483647 w 110"/>
                <a:gd name="T23" fmla="*/ 2147483647 h 1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106"/>
                <a:gd name="T38" fmla="*/ 110 w 110"/>
                <a:gd name="T39" fmla="*/ 106 h 1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106">
                  <a:moveTo>
                    <a:pt x="64" y="18"/>
                  </a:moveTo>
                  <a:lnTo>
                    <a:pt x="107" y="49"/>
                  </a:lnTo>
                  <a:lnTo>
                    <a:pt x="110" y="66"/>
                  </a:lnTo>
                  <a:lnTo>
                    <a:pt x="77" y="69"/>
                  </a:lnTo>
                  <a:lnTo>
                    <a:pt x="101" y="86"/>
                  </a:lnTo>
                  <a:lnTo>
                    <a:pt x="100" y="104"/>
                  </a:lnTo>
                  <a:lnTo>
                    <a:pt x="95" y="106"/>
                  </a:lnTo>
                  <a:lnTo>
                    <a:pt x="25" y="55"/>
                  </a:lnTo>
                  <a:lnTo>
                    <a:pt x="7" y="36"/>
                  </a:lnTo>
                  <a:lnTo>
                    <a:pt x="0" y="2"/>
                  </a:lnTo>
                  <a:lnTo>
                    <a:pt x="45" y="0"/>
                  </a:lnTo>
                  <a:lnTo>
                    <a:pt x="64" y="18"/>
                  </a:lnTo>
                  <a:close/>
                </a:path>
              </a:pathLst>
            </a:custGeom>
            <a:grpFill/>
            <a:ln w="6350">
              <a:solidFill>
                <a:schemeClr val="tx2"/>
              </a:solidFill>
              <a:round/>
              <a:headEnd/>
              <a:tailEnd/>
            </a:ln>
          </p:spPr>
          <p:txBody>
            <a:bodyPr/>
            <a:lstStyle/>
            <a:p>
              <a:endParaRPr lang="en-US"/>
            </a:p>
          </p:txBody>
        </p:sp>
        <p:sp>
          <p:nvSpPr>
            <p:cNvPr id="79" name="Freeform 1027"/>
            <p:cNvSpPr>
              <a:spLocks/>
            </p:cNvSpPr>
            <p:nvPr/>
          </p:nvSpPr>
          <p:spPr bwMode="auto">
            <a:xfrm>
              <a:off x="3627648" y="2456406"/>
              <a:ext cx="57651" cy="39445"/>
            </a:xfrm>
            <a:custGeom>
              <a:avLst/>
              <a:gdLst>
                <a:gd name="T0" fmla="*/ 2147483647 w 116"/>
                <a:gd name="T1" fmla="*/ 2147483647 h 78"/>
                <a:gd name="T2" fmla="*/ 2147483647 w 116"/>
                <a:gd name="T3" fmla="*/ 2147483647 h 78"/>
                <a:gd name="T4" fmla="*/ 2147483647 w 116"/>
                <a:gd name="T5" fmla="*/ 2147483647 h 78"/>
                <a:gd name="T6" fmla="*/ 0 w 116"/>
                <a:gd name="T7" fmla="*/ 2147483647 h 78"/>
                <a:gd name="T8" fmla="*/ 2147483647 w 116"/>
                <a:gd name="T9" fmla="*/ 2147483647 h 78"/>
                <a:gd name="T10" fmla="*/ 2147483647 w 116"/>
                <a:gd name="T11" fmla="*/ 2147483647 h 78"/>
                <a:gd name="T12" fmla="*/ 2147483647 w 116"/>
                <a:gd name="T13" fmla="*/ 0 h 78"/>
                <a:gd name="T14" fmla="*/ 2147483647 w 116"/>
                <a:gd name="T15" fmla="*/ 2147483647 h 78"/>
                <a:gd name="T16" fmla="*/ 0 60000 65536"/>
                <a:gd name="T17" fmla="*/ 0 60000 65536"/>
                <a:gd name="T18" fmla="*/ 0 60000 65536"/>
                <a:gd name="T19" fmla="*/ 0 60000 65536"/>
                <a:gd name="T20" fmla="*/ 0 60000 65536"/>
                <a:gd name="T21" fmla="*/ 0 60000 65536"/>
                <a:gd name="T22" fmla="*/ 0 60000 65536"/>
                <a:gd name="T23" fmla="*/ 0 60000 65536"/>
                <a:gd name="T24" fmla="*/ 0 w 116"/>
                <a:gd name="T25" fmla="*/ 0 h 78"/>
                <a:gd name="T26" fmla="*/ 116 w 116"/>
                <a:gd name="T27" fmla="*/ 78 h 7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6" h="78">
                  <a:moveTo>
                    <a:pt x="113" y="25"/>
                  </a:moveTo>
                  <a:lnTo>
                    <a:pt x="116" y="54"/>
                  </a:lnTo>
                  <a:lnTo>
                    <a:pt x="106" y="61"/>
                  </a:lnTo>
                  <a:lnTo>
                    <a:pt x="0" y="78"/>
                  </a:lnTo>
                  <a:lnTo>
                    <a:pt x="3" y="55"/>
                  </a:lnTo>
                  <a:lnTo>
                    <a:pt x="40" y="26"/>
                  </a:lnTo>
                  <a:lnTo>
                    <a:pt x="93" y="0"/>
                  </a:lnTo>
                  <a:lnTo>
                    <a:pt x="113" y="25"/>
                  </a:lnTo>
                  <a:close/>
                </a:path>
              </a:pathLst>
            </a:custGeom>
            <a:grpFill/>
            <a:ln w="6350">
              <a:solidFill>
                <a:schemeClr val="tx2"/>
              </a:solidFill>
              <a:round/>
              <a:headEnd/>
              <a:tailEnd/>
            </a:ln>
          </p:spPr>
          <p:txBody>
            <a:bodyPr/>
            <a:lstStyle/>
            <a:p>
              <a:endParaRPr lang="en-US"/>
            </a:p>
          </p:txBody>
        </p:sp>
        <p:sp>
          <p:nvSpPr>
            <p:cNvPr id="80" name="Freeform 1028"/>
            <p:cNvSpPr>
              <a:spLocks/>
            </p:cNvSpPr>
            <p:nvPr/>
          </p:nvSpPr>
          <p:spPr bwMode="auto">
            <a:xfrm>
              <a:off x="3703504" y="2723417"/>
              <a:ext cx="236670" cy="159298"/>
            </a:xfrm>
            <a:custGeom>
              <a:avLst/>
              <a:gdLst>
                <a:gd name="T0" fmla="*/ 2147483647 w 474"/>
                <a:gd name="T1" fmla="*/ 2147483647 h 320"/>
                <a:gd name="T2" fmla="*/ 2147483647 w 474"/>
                <a:gd name="T3" fmla="*/ 2147483647 h 320"/>
                <a:gd name="T4" fmla="*/ 2147483647 w 474"/>
                <a:gd name="T5" fmla="*/ 2147483647 h 320"/>
                <a:gd name="T6" fmla="*/ 2147483647 w 474"/>
                <a:gd name="T7" fmla="*/ 2147483647 h 320"/>
                <a:gd name="T8" fmla="*/ 2147483647 w 474"/>
                <a:gd name="T9" fmla="*/ 2147483647 h 320"/>
                <a:gd name="T10" fmla="*/ 2147483647 w 474"/>
                <a:gd name="T11" fmla="*/ 2147483647 h 320"/>
                <a:gd name="T12" fmla="*/ 2147483647 w 474"/>
                <a:gd name="T13" fmla="*/ 2147483647 h 320"/>
                <a:gd name="T14" fmla="*/ 2147483647 w 474"/>
                <a:gd name="T15" fmla="*/ 2147483647 h 320"/>
                <a:gd name="T16" fmla="*/ 2147483647 w 474"/>
                <a:gd name="T17" fmla="*/ 2147483647 h 320"/>
                <a:gd name="T18" fmla="*/ 2147483647 w 474"/>
                <a:gd name="T19" fmla="*/ 2147483647 h 320"/>
                <a:gd name="T20" fmla="*/ 2147483647 w 474"/>
                <a:gd name="T21" fmla="*/ 2147483647 h 320"/>
                <a:gd name="T22" fmla="*/ 0 w 474"/>
                <a:gd name="T23" fmla="*/ 2147483647 h 320"/>
                <a:gd name="T24" fmla="*/ 2147483647 w 474"/>
                <a:gd name="T25" fmla="*/ 2147483647 h 320"/>
                <a:gd name="T26" fmla="*/ 2147483647 w 474"/>
                <a:gd name="T27" fmla="*/ 2147483647 h 320"/>
                <a:gd name="T28" fmla="*/ 2147483647 w 474"/>
                <a:gd name="T29" fmla="*/ 2147483647 h 320"/>
                <a:gd name="T30" fmla="*/ 2147483647 w 474"/>
                <a:gd name="T31" fmla="*/ 2147483647 h 320"/>
                <a:gd name="T32" fmla="*/ 2147483647 w 474"/>
                <a:gd name="T33" fmla="*/ 2147483647 h 320"/>
                <a:gd name="T34" fmla="*/ 2147483647 w 474"/>
                <a:gd name="T35" fmla="*/ 2147483647 h 320"/>
                <a:gd name="T36" fmla="*/ 2147483647 w 474"/>
                <a:gd name="T37" fmla="*/ 2147483647 h 320"/>
                <a:gd name="T38" fmla="*/ 2147483647 w 474"/>
                <a:gd name="T39" fmla="*/ 2147483647 h 320"/>
                <a:gd name="T40" fmla="*/ 2147483647 w 474"/>
                <a:gd name="T41" fmla="*/ 2147483647 h 320"/>
                <a:gd name="T42" fmla="*/ 2147483647 w 474"/>
                <a:gd name="T43" fmla="*/ 2147483647 h 320"/>
                <a:gd name="T44" fmla="*/ 2147483647 w 474"/>
                <a:gd name="T45" fmla="*/ 2147483647 h 320"/>
                <a:gd name="T46" fmla="*/ 2147483647 w 474"/>
                <a:gd name="T47" fmla="*/ 2147483647 h 320"/>
                <a:gd name="T48" fmla="*/ 2147483647 w 474"/>
                <a:gd name="T49" fmla="*/ 2147483647 h 320"/>
                <a:gd name="T50" fmla="*/ 2147483647 w 474"/>
                <a:gd name="T51" fmla="*/ 2147483647 h 320"/>
                <a:gd name="T52" fmla="*/ 2147483647 w 474"/>
                <a:gd name="T53" fmla="*/ 2147483647 h 320"/>
                <a:gd name="T54" fmla="*/ 2147483647 w 474"/>
                <a:gd name="T55" fmla="*/ 2147483647 h 320"/>
                <a:gd name="T56" fmla="*/ 2147483647 w 474"/>
                <a:gd name="T57" fmla="*/ 2147483647 h 320"/>
                <a:gd name="T58" fmla="*/ 2147483647 w 474"/>
                <a:gd name="T59" fmla="*/ 2147483647 h 320"/>
                <a:gd name="T60" fmla="*/ 2147483647 w 474"/>
                <a:gd name="T61" fmla="*/ 2147483647 h 320"/>
                <a:gd name="T62" fmla="*/ 2147483647 w 474"/>
                <a:gd name="T63" fmla="*/ 2147483647 h 320"/>
                <a:gd name="T64" fmla="*/ 2147483647 w 474"/>
                <a:gd name="T65" fmla="*/ 2147483647 h 320"/>
                <a:gd name="T66" fmla="*/ 2147483647 w 474"/>
                <a:gd name="T67" fmla="*/ 2147483647 h 320"/>
                <a:gd name="T68" fmla="*/ 2147483647 w 474"/>
                <a:gd name="T69" fmla="*/ 2147483647 h 320"/>
                <a:gd name="T70" fmla="*/ 2147483647 w 474"/>
                <a:gd name="T71" fmla="*/ 2147483647 h 320"/>
                <a:gd name="T72" fmla="*/ 2147483647 w 474"/>
                <a:gd name="T73" fmla="*/ 2147483647 h 320"/>
                <a:gd name="T74" fmla="*/ 2147483647 w 474"/>
                <a:gd name="T75" fmla="*/ 2147483647 h 320"/>
                <a:gd name="T76" fmla="*/ 2147483647 w 474"/>
                <a:gd name="T77" fmla="*/ 2147483647 h 320"/>
                <a:gd name="T78" fmla="*/ 2147483647 w 474"/>
                <a:gd name="T79" fmla="*/ 2147483647 h 320"/>
                <a:gd name="T80" fmla="*/ 2147483647 w 474"/>
                <a:gd name="T81" fmla="*/ 2147483647 h 320"/>
                <a:gd name="T82" fmla="*/ 2147483647 w 474"/>
                <a:gd name="T83" fmla="*/ 2147483647 h 320"/>
                <a:gd name="T84" fmla="*/ 2147483647 w 474"/>
                <a:gd name="T85" fmla="*/ 2147483647 h 320"/>
                <a:gd name="T86" fmla="*/ 2147483647 w 474"/>
                <a:gd name="T87" fmla="*/ 0 h 320"/>
                <a:gd name="T88" fmla="*/ 2147483647 w 474"/>
                <a:gd name="T89" fmla="*/ 2147483647 h 320"/>
                <a:gd name="T90" fmla="*/ 2147483647 w 474"/>
                <a:gd name="T91" fmla="*/ 2147483647 h 320"/>
                <a:gd name="T92" fmla="*/ 2147483647 w 474"/>
                <a:gd name="T93" fmla="*/ 2147483647 h 320"/>
                <a:gd name="T94" fmla="*/ 2147483647 w 474"/>
                <a:gd name="T95" fmla="*/ 2147483647 h 320"/>
                <a:gd name="T96" fmla="*/ 2147483647 w 474"/>
                <a:gd name="T97" fmla="*/ 2147483647 h 320"/>
                <a:gd name="T98" fmla="*/ 2147483647 w 474"/>
                <a:gd name="T99" fmla="*/ 2147483647 h 320"/>
                <a:gd name="T100" fmla="*/ 2147483647 w 474"/>
                <a:gd name="T101" fmla="*/ 2147483647 h 320"/>
                <a:gd name="T102" fmla="*/ 2147483647 w 474"/>
                <a:gd name="T103" fmla="*/ 2147483647 h 320"/>
                <a:gd name="T104" fmla="*/ 2147483647 w 474"/>
                <a:gd name="T105" fmla="*/ 2147483647 h 320"/>
                <a:gd name="T106" fmla="*/ 2147483647 w 474"/>
                <a:gd name="T107" fmla="*/ 2147483647 h 320"/>
                <a:gd name="T108" fmla="*/ 2147483647 w 474"/>
                <a:gd name="T109" fmla="*/ 2147483647 h 320"/>
                <a:gd name="T110" fmla="*/ 2147483647 w 474"/>
                <a:gd name="T111" fmla="*/ 2147483647 h 320"/>
                <a:gd name="T112" fmla="*/ 2147483647 w 474"/>
                <a:gd name="T113" fmla="*/ 2147483647 h 320"/>
                <a:gd name="T114" fmla="*/ 2147483647 w 474"/>
                <a:gd name="T115" fmla="*/ 2147483647 h 320"/>
                <a:gd name="T116" fmla="*/ 2147483647 w 474"/>
                <a:gd name="T117" fmla="*/ 2147483647 h 3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4"/>
                <a:gd name="T178" fmla="*/ 0 h 320"/>
                <a:gd name="T179" fmla="*/ 474 w 474"/>
                <a:gd name="T180" fmla="*/ 320 h 3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4" h="320">
                  <a:moveTo>
                    <a:pt x="196" y="304"/>
                  </a:moveTo>
                  <a:lnTo>
                    <a:pt x="143" y="273"/>
                  </a:lnTo>
                  <a:lnTo>
                    <a:pt x="80" y="278"/>
                  </a:lnTo>
                  <a:lnTo>
                    <a:pt x="78" y="253"/>
                  </a:lnTo>
                  <a:lnTo>
                    <a:pt x="89" y="261"/>
                  </a:lnTo>
                  <a:lnTo>
                    <a:pt x="117" y="241"/>
                  </a:lnTo>
                  <a:lnTo>
                    <a:pt x="117" y="226"/>
                  </a:lnTo>
                  <a:lnTo>
                    <a:pt x="103" y="230"/>
                  </a:lnTo>
                  <a:lnTo>
                    <a:pt x="118" y="203"/>
                  </a:lnTo>
                  <a:lnTo>
                    <a:pt x="105" y="212"/>
                  </a:lnTo>
                  <a:lnTo>
                    <a:pt x="85" y="177"/>
                  </a:lnTo>
                  <a:lnTo>
                    <a:pt x="26" y="182"/>
                  </a:lnTo>
                  <a:lnTo>
                    <a:pt x="27" y="172"/>
                  </a:lnTo>
                  <a:lnTo>
                    <a:pt x="75" y="155"/>
                  </a:lnTo>
                  <a:lnTo>
                    <a:pt x="113" y="158"/>
                  </a:lnTo>
                  <a:lnTo>
                    <a:pt x="119" y="139"/>
                  </a:lnTo>
                  <a:lnTo>
                    <a:pt x="110" y="150"/>
                  </a:lnTo>
                  <a:lnTo>
                    <a:pt x="87" y="144"/>
                  </a:lnTo>
                  <a:lnTo>
                    <a:pt x="116" y="114"/>
                  </a:lnTo>
                  <a:lnTo>
                    <a:pt x="98" y="112"/>
                  </a:lnTo>
                  <a:lnTo>
                    <a:pt x="88" y="98"/>
                  </a:lnTo>
                  <a:lnTo>
                    <a:pt x="70" y="96"/>
                  </a:lnTo>
                  <a:lnTo>
                    <a:pt x="37" y="115"/>
                  </a:lnTo>
                  <a:lnTo>
                    <a:pt x="0" y="112"/>
                  </a:lnTo>
                  <a:lnTo>
                    <a:pt x="6" y="96"/>
                  </a:lnTo>
                  <a:lnTo>
                    <a:pt x="25" y="97"/>
                  </a:lnTo>
                  <a:lnTo>
                    <a:pt x="28" y="91"/>
                  </a:lnTo>
                  <a:lnTo>
                    <a:pt x="16" y="76"/>
                  </a:lnTo>
                  <a:lnTo>
                    <a:pt x="41" y="94"/>
                  </a:lnTo>
                  <a:lnTo>
                    <a:pt x="55" y="91"/>
                  </a:lnTo>
                  <a:lnTo>
                    <a:pt x="48" y="87"/>
                  </a:lnTo>
                  <a:lnTo>
                    <a:pt x="54" y="78"/>
                  </a:lnTo>
                  <a:lnTo>
                    <a:pt x="32" y="72"/>
                  </a:lnTo>
                  <a:lnTo>
                    <a:pt x="41" y="68"/>
                  </a:lnTo>
                  <a:lnTo>
                    <a:pt x="29" y="51"/>
                  </a:lnTo>
                  <a:lnTo>
                    <a:pt x="41" y="58"/>
                  </a:lnTo>
                  <a:lnTo>
                    <a:pt x="37" y="46"/>
                  </a:lnTo>
                  <a:lnTo>
                    <a:pt x="45" y="50"/>
                  </a:lnTo>
                  <a:lnTo>
                    <a:pt x="39" y="39"/>
                  </a:lnTo>
                  <a:lnTo>
                    <a:pt x="60" y="46"/>
                  </a:lnTo>
                  <a:lnTo>
                    <a:pt x="63" y="59"/>
                  </a:lnTo>
                  <a:lnTo>
                    <a:pt x="73" y="55"/>
                  </a:lnTo>
                  <a:lnTo>
                    <a:pt x="82" y="73"/>
                  </a:lnTo>
                  <a:lnTo>
                    <a:pt x="85" y="64"/>
                  </a:lnTo>
                  <a:lnTo>
                    <a:pt x="89" y="73"/>
                  </a:lnTo>
                  <a:lnTo>
                    <a:pt x="94" y="62"/>
                  </a:lnTo>
                  <a:lnTo>
                    <a:pt x="89" y="47"/>
                  </a:lnTo>
                  <a:lnTo>
                    <a:pt x="69" y="34"/>
                  </a:lnTo>
                  <a:lnTo>
                    <a:pt x="73" y="25"/>
                  </a:lnTo>
                  <a:lnTo>
                    <a:pt x="88" y="29"/>
                  </a:lnTo>
                  <a:lnTo>
                    <a:pt x="79" y="19"/>
                  </a:lnTo>
                  <a:lnTo>
                    <a:pt x="59" y="21"/>
                  </a:lnTo>
                  <a:lnTo>
                    <a:pt x="61" y="7"/>
                  </a:lnTo>
                  <a:lnTo>
                    <a:pt x="90" y="12"/>
                  </a:lnTo>
                  <a:lnTo>
                    <a:pt x="135" y="56"/>
                  </a:lnTo>
                  <a:lnTo>
                    <a:pt x="127" y="62"/>
                  </a:lnTo>
                  <a:lnTo>
                    <a:pt x="136" y="67"/>
                  </a:lnTo>
                  <a:lnTo>
                    <a:pt x="137" y="78"/>
                  </a:lnTo>
                  <a:lnTo>
                    <a:pt x="129" y="88"/>
                  </a:lnTo>
                  <a:lnTo>
                    <a:pt x="132" y="96"/>
                  </a:lnTo>
                  <a:lnTo>
                    <a:pt x="132" y="104"/>
                  </a:lnTo>
                  <a:lnTo>
                    <a:pt x="136" y="99"/>
                  </a:lnTo>
                  <a:lnTo>
                    <a:pt x="139" y="109"/>
                  </a:lnTo>
                  <a:lnTo>
                    <a:pt x="134" y="113"/>
                  </a:lnTo>
                  <a:lnTo>
                    <a:pt x="142" y="118"/>
                  </a:lnTo>
                  <a:lnTo>
                    <a:pt x="143" y="137"/>
                  </a:lnTo>
                  <a:lnTo>
                    <a:pt x="149" y="119"/>
                  </a:lnTo>
                  <a:lnTo>
                    <a:pt x="158" y="118"/>
                  </a:lnTo>
                  <a:lnTo>
                    <a:pt x="162" y="91"/>
                  </a:lnTo>
                  <a:lnTo>
                    <a:pt x="174" y="107"/>
                  </a:lnTo>
                  <a:lnTo>
                    <a:pt x="179" y="100"/>
                  </a:lnTo>
                  <a:lnTo>
                    <a:pt x="183" y="76"/>
                  </a:lnTo>
                  <a:lnTo>
                    <a:pt x="178" y="47"/>
                  </a:lnTo>
                  <a:lnTo>
                    <a:pt x="183" y="43"/>
                  </a:lnTo>
                  <a:lnTo>
                    <a:pt x="216" y="84"/>
                  </a:lnTo>
                  <a:lnTo>
                    <a:pt x="222" y="69"/>
                  </a:lnTo>
                  <a:lnTo>
                    <a:pt x="220" y="52"/>
                  </a:lnTo>
                  <a:lnTo>
                    <a:pt x="249" y="36"/>
                  </a:lnTo>
                  <a:lnTo>
                    <a:pt x="277" y="92"/>
                  </a:lnTo>
                  <a:lnTo>
                    <a:pt x="278" y="70"/>
                  </a:lnTo>
                  <a:lnTo>
                    <a:pt x="270" y="39"/>
                  </a:lnTo>
                  <a:lnTo>
                    <a:pt x="282" y="39"/>
                  </a:lnTo>
                  <a:lnTo>
                    <a:pt x="297" y="57"/>
                  </a:lnTo>
                  <a:lnTo>
                    <a:pt x="308" y="51"/>
                  </a:lnTo>
                  <a:lnTo>
                    <a:pt x="312" y="38"/>
                  </a:lnTo>
                  <a:lnTo>
                    <a:pt x="349" y="39"/>
                  </a:lnTo>
                  <a:lnTo>
                    <a:pt x="344" y="6"/>
                  </a:lnTo>
                  <a:lnTo>
                    <a:pt x="358" y="0"/>
                  </a:lnTo>
                  <a:lnTo>
                    <a:pt x="377" y="15"/>
                  </a:lnTo>
                  <a:lnTo>
                    <a:pt x="377" y="29"/>
                  </a:lnTo>
                  <a:lnTo>
                    <a:pt x="389" y="38"/>
                  </a:lnTo>
                  <a:lnTo>
                    <a:pt x="427" y="14"/>
                  </a:lnTo>
                  <a:lnTo>
                    <a:pt x="430" y="18"/>
                  </a:lnTo>
                  <a:lnTo>
                    <a:pt x="405" y="47"/>
                  </a:lnTo>
                  <a:lnTo>
                    <a:pt x="407" y="53"/>
                  </a:lnTo>
                  <a:lnTo>
                    <a:pt x="423" y="50"/>
                  </a:lnTo>
                  <a:lnTo>
                    <a:pt x="426" y="65"/>
                  </a:lnTo>
                  <a:lnTo>
                    <a:pt x="421" y="86"/>
                  </a:lnTo>
                  <a:lnTo>
                    <a:pt x="440" y="83"/>
                  </a:lnTo>
                  <a:lnTo>
                    <a:pt x="440" y="96"/>
                  </a:lnTo>
                  <a:lnTo>
                    <a:pt x="452" y="101"/>
                  </a:lnTo>
                  <a:lnTo>
                    <a:pt x="454" y="90"/>
                  </a:lnTo>
                  <a:lnTo>
                    <a:pt x="467" y="115"/>
                  </a:lnTo>
                  <a:lnTo>
                    <a:pt x="460" y="130"/>
                  </a:lnTo>
                  <a:lnTo>
                    <a:pt x="466" y="141"/>
                  </a:lnTo>
                  <a:lnTo>
                    <a:pt x="474" y="136"/>
                  </a:lnTo>
                  <a:lnTo>
                    <a:pt x="474" y="148"/>
                  </a:lnTo>
                  <a:lnTo>
                    <a:pt x="465" y="170"/>
                  </a:lnTo>
                  <a:lnTo>
                    <a:pt x="433" y="191"/>
                  </a:lnTo>
                  <a:lnTo>
                    <a:pt x="430" y="198"/>
                  </a:lnTo>
                  <a:lnTo>
                    <a:pt x="444" y="193"/>
                  </a:lnTo>
                  <a:lnTo>
                    <a:pt x="415" y="234"/>
                  </a:lnTo>
                  <a:lnTo>
                    <a:pt x="395" y="217"/>
                  </a:lnTo>
                  <a:lnTo>
                    <a:pt x="394" y="228"/>
                  </a:lnTo>
                  <a:lnTo>
                    <a:pt x="354" y="265"/>
                  </a:lnTo>
                  <a:lnTo>
                    <a:pt x="322" y="268"/>
                  </a:lnTo>
                  <a:lnTo>
                    <a:pt x="279" y="309"/>
                  </a:lnTo>
                  <a:lnTo>
                    <a:pt x="254" y="320"/>
                  </a:lnTo>
                  <a:lnTo>
                    <a:pt x="196" y="304"/>
                  </a:lnTo>
                  <a:close/>
                </a:path>
              </a:pathLst>
            </a:custGeom>
            <a:grpFill/>
            <a:ln w="6350">
              <a:solidFill>
                <a:schemeClr val="tx2"/>
              </a:solidFill>
              <a:round/>
              <a:headEnd/>
              <a:tailEnd/>
            </a:ln>
          </p:spPr>
          <p:txBody>
            <a:bodyPr/>
            <a:lstStyle/>
            <a:p>
              <a:endParaRPr lang="en-US"/>
            </a:p>
          </p:txBody>
        </p:sp>
        <p:sp>
          <p:nvSpPr>
            <p:cNvPr id="81" name="Freeform 1029"/>
            <p:cNvSpPr>
              <a:spLocks/>
            </p:cNvSpPr>
            <p:nvPr/>
          </p:nvSpPr>
          <p:spPr bwMode="auto">
            <a:xfrm>
              <a:off x="2665799" y="1115278"/>
              <a:ext cx="1298649" cy="1917631"/>
            </a:xfrm>
            <a:custGeom>
              <a:avLst/>
              <a:gdLst>
                <a:gd name="T0" fmla="*/ 2147483647 w 2612"/>
                <a:gd name="T1" fmla="*/ 2147483647 h 3860"/>
                <a:gd name="T2" fmla="*/ 2147483647 w 2612"/>
                <a:gd name="T3" fmla="*/ 2147483647 h 3860"/>
                <a:gd name="T4" fmla="*/ 2147483647 w 2612"/>
                <a:gd name="T5" fmla="*/ 2147483647 h 3860"/>
                <a:gd name="T6" fmla="*/ 2147483647 w 2612"/>
                <a:gd name="T7" fmla="*/ 2147483647 h 3860"/>
                <a:gd name="T8" fmla="*/ 2147483647 w 2612"/>
                <a:gd name="T9" fmla="*/ 2147483647 h 3860"/>
                <a:gd name="T10" fmla="*/ 2147483647 w 2612"/>
                <a:gd name="T11" fmla="*/ 2147483647 h 3860"/>
                <a:gd name="T12" fmla="*/ 2147483647 w 2612"/>
                <a:gd name="T13" fmla="*/ 2147483647 h 3860"/>
                <a:gd name="T14" fmla="*/ 2147483647 w 2612"/>
                <a:gd name="T15" fmla="*/ 2147483647 h 3860"/>
                <a:gd name="T16" fmla="*/ 2147483647 w 2612"/>
                <a:gd name="T17" fmla="*/ 2147483647 h 3860"/>
                <a:gd name="T18" fmla="*/ 2147483647 w 2612"/>
                <a:gd name="T19" fmla="*/ 2147483647 h 3860"/>
                <a:gd name="T20" fmla="*/ 2147483647 w 2612"/>
                <a:gd name="T21" fmla="*/ 2147483647 h 3860"/>
                <a:gd name="T22" fmla="*/ 2147483647 w 2612"/>
                <a:gd name="T23" fmla="*/ 2147483647 h 3860"/>
                <a:gd name="T24" fmla="*/ 2147483647 w 2612"/>
                <a:gd name="T25" fmla="*/ 2147483647 h 3860"/>
                <a:gd name="T26" fmla="*/ 2147483647 w 2612"/>
                <a:gd name="T27" fmla="*/ 2147483647 h 3860"/>
                <a:gd name="T28" fmla="*/ 2147483647 w 2612"/>
                <a:gd name="T29" fmla="*/ 2147483647 h 3860"/>
                <a:gd name="T30" fmla="*/ 2147483647 w 2612"/>
                <a:gd name="T31" fmla="*/ 2147483647 h 3860"/>
                <a:gd name="T32" fmla="*/ 2147483647 w 2612"/>
                <a:gd name="T33" fmla="*/ 2147483647 h 3860"/>
                <a:gd name="T34" fmla="*/ 2147483647 w 2612"/>
                <a:gd name="T35" fmla="*/ 2147483647 h 3860"/>
                <a:gd name="T36" fmla="*/ 2147483647 w 2612"/>
                <a:gd name="T37" fmla="*/ 2147483647 h 3860"/>
                <a:gd name="T38" fmla="*/ 2147483647 w 2612"/>
                <a:gd name="T39" fmla="*/ 2147483647 h 3860"/>
                <a:gd name="T40" fmla="*/ 2147483647 w 2612"/>
                <a:gd name="T41" fmla="*/ 2147483647 h 3860"/>
                <a:gd name="T42" fmla="*/ 2147483647 w 2612"/>
                <a:gd name="T43" fmla="*/ 2147483647 h 3860"/>
                <a:gd name="T44" fmla="*/ 2147483647 w 2612"/>
                <a:gd name="T45" fmla="*/ 2147483647 h 3860"/>
                <a:gd name="T46" fmla="*/ 2147483647 w 2612"/>
                <a:gd name="T47" fmla="*/ 2147483647 h 3860"/>
                <a:gd name="T48" fmla="*/ 2147483647 w 2612"/>
                <a:gd name="T49" fmla="*/ 2147483647 h 3860"/>
                <a:gd name="T50" fmla="*/ 2147483647 w 2612"/>
                <a:gd name="T51" fmla="*/ 2147483647 h 3860"/>
                <a:gd name="T52" fmla="*/ 2147483647 w 2612"/>
                <a:gd name="T53" fmla="*/ 2147483647 h 3860"/>
                <a:gd name="T54" fmla="*/ 2147483647 w 2612"/>
                <a:gd name="T55" fmla="*/ 2147483647 h 3860"/>
                <a:gd name="T56" fmla="*/ 2147483647 w 2612"/>
                <a:gd name="T57" fmla="*/ 2147483647 h 3860"/>
                <a:gd name="T58" fmla="*/ 2147483647 w 2612"/>
                <a:gd name="T59" fmla="*/ 2147483647 h 3860"/>
                <a:gd name="T60" fmla="*/ 2147483647 w 2612"/>
                <a:gd name="T61" fmla="*/ 2147483647 h 3860"/>
                <a:gd name="T62" fmla="*/ 2147483647 w 2612"/>
                <a:gd name="T63" fmla="*/ 2147483647 h 3860"/>
                <a:gd name="T64" fmla="*/ 2147483647 w 2612"/>
                <a:gd name="T65" fmla="*/ 2147483647 h 3860"/>
                <a:gd name="T66" fmla="*/ 2147483647 w 2612"/>
                <a:gd name="T67" fmla="*/ 2147483647 h 3860"/>
                <a:gd name="T68" fmla="*/ 2147483647 w 2612"/>
                <a:gd name="T69" fmla="*/ 2147483647 h 3860"/>
                <a:gd name="T70" fmla="*/ 2147483647 w 2612"/>
                <a:gd name="T71" fmla="*/ 2147483647 h 3860"/>
                <a:gd name="T72" fmla="*/ 2147483647 w 2612"/>
                <a:gd name="T73" fmla="*/ 2147483647 h 3860"/>
                <a:gd name="T74" fmla="*/ 2147483647 w 2612"/>
                <a:gd name="T75" fmla="*/ 2147483647 h 3860"/>
                <a:gd name="T76" fmla="*/ 2147483647 w 2612"/>
                <a:gd name="T77" fmla="*/ 2147483647 h 3860"/>
                <a:gd name="T78" fmla="*/ 2147483647 w 2612"/>
                <a:gd name="T79" fmla="*/ 2147483647 h 3860"/>
                <a:gd name="T80" fmla="*/ 2147483647 w 2612"/>
                <a:gd name="T81" fmla="*/ 2147483647 h 3860"/>
                <a:gd name="T82" fmla="*/ 2147483647 w 2612"/>
                <a:gd name="T83" fmla="*/ 2147483647 h 3860"/>
                <a:gd name="T84" fmla="*/ 2147483647 w 2612"/>
                <a:gd name="T85" fmla="*/ 2147483647 h 3860"/>
                <a:gd name="T86" fmla="*/ 2147483647 w 2612"/>
                <a:gd name="T87" fmla="*/ 2147483647 h 3860"/>
                <a:gd name="T88" fmla="*/ 2147483647 w 2612"/>
                <a:gd name="T89" fmla="*/ 2147483647 h 3860"/>
                <a:gd name="T90" fmla="*/ 2147483647 w 2612"/>
                <a:gd name="T91" fmla="*/ 2147483647 h 3860"/>
                <a:gd name="T92" fmla="*/ 2147483647 w 2612"/>
                <a:gd name="T93" fmla="*/ 2147483647 h 3860"/>
                <a:gd name="T94" fmla="*/ 2147483647 w 2612"/>
                <a:gd name="T95" fmla="*/ 2147483647 h 3860"/>
                <a:gd name="T96" fmla="*/ 2147483647 w 2612"/>
                <a:gd name="T97" fmla="*/ 2147483647 h 3860"/>
                <a:gd name="T98" fmla="*/ 2147483647 w 2612"/>
                <a:gd name="T99" fmla="*/ 2147483647 h 3860"/>
                <a:gd name="T100" fmla="*/ 2147483647 w 2612"/>
                <a:gd name="T101" fmla="*/ 2147483647 h 3860"/>
                <a:gd name="T102" fmla="*/ 2147483647 w 2612"/>
                <a:gd name="T103" fmla="*/ 2147483647 h 3860"/>
                <a:gd name="T104" fmla="*/ 2147483647 w 2612"/>
                <a:gd name="T105" fmla="*/ 2147483647 h 3860"/>
                <a:gd name="T106" fmla="*/ 2147483647 w 2612"/>
                <a:gd name="T107" fmla="*/ 2147483647 h 3860"/>
                <a:gd name="T108" fmla="*/ 2147483647 w 2612"/>
                <a:gd name="T109" fmla="*/ 2147483647 h 3860"/>
                <a:gd name="T110" fmla="*/ 2147483647 w 2612"/>
                <a:gd name="T111" fmla="*/ 2147483647 h 3860"/>
                <a:gd name="T112" fmla="*/ 2147483647 w 2612"/>
                <a:gd name="T113" fmla="*/ 2147483647 h 3860"/>
                <a:gd name="T114" fmla="*/ 2147483647 w 2612"/>
                <a:gd name="T115" fmla="*/ 2147483647 h 3860"/>
                <a:gd name="T116" fmla="*/ 2147483647 w 2612"/>
                <a:gd name="T117" fmla="*/ 2147483647 h 38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12"/>
                <a:gd name="T178" fmla="*/ 0 h 3860"/>
                <a:gd name="T179" fmla="*/ 2612 w 2612"/>
                <a:gd name="T180" fmla="*/ 3860 h 38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12" h="3860">
                  <a:moveTo>
                    <a:pt x="1347" y="3592"/>
                  </a:moveTo>
                  <a:lnTo>
                    <a:pt x="1355" y="3591"/>
                  </a:lnTo>
                  <a:lnTo>
                    <a:pt x="1355" y="3600"/>
                  </a:lnTo>
                  <a:lnTo>
                    <a:pt x="1346" y="3606"/>
                  </a:lnTo>
                  <a:lnTo>
                    <a:pt x="1315" y="3609"/>
                  </a:lnTo>
                  <a:lnTo>
                    <a:pt x="1298" y="3623"/>
                  </a:lnTo>
                  <a:lnTo>
                    <a:pt x="1312" y="3628"/>
                  </a:lnTo>
                  <a:lnTo>
                    <a:pt x="1321" y="3647"/>
                  </a:lnTo>
                  <a:lnTo>
                    <a:pt x="1329" y="3703"/>
                  </a:lnTo>
                  <a:lnTo>
                    <a:pt x="1304" y="3751"/>
                  </a:lnTo>
                  <a:lnTo>
                    <a:pt x="1297" y="3811"/>
                  </a:lnTo>
                  <a:lnTo>
                    <a:pt x="1281" y="3826"/>
                  </a:lnTo>
                  <a:lnTo>
                    <a:pt x="1287" y="3851"/>
                  </a:lnTo>
                  <a:lnTo>
                    <a:pt x="1245" y="3850"/>
                  </a:lnTo>
                  <a:lnTo>
                    <a:pt x="1243" y="3838"/>
                  </a:lnTo>
                  <a:lnTo>
                    <a:pt x="1218" y="3860"/>
                  </a:lnTo>
                  <a:lnTo>
                    <a:pt x="1197" y="3847"/>
                  </a:lnTo>
                  <a:lnTo>
                    <a:pt x="1208" y="3814"/>
                  </a:lnTo>
                  <a:lnTo>
                    <a:pt x="1193" y="3824"/>
                  </a:lnTo>
                  <a:lnTo>
                    <a:pt x="1195" y="3805"/>
                  </a:lnTo>
                  <a:lnTo>
                    <a:pt x="1192" y="3805"/>
                  </a:lnTo>
                  <a:lnTo>
                    <a:pt x="1180" y="3821"/>
                  </a:lnTo>
                  <a:lnTo>
                    <a:pt x="1171" y="3802"/>
                  </a:lnTo>
                  <a:lnTo>
                    <a:pt x="1185" y="3790"/>
                  </a:lnTo>
                  <a:lnTo>
                    <a:pt x="1185" y="3779"/>
                  </a:lnTo>
                  <a:lnTo>
                    <a:pt x="1156" y="3799"/>
                  </a:lnTo>
                  <a:lnTo>
                    <a:pt x="1152" y="3798"/>
                  </a:lnTo>
                  <a:lnTo>
                    <a:pt x="1155" y="3791"/>
                  </a:lnTo>
                  <a:lnTo>
                    <a:pt x="1177" y="3777"/>
                  </a:lnTo>
                  <a:lnTo>
                    <a:pt x="1160" y="3779"/>
                  </a:lnTo>
                  <a:lnTo>
                    <a:pt x="1163" y="3768"/>
                  </a:lnTo>
                  <a:lnTo>
                    <a:pt x="1069" y="3791"/>
                  </a:lnTo>
                  <a:lnTo>
                    <a:pt x="1092" y="3770"/>
                  </a:lnTo>
                  <a:lnTo>
                    <a:pt x="1066" y="3753"/>
                  </a:lnTo>
                  <a:lnTo>
                    <a:pt x="1053" y="3756"/>
                  </a:lnTo>
                  <a:lnTo>
                    <a:pt x="1048" y="3752"/>
                  </a:lnTo>
                  <a:lnTo>
                    <a:pt x="1048" y="3741"/>
                  </a:lnTo>
                  <a:lnTo>
                    <a:pt x="1031" y="3740"/>
                  </a:lnTo>
                  <a:lnTo>
                    <a:pt x="1065" y="3729"/>
                  </a:lnTo>
                  <a:lnTo>
                    <a:pt x="1022" y="3729"/>
                  </a:lnTo>
                  <a:lnTo>
                    <a:pt x="1034" y="3715"/>
                  </a:lnTo>
                  <a:lnTo>
                    <a:pt x="1015" y="3693"/>
                  </a:lnTo>
                  <a:lnTo>
                    <a:pt x="1032" y="3676"/>
                  </a:lnTo>
                  <a:lnTo>
                    <a:pt x="1005" y="3686"/>
                  </a:lnTo>
                  <a:lnTo>
                    <a:pt x="1001" y="3677"/>
                  </a:lnTo>
                  <a:lnTo>
                    <a:pt x="1006" y="3673"/>
                  </a:lnTo>
                  <a:lnTo>
                    <a:pt x="1003" y="3667"/>
                  </a:lnTo>
                  <a:lnTo>
                    <a:pt x="1010" y="3663"/>
                  </a:lnTo>
                  <a:lnTo>
                    <a:pt x="995" y="3660"/>
                  </a:lnTo>
                  <a:lnTo>
                    <a:pt x="998" y="3646"/>
                  </a:lnTo>
                  <a:lnTo>
                    <a:pt x="980" y="3636"/>
                  </a:lnTo>
                  <a:lnTo>
                    <a:pt x="985" y="3611"/>
                  </a:lnTo>
                  <a:lnTo>
                    <a:pt x="976" y="3618"/>
                  </a:lnTo>
                  <a:lnTo>
                    <a:pt x="971" y="3595"/>
                  </a:lnTo>
                  <a:lnTo>
                    <a:pt x="958" y="3592"/>
                  </a:lnTo>
                  <a:lnTo>
                    <a:pt x="943" y="3566"/>
                  </a:lnTo>
                  <a:lnTo>
                    <a:pt x="940" y="3549"/>
                  </a:lnTo>
                  <a:lnTo>
                    <a:pt x="925" y="3532"/>
                  </a:lnTo>
                  <a:lnTo>
                    <a:pt x="934" y="3521"/>
                  </a:lnTo>
                  <a:lnTo>
                    <a:pt x="925" y="3523"/>
                  </a:lnTo>
                  <a:lnTo>
                    <a:pt x="927" y="3504"/>
                  </a:lnTo>
                  <a:lnTo>
                    <a:pt x="922" y="3487"/>
                  </a:lnTo>
                  <a:lnTo>
                    <a:pt x="946" y="3473"/>
                  </a:lnTo>
                  <a:lnTo>
                    <a:pt x="949" y="3461"/>
                  </a:lnTo>
                  <a:lnTo>
                    <a:pt x="980" y="3450"/>
                  </a:lnTo>
                  <a:lnTo>
                    <a:pt x="956" y="3442"/>
                  </a:lnTo>
                  <a:lnTo>
                    <a:pt x="963" y="3428"/>
                  </a:lnTo>
                  <a:lnTo>
                    <a:pt x="986" y="3433"/>
                  </a:lnTo>
                  <a:lnTo>
                    <a:pt x="981" y="3421"/>
                  </a:lnTo>
                  <a:lnTo>
                    <a:pt x="958" y="3415"/>
                  </a:lnTo>
                  <a:lnTo>
                    <a:pt x="952" y="3428"/>
                  </a:lnTo>
                  <a:lnTo>
                    <a:pt x="936" y="3429"/>
                  </a:lnTo>
                  <a:lnTo>
                    <a:pt x="916" y="3469"/>
                  </a:lnTo>
                  <a:lnTo>
                    <a:pt x="900" y="3472"/>
                  </a:lnTo>
                  <a:lnTo>
                    <a:pt x="898" y="3432"/>
                  </a:lnTo>
                  <a:lnTo>
                    <a:pt x="909" y="3414"/>
                  </a:lnTo>
                  <a:lnTo>
                    <a:pt x="899" y="3416"/>
                  </a:lnTo>
                  <a:lnTo>
                    <a:pt x="896" y="3396"/>
                  </a:lnTo>
                  <a:lnTo>
                    <a:pt x="890" y="3393"/>
                  </a:lnTo>
                  <a:lnTo>
                    <a:pt x="894" y="3378"/>
                  </a:lnTo>
                  <a:lnTo>
                    <a:pt x="892" y="3366"/>
                  </a:lnTo>
                  <a:lnTo>
                    <a:pt x="885" y="3377"/>
                  </a:lnTo>
                  <a:lnTo>
                    <a:pt x="881" y="3367"/>
                  </a:lnTo>
                  <a:lnTo>
                    <a:pt x="894" y="3354"/>
                  </a:lnTo>
                  <a:lnTo>
                    <a:pt x="873" y="3345"/>
                  </a:lnTo>
                  <a:lnTo>
                    <a:pt x="872" y="3322"/>
                  </a:lnTo>
                  <a:lnTo>
                    <a:pt x="854" y="3329"/>
                  </a:lnTo>
                  <a:lnTo>
                    <a:pt x="867" y="3304"/>
                  </a:lnTo>
                  <a:lnTo>
                    <a:pt x="854" y="3310"/>
                  </a:lnTo>
                  <a:lnTo>
                    <a:pt x="843" y="3293"/>
                  </a:lnTo>
                  <a:lnTo>
                    <a:pt x="862" y="3274"/>
                  </a:lnTo>
                  <a:lnTo>
                    <a:pt x="838" y="3274"/>
                  </a:lnTo>
                  <a:lnTo>
                    <a:pt x="846" y="3263"/>
                  </a:lnTo>
                  <a:lnTo>
                    <a:pt x="835" y="3257"/>
                  </a:lnTo>
                  <a:lnTo>
                    <a:pt x="838" y="3237"/>
                  </a:lnTo>
                  <a:lnTo>
                    <a:pt x="853" y="3239"/>
                  </a:lnTo>
                  <a:lnTo>
                    <a:pt x="842" y="3228"/>
                  </a:lnTo>
                  <a:lnTo>
                    <a:pt x="856" y="3213"/>
                  </a:lnTo>
                  <a:lnTo>
                    <a:pt x="858" y="3197"/>
                  </a:lnTo>
                  <a:lnTo>
                    <a:pt x="833" y="3198"/>
                  </a:lnTo>
                  <a:lnTo>
                    <a:pt x="835" y="3188"/>
                  </a:lnTo>
                  <a:lnTo>
                    <a:pt x="821" y="3177"/>
                  </a:lnTo>
                  <a:lnTo>
                    <a:pt x="821" y="3158"/>
                  </a:lnTo>
                  <a:lnTo>
                    <a:pt x="830" y="3147"/>
                  </a:lnTo>
                  <a:lnTo>
                    <a:pt x="827" y="3138"/>
                  </a:lnTo>
                  <a:lnTo>
                    <a:pt x="844" y="3124"/>
                  </a:lnTo>
                  <a:lnTo>
                    <a:pt x="831" y="3121"/>
                  </a:lnTo>
                  <a:lnTo>
                    <a:pt x="839" y="3110"/>
                  </a:lnTo>
                  <a:lnTo>
                    <a:pt x="837" y="3087"/>
                  </a:lnTo>
                  <a:lnTo>
                    <a:pt x="858" y="3079"/>
                  </a:lnTo>
                  <a:lnTo>
                    <a:pt x="842" y="3059"/>
                  </a:lnTo>
                  <a:lnTo>
                    <a:pt x="948" y="3061"/>
                  </a:lnTo>
                  <a:lnTo>
                    <a:pt x="923" y="3041"/>
                  </a:lnTo>
                  <a:lnTo>
                    <a:pt x="935" y="3034"/>
                  </a:lnTo>
                  <a:lnTo>
                    <a:pt x="937" y="3022"/>
                  </a:lnTo>
                  <a:lnTo>
                    <a:pt x="921" y="3022"/>
                  </a:lnTo>
                  <a:lnTo>
                    <a:pt x="929" y="3035"/>
                  </a:lnTo>
                  <a:lnTo>
                    <a:pt x="887" y="3047"/>
                  </a:lnTo>
                  <a:lnTo>
                    <a:pt x="868" y="3046"/>
                  </a:lnTo>
                  <a:lnTo>
                    <a:pt x="864" y="3028"/>
                  </a:lnTo>
                  <a:lnTo>
                    <a:pt x="879" y="3009"/>
                  </a:lnTo>
                  <a:lnTo>
                    <a:pt x="938" y="3006"/>
                  </a:lnTo>
                  <a:lnTo>
                    <a:pt x="947" y="2984"/>
                  </a:lnTo>
                  <a:lnTo>
                    <a:pt x="934" y="2982"/>
                  </a:lnTo>
                  <a:lnTo>
                    <a:pt x="943" y="2972"/>
                  </a:lnTo>
                  <a:lnTo>
                    <a:pt x="938" y="2965"/>
                  </a:lnTo>
                  <a:lnTo>
                    <a:pt x="939" y="2942"/>
                  </a:lnTo>
                  <a:lnTo>
                    <a:pt x="971" y="2948"/>
                  </a:lnTo>
                  <a:lnTo>
                    <a:pt x="963" y="2940"/>
                  </a:lnTo>
                  <a:lnTo>
                    <a:pt x="977" y="2932"/>
                  </a:lnTo>
                  <a:lnTo>
                    <a:pt x="971" y="2918"/>
                  </a:lnTo>
                  <a:lnTo>
                    <a:pt x="957" y="2929"/>
                  </a:lnTo>
                  <a:lnTo>
                    <a:pt x="946" y="2920"/>
                  </a:lnTo>
                  <a:lnTo>
                    <a:pt x="947" y="2901"/>
                  </a:lnTo>
                  <a:lnTo>
                    <a:pt x="957" y="2896"/>
                  </a:lnTo>
                  <a:lnTo>
                    <a:pt x="952" y="2880"/>
                  </a:lnTo>
                  <a:lnTo>
                    <a:pt x="963" y="2875"/>
                  </a:lnTo>
                  <a:lnTo>
                    <a:pt x="960" y="2862"/>
                  </a:lnTo>
                  <a:lnTo>
                    <a:pt x="973" y="2856"/>
                  </a:lnTo>
                  <a:lnTo>
                    <a:pt x="969" y="2844"/>
                  </a:lnTo>
                  <a:lnTo>
                    <a:pt x="971" y="2832"/>
                  </a:lnTo>
                  <a:lnTo>
                    <a:pt x="885" y="2824"/>
                  </a:lnTo>
                  <a:lnTo>
                    <a:pt x="867" y="2802"/>
                  </a:lnTo>
                  <a:lnTo>
                    <a:pt x="820" y="2783"/>
                  </a:lnTo>
                  <a:lnTo>
                    <a:pt x="794" y="2746"/>
                  </a:lnTo>
                  <a:lnTo>
                    <a:pt x="818" y="2731"/>
                  </a:lnTo>
                  <a:lnTo>
                    <a:pt x="867" y="2738"/>
                  </a:lnTo>
                  <a:lnTo>
                    <a:pt x="916" y="2778"/>
                  </a:lnTo>
                  <a:lnTo>
                    <a:pt x="960" y="2791"/>
                  </a:lnTo>
                  <a:lnTo>
                    <a:pt x="958" y="2772"/>
                  </a:lnTo>
                  <a:lnTo>
                    <a:pt x="943" y="2778"/>
                  </a:lnTo>
                  <a:lnTo>
                    <a:pt x="934" y="2758"/>
                  </a:lnTo>
                  <a:lnTo>
                    <a:pt x="947" y="2763"/>
                  </a:lnTo>
                  <a:lnTo>
                    <a:pt x="944" y="2756"/>
                  </a:lnTo>
                  <a:lnTo>
                    <a:pt x="953" y="2748"/>
                  </a:lnTo>
                  <a:lnTo>
                    <a:pt x="958" y="2746"/>
                  </a:lnTo>
                  <a:lnTo>
                    <a:pt x="953" y="2734"/>
                  </a:lnTo>
                  <a:lnTo>
                    <a:pt x="906" y="2697"/>
                  </a:lnTo>
                  <a:lnTo>
                    <a:pt x="927" y="2707"/>
                  </a:lnTo>
                  <a:lnTo>
                    <a:pt x="931" y="2701"/>
                  </a:lnTo>
                  <a:lnTo>
                    <a:pt x="924" y="2695"/>
                  </a:lnTo>
                  <a:lnTo>
                    <a:pt x="927" y="2685"/>
                  </a:lnTo>
                  <a:lnTo>
                    <a:pt x="894" y="2689"/>
                  </a:lnTo>
                  <a:lnTo>
                    <a:pt x="916" y="2661"/>
                  </a:lnTo>
                  <a:lnTo>
                    <a:pt x="879" y="2684"/>
                  </a:lnTo>
                  <a:lnTo>
                    <a:pt x="891" y="2656"/>
                  </a:lnTo>
                  <a:lnTo>
                    <a:pt x="906" y="2645"/>
                  </a:lnTo>
                  <a:lnTo>
                    <a:pt x="859" y="2652"/>
                  </a:lnTo>
                  <a:lnTo>
                    <a:pt x="907" y="2614"/>
                  </a:lnTo>
                  <a:lnTo>
                    <a:pt x="853" y="2610"/>
                  </a:lnTo>
                  <a:lnTo>
                    <a:pt x="861" y="2583"/>
                  </a:lnTo>
                  <a:lnTo>
                    <a:pt x="849" y="2596"/>
                  </a:lnTo>
                  <a:lnTo>
                    <a:pt x="835" y="2568"/>
                  </a:lnTo>
                  <a:lnTo>
                    <a:pt x="835" y="2593"/>
                  </a:lnTo>
                  <a:lnTo>
                    <a:pt x="809" y="2621"/>
                  </a:lnTo>
                  <a:lnTo>
                    <a:pt x="817" y="2630"/>
                  </a:lnTo>
                  <a:lnTo>
                    <a:pt x="816" y="2644"/>
                  </a:lnTo>
                  <a:lnTo>
                    <a:pt x="793" y="2657"/>
                  </a:lnTo>
                  <a:lnTo>
                    <a:pt x="765" y="2639"/>
                  </a:lnTo>
                  <a:lnTo>
                    <a:pt x="757" y="2651"/>
                  </a:lnTo>
                  <a:lnTo>
                    <a:pt x="745" y="2626"/>
                  </a:lnTo>
                  <a:lnTo>
                    <a:pt x="741" y="2613"/>
                  </a:lnTo>
                  <a:lnTo>
                    <a:pt x="749" y="2601"/>
                  </a:lnTo>
                  <a:lnTo>
                    <a:pt x="763" y="2579"/>
                  </a:lnTo>
                  <a:lnTo>
                    <a:pt x="750" y="2564"/>
                  </a:lnTo>
                  <a:lnTo>
                    <a:pt x="784" y="2519"/>
                  </a:lnTo>
                  <a:lnTo>
                    <a:pt x="780" y="2506"/>
                  </a:lnTo>
                  <a:lnTo>
                    <a:pt x="788" y="2502"/>
                  </a:lnTo>
                  <a:lnTo>
                    <a:pt x="785" y="2477"/>
                  </a:lnTo>
                  <a:lnTo>
                    <a:pt x="792" y="2447"/>
                  </a:lnTo>
                  <a:lnTo>
                    <a:pt x="746" y="2418"/>
                  </a:lnTo>
                  <a:lnTo>
                    <a:pt x="765" y="2397"/>
                  </a:lnTo>
                  <a:lnTo>
                    <a:pt x="756" y="2389"/>
                  </a:lnTo>
                  <a:lnTo>
                    <a:pt x="767" y="2366"/>
                  </a:lnTo>
                  <a:lnTo>
                    <a:pt x="748" y="2376"/>
                  </a:lnTo>
                  <a:lnTo>
                    <a:pt x="751" y="2350"/>
                  </a:lnTo>
                  <a:lnTo>
                    <a:pt x="730" y="2333"/>
                  </a:lnTo>
                  <a:lnTo>
                    <a:pt x="731" y="2318"/>
                  </a:lnTo>
                  <a:lnTo>
                    <a:pt x="739" y="2321"/>
                  </a:lnTo>
                  <a:lnTo>
                    <a:pt x="741" y="2300"/>
                  </a:lnTo>
                  <a:lnTo>
                    <a:pt x="725" y="2283"/>
                  </a:lnTo>
                  <a:lnTo>
                    <a:pt x="731" y="2274"/>
                  </a:lnTo>
                  <a:lnTo>
                    <a:pt x="717" y="2269"/>
                  </a:lnTo>
                  <a:lnTo>
                    <a:pt x="722" y="2236"/>
                  </a:lnTo>
                  <a:lnTo>
                    <a:pt x="701" y="2222"/>
                  </a:lnTo>
                  <a:lnTo>
                    <a:pt x="694" y="2207"/>
                  </a:lnTo>
                  <a:lnTo>
                    <a:pt x="719" y="2198"/>
                  </a:lnTo>
                  <a:lnTo>
                    <a:pt x="685" y="2165"/>
                  </a:lnTo>
                  <a:lnTo>
                    <a:pt x="682" y="2155"/>
                  </a:lnTo>
                  <a:lnTo>
                    <a:pt x="690" y="2137"/>
                  </a:lnTo>
                  <a:lnTo>
                    <a:pt x="640" y="2095"/>
                  </a:lnTo>
                  <a:lnTo>
                    <a:pt x="629" y="2047"/>
                  </a:lnTo>
                  <a:lnTo>
                    <a:pt x="621" y="2057"/>
                  </a:lnTo>
                  <a:lnTo>
                    <a:pt x="632" y="2024"/>
                  </a:lnTo>
                  <a:lnTo>
                    <a:pt x="619" y="1990"/>
                  </a:lnTo>
                  <a:lnTo>
                    <a:pt x="607" y="1994"/>
                  </a:lnTo>
                  <a:lnTo>
                    <a:pt x="590" y="1968"/>
                  </a:lnTo>
                  <a:lnTo>
                    <a:pt x="570" y="1982"/>
                  </a:lnTo>
                  <a:lnTo>
                    <a:pt x="569" y="1955"/>
                  </a:lnTo>
                  <a:lnTo>
                    <a:pt x="529" y="1932"/>
                  </a:lnTo>
                  <a:lnTo>
                    <a:pt x="528" y="1949"/>
                  </a:lnTo>
                  <a:lnTo>
                    <a:pt x="517" y="1922"/>
                  </a:lnTo>
                  <a:lnTo>
                    <a:pt x="421" y="1885"/>
                  </a:lnTo>
                  <a:lnTo>
                    <a:pt x="396" y="1921"/>
                  </a:lnTo>
                  <a:lnTo>
                    <a:pt x="386" y="1892"/>
                  </a:lnTo>
                  <a:lnTo>
                    <a:pt x="330" y="1947"/>
                  </a:lnTo>
                  <a:lnTo>
                    <a:pt x="317" y="1932"/>
                  </a:lnTo>
                  <a:lnTo>
                    <a:pt x="323" y="1902"/>
                  </a:lnTo>
                  <a:lnTo>
                    <a:pt x="301" y="1894"/>
                  </a:lnTo>
                  <a:lnTo>
                    <a:pt x="291" y="1925"/>
                  </a:lnTo>
                  <a:lnTo>
                    <a:pt x="259" y="1903"/>
                  </a:lnTo>
                  <a:lnTo>
                    <a:pt x="247" y="1919"/>
                  </a:lnTo>
                  <a:lnTo>
                    <a:pt x="286" y="1968"/>
                  </a:lnTo>
                  <a:lnTo>
                    <a:pt x="206" y="1938"/>
                  </a:lnTo>
                  <a:lnTo>
                    <a:pt x="146" y="1872"/>
                  </a:lnTo>
                  <a:lnTo>
                    <a:pt x="207" y="1819"/>
                  </a:lnTo>
                  <a:lnTo>
                    <a:pt x="131" y="1808"/>
                  </a:lnTo>
                  <a:lnTo>
                    <a:pt x="126" y="1788"/>
                  </a:lnTo>
                  <a:lnTo>
                    <a:pt x="141" y="1760"/>
                  </a:lnTo>
                  <a:lnTo>
                    <a:pt x="136" y="1756"/>
                  </a:lnTo>
                  <a:lnTo>
                    <a:pt x="117" y="1796"/>
                  </a:lnTo>
                  <a:lnTo>
                    <a:pt x="102" y="1800"/>
                  </a:lnTo>
                  <a:lnTo>
                    <a:pt x="65" y="1765"/>
                  </a:lnTo>
                  <a:lnTo>
                    <a:pt x="70" y="1757"/>
                  </a:lnTo>
                  <a:lnTo>
                    <a:pt x="115" y="1713"/>
                  </a:lnTo>
                  <a:lnTo>
                    <a:pt x="285" y="1737"/>
                  </a:lnTo>
                  <a:lnTo>
                    <a:pt x="313" y="1715"/>
                  </a:lnTo>
                  <a:lnTo>
                    <a:pt x="281" y="1675"/>
                  </a:lnTo>
                  <a:lnTo>
                    <a:pt x="307" y="1660"/>
                  </a:lnTo>
                  <a:lnTo>
                    <a:pt x="310" y="1646"/>
                  </a:lnTo>
                  <a:lnTo>
                    <a:pt x="295" y="1620"/>
                  </a:lnTo>
                  <a:lnTo>
                    <a:pt x="272" y="1635"/>
                  </a:lnTo>
                  <a:lnTo>
                    <a:pt x="268" y="1629"/>
                  </a:lnTo>
                  <a:lnTo>
                    <a:pt x="272" y="1615"/>
                  </a:lnTo>
                  <a:lnTo>
                    <a:pt x="228" y="1651"/>
                  </a:lnTo>
                  <a:lnTo>
                    <a:pt x="182" y="1626"/>
                  </a:lnTo>
                  <a:lnTo>
                    <a:pt x="187" y="1655"/>
                  </a:lnTo>
                  <a:lnTo>
                    <a:pt x="169" y="1665"/>
                  </a:lnTo>
                  <a:lnTo>
                    <a:pt x="125" y="1650"/>
                  </a:lnTo>
                  <a:lnTo>
                    <a:pt x="121" y="1638"/>
                  </a:lnTo>
                  <a:lnTo>
                    <a:pt x="142" y="1615"/>
                  </a:lnTo>
                  <a:lnTo>
                    <a:pt x="101" y="1624"/>
                  </a:lnTo>
                  <a:lnTo>
                    <a:pt x="122" y="1587"/>
                  </a:lnTo>
                  <a:lnTo>
                    <a:pt x="73" y="1604"/>
                  </a:lnTo>
                  <a:lnTo>
                    <a:pt x="69" y="1594"/>
                  </a:lnTo>
                  <a:lnTo>
                    <a:pt x="72" y="1583"/>
                  </a:lnTo>
                  <a:lnTo>
                    <a:pt x="32" y="1569"/>
                  </a:lnTo>
                  <a:lnTo>
                    <a:pt x="27" y="1546"/>
                  </a:lnTo>
                  <a:lnTo>
                    <a:pt x="0" y="1521"/>
                  </a:lnTo>
                  <a:lnTo>
                    <a:pt x="22" y="1498"/>
                  </a:lnTo>
                  <a:lnTo>
                    <a:pt x="5" y="1486"/>
                  </a:lnTo>
                  <a:lnTo>
                    <a:pt x="15" y="1455"/>
                  </a:lnTo>
                  <a:lnTo>
                    <a:pt x="52" y="1426"/>
                  </a:lnTo>
                  <a:lnTo>
                    <a:pt x="83" y="1428"/>
                  </a:lnTo>
                  <a:lnTo>
                    <a:pt x="91" y="1403"/>
                  </a:lnTo>
                  <a:lnTo>
                    <a:pt x="171" y="1375"/>
                  </a:lnTo>
                  <a:lnTo>
                    <a:pt x="155" y="1353"/>
                  </a:lnTo>
                  <a:lnTo>
                    <a:pt x="182" y="1330"/>
                  </a:lnTo>
                  <a:lnTo>
                    <a:pt x="245" y="1308"/>
                  </a:lnTo>
                  <a:lnTo>
                    <a:pt x="297" y="1322"/>
                  </a:lnTo>
                  <a:lnTo>
                    <a:pt x="350" y="1229"/>
                  </a:lnTo>
                  <a:lnTo>
                    <a:pt x="346" y="1198"/>
                  </a:lnTo>
                  <a:lnTo>
                    <a:pt x="331" y="1179"/>
                  </a:lnTo>
                  <a:lnTo>
                    <a:pt x="336" y="1155"/>
                  </a:lnTo>
                  <a:lnTo>
                    <a:pt x="368" y="1146"/>
                  </a:lnTo>
                  <a:lnTo>
                    <a:pt x="339" y="1121"/>
                  </a:lnTo>
                  <a:lnTo>
                    <a:pt x="396" y="1076"/>
                  </a:lnTo>
                  <a:lnTo>
                    <a:pt x="375" y="1040"/>
                  </a:lnTo>
                  <a:lnTo>
                    <a:pt x="359" y="1088"/>
                  </a:lnTo>
                  <a:lnTo>
                    <a:pt x="326" y="1086"/>
                  </a:lnTo>
                  <a:lnTo>
                    <a:pt x="300" y="1118"/>
                  </a:lnTo>
                  <a:lnTo>
                    <a:pt x="279" y="1087"/>
                  </a:lnTo>
                  <a:lnTo>
                    <a:pt x="248" y="1094"/>
                  </a:lnTo>
                  <a:lnTo>
                    <a:pt x="229" y="1069"/>
                  </a:lnTo>
                  <a:lnTo>
                    <a:pt x="226" y="1028"/>
                  </a:lnTo>
                  <a:lnTo>
                    <a:pt x="258" y="1001"/>
                  </a:lnTo>
                  <a:lnTo>
                    <a:pt x="269" y="964"/>
                  </a:lnTo>
                  <a:lnTo>
                    <a:pt x="321" y="954"/>
                  </a:lnTo>
                  <a:lnTo>
                    <a:pt x="313" y="923"/>
                  </a:lnTo>
                  <a:lnTo>
                    <a:pt x="378" y="808"/>
                  </a:lnTo>
                  <a:lnTo>
                    <a:pt x="413" y="790"/>
                  </a:lnTo>
                  <a:lnTo>
                    <a:pt x="467" y="826"/>
                  </a:lnTo>
                  <a:lnTo>
                    <a:pt x="491" y="802"/>
                  </a:lnTo>
                  <a:lnTo>
                    <a:pt x="481" y="745"/>
                  </a:lnTo>
                  <a:lnTo>
                    <a:pt x="500" y="703"/>
                  </a:lnTo>
                  <a:lnTo>
                    <a:pt x="475" y="640"/>
                  </a:lnTo>
                  <a:lnTo>
                    <a:pt x="524" y="580"/>
                  </a:lnTo>
                  <a:lnTo>
                    <a:pt x="574" y="603"/>
                  </a:lnTo>
                  <a:lnTo>
                    <a:pt x="586" y="655"/>
                  </a:lnTo>
                  <a:lnTo>
                    <a:pt x="657" y="736"/>
                  </a:lnTo>
                  <a:lnTo>
                    <a:pt x="661" y="726"/>
                  </a:lnTo>
                  <a:lnTo>
                    <a:pt x="654" y="693"/>
                  </a:lnTo>
                  <a:lnTo>
                    <a:pt x="556" y="565"/>
                  </a:lnTo>
                  <a:lnTo>
                    <a:pt x="765" y="444"/>
                  </a:lnTo>
                  <a:lnTo>
                    <a:pt x="802" y="515"/>
                  </a:lnTo>
                  <a:lnTo>
                    <a:pt x="814" y="576"/>
                  </a:lnTo>
                  <a:lnTo>
                    <a:pt x="805" y="662"/>
                  </a:lnTo>
                  <a:lnTo>
                    <a:pt x="808" y="695"/>
                  </a:lnTo>
                  <a:lnTo>
                    <a:pt x="821" y="685"/>
                  </a:lnTo>
                  <a:lnTo>
                    <a:pt x="819" y="648"/>
                  </a:lnTo>
                  <a:lnTo>
                    <a:pt x="837" y="608"/>
                  </a:lnTo>
                  <a:lnTo>
                    <a:pt x="836" y="555"/>
                  </a:lnTo>
                  <a:lnTo>
                    <a:pt x="961" y="649"/>
                  </a:lnTo>
                  <a:lnTo>
                    <a:pt x="916" y="577"/>
                  </a:lnTo>
                  <a:lnTo>
                    <a:pt x="978" y="587"/>
                  </a:lnTo>
                  <a:lnTo>
                    <a:pt x="924" y="489"/>
                  </a:lnTo>
                  <a:lnTo>
                    <a:pt x="920" y="436"/>
                  </a:lnTo>
                  <a:lnTo>
                    <a:pt x="907" y="401"/>
                  </a:lnTo>
                  <a:lnTo>
                    <a:pt x="911" y="391"/>
                  </a:lnTo>
                  <a:lnTo>
                    <a:pt x="991" y="404"/>
                  </a:lnTo>
                  <a:lnTo>
                    <a:pt x="1054" y="503"/>
                  </a:lnTo>
                  <a:lnTo>
                    <a:pt x="1102" y="525"/>
                  </a:lnTo>
                  <a:lnTo>
                    <a:pt x="1183" y="632"/>
                  </a:lnTo>
                  <a:lnTo>
                    <a:pt x="1200" y="604"/>
                  </a:lnTo>
                  <a:lnTo>
                    <a:pt x="1169" y="554"/>
                  </a:lnTo>
                  <a:lnTo>
                    <a:pt x="1185" y="471"/>
                  </a:lnTo>
                  <a:lnTo>
                    <a:pt x="1214" y="450"/>
                  </a:lnTo>
                  <a:lnTo>
                    <a:pt x="1219" y="431"/>
                  </a:lnTo>
                  <a:lnTo>
                    <a:pt x="1139" y="304"/>
                  </a:lnTo>
                  <a:lnTo>
                    <a:pt x="1293" y="338"/>
                  </a:lnTo>
                  <a:lnTo>
                    <a:pt x="1296" y="408"/>
                  </a:lnTo>
                  <a:lnTo>
                    <a:pt x="1303" y="395"/>
                  </a:lnTo>
                  <a:lnTo>
                    <a:pt x="1294" y="319"/>
                  </a:lnTo>
                  <a:lnTo>
                    <a:pt x="1299" y="312"/>
                  </a:lnTo>
                  <a:lnTo>
                    <a:pt x="1379" y="429"/>
                  </a:lnTo>
                  <a:lnTo>
                    <a:pt x="1383" y="401"/>
                  </a:lnTo>
                  <a:lnTo>
                    <a:pt x="1373" y="378"/>
                  </a:lnTo>
                  <a:lnTo>
                    <a:pt x="1377" y="345"/>
                  </a:lnTo>
                  <a:lnTo>
                    <a:pt x="1328" y="303"/>
                  </a:lnTo>
                  <a:lnTo>
                    <a:pt x="1183" y="282"/>
                  </a:lnTo>
                  <a:lnTo>
                    <a:pt x="1167" y="259"/>
                  </a:lnTo>
                  <a:lnTo>
                    <a:pt x="1172" y="242"/>
                  </a:lnTo>
                  <a:lnTo>
                    <a:pt x="1152" y="221"/>
                  </a:lnTo>
                  <a:lnTo>
                    <a:pt x="1140" y="191"/>
                  </a:lnTo>
                  <a:lnTo>
                    <a:pt x="1146" y="177"/>
                  </a:lnTo>
                  <a:lnTo>
                    <a:pt x="1206" y="158"/>
                  </a:lnTo>
                  <a:lnTo>
                    <a:pt x="1254" y="130"/>
                  </a:lnTo>
                  <a:lnTo>
                    <a:pt x="1295" y="163"/>
                  </a:lnTo>
                  <a:lnTo>
                    <a:pt x="1288" y="196"/>
                  </a:lnTo>
                  <a:lnTo>
                    <a:pt x="1400" y="248"/>
                  </a:lnTo>
                  <a:lnTo>
                    <a:pt x="1430" y="309"/>
                  </a:lnTo>
                  <a:lnTo>
                    <a:pt x="1433" y="291"/>
                  </a:lnTo>
                  <a:lnTo>
                    <a:pt x="1410" y="235"/>
                  </a:lnTo>
                  <a:lnTo>
                    <a:pt x="1424" y="206"/>
                  </a:lnTo>
                  <a:lnTo>
                    <a:pt x="1492" y="176"/>
                  </a:lnTo>
                  <a:lnTo>
                    <a:pt x="1423" y="153"/>
                  </a:lnTo>
                  <a:lnTo>
                    <a:pt x="1417" y="143"/>
                  </a:lnTo>
                  <a:lnTo>
                    <a:pt x="1421" y="125"/>
                  </a:lnTo>
                  <a:lnTo>
                    <a:pt x="1416" y="93"/>
                  </a:lnTo>
                  <a:lnTo>
                    <a:pt x="1424" y="87"/>
                  </a:lnTo>
                  <a:lnTo>
                    <a:pt x="1420" y="68"/>
                  </a:lnTo>
                  <a:lnTo>
                    <a:pt x="1451" y="71"/>
                  </a:lnTo>
                  <a:lnTo>
                    <a:pt x="1466" y="39"/>
                  </a:lnTo>
                  <a:lnTo>
                    <a:pt x="1522" y="99"/>
                  </a:lnTo>
                  <a:lnTo>
                    <a:pt x="1500" y="36"/>
                  </a:lnTo>
                  <a:lnTo>
                    <a:pt x="1525" y="21"/>
                  </a:lnTo>
                  <a:lnTo>
                    <a:pt x="1594" y="6"/>
                  </a:lnTo>
                  <a:lnTo>
                    <a:pt x="1624" y="57"/>
                  </a:lnTo>
                  <a:lnTo>
                    <a:pt x="1620" y="17"/>
                  </a:lnTo>
                  <a:lnTo>
                    <a:pt x="1641" y="0"/>
                  </a:lnTo>
                  <a:lnTo>
                    <a:pt x="1770" y="7"/>
                  </a:lnTo>
                  <a:lnTo>
                    <a:pt x="1850" y="40"/>
                  </a:lnTo>
                  <a:lnTo>
                    <a:pt x="1838" y="55"/>
                  </a:lnTo>
                  <a:lnTo>
                    <a:pt x="1848" y="77"/>
                  </a:lnTo>
                  <a:lnTo>
                    <a:pt x="1948" y="72"/>
                  </a:lnTo>
                  <a:lnTo>
                    <a:pt x="1988" y="114"/>
                  </a:lnTo>
                  <a:lnTo>
                    <a:pt x="1971" y="154"/>
                  </a:lnTo>
                  <a:lnTo>
                    <a:pt x="1768" y="169"/>
                  </a:lnTo>
                  <a:lnTo>
                    <a:pt x="1709" y="209"/>
                  </a:lnTo>
                  <a:lnTo>
                    <a:pt x="1682" y="214"/>
                  </a:lnTo>
                  <a:lnTo>
                    <a:pt x="1568" y="266"/>
                  </a:lnTo>
                  <a:lnTo>
                    <a:pt x="1566" y="292"/>
                  </a:lnTo>
                  <a:lnTo>
                    <a:pt x="1599" y="262"/>
                  </a:lnTo>
                  <a:lnTo>
                    <a:pt x="1622" y="266"/>
                  </a:lnTo>
                  <a:lnTo>
                    <a:pt x="1624" y="299"/>
                  </a:lnTo>
                  <a:lnTo>
                    <a:pt x="1648" y="249"/>
                  </a:lnTo>
                  <a:lnTo>
                    <a:pt x="1720" y="259"/>
                  </a:lnTo>
                  <a:lnTo>
                    <a:pt x="1798" y="188"/>
                  </a:lnTo>
                  <a:lnTo>
                    <a:pt x="1867" y="203"/>
                  </a:lnTo>
                  <a:lnTo>
                    <a:pt x="1864" y="226"/>
                  </a:lnTo>
                  <a:lnTo>
                    <a:pt x="2014" y="177"/>
                  </a:lnTo>
                  <a:lnTo>
                    <a:pt x="2031" y="193"/>
                  </a:lnTo>
                  <a:lnTo>
                    <a:pt x="2024" y="203"/>
                  </a:lnTo>
                  <a:lnTo>
                    <a:pt x="2036" y="233"/>
                  </a:lnTo>
                  <a:lnTo>
                    <a:pt x="2033" y="246"/>
                  </a:lnTo>
                  <a:lnTo>
                    <a:pt x="1970" y="316"/>
                  </a:lnTo>
                  <a:lnTo>
                    <a:pt x="2073" y="269"/>
                  </a:lnTo>
                  <a:lnTo>
                    <a:pt x="2075" y="316"/>
                  </a:lnTo>
                  <a:lnTo>
                    <a:pt x="2101" y="286"/>
                  </a:lnTo>
                  <a:lnTo>
                    <a:pt x="2140" y="300"/>
                  </a:lnTo>
                  <a:lnTo>
                    <a:pt x="2193" y="374"/>
                  </a:lnTo>
                  <a:lnTo>
                    <a:pt x="2131" y="460"/>
                  </a:lnTo>
                  <a:lnTo>
                    <a:pt x="2013" y="514"/>
                  </a:lnTo>
                  <a:lnTo>
                    <a:pt x="1790" y="541"/>
                  </a:lnTo>
                  <a:lnTo>
                    <a:pt x="1675" y="606"/>
                  </a:lnTo>
                  <a:lnTo>
                    <a:pt x="1671" y="629"/>
                  </a:lnTo>
                  <a:lnTo>
                    <a:pt x="1675" y="664"/>
                  </a:lnTo>
                  <a:lnTo>
                    <a:pt x="1854" y="567"/>
                  </a:lnTo>
                  <a:lnTo>
                    <a:pt x="1993" y="564"/>
                  </a:lnTo>
                  <a:lnTo>
                    <a:pt x="2014" y="582"/>
                  </a:lnTo>
                  <a:lnTo>
                    <a:pt x="2016" y="616"/>
                  </a:lnTo>
                  <a:lnTo>
                    <a:pt x="1930" y="702"/>
                  </a:lnTo>
                  <a:lnTo>
                    <a:pt x="1925" y="720"/>
                  </a:lnTo>
                  <a:lnTo>
                    <a:pt x="1947" y="731"/>
                  </a:lnTo>
                  <a:lnTo>
                    <a:pt x="2073" y="646"/>
                  </a:lnTo>
                  <a:lnTo>
                    <a:pt x="2081" y="636"/>
                  </a:lnTo>
                  <a:lnTo>
                    <a:pt x="2070" y="584"/>
                  </a:lnTo>
                  <a:lnTo>
                    <a:pt x="2083" y="559"/>
                  </a:lnTo>
                  <a:lnTo>
                    <a:pt x="2156" y="544"/>
                  </a:lnTo>
                  <a:lnTo>
                    <a:pt x="2173" y="612"/>
                  </a:lnTo>
                  <a:lnTo>
                    <a:pt x="2167" y="711"/>
                  </a:lnTo>
                  <a:lnTo>
                    <a:pt x="2147" y="763"/>
                  </a:lnTo>
                  <a:lnTo>
                    <a:pt x="2141" y="775"/>
                  </a:lnTo>
                  <a:lnTo>
                    <a:pt x="2068" y="996"/>
                  </a:lnTo>
                  <a:lnTo>
                    <a:pt x="2112" y="929"/>
                  </a:lnTo>
                  <a:lnTo>
                    <a:pt x="2121" y="893"/>
                  </a:lnTo>
                  <a:lnTo>
                    <a:pt x="2116" y="884"/>
                  </a:lnTo>
                  <a:lnTo>
                    <a:pt x="2143" y="861"/>
                  </a:lnTo>
                  <a:lnTo>
                    <a:pt x="2226" y="699"/>
                  </a:lnTo>
                  <a:lnTo>
                    <a:pt x="2265" y="660"/>
                  </a:lnTo>
                  <a:lnTo>
                    <a:pt x="2261" y="727"/>
                  </a:lnTo>
                  <a:lnTo>
                    <a:pt x="2288" y="697"/>
                  </a:lnTo>
                  <a:lnTo>
                    <a:pt x="2356" y="717"/>
                  </a:lnTo>
                  <a:lnTo>
                    <a:pt x="2353" y="692"/>
                  </a:lnTo>
                  <a:lnTo>
                    <a:pt x="2374" y="683"/>
                  </a:lnTo>
                  <a:lnTo>
                    <a:pt x="2361" y="642"/>
                  </a:lnTo>
                  <a:lnTo>
                    <a:pt x="2378" y="642"/>
                  </a:lnTo>
                  <a:lnTo>
                    <a:pt x="2383" y="607"/>
                  </a:lnTo>
                  <a:lnTo>
                    <a:pt x="2487" y="584"/>
                  </a:lnTo>
                  <a:lnTo>
                    <a:pt x="2583" y="634"/>
                  </a:lnTo>
                  <a:lnTo>
                    <a:pt x="2612" y="684"/>
                  </a:lnTo>
                  <a:lnTo>
                    <a:pt x="2531" y="815"/>
                  </a:lnTo>
                  <a:lnTo>
                    <a:pt x="2491" y="823"/>
                  </a:lnTo>
                  <a:lnTo>
                    <a:pt x="2506" y="870"/>
                  </a:lnTo>
                  <a:lnTo>
                    <a:pt x="2499" y="884"/>
                  </a:lnTo>
                  <a:lnTo>
                    <a:pt x="2438" y="925"/>
                  </a:lnTo>
                  <a:lnTo>
                    <a:pt x="2368" y="904"/>
                  </a:lnTo>
                  <a:lnTo>
                    <a:pt x="2339" y="946"/>
                  </a:lnTo>
                  <a:lnTo>
                    <a:pt x="2276" y="932"/>
                  </a:lnTo>
                  <a:lnTo>
                    <a:pt x="2215" y="965"/>
                  </a:lnTo>
                  <a:lnTo>
                    <a:pt x="2241" y="983"/>
                  </a:lnTo>
                  <a:lnTo>
                    <a:pt x="2278" y="945"/>
                  </a:lnTo>
                  <a:lnTo>
                    <a:pt x="2441" y="970"/>
                  </a:lnTo>
                  <a:lnTo>
                    <a:pt x="2406" y="1049"/>
                  </a:lnTo>
                  <a:lnTo>
                    <a:pt x="2283" y="1038"/>
                  </a:lnTo>
                  <a:lnTo>
                    <a:pt x="2262" y="1087"/>
                  </a:lnTo>
                  <a:lnTo>
                    <a:pt x="2253" y="1144"/>
                  </a:lnTo>
                  <a:lnTo>
                    <a:pt x="2268" y="1167"/>
                  </a:lnTo>
                  <a:lnTo>
                    <a:pt x="2273" y="1155"/>
                  </a:lnTo>
                  <a:lnTo>
                    <a:pt x="2279" y="1126"/>
                  </a:lnTo>
                  <a:lnTo>
                    <a:pt x="2304" y="1098"/>
                  </a:lnTo>
                  <a:lnTo>
                    <a:pt x="2365" y="1075"/>
                  </a:lnTo>
                  <a:lnTo>
                    <a:pt x="2387" y="1104"/>
                  </a:lnTo>
                  <a:lnTo>
                    <a:pt x="2361" y="1167"/>
                  </a:lnTo>
                  <a:lnTo>
                    <a:pt x="2313" y="1164"/>
                  </a:lnTo>
                  <a:lnTo>
                    <a:pt x="2298" y="1188"/>
                  </a:lnTo>
                  <a:lnTo>
                    <a:pt x="2285" y="1310"/>
                  </a:lnTo>
                  <a:lnTo>
                    <a:pt x="2297" y="1272"/>
                  </a:lnTo>
                  <a:lnTo>
                    <a:pt x="2318" y="1274"/>
                  </a:lnTo>
                  <a:lnTo>
                    <a:pt x="2310" y="1300"/>
                  </a:lnTo>
                  <a:lnTo>
                    <a:pt x="2303" y="1288"/>
                  </a:lnTo>
                  <a:lnTo>
                    <a:pt x="2297" y="1319"/>
                  </a:lnTo>
                  <a:lnTo>
                    <a:pt x="2281" y="1318"/>
                  </a:lnTo>
                  <a:lnTo>
                    <a:pt x="2284" y="1367"/>
                  </a:lnTo>
                  <a:lnTo>
                    <a:pt x="2231" y="1394"/>
                  </a:lnTo>
                  <a:lnTo>
                    <a:pt x="2233" y="1422"/>
                  </a:lnTo>
                  <a:lnTo>
                    <a:pt x="2239" y="1428"/>
                  </a:lnTo>
                  <a:lnTo>
                    <a:pt x="2225" y="1476"/>
                  </a:lnTo>
                  <a:lnTo>
                    <a:pt x="2218" y="1527"/>
                  </a:lnTo>
                  <a:lnTo>
                    <a:pt x="2223" y="1538"/>
                  </a:lnTo>
                  <a:lnTo>
                    <a:pt x="2208" y="1572"/>
                  </a:lnTo>
                  <a:lnTo>
                    <a:pt x="2206" y="1592"/>
                  </a:lnTo>
                  <a:lnTo>
                    <a:pt x="2198" y="1614"/>
                  </a:lnTo>
                  <a:lnTo>
                    <a:pt x="2215" y="1627"/>
                  </a:lnTo>
                  <a:lnTo>
                    <a:pt x="2245" y="1564"/>
                  </a:lnTo>
                  <a:lnTo>
                    <a:pt x="2312" y="1614"/>
                  </a:lnTo>
                  <a:lnTo>
                    <a:pt x="2321" y="1640"/>
                  </a:lnTo>
                  <a:lnTo>
                    <a:pt x="2310" y="1647"/>
                  </a:lnTo>
                  <a:lnTo>
                    <a:pt x="2254" y="1616"/>
                  </a:lnTo>
                  <a:lnTo>
                    <a:pt x="2246" y="1630"/>
                  </a:lnTo>
                  <a:lnTo>
                    <a:pt x="2270" y="1652"/>
                  </a:lnTo>
                  <a:lnTo>
                    <a:pt x="2249" y="1662"/>
                  </a:lnTo>
                  <a:lnTo>
                    <a:pt x="2269" y="1679"/>
                  </a:lnTo>
                  <a:lnTo>
                    <a:pt x="2290" y="1686"/>
                  </a:lnTo>
                  <a:lnTo>
                    <a:pt x="2317" y="1714"/>
                  </a:lnTo>
                  <a:lnTo>
                    <a:pt x="2328" y="1688"/>
                  </a:lnTo>
                  <a:lnTo>
                    <a:pt x="2351" y="1698"/>
                  </a:lnTo>
                  <a:lnTo>
                    <a:pt x="2357" y="1760"/>
                  </a:lnTo>
                  <a:lnTo>
                    <a:pt x="2345" y="1799"/>
                  </a:lnTo>
                  <a:lnTo>
                    <a:pt x="2247" y="1776"/>
                  </a:lnTo>
                  <a:lnTo>
                    <a:pt x="2243" y="1796"/>
                  </a:lnTo>
                  <a:lnTo>
                    <a:pt x="2204" y="1826"/>
                  </a:lnTo>
                  <a:lnTo>
                    <a:pt x="2188" y="1797"/>
                  </a:lnTo>
                  <a:lnTo>
                    <a:pt x="2163" y="1817"/>
                  </a:lnTo>
                  <a:lnTo>
                    <a:pt x="2171" y="1848"/>
                  </a:lnTo>
                  <a:lnTo>
                    <a:pt x="2183" y="1839"/>
                  </a:lnTo>
                  <a:lnTo>
                    <a:pt x="2201" y="1865"/>
                  </a:lnTo>
                  <a:lnTo>
                    <a:pt x="2206" y="1869"/>
                  </a:lnTo>
                  <a:lnTo>
                    <a:pt x="2206" y="1902"/>
                  </a:lnTo>
                  <a:lnTo>
                    <a:pt x="2252" y="1917"/>
                  </a:lnTo>
                  <a:lnTo>
                    <a:pt x="2234" y="1892"/>
                  </a:lnTo>
                  <a:lnTo>
                    <a:pt x="2281" y="1905"/>
                  </a:lnTo>
                  <a:lnTo>
                    <a:pt x="2288" y="1926"/>
                  </a:lnTo>
                  <a:lnTo>
                    <a:pt x="2233" y="1952"/>
                  </a:lnTo>
                  <a:lnTo>
                    <a:pt x="2275" y="1962"/>
                  </a:lnTo>
                  <a:lnTo>
                    <a:pt x="2298" y="1992"/>
                  </a:lnTo>
                  <a:lnTo>
                    <a:pt x="2302" y="2067"/>
                  </a:lnTo>
                  <a:lnTo>
                    <a:pt x="2296" y="2091"/>
                  </a:lnTo>
                  <a:lnTo>
                    <a:pt x="2278" y="2089"/>
                  </a:lnTo>
                  <a:lnTo>
                    <a:pt x="2270" y="2060"/>
                  </a:lnTo>
                  <a:lnTo>
                    <a:pt x="2212" y="2037"/>
                  </a:lnTo>
                  <a:lnTo>
                    <a:pt x="2186" y="2035"/>
                  </a:lnTo>
                  <a:lnTo>
                    <a:pt x="2249" y="2081"/>
                  </a:lnTo>
                  <a:lnTo>
                    <a:pt x="2251" y="2094"/>
                  </a:lnTo>
                  <a:lnTo>
                    <a:pt x="2247" y="2114"/>
                  </a:lnTo>
                  <a:lnTo>
                    <a:pt x="2243" y="2166"/>
                  </a:lnTo>
                  <a:lnTo>
                    <a:pt x="2300" y="2172"/>
                  </a:lnTo>
                  <a:lnTo>
                    <a:pt x="2317" y="2210"/>
                  </a:lnTo>
                  <a:lnTo>
                    <a:pt x="2296" y="2241"/>
                  </a:lnTo>
                  <a:lnTo>
                    <a:pt x="2275" y="2236"/>
                  </a:lnTo>
                  <a:lnTo>
                    <a:pt x="2253" y="2203"/>
                  </a:lnTo>
                  <a:lnTo>
                    <a:pt x="2189" y="2191"/>
                  </a:lnTo>
                  <a:lnTo>
                    <a:pt x="2194" y="2220"/>
                  </a:lnTo>
                  <a:lnTo>
                    <a:pt x="2185" y="2233"/>
                  </a:lnTo>
                  <a:lnTo>
                    <a:pt x="2174" y="2270"/>
                  </a:lnTo>
                  <a:lnTo>
                    <a:pt x="2206" y="2270"/>
                  </a:lnTo>
                  <a:lnTo>
                    <a:pt x="2262" y="2301"/>
                  </a:lnTo>
                  <a:lnTo>
                    <a:pt x="2255" y="2320"/>
                  </a:lnTo>
                  <a:lnTo>
                    <a:pt x="2256" y="2352"/>
                  </a:lnTo>
                  <a:lnTo>
                    <a:pt x="2216" y="2354"/>
                  </a:lnTo>
                  <a:lnTo>
                    <a:pt x="2174" y="2389"/>
                  </a:lnTo>
                  <a:lnTo>
                    <a:pt x="2119" y="2350"/>
                  </a:lnTo>
                  <a:lnTo>
                    <a:pt x="2097" y="2311"/>
                  </a:lnTo>
                  <a:lnTo>
                    <a:pt x="2088" y="2315"/>
                  </a:lnTo>
                  <a:lnTo>
                    <a:pt x="2085" y="2343"/>
                  </a:lnTo>
                  <a:lnTo>
                    <a:pt x="2063" y="2331"/>
                  </a:lnTo>
                  <a:lnTo>
                    <a:pt x="2069" y="2354"/>
                  </a:lnTo>
                  <a:lnTo>
                    <a:pt x="2059" y="2354"/>
                  </a:lnTo>
                  <a:lnTo>
                    <a:pt x="2025" y="2392"/>
                  </a:lnTo>
                  <a:lnTo>
                    <a:pt x="1999" y="2391"/>
                  </a:lnTo>
                  <a:lnTo>
                    <a:pt x="1978" y="2405"/>
                  </a:lnTo>
                  <a:lnTo>
                    <a:pt x="1984" y="2412"/>
                  </a:lnTo>
                  <a:lnTo>
                    <a:pt x="2014" y="2400"/>
                  </a:lnTo>
                  <a:lnTo>
                    <a:pt x="2033" y="2419"/>
                  </a:lnTo>
                  <a:lnTo>
                    <a:pt x="2062" y="2422"/>
                  </a:lnTo>
                  <a:lnTo>
                    <a:pt x="2026" y="2453"/>
                  </a:lnTo>
                  <a:lnTo>
                    <a:pt x="1989" y="2455"/>
                  </a:lnTo>
                  <a:lnTo>
                    <a:pt x="1984" y="2472"/>
                  </a:lnTo>
                  <a:lnTo>
                    <a:pt x="2001" y="2468"/>
                  </a:lnTo>
                  <a:lnTo>
                    <a:pt x="2003" y="2482"/>
                  </a:lnTo>
                  <a:lnTo>
                    <a:pt x="2042" y="2456"/>
                  </a:lnTo>
                  <a:lnTo>
                    <a:pt x="2070" y="2473"/>
                  </a:lnTo>
                  <a:lnTo>
                    <a:pt x="2072" y="2501"/>
                  </a:lnTo>
                  <a:lnTo>
                    <a:pt x="2039" y="2510"/>
                  </a:lnTo>
                  <a:lnTo>
                    <a:pt x="2047" y="2519"/>
                  </a:lnTo>
                  <a:lnTo>
                    <a:pt x="2041" y="2556"/>
                  </a:lnTo>
                  <a:lnTo>
                    <a:pt x="2056" y="2518"/>
                  </a:lnTo>
                  <a:lnTo>
                    <a:pt x="2076" y="2512"/>
                  </a:lnTo>
                  <a:lnTo>
                    <a:pt x="2115" y="2552"/>
                  </a:lnTo>
                  <a:lnTo>
                    <a:pt x="2167" y="2582"/>
                  </a:lnTo>
                  <a:lnTo>
                    <a:pt x="2171" y="2601"/>
                  </a:lnTo>
                  <a:lnTo>
                    <a:pt x="2189" y="2608"/>
                  </a:lnTo>
                  <a:lnTo>
                    <a:pt x="2168" y="2645"/>
                  </a:lnTo>
                  <a:lnTo>
                    <a:pt x="2168" y="2669"/>
                  </a:lnTo>
                  <a:lnTo>
                    <a:pt x="2179" y="2646"/>
                  </a:lnTo>
                  <a:lnTo>
                    <a:pt x="2202" y="2640"/>
                  </a:lnTo>
                  <a:lnTo>
                    <a:pt x="2198" y="2691"/>
                  </a:lnTo>
                  <a:lnTo>
                    <a:pt x="2188" y="2697"/>
                  </a:lnTo>
                  <a:lnTo>
                    <a:pt x="2201" y="2705"/>
                  </a:lnTo>
                  <a:lnTo>
                    <a:pt x="2202" y="2726"/>
                  </a:lnTo>
                  <a:lnTo>
                    <a:pt x="2197" y="2730"/>
                  </a:lnTo>
                  <a:lnTo>
                    <a:pt x="2202" y="2758"/>
                  </a:lnTo>
                  <a:lnTo>
                    <a:pt x="2209" y="2760"/>
                  </a:lnTo>
                  <a:lnTo>
                    <a:pt x="2208" y="2774"/>
                  </a:lnTo>
                  <a:lnTo>
                    <a:pt x="2178" y="2772"/>
                  </a:lnTo>
                  <a:lnTo>
                    <a:pt x="2173" y="2731"/>
                  </a:lnTo>
                  <a:lnTo>
                    <a:pt x="2168" y="2730"/>
                  </a:lnTo>
                  <a:lnTo>
                    <a:pt x="2165" y="2776"/>
                  </a:lnTo>
                  <a:lnTo>
                    <a:pt x="2129" y="2772"/>
                  </a:lnTo>
                  <a:lnTo>
                    <a:pt x="2103" y="2739"/>
                  </a:lnTo>
                  <a:lnTo>
                    <a:pt x="2096" y="2696"/>
                  </a:lnTo>
                  <a:lnTo>
                    <a:pt x="2074" y="2662"/>
                  </a:lnTo>
                  <a:lnTo>
                    <a:pt x="2059" y="2663"/>
                  </a:lnTo>
                  <a:lnTo>
                    <a:pt x="2004" y="2623"/>
                  </a:lnTo>
                  <a:lnTo>
                    <a:pt x="1981" y="2627"/>
                  </a:lnTo>
                  <a:lnTo>
                    <a:pt x="1949" y="2595"/>
                  </a:lnTo>
                  <a:lnTo>
                    <a:pt x="1954" y="2618"/>
                  </a:lnTo>
                  <a:lnTo>
                    <a:pt x="1942" y="2621"/>
                  </a:lnTo>
                  <a:lnTo>
                    <a:pt x="1966" y="2632"/>
                  </a:lnTo>
                  <a:lnTo>
                    <a:pt x="1964" y="2642"/>
                  </a:lnTo>
                  <a:lnTo>
                    <a:pt x="2025" y="2643"/>
                  </a:lnTo>
                  <a:lnTo>
                    <a:pt x="2037" y="2657"/>
                  </a:lnTo>
                  <a:lnTo>
                    <a:pt x="2039" y="2677"/>
                  </a:lnTo>
                  <a:lnTo>
                    <a:pt x="2025" y="2669"/>
                  </a:lnTo>
                  <a:lnTo>
                    <a:pt x="2032" y="2682"/>
                  </a:lnTo>
                  <a:lnTo>
                    <a:pt x="1992" y="2711"/>
                  </a:lnTo>
                  <a:lnTo>
                    <a:pt x="1959" y="2711"/>
                  </a:lnTo>
                  <a:lnTo>
                    <a:pt x="1947" y="2698"/>
                  </a:lnTo>
                  <a:lnTo>
                    <a:pt x="1946" y="2714"/>
                  </a:lnTo>
                  <a:lnTo>
                    <a:pt x="1924" y="2711"/>
                  </a:lnTo>
                  <a:lnTo>
                    <a:pt x="1921" y="2718"/>
                  </a:lnTo>
                  <a:lnTo>
                    <a:pt x="1932" y="2733"/>
                  </a:lnTo>
                  <a:lnTo>
                    <a:pt x="1925" y="2753"/>
                  </a:lnTo>
                  <a:lnTo>
                    <a:pt x="1893" y="2774"/>
                  </a:lnTo>
                  <a:lnTo>
                    <a:pt x="1929" y="2787"/>
                  </a:lnTo>
                  <a:lnTo>
                    <a:pt x="1991" y="2780"/>
                  </a:lnTo>
                  <a:lnTo>
                    <a:pt x="1997" y="2791"/>
                  </a:lnTo>
                  <a:lnTo>
                    <a:pt x="1908" y="2828"/>
                  </a:lnTo>
                  <a:lnTo>
                    <a:pt x="1935" y="2832"/>
                  </a:lnTo>
                  <a:lnTo>
                    <a:pt x="1962" y="2832"/>
                  </a:lnTo>
                  <a:lnTo>
                    <a:pt x="1970" y="2812"/>
                  </a:lnTo>
                  <a:lnTo>
                    <a:pt x="2003" y="2811"/>
                  </a:lnTo>
                  <a:lnTo>
                    <a:pt x="2044" y="2786"/>
                  </a:lnTo>
                  <a:lnTo>
                    <a:pt x="2116" y="2820"/>
                  </a:lnTo>
                  <a:lnTo>
                    <a:pt x="2187" y="2815"/>
                  </a:lnTo>
                  <a:lnTo>
                    <a:pt x="2175" y="2841"/>
                  </a:lnTo>
                  <a:lnTo>
                    <a:pt x="2144" y="2842"/>
                  </a:lnTo>
                  <a:lnTo>
                    <a:pt x="2139" y="2850"/>
                  </a:lnTo>
                  <a:lnTo>
                    <a:pt x="2136" y="2852"/>
                  </a:lnTo>
                  <a:lnTo>
                    <a:pt x="2112" y="2868"/>
                  </a:lnTo>
                  <a:lnTo>
                    <a:pt x="2120" y="2878"/>
                  </a:lnTo>
                  <a:lnTo>
                    <a:pt x="2116" y="2891"/>
                  </a:lnTo>
                  <a:lnTo>
                    <a:pt x="2090" y="2888"/>
                  </a:lnTo>
                  <a:lnTo>
                    <a:pt x="2100" y="2906"/>
                  </a:lnTo>
                  <a:lnTo>
                    <a:pt x="2089" y="2901"/>
                  </a:lnTo>
                  <a:lnTo>
                    <a:pt x="2070" y="2928"/>
                  </a:lnTo>
                  <a:lnTo>
                    <a:pt x="2060" y="2933"/>
                  </a:lnTo>
                  <a:lnTo>
                    <a:pt x="2061" y="2945"/>
                  </a:lnTo>
                  <a:lnTo>
                    <a:pt x="2036" y="2945"/>
                  </a:lnTo>
                  <a:lnTo>
                    <a:pt x="2043" y="2961"/>
                  </a:lnTo>
                  <a:lnTo>
                    <a:pt x="2007" y="2983"/>
                  </a:lnTo>
                  <a:lnTo>
                    <a:pt x="2006" y="2993"/>
                  </a:lnTo>
                  <a:lnTo>
                    <a:pt x="1981" y="2994"/>
                  </a:lnTo>
                  <a:lnTo>
                    <a:pt x="1977" y="3007"/>
                  </a:lnTo>
                  <a:lnTo>
                    <a:pt x="1943" y="3019"/>
                  </a:lnTo>
                  <a:lnTo>
                    <a:pt x="1933" y="3009"/>
                  </a:lnTo>
                  <a:lnTo>
                    <a:pt x="1871" y="3044"/>
                  </a:lnTo>
                  <a:lnTo>
                    <a:pt x="1853" y="3026"/>
                  </a:lnTo>
                  <a:lnTo>
                    <a:pt x="1846" y="3035"/>
                  </a:lnTo>
                  <a:lnTo>
                    <a:pt x="1848" y="3046"/>
                  </a:lnTo>
                  <a:lnTo>
                    <a:pt x="1838" y="3047"/>
                  </a:lnTo>
                  <a:lnTo>
                    <a:pt x="1844" y="3054"/>
                  </a:lnTo>
                  <a:lnTo>
                    <a:pt x="1839" y="3061"/>
                  </a:lnTo>
                  <a:lnTo>
                    <a:pt x="1831" y="3046"/>
                  </a:lnTo>
                  <a:lnTo>
                    <a:pt x="1815" y="3042"/>
                  </a:lnTo>
                  <a:lnTo>
                    <a:pt x="1826" y="3064"/>
                  </a:lnTo>
                  <a:lnTo>
                    <a:pt x="1803" y="3051"/>
                  </a:lnTo>
                  <a:lnTo>
                    <a:pt x="1798" y="3058"/>
                  </a:lnTo>
                  <a:lnTo>
                    <a:pt x="1804" y="3067"/>
                  </a:lnTo>
                  <a:lnTo>
                    <a:pt x="1776" y="3067"/>
                  </a:lnTo>
                  <a:lnTo>
                    <a:pt x="1766" y="3048"/>
                  </a:lnTo>
                  <a:lnTo>
                    <a:pt x="1776" y="3044"/>
                  </a:lnTo>
                  <a:lnTo>
                    <a:pt x="1760" y="3040"/>
                  </a:lnTo>
                  <a:lnTo>
                    <a:pt x="1751" y="3016"/>
                  </a:lnTo>
                  <a:lnTo>
                    <a:pt x="1746" y="3026"/>
                  </a:lnTo>
                  <a:lnTo>
                    <a:pt x="1745" y="3008"/>
                  </a:lnTo>
                  <a:lnTo>
                    <a:pt x="1737" y="3001"/>
                  </a:lnTo>
                  <a:lnTo>
                    <a:pt x="1739" y="3010"/>
                  </a:lnTo>
                  <a:lnTo>
                    <a:pt x="1729" y="3012"/>
                  </a:lnTo>
                  <a:lnTo>
                    <a:pt x="1747" y="3047"/>
                  </a:lnTo>
                  <a:lnTo>
                    <a:pt x="1742" y="3049"/>
                  </a:lnTo>
                  <a:lnTo>
                    <a:pt x="1761" y="3065"/>
                  </a:lnTo>
                  <a:lnTo>
                    <a:pt x="1754" y="3067"/>
                  </a:lnTo>
                  <a:lnTo>
                    <a:pt x="1751" y="3087"/>
                  </a:lnTo>
                  <a:lnTo>
                    <a:pt x="1740" y="3082"/>
                  </a:lnTo>
                  <a:lnTo>
                    <a:pt x="1726" y="3103"/>
                  </a:lnTo>
                  <a:lnTo>
                    <a:pt x="1709" y="3106"/>
                  </a:lnTo>
                  <a:lnTo>
                    <a:pt x="1710" y="3122"/>
                  </a:lnTo>
                  <a:lnTo>
                    <a:pt x="1703" y="3123"/>
                  </a:lnTo>
                  <a:lnTo>
                    <a:pt x="1700" y="3146"/>
                  </a:lnTo>
                  <a:lnTo>
                    <a:pt x="1693" y="3145"/>
                  </a:lnTo>
                  <a:lnTo>
                    <a:pt x="1697" y="3158"/>
                  </a:lnTo>
                  <a:lnTo>
                    <a:pt x="1693" y="3178"/>
                  </a:lnTo>
                  <a:lnTo>
                    <a:pt x="1676" y="3193"/>
                  </a:lnTo>
                  <a:lnTo>
                    <a:pt x="1679" y="3206"/>
                  </a:lnTo>
                  <a:lnTo>
                    <a:pt x="1673" y="3202"/>
                  </a:lnTo>
                  <a:lnTo>
                    <a:pt x="1666" y="3226"/>
                  </a:lnTo>
                  <a:lnTo>
                    <a:pt x="1658" y="3213"/>
                  </a:lnTo>
                  <a:lnTo>
                    <a:pt x="1645" y="3255"/>
                  </a:lnTo>
                  <a:lnTo>
                    <a:pt x="1631" y="3256"/>
                  </a:lnTo>
                  <a:lnTo>
                    <a:pt x="1629" y="3246"/>
                  </a:lnTo>
                  <a:lnTo>
                    <a:pt x="1623" y="3256"/>
                  </a:lnTo>
                  <a:lnTo>
                    <a:pt x="1628" y="3266"/>
                  </a:lnTo>
                  <a:lnTo>
                    <a:pt x="1623" y="3265"/>
                  </a:lnTo>
                  <a:lnTo>
                    <a:pt x="1598" y="3248"/>
                  </a:lnTo>
                  <a:lnTo>
                    <a:pt x="1596" y="3255"/>
                  </a:lnTo>
                  <a:lnTo>
                    <a:pt x="1604" y="3269"/>
                  </a:lnTo>
                  <a:lnTo>
                    <a:pt x="1589" y="3303"/>
                  </a:lnTo>
                  <a:lnTo>
                    <a:pt x="1573" y="3300"/>
                  </a:lnTo>
                  <a:lnTo>
                    <a:pt x="1576" y="3288"/>
                  </a:lnTo>
                  <a:lnTo>
                    <a:pt x="1569" y="3289"/>
                  </a:lnTo>
                  <a:lnTo>
                    <a:pt x="1562" y="3311"/>
                  </a:lnTo>
                  <a:lnTo>
                    <a:pt x="1538" y="3283"/>
                  </a:lnTo>
                  <a:lnTo>
                    <a:pt x="1538" y="3303"/>
                  </a:lnTo>
                  <a:lnTo>
                    <a:pt x="1531" y="3299"/>
                  </a:lnTo>
                  <a:lnTo>
                    <a:pt x="1536" y="3312"/>
                  </a:lnTo>
                  <a:lnTo>
                    <a:pt x="1513" y="3293"/>
                  </a:lnTo>
                  <a:lnTo>
                    <a:pt x="1541" y="3259"/>
                  </a:lnTo>
                  <a:lnTo>
                    <a:pt x="1520" y="3261"/>
                  </a:lnTo>
                  <a:lnTo>
                    <a:pt x="1512" y="3248"/>
                  </a:lnTo>
                  <a:lnTo>
                    <a:pt x="1507" y="3259"/>
                  </a:lnTo>
                  <a:lnTo>
                    <a:pt x="1501" y="3254"/>
                  </a:lnTo>
                  <a:lnTo>
                    <a:pt x="1513" y="3268"/>
                  </a:lnTo>
                  <a:lnTo>
                    <a:pt x="1496" y="3282"/>
                  </a:lnTo>
                  <a:lnTo>
                    <a:pt x="1504" y="3289"/>
                  </a:lnTo>
                  <a:lnTo>
                    <a:pt x="1502" y="3299"/>
                  </a:lnTo>
                  <a:lnTo>
                    <a:pt x="1485" y="3293"/>
                  </a:lnTo>
                  <a:lnTo>
                    <a:pt x="1484" y="3306"/>
                  </a:lnTo>
                  <a:lnTo>
                    <a:pt x="1496" y="3314"/>
                  </a:lnTo>
                  <a:lnTo>
                    <a:pt x="1491" y="3331"/>
                  </a:lnTo>
                  <a:lnTo>
                    <a:pt x="1471" y="3327"/>
                  </a:lnTo>
                  <a:lnTo>
                    <a:pt x="1476" y="3334"/>
                  </a:lnTo>
                  <a:lnTo>
                    <a:pt x="1457" y="3338"/>
                  </a:lnTo>
                  <a:lnTo>
                    <a:pt x="1448" y="3326"/>
                  </a:lnTo>
                  <a:lnTo>
                    <a:pt x="1443" y="3338"/>
                  </a:lnTo>
                  <a:lnTo>
                    <a:pt x="1429" y="3328"/>
                  </a:lnTo>
                  <a:lnTo>
                    <a:pt x="1424" y="3343"/>
                  </a:lnTo>
                  <a:lnTo>
                    <a:pt x="1409" y="3345"/>
                  </a:lnTo>
                  <a:lnTo>
                    <a:pt x="1420" y="3353"/>
                  </a:lnTo>
                  <a:lnTo>
                    <a:pt x="1425" y="3369"/>
                  </a:lnTo>
                  <a:lnTo>
                    <a:pt x="1410" y="3394"/>
                  </a:lnTo>
                  <a:lnTo>
                    <a:pt x="1370" y="3386"/>
                  </a:lnTo>
                  <a:lnTo>
                    <a:pt x="1363" y="3405"/>
                  </a:lnTo>
                  <a:lnTo>
                    <a:pt x="1371" y="3402"/>
                  </a:lnTo>
                  <a:lnTo>
                    <a:pt x="1389" y="3433"/>
                  </a:lnTo>
                  <a:lnTo>
                    <a:pt x="1392" y="3449"/>
                  </a:lnTo>
                  <a:lnTo>
                    <a:pt x="1405" y="3457"/>
                  </a:lnTo>
                  <a:lnTo>
                    <a:pt x="1354" y="3466"/>
                  </a:lnTo>
                  <a:lnTo>
                    <a:pt x="1356" y="3476"/>
                  </a:lnTo>
                  <a:lnTo>
                    <a:pt x="1387" y="3480"/>
                  </a:lnTo>
                  <a:lnTo>
                    <a:pt x="1392" y="3487"/>
                  </a:lnTo>
                  <a:lnTo>
                    <a:pt x="1386" y="3495"/>
                  </a:lnTo>
                  <a:lnTo>
                    <a:pt x="1395" y="3520"/>
                  </a:lnTo>
                  <a:lnTo>
                    <a:pt x="1358" y="3515"/>
                  </a:lnTo>
                  <a:lnTo>
                    <a:pt x="1385" y="3526"/>
                  </a:lnTo>
                  <a:lnTo>
                    <a:pt x="1387" y="3539"/>
                  </a:lnTo>
                  <a:lnTo>
                    <a:pt x="1379" y="3551"/>
                  </a:lnTo>
                  <a:lnTo>
                    <a:pt x="1368" y="3551"/>
                  </a:lnTo>
                  <a:lnTo>
                    <a:pt x="1372" y="3561"/>
                  </a:lnTo>
                  <a:lnTo>
                    <a:pt x="1365" y="3561"/>
                  </a:lnTo>
                  <a:lnTo>
                    <a:pt x="1367" y="3570"/>
                  </a:lnTo>
                  <a:lnTo>
                    <a:pt x="1350" y="3561"/>
                  </a:lnTo>
                  <a:lnTo>
                    <a:pt x="1354" y="3569"/>
                  </a:lnTo>
                  <a:lnTo>
                    <a:pt x="1348" y="3573"/>
                  </a:lnTo>
                  <a:lnTo>
                    <a:pt x="1349" y="3580"/>
                  </a:lnTo>
                  <a:lnTo>
                    <a:pt x="1359" y="3586"/>
                  </a:lnTo>
                  <a:lnTo>
                    <a:pt x="1328" y="3578"/>
                  </a:lnTo>
                  <a:lnTo>
                    <a:pt x="1347" y="3592"/>
                  </a:lnTo>
                  <a:close/>
                </a:path>
              </a:pathLst>
            </a:custGeom>
            <a:grpFill/>
            <a:ln w="6350">
              <a:solidFill>
                <a:schemeClr val="tx2"/>
              </a:solidFill>
              <a:round/>
              <a:headEnd/>
              <a:tailEnd/>
            </a:ln>
          </p:spPr>
          <p:txBody>
            <a:bodyPr/>
            <a:lstStyle/>
            <a:p>
              <a:endParaRPr lang="en-US"/>
            </a:p>
          </p:txBody>
        </p:sp>
        <p:sp>
          <p:nvSpPr>
            <p:cNvPr id="82" name="Freeform 1030"/>
            <p:cNvSpPr>
              <a:spLocks/>
            </p:cNvSpPr>
            <p:nvPr/>
          </p:nvSpPr>
          <p:spPr bwMode="auto">
            <a:xfrm>
              <a:off x="3287816" y="3035943"/>
              <a:ext cx="6069" cy="6069"/>
            </a:xfrm>
            <a:custGeom>
              <a:avLst/>
              <a:gdLst>
                <a:gd name="T0" fmla="*/ 2147483647 w 16"/>
                <a:gd name="T1" fmla="*/ 0 h 12"/>
                <a:gd name="T2" fmla="*/ 2147483647 w 16"/>
                <a:gd name="T3" fmla="*/ 0 h 12"/>
                <a:gd name="T4" fmla="*/ 0 w 16"/>
                <a:gd name="T5" fmla="*/ 2147483647 h 12"/>
                <a:gd name="T6" fmla="*/ 2147483647 w 16"/>
                <a:gd name="T7" fmla="*/ 2147483647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2" y="0"/>
                  </a:moveTo>
                  <a:lnTo>
                    <a:pt x="1" y="0"/>
                  </a:lnTo>
                  <a:lnTo>
                    <a:pt x="0" y="12"/>
                  </a:lnTo>
                  <a:lnTo>
                    <a:pt x="16" y="5"/>
                  </a:lnTo>
                  <a:lnTo>
                    <a:pt x="2" y="0"/>
                  </a:lnTo>
                  <a:close/>
                </a:path>
              </a:pathLst>
            </a:custGeom>
            <a:grpFill/>
            <a:ln w="6350">
              <a:solidFill>
                <a:schemeClr val="tx2"/>
              </a:solidFill>
              <a:round/>
              <a:headEnd/>
              <a:tailEnd/>
            </a:ln>
          </p:spPr>
          <p:txBody>
            <a:bodyPr/>
            <a:lstStyle/>
            <a:p>
              <a:endParaRPr lang="en-US"/>
            </a:p>
          </p:txBody>
        </p:sp>
        <p:sp>
          <p:nvSpPr>
            <p:cNvPr id="83" name="Freeform 1031"/>
            <p:cNvSpPr>
              <a:spLocks/>
            </p:cNvSpPr>
            <p:nvPr/>
          </p:nvSpPr>
          <p:spPr bwMode="auto">
            <a:xfrm>
              <a:off x="3287816" y="3031392"/>
              <a:ext cx="18206" cy="4550"/>
            </a:xfrm>
            <a:custGeom>
              <a:avLst/>
              <a:gdLst>
                <a:gd name="T0" fmla="*/ 2147483647 w 36"/>
                <a:gd name="T1" fmla="*/ 2147483647 h 10"/>
                <a:gd name="T2" fmla="*/ 0 w 36"/>
                <a:gd name="T3" fmla="*/ 0 h 10"/>
                <a:gd name="T4" fmla="*/ 2147483647 w 36"/>
                <a:gd name="T5" fmla="*/ 2147483647 h 10"/>
                <a:gd name="T6" fmla="*/ 2147483647 w 36"/>
                <a:gd name="T7" fmla="*/ 2147483647 h 10"/>
                <a:gd name="T8" fmla="*/ 0 60000 65536"/>
                <a:gd name="T9" fmla="*/ 0 60000 65536"/>
                <a:gd name="T10" fmla="*/ 0 60000 65536"/>
                <a:gd name="T11" fmla="*/ 0 60000 65536"/>
                <a:gd name="T12" fmla="*/ 0 w 36"/>
                <a:gd name="T13" fmla="*/ 0 h 10"/>
                <a:gd name="T14" fmla="*/ 36 w 36"/>
                <a:gd name="T15" fmla="*/ 10 h 10"/>
              </a:gdLst>
              <a:ahLst/>
              <a:cxnLst>
                <a:cxn ang="T8">
                  <a:pos x="T0" y="T1"/>
                </a:cxn>
                <a:cxn ang="T9">
                  <a:pos x="T2" y="T3"/>
                </a:cxn>
                <a:cxn ang="T10">
                  <a:pos x="T4" y="T5"/>
                </a:cxn>
                <a:cxn ang="T11">
                  <a:pos x="T6" y="T7"/>
                </a:cxn>
              </a:cxnLst>
              <a:rect l="T12" t="T13" r="T14" b="T15"/>
              <a:pathLst>
                <a:path w="36" h="10">
                  <a:moveTo>
                    <a:pt x="36" y="2"/>
                  </a:moveTo>
                  <a:lnTo>
                    <a:pt x="0" y="0"/>
                  </a:lnTo>
                  <a:lnTo>
                    <a:pt x="13" y="10"/>
                  </a:lnTo>
                  <a:lnTo>
                    <a:pt x="36" y="2"/>
                  </a:lnTo>
                  <a:close/>
                </a:path>
              </a:pathLst>
            </a:custGeom>
            <a:grpFill/>
            <a:ln w="6350">
              <a:solidFill>
                <a:schemeClr val="tx2"/>
              </a:solidFill>
              <a:round/>
              <a:headEnd/>
              <a:tailEnd/>
            </a:ln>
          </p:spPr>
          <p:txBody>
            <a:bodyPr/>
            <a:lstStyle/>
            <a:p>
              <a:endParaRPr lang="en-US"/>
            </a:p>
          </p:txBody>
        </p:sp>
        <p:sp>
          <p:nvSpPr>
            <p:cNvPr id="84" name="Freeform 1153"/>
            <p:cNvSpPr>
              <a:spLocks/>
            </p:cNvSpPr>
            <p:nvPr/>
          </p:nvSpPr>
          <p:spPr bwMode="auto">
            <a:xfrm>
              <a:off x="2744689" y="1955758"/>
              <a:ext cx="63718" cy="24273"/>
            </a:xfrm>
            <a:custGeom>
              <a:avLst/>
              <a:gdLst>
                <a:gd name="T0" fmla="*/ 0 w 130"/>
                <a:gd name="T1" fmla="*/ 2147483647 h 47"/>
                <a:gd name="T2" fmla="*/ 2147483647 w 130"/>
                <a:gd name="T3" fmla="*/ 2147483647 h 47"/>
                <a:gd name="T4" fmla="*/ 2147483647 w 130"/>
                <a:gd name="T5" fmla="*/ 0 h 47"/>
                <a:gd name="T6" fmla="*/ 2147483647 w 130"/>
                <a:gd name="T7" fmla="*/ 2147483647 h 47"/>
                <a:gd name="T8" fmla="*/ 2147483647 w 130"/>
                <a:gd name="T9" fmla="*/ 2147483647 h 47"/>
                <a:gd name="T10" fmla="*/ 0 w 130"/>
                <a:gd name="T11" fmla="*/ 2147483647 h 47"/>
                <a:gd name="T12" fmla="*/ 0 60000 65536"/>
                <a:gd name="T13" fmla="*/ 0 60000 65536"/>
                <a:gd name="T14" fmla="*/ 0 60000 65536"/>
                <a:gd name="T15" fmla="*/ 0 60000 65536"/>
                <a:gd name="T16" fmla="*/ 0 60000 65536"/>
                <a:gd name="T17" fmla="*/ 0 60000 65536"/>
                <a:gd name="T18" fmla="*/ 0 w 130"/>
                <a:gd name="T19" fmla="*/ 0 h 47"/>
                <a:gd name="T20" fmla="*/ 130 w 130"/>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130" h="47">
                  <a:moveTo>
                    <a:pt x="0" y="27"/>
                  </a:moveTo>
                  <a:lnTo>
                    <a:pt x="23" y="4"/>
                  </a:lnTo>
                  <a:lnTo>
                    <a:pt x="73" y="0"/>
                  </a:lnTo>
                  <a:lnTo>
                    <a:pt x="130" y="35"/>
                  </a:lnTo>
                  <a:lnTo>
                    <a:pt x="96" y="47"/>
                  </a:lnTo>
                  <a:lnTo>
                    <a:pt x="0" y="27"/>
                  </a:lnTo>
                  <a:close/>
                </a:path>
              </a:pathLst>
            </a:custGeom>
            <a:grpFill/>
            <a:ln w="6350">
              <a:solidFill>
                <a:schemeClr val="tx2"/>
              </a:solidFill>
              <a:round/>
              <a:headEnd/>
              <a:tailEnd/>
            </a:ln>
          </p:spPr>
          <p:txBody>
            <a:bodyPr/>
            <a:lstStyle/>
            <a:p>
              <a:endParaRPr lang="en-US"/>
            </a:p>
          </p:txBody>
        </p:sp>
        <p:sp>
          <p:nvSpPr>
            <p:cNvPr id="85" name="Freeform 1154"/>
            <p:cNvSpPr>
              <a:spLocks/>
            </p:cNvSpPr>
            <p:nvPr/>
          </p:nvSpPr>
          <p:spPr bwMode="auto">
            <a:xfrm>
              <a:off x="3045076" y="2507988"/>
              <a:ext cx="63718" cy="63718"/>
            </a:xfrm>
            <a:custGeom>
              <a:avLst/>
              <a:gdLst>
                <a:gd name="T0" fmla="*/ 2147483647 w 127"/>
                <a:gd name="T1" fmla="*/ 0 h 126"/>
                <a:gd name="T2" fmla="*/ 2147483647 w 127"/>
                <a:gd name="T3" fmla="*/ 2147483647 h 126"/>
                <a:gd name="T4" fmla="*/ 2147483647 w 127"/>
                <a:gd name="T5" fmla="*/ 2147483647 h 126"/>
                <a:gd name="T6" fmla="*/ 2147483647 w 127"/>
                <a:gd name="T7" fmla="*/ 2147483647 h 126"/>
                <a:gd name="T8" fmla="*/ 2147483647 w 127"/>
                <a:gd name="T9" fmla="*/ 2147483647 h 126"/>
                <a:gd name="T10" fmla="*/ 2147483647 w 127"/>
                <a:gd name="T11" fmla="*/ 2147483647 h 126"/>
                <a:gd name="T12" fmla="*/ 2147483647 w 127"/>
                <a:gd name="T13" fmla="*/ 2147483647 h 126"/>
                <a:gd name="T14" fmla="*/ 2147483647 w 127"/>
                <a:gd name="T15" fmla="*/ 2147483647 h 126"/>
                <a:gd name="T16" fmla="*/ 2147483647 w 127"/>
                <a:gd name="T17" fmla="*/ 2147483647 h 126"/>
                <a:gd name="T18" fmla="*/ 2147483647 w 127"/>
                <a:gd name="T19" fmla="*/ 2147483647 h 126"/>
                <a:gd name="T20" fmla="*/ 0 w 127"/>
                <a:gd name="T21" fmla="*/ 2147483647 h 126"/>
                <a:gd name="T22" fmla="*/ 2147483647 w 127"/>
                <a:gd name="T23" fmla="*/ 2147483647 h 126"/>
                <a:gd name="T24" fmla="*/ 0 w 127"/>
                <a:gd name="T25" fmla="*/ 2147483647 h 126"/>
                <a:gd name="T26" fmla="*/ 2147483647 w 127"/>
                <a:gd name="T27" fmla="*/ 2147483647 h 126"/>
                <a:gd name="T28" fmla="*/ 2147483647 w 127"/>
                <a:gd name="T29" fmla="*/ 2147483647 h 126"/>
                <a:gd name="T30" fmla="*/ 2147483647 w 127"/>
                <a:gd name="T31" fmla="*/ 2147483647 h 126"/>
                <a:gd name="T32" fmla="*/ 2147483647 w 127"/>
                <a:gd name="T33" fmla="*/ 0 h 1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7"/>
                <a:gd name="T52" fmla="*/ 0 h 126"/>
                <a:gd name="T53" fmla="*/ 127 w 127"/>
                <a:gd name="T54" fmla="*/ 126 h 1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7" h="126">
                  <a:moveTo>
                    <a:pt x="23" y="0"/>
                  </a:moveTo>
                  <a:lnTo>
                    <a:pt x="72" y="19"/>
                  </a:lnTo>
                  <a:lnTo>
                    <a:pt x="101" y="61"/>
                  </a:lnTo>
                  <a:lnTo>
                    <a:pt x="127" y="77"/>
                  </a:lnTo>
                  <a:lnTo>
                    <a:pt x="127" y="90"/>
                  </a:lnTo>
                  <a:lnTo>
                    <a:pt x="114" y="111"/>
                  </a:lnTo>
                  <a:lnTo>
                    <a:pt x="68" y="126"/>
                  </a:lnTo>
                  <a:lnTo>
                    <a:pt x="32" y="117"/>
                  </a:lnTo>
                  <a:lnTo>
                    <a:pt x="61" y="102"/>
                  </a:lnTo>
                  <a:lnTo>
                    <a:pt x="2" y="91"/>
                  </a:lnTo>
                  <a:lnTo>
                    <a:pt x="0" y="80"/>
                  </a:lnTo>
                  <a:lnTo>
                    <a:pt x="23" y="82"/>
                  </a:lnTo>
                  <a:lnTo>
                    <a:pt x="0" y="61"/>
                  </a:lnTo>
                  <a:lnTo>
                    <a:pt x="27" y="53"/>
                  </a:lnTo>
                  <a:lnTo>
                    <a:pt x="5" y="26"/>
                  </a:lnTo>
                  <a:lnTo>
                    <a:pt x="6" y="11"/>
                  </a:lnTo>
                  <a:lnTo>
                    <a:pt x="23" y="0"/>
                  </a:lnTo>
                  <a:close/>
                </a:path>
              </a:pathLst>
            </a:custGeom>
            <a:grpFill/>
            <a:ln w="6350">
              <a:solidFill>
                <a:schemeClr val="tx2"/>
              </a:solidFill>
              <a:round/>
              <a:headEnd/>
              <a:tailEnd/>
            </a:ln>
          </p:spPr>
          <p:txBody>
            <a:bodyPr/>
            <a:lstStyle/>
            <a:p>
              <a:endParaRPr lang="en-US"/>
            </a:p>
          </p:txBody>
        </p:sp>
        <p:sp>
          <p:nvSpPr>
            <p:cNvPr id="86" name="Freeform 1155"/>
            <p:cNvSpPr>
              <a:spLocks/>
            </p:cNvSpPr>
            <p:nvPr/>
          </p:nvSpPr>
          <p:spPr bwMode="auto">
            <a:xfrm>
              <a:off x="1321636" y="2544399"/>
              <a:ext cx="30342" cy="4399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grpFill/>
            <a:ln w="6350">
              <a:solidFill>
                <a:schemeClr val="tx2"/>
              </a:solidFill>
              <a:round/>
              <a:headEnd/>
              <a:tailEnd/>
            </a:ln>
          </p:spPr>
          <p:txBody>
            <a:bodyPr/>
            <a:lstStyle/>
            <a:p>
              <a:endParaRPr lang="en-US"/>
            </a:p>
          </p:txBody>
        </p:sp>
        <p:sp>
          <p:nvSpPr>
            <p:cNvPr id="87" name="Freeform 1156"/>
            <p:cNvSpPr>
              <a:spLocks/>
            </p:cNvSpPr>
            <p:nvPr/>
          </p:nvSpPr>
          <p:spPr bwMode="auto">
            <a:xfrm>
              <a:off x="1309499" y="2573224"/>
              <a:ext cx="19722" cy="18206"/>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grpFill/>
            <a:ln w="6350">
              <a:solidFill>
                <a:schemeClr val="tx2"/>
              </a:solidFill>
              <a:round/>
              <a:headEnd/>
              <a:tailEnd/>
            </a:ln>
          </p:spPr>
          <p:txBody>
            <a:bodyPr/>
            <a:lstStyle/>
            <a:p>
              <a:endParaRPr lang="en-US"/>
            </a:p>
          </p:txBody>
        </p:sp>
        <p:sp>
          <p:nvSpPr>
            <p:cNvPr id="88" name="Freeform 1157"/>
            <p:cNvSpPr>
              <a:spLocks/>
            </p:cNvSpPr>
            <p:nvPr/>
          </p:nvSpPr>
          <p:spPr bwMode="auto">
            <a:xfrm>
              <a:off x="1521895" y="2204565"/>
              <a:ext cx="227567" cy="253358"/>
            </a:xfrm>
            <a:custGeom>
              <a:avLst/>
              <a:gdLst>
                <a:gd name="T0" fmla="*/ 2147483647 w 456"/>
                <a:gd name="T1" fmla="*/ 2147483647 h 510"/>
                <a:gd name="T2" fmla="*/ 2147483647 w 456"/>
                <a:gd name="T3" fmla="*/ 2147483647 h 510"/>
                <a:gd name="T4" fmla="*/ 2147483647 w 456"/>
                <a:gd name="T5" fmla="*/ 2147483647 h 510"/>
                <a:gd name="T6" fmla="*/ 2147483647 w 456"/>
                <a:gd name="T7" fmla="*/ 2147483647 h 510"/>
                <a:gd name="T8" fmla="*/ 2147483647 w 456"/>
                <a:gd name="T9" fmla="*/ 2147483647 h 510"/>
                <a:gd name="T10" fmla="*/ 2147483647 w 456"/>
                <a:gd name="T11" fmla="*/ 2147483647 h 510"/>
                <a:gd name="T12" fmla="*/ 2147483647 w 456"/>
                <a:gd name="T13" fmla="*/ 2147483647 h 510"/>
                <a:gd name="T14" fmla="*/ 2147483647 w 456"/>
                <a:gd name="T15" fmla="*/ 2147483647 h 510"/>
                <a:gd name="T16" fmla="*/ 2147483647 w 456"/>
                <a:gd name="T17" fmla="*/ 2147483647 h 510"/>
                <a:gd name="T18" fmla="*/ 2147483647 w 456"/>
                <a:gd name="T19" fmla="*/ 2147483647 h 510"/>
                <a:gd name="T20" fmla="*/ 2147483647 w 456"/>
                <a:gd name="T21" fmla="*/ 2147483647 h 510"/>
                <a:gd name="T22" fmla="*/ 2147483647 w 456"/>
                <a:gd name="T23" fmla="*/ 2147483647 h 510"/>
                <a:gd name="T24" fmla="*/ 2147483647 w 456"/>
                <a:gd name="T25" fmla="*/ 2147483647 h 510"/>
                <a:gd name="T26" fmla="*/ 2147483647 w 456"/>
                <a:gd name="T27" fmla="*/ 2147483647 h 510"/>
                <a:gd name="T28" fmla="*/ 2147483647 w 456"/>
                <a:gd name="T29" fmla="*/ 2147483647 h 510"/>
                <a:gd name="T30" fmla="*/ 2147483647 w 456"/>
                <a:gd name="T31" fmla="*/ 2147483647 h 510"/>
                <a:gd name="T32" fmla="*/ 2147483647 w 456"/>
                <a:gd name="T33" fmla="*/ 2147483647 h 510"/>
                <a:gd name="T34" fmla="*/ 0 w 456"/>
                <a:gd name="T35" fmla="*/ 2147483647 h 510"/>
                <a:gd name="T36" fmla="*/ 2147483647 w 456"/>
                <a:gd name="T37" fmla="*/ 2147483647 h 510"/>
                <a:gd name="T38" fmla="*/ 2147483647 w 456"/>
                <a:gd name="T39" fmla="*/ 2147483647 h 510"/>
                <a:gd name="T40" fmla="*/ 2147483647 w 456"/>
                <a:gd name="T41" fmla="*/ 2147483647 h 510"/>
                <a:gd name="T42" fmla="*/ 2147483647 w 456"/>
                <a:gd name="T43" fmla="*/ 2147483647 h 510"/>
                <a:gd name="T44" fmla="*/ 2147483647 w 456"/>
                <a:gd name="T45" fmla="*/ 2147483647 h 510"/>
                <a:gd name="T46" fmla="*/ 2147483647 w 456"/>
                <a:gd name="T47" fmla="*/ 2147483647 h 510"/>
                <a:gd name="T48" fmla="*/ 2147483647 w 456"/>
                <a:gd name="T49" fmla="*/ 2147483647 h 510"/>
                <a:gd name="T50" fmla="*/ 2147483647 w 456"/>
                <a:gd name="T51" fmla="*/ 2147483647 h 510"/>
                <a:gd name="T52" fmla="*/ 2147483647 w 456"/>
                <a:gd name="T53" fmla="*/ 2147483647 h 510"/>
                <a:gd name="T54" fmla="*/ 2147483647 w 456"/>
                <a:gd name="T55" fmla="*/ 2147483647 h 510"/>
                <a:gd name="T56" fmla="*/ 2147483647 w 456"/>
                <a:gd name="T57" fmla="*/ 2147483647 h 510"/>
                <a:gd name="T58" fmla="*/ 2147483647 w 456"/>
                <a:gd name="T59" fmla="*/ 2147483647 h 510"/>
                <a:gd name="T60" fmla="*/ 2147483647 w 456"/>
                <a:gd name="T61" fmla="*/ 2147483647 h 510"/>
                <a:gd name="T62" fmla="*/ 2147483647 w 456"/>
                <a:gd name="T63" fmla="*/ 2147483647 h 510"/>
                <a:gd name="T64" fmla="*/ 2147483647 w 456"/>
                <a:gd name="T65" fmla="*/ 2147483647 h 510"/>
                <a:gd name="T66" fmla="*/ 2147483647 w 456"/>
                <a:gd name="T67" fmla="*/ 2147483647 h 510"/>
                <a:gd name="T68" fmla="*/ 2147483647 w 456"/>
                <a:gd name="T69" fmla="*/ 2147483647 h 510"/>
                <a:gd name="T70" fmla="*/ 2147483647 w 456"/>
                <a:gd name="T71" fmla="*/ 2147483647 h 510"/>
                <a:gd name="T72" fmla="*/ 2147483647 w 456"/>
                <a:gd name="T73" fmla="*/ 2147483647 h 510"/>
                <a:gd name="T74" fmla="*/ 2147483647 w 456"/>
                <a:gd name="T75" fmla="*/ 2147483647 h 510"/>
                <a:gd name="T76" fmla="*/ 2147483647 w 456"/>
                <a:gd name="T77" fmla="*/ 2147483647 h 510"/>
                <a:gd name="T78" fmla="*/ 2147483647 w 456"/>
                <a:gd name="T79" fmla="*/ 2147483647 h 510"/>
                <a:gd name="T80" fmla="*/ 2147483647 w 456"/>
                <a:gd name="T81" fmla="*/ 2147483647 h 510"/>
                <a:gd name="T82" fmla="*/ 2147483647 w 456"/>
                <a:gd name="T83" fmla="*/ 2147483647 h 510"/>
                <a:gd name="T84" fmla="*/ 2147483647 w 456"/>
                <a:gd name="T85" fmla="*/ 2147483647 h 510"/>
                <a:gd name="T86" fmla="*/ 2147483647 w 456"/>
                <a:gd name="T87" fmla="*/ 2147483647 h 510"/>
                <a:gd name="T88" fmla="*/ 2147483647 w 456"/>
                <a:gd name="T89" fmla="*/ 2147483647 h 510"/>
                <a:gd name="T90" fmla="*/ 2147483647 w 456"/>
                <a:gd name="T91" fmla="*/ 0 h 510"/>
                <a:gd name="T92" fmla="*/ 2147483647 w 456"/>
                <a:gd name="T93" fmla="*/ 2147483647 h 510"/>
                <a:gd name="T94" fmla="*/ 2147483647 w 456"/>
                <a:gd name="T95" fmla="*/ 2147483647 h 510"/>
                <a:gd name="T96" fmla="*/ 2147483647 w 456"/>
                <a:gd name="T97" fmla="*/ 2147483647 h 510"/>
                <a:gd name="T98" fmla="*/ 2147483647 w 456"/>
                <a:gd name="T99" fmla="*/ 2147483647 h 510"/>
                <a:gd name="T100" fmla="*/ 2147483647 w 456"/>
                <a:gd name="T101" fmla="*/ 2147483647 h 510"/>
                <a:gd name="T102" fmla="*/ 2147483647 w 456"/>
                <a:gd name="T103" fmla="*/ 2147483647 h 510"/>
                <a:gd name="T104" fmla="*/ 2147483647 w 456"/>
                <a:gd name="T105" fmla="*/ 2147483647 h 5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56"/>
                <a:gd name="T160" fmla="*/ 0 h 510"/>
                <a:gd name="T161" fmla="*/ 456 w 456"/>
                <a:gd name="T162" fmla="*/ 510 h 5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56" h="510">
                  <a:moveTo>
                    <a:pt x="73" y="90"/>
                  </a:moveTo>
                  <a:lnTo>
                    <a:pt x="88" y="114"/>
                  </a:lnTo>
                  <a:lnTo>
                    <a:pt x="77" y="148"/>
                  </a:lnTo>
                  <a:lnTo>
                    <a:pt x="43" y="225"/>
                  </a:lnTo>
                  <a:lnTo>
                    <a:pt x="57" y="250"/>
                  </a:lnTo>
                  <a:lnTo>
                    <a:pt x="33" y="254"/>
                  </a:lnTo>
                  <a:lnTo>
                    <a:pt x="37" y="280"/>
                  </a:lnTo>
                  <a:lnTo>
                    <a:pt x="34" y="297"/>
                  </a:lnTo>
                  <a:lnTo>
                    <a:pt x="40" y="302"/>
                  </a:lnTo>
                  <a:lnTo>
                    <a:pt x="31" y="316"/>
                  </a:lnTo>
                  <a:lnTo>
                    <a:pt x="21" y="326"/>
                  </a:lnTo>
                  <a:lnTo>
                    <a:pt x="15" y="340"/>
                  </a:lnTo>
                  <a:lnTo>
                    <a:pt x="23" y="350"/>
                  </a:lnTo>
                  <a:lnTo>
                    <a:pt x="9" y="355"/>
                  </a:lnTo>
                  <a:lnTo>
                    <a:pt x="13" y="363"/>
                  </a:lnTo>
                  <a:lnTo>
                    <a:pt x="7" y="368"/>
                  </a:lnTo>
                  <a:lnTo>
                    <a:pt x="12" y="376"/>
                  </a:lnTo>
                  <a:lnTo>
                    <a:pt x="0" y="390"/>
                  </a:lnTo>
                  <a:lnTo>
                    <a:pt x="32" y="399"/>
                  </a:lnTo>
                  <a:lnTo>
                    <a:pt x="51" y="414"/>
                  </a:lnTo>
                  <a:lnTo>
                    <a:pt x="58" y="407"/>
                  </a:lnTo>
                  <a:lnTo>
                    <a:pt x="77" y="422"/>
                  </a:lnTo>
                  <a:lnTo>
                    <a:pt x="118" y="510"/>
                  </a:lnTo>
                  <a:lnTo>
                    <a:pt x="180" y="454"/>
                  </a:lnTo>
                  <a:lnTo>
                    <a:pt x="195" y="471"/>
                  </a:lnTo>
                  <a:lnTo>
                    <a:pt x="228" y="450"/>
                  </a:lnTo>
                  <a:lnTo>
                    <a:pt x="237" y="423"/>
                  </a:lnTo>
                  <a:lnTo>
                    <a:pt x="234" y="391"/>
                  </a:lnTo>
                  <a:lnTo>
                    <a:pt x="247" y="350"/>
                  </a:lnTo>
                  <a:lnTo>
                    <a:pt x="285" y="338"/>
                  </a:lnTo>
                  <a:lnTo>
                    <a:pt x="291" y="297"/>
                  </a:lnTo>
                  <a:lnTo>
                    <a:pt x="299" y="289"/>
                  </a:lnTo>
                  <a:lnTo>
                    <a:pt x="456" y="174"/>
                  </a:lnTo>
                  <a:lnTo>
                    <a:pt x="456" y="157"/>
                  </a:lnTo>
                  <a:lnTo>
                    <a:pt x="364" y="53"/>
                  </a:lnTo>
                  <a:lnTo>
                    <a:pt x="307" y="56"/>
                  </a:lnTo>
                  <a:lnTo>
                    <a:pt x="301" y="67"/>
                  </a:lnTo>
                  <a:lnTo>
                    <a:pt x="306" y="74"/>
                  </a:lnTo>
                  <a:lnTo>
                    <a:pt x="301" y="88"/>
                  </a:lnTo>
                  <a:lnTo>
                    <a:pt x="291" y="93"/>
                  </a:lnTo>
                  <a:lnTo>
                    <a:pt x="292" y="60"/>
                  </a:lnTo>
                  <a:lnTo>
                    <a:pt x="281" y="58"/>
                  </a:lnTo>
                  <a:lnTo>
                    <a:pt x="267" y="86"/>
                  </a:lnTo>
                  <a:lnTo>
                    <a:pt x="264" y="70"/>
                  </a:lnTo>
                  <a:lnTo>
                    <a:pt x="271" y="59"/>
                  </a:lnTo>
                  <a:lnTo>
                    <a:pt x="192" y="0"/>
                  </a:lnTo>
                  <a:lnTo>
                    <a:pt x="123" y="13"/>
                  </a:lnTo>
                  <a:lnTo>
                    <a:pt x="124" y="34"/>
                  </a:lnTo>
                  <a:lnTo>
                    <a:pt x="114" y="14"/>
                  </a:lnTo>
                  <a:lnTo>
                    <a:pt x="55" y="29"/>
                  </a:lnTo>
                  <a:lnTo>
                    <a:pt x="73" y="57"/>
                  </a:lnTo>
                  <a:lnTo>
                    <a:pt x="65" y="69"/>
                  </a:lnTo>
                  <a:lnTo>
                    <a:pt x="73" y="90"/>
                  </a:lnTo>
                  <a:close/>
                </a:path>
              </a:pathLst>
            </a:custGeom>
            <a:grpFill/>
            <a:ln w="6350">
              <a:solidFill>
                <a:schemeClr val="tx2"/>
              </a:solidFill>
              <a:round/>
              <a:headEnd/>
              <a:tailEnd/>
            </a:ln>
          </p:spPr>
          <p:txBody>
            <a:bodyPr/>
            <a:lstStyle/>
            <a:p>
              <a:endParaRPr lang="en-US"/>
            </a:p>
          </p:txBody>
        </p:sp>
        <p:sp>
          <p:nvSpPr>
            <p:cNvPr id="89" name="Freeform 1158"/>
            <p:cNvSpPr>
              <a:spLocks/>
            </p:cNvSpPr>
            <p:nvPr/>
          </p:nvSpPr>
          <p:spPr bwMode="auto">
            <a:xfrm>
              <a:off x="1670572" y="2300143"/>
              <a:ext cx="391415" cy="320111"/>
            </a:xfrm>
            <a:custGeom>
              <a:avLst/>
              <a:gdLst>
                <a:gd name="T0" fmla="*/ 2147483647 w 783"/>
                <a:gd name="T1" fmla="*/ 2147483647 h 643"/>
                <a:gd name="T2" fmla="*/ 2147483647 w 783"/>
                <a:gd name="T3" fmla="*/ 2147483647 h 643"/>
                <a:gd name="T4" fmla="*/ 2147483647 w 783"/>
                <a:gd name="T5" fmla="*/ 2147483647 h 643"/>
                <a:gd name="T6" fmla="*/ 2147483647 w 783"/>
                <a:gd name="T7" fmla="*/ 2147483647 h 643"/>
                <a:gd name="T8" fmla="*/ 2147483647 w 783"/>
                <a:gd name="T9" fmla="*/ 2147483647 h 643"/>
                <a:gd name="T10" fmla="*/ 2147483647 w 783"/>
                <a:gd name="T11" fmla="*/ 2147483647 h 643"/>
                <a:gd name="T12" fmla="*/ 2147483647 w 783"/>
                <a:gd name="T13" fmla="*/ 2147483647 h 643"/>
                <a:gd name="T14" fmla="*/ 0 w 783"/>
                <a:gd name="T15" fmla="*/ 2147483647 h 643"/>
                <a:gd name="T16" fmla="*/ 2147483647 w 783"/>
                <a:gd name="T17" fmla="*/ 2147483647 h 643"/>
                <a:gd name="T18" fmla="*/ 2147483647 w 783"/>
                <a:gd name="T19" fmla="*/ 2147483647 h 643"/>
                <a:gd name="T20" fmla="*/ 2147483647 w 783"/>
                <a:gd name="T21" fmla="*/ 2147483647 h 643"/>
                <a:gd name="T22" fmla="*/ 2147483647 w 783"/>
                <a:gd name="T23" fmla="*/ 2147483647 h 643"/>
                <a:gd name="T24" fmla="*/ 2147483647 w 783"/>
                <a:gd name="T25" fmla="*/ 2147483647 h 643"/>
                <a:gd name="T26" fmla="*/ 2147483647 w 783"/>
                <a:gd name="T27" fmla="*/ 2147483647 h 643"/>
                <a:gd name="T28" fmla="*/ 2147483647 w 783"/>
                <a:gd name="T29" fmla="*/ 2147483647 h 643"/>
                <a:gd name="T30" fmla="*/ 2147483647 w 783"/>
                <a:gd name="T31" fmla="*/ 2147483647 h 643"/>
                <a:gd name="T32" fmla="*/ 2147483647 w 783"/>
                <a:gd name="T33" fmla="*/ 2147483647 h 643"/>
                <a:gd name="T34" fmla="*/ 2147483647 w 783"/>
                <a:gd name="T35" fmla="*/ 2147483647 h 643"/>
                <a:gd name="T36" fmla="*/ 2147483647 w 783"/>
                <a:gd name="T37" fmla="*/ 2147483647 h 643"/>
                <a:gd name="T38" fmla="*/ 2147483647 w 783"/>
                <a:gd name="T39" fmla="*/ 2147483647 h 643"/>
                <a:gd name="T40" fmla="*/ 2147483647 w 783"/>
                <a:gd name="T41" fmla="*/ 2147483647 h 643"/>
                <a:gd name="T42" fmla="*/ 2147483647 w 783"/>
                <a:gd name="T43" fmla="*/ 2147483647 h 643"/>
                <a:gd name="T44" fmla="*/ 2147483647 w 783"/>
                <a:gd name="T45" fmla="*/ 2147483647 h 643"/>
                <a:gd name="T46" fmla="*/ 2147483647 w 783"/>
                <a:gd name="T47" fmla="*/ 2147483647 h 643"/>
                <a:gd name="T48" fmla="*/ 2147483647 w 783"/>
                <a:gd name="T49" fmla="*/ 2147483647 h 643"/>
                <a:gd name="T50" fmla="*/ 2147483647 w 783"/>
                <a:gd name="T51" fmla="*/ 2147483647 h 643"/>
                <a:gd name="T52" fmla="*/ 2147483647 w 783"/>
                <a:gd name="T53" fmla="*/ 2147483647 h 643"/>
                <a:gd name="T54" fmla="*/ 2147483647 w 783"/>
                <a:gd name="T55" fmla="*/ 2147483647 h 643"/>
                <a:gd name="T56" fmla="*/ 2147483647 w 783"/>
                <a:gd name="T57" fmla="*/ 2147483647 h 643"/>
                <a:gd name="T58" fmla="*/ 2147483647 w 783"/>
                <a:gd name="T59" fmla="*/ 2147483647 h 643"/>
                <a:gd name="T60" fmla="*/ 2147483647 w 783"/>
                <a:gd name="T61" fmla="*/ 2147483647 h 643"/>
                <a:gd name="T62" fmla="*/ 2147483647 w 783"/>
                <a:gd name="T63" fmla="*/ 2147483647 h 643"/>
                <a:gd name="T64" fmla="*/ 2147483647 w 783"/>
                <a:gd name="T65" fmla="*/ 2147483647 h 643"/>
                <a:gd name="T66" fmla="*/ 2147483647 w 783"/>
                <a:gd name="T67" fmla="*/ 2147483647 h 643"/>
                <a:gd name="T68" fmla="*/ 2147483647 w 783"/>
                <a:gd name="T69" fmla="*/ 2147483647 h 643"/>
                <a:gd name="T70" fmla="*/ 2147483647 w 783"/>
                <a:gd name="T71" fmla="*/ 2147483647 h 643"/>
                <a:gd name="T72" fmla="*/ 2147483647 w 783"/>
                <a:gd name="T73" fmla="*/ 2147483647 h 643"/>
                <a:gd name="T74" fmla="*/ 2147483647 w 783"/>
                <a:gd name="T75" fmla="*/ 2147483647 h 643"/>
                <a:gd name="T76" fmla="*/ 2147483647 w 783"/>
                <a:gd name="T77" fmla="*/ 2147483647 h 643"/>
                <a:gd name="T78" fmla="*/ 2147483647 w 783"/>
                <a:gd name="T79" fmla="*/ 2147483647 h 643"/>
                <a:gd name="T80" fmla="*/ 2147483647 w 783"/>
                <a:gd name="T81" fmla="*/ 2147483647 h 643"/>
                <a:gd name="T82" fmla="*/ 2147483647 w 783"/>
                <a:gd name="T83" fmla="*/ 2147483647 h 643"/>
                <a:gd name="T84" fmla="*/ 2147483647 w 783"/>
                <a:gd name="T85" fmla="*/ 2147483647 h 643"/>
                <a:gd name="T86" fmla="*/ 2147483647 w 783"/>
                <a:gd name="T87" fmla="*/ 2147483647 h 6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3"/>
                <a:gd name="T133" fmla="*/ 0 h 643"/>
                <a:gd name="T134" fmla="*/ 783 w 783"/>
                <a:gd name="T135" fmla="*/ 643 h 6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3" h="643">
                  <a:moveTo>
                    <a:pt x="179" y="547"/>
                  </a:moveTo>
                  <a:lnTo>
                    <a:pt x="135" y="546"/>
                  </a:lnTo>
                  <a:lnTo>
                    <a:pt x="106" y="526"/>
                  </a:lnTo>
                  <a:lnTo>
                    <a:pt x="92" y="511"/>
                  </a:lnTo>
                  <a:lnTo>
                    <a:pt x="71" y="457"/>
                  </a:lnTo>
                  <a:lnTo>
                    <a:pt x="198" y="417"/>
                  </a:lnTo>
                  <a:lnTo>
                    <a:pt x="279" y="428"/>
                  </a:lnTo>
                  <a:lnTo>
                    <a:pt x="288" y="419"/>
                  </a:lnTo>
                  <a:lnTo>
                    <a:pt x="285" y="409"/>
                  </a:lnTo>
                  <a:lnTo>
                    <a:pt x="220" y="372"/>
                  </a:lnTo>
                  <a:lnTo>
                    <a:pt x="152" y="391"/>
                  </a:lnTo>
                  <a:lnTo>
                    <a:pt x="122" y="378"/>
                  </a:lnTo>
                  <a:lnTo>
                    <a:pt x="63" y="379"/>
                  </a:lnTo>
                  <a:lnTo>
                    <a:pt x="32" y="328"/>
                  </a:lnTo>
                  <a:lnTo>
                    <a:pt x="63" y="304"/>
                  </a:lnTo>
                  <a:lnTo>
                    <a:pt x="105" y="295"/>
                  </a:lnTo>
                  <a:lnTo>
                    <a:pt x="139" y="285"/>
                  </a:lnTo>
                  <a:lnTo>
                    <a:pt x="127" y="277"/>
                  </a:lnTo>
                  <a:lnTo>
                    <a:pt x="39" y="284"/>
                  </a:lnTo>
                  <a:lnTo>
                    <a:pt x="33" y="272"/>
                  </a:lnTo>
                  <a:lnTo>
                    <a:pt x="52" y="261"/>
                  </a:lnTo>
                  <a:lnTo>
                    <a:pt x="51" y="244"/>
                  </a:lnTo>
                  <a:lnTo>
                    <a:pt x="5" y="247"/>
                  </a:lnTo>
                  <a:lnTo>
                    <a:pt x="0" y="214"/>
                  </a:lnTo>
                  <a:lnTo>
                    <a:pt x="24" y="170"/>
                  </a:lnTo>
                  <a:lnTo>
                    <a:pt x="40" y="164"/>
                  </a:lnTo>
                  <a:lnTo>
                    <a:pt x="36" y="149"/>
                  </a:lnTo>
                  <a:lnTo>
                    <a:pt x="24" y="143"/>
                  </a:lnTo>
                  <a:lnTo>
                    <a:pt x="27" y="118"/>
                  </a:lnTo>
                  <a:lnTo>
                    <a:pt x="35" y="107"/>
                  </a:lnTo>
                  <a:lnTo>
                    <a:pt x="114" y="35"/>
                  </a:lnTo>
                  <a:lnTo>
                    <a:pt x="186" y="0"/>
                  </a:lnTo>
                  <a:lnTo>
                    <a:pt x="204" y="11"/>
                  </a:lnTo>
                  <a:lnTo>
                    <a:pt x="213" y="56"/>
                  </a:lnTo>
                  <a:lnTo>
                    <a:pt x="212" y="74"/>
                  </a:lnTo>
                  <a:lnTo>
                    <a:pt x="186" y="104"/>
                  </a:lnTo>
                  <a:lnTo>
                    <a:pt x="189" y="114"/>
                  </a:lnTo>
                  <a:lnTo>
                    <a:pt x="230" y="100"/>
                  </a:lnTo>
                  <a:lnTo>
                    <a:pt x="234" y="89"/>
                  </a:lnTo>
                  <a:lnTo>
                    <a:pt x="229" y="77"/>
                  </a:lnTo>
                  <a:lnTo>
                    <a:pt x="234" y="65"/>
                  </a:lnTo>
                  <a:lnTo>
                    <a:pt x="257" y="49"/>
                  </a:lnTo>
                  <a:lnTo>
                    <a:pt x="332" y="100"/>
                  </a:lnTo>
                  <a:lnTo>
                    <a:pt x="333" y="113"/>
                  </a:lnTo>
                  <a:lnTo>
                    <a:pt x="303" y="151"/>
                  </a:lnTo>
                  <a:lnTo>
                    <a:pt x="333" y="130"/>
                  </a:lnTo>
                  <a:lnTo>
                    <a:pt x="329" y="147"/>
                  </a:lnTo>
                  <a:lnTo>
                    <a:pt x="338" y="150"/>
                  </a:lnTo>
                  <a:lnTo>
                    <a:pt x="354" y="116"/>
                  </a:lnTo>
                  <a:lnTo>
                    <a:pt x="379" y="128"/>
                  </a:lnTo>
                  <a:lnTo>
                    <a:pt x="377" y="113"/>
                  </a:lnTo>
                  <a:lnTo>
                    <a:pt x="390" y="116"/>
                  </a:lnTo>
                  <a:lnTo>
                    <a:pt x="378" y="97"/>
                  </a:lnTo>
                  <a:lnTo>
                    <a:pt x="393" y="97"/>
                  </a:lnTo>
                  <a:lnTo>
                    <a:pt x="366" y="53"/>
                  </a:lnTo>
                  <a:lnTo>
                    <a:pt x="406" y="68"/>
                  </a:lnTo>
                  <a:lnTo>
                    <a:pt x="444" y="121"/>
                  </a:lnTo>
                  <a:lnTo>
                    <a:pt x="443" y="146"/>
                  </a:lnTo>
                  <a:lnTo>
                    <a:pt x="451" y="190"/>
                  </a:lnTo>
                  <a:lnTo>
                    <a:pt x="463" y="202"/>
                  </a:lnTo>
                  <a:lnTo>
                    <a:pt x="457" y="214"/>
                  </a:lnTo>
                  <a:lnTo>
                    <a:pt x="458" y="232"/>
                  </a:lnTo>
                  <a:lnTo>
                    <a:pt x="470" y="244"/>
                  </a:lnTo>
                  <a:lnTo>
                    <a:pt x="484" y="233"/>
                  </a:lnTo>
                  <a:lnTo>
                    <a:pt x="500" y="208"/>
                  </a:lnTo>
                  <a:lnTo>
                    <a:pt x="491" y="194"/>
                  </a:lnTo>
                  <a:lnTo>
                    <a:pt x="483" y="159"/>
                  </a:lnTo>
                  <a:lnTo>
                    <a:pt x="484" y="130"/>
                  </a:lnTo>
                  <a:lnTo>
                    <a:pt x="465" y="48"/>
                  </a:lnTo>
                  <a:lnTo>
                    <a:pt x="470" y="39"/>
                  </a:lnTo>
                  <a:lnTo>
                    <a:pt x="463" y="30"/>
                  </a:lnTo>
                  <a:lnTo>
                    <a:pt x="476" y="21"/>
                  </a:lnTo>
                  <a:lnTo>
                    <a:pt x="468" y="7"/>
                  </a:lnTo>
                  <a:lnTo>
                    <a:pt x="494" y="8"/>
                  </a:lnTo>
                  <a:lnTo>
                    <a:pt x="521" y="31"/>
                  </a:lnTo>
                  <a:lnTo>
                    <a:pt x="524" y="24"/>
                  </a:lnTo>
                  <a:lnTo>
                    <a:pt x="518" y="13"/>
                  </a:lnTo>
                  <a:lnTo>
                    <a:pt x="530" y="15"/>
                  </a:lnTo>
                  <a:lnTo>
                    <a:pt x="588" y="81"/>
                  </a:lnTo>
                  <a:lnTo>
                    <a:pt x="584" y="96"/>
                  </a:lnTo>
                  <a:lnTo>
                    <a:pt x="593" y="110"/>
                  </a:lnTo>
                  <a:lnTo>
                    <a:pt x="602" y="193"/>
                  </a:lnTo>
                  <a:lnTo>
                    <a:pt x="630" y="253"/>
                  </a:lnTo>
                  <a:lnTo>
                    <a:pt x="631" y="279"/>
                  </a:lnTo>
                  <a:lnTo>
                    <a:pt x="624" y="282"/>
                  </a:lnTo>
                  <a:lnTo>
                    <a:pt x="622" y="311"/>
                  </a:lnTo>
                  <a:lnTo>
                    <a:pt x="625" y="321"/>
                  </a:lnTo>
                  <a:lnTo>
                    <a:pt x="674" y="379"/>
                  </a:lnTo>
                  <a:lnTo>
                    <a:pt x="701" y="377"/>
                  </a:lnTo>
                  <a:lnTo>
                    <a:pt x="734" y="417"/>
                  </a:lnTo>
                  <a:lnTo>
                    <a:pt x="751" y="421"/>
                  </a:lnTo>
                  <a:lnTo>
                    <a:pt x="755" y="440"/>
                  </a:lnTo>
                  <a:lnTo>
                    <a:pt x="780" y="440"/>
                  </a:lnTo>
                  <a:lnTo>
                    <a:pt x="783" y="458"/>
                  </a:lnTo>
                  <a:lnTo>
                    <a:pt x="778" y="499"/>
                  </a:lnTo>
                  <a:lnTo>
                    <a:pt x="765" y="499"/>
                  </a:lnTo>
                  <a:lnTo>
                    <a:pt x="758" y="484"/>
                  </a:lnTo>
                  <a:lnTo>
                    <a:pt x="758" y="466"/>
                  </a:lnTo>
                  <a:lnTo>
                    <a:pt x="751" y="499"/>
                  </a:lnTo>
                  <a:lnTo>
                    <a:pt x="740" y="497"/>
                  </a:lnTo>
                  <a:lnTo>
                    <a:pt x="732" y="468"/>
                  </a:lnTo>
                  <a:lnTo>
                    <a:pt x="707" y="491"/>
                  </a:lnTo>
                  <a:lnTo>
                    <a:pt x="712" y="515"/>
                  </a:lnTo>
                  <a:lnTo>
                    <a:pt x="685" y="513"/>
                  </a:lnTo>
                  <a:lnTo>
                    <a:pt x="688" y="549"/>
                  </a:lnTo>
                  <a:lnTo>
                    <a:pt x="709" y="521"/>
                  </a:lnTo>
                  <a:lnTo>
                    <a:pt x="728" y="520"/>
                  </a:lnTo>
                  <a:lnTo>
                    <a:pt x="737" y="526"/>
                  </a:lnTo>
                  <a:lnTo>
                    <a:pt x="725" y="544"/>
                  </a:lnTo>
                  <a:lnTo>
                    <a:pt x="727" y="558"/>
                  </a:lnTo>
                  <a:lnTo>
                    <a:pt x="733" y="549"/>
                  </a:lnTo>
                  <a:lnTo>
                    <a:pt x="753" y="564"/>
                  </a:lnTo>
                  <a:lnTo>
                    <a:pt x="740" y="584"/>
                  </a:lnTo>
                  <a:lnTo>
                    <a:pt x="701" y="594"/>
                  </a:lnTo>
                  <a:lnTo>
                    <a:pt x="693" y="607"/>
                  </a:lnTo>
                  <a:lnTo>
                    <a:pt x="594" y="588"/>
                  </a:lnTo>
                  <a:lnTo>
                    <a:pt x="606" y="569"/>
                  </a:lnTo>
                  <a:lnTo>
                    <a:pt x="546" y="558"/>
                  </a:lnTo>
                  <a:lnTo>
                    <a:pt x="546" y="531"/>
                  </a:lnTo>
                  <a:lnTo>
                    <a:pt x="534" y="520"/>
                  </a:lnTo>
                  <a:lnTo>
                    <a:pt x="516" y="537"/>
                  </a:lnTo>
                  <a:lnTo>
                    <a:pt x="521" y="556"/>
                  </a:lnTo>
                  <a:lnTo>
                    <a:pt x="501" y="582"/>
                  </a:lnTo>
                  <a:lnTo>
                    <a:pt x="451" y="591"/>
                  </a:lnTo>
                  <a:lnTo>
                    <a:pt x="443" y="604"/>
                  </a:lnTo>
                  <a:lnTo>
                    <a:pt x="408" y="624"/>
                  </a:lnTo>
                  <a:lnTo>
                    <a:pt x="249" y="643"/>
                  </a:lnTo>
                  <a:lnTo>
                    <a:pt x="259" y="634"/>
                  </a:lnTo>
                  <a:lnTo>
                    <a:pt x="238" y="614"/>
                  </a:lnTo>
                  <a:lnTo>
                    <a:pt x="231" y="595"/>
                  </a:lnTo>
                  <a:lnTo>
                    <a:pt x="234" y="572"/>
                  </a:lnTo>
                  <a:lnTo>
                    <a:pt x="216" y="550"/>
                  </a:lnTo>
                  <a:lnTo>
                    <a:pt x="179" y="547"/>
                  </a:lnTo>
                  <a:close/>
                </a:path>
              </a:pathLst>
            </a:custGeom>
            <a:grpFill/>
            <a:ln w="6350">
              <a:solidFill>
                <a:schemeClr val="tx2"/>
              </a:solidFill>
              <a:round/>
              <a:headEnd/>
              <a:tailEnd/>
            </a:ln>
          </p:spPr>
          <p:txBody>
            <a:bodyPr/>
            <a:lstStyle/>
            <a:p>
              <a:endParaRPr lang="en-US"/>
            </a:p>
          </p:txBody>
        </p:sp>
        <p:sp>
          <p:nvSpPr>
            <p:cNvPr id="90" name="Freeform 1159"/>
            <p:cNvSpPr>
              <a:spLocks/>
            </p:cNvSpPr>
            <p:nvPr/>
          </p:nvSpPr>
          <p:spPr bwMode="auto">
            <a:xfrm>
              <a:off x="1928482" y="2272836"/>
              <a:ext cx="51582" cy="62201"/>
            </a:xfrm>
            <a:custGeom>
              <a:avLst/>
              <a:gdLst>
                <a:gd name="T0" fmla="*/ 2147483647 w 108"/>
                <a:gd name="T1" fmla="*/ 2147483647 h 126"/>
                <a:gd name="T2" fmla="*/ 2147483647 w 108"/>
                <a:gd name="T3" fmla="*/ 2147483647 h 126"/>
                <a:gd name="T4" fmla="*/ 2147483647 w 108"/>
                <a:gd name="T5" fmla="*/ 2147483647 h 126"/>
                <a:gd name="T6" fmla="*/ 2147483647 w 108"/>
                <a:gd name="T7" fmla="*/ 0 h 126"/>
                <a:gd name="T8" fmla="*/ 0 w 108"/>
                <a:gd name="T9" fmla="*/ 2147483647 h 126"/>
                <a:gd name="T10" fmla="*/ 2147483647 w 108"/>
                <a:gd name="T11" fmla="*/ 2147483647 h 126"/>
                <a:gd name="T12" fmla="*/ 2147483647 w 108"/>
                <a:gd name="T13" fmla="*/ 2147483647 h 126"/>
                <a:gd name="T14" fmla="*/ 2147483647 w 108"/>
                <a:gd name="T15" fmla="*/ 2147483647 h 126"/>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26"/>
                <a:gd name="T26" fmla="*/ 108 w 108"/>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26">
                  <a:moveTo>
                    <a:pt x="90" y="96"/>
                  </a:moveTo>
                  <a:lnTo>
                    <a:pt x="108" y="25"/>
                  </a:lnTo>
                  <a:lnTo>
                    <a:pt x="95" y="7"/>
                  </a:lnTo>
                  <a:lnTo>
                    <a:pt x="27" y="0"/>
                  </a:lnTo>
                  <a:lnTo>
                    <a:pt x="0" y="40"/>
                  </a:lnTo>
                  <a:lnTo>
                    <a:pt x="35" y="67"/>
                  </a:lnTo>
                  <a:lnTo>
                    <a:pt x="74" y="126"/>
                  </a:lnTo>
                  <a:lnTo>
                    <a:pt x="90" y="96"/>
                  </a:lnTo>
                  <a:close/>
                </a:path>
              </a:pathLst>
            </a:custGeom>
            <a:grpFill/>
            <a:ln w="6350">
              <a:solidFill>
                <a:schemeClr val="tx2"/>
              </a:solidFill>
              <a:round/>
              <a:headEnd/>
              <a:tailEnd/>
            </a:ln>
          </p:spPr>
          <p:txBody>
            <a:bodyPr/>
            <a:lstStyle/>
            <a:p>
              <a:endParaRPr lang="en-US"/>
            </a:p>
          </p:txBody>
        </p:sp>
        <p:sp>
          <p:nvSpPr>
            <p:cNvPr id="91" name="Freeform 1160"/>
            <p:cNvSpPr>
              <a:spLocks/>
            </p:cNvSpPr>
            <p:nvPr/>
          </p:nvSpPr>
          <p:spPr bwMode="auto">
            <a:xfrm>
              <a:off x="2025576" y="2259181"/>
              <a:ext cx="130472" cy="189640"/>
            </a:xfrm>
            <a:custGeom>
              <a:avLst/>
              <a:gdLst>
                <a:gd name="T0" fmla="*/ 2147483647 w 260"/>
                <a:gd name="T1" fmla="*/ 2147483647 h 379"/>
                <a:gd name="T2" fmla="*/ 2147483647 w 260"/>
                <a:gd name="T3" fmla="*/ 2147483647 h 379"/>
                <a:gd name="T4" fmla="*/ 2147483647 w 260"/>
                <a:gd name="T5" fmla="*/ 2147483647 h 379"/>
                <a:gd name="T6" fmla="*/ 2147483647 w 260"/>
                <a:gd name="T7" fmla="*/ 2147483647 h 379"/>
                <a:gd name="T8" fmla="*/ 2147483647 w 260"/>
                <a:gd name="T9" fmla="*/ 2147483647 h 379"/>
                <a:gd name="T10" fmla="*/ 2147483647 w 260"/>
                <a:gd name="T11" fmla="*/ 2147483647 h 379"/>
                <a:gd name="T12" fmla="*/ 0 w 260"/>
                <a:gd name="T13" fmla="*/ 2147483647 h 379"/>
                <a:gd name="T14" fmla="*/ 2147483647 w 260"/>
                <a:gd name="T15" fmla="*/ 2147483647 h 379"/>
                <a:gd name="T16" fmla="*/ 2147483647 w 260"/>
                <a:gd name="T17" fmla="*/ 2147483647 h 379"/>
                <a:gd name="T18" fmla="*/ 2147483647 w 260"/>
                <a:gd name="T19" fmla="*/ 2147483647 h 379"/>
                <a:gd name="T20" fmla="*/ 2147483647 w 260"/>
                <a:gd name="T21" fmla="*/ 2147483647 h 379"/>
                <a:gd name="T22" fmla="*/ 2147483647 w 260"/>
                <a:gd name="T23" fmla="*/ 2147483647 h 379"/>
                <a:gd name="T24" fmla="*/ 2147483647 w 260"/>
                <a:gd name="T25" fmla="*/ 2147483647 h 379"/>
                <a:gd name="T26" fmla="*/ 2147483647 w 260"/>
                <a:gd name="T27" fmla="*/ 2147483647 h 379"/>
                <a:gd name="T28" fmla="*/ 2147483647 w 260"/>
                <a:gd name="T29" fmla="*/ 2147483647 h 379"/>
                <a:gd name="T30" fmla="*/ 2147483647 w 260"/>
                <a:gd name="T31" fmla="*/ 2147483647 h 379"/>
                <a:gd name="T32" fmla="*/ 2147483647 w 260"/>
                <a:gd name="T33" fmla="*/ 2147483647 h 379"/>
                <a:gd name="T34" fmla="*/ 2147483647 w 260"/>
                <a:gd name="T35" fmla="*/ 2147483647 h 379"/>
                <a:gd name="T36" fmla="*/ 2147483647 w 260"/>
                <a:gd name="T37" fmla="*/ 2147483647 h 379"/>
                <a:gd name="T38" fmla="*/ 2147483647 w 260"/>
                <a:gd name="T39" fmla="*/ 2147483647 h 379"/>
                <a:gd name="T40" fmla="*/ 2147483647 w 260"/>
                <a:gd name="T41" fmla="*/ 2147483647 h 379"/>
                <a:gd name="T42" fmla="*/ 2147483647 w 260"/>
                <a:gd name="T43" fmla="*/ 2147483647 h 379"/>
                <a:gd name="T44" fmla="*/ 2147483647 w 260"/>
                <a:gd name="T45" fmla="*/ 2147483647 h 379"/>
                <a:gd name="T46" fmla="*/ 2147483647 w 260"/>
                <a:gd name="T47" fmla="*/ 2147483647 h 379"/>
                <a:gd name="T48" fmla="*/ 2147483647 w 260"/>
                <a:gd name="T49" fmla="*/ 2147483647 h 379"/>
                <a:gd name="T50" fmla="*/ 2147483647 w 260"/>
                <a:gd name="T51" fmla="*/ 2147483647 h 379"/>
                <a:gd name="T52" fmla="*/ 2147483647 w 260"/>
                <a:gd name="T53" fmla="*/ 2147483647 h 379"/>
                <a:gd name="T54" fmla="*/ 2147483647 w 260"/>
                <a:gd name="T55" fmla="*/ 2147483647 h 379"/>
                <a:gd name="T56" fmla="*/ 2147483647 w 260"/>
                <a:gd name="T57" fmla="*/ 2147483647 h 379"/>
                <a:gd name="T58" fmla="*/ 2147483647 w 260"/>
                <a:gd name="T59" fmla="*/ 2147483647 h 379"/>
                <a:gd name="T60" fmla="*/ 2147483647 w 260"/>
                <a:gd name="T61" fmla="*/ 2147483647 h 379"/>
                <a:gd name="T62" fmla="*/ 2147483647 w 260"/>
                <a:gd name="T63" fmla="*/ 2147483647 h 379"/>
                <a:gd name="T64" fmla="*/ 2147483647 w 260"/>
                <a:gd name="T65" fmla="*/ 0 h 379"/>
                <a:gd name="T66" fmla="*/ 2147483647 w 260"/>
                <a:gd name="T67" fmla="*/ 2147483647 h 379"/>
                <a:gd name="T68" fmla="*/ 2147483647 w 260"/>
                <a:gd name="T69" fmla="*/ 2147483647 h 379"/>
                <a:gd name="T70" fmla="*/ 2147483647 w 260"/>
                <a:gd name="T71" fmla="*/ 2147483647 h 379"/>
                <a:gd name="T72" fmla="*/ 2147483647 w 260"/>
                <a:gd name="T73" fmla="*/ 2147483647 h 379"/>
                <a:gd name="T74" fmla="*/ 2147483647 w 260"/>
                <a:gd name="T75" fmla="*/ 2147483647 h 379"/>
                <a:gd name="T76" fmla="*/ 2147483647 w 260"/>
                <a:gd name="T77" fmla="*/ 2147483647 h 379"/>
                <a:gd name="T78" fmla="*/ 2147483647 w 260"/>
                <a:gd name="T79" fmla="*/ 2147483647 h 379"/>
                <a:gd name="T80" fmla="*/ 2147483647 w 260"/>
                <a:gd name="T81" fmla="*/ 2147483647 h 379"/>
                <a:gd name="T82" fmla="*/ 2147483647 w 260"/>
                <a:gd name="T83" fmla="*/ 2147483647 h 379"/>
                <a:gd name="T84" fmla="*/ 2147483647 w 260"/>
                <a:gd name="T85" fmla="*/ 2147483647 h 379"/>
                <a:gd name="T86" fmla="*/ 2147483647 w 260"/>
                <a:gd name="T87" fmla="*/ 2147483647 h 379"/>
                <a:gd name="T88" fmla="*/ 2147483647 w 260"/>
                <a:gd name="T89" fmla="*/ 2147483647 h 379"/>
                <a:gd name="T90" fmla="*/ 2147483647 w 260"/>
                <a:gd name="T91" fmla="*/ 2147483647 h 379"/>
                <a:gd name="T92" fmla="*/ 2147483647 w 260"/>
                <a:gd name="T93" fmla="*/ 2147483647 h 379"/>
                <a:gd name="T94" fmla="*/ 2147483647 w 260"/>
                <a:gd name="T95" fmla="*/ 2147483647 h 379"/>
                <a:gd name="T96" fmla="*/ 2147483647 w 260"/>
                <a:gd name="T97" fmla="*/ 2147483647 h 379"/>
                <a:gd name="T98" fmla="*/ 2147483647 w 260"/>
                <a:gd name="T99" fmla="*/ 2147483647 h 379"/>
                <a:gd name="T100" fmla="*/ 2147483647 w 260"/>
                <a:gd name="T101" fmla="*/ 2147483647 h 379"/>
                <a:gd name="T102" fmla="*/ 2147483647 w 260"/>
                <a:gd name="T103" fmla="*/ 2147483647 h 379"/>
                <a:gd name="T104" fmla="*/ 2147483647 w 260"/>
                <a:gd name="T105" fmla="*/ 2147483647 h 379"/>
                <a:gd name="T106" fmla="*/ 2147483647 w 260"/>
                <a:gd name="T107" fmla="*/ 2147483647 h 379"/>
                <a:gd name="T108" fmla="*/ 2147483647 w 260"/>
                <a:gd name="T109" fmla="*/ 2147483647 h 379"/>
                <a:gd name="T110" fmla="*/ 2147483647 w 260"/>
                <a:gd name="T111" fmla="*/ 2147483647 h 379"/>
                <a:gd name="T112" fmla="*/ 2147483647 w 260"/>
                <a:gd name="T113" fmla="*/ 2147483647 h 379"/>
                <a:gd name="T114" fmla="*/ 2147483647 w 260"/>
                <a:gd name="T115" fmla="*/ 2147483647 h 379"/>
                <a:gd name="T116" fmla="*/ 2147483647 w 260"/>
                <a:gd name="T117" fmla="*/ 2147483647 h 3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0"/>
                <a:gd name="T178" fmla="*/ 0 h 379"/>
                <a:gd name="T179" fmla="*/ 260 w 260"/>
                <a:gd name="T180" fmla="*/ 379 h 3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0" h="379">
                  <a:moveTo>
                    <a:pt x="107" y="294"/>
                  </a:moveTo>
                  <a:lnTo>
                    <a:pt x="91" y="263"/>
                  </a:lnTo>
                  <a:lnTo>
                    <a:pt x="77" y="267"/>
                  </a:lnTo>
                  <a:lnTo>
                    <a:pt x="69" y="248"/>
                  </a:lnTo>
                  <a:lnTo>
                    <a:pt x="42" y="252"/>
                  </a:lnTo>
                  <a:lnTo>
                    <a:pt x="1" y="192"/>
                  </a:lnTo>
                  <a:lnTo>
                    <a:pt x="0" y="177"/>
                  </a:lnTo>
                  <a:lnTo>
                    <a:pt x="5" y="148"/>
                  </a:lnTo>
                  <a:lnTo>
                    <a:pt x="21" y="140"/>
                  </a:lnTo>
                  <a:lnTo>
                    <a:pt x="49" y="170"/>
                  </a:lnTo>
                  <a:lnTo>
                    <a:pt x="55" y="191"/>
                  </a:lnTo>
                  <a:lnTo>
                    <a:pt x="97" y="174"/>
                  </a:lnTo>
                  <a:lnTo>
                    <a:pt x="91" y="154"/>
                  </a:lnTo>
                  <a:lnTo>
                    <a:pt x="100" y="162"/>
                  </a:lnTo>
                  <a:lnTo>
                    <a:pt x="104" y="149"/>
                  </a:lnTo>
                  <a:lnTo>
                    <a:pt x="87" y="132"/>
                  </a:lnTo>
                  <a:lnTo>
                    <a:pt x="86" y="112"/>
                  </a:lnTo>
                  <a:lnTo>
                    <a:pt x="109" y="114"/>
                  </a:lnTo>
                  <a:lnTo>
                    <a:pt x="92" y="89"/>
                  </a:lnTo>
                  <a:lnTo>
                    <a:pt x="81" y="103"/>
                  </a:lnTo>
                  <a:lnTo>
                    <a:pt x="60" y="96"/>
                  </a:lnTo>
                  <a:lnTo>
                    <a:pt x="46" y="69"/>
                  </a:lnTo>
                  <a:lnTo>
                    <a:pt x="63" y="61"/>
                  </a:lnTo>
                  <a:lnTo>
                    <a:pt x="78" y="77"/>
                  </a:lnTo>
                  <a:lnTo>
                    <a:pt x="77" y="55"/>
                  </a:lnTo>
                  <a:lnTo>
                    <a:pt x="52" y="36"/>
                  </a:lnTo>
                  <a:lnTo>
                    <a:pt x="75" y="17"/>
                  </a:lnTo>
                  <a:lnTo>
                    <a:pt x="97" y="30"/>
                  </a:lnTo>
                  <a:lnTo>
                    <a:pt x="98" y="20"/>
                  </a:lnTo>
                  <a:lnTo>
                    <a:pt x="85" y="10"/>
                  </a:lnTo>
                  <a:lnTo>
                    <a:pt x="93" y="3"/>
                  </a:lnTo>
                  <a:lnTo>
                    <a:pt x="151" y="29"/>
                  </a:lnTo>
                  <a:lnTo>
                    <a:pt x="215" y="0"/>
                  </a:lnTo>
                  <a:lnTo>
                    <a:pt x="231" y="22"/>
                  </a:lnTo>
                  <a:lnTo>
                    <a:pt x="229" y="40"/>
                  </a:lnTo>
                  <a:lnTo>
                    <a:pt x="206" y="61"/>
                  </a:lnTo>
                  <a:lnTo>
                    <a:pt x="220" y="67"/>
                  </a:lnTo>
                  <a:lnTo>
                    <a:pt x="221" y="88"/>
                  </a:lnTo>
                  <a:lnTo>
                    <a:pt x="197" y="102"/>
                  </a:lnTo>
                  <a:lnTo>
                    <a:pt x="173" y="134"/>
                  </a:lnTo>
                  <a:lnTo>
                    <a:pt x="172" y="153"/>
                  </a:lnTo>
                  <a:lnTo>
                    <a:pt x="208" y="135"/>
                  </a:lnTo>
                  <a:lnTo>
                    <a:pt x="229" y="174"/>
                  </a:lnTo>
                  <a:lnTo>
                    <a:pt x="227" y="194"/>
                  </a:lnTo>
                  <a:lnTo>
                    <a:pt x="247" y="174"/>
                  </a:lnTo>
                  <a:lnTo>
                    <a:pt x="260" y="214"/>
                  </a:lnTo>
                  <a:lnTo>
                    <a:pt x="246" y="235"/>
                  </a:lnTo>
                  <a:lnTo>
                    <a:pt x="254" y="264"/>
                  </a:lnTo>
                  <a:lnTo>
                    <a:pt x="247" y="277"/>
                  </a:lnTo>
                  <a:lnTo>
                    <a:pt x="254" y="281"/>
                  </a:lnTo>
                  <a:lnTo>
                    <a:pt x="256" y="302"/>
                  </a:lnTo>
                  <a:lnTo>
                    <a:pt x="219" y="336"/>
                  </a:lnTo>
                  <a:lnTo>
                    <a:pt x="186" y="331"/>
                  </a:lnTo>
                  <a:lnTo>
                    <a:pt x="195" y="357"/>
                  </a:lnTo>
                  <a:lnTo>
                    <a:pt x="173" y="379"/>
                  </a:lnTo>
                  <a:lnTo>
                    <a:pt x="161" y="365"/>
                  </a:lnTo>
                  <a:lnTo>
                    <a:pt x="146" y="371"/>
                  </a:lnTo>
                  <a:lnTo>
                    <a:pt x="131" y="318"/>
                  </a:lnTo>
                  <a:lnTo>
                    <a:pt x="107" y="294"/>
                  </a:lnTo>
                  <a:close/>
                </a:path>
              </a:pathLst>
            </a:custGeom>
            <a:grpFill/>
            <a:ln w="6350">
              <a:solidFill>
                <a:schemeClr val="tx2"/>
              </a:solidFill>
              <a:round/>
              <a:headEnd/>
              <a:tailEnd/>
            </a:ln>
          </p:spPr>
          <p:txBody>
            <a:bodyPr/>
            <a:lstStyle/>
            <a:p>
              <a:endParaRPr lang="en-US"/>
            </a:p>
          </p:txBody>
        </p:sp>
        <p:sp>
          <p:nvSpPr>
            <p:cNvPr id="92" name="Freeform 1161"/>
            <p:cNvSpPr>
              <a:spLocks/>
            </p:cNvSpPr>
            <p:nvPr/>
          </p:nvSpPr>
          <p:spPr bwMode="auto">
            <a:xfrm>
              <a:off x="2137843" y="2316831"/>
              <a:ext cx="15172" cy="18206"/>
            </a:xfrm>
            <a:custGeom>
              <a:avLst/>
              <a:gdLst>
                <a:gd name="T0" fmla="*/ 2147483647 w 27"/>
                <a:gd name="T1" fmla="*/ 2147483647 h 39"/>
                <a:gd name="T2" fmla="*/ 2147483647 w 27"/>
                <a:gd name="T3" fmla="*/ 2147483647 h 39"/>
                <a:gd name="T4" fmla="*/ 2147483647 w 27"/>
                <a:gd name="T5" fmla="*/ 0 h 39"/>
                <a:gd name="T6" fmla="*/ 0 w 27"/>
                <a:gd name="T7" fmla="*/ 2147483647 h 39"/>
                <a:gd name="T8" fmla="*/ 2147483647 w 27"/>
                <a:gd name="T9" fmla="*/ 2147483647 h 39"/>
                <a:gd name="T10" fmla="*/ 2147483647 w 27"/>
                <a:gd name="T11" fmla="*/ 2147483647 h 39"/>
                <a:gd name="T12" fmla="*/ 0 60000 65536"/>
                <a:gd name="T13" fmla="*/ 0 60000 65536"/>
                <a:gd name="T14" fmla="*/ 0 60000 65536"/>
                <a:gd name="T15" fmla="*/ 0 60000 65536"/>
                <a:gd name="T16" fmla="*/ 0 60000 65536"/>
                <a:gd name="T17" fmla="*/ 0 60000 65536"/>
                <a:gd name="T18" fmla="*/ 0 w 27"/>
                <a:gd name="T19" fmla="*/ 0 h 39"/>
                <a:gd name="T20" fmla="*/ 27 w 27"/>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7" h="39">
                  <a:moveTo>
                    <a:pt x="23" y="25"/>
                  </a:moveTo>
                  <a:lnTo>
                    <a:pt x="27" y="15"/>
                  </a:lnTo>
                  <a:lnTo>
                    <a:pt x="18" y="0"/>
                  </a:lnTo>
                  <a:lnTo>
                    <a:pt x="0" y="11"/>
                  </a:lnTo>
                  <a:lnTo>
                    <a:pt x="8" y="39"/>
                  </a:lnTo>
                  <a:lnTo>
                    <a:pt x="23" y="25"/>
                  </a:lnTo>
                  <a:close/>
                </a:path>
              </a:pathLst>
            </a:custGeom>
            <a:grpFill/>
            <a:ln w="6350">
              <a:solidFill>
                <a:schemeClr val="tx2"/>
              </a:solidFill>
              <a:round/>
              <a:headEnd/>
              <a:tailEnd/>
            </a:ln>
          </p:spPr>
          <p:txBody>
            <a:bodyPr/>
            <a:lstStyle/>
            <a:p>
              <a:endParaRPr lang="en-US"/>
            </a:p>
          </p:txBody>
        </p:sp>
        <p:sp>
          <p:nvSpPr>
            <p:cNvPr id="93" name="Freeform 1162"/>
            <p:cNvSpPr>
              <a:spLocks/>
            </p:cNvSpPr>
            <p:nvPr/>
          </p:nvSpPr>
          <p:spPr bwMode="auto">
            <a:xfrm>
              <a:off x="2090812" y="2245528"/>
              <a:ext cx="34894" cy="21239"/>
            </a:xfrm>
            <a:custGeom>
              <a:avLst/>
              <a:gdLst>
                <a:gd name="T0" fmla="*/ 2147483647 w 68"/>
                <a:gd name="T1" fmla="*/ 2147483647 h 43"/>
                <a:gd name="T2" fmla="*/ 2147483647 w 68"/>
                <a:gd name="T3" fmla="*/ 2147483647 h 43"/>
                <a:gd name="T4" fmla="*/ 2147483647 w 68"/>
                <a:gd name="T5" fmla="*/ 0 h 43"/>
                <a:gd name="T6" fmla="*/ 0 w 68"/>
                <a:gd name="T7" fmla="*/ 2147483647 h 43"/>
                <a:gd name="T8" fmla="*/ 2147483647 w 68"/>
                <a:gd name="T9" fmla="*/ 2147483647 h 43"/>
                <a:gd name="T10" fmla="*/ 0 60000 65536"/>
                <a:gd name="T11" fmla="*/ 0 60000 65536"/>
                <a:gd name="T12" fmla="*/ 0 60000 65536"/>
                <a:gd name="T13" fmla="*/ 0 60000 65536"/>
                <a:gd name="T14" fmla="*/ 0 60000 65536"/>
                <a:gd name="T15" fmla="*/ 0 w 68"/>
                <a:gd name="T16" fmla="*/ 0 h 43"/>
                <a:gd name="T17" fmla="*/ 68 w 68"/>
                <a:gd name="T18" fmla="*/ 43 h 43"/>
              </a:gdLst>
              <a:ahLst/>
              <a:cxnLst>
                <a:cxn ang="T10">
                  <a:pos x="T0" y="T1"/>
                </a:cxn>
                <a:cxn ang="T11">
                  <a:pos x="T2" y="T3"/>
                </a:cxn>
                <a:cxn ang="T12">
                  <a:pos x="T4" y="T5"/>
                </a:cxn>
                <a:cxn ang="T13">
                  <a:pos x="T6" y="T7"/>
                </a:cxn>
                <a:cxn ang="T14">
                  <a:pos x="T8" y="T9"/>
                </a:cxn>
              </a:cxnLst>
              <a:rect l="T15" t="T16" r="T17" b="T18"/>
              <a:pathLst>
                <a:path w="68" h="43">
                  <a:moveTo>
                    <a:pt x="33" y="43"/>
                  </a:moveTo>
                  <a:lnTo>
                    <a:pt x="58" y="25"/>
                  </a:lnTo>
                  <a:lnTo>
                    <a:pt x="68" y="0"/>
                  </a:lnTo>
                  <a:lnTo>
                    <a:pt x="0" y="36"/>
                  </a:lnTo>
                  <a:lnTo>
                    <a:pt x="33" y="43"/>
                  </a:lnTo>
                  <a:close/>
                </a:path>
              </a:pathLst>
            </a:custGeom>
            <a:grpFill/>
            <a:ln w="6350">
              <a:solidFill>
                <a:schemeClr val="tx2"/>
              </a:solidFill>
              <a:round/>
              <a:headEnd/>
              <a:tailEnd/>
            </a:ln>
          </p:spPr>
          <p:txBody>
            <a:bodyPr/>
            <a:lstStyle/>
            <a:p>
              <a:endParaRPr lang="en-US"/>
            </a:p>
          </p:txBody>
        </p:sp>
        <p:sp>
          <p:nvSpPr>
            <p:cNvPr id="94" name="Freeform 1163"/>
            <p:cNvSpPr>
              <a:spLocks/>
            </p:cNvSpPr>
            <p:nvPr/>
          </p:nvSpPr>
          <p:spPr bwMode="auto">
            <a:xfrm>
              <a:off x="2089295" y="2535296"/>
              <a:ext cx="91027" cy="84958"/>
            </a:xfrm>
            <a:custGeom>
              <a:avLst/>
              <a:gdLst>
                <a:gd name="T0" fmla="*/ 2147483647 w 184"/>
                <a:gd name="T1" fmla="*/ 2147483647 h 170"/>
                <a:gd name="T2" fmla="*/ 2147483647 w 184"/>
                <a:gd name="T3" fmla="*/ 2147483647 h 170"/>
                <a:gd name="T4" fmla="*/ 2147483647 w 184"/>
                <a:gd name="T5" fmla="*/ 2147483647 h 170"/>
                <a:gd name="T6" fmla="*/ 2147483647 w 184"/>
                <a:gd name="T7" fmla="*/ 0 h 170"/>
                <a:gd name="T8" fmla="*/ 2147483647 w 184"/>
                <a:gd name="T9" fmla="*/ 2147483647 h 170"/>
                <a:gd name="T10" fmla="*/ 2147483647 w 184"/>
                <a:gd name="T11" fmla="*/ 2147483647 h 170"/>
                <a:gd name="T12" fmla="*/ 2147483647 w 184"/>
                <a:gd name="T13" fmla="*/ 2147483647 h 170"/>
                <a:gd name="T14" fmla="*/ 2147483647 w 184"/>
                <a:gd name="T15" fmla="*/ 2147483647 h 170"/>
                <a:gd name="T16" fmla="*/ 2147483647 w 184"/>
                <a:gd name="T17" fmla="*/ 2147483647 h 170"/>
                <a:gd name="T18" fmla="*/ 2147483647 w 184"/>
                <a:gd name="T19" fmla="*/ 2147483647 h 170"/>
                <a:gd name="T20" fmla="*/ 0 w 184"/>
                <a:gd name="T21" fmla="*/ 2147483647 h 170"/>
                <a:gd name="T22" fmla="*/ 2147483647 w 184"/>
                <a:gd name="T23" fmla="*/ 2147483647 h 170"/>
                <a:gd name="T24" fmla="*/ 2147483647 w 184"/>
                <a:gd name="T25" fmla="*/ 2147483647 h 170"/>
                <a:gd name="T26" fmla="*/ 2147483647 w 184"/>
                <a:gd name="T27" fmla="*/ 2147483647 h 170"/>
                <a:gd name="T28" fmla="*/ 2147483647 w 184"/>
                <a:gd name="T29" fmla="*/ 2147483647 h 170"/>
                <a:gd name="T30" fmla="*/ 2147483647 w 184"/>
                <a:gd name="T31" fmla="*/ 2147483647 h 170"/>
                <a:gd name="T32" fmla="*/ 2147483647 w 184"/>
                <a:gd name="T33" fmla="*/ 2147483647 h 170"/>
                <a:gd name="T34" fmla="*/ 2147483647 w 184"/>
                <a:gd name="T35" fmla="*/ 2147483647 h 170"/>
                <a:gd name="T36" fmla="*/ 2147483647 w 184"/>
                <a:gd name="T37" fmla="*/ 2147483647 h 170"/>
                <a:gd name="T38" fmla="*/ 2147483647 w 184"/>
                <a:gd name="T39" fmla="*/ 2147483647 h 170"/>
                <a:gd name="T40" fmla="*/ 2147483647 w 184"/>
                <a:gd name="T41" fmla="*/ 2147483647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4"/>
                <a:gd name="T64" fmla="*/ 0 h 170"/>
                <a:gd name="T65" fmla="*/ 184 w 184"/>
                <a:gd name="T66" fmla="*/ 170 h 1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4" h="170">
                  <a:moveTo>
                    <a:pt x="109" y="44"/>
                  </a:moveTo>
                  <a:lnTo>
                    <a:pt x="92" y="27"/>
                  </a:lnTo>
                  <a:lnTo>
                    <a:pt x="92" y="15"/>
                  </a:lnTo>
                  <a:lnTo>
                    <a:pt x="67" y="0"/>
                  </a:lnTo>
                  <a:lnTo>
                    <a:pt x="50" y="36"/>
                  </a:lnTo>
                  <a:lnTo>
                    <a:pt x="54" y="46"/>
                  </a:lnTo>
                  <a:lnTo>
                    <a:pt x="40" y="46"/>
                  </a:lnTo>
                  <a:lnTo>
                    <a:pt x="44" y="71"/>
                  </a:lnTo>
                  <a:lnTo>
                    <a:pt x="36" y="86"/>
                  </a:lnTo>
                  <a:lnTo>
                    <a:pt x="1" y="98"/>
                  </a:lnTo>
                  <a:lnTo>
                    <a:pt x="0" y="120"/>
                  </a:lnTo>
                  <a:lnTo>
                    <a:pt x="15" y="132"/>
                  </a:lnTo>
                  <a:lnTo>
                    <a:pt x="24" y="120"/>
                  </a:lnTo>
                  <a:lnTo>
                    <a:pt x="85" y="159"/>
                  </a:lnTo>
                  <a:lnTo>
                    <a:pt x="137" y="170"/>
                  </a:lnTo>
                  <a:lnTo>
                    <a:pt x="146" y="154"/>
                  </a:lnTo>
                  <a:lnTo>
                    <a:pt x="174" y="143"/>
                  </a:lnTo>
                  <a:lnTo>
                    <a:pt x="184" y="129"/>
                  </a:lnTo>
                  <a:lnTo>
                    <a:pt x="171" y="133"/>
                  </a:lnTo>
                  <a:lnTo>
                    <a:pt x="149" y="87"/>
                  </a:lnTo>
                  <a:lnTo>
                    <a:pt x="109" y="44"/>
                  </a:lnTo>
                  <a:close/>
                </a:path>
              </a:pathLst>
            </a:custGeom>
            <a:grpFill/>
            <a:ln w="6350">
              <a:solidFill>
                <a:schemeClr val="tx2"/>
              </a:solidFill>
              <a:round/>
              <a:headEnd/>
              <a:tailEnd/>
            </a:ln>
          </p:spPr>
          <p:txBody>
            <a:bodyPr/>
            <a:lstStyle/>
            <a:p>
              <a:endParaRPr lang="en-US"/>
            </a:p>
          </p:txBody>
        </p:sp>
        <p:sp>
          <p:nvSpPr>
            <p:cNvPr id="95" name="Freeform 1164"/>
            <p:cNvSpPr>
              <a:spLocks/>
            </p:cNvSpPr>
            <p:nvPr/>
          </p:nvSpPr>
          <p:spPr bwMode="auto">
            <a:xfrm>
              <a:off x="2140878" y="2110505"/>
              <a:ext cx="21239" cy="25792"/>
            </a:xfrm>
            <a:custGeom>
              <a:avLst/>
              <a:gdLst>
                <a:gd name="T0" fmla="*/ 2147483647 w 48"/>
                <a:gd name="T1" fmla="*/ 2147483647 h 51"/>
                <a:gd name="T2" fmla="*/ 2147483647 w 48"/>
                <a:gd name="T3" fmla="*/ 2147483647 h 51"/>
                <a:gd name="T4" fmla="*/ 2147483647 w 48"/>
                <a:gd name="T5" fmla="*/ 2147483647 h 51"/>
                <a:gd name="T6" fmla="*/ 0 w 48"/>
                <a:gd name="T7" fmla="*/ 2147483647 h 51"/>
                <a:gd name="T8" fmla="*/ 2147483647 w 48"/>
                <a:gd name="T9" fmla="*/ 0 h 51"/>
                <a:gd name="T10" fmla="*/ 2147483647 w 48"/>
                <a:gd name="T11" fmla="*/ 2147483647 h 51"/>
                <a:gd name="T12" fmla="*/ 2147483647 w 48"/>
                <a:gd name="T13" fmla="*/ 2147483647 h 51"/>
                <a:gd name="T14" fmla="*/ 2147483647 w 48"/>
                <a:gd name="T15" fmla="*/ 2147483647 h 51"/>
                <a:gd name="T16" fmla="*/ 2147483647 w 48"/>
                <a:gd name="T17" fmla="*/ 2147483647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51"/>
                <a:gd name="T29" fmla="*/ 48 w 48"/>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51">
                  <a:moveTo>
                    <a:pt x="31" y="15"/>
                  </a:moveTo>
                  <a:lnTo>
                    <a:pt x="15" y="51"/>
                  </a:lnTo>
                  <a:lnTo>
                    <a:pt x="4" y="50"/>
                  </a:lnTo>
                  <a:lnTo>
                    <a:pt x="0" y="30"/>
                  </a:lnTo>
                  <a:lnTo>
                    <a:pt x="30" y="0"/>
                  </a:lnTo>
                  <a:lnTo>
                    <a:pt x="45" y="12"/>
                  </a:lnTo>
                  <a:lnTo>
                    <a:pt x="48" y="24"/>
                  </a:lnTo>
                  <a:lnTo>
                    <a:pt x="40" y="36"/>
                  </a:lnTo>
                  <a:lnTo>
                    <a:pt x="31" y="15"/>
                  </a:lnTo>
                  <a:close/>
                </a:path>
              </a:pathLst>
            </a:custGeom>
            <a:grpFill/>
            <a:ln w="6350">
              <a:solidFill>
                <a:schemeClr val="tx2"/>
              </a:solidFill>
              <a:round/>
              <a:headEnd/>
              <a:tailEnd/>
            </a:ln>
          </p:spPr>
          <p:txBody>
            <a:bodyPr/>
            <a:lstStyle/>
            <a:p>
              <a:endParaRPr lang="en-US"/>
            </a:p>
          </p:txBody>
        </p:sp>
        <p:sp>
          <p:nvSpPr>
            <p:cNvPr id="96" name="Freeform 1165"/>
            <p:cNvSpPr>
              <a:spLocks/>
            </p:cNvSpPr>
            <p:nvPr/>
          </p:nvSpPr>
          <p:spPr bwMode="auto">
            <a:xfrm>
              <a:off x="2017990" y="2024029"/>
              <a:ext cx="113784" cy="147160"/>
            </a:xfrm>
            <a:custGeom>
              <a:avLst/>
              <a:gdLst>
                <a:gd name="T0" fmla="*/ 2147483647 w 230"/>
                <a:gd name="T1" fmla="*/ 2147483647 h 298"/>
                <a:gd name="T2" fmla="*/ 2147483647 w 230"/>
                <a:gd name="T3" fmla="*/ 2147483647 h 298"/>
                <a:gd name="T4" fmla="*/ 2147483647 w 230"/>
                <a:gd name="T5" fmla="*/ 2147483647 h 298"/>
                <a:gd name="T6" fmla="*/ 2147483647 w 230"/>
                <a:gd name="T7" fmla="*/ 2147483647 h 298"/>
                <a:gd name="T8" fmla="*/ 2147483647 w 230"/>
                <a:gd name="T9" fmla="*/ 2147483647 h 298"/>
                <a:gd name="T10" fmla="*/ 2147483647 w 230"/>
                <a:gd name="T11" fmla="*/ 2147483647 h 298"/>
                <a:gd name="T12" fmla="*/ 2147483647 w 230"/>
                <a:gd name="T13" fmla="*/ 2147483647 h 298"/>
                <a:gd name="T14" fmla="*/ 2147483647 w 230"/>
                <a:gd name="T15" fmla="*/ 2147483647 h 298"/>
                <a:gd name="T16" fmla="*/ 2147483647 w 230"/>
                <a:gd name="T17" fmla="*/ 2147483647 h 298"/>
                <a:gd name="T18" fmla="*/ 2147483647 w 230"/>
                <a:gd name="T19" fmla="*/ 2147483647 h 298"/>
                <a:gd name="T20" fmla="*/ 2147483647 w 230"/>
                <a:gd name="T21" fmla="*/ 2147483647 h 298"/>
                <a:gd name="T22" fmla="*/ 2147483647 w 230"/>
                <a:gd name="T23" fmla="*/ 2147483647 h 298"/>
                <a:gd name="T24" fmla="*/ 2147483647 w 230"/>
                <a:gd name="T25" fmla="*/ 2147483647 h 298"/>
                <a:gd name="T26" fmla="*/ 2147483647 w 230"/>
                <a:gd name="T27" fmla="*/ 2147483647 h 298"/>
                <a:gd name="T28" fmla="*/ 2147483647 w 230"/>
                <a:gd name="T29" fmla="*/ 2147483647 h 298"/>
                <a:gd name="T30" fmla="*/ 2147483647 w 230"/>
                <a:gd name="T31" fmla="*/ 2147483647 h 298"/>
                <a:gd name="T32" fmla="*/ 2147483647 w 230"/>
                <a:gd name="T33" fmla="*/ 2147483647 h 298"/>
                <a:gd name="T34" fmla="*/ 2147483647 w 230"/>
                <a:gd name="T35" fmla="*/ 2147483647 h 298"/>
                <a:gd name="T36" fmla="*/ 2147483647 w 230"/>
                <a:gd name="T37" fmla="*/ 2147483647 h 298"/>
                <a:gd name="T38" fmla="*/ 2147483647 w 230"/>
                <a:gd name="T39" fmla="*/ 2147483647 h 298"/>
                <a:gd name="T40" fmla="*/ 2147483647 w 230"/>
                <a:gd name="T41" fmla="*/ 2147483647 h 298"/>
                <a:gd name="T42" fmla="*/ 2147483647 w 230"/>
                <a:gd name="T43" fmla="*/ 2147483647 h 298"/>
                <a:gd name="T44" fmla="*/ 2147483647 w 230"/>
                <a:gd name="T45" fmla="*/ 2147483647 h 298"/>
                <a:gd name="T46" fmla="*/ 2147483647 w 230"/>
                <a:gd name="T47" fmla="*/ 2147483647 h 298"/>
                <a:gd name="T48" fmla="*/ 2147483647 w 230"/>
                <a:gd name="T49" fmla="*/ 2147483647 h 298"/>
                <a:gd name="T50" fmla="*/ 2147483647 w 230"/>
                <a:gd name="T51" fmla="*/ 2147483647 h 298"/>
                <a:gd name="T52" fmla="*/ 0 w 230"/>
                <a:gd name="T53" fmla="*/ 2147483647 h 298"/>
                <a:gd name="T54" fmla="*/ 2147483647 w 230"/>
                <a:gd name="T55" fmla="*/ 2147483647 h 298"/>
                <a:gd name="T56" fmla="*/ 2147483647 w 230"/>
                <a:gd name="T57" fmla="*/ 2147483647 h 298"/>
                <a:gd name="T58" fmla="*/ 2147483647 w 230"/>
                <a:gd name="T59" fmla="*/ 2147483647 h 298"/>
                <a:gd name="T60" fmla="*/ 2147483647 w 230"/>
                <a:gd name="T61" fmla="*/ 2147483647 h 298"/>
                <a:gd name="T62" fmla="*/ 2147483647 w 230"/>
                <a:gd name="T63" fmla="*/ 2147483647 h 298"/>
                <a:gd name="T64" fmla="*/ 2147483647 w 230"/>
                <a:gd name="T65" fmla="*/ 2147483647 h 298"/>
                <a:gd name="T66" fmla="*/ 2147483647 w 230"/>
                <a:gd name="T67" fmla="*/ 2147483647 h 298"/>
                <a:gd name="T68" fmla="*/ 2147483647 w 230"/>
                <a:gd name="T69" fmla="*/ 2147483647 h 298"/>
                <a:gd name="T70" fmla="*/ 2147483647 w 230"/>
                <a:gd name="T71" fmla="*/ 2147483647 h 298"/>
                <a:gd name="T72" fmla="*/ 2147483647 w 230"/>
                <a:gd name="T73" fmla="*/ 2147483647 h 298"/>
                <a:gd name="T74" fmla="*/ 2147483647 w 230"/>
                <a:gd name="T75" fmla="*/ 2147483647 h 298"/>
                <a:gd name="T76" fmla="*/ 2147483647 w 230"/>
                <a:gd name="T77" fmla="*/ 2147483647 h 298"/>
                <a:gd name="T78" fmla="*/ 2147483647 w 230"/>
                <a:gd name="T79" fmla="*/ 2147483647 h 298"/>
                <a:gd name="T80" fmla="*/ 2147483647 w 230"/>
                <a:gd name="T81" fmla="*/ 2147483647 h 298"/>
                <a:gd name="T82" fmla="*/ 2147483647 w 230"/>
                <a:gd name="T83" fmla="*/ 2147483647 h 298"/>
                <a:gd name="T84" fmla="*/ 2147483647 w 230"/>
                <a:gd name="T85" fmla="*/ 2147483647 h 298"/>
                <a:gd name="T86" fmla="*/ 2147483647 w 230"/>
                <a:gd name="T87" fmla="*/ 2147483647 h 298"/>
                <a:gd name="T88" fmla="*/ 2147483647 w 230"/>
                <a:gd name="T89" fmla="*/ 2147483647 h 298"/>
                <a:gd name="T90" fmla="*/ 2147483647 w 230"/>
                <a:gd name="T91" fmla="*/ 2147483647 h 298"/>
                <a:gd name="T92" fmla="*/ 2147483647 w 230"/>
                <a:gd name="T93" fmla="*/ 2147483647 h 298"/>
                <a:gd name="T94" fmla="*/ 2147483647 w 230"/>
                <a:gd name="T95" fmla="*/ 2147483647 h 298"/>
                <a:gd name="T96" fmla="*/ 2147483647 w 230"/>
                <a:gd name="T97" fmla="*/ 2147483647 h 298"/>
                <a:gd name="T98" fmla="*/ 2147483647 w 230"/>
                <a:gd name="T99" fmla="*/ 2147483647 h 298"/>
                <a:gd name="T100" fmla="*/ 2147483647 w 230"/>
                <a:gd name="T101" fmla="*/ 2147483647 h 298"/>
                <a:gd name="T102" fmla="*/ 2147483647 w 230"/>
                <a:gd name="T103" fmla="*/ 2147483647 h 298"/>
                <a:gd name="T104" fmla="*/ 2147483647 w 230"/>
                <a:gd name="T105" fmla="*/ 2147483647 h 298"/>
                <a:gd name="T106" fmla="*/ 2147483647 w 230"/>
                <a:gd name="T107" fmla="*/ 2147483647 h 298"/>
                <a:gd name="T108" fmla="*/ 2147483647 w 230"/>
                <a:gd name="T109" fmla="*/ 2147483647 h 298"/>
                <a:gd name="T110" fmla="*/ 2147483647 w 230"/>
                <a:gd name="T111" fmla="*/ 2147483647 h 298"/>
                <a:gd name="T112" fmla="*/ 2147483647 w 230"/>
                <a:gd name="T113" fmla="*/ 0 h 298"/>
                <a:gd name="T114" fmla="*/ 2147483647 w 230"/>
                <a:gd name="T115" fmla="*/ 0 h 298"/>
                <a:gd name="T116" fmla="*/ 2147483647 w 230"/>
                <a:gd name="T117" fmla="*/ 2147483647 h 298"/>
                <a:gd name="T118" fmla="*/ 2147483647 w 230"/>
                <a:gd name="T119" fmla="*/ 2147483647 h 298"/>
                <a:gd name="T120" fmla="*/ 2147483647 w 230"/>
                <a:gd name="T121" fmla="*/ 2147483647 h 298"/>
                <a:gd name="T122" fmla="*/ 2147483647 w 230"/>
                <a:gd name="T123" fmla="*/ 2147483647 h 2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30"/>
                <a:gd name="T187" fmla="*/ 0 h 298"/>
                <a:gd name="T188" fmla="*/ 230 w 230"/>
                <a:gd name="T189" fmla="*/ 298 h 2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30" h="298">
                  <a:moveTo>
                    <a:pt x="221" y="124"/>
                  </a:moveTo>
                  <a:lnTo>
                    <a:pt x="221" y="147"/>
                  </a:lnTo>
                  <a:lnTo>
                    <a:pt x="210" y="161"/>
                  </a:lnTo>
                  <a:lnTo>
                    <a:pt x="228" y="164"/>
                  </a:lnTo>
                  <a:lnTo>
                    <a:pt x="230" y="223"/>
                  </a:lnTo>
                  <a:lnTo>
                    <a:pt x="219" y="190"/>
                  </a:lnTo>
                  <a:lnTo>
                    <a:pt x="206" y="189"/>
                  </a:lnTo>
                  <a:lnTo>
                    <a:pt x="212" y="206"/>
                  </a:lnTo>
                  <a:lnTo>
                    <a:pt x="202" y="207"/>
                  </a:lnTo>
                  <a:lnTo>
                    <a:pt x="206" y="218"/>
                  </a:lnTo>
                  <a:lnTo>
                    <a:pt x="194" y="236"/>
                  </a:lnTo>
                  <a:lnTo>
                    <a:pt x="215" y="271"/>
                  </a:lnTo>
                  <a:lnTo>
                    <a:pt x="195" y="259"/>
                  </a:lnTo>
                  <a:lnTo>
                    <a:pt x="200" y="289"/>
                  </a:lnTo>
                  <a:lnTo>
                    <a:pt x="141" y="293"/>
                  </a:lnTo>
                  <a:lnTo>
                    <a:pt x="140" y="277"/>
                  </a:lnTo>
                  <a:lnTo>
                    <a:pt x="131" y="298"/>
                  </a:lnTo>
                  <a:lnTo>
                    <a:pt x="112" y="298"/>
                  </a:lnTo>
                  <a:lnTo>
                    <a:pt x="97" y="286"/>
                  </a:lnTo>
                  <a:lnTo>
                    <a:pt x="94" y="256"/>
                  </a:lnTo>
                  <a:lnTo>
                    <a:pt x="91" y="234"/>
                  </a:lnTo>
                  <a:lnTo>
                    <a:pt x="90" y="219"/>
                  </a:lnTo>
                  <a:lnTo>
                    <a:pt x="111" y="208"/>
                  </a:lnTo>
                  <a:lnTo>
                    <a:pt x="132" y="188"/>
                  </a:lnTo>
                  <a:lnTo>
                    <a:pt x="130" y="175"/>
                  </a:lnTo>
                  <a:lnTo>
                    <a:pt x="14" y="206"/>
                  </a:lnTo>
                  <a:lnTo>
                    <a:pt x="0" y="188"/>
                  </a:lnTo>
                  <a:lnTo>
                    <a:pt x="8" y="173"/>
                  </a:lnTo>
                  <a:lnTo>
                    <a:pt x="31" y="177"/>
                  </a:lnTo>
                  <a:lnTo>
                    <a:pt x="22" y="161"/>
                  </a:lnTo>
                  <a:lnTo>
                    <a:pt x="34" y="144"/>
                  </a:lnTo>
                  <a:lnTo>
                    <a:pt x="56" y="163"/>
                  </a:lnTo>
                  <a:lnTo>
                    <a:pt x="65" y="160"/>
                  </a:lnTo>
                  <a:lnTo>
                    <a:pt x="51" y="138"/>
                  </a:lnTo>
                  <a:lnTo>
                    <a:pt x="61" y="117"/>
                  </a:lnTo>
                  <a:lnTo>
                    <a:pt x="42" y="125"/>
                  </a:lnTo>
                  <a:lnTo>
                    <a:pt x="35" y="106"/>
                  </a:lnTo>
                  <a:lnTo>
                    <a:pt x="38" y="86"/>
                  </a:lnTo>
                  <a:lnTo>
                    <a:pt x="27" y="86"/>
                  </a:lnTo>
                  <a:lnTo>
                    <a:pt x="27" y="66"/>
                  </a:lnTo>
                  <a:lnTo>
                    <a:pt x="42" y="39"/>
                  </a:lnTo>
                  <a:lnTo>
                    <a:pt x="61" y="44"/>
                  </a:lnTo>
                  <a:lnTo>
                    <a:pt x="90" y="103"/>
                  </a:lnTo>
                  <a:lnTo>
                    <a:pt x="100" y="102"/>
                  </a:lnTo>
                  <a:lnTo>
                    <a:pt x="96" y="109"/>
                  </a:lnTo>
                  <a:lnTo>
                    <a:pt x="132" y="124"/>
                  </a:lnTo>
                  <a:lnTo>
                    <a:pt x="111" y="90"/>
                  </a:lnTo>
                  <a:lnTo>
                    <a:pt x="120" y="82"/>
                  </a:lnTo>
                  <a:lnTo>
                    <a:pt x="116" y="67"/>
                  </a:lnTo>
                  <a:lnTo>
                    <a:pt x="75" y="35"/>
                  </a:lnTo>
                  <a:lnTo>
                    <a:pt x="102" y="6"/>
                  </a:lnTo>
                  <a:lnTo>
                    <a:pt x="131" y="5"/>
                  </a:lnTo>
                  <a:lnTo>
                    <a:pt x="160" y="27"/>
                  </a:lnTo>
                  <a:lnTo>
                    <a:pt x="160" y="40"/>
                  </a:lnTo>
                  <a:lnTo>
                    <a:pt x="173" y="31"/>
                  </a:lnTo>
                  <a:lnTo>
                    <a:pt x="169" y="12"/>
                  </a:lnTo>
                  <a:lnTo>
                    <a:pt x="172" y="0"/>
                  </a:lnTo>
                  <a:lnTo>
                    <a:pt x="186" y="0"/>
                  </a:lnTo>
                  <a:lnTo>
                    <a:pt x="218" y="37"/>
                  </a:lnTo>
                  <a:lnTo>
                    <a:pt x="216" y="70"/>
                  </a:lnTo>
                  <a:lnTo>
                    <a:pt x="223" y="95"/>
                  </a:lnTo>
                  <a:lnTo>
                    <a:pt x="221" y="124"/>
                  </a:lnTo>
                  <a:close/>
                </a:path>
              </a:pathLst>
            </a:custGeom>
            <a:grpFill/>
            <a:ln w="6350">
              <a:solidFill>
                <a:schemeClr val="tx2"/>
              </a:solidFill>
              <a:round/>
              <a:headEnd/>
              <a:tailEnd/>
            </a:ln>
          </p:spPr>
          <p:txBody>
            <a:bodyPr/>
            <a:lstStyle/>
            <a:p>
              <a:endParaRPr lang="en-US"/>
            </a:p>
          </p:txBody>
        </p:sp>
        <p:sp>
          <p:nvSpPr>
            <p:cNvPr id="97" name="Freeform 1166"/>
            <p:cNvSpPr>
              <a:spLocks/>
            </p:cNvSpPr>
            <p:nvPr/>
          </p:nvSpPr>
          <p:spPr bwMode="auto">
            <a:xfrm>
              <a:off x="2115086" y="1797979"/>
              <a:ext cx="75856" cy="121369"/>
            </a:xfrm>
            <a:custGeom>
              <a:avLst/>
              <a:gdLst>
                <a:gd name="T0" fmla="*/ 2147483647 w 155"/>
                <a:gd name="T1" fmla="*/ 2147483647 h 248"/>
                <a:gd name="T2" fmla="*/ 2147483647 w 155"/>
                <a:gd name="T3" fmla="*/ 2147483647 h 248"/>
                <a:gd name="T4" fmla="*/ 2147483647 w 155"/>
                <a:gd name="T5" fmla="*/ 2147483647 h 248"/>
                <a:gd name="T6" fmla="*/ 2147483647 w 155"/>
                <a:gd name="T7" fmla="*/ 2147483647 h 248"/>
                <a:gd name="T8" fmla="*/ 2147483647 w 155"/>
                <a:gd name="T9" fmla="*/ 2147483647 h 248"/>
                <a:gd name="T10" fmla="*/ 2147483647 w 155"/>
                <a:gd name="T11" fmla="*/ 2147483647 h 248"/>
                <a:gd name="T12" fmla="*/ 2147483647 w 155"/>
                <a:gd name="T13" fmla="*/ 2147483647 h 248"/>
                <a:gd name="T14" fmla="*/ 2147483647 w 155"/>
                <a:gd name="T15" fmla="*/ 2147483647 h 248"/>
                <a:gd name="T16" fmla="*/ 2147483647 w 155"/>
                <a:gd name="T17" fmla="*/ 2147483647 h 248"/>
                <a:gd name="T18" fmla="*/ 2147483647 w 155"/>
                <a:gd name="T19" fmla="*/ 2147483647 h 248"/>
                <a:gd name="T20" fmla="*/ 2147483647 w 155"/>
                <a:gd name="T21" fmla="*/ 2147483647 h 248"/>
                <a:gd name="T22" fmla="*/ 2147483647 w 155"/>
                <a:gd name="T23" fmla="*/ 2147483647 h 248"/>
                <a:gd name="T24" fmla="*/ 2147483647 w 155"/>
                <a:gd name="T25" fmla="*/ 2147483647 h 248"/>
                <a:gd name="T26" fmla="*/ 0 w 155"/>
                <a:gd name="T27" fmla="*/ 2147483647 h 248"/>
                <a:gd name="T28" fmla="*/ 2147483647 w 155"/>
                <a:gd name="T29" fmla="*/ 2147483647 h 248"/>
                <a:gd name="T30" fmla="*/ 2147483647 w 155"/>
                <a:gd name="T31" fmla="*/ 2147483647 h 248"/>
                <a:gd name="T32" fmla="*/ 2147483647 w 155"/>
                <a:gd name="T33" fmla="*/ 2147483647 h 248"/>
                <a:gd name="T34" fmla="*/ 2147483647 w 155"/>
                <a:gd name="T35" fmla="*/ 0 h 248"/>
                <a:gd name="T36" fmla="*/ 2147483647 w 155"/>
                <a:gd name="T37" fmla="*/ 2147483647 h 248"/>
                <a:gd name="T38" fmla="*/ 2147483647 w 155"/>
                <a:gd name="T39" fmla="*/ 2147483647 h 248"/>
                <a:gd name="T40" fmla="*/ 2147483647 w 155"/>
                <a:gd name="T41" fmla="*/ 2147483647 h 248"/>
                <a:gd name="T42" fmla="*/ 2147483647 w 155"/>
                <a:gd name="T43" fmla="*/ 2147483647 h 248"/>
                <a:gd name="T44" fmla="*/ 2147483647 w 155"/>
                <a:gd name="T45" fmla="*/ 2147483647 h 248"/>
                <a:gd name="T46" fmla="*/ 2147483647 w 155"/>
                <a:gd name="T47" fmla="*/ 2147483647 h 248"/>
                <a:gd name="T48" fmla="*/ 2147483647 w 155"/>
                <a:gd name="T49" fmla="*/ 2147483647 h 248"/>
                <a:gd name="T50" fmla="*/ 2147483647 w 155"/>
                <a:gd name="T51" fmla="*/ 2147483647 h 248"/>
                <a:gd name="T52" fmla="*/ 2147483647 w 155"/>
                <a:gd name="T53" fmla="*/ 2147483647 h 2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5"/>
                <a:gd name="T82" fmla="*/ 0 h 248"/>
                <a:gd name="T83" fmla="*/ 155 w 155"/>
                <a:gd name="T84" fmla="*/ 248 h 2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5" h="248">
                  <a:moveTo>
                    <a:pt x="141" y="212"/>
                  </a:moveTo>
                  <a:lnTo>
                    <a:pt x="84" y="215"/>
                  </a:lnTo>
                  <a:lnTo>
                    <a:pt x="67" y="248"/>
                  </a:lnTo>
                  <a:lnTo>
                    <a:pt x="51" y="242"/>
                  </a:lnTo>
                  <a:lnTo>
                    <a:pt x="56" y="219"/>
                  </a:lnTo>
                  <a:lnTo>
                    <a:pt x="27" y="185"/>
                  </a:lnTo>
                  <a:lnTo>
                    <a:pt x="61" y="177"/>
                  </a:lnTo>
                  <a:lnTo>
                    <a:pt x="69" y="169"/>
                  </a:lnTo>
                  <a:lnTo>
                    <a:pt x="66" y="158"/>
                  </a:lnTo>
                  <a:lnTo>
                    <a:pt x="22" y="144"/>
                  </a:lnTo>
                  <a:lnTo>
                    <a:pt x="26" y="135"/>
                  </a:lnTo>
                  <a:lnTo>
                    <a:pt x="17" y="126"/>
                  </a:lnTo>
                  <a:lnTo>
                    <a:pt x="15" y="99"/>
                  </a:lnTo>
                  <a:lnTo>
                    <a:pt x="0" y="76"/>
                  </a:lnTo>
                  <a:lnTo>
                    <a:pt x="12" y="64"/>
                  </a:lnTo>
                  <a:lnTo>
                    <a:pt x="4" y="40"/>
                  </a:lnTo>
                  <a:lnTo>
                    <a:pt x="4" y="12"/>
                  </a:lnTo>
                  <a:lnTo>
                    <a:pt x="18" y="0"/>
                  </a:lnTo>
                  <a:lnTo>
                    <a:pt x="99" y="51"/>
                  </a:lnTo>
                  <a:lnTo>
                    <a:pt x="103" y="57"/>
                  </a:lnTo>
                  <a:lnTo>
                    <a:pt x="99" y="82"/>
                  </a:lnTo>
                  <a:lnTo>
                    <a:pt x="122" y="80"/>
                  </a:lnTo>
                  <a:lnTo>
                    <a:pt x="154" y="116"/>
                  </a:lnTo>
                  <a:lnTo>
                    <a:pt x="144" y="136"/>
                  </a:lnTo>
                  <a:lnTo>
                    <a:pt x="144" y="171"/>
                  </a:lnTo>
                  <a:lnTo>
                    <a:pt x="155" y="195"/>
                  </a:lnTo>
                  <a:lnTo>
                    <a:pt x="141" y="212"/>
                  </a:lnTo>
                  <a:close/>
                </a:path>
              </a:pathLst>
            </a:custGeom>
            <a:grpFill/>
            <a:ln w="6350">
              <a:solidFill>
                <a:schemeClr val="tx2"/>
              </a:solidFill>
              <a:round/>
              <a:headEnd/>
              <a:tailEnd/>
            </a:ln>
          </p:spPr>
          <p:txBody>
            <a:bodyPr/>
            <a:lstStyle/>
            <a:p>
              <a:endParaRPr lang="en-US"/>
            </a:p>
          </p:txBody>
        </p:sp>
        <p:sp>
          <p:nvSpPr>
            <p:cNvPr id="98" name="Freeform 1167"/>
            <p:cNvSpPr>
              <a:spLocks/>
            </p:cNvSpPr>
            <p:nvPr/>
          </p:nvSpPr>
          <p:spPr bwMode="auto">
            <a:xfrm>
              <a:off x="1955789" y="1749431"/>
              <a:ext cx="142609" cy="166883"/>
            </a:xfrm>
            <a:custGeom>
              <a:avLst/>
              <a:gdLst>
                <a:gd name="T0" fmla="*/ 2147483647 w 288"/>
                <a:gd name="T1" fmla="*/ 2147483647 h 334"/>
                <a:gd name="T2" fmla="*/ 2147483647 w 288"/>
                <a:gd name="T3" fmla="*/ 2147483647 h 334"/>
                <a:gd name="T4" fmla="*/ 2147483647 w 288"/>
                <a:gd name="T5" fmla="*/ 2147483647 h 334"/>
                <a:gd name="T6" fmla="*/ 2147483647 w 288"/>
                <a:gd name="T7" fmla="*/ 2147483647 h 334"/>
                <a:gd name="T8" fmla="*/ 2147483647 w 288"/>
                <a:gd name="T9" fmla="*/ 2147483647 h 334"/>
                <a:gd name="T10" fmla="*/ 2147483647 w 288"/>
                <a:gd name="T11" fmla="*/ 2147483647 h 334"/>
                <a:gd name="T12" fmla="*/ 2147483647 w 288"/>
                <a:gd name="T13" fmla="*/ 2147483647 h 334"/>
                <a:gd name="T14" fmla="*/ 2147483647 w 288"/>
                <a:gd name="T15" fmla="*/ 2147483647 h 334"/>
                <a:gd name="T16" fmla="*/ 2147483647 w 288"/>
                <a:gd name="T17" fmla="*/ 2147483647 h 334"/>
                <a:gd name="T18" fmla="*/ 2147483647 w 288"/>
                <a:gd name="T19" fmla="*/ 2147483647 h 334"/>
                <a:gd name="T20" fmla="*/ 2147483647 w 288"/>
                <a:gd name="T21" fmla="*/ 2147483647 h 334"/>
                <a:gd name="T22" fmla="*/ 2147483647 w 288"/>
                <a:gd name="T23" fmla="*/ 2147483647 h 334"/>
                <a:gd name="T24" fmla="*/ 2147483647 w 288"/>
                <a:gd name="T25" fmla="*/ 2147483647 h 334"/>
                <a:gd name="T26" fmla="*/ 2147483647 w 288"/>
                <a:gd name="T27" fmla="*/ 2147483647 h 334"/>
                <a:gd name="T28" fmla="*/ 2147483647 w 288"/>
                <a:gd name="T29" fmla="*/ 2147483647 h 334"/>
                <a:gd name="T30" fmla="*/ 2147483647 w 288"/>
                <a:gd name="T31" fmla="*/ 2147483647 h 334"/>
                <a:gd name="T32" fmla="*/ 2147483647 w 288"/>
                <a:gd name="T33" fmla="*/ 2147483647 h 334"/>
                <a:gd name="T34" fmla="*/ 2147483647 w 288"/>
                <a:gd name="T35" fmla="*/ 2147483647 h 334"/>
                <a:gd name="T36" fmla="*/ 2147483647 w 288"/>
                <a:gd name="T37" fmla="*/ 2147483647 h 334"/>
                <a:gd name="T38" fmla="*/ 2147483647 w 288"/>
                <a:gd name="T39" fmla="*/ 2147483647 h 334"/>
                <a:gd name="T40" fmla="*/ 2147483647 w 288"/>
                <a:gd name="T41" fmla="*/ 2147483647 h 334"/>
                <a:gd name="T42" fmla="*/ 2147483647 w 288"/>
                <a:gd name="T43" fmla="*/ 2147483647 h 334"/>
                <a:gd name="T44" fmla="*/ 2147483647 w 288"/>
                <a:gd name="T45" fmla="*/ 2147483647 h 334"/>
                <a:gd name="T46" fmla="*/ 2147483647 w 288"/>
                <a:gd name="T47" fmla="*/ 2147483647 h 334"/>
                <a:gd name="T48" fmla="*/ 2147483647 w 288"/>
                <a:gd name="T49" fmla="*/ 2147483647 h 334"/>
                <a:gd name="T50" fmla="*/ 2147483647 w 288"/>
                <a:gd name="T51" fmla="*/ 2147483647 h 334"/>
                <a:gd name="T52" fmla="*/ 0 w 288"/>
                <a:gd name="T53" fmla="*/ 2147483647 h 334"/>
                <a:gd name="T54" fmla="*/ 2147483647 w 288"/>
                <a:gd name="T55" fmla="*/ 2147483647 h 334"/>
                <a:gd name="T56" fmla="*/ 2147483647 w 288"/>
                <a:gd name="T57" fmla="*/ 0 h 334"/>
                <a:gd name="T58" fmla="*/ 2147483647 w 288"/>
                <a:gd name="T59" fmla="*/ 2147483647 h 334"/>
                <a:gd name="T60" fmla="*/ 2147483647 w 288"/>
                <a:gd name="T61" fmla="*/ 2147483647 h 334"/>
                <a:gd name="T62" fmla="*/ 2147483647 w 288"/>
                <a:gd name="T63" fmla="*/ 2147483647 h 334"/>
                <a:gd name="T64" fmla="*/ 2147483647 w 288"/>
                <a:gd name="T65" fmla="*/ 2147483647 h 334"/>
                <a:gd name="T66" fmla="*/ 2147483647 w 288"/>
                <a:gd name="T67" fmla="*/ 2147483647 h 334"/>
                <a:gd name="T68" fmla="*/ 2147483647 w 288"/>
                <a:gd name="T69" fmla="*/ 2147483647 h 334"/>
                <a:gd name="T70" fmla="*/ 2147483647 w 288"/>
                <a:gd name="T71" fmla="*/ 2147483647 h 334"/>
                <a:gd name="T72" fmla="*/ 2147483647 w 288"/>
                <a:gd name="T73" fmla="*/ 2147483647 h 334"/>
                <a:gd name="T74" fmla="*/ 2147483647 w 288"/>
                <a:gd name="T75" fmla="*/ 2147483647 h 334"/>
                <a:gd name="T76" fmla="*/ 2147483647 w 288"/>
                <a:gd name="T77" fmla="*/ 2147483647 h 3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8"/>
                <a:gd name="T118" fmla="*/ 0 h 334"/>
                <a:gd name="T119" fmla="*/ 288 w 288"/>
                <a:gd name="T120" fmla="*/ 334 h 3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8" h="334">
                  <a:moveTo>
                    <a:pt x="244" y="135"/>
                  </a:moveTo>
                  <a:lnTo>
                    <a:pt x="260" y="156"/>
                  </a:lnTo>
                  <a:lnTo>
                    <a:pt x="248" y="186"/>
                  </a:lnTo>
                  <a:lnTo>
                    <a:pt x="250" y="214"/>
                  </a:lnTo>
                  <a:lnTo>
                    <a:pt x="288" y="277"/>
                  </a:lnTo>
                  <a:lnTo>
                    <a:pt x="279" y="318"/>
                  </a:lnTo>
                  <a:lnTo>
                    <a:pt x="246" y="334"/>
                  </a:lnTo>
                  <a:lnTo>
                    <a:pt x="218" y="309"/>
                  </a:lnTo>
                  <a:lnTo>
                    <a:pt x="198" y="243"/>
                  </a:lnTo>
                  <a:lnTo>
                    <a:pt x="133" y="235"/>
                  </a:lnTo>
                  <a:lnTo>
                    <a:pt x="124" y="211"/>
                  </a:lnTo>
                  <a:lnTo>
                    <a:pt x="81" y="239"/>
                  </a:lnTo>
                  <a:lnTo>
                    <a:pt x="44" y="223"/>
                  </a:lnTo>
                  <a:lnTo>
                    <a:pt x="34" y="207"/>
                  </a:lnTo>
                  <a:lnTo>
                    <a:pt x="32" y="181"/>
                  </a:lnTo>
                  <a:lnTo>
                    <a:pt x="93" y="185"/>
                  </a:lnTo>
                  <a:lnTo>
                    <a:pt x="100" y="166"/>
                  </a:lnTo>
                  <a:lnTo>
                    <a:pt x="73" y="161"/>
                  </a:lnTo>
                  <a:lnTo>
                    <a:pt x="96" y="129"/>
                  </a:lnTo>
                  <a:lnTo>
                    <a:pt x="65" y="130"/>
                  </a:lnTo>
                  <a:lnTo>
                    <a:pt x="73" y="98"/>
                  </a:lnTo>
                  <a:lnTo>
                    <a:pt x="62" y="82"/>
                  </a:lnTo>
                  <a:lnTo>
                    <a:pt x="32" y="123"/>
                  </a:lnTo>
                  <a:lnTo>
                    <a:pt x="28" y="113"/>
                  </a:lnTo>
                  <a:lnTo>
                    <a:pt x="41" y="74"/>
                  </a:lnTo>
                  <a:lnTo>
                    <a:pt x="4" y="79"/>
                  </a:lnTo>
                  <a:lnTo>
                    <a:pt x="0" y="40"/>
                  </a:lnTo>
                  <a:lnTo>
                    <a:pt x="8" y="9"/>
                  </a:lnTo>
                  <a:lnTo>
                    <a:pt x="73" y="0"/>
                  </a:lnTo>
                  <a:lnTo>
                    <a:pt x="102" y="14"/>
                  </a:lnTo>
                  <a:lnTo>
                    <a:pt x="101" y="72"/>
                  </a:lnTo>
                  <a:lnTo>
                    <a:pt x="112" y="87"/>
                  </a:lnTo>
                  <a:lnTo>
                    <a:pt x="118" y="48"/>
                  </a:lnTo>
                  <a:lnTo>
                    <a:pt x="137" y="31"/>
                  </a:lnTo>
                  <a:lnTo>
                    <a:pt x="181" y="63"/>
                  </a:lnTo>
                  <a:lnTo>
                    <a:pt x="178" y="96"/>
                  </a:lnTo>
                  <a:lnTo>
                    <a:pt x="186" y="107"/>
                  </a:lnTo>
                  <a:lnTo>
                    <a:pt x="208" y="89"/>
                  </a:lnTo>
                  <a:lnTo>
                    <a:pt x="244" y="135"/>
                  </a:lnTo>
                  <a:close/>
                </a:path>
              </a:pathLst>
            </a:custGeom>
            <a:grpFill/>
            <a:ln w="6350">
              <a:solidFill>
                <a:schemeClr val="tx2"/>
              </a:solidFill>
              <a:round/>
              <a:headEnd/>
              <a:tailEnd/>
            </a:ln>
          </p:spPr>
          <p:txBody>
            <a:bodyPr/>
            <a:lstStyle/>
            <a:p>
              <a:endParaRPr lang="en-US"/>
            </a:p>
          </p:txBody>
        </p:sp>
        <p:sp>
          <p:nvSpPr>
            <p:cNvPr id="99" name="Freeform 1168"/>
            <p:cNvSpPr>
              <a:spLocks/>
            </p:cNvSpPr>
            <p:nvPr/>
          </p:nvSpPr>
          <p:spPr bwMode="auto">
            <a:xfrm>
              <a:off x="2022542" y="1901143"/>
              <a:ext cx="36411" cy="19723"/>
            </a:xfrm>
            <a:custGeom>
              <a:avLst/>
              <a:gdLst>
                <a:gd name="T0" fmla="*/ 2147483647 w 74"/>
                <a:gd name="T1" fmla="*/ 0 h 40"/>
                <a:gd name="T2" fmla="*/ 2147483647 w 74"/>
                <a:gd name="T3" fmla="*/ 2147483647 h 40"/>
                <a:gd name="T4" fmla="*/ 2147483647 w 74"/>
                <a:gd name="T5" fmla="*/ 2147483647 h 40"/>
                <a:gd name="T6" fmla="*/ 0 w 74"/>
                <a:gd name="T7" fmla="*/ 2147483647 h 40"/>
                <a:gd name="T8" fmla="*/ 2147483647 w 74"/>
                <a:gd name="T9" fmla="*/ 0 h 40"/>
                <a:gd name="T10" fmla="*/ 0 60000 65536"/>
                <a:gd name="T11" fmla="*/ 0 60000 65536"/>
                <a:gd name="T12" fmla="*/ 0 60000 65536"/>
                <a:gd name="T13" fmla="*/ 0 60000 65536"/>
                <a:gd name="T14" fmla="*/ 0 60000 65536"/>
                <a:gd name="T15" fmla="*/ 0 w 74"/>
                <a:gd name="T16" fmla="*/ 0 h 40"/>
                <a:gd name="T17" fmla="*/ 74 w 74"/>
                <a:gd name="T18" fmla="*/ 40 h 40"/>
              </a:gdLst>
              <a:ahLst/>
              <a:cxnLst>
                <a:cxn ang="T10">
                  <a:pos x="T0" y="T1"/>
                </a:cxn>
                <a:cxn ang="T11">
                  <a:pos x="T2" y="T3"/>
                </a:cxn>
                <a:cxn ang="T12">
                  <a:pos x="T4" y="T5"/>
                </a:cxn>
                <a:cxn ang="T13">
                  <a:pos x="T6" y="T7"/>
                </a:cxn>
                <a:cxn ang="T14">
                  <a:pos x="T8" y="T9"/>
                </a:cxn>
              </a:cxnLst>
              <a:rect l="T15" t="T16" r="T17" b="T18"/>
              <a:pathLst>
                <a:path w="74" h="40">
                  <a:moveTo>
                    <a:pt x="27" y="0"/>
                  </a:moveTo>
                  <a:lnTo>
                    <a:pt x="74" y="33"/>
                  </a:lnTo>
                  <a:lnTo>
                    <a:pt x="22" y="40"/>
                  </a:lnTo>
                  <a:lnTo>
                    <a:pt x="0" y="8"/>
                  </a:lnTo>
                  <a:lnTo>
                    <a:pt x="27" y="0"/>
                  </a:lnTo>
                  <a:close/>
                </a:path>
              </a:pathLst>
            </a:custGeom>
            <a:grpFill/>
            <a:ln w="6350">
              <a:solidFill>
                <a:schemeClr val="tx2"/>
              </a:solidFill>
              <a:round/>
              <a:headEnd/>
              <a:tailEnd/>
            </a:ln>
          </p:spPr>
          <p:txBody>
            <a:bodyPr/>
            <a:lstStyle/>
            <a:p>
              <a:endParaRPr lang="en-US"/>
            </a:p>
          </p:txBody>
        </p:sp>
        <p:sp>
          <p:nvSpPr>
            <p:cNvPr id="100" name="Freeform 1169"/>
            <p:cNvSpPr>
              <a:spLocks/>
            </p:cNvSpPr>
            <p:nvPr/>
          </p:nvSpPr>
          <p:spPr bwMode="auto">
            <a:xfrm>
              <a:off x="1949721" y="1922382"/>
              <a:ext cx="36411" cy="62202"/>
            </a:xfrm>
            <a:custGeom>
              <a:avLst/>
              <a:gdLst>
                <a:gd name="T0" fmla="*/ 2147483647 w 75"/>
                <a:gd name="T1" fmla="*/ 2147483647 h 125"/>
                <a:gd name="T2" fmla="*/ 2147483647 w 75"/>
                <a:gd name="T3" fmla="*/ 2147483647 h 125"/>
                <a:gd name="T4" fmla="*/ 2147483647 w 75"/>
                <a:gd name="T5" fmla="*/ 2147483647 h 125"/>
                <a:gd name="T6" fmla="*/ 2147483647 w 75"/>
                <a:gd name="T7" fmla="*/ 2147483647 h 125"/>
                <a:gd name="T8" fmla="*/ 2147483647 w 75"/>
                <a:gd name="T9" fmla="*/ 2147483647 h 125"/>
                <a:gd name="T10" fmla="*/ 2147483647 w 75"/>
                <a:gd name="T11" fmla="*/ 2147483647 h 125"/>
                <a:gd name="T12" fmla="*/ 2147483647 w 75"/>
                <a:gd name="T13" fmla="*/ 2147483647 h 125"/>
                <a:gd name="T14" fmla="*/ 0 w 75"/>
                <a:gd name="T15" fmla="*/ 2147483647 h 125"/>
                <a:gd name="T16" fmla="*/ 2147483647 w 75"/>
                <a:gd name="T17" fmla="*/ 0 h 125"/>
                <a:gd name="T18" fmla="*/ 2147483647 w 75"/>
                <a:gd name="T19" fmla="*/ 2147483647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5"/>
                <a:gd name="T31" fmla="*/ 0 h 125"/>
                <a:gd name="T32" fmla="*/ 75 w 75"/>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5" h="125">
                  <a:moveTo>
                    <a:pt x="43" y="34"/>
                  </a:moveTo>
                  <a:lnTo>
                    <a:pt x="47" y="60"/>
                  </a:lnTo>
                  <a:lnTo>
                    <a:pt x="71" y="83"/>
                  </a:lnTo>
                  <a:lnTo>
                    <a:pt x="62" y="91"/>
                  </a:lnTo>
                  <a:lnTo>
                    <a:pt x="75" y="107"/>
                  </a:lnTo>
                  <a:lnTo>
                    <a:pt x="62" y="125"/>
                  </a:lnTo>
                  <a:lnTo>
                    <a:pt x="38" y="112"/>
                  </a:lnTo>
                  <a:lnTo>
                    <a:pt x="0" y="2"/>
                  </a:lnTo>
                  <a:lnTo>
                    <a:pt x="19" y="0"/>
                  </a:lnTo>
                  <a:lnTo>
                    <a:pt x="43" y="34"/>
                  </a:lnTo>
                  <a:close/>
                </a:path>
              </a:pathLst>
            </a:custGeom>
            <a:grpFill/>
            <a:ln w="6350">
              <a:solidFill>
                <a:schemeClr val="tx2"/>
              </a:solidFill>
              <a:round/>
              <a:headEnd/>
              <a:tailEnd/>
            </a:ln>
          </p:spPr>
          <p:txBody>
            <a:bodyPr/>
            <a:lstStyle/>
            <a:p>
              <a:endParaRPr lang="en-US"/>
            </a:p>
          </p:txBody>
        </p:sp>
        <p:sp>
          <p:nvSpPr>
            <p:cNvPr id="101" name="Freeform 1170"/>
            <p:cNvSpPr>
              <a:spLocks/>
            </p:cNvSpPr>
            <p:nvPr/>
          </p:nvSpPr>
          <p:spPr bwMode="auto">
            <a:xfrm>
              <a:off x="1977029" y="2025546"/>
              <a:ext cx="36411" cy="31860"/>
            </a:xfrm>
            <a:custGeom>
              <a:avLst/>
              <a:gdLst>
                <a:gd name="T0" fmla="*/ 2147483647 w 69"/>
                <a:gd name="T1" fmla="*/ 2147483647 h 63"/>
                <a:gd name="T2" fmla="*/ 2147483647 w 69"/>
                <a:gd name="T3" fmla="*/ 2147483647 h 63"/>
                <a:gd name="T4" fmla="*/ 2147483647 w 69"/>
                <a:gd name="T5" fmla="*/ 2147483647 h 63"/>
                <a:gd name="T6" fmla="*/ 2147483647 w 69"/>
                <a:gd name="T7" fmla="*/ 2147483647 h 63"/>
                <a:gd name="T8" fmla="*/ 2147483647 w 69"/>
                <a:gd name="T9" fmla="*/ 2147483647 h 63"/>
                <a:gd name="T10" fmla="*/ 2147483647 w 69"/>
                <a:gd name="T11" fmla="*/ 2147483647 h 63"/>
                <a:gd name="T12" fmla="*/ 0 w 69"/>
                <a:gd name="T13" fmla="*/ 2147483647 h 63"/>
                <a:gd name="T14" fmla="*/ 2147483647 w 69"/>
                <a:gd name="T15" fmla="*/ 0 h 63"/>
                <a:gd name="T16" fmla="*/ 2147483647 w 69"/>
                <a:gd name="T17" fmla="*/ 2147483647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63"/>
                <a:gd name="T29" fmla="*/ 69 w 69"/>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63">
                  <a:moveTo>
                    <a:pt x="30" y="13"/>
                  </a:moveTo>
                  <a:lnTo>
                    <a:pt x="69" y="48"/>
                  </a:lnTo>
                  <a:lnTo>
                    <a:pt x="16" y="63"/>
                  </a:lnTo>
                  <a:lnTo>
                    <a:pt x="24" y="58"/>
                  </a:lnTo>
                  <a:lnTo>
                    <a:pt x="8" y="46"/>
                  </a:lnTo>
                  <a:lnTo>
                    <a:pt x="12" y="27"/>
                  </a:lnTo>
                  <a:lnTo>
                    <a:pt x="0" y="16"/>
                  </a:lnTo>
                  <a:lnTo>
                    <a:pt x="20" y="0"/>
                  </a:lnTo>
                  <a:lnTo>
                    <a:pt x="30" y="13"/>
                  </a:lnTo>
                  <a:close/>
                </a:path>
              </a:pathLst>
            </a:custGeom>
            <a:grpFill/>
            <a:ln w="6350">
              <a:solidFill>
                <a:schemeClr val="tx2"/>
              </a:solidFill>
              <a:round/>
              <a:headEnd/>
              <a:tailEnd/>
            </a:ln>
          </p:spPr>
          <p:txBody>
            <a:bodyPr/>
            <a:lstStyle/>
            <a:p>
              <a:endParaRPr lang="en-US"/>
            </a:p>
          </p:txBody>
        </p:sp>
        <p:sp>
          <p:nvSpPr>
            <p:cNvPr id="102" name="Freeform 1171"/>
            <p:cNvSpPr>
              <a:spLocks/>
            </p:cNvSpPr>
            <p:nvPr/>
          </p:nvSpPr>
          <p:spPr bwMode="auto">
            <a:xfrm>
              <a:off x="1983097" y="2057405"/>
              <a:ext cx="39445" cy="24273"/>
            </a:xfrm>
            <a:custGeom>
              <a:avLst/>
              <a:gdLst>
                <a:gd name="T0" fmla="*/ 2147483647 w 83"/>
                <a:gd name="T1" fmla="*/ 0 h 47"/>
                <a:gd name="T2" fmla="*/ 2147483647 w 83"/>
                <a:gd name="T3" fmla="*/ 2147483647 h 47"/>
                <a:gd name="T4" fmla="*/ 2147483647 w 83"/>
                <a:gd name="T5" fmla="*/ 2147483647 h 47"/>
                <a:gd name="T6" fmla="*/ 2147483647 w 83"/>
                <a:gd name="T7" fmla="*/ 2147483647 h 47"/>
                <a:gd name="T8" fmla="*/ 2147483647 w 83"/>
                <a:gd name="T9" fmla="*/ 2147483647 h 47"/>
                <a:gd name="T10" fmla="*/ 0 w 83"/>
                <a:gd name="T11" fmla="*/ 2147483647 h 47"/>
                <a:gd name="T12" fmla="*/ 2147483647 w 83"/>
                <a:gd name="T13" fmla="*/ 0 h 47"/>
                <a:gd name="T14" fmla="*/ 0 60000 65536"/>
                <a:gd name="T15" fmla="*/ 0 60000 65536"/>
                <a:gd name="T16" fmla="*/ 0 60000 65536"/>
                <a:gd name="T17" fmla="*/ 0 60000 65536"/>
                <a:gd name="T18" fmla="*/ 0 60000 65536"/>
                <a:gd name="T19" fmla="*/ 0 60000 65536"/>
                <a:gd name="T20" fmla="*/ 0 60000 65536"/>
                <a:gd name="T21" fmla="*/ 0 w 83"/>
                <a:gd name="T22" fmla="*/ 0 h 47"/>
                <a:gd name="T23" fmla="*/ 83 w 83"/>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47">
                  <a:moveTo>
                    <a:pt x="63" y="0"/>
                  </a:moveTo>
                  <a:lnTo>
                    <a:pt x="83" y="14"/>
                  </a:lnTo>
                  <a:lnTo>
                    <a:pt x="78" y="32"/>
                  </a:lnTo>
                  <a:lnTo>
                    <a:pt x="60" y="43"/>
                  </a:lnTo>
                  <a:lnTo>
                    <a:pt x="15" y="47"/>
                  </a:lnTo>
                  <a:lnTo>
                    <a:pt x="0" y="26"/>
                  </a:lnTo>
                  <a:lnTo>
                    <a:pt x="63" y="0"/>
                  </a:lnTo>
                  <a:close/>
                </a:path>
              </a:pathLst>
            </a:custGeom>
            <a:grpFill/>
            <a:ln w="6350">
              <a:solidFill>
                <a:schemeClr val="tx2"/>
              </a:solidFill>
              <a:round/>
              <a:headEnd/>
              <a:tailEnd/>
            </a:ln>
          </p:spPr>
          <p:txBody>
            <a:bodyPr/>
            <a:lstStyle/>
            <a:p>
              <a:endParaRPr lang="en-US"/>
            </a:p>
          </p:txBody>
        </p:sp>
        <p:sp>
          <p:nvSpPr>
            <p:cNvPr id="103" name="Freeform 1172"/>
            <p:cNvSpPr>
              <a:spLocks/>
            </p:cNvSpPr>
            <p:nvPr/>
          </p:nvSpPr>
          <p:spPr bwMode="auto">
            <a:xfrm>
              <a:off x="1995234" y="2080162"/>
              <a:ext cx="33376" cy="13654"/>
            </a:xfrm>
            <a:custGeom>
              <a:avLst/>
              <a:gdLst>
                <a:gd name="T0" fmla="*/ 2147483647 w 66"/>
                <a:gd name="T1" fmla="*/ 2147483647 h 31"/>
                <a:gd name="T2" fmla="*/ 2147483647 w 66"/>
                <a:gd name="T3" fmla="*/ 0 h 31"/>
                <a:gd name="T4" fmla="*/ 2147483647 w 66"/>
                <a:gd name="T5" fmla="*/ 2147483647 h 31"/>
                <a:gd name="T6" fmla="*/ 0 w 66"/>
                <a:gd name="T7" fmla="*/ 2147483647 h 31"/>
                <a:gd name="T8" fmla="*/ 2147483647 w 66"/>
                <a:gd name="T9" fmla="*/ 2147483647 h 31"/>
                <a:gd name="T10" fmla="*/ 0 60000 65536"/>
                <a:gd name="T11" fmla="*/ 0 60000 65536"/>
                <a:gd name="T12" fmla="*/ 0 60000 65536"/>
                <a:gd name="T13" fmla="*/ 0 60000 65536"/>
                <a:gd name="T14" fmla="*/ 0 60000 65536"/>
                <a:gd name="T15" fmla="*/ 0 w 66"/>
                <a:gd name="T16" fmla="*/ 0 h 31"/>
                <a:gd name="T17" fmla="*/ 66 w 66"/>
                <a:gd name="T18" fmla="*/ 31 h 31"/>
              </a:gdLst>
              <a:ahLst/>
              <a:cxnLst>
                <a:cxn ang="T10">
                  <a:pos x="T0" y="T1"/>
                </a:cxn>
                <a:cxn ang="T11">
                  <a:pos x="T2" y="T3"/>
                </a:cxn>
                <a:cxn ang="T12">
                  <a:pos x="T4" y="T5"/>
                </a:cxn>
                <a:cxn ang="T13">
                  <a:pos x="T6" y="T7"/>
                </a:cxn>
                <a:cxn ang="T14">
                  <a:pos x="T8" y="T9"/>
                </a:cxn>
              </a:cxnLst>
              <a:rect l="T15" t="T16" r="T17" b="T18"/>
              <a:pathLst>
                <a:path w="66" h="31">
                  <a:moveTo>
                    <a:pt x="38" y="2"/>
                  </a:moveTo>
                  <a:lnTo>
                    <a:pt x="66" y="0"/>
                  </a:lnTo>
                  <a:lnTo>
                    <a:pt x="58" y="13"/>
                  </a:lnTo>
                  <a:lnTo>
                    <a:pt x="0" y="31"/>
                  </a:lnTo>
                  <a:lnTo>
                    <a:pt x="38" y="2"/>
                  </a:lnTo>
                  <a:close/>
                </a:path>
              </a:pathLst>
            </a:custGeom>
            <a:grpFill/>
            <a:ln w="6350">
              <a:solidFill>
                <a:schemeClr val="tx2"/>
              </a:solidFill>
              <a:round/>
              <a:headEnd/>
              <a:tailEnd/>
            </a:ln>
          </p:spPr>
          <p:txBody>
            <a:bodyPr/>
            <a:lstStyle/>
            <a:p>
              <a:endParaRPr lang="en-US"/>
            </a:p>
          </p:txBody>
        </p:sp>
        <p:sp>
          <p:nvSpPr>
            <p:cNvPr id="104" name="Freeform 1173"/>
            <p:cNvSpPr>
              <a:spLocks/>
            </p:cNvSpPr>
            <p:nvPr/>
          </p:nvSpPr>
          <p:spPr bwMode="auto">
            <a:xfrm>
              <a:off x="2005853" y="2089265"/>
              <a:ext cx="28826" cy="18206"/>
            </a:xfrm>
            <a:custGeom>
              <a:avLst/>
              <a:gdLst>
                <a:gd name="T0" fmla="*/ 2147483647 w 56"/>
                <a:gd name="T1" fmla="*/ 2147483647 h 35"/>
                <a:gd name="T2" fmla="*/ 2147483647 w 56"/>
                <a:gd name="T3" fmla="*/ 0 h 35"/>
                <a:gd name="T4" fmla="*/ 2147483647 w 56"/>
                <a:gd name="T5" fmla="*/ 2147483647 h 35"/>
                <a:gd name="T6" fmla="*/ 2147483647 w 56"/>
                <a:gd name="T7" fmla="*/ 2147483647 h 35"/>
                <a:gd name="T8" fmla="*/ 0 w 56"/>
                <a:gd name="T9" fmla="*/ 2147483647 h 35"/>
                <a:gd name="T10" fmla="*/ 2147483647 w 56"/>
                <a:gd name="T11" fmla="*/ 2147483647 h 35"/>
                <a:gd name="T12" fmla="*/ 0 60000 65536"/>
                <a:gd name="T13" fmla="*/ 0 60000 65536"/>
                <a:gd name="T14" fmla="*/ 0 60000 65536"/>
                <a:gd name="T15" fmla="*/ 0 60000 65536"/>
                <a:gd name="T16" fmla="*/ 0 60000 65536"/>
                <a:gd name="T17" fmla="*/ 0 60000 65536"/>
                <a:gd name="T18" fmla="*/ 0 w 56"/>
                <a:gd name="T19" fmla="*/ 0 h 35"/>
                <a:gd name="T20" fmla="*/ 56 w 56"/>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56" h="35">
                  <a:moveTo>
                    <a:pt x="15" y="6"/>
                  </a:moveTo>
                  <a:lnTo>
                    <a:pt x="56" y="0"/>
                  </a:lnTo>
                  <a:lnTo>
                    <a:pt x="33" y="31"/>
                  </a:lnTo>
                  <a:lnTo>
                    <a:pt x="12" y="35"/>
                  </a:lnTo>
                  <a:lnTo>
                    <a:pt x="0" y="31"/>
                  </a:lnTo>
                  <a:lnTo>
                    <a:pt x="15" y="6"/>
                  </a:lnTo>
                  <a:close/>
                </a:path>
              </a:pathLst>
            </a:custGeom>
            <a:grpFill/>
            <a:ln w="6350">
              <a:solidFill>
                <a:schemeClr val="tx2"/>
              </a:solidFill>
              <a:round/>
              <a:headEnd/>
              <a:tailEnd/>
            </a:ln>
          </p:spPr>
          <p:txBody>
            <a:bodyPr/>
            <a:lstStyle/>
            <a:p>
              <a:endParaRPr lang="en-US"/>
            </a:p>
          </p:txBody>
        </p:sp>
        <p:sp>
          <p:nvSpPr>
            <p:cNvPr id="105" name="Freeform 1174"/>
            <p:cNvSpPr>
              <a:spLocks/>
            </p:cNvSpPr>
            <p:nvPr/>
          </p:nvSpPr>
          <p:spPr bwMode="auto">
            <a:xfrm>
              <a:off x="1973995" y="2134778"/>
              <a:ext cx="27308" cy="31860"/>
            </a:xfrm>
            <a:custGeom>
              <a:avLst/>
              <a:gdLst>
                <a:gd name="T0" fmla="*/ 2147483647 w 55"/>
                <a:gd name="T1" fmla="*/ 0 h 67"/>
                <a:gd name="T2" fmla="*/ 2147483647 w 55"/>
                <a:gd name="T3" fmla="*/ 2147483647 h 67"/>
                <a:gd name="T4" fmla="*/ 2147483647 w 55"/>
                <a:gd name="T5" fmla="*/ 2147483647 h 67"/>
                <a:gd name="T6" fmla="*/ 2147483647 w 55"/>
                <a:gd name="T7" fmla="*/ 2147483647 h 67"/>
                <a:gd name="T8" fmla="*/ 0 w 55"/>
                <a:gd name="T9" fmla="*/ 2147483647 h 67"/>
                <a:gd name="T10" fmla="*/ 2147483647 w 55"/>
                <a:gd name="T11" fmla="*/ 2147483647 h 67"/>
                <a:gd name="T12" fmla="*/ 2147483647 w 55"/>
                <a:gd name="T13" fmla="*/ 0 h 67"/>
                <a:gd name="T14" fmla="*/ 0 60000 65536"/>
                <a:gd name="T15" fmla="*/ 0 60000 65536"/>
                <a:gd name="T16" fmla="*/ 0 60000 65536"/>
                <a:gd name="T17" fmla="*/ 0 60000 65536"/>
                <a:gd name="T18" fmla="*/ 0 60000 65536"/>
                <a:gd name="T19" fmla="*/ 0 60000 65536"/>
                <a:gd name="T20" fmla="*/ 0 60000 65536"/>
                <a:gd name="T21" fmla="*/ 0 w 55"/>
                <a:gd name="T22" fmla="*/ 0 h 67"/>
                <a:gd name="T23" fmla="*/ 55 w 55"/>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7">
                  <a:moveTo>
                    <a:pt x="35" y="0"/>
                  </a:moveTo>
                  <a:lnTo>
                    <a:pt x="55" y="45"/>
                  </a:lnTo>
                  <a:lnTo>
                    <a:pt x="48" y="59"/>
                  </a:lnTo>
                  <a:lnTo>
                    <a:pt x="30" y="67"/>
                  </a:lnTo>
                  <a:lnTo>
                    <a:pt x="0" y="44"/>
                  </a:lnTo>
                  <a:lnTo>
                    <a:pt x="14" y="2"/>
                  </a:lnTo>
                  <a:lnTo>
                    <a:pt x="35" y="0"/>
                  </a:lnTo>
                  <a:close/>
                </a:path>
              </a:pathLst>
            </a:custGeom>
            <a:grpFill/>
            <a:ln w="6350">
              <a:solidFill>
                <a:schemeClr val="tx2"/>
              </a:solidFill>
              <a:round/>
              <a:headEnd/>
              <a:tailEnd/>
            </a:ln>
          </p:spPr>
          <p:txBody>
            <a:bodyPr/>
            <a:lstStyle/>
            <a:p>
              <a:endParaRPr lang="en-US"/>
            </a:p>
          </p:txBody>
        </p:sp>
        <p:sp>
          <p:nvSpPr>
            <p:cNvPr id="106" name="Freeform 1175"/>
            <p:cNvSpPr>
              <a:spLocks/>
            </p:cNvSpPr>
            <p:nvPr/>
          </p:nvSpPr>
          <p:spPr bwMode="auto">
            <a:xfrm>
              <a:off x="1700914" y="2007340"/>
              <a:ext cx="262460" cy="209362"/>
            </a:xfrm>
            <a:custGeom>
              <a:avLst/>
              <a:gdLst>
                <a:gd name="T0" fmla="*/ 2147483647 w 529"/>
                <a:gd name="T1" fmla="*/ 2147483647 h 419"/>
                <a:gd name="T2" fmla="*/ 2147483647 w 529"/>
                <a:gd name="T3" fmla="*/ 0 h 419"/>
                <a:gd name="T4" fmla="*/ 2147483647 w 529"/>
                <a:gd name="T5" fmla="*/ 2147483647 h 419"/>
                <a:gd name="T6" fmla="*/ 2147483647 w 529"/>
                <a:gd name="T7" fmla="*/ 2147483647 h 419"/>
                <a:gd name="T8" fmla="*/ 2147483647 w 529"/>
                <a:gd name="T9" fmla="*/ 2147483647 h 419"/>
                <a:gd name="T10" fmla="*/ 2147483647 w 529"/>
                <a:gd name="T11" fmla="*/ 2147483647 h 419"/>
                <a:gd name="T12" fmla="*/ 2147483647 w 529"/>
                <a:gd name="T13" fmla="*/ 2147483647 h 419"/>
                <a:gd name="T14" fmla="*/ 2147483647 w 529"/>
                <a:gd name="T15" fmla="*/ 2147483647 h 419"/>
                <a:gd name="T16" fmla="*/ 2147483647 w 529"/>
                <a:gd name="T17" fmla="*/ 2147483647 h 419"/>
                <a:gd name="T18" fmla="*/ 2147483647 w 529"/>
                <a:gd name="T19" fmla="*/ 2147483647 h 419"/>
                <a:gd name="T20" fmla="*/ 2147483647 w 529"/>
                <a:gd name="T21" fmla="*/ 2147483647 h 419"/>
                <a:gd name="T22" fmla="*/ 2147483647 w 529"/>
                <a:gd name="T23" fmla="*/ 2147483647 h 419"/>
                <a:gd name="T24" fmla="*/ 2147483647 w 529"/>
                <a:gd name="T25" fmla="*/ 2147483647 h 419"/>
                <a:gd name="T26" fmla="*/ 2147483647 w 529"/>
                <a:gd name="T27" fmla="*/ 2147483647 h 419"/>
                <a:gd name="T28" fmla="*/ 2147483647 w 529"/>
                <a:gd name="T29" fmla="*/ 2147483647 h 419"/>
                <a:gd name="T30" fmla="*/ 2147483647 w 529"/>
                <a:gd name="T31" fmla="*/ 2147483647 h 419"/>
                <a:gd name="T32" fmla="*/ 2147483647 w 529"/>
                <a:gd name="T33" fmla="*/ 2147483647 h 419"/>
                <a:gd name="T34" fmla="*/ 2147483647 w 529"/>
                <a:gd name="T35" fmla="*/ 2147483647 h 419"/>
                <a:gd name="T36" fmla="*/ 2147483647 w 529"/>
                <a:gd name="T37" fmla="*/ 2147483647 h 419"/>
                <a:gd name="T38" fmla="*/ 2147483647 w 529"/>
                <a:gd name="T39" fmla="*/ 2147483647 h 419"/>
                <a:gd name="T40" fmla="*/ 2147483647 w 529"/>
                <a:gd name="T41" fmla="*/ 2147483647 h 419"/>
                <a:gd name="T42" fmla="*/ 2147483647 w 529"/>
                <a:gd name="T43" fmla="*/ 2147483647 h 419"/>
                <a:gd name="T44" fmla="*/ 2147483647 w 529"/>
                <a:gd name="T45" fmla="*/ 2147483647 h 419"/>
                <a:gd name="T46" fmla="*/ 2147483647 w 529"/>
                <a:gd name="T47" fmla="*/ 2147483647 h 419"/>
                <a:gd name="T48" fmla="*/ 2147483647 w 529"/>
                <a:gd name="T49" fmla="*/ 2147483647 h 419"/>
                <a:gd name="T50" fmla="*/ 2147483647 w 529"/>
                <a:gd name="T51" fmla="*/ 2147483647 h 419"/>
                <a:gd name="T52" fmla="*/ 2147483647 w 529"/>
                <a:gd name="T53" fmla="*/ 2147483647 h 419"/>
                <a:gd name="T54" fmla="*/ 2147483647 w 529"/>
                <a:gd name="T55" fmla="*/ 2147483647 h 419"/>
                <a:gd name="T56" fmla="*/ 2147483647 w 529"/>
                <a:gd name="T57" fmla="*/ 2147483647 h 419"/>
                <a:gd name="T58" fmla="*/ 2147483647 w 529"/>
                <a:gd name="T59" fmla="*/ 2147483647 h 419"/>
                <a:gd name="T60" fmla="*/ 2147483647 w 529"/>
                <a:gd name="T61" fmla="*/ 2147483647 h 419"/>
                <a:gd name="T62" fmla="*/ 2147483647 w 529"/>
                <a:gd name="T63" fmla="*/ 2147483647 h 419"/>
                <a:gd name="T64" fmla="*/ 2147483647 w 529"/>
                <a:gd name="T65" fmla="*/ 2147483647 h 419"/>
                <a:gd name="T66" fmla="*/ 2147483647 w 529"/>
                <a:gd name="T67" fmla="*/ 2147483647 h 419"/>
                <a:gd name="T68" fmla="*/ 2147483647 w 529"/>
                <a:gd name="T69" fmla="*/ 2147483647 h 419"/>
                <a:gd name="T70" fmla="*/ 2147483647 w 529"/>
                <a:gd name="T71" fmla="*/ 2147483647 h 419"/>
                <a:gd name="T72" fmla="*/ 2147483647 w 529"/>
                <a:gd name="T73" fmla="*/ 2147483647 h 419"/>
                <a:gd name="T74" fmla="*/ 2147483647 w 529"/>
                <a:gd name="T75" fmla="*/ 2147483647 h 419"/>
                <a:gd name="T76" fmla="*/ 2147483647 w 529"/>
                <a:gd name="T77" fmla="*/ 2147483647 h 419"/>
                <a:gd name="T78" fmla="*/ 2147483647 w 529"/>
                <a:gd name="T79" fmla="*/ 2147483647 h 419"/>
                <a:gd name="T80" fmla="*/ 2147483647 w 529"/>
                <a:gd name="T81" fmla="*/ 2147483647 h 419"/>
                <a:gd name="T82" fmla="*/ 2147483647 w 529"/>
                <a:gd name="T83" fmla="*/ 2147483647 h 419"/>
                <a:gd name="T84" fmla="*/ 2147483647 w 529"/>
                <a:gd name="T85" fmla="*/ 2147483647 h 419"/>
                <a:gd name="T86" fmla="*/ 2147483647 w 529"/>
                <a:gd name="T87" fmla="*/ 2147483647 h 419"/>
                <a:gd name="T88" fmla="*/ 2147483647 w 529"/>
                <a:gd name="T89" fmla="*/ 2147483647 h 419"/>
                <a:gd name="T90" fmla="*/ 2147483647 w 529"/>
                <a:gd name="T91" fmla="*/ 2147483647 h 419"/>
                <a:gd name="T92" fmla="*/ 2147483647 w 529"/>
                <a:gd name="T93" fmla="*/ 2147483647 h 419"/>
                <a:gd name="T94" fmla="*/ 2147483647 w 529"/>
                <a:gd name="T95" fmla="*/ 2147483647 h 4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9"/>
                <a:gd name="T145" fmla="*/ 0 h 419"/>
                <a:gd name="T146" fmla="*/ 529 w 529"/>
                <a:gd name="T147" fmla="*/ 419 h 4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9" h="419">
                  <a:moveTo>
                    <a:pt x="329" y="65"/>
                  </a:moveTo>
                  <a:lnTo>
                    <a:pt x="345" y="56"/>
                  </a:lnTo>
                  <a:lnTo>
                    <a:pt x="360" y="6"/>
                  </a:lnTo>
                  <a:lnTo>
                    <a:pt x="383" y="0"/>
                  </a:lnTo>
                  <a:lnTo>
                    <a:pt x="396" y="21"/>
                  </a:lnTo>
                  <a:lnTo>
                    <a:pt x="386" y="38"/>
                  </a:lnTo>
                  <a:lnTo>
                    <a:pt x="393" y="54"/>
                  </a:lnTo>
                  <a:lnTo>
                    <a:pt x="393" y="74"/>
                  </a:lnTo>
                  <a:lnTo>
                    <a:pt x="413" y="101"/>
                  </a:lnTo>
                  <a:lnTo>
                    <a:pt x="392" y="139"/>
                  </a:lnTo>
                  <a:lnTo>
                    <a:pt x="436" y="153"/>
                  </a:lnTo>
                  <a:lnTo>
                    <a:pt x="418" y="190"/>
                  </a:lnTo>
                  <a:lnTo>
                    <a:pt x="455" y="171"/>
                  </a:lnTo>
                  <a:lnTo>
                    <a:pt x="468" y="208"/>
                  </a:lnTo>
                  <a:lnTo>
                    <a:pt x="475" y="189"/>
                  </a:lnTo>
                  <a:lnTo>
                    <a:pt x="468" y="162"/>
                  </a:lnTo>
                  <a:lnTo>
                    <a:pt x="476" y="144"/>
                  </a:lnTo>
                  <a:lnTo>
                    <a:pt x="518" y="169"/>
                  </a:lnTo>
                  <a:lnTo>
                    <a:pt x="528" y="192"/>
                  </a:lnTo>
                  <a:lnTo>
                    <a:pt x="529" y="219"/>
                  </a:lnTo>
                  <a:lnTo>
                    <a:pt x="499" y="318"/>
                  </a:lnTo>
                  <a:lnTo>
                    <a:pt x="452" y="338"/>
                  </a:lnTo>
                  <a:lnTo>
                    <a:pt x="434" y="327"/>
                  </a:lnTo>
                  <a:lnTo>
                    <a:pt x="431" y="310"/>
                  </a:lnTo>
                  <a:lnTo>
                    <a:pt x="400" y="334"/>
                  </a:lnTo>
                  <a:lnTo>
                    <a:pt x="385" y="330"/>
                  </a:lnTo>
                  <a:lnTo>
                    <a:pt x="392" y="323"/>
                  </a:lnTo>
                  <a:lnTo>
                    <a:pt x="386" y="306"/>
                  </a:lnTo>
                  <a:lnTo>
                    <a:pt x="353" y="341"/>
                  </a:lnTo>
                  <a:lnTo>
                    <a:pt x="303" y="359"/>
                  </a:lnTo>
                  <a:lnTo>
                    <a:pt x="295" y="381"/>
                  </a:lnTo>
                  <a:lnTo>
                    <a:pt x="218" y="419"/>
                  </a:lnTo>
                  <a:lnTo>
                    <a:pt x="159" y="402"/>
                  </a:lnTo>
                  <a:lnTo>
                    <a:pt x="140" y="380"/>
                  </a:lnTo>
                  <a:lnTo>
                    <a:pt x="143" y="365"/>
                  </a:lnTo>
                  <a:lnTo>
                    <a:pt x="184" y="351"/>
                  </a:lnTo>
                  <a:lnTo>
                    <a:pt x="199" y="326"/>
                  </a:lnTo>
                  <a:lnTo>
                    <a:pt x="257" y="330"/>
                  </a:lnTo>
                  <a:lnTo>
                    <a:pt x="288" y="276"/>
                  </a:lnTo>
                  <a:lnTo>
                    <a:pt x="231" y="299"/>
                  </a:lnTo>
                  <a:lnTo>
                    <a:pt x="230" y="282"/>
                  </a:lnTo>
                  <a:lnTo>
                    <a:pt x="214" y="278"/>
                  </a:lnTo>
                  <a:lnTo>
                    <a:pt x="207" y="306"/>
                  </a:lnTo>
                  <a:lnTo>
                    <a:pt x="194" y="297"/>
                  </a:lnTo>
                  <a:lnTo>
                    <a:pt x="163" y="320"/>
                  </a:lnTo>
                  <a:lnTo>
                    <a:pt x="158" y="312"/>
                  </a:lnTo>
                  <a:lnTo>
                    <a:pt x="169" y="292"/>
                  </a:lnTo>
                  <a:lnTo>
                    <a:pt x="166" y="266"/>
                  </a:lnTo>
                  <a:lnTo>
                    <a:pt x="184" y="250"/>
                  </a:lnTo>
                  <a:lnTo>
                    <a:pt x="157" y="254"/>
                  </a:lnTo>
                  <a:lnTo>
                    <a:pt x="151" y="285"/>
                  </a:lnTo>
                  <a:lnTo>
                    <a:pt x="134" y="271"/>
                  </a:lnTo>
                  <a:lnTo>
                    <a:pt x="140" y="309"/>
                  </a:lnTo>
                  <a:lnTo>
                    <a:pt x="122" y="327"/>
                  </a:lnTo>
                  <a:lnTo>
                    <a:pt x="112" y="326"/>
                  </a:lnTo>
                  <a:lnTo>
                    <a:pt x="108" y="296"/>
                  </a:lnTo>
                  <a:lnTo>
                    <a:pt x="90" y="304"/>
                  </a:lnTo>
                  <a:lnTo>
                    <a:pt x="90" y="330"/>
                  </a:lnTo>
                  <a:lnTo>
                    <a:pt x="63" y="314"/>
                  </a:lnTo>
                  <a:lnTo>
                    <a:pt x="67" y="305"/>
                  </a:lnTo>
                  <a:lnTo>
                    <a:pt x="61" y="289"/>
                  </a:lnTo>
                  <a:lnTo>
                    <a:pt x="46" y="304"/>
                  </a:lnTo>
                  <a:lnTo>
                    <a:pt x="0" y="281"/>
                  </a:lnTo>
                  <a:lnTo>
                    <a:pt x="19" y="243"/>
                  </a:lnTo>
                  <a:lnTo>
                    <a:pt x="68" y="243"/>
                  </a:lnTo>
                  <a:lnTo>
                    <a:pt x="110" y="203"/>
                  </a:lnTo>
                  <a:lnTo>
                    <a:pt x="48" y="233"/>
                  </a:lnTo>
                  <a:lnTo>
                    <a:pt x="18" y="229"/>
                  </a:lnTo>
                  <a:lnTo>
                    <a:pt x="18" y="211"/>
                  </a:lnTo>
                  <a:lnTo>
                    <a:pt x="27" y="192"/>
                  </a:lnTo>
                  <a:lnTo>
                    <a:pt x="37" y="176"/>
                  </a:lnTo>
                  <a:lnTo>
                    <a:pt x="48" y="154"/>
                  </a:lnTo>
                  <a:lnTo>
                    <a:pt x="40" y="140"/>
                  </a:lnTo>
                  <a:lnTo>
                    <a:pt x="48" y="124"/>
                  </a:lnTo>
                  <a:lnTo>
                    <a:pt x="74" y="101"/>
                  </a:lnTo>
                  <a:lnTo>
                    <a:pt x="90" y="69"/>
                  </a:lnTo>
                  <a:lnTo>
                    <a:pt x="116" y="62"/>
                  </a:lnTo>
                  <a:lnTo>
                    <a:pt x="150" y="75"/>
                  </a:lnTo>
                  <a:lnTo>
                    <a:pt x="147" y="97"/>
                  </a:lnTo>
                  <a:lnTo>
                    <a:pt x="151" y="115"/>
                  </a:lnTo>
                  <a:lnTo>
                    <a:pt x="203" y="106"/>
                  </a:lnTo>
                  <a:lnTo>
                    <a:pt x="220" y="120"/>
                  </a:lnTo>
                  <a:lnTo>
                    <a:pt x="252" y="165"/>
                  </a:lnTo>
                  <a:lnTo>
                    <a:pt x="235" y="184"/>
                  </a:lnTo>
                  <a:lnTo>
                    <a:pt x="263" y="178"/>
                  </a:lnTo>
                  <a:lnTo>
                    <a:pt x="269" y="196"/>
                  </a:lnTo>
                  <a:lnTo>
                    <a:pt x="263" y="201"/>
                  </a:lnTo>
                  <a:lnTo>
                    <a:pt x="275" y="233"/>
                  </a:lnTo>
                  <a:lnTo>
                    <a:pt x="375" y="235"/>
                  </a:lnTo>
                  <a:lnTo>
                    <a:pt x="378" y="204"/>
                  </a:lnTo>
                  <a:lnTo>
                    <a:pt x="334" y="172"/>
                  </a:lnTo>
                  <a:lnTo>
                    <a:pt x="362" y="149"/>
                  </a:lnTo>
                  <a:lnTo>
                    <a:pt x="353" y="119"/>
                  </a:lnTo>
                  <a:lnTo>
                    <a:pt x="316" y="94"/>
                  </a:lnTo>
                  <a:lnTo>
                    <a:pt x="311" y="73"/>
                  </a:lnTo>
                  <a:lnTo>
                    <a:pt x="329" y="65"/>
                  </a:lnTo>
                  <a:close/>
                </a:path>
              </a:pathLst>
            </a:custGeom>
            <a:grpFill/>
            <a:ln w="6350">
              <a:solidFill>
                <a:schemeClr val="tx2"/>
              </a:solidFill>
              <a:round/>
              <a:headEnd/>
              <a:tailEnd/>
            </a:ln>
          </p:spPr>
          <p:txBody>
            <a:bodyPr/>
            <a:lstStyle/>
            <a:p>
              <a:endParaRPr lang="en-US"/>
            </a:p>
          </p:txBody>
        </p:sp>
        <p:sp>
          <p:nvSpPr>
            <p:cNvPr id="107" name="Freeform 1176"/>
            <p:cNvSpPr>
              <a:spLocks/>
            </p:cNvSpPr>
            <p:nvPr/>
          </p:nvSpPr>
          <p:spPr bwMode="auto">
            <a:xfrm>
              <a:off x="1664503" y="2075611"/>
              <a:ext cx="39445" cy="51582"/>
            </a:xfrm>
            <a:custGeom>
              <a:avLst/>
              <a:gdLst>
                <a:gd name="T0" fmla="*/ 2147483647 w 77"/>
                <a:gd name="T1" fmla="*/ 2147483647 h 105"/>
                <a:gd name="T2" fmla="*/ 2147483647 w 77"/>
                <a:gd name="T3" fmla="*/ 0 h 105"/>
                <a:gd name="T4" fmla="*/ 2147483647 w 77"/>
                <a:gd name="T5" fmla="*/ 2147483647 h 105"/>
                <a:gd name="T6" fmla="*/ 2147483647 w 77"/>
                <a:gd name="T7" fmla="*/ 2147483647 h 105"/>
                <a:gd name="T8" fmla="*/ 0 w 77"/>
                <a:gd name="T9" fmla="*/ 2147483647 h 105"/>
                <a:gd name="T10" fmla="*/ 2147483647 w 77"/>
                <a:gd name="T11" fmla="*/ 2147483647 h 105"/>
                <a:gd name="T12" fmla="*/ 0 60000 65536"/>
                <a:gd name="T13" fmla="*/ 0 60000 65536"/>
                <a:gd name="T14" fmla="*/ 0 60000 65536"/>
                <a:gd name="T15" fmla="*/ 0 60000 65536"/>
                <a:gd name="T16" fmla="*/ 0 60000 65536"/>
                <a:gd name="T17" fmla="*/ 0 60000 65536"/>
                <a:gd name="T18" fmla="*/ 0 w 77"/>
                <a:gd name="T19" fmla="*/ 0 h 105"/>
                <a:gd name="T20" fmla="*/ 77 w 77"/>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7" h="105">
                  <a:moveTo>
                    <a:pt x="57" y="13"/>
                  </a:moveTo>
                  <a:lnTo>
                    <a:pt x="70" y="0"/>
                  </a:lnTo>
                  <a:lnTo>
                    <a:pt x="77" y="14"/>
                  </a:lnTo>
                  <a:lnTo>
                    <a:pt x="40" y="105"/>
                  </a:lnTo>
                  <a:lnTo>
                    <a:pt x="0" y="76"/>
                  </a:lnTo>
                  <a:lnTo>
                    <a:pt x="57" y="13"/>
                  </a:lnTo>
                  <a:close/>
                </a:path>
              </a:pathLst>
            </a:custGeom>
            <a:grpFill/>
            <a:ln w="6350">
              <a:solidFill>
                <a:schemeClr val="tx2"/>
              </a:solidFill>
              <a:round/>
              <a:headEnd/>
              <a:tailEnd/>
            </a:ln>
          </p:spPr>
          <p:txBody>
            <a:bodyPr/>
            <a:lstStyle/>
            <a:p>
              <a:endParaRPr lang="en-US"/>
            </a:p>
          </p:txBody>
        </p:sp>
        <p:sp>
          <p:nvSpPr>
            <p:cNvPr id="108" name="Freeform 1177"/>
            <p:cNvSpPr>
              <a:spLocks/>
            </p:cNvSpPr>
            <p:nvPr/>
          </p:nvSpPr>
          <p:spPr bwMode="auto">
            <a:xfrm>
              <a:off x="1588648" y="1940588"/>
              <a:ext cx="154745" cy="160814"/>
            </a:xfrm>
            <a:custGeom>
              <a:avLst/>
              <a:gdLst>
                <a:gd name="T0" fmla="*/ 2147483647 w 315"/>
                <a:gd name="T1" fmla="*/ 2147483647 h 322"/>
                <a:gd name="T2" fmla="*/ 2147483647 w 315"/>
                <a:gd name="T3" fmla="*/ 2147483647 h 322"/>
                <a:gd name="T4" fmla="*/ 2147483647 w 315"/>
                <a:gd name="T5" fmla="*/ 2147483647 h 322"/>
                <a:gd name="T6" fmla="*/ 2147483647 w 315"/>
                <a:gd name="T7" fmla="*/ 2147483647 h 322"/>
                <a:gd name="T8" fmla="*/ 2147483647 w 315"/>
                <a:gd name="T9" fmla="*/ 2147483647 h 322"/>
                <a:gd name="T10" fmla="*/ 2147483647 w 315"/>
                <a:gd name="T11" fmla="*/ 2147483647 h 322"/>
                <a:gd name="T12" fmla="*/ 2147483647 w 315"/>
                <a:gd name="T13" fmla="*/ 2147483647 h 322"/>
                <a:gd name="T14" fmla="*/ 2147483647 w 315"/>
                <a:gd name="T15" fmla="*/ 2147483647 h 322"/>
                <a:gd name="T16" fmla="*/ 2147483647 w 315"/>
                <a:gd name="T17" fmla="*/ 0 h 322"/>
                <a:gd name="T18" fmla="*/ 2147483647 w 315"/>
                <a:gd name="T19" fmla="*/ 2147483647 h 322"/>
                <a:gd name="T20" fmla="*/ 2147483647 w 315"/>
                <a:gd name="T21" fmla="*/ 2147483647 h 322"/>
                <a:gd name="T22" fmla="*/ 2147483647 w 315"/>
                <a:gd name="T23" fmla="*/ 2147483647 h 322"/>
                <a:gd name="T24" fmla="*/ 2147483647 w 315"/>
                <a:gd name="T25" fmla="*/ 2147483647 h 322"/>
                <a:gd name="T26" fmla="*/ 2147483647 w 315"/>
                <a:gd name="T27" fmla="*/ 2147483647 h 322"/>
                <a:gd name="T28" fmla="*/ 2147483647 w 315"/>
                <a:gd name="T29" fmla="*/ 2147483647 h 322"/>
                <a:gd name="T30" fmla="*/ 2147483647 w 315"/>
                <a:gd name="T31" fmla="*/ 2147483647 h 322"/>
                <a:gd name="T32" fmla="*/ 2147483647 w 315"/>
                <a:gd name="T33" fmla="*/ 2147483647 h 322"/>
                <a:gd name="T34" fmla="*/ 2147483647 w 315"/>
                <a:gd name="T35" fmla="*/ 2147483647 h 322"/>
                <a:gd name="T36" fmla="*/ 2147483647 w 315"/>
                <a:gd name="T37" fmla="*/ 2147483647 h 322"/>
                <a:gd name="T38" fmla="*/ 2147483647 w 315"/>
                <a:gd name="T39" fmla="*/ 2147483647 h 322"/>
                <a:gd name="T40" fmla="*/ 2147483647 w 315"/>
                <a:gd name="T41" fmla="*/ 2147483647 h 322"/>
                <a:gd name="T42" fmla="*/ 2147483647 w 315"/>
                <a:gd name="T43" fmla="*/ 2147483647 h 322"/>
                <a:gd name="T44" fmla="*/ 2147483647 w 315"/>
                <a:gd name="T45" fmla="*/ 2147483647 h 322"/>
                <a:gd name="T46" fmla="*/ 2147483647 w 315"/>
                <a:gd name="T47" fmla="*/ 2147483647 h 322"/>
                <a:gd name="T48" fmla="*/ 2147483647 w 315"/>
                <a:gd name="T49" fmla="*/ 2147483647 h 322"/>
                <a:gd name="T50" fmla="*/ 2147483647 w 315"/>
                <a:gd name="T51" fmla="*/ 2147483647 h 322"/>
                <a:gd name="T52" fmla="*/ 2147483647 w 315"/>
                <a:gd name="T53" fmla="*/ 2147483647 h 322"/>
                <a:gd name="T54" fmla="*/ 2147483647 w 315"/>
                <a:gd name="T55" fmla="*/ 2147483647 h 322"/>
                <a:gd name="T56" fmla="*/ 2147483647 w 315"/>
                <a:gd name="T57" fmla="*/ 2147483647 h 322"/>
                <a:gd name="T58" fmla="*/ 2147483647 w 315"/>
                <a:gd name="T59" fmla="*/ 2147483647 h 322"/>
                <a:gd name="T60" fmla="*/ 2147483647 w 315"/>
                <a:gd name="T61" fmla="*/ 2147483647 h 322"/>
                <a:gd name="T62" fmla="*/ 2147483647 w 315"/>
                <a:gd name="T63" fmla="*/ 2147483647 h 322"/>
                <a:gd name="T64" fmla="*/ 2147483647 w 315"/>
                <a:gd name="T65" fmla="*/ 2147483647 h 322"/>
                <a:gd name="T66" fmla="*/ 2147483647 w 315"/>
                <a:gd name="T67" fmla="*/ 2147483647 h 322"/>
                <a:gd name="T68" fmla="*/ 2147483647 w 315"/>
                <a:gd name="T69" fmla="*/ 2147483647 h 322"/>
                <a:gd name="T70" fmla="*/ 2147483647 w 315"/>
                <a:gd name="T71" fmla="*/ 2147483647 h 322"/>
                <a:gd name="T72" fmla="*/ 2147483647 w 315"/>
                <a:gd name="T73" fmla="*/ 2147483647 h 322"/>
                <a:gd name="T74" fmla="*/ 2147483647 w 315"/>
                <a:gd name="T75" fmla="*/ 2147483647 h 322"/>
                <a:gd name="T76" fmla="*/ 2147483647 w 315"/>
                <a:gd name="T77" fmla="*/ 2147483647 h 322"/>
                <a:gd name="T78" fmla="*/ 2147483647 w 315"/>
                <a:gd name="T79" fmla="*/ 2147483647 h 322"/>
                <a:gd name="T80" fmla="*/ 2147483647 w 315"/>
                <a:gd name="T81" fmla="*/ 2147483647 h 322"/>
                <a:gd name="T82" fmla="*/ 2147483647 w 315"/>
                <a:gd name="T83" fmla="*/ 2147483647 h 322"/>
                <a:gd name="T84" fmla="*/ 2147483647 w 315"/>
                <a:gd name="T85" fmla="*/ 2147483647 h 322"/>
                <a:gd name="T86" fmla="*/ 2147483647 w 315"/>
                <a:gd name="T87" fmla="*/ 2147483647 h 322"/>
                <a:gd name="T88" fmla="*/ 2147483647 w 315"/>
                <a:gd name="T89" fmla="*/ 2147483647 h 322"/>
                <a:gd name="T90" fmla="*/ 2147483647 w 315"/>
                <a:gd name="T91" fmla="*/ 2147483647 h 322"/>
                <a:gd name="T92" fmla="*/ 2147483647 w 315"/>
                <a:gd name="T93" fmla="*/ 2147483647 h 322"/>
                <a:gd name="T94" fmla="*/ 0 w 315"/>
                <a:gd name="T95" fmla="*/ 2147483647 h 322"/>
                <a:gd name="T96" fmla="*/ 2147483647 w 315"/>
                <a:gd name="T97" fmla="*/ 2147483647 h 322"/>
                <a:gd name="T98" fmla="*/ 2147483647 w 315"/>
                <a:gd name="T99" fmla="*/ 2147483647 h 322"/>
                <a:gd name="T100" fmla="*/ 2147483647 w 315"/>
                <a:gd name="T101" fmla="*/ 2147483647 h 322"/>
                <a:gd name="T102" fmla="*/ 2147483647 w 315"/>
                <a:gd name="T103" fmla="*/ 2147483647 h 322"/>
                <a:gd name="T104" fmla="*/ 2147483647 w 315"/>
                <a:gd name="T105" fmla="*/ 2147483647 h 322"/>
                <a:gd name="T106" fmla="*/ 2147483647 w 315"/>
                <a:gd name="T107" fmla="*/ 2147483647 h 3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15"/>
                <a:gd name="T163" fmla="*/ 0 h 322"/>
                <a:gd name="T164" fmla="*/ 315 w 315"/>
                <a:gd name="T165" fmla="*/ 322 h 3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15" h="322">
                  <a:moveTo>
                    <a:pt x="122" y="105"/>
                  </a:moveTo>
                  <a:lnTo>
                    <a:pt x="177" y="38"/>
                  </a:lnTo>
                  <a:lnTo>
                    <a:pt x="212" y="35"/>
                  </a:lnTo>
                  <a:lnTo>
                    <a:pt x="213" y="60"/>
                  </a:lnTo>
                  <a:lnTo>
                    <a:pt x="217" y="38"/>
                  </a:lnTo>
                  <a:lnTo>
                    <a:pt x="252" y="48"/>
                  </a:lnTo>
                  <a:lnTo>
                    <a:pt x="259" y="34"/>
                  </a:lnTo>
                  <a:lnTo>
                    <a:pt x="243" y="19"/>
                  </a:lnTo>
                  <a:lnTo>
                    <a:pt x="270" y="0"/>
                  </a:lnTo>
                  <a:lnTo>
                    <a:pt x="315" y="52"/>
                  </a:lnTo>
                  <a:lnTo>
                    <a:pt x="275" y="78"/>
                  </a:lnTo>
                  <a:lnTo>
                    <a:pt x="296" y="117"/>
                  </a:lnTo>
                  <a:lnTo>
                    <a:pt x="278" y="125"/>
                  </a:lnTo>
                  <a:lnTo>
                    <a:pt x="294" y="164"/>
                  </a:lnTo>
                  <a:lnTo>
                    <a:pt x="251" y="192"/>
                  </a:lnTo>
                  <a:lnTo>
                    <a:pt x="247" y="238"/>
                  </a:lnTo>
                  <a:lnTo>
                    <a:pt x="227" y="241"/>
                  </a:lnTo>
                  <a:lnTo>
                    <a:pt x="209" y="210"/>
                  </a:lnTo>
                  <a:lnTo>
                    <a:pt x="218" y="143"/>
                  </a:lnTo>
                  <a:lnTo>
                    <a:pt x="194" y="148"/>
                  </a:lnTo>
                  <a:lnTo>
                    <a:pt x="187" y="168"/>
                  </a:lnTo>
                  <a:lnTo>
                    <a:pt x="194" y="192"/>
                  </a:lnTo>
                  <a:lnTo>
                    <a:pt x="168" y="201"/>
                  </a:lnTo>
                  <a:lnTo>
                    <a:pt x="185" y="229"/>
                  </a:lnTo>
                  <a:lnTo>
                    <a:pt x="172" y="244"/>
                  </a:lnTo>
                  <a:lnTo>
                    <a:pt x="166" y="268"/>
                  </a:lnTo>
                  <a:lnTo>
                    <a:pt x="159" y="269"/>
                  </a:lnTo>
                  <a:lnTo>
                    <a:pt x="146" y="224"/>
                  </a:lnTo>
                  <a:lnTo>
                    <a:pt x="137" y="227"/>
                  </a:lnTo>
                  <a:lnTo>
                    <a:pt x="141" y="254"/>
                  </a:lnTo>
                  <a:lnTo>
                    <a:pt x="137" y="262"/>
                  </a:lnTo>
                  <a:lnTo>
                    <a:pt x="129" y="272"/>
                  </a:lnTo>
                  <a:lnTo>
                    <a:pt x="143" y="294"/>
                  </a:lnTo>
                  <a:lnTo>
                    <a:pt x="129" y="313"/>
                  </a:lnTo>
                  <a:lnTo>
                    <a:pt x="116" y="302"/>
                  </a:lnTo>
                  <a:lnTo>
                    <a:pt x="111" y="322"/>
                  </a:lnTo>
                  <a:lnTo>
                    <a:pt x="104" y="288"/>
                  </a:lnTo>
                  <a:lnTo>
                    <a:pt x="90" y="275"/>
                  </a:lnTo>
                  <a:lnTo>
                    <a:pt x="90" y="251"/>
                  </a:lnTo>
                  <a:lnTo>
                    <a:pt x="81" y="258"/>
                  </a:lnTo>
                  <a:lnTo>
                    <a:pt x="71" y="300"/>
                  </a:lnTo>
                  <a:lnTo>
                    <a:pt x="45" y="281"/>
                  </a:lnTo>
                  <a:lnTo>
                    <a:pt x="46" y="261"/>
                  </a:lnTo>
                  <a:lnTo>
                    <a:pt x="17" y="301"/>
                  </a:lnTo>
                  <a:lnTo>
                    <a:pt x="10" y="292"/>
                  </a:lnTo>
                  <a:lnTo>
                    <a:pt x="19" y="261"/>
                  </a:lnTo>
                  <a:lnTo>
                    <a:pt x="2" y="271"/>
                  </a:lnTo>
                  <a:lnTo>
                    <a:pt x="0" y="256"/>
                  </a:lnTo>
                  <a:lnTo>
                    <a:pt x="23" y="214"/>
                  </a:lnTo>
                  <a:lnTo>
                    <a:pt x="56" y="213"/>
                  </a:lnTo>
                  <a:lnTo>
                    <a:pt x="71" y="182"/>
                  </a:lnTo>
                  <a:lnTo>
                    <a:pt x="71" y="164"/>
                  </a:lnTo>
                  <a:lnTo>
                    <a:pt x="110" y="134"/>
                  </a:lnTo>
                  <a:lnTo>
                    <a:pt x="122" y="105"/>
                  </a:lnTo>
                  <a:close/>
                </a:path>
              </a:pathLst>
            </a:custGeom>
            <a:grpFill/>
            <a:ln w="6350">
              <a:solidFill>
                <a:schemeClr val="tx2"/>
              </a:solidFill>
              <a:round/>
              <a:headEnd/>
              <a:tailEnd/>
            </a:ln>
          </p:spPr>
          <p:txBody>
            <a:bodyPr/>
            <a:lstStyle/>
            <a:p>
              <a:endParaRPr lang="en-US"/>
            </a:p>
          </p:txBody>
        </p:sp>
        <p:sp>
          <p:nvSpPr>
            <p:cNvPr id="109" name="Freeform 1178"/>
            <p:cNvSpPr>
              <a:spLocks/>
            </p:cNvSpPr>
            <p:nvPr/>
          </p:nvSpPr>
          <p:spPr bwMode="auto">
            <a:xfrm>
              <a:off x="1758565" y="2004306"/>
              <a:ext cx="27308" cy="15172"/>
            </a:xfrm>
            <a:custGeom>
              <a:avLst/>
              <a:gdLst>
                <a:gd name="T0" fmla="*/ 2147483647 w 57"/>
                <a:gd name="T1" fmla="*/ 0 h 30"/>
                <a:gd name="T2" fmla="*/ 2147483647 w 57"/>
                <a:gd name="T3" fmla="*/ 2147483647 h 30"/>
                <a:gd name="T4" fmla="*/ 2147483647 w 57"/>
                <a:gd name="T5" fmla="*/ 2147483647 h 30"/>
                <a:gd name="T6" fmla="*/ 0 w 57"/>
                <a:gd name="T7" fmla="*/ 2147483647 h 30"/>
                <a:gd name="T8" fmla="*/ 2147483647 w 57"/>
                <a:gd name="T9" fmla="*/ 0 h 30"/>
                <a:gd name="T10" fmla="*/ 0 60000 65536"/>
                <a:gd name="T11" fmla="*/ 0 60000 65536"/>
                <a:gd name="T12" fmla="*/ 0 60000 65536"/>
                <a:gd name="T13" fmla="*/ 0 60000 65536"/>
                <a:gd name="T14" fmla="*/ 0 60000 65536"/>
                <a:gd name="T15" fmla="*/ 0 w 57"/>
                <a:gd name="T16" fmla="*/ 0 h 30"/>
                <a:gd name="T17" fmla="*/ 57 w 57"/>
                <a:gd name="T18" fmla="*/ 30 h 30"/>
              </a:gdLst>
              <a:ahLst/>
              <a:cxnLst>
                <a:cxn ang="T10">
                  <a:pos x="T0" y="T1"/>
                </a:cxn>
                <a:cxn ang="T11">
                  <a:pos x="T2" y="T3"/>
                </a:cxn>
                <a:cxn ang="T12">
                  <a:pos x="T4" y="T5"/>
                </a:cxn>
                <a:cxn ang="T13">
                  <a:pos x="T6" y="T7"/>
                </a:cxn>
                <a:cxn ang="T14">
                  <a:pos x="T8" y="T9"/>
                </a:cxn>
              </a:cxnLst>
              <a:rect l="T15" t="T16" r="T17" b="T18"/>
              <a:pathLst>
                <a:path w="57" h="30">
                  <a:moveTo>
                    <a:pt x="36" y="0"/>
                  </a:moveTo>
                  <a:lnTo>
                    <a:pt x="57" y="16"/>
                  </a:lnTo>
                  <a:lnTo>
                    <a:pt x="54" y="30"/>
                  </a:lnTo>
                  <a:lnTo>
                    <a:pt x="0" y="15"/>
                  </a:lnTo>
                  <a:lnTo>
                    <a:pt x="36" y="0"/>
                  </a:lnTo>
                  <a:close/>
                </a:path>
              </a:pathLst>
            </a:custGeom>
            <a:grpFill/>
            <a:ln w="6350">
              <a:solidFill>
                <a:schemeClr val="tx2"/>
              </a:solidFill>
              <a:round/>
              <a:headEnd/>
              <a:tailEnd/>
            </a:ln>
          </p:spPr>
          <p:txBody>
            <a:bodyPr/>
            <a:lstStyle/>
            <a:p>
              <a:endParaRPr lang="en-US"/>
            </a:p>
          </p:txBody>
        </p:sp>
        <p:sp>
          <p:nvSpPr>
            <p:cNvPr id="110" name="Freeform 1179"/>
            <p:cNvSpPr>
              <a:spLocks/>
            </p:cNvSpPr>
            <p:nvPr/>
          </p:nvSpPr>
          <p:spPr bwMode="auto">
            <a:xfrm>
              <a:off x="1791941" y="1885971"/>
              <a:ext cx="75856" cy="75856"/>
            </a:xfrm>
            <a:custGeom>
              <a:avLst/>
              <a:gdLst>
                <a:gd name="T0" fmla="*/ 2147483647 w 157"/>
                <a:gd name="T1" fmla="*/ 2147483647 h 153"/>
                <a:gd name="T2" fmla="*/ 2147483647 w 157"/>
                <a:gd name="T3" fmla="*/ 0 h 153"/>
                <a:gd name="T4" fmla="*/ 2147483647 w 157"/>
                <a:gd name="T5" fmla="*/ 2147483647 h 153"/>
                <a:gd name="T6" fmla="*/ 2147483647 w 157"/>
                <a:gd name="T7" fmla="*/ 2147483647 h 153"/>
                <a:gd name="T8" fmla="*/ 2147483647 w 157"/>
                <a:gd name="T9" fmla="*/ 2147483647 h 153"/>
                <a:gd name="T10" fmla="*/ 2147483647 w 157"/>
                <a:gd name="T11" fmla="*/ 2147483647 h 153"/>
                <a:gd name="T12" fmla="*/ 2147483647 w 157"/>
                <a:gd name="T13" fmla="*/ 2147483647 h 153"/>
                <a:gd name="T14" fmla="*/ 2147483647 w 157"/>
                <a:gd name="T15" fmla="*/ 2147483647 h 153"/>
                <a:gd name="T16" fmla="*/ 2147483647 w 157"/>
                <a:gd name="T17" fmla="*/ 2147483647 h 153"/>
                <a:gd name="T18" fmla="*/ 2147483647 w 157"/>
                <a:gd name="T19" fmla="*/ 2147483647 h 153"/>
                <a:gd name="T20" fmla="*/ 2147483647 w 157"/>
                <a:gd name="T21" fmla="*/ 2147483647 h 153"/>
                <a:gd name="T22" fmla="*/ 2147483647 w 157"/>
                <a:gd name="T23" fmla="*/ 2147483647 h 153"/>
                <a:gd name="T24" fmla="*/ 2147483647 w 157"/>
                <a:gd name="T25" fmla="*/ 2147483647 h 153"/>
                <a:gd name="T26" fmla="*/ 0 w 157"/>
                <a:gd name="T27" fmla="*/ 2147483647 h 153"/>
                <a:gd name="T28" fmla="*/ 2147483647 w 157"/>
                <a:gd name="T29" fmla="*/ 2147483647 h 153"/>
                <a:gd name="T30" fmla="*/ 2147483647 w 157"/>
                <a:gd name="T31" fmla="*/ 2147483647 h 1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153"/>
                <a:gd name="T50" fmla="*/ 157 w 157"/>
                <a:gd name="T51" fmla="*/ 153 h 1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153">
                  <a:moveTo>
                    <a:pt x="60" y="14"/>
                  </a:moveTo>
                  <a:lnTo>
                    <a:pt x="135" y="0"/>
                  </a:lnTo>
                  <a:lnTo>
                    <a:pt x="157" y="15"/>
                  </a:lnTo>
                  <a:lnTo>
                    <a:pt x="152" y="35"/>
                  </a:lnTo>
                  <a:lnTo>
                    <a:pt x="81" y="64"/>
                  </a:lnTo>
                  <a:lnTo>
                    <a:pt x="90" y="69"/>
                  </a:lnTo>
                  <a:lnTo>
                    <a:pt x="87" y="82"/>
                  </a:lnTo>
                  <a:lnTo>
                    <a:pt x="135" y="68"/>
                  </a:lnTo>
                  <a:lnTo>
                    <a:pt x="138" y="90"/>
                  </a:lnTo>
                  <a:lnTo>
                    <a:pt x="131" y="123"/>
                  </a:lnTo>
                  <a:lnTo>
                    <a:pt x="50" y="153"/>
                  </a:lnTo>
                  <a:lnTo>
                    <a:pt x="5" y="116"/>
                  </a:lnTo>
                  <a:lnTo>
                    <a:pt x="7" y="100"/>
                  </a:lnTo>
                  <a:lnTo>
                    <a:pt x="0" y="65"/>
                  </a:lnTo>
                  <a:lnTo>
                    <a:pt x="5" y="44"/>
                  </a:lnTo>
                  <a:lnTo>
                    <a:pt x="60" y="14"/>
                  </a:lnTo>
                  <a:close/>
                </a:path>
              </a:pathLst>
            </a:custGeom>
            <a:grpFill/>
            <a:ln w="6350">
              <a:solidFill>
                <a:schemeClr val="tx2"/>
              </a:solidFill>
              <a:round/>
              <a:headEnd/>
              <a:tailEnd/>
            </a:ln>
          </p:spPr>
          <p:txBody>
            <a:bodyPr/>
            <a:lstStyle/>
            <a:p>
              <a:endParaRPr lang="en-US"/>
            </a:p>
          </p:txBody>
        </p:sp>
        <p:sp>
          <p:nvSpPr>
            <p:cNvPr id="111" name="Freeform 1180"/>
            <p:cNvSpPr>
              <a:spLocks/>
            </p:cNvSpPr>
            <p:nvPr/>
          </p:nvSpPr>
          <p:spPr bwMode="auto">
            <a:xfrm>
              <a:off x="1757047" y="1517314"/>
              <a:ext cx="28826" cy="34894"/>
            </a:xfrm>
            <a:custGeom>
              <a:avLst/>
              <a:gdLst>
                <a:gd name="T0" fmla="*/ 0 w 56"/>
                <a:gd name="T1" fmla="*/ 2147483647 h 72"/>
                <a:gd name="T2" fmla="*/ 2147483647 w 56"/>
                <a:gd name="T3" fmla="*/ 0 h 72"/>
                <a:gd name="T4" fmla="*/ 2147483647 w 56"/>
                <a:gd name="T5" fmla="*/ 2147483647 h 72"/>
                <a:gd name="T6" fmla="*/ 2147483647 w 56"/>
                <a:gd name="T7" fmla="*/ 2147483647 h 72"/>
                <a:gd name="T8" fmla="*/ 0 w 56"/>
                <a:gd name="T9" fmla="*/ 2147483647 h 72"/>
                <a:gd name="T10" fmla="*/ 0 60000 65536"/>
                <a:gd name="T11" fmla="*/ 0 60000 65536"/>
                <a:gd name="T12" fmla="*/ 0 60000 65536"/>
                <a:gd name="T13" fmla="*/ 0 60000 65536"/>
                <a:gd name="T14" fmla="*/ 0 60000 65536"/>
                <a:gd name="T15" fmla="*/ 0 w 56"/>
                <a:gd name="T16" fmla="*/ 0 h 72"/>
                <a:gd name="T17" fmla="*/ 56 w 56"/>
                <a:gd name="T18" fmla="*/ 72 h 72"/>
              </a:gdLst>
              <a:ahLst/>
              <a:cxnLst>
                <a:cxn ang="T10">
                  <a:pos x="T0" y="T1"/>
                </a:cxn>
                <a:cxn ang="T11">
                  <a:pos x="T2" y="T3"/>
                </a:cxn>
                <a:cxn ang="T12">
                  <a:pos x="T4" y="T5"/>
                </a:cxn>
                <a:cxn ang="T13">
                  <a:pos x="T6" y="T7"/>
                </a:cxn>
                <a:cxn ang="T14">
                  <a:pos x="T8" y="T9"/>
                </a:cxn>
              </a:cxnLst>
              <a:rect l="T15" t="T16" r="T17" b="T18"/>
              <a:pathLst>
                <a:path w="56" h="72">
                  <a:moveTo>
                    <a:pt x="0" y="21"/>
                  </a:moveTo>
                  <a:lnTo>
                    <a:pt x="23" y="0"/>
                  </a:lnTo>
                  <a:lnTo>
                    <a:pt x="56" y="54"/>
                  </a:lnTo>
                  <a:lnTo>
                    <a:pt x="31" y="72"/>
                  </a:lnTo>
                  <a:lnTo>
                    <a:pt x="0" y="21"/>
                  </a:lnTo>
                  <a:close/>
                </a:path>
              </a:pathLst>
            </a:custGeom>
            <a:grpFill/>
            <a:ln w="6350">
              <a:solidFill>
                <a:schemeClr val="tx2"/>
              </a:solidFill>
              <a:round/>
              <a:headEnd/>
              <a:tailEnd/>
            </a:ln>
          </p:spPr>
          <p:txBody>
            <a:bodyPr/>
            <a:lstStyle/>
            <a:p>
              <a:endParaRPr lang="en-US"/>
            </a:p>
          </p:txBody>
        </p:sp>
        <p:sp>
          <p:nvSpPr>
            <p:cNvPr id="112" name="Freeform 1182"/>
            <p:cNvSpPr>
              <a:spLocks/>
            </p:cNvSpPr>
            <p:nvPr/>
          </p:nvSpPr>
          <p:spPr bwMode="auto">
            <a:xfrm>
              <a:off x="2089295" y="1661439"/>
              <a:ext cx="27308" cy="56134"/>
            </a:xfrm>
            <a:custGeom>
              <a:avLst/>
              <a:gdLst>
                <a:gd name="T0" fmla="*/ 2147483647 w 56"/>
                <a:gd name="T1" fmla="*/ 0 h 112"/>
                <a:gd name="T2" fmla="*/ 2147483647 w 56"/>
                <a:gd name="T3" fmla="*/ 2147483647 h 112"/>
                <a:gd name="T4" fmla="*/ 2147483647 w 56"/>
                <a:gd name="T5" fmla="*/ 2147483647 h 112"/>
                <a:gd name="T6" fmla="*/ 2147483647 w 56"/>
                <a:gd name="T7" fmla="*/ 2147483647 h 112"/>
                <a:gd name="T8" fmla="*/ 2147483647 w 56"/>
                <a:gd name="T9" fmla="*/ 2147483647 h 112"/>
                <a:gd name="T10" fmla="*/ 0 w 56"/>
                <a:gd name="T11" fmla="*/ 2147483647 h 112"/>
                <a:gd name="T12" fmla="*/ 2147483647 w 56"/>
                <a:gd name="T13" fmla="*/ 2147483647 h 112"/>
                <a:gd name="T14" fmla="*/ 2147483647 w 56"/>
                <a:gd name="T15" fmla="*/ 0 h 112"/>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112"/>
                <a:gd name="T26" fmla="*/ 56 w 56"/>
                <a:gd name="T27" fmla="*/ 112 h 1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112">
                  <a:moveTo>
                    <a:pt x="19" y="0"/>
                  </a:moveTo>
                  <a:lnTo>
                    <a:pt x="52" y="12"/>
                  </a:lnTo>
                  <a:lnTo>
                    <a:pt x="56" y="72"/>
                  </a:lnTo>
                  <a:lnTo>
                    <a:pt x="48" y="112"/>
                  </a:lnTo>
                  <a:lnTo>
                    <a:pt x="22" y="60"/>
                  </a:lnTo>
                  <a:lnTo>
                    <a:pt x="0" y="59"/>
                  </a:lnTo>
                  <a:lnTo>
                    <a:pt x="3" y="19"/>
                  </a:lnTo>
                  <a:lnTo>
                    <a:pt x="19" y="0"/>
                  </a:lnTo>
                  <a:close/>
                </a:path>
              </a:pathLst>
            </a:custGeom>
            <a:grpFill/>
            <a:ln w="6350">
              <a:solidFill>
                <a:schemeClr val="tx2"/>
              </a:solidFill>
              <a:round/>
              <a:headEnd/>
              <a:tailEnd/>
            </a:ln>
          </p:spPr>
          <p:txBody>
            <a:bodyPr/>
            <a:lstStyle/>
            <a:p>
              <a:endParaRPr lang="en-US"/>
            </a:p>
          </p:txBody>
        </p:sp>
        <p:sp>
          <p:nvSpPr>
            <p:cNvPr id="113" name="Freeform 1183"/>
            <p:cNvSpPr>
              <a:spLocks/>
            </p:cNvSpPr>
            <p:nvPr/>
          </p:nvSpPr>
          <p:spPr bwMode="auto">
            <a:xfrm>
              <a:off x="2159082" y="1497591"/>
              <a:ext cx="239704" cy="391415"/>
            </a:xfrm>
            <a:custGeom>
              <a:avLst/>
              <a:gdLst>
                <a:gd name="T0" fmla="*/ 2147483647 w 482"/>
                <a:gd name="T1" fmla="*/ 2147483647 h 786"/>
                <a:gd name="T2" fmla="*/ 2147483647 w 482"/>
                <a:gd name="T3" fmla="*/ 2147483647 h 786"/>
                <a:gd name="T4" fmla="*/ 2147483647 w 482"/>
                <a:gd name="T5" fmla="*/ 2147483647 h 786"/>
                <a:gd name="T6" fmla="*/ 2147483647 w 482"/>
                <a:gd name="T7" fmla="*/ 2147483647 h 786"/>
                <a:gd name="T8" fmla="*/ 2147483647 w 482"/>
                <a:gd name="T9" fmla="*/ 2147483647 h 786"/>
                <a:gd name="T10" fmla="*/ 2147483647 w 482"/>
                <a:gd name="T11" fmla="*/ 2147483647 h 786"/>
                <a:gd name="T12" fmla="*/ 2147483647 w 482"/>
                <a:gd name="T13" fmla="*/ 0 h 786"/>
                <a:gd name="T14" fmla="*/ 2147483647 w 482"/>
                <a:gd name="T15" fmla="*/ 2147483647 h 786"/>
                <a:gd name="T16" fmla="*/ 2147483647 w 482"/>
                <a:gd name="T17" fmla="*/ 2147483647 h 786"/>
                <a:gd name="T18" fmla="*/ 2147483647 w 482"/>
                <a:gd name="T19" fmla="*/ 2147483647 h 786"/>
                <a:gd name="T20" fmla="*/ 2147483647 w 482"/>
                <a:gd name="T21" fmla="*/ 2147483647 h 786"/>
                <a:gd name="T22" fmla="*/ 2147483647 w 482"/>
                <a:gd name="T23" fmla="*/ 2147483647 h 786"/>
                <a:gd name="T24" fmla="*/ 2147483647 w 482"/>
                <a:gd name="T25" fmla="*/ 2147483647 h 786"/>
                <a:gd name="T26" fmla="*/ 2147483647 w 482"/>
                <a:gd name="T27" fmla="*/ 2147483647 h 786"/>
                <a:gd name="T28" fmla="*/ 2147483647 w 482"/>
                <a:gd name="T29" fmla="*/ 2147483647 h 786"/>
                <a:gd name="T30" fmla="*/ 2147483647 w 482"/>
                <a:gd name="T31" fmla="*/ 2147483647 h 786"/>
                <a:gd name="T32" fmla="*/ 2147483647 w 482"/>
                <a:gd name="T33" fmla="*/ 2147483647 h 786"/>
                <a:gd name="T34" fmla="*/ 2147483647 w 482"/>
                <a:gd name="T35" fmla="*/ 2147483647 h 786"/>
                <a:gd name="T36" fmla="*/ 2147483647 w 482"/>
                <a:gd name="T37" fmla="*/ 2147483647 h 786"/>
                <a:gd name="T38" fmla="*/ 2147483647 w 482"/>
                <a:gd name="T39" fmla="*/ 2147483647 h 786"/>
                <a:gd name="T40" fmla="*/ 2147483647 w 482"/>
                <a:gd name="T41" fmla="*/ 2147483647 h 786"/>
                <a:gd name="T42" fmla="*/ 2147483647 w 482"/>
                <a:gd name="T43" fmla="*/ 2147483647 h 786"/>
                <a:gd name="T44" fmla="*/ 2147483647 w 482"/>
                <a:gd name="T45" fmla="*/ 2147483647 h 786"/>
                <a:gd name="T46" fmla="*/ 2147483647 w 482"/>
                <a:gd name="T47" fmla="*/ 2147483647 h 786"/>
                <a:gd name="T48" fmla="*/ 2147483647 w 482"/>
                <a:gd name="T49" fmla="*/ 2147483647 h 786"/>
                <a:gd name="T50" fmla="*/ 2147483647 w 482"/>
                <a:gd name="T51" fmla="*/ 2147483647 h 786"/>
                <a:gd name="T52" fmla="*/ 2147483647 w 482"/>
                <a:gd name="T53" fmla="*/ 2147483647 h 786"/>
                <a:gd name="T54" fmla="*/ 2147483647 w 482"/>
                <a:gd name="T55" fmla="*/ 2147483647 h 786"/>
                <a:gd name="T56" fmla="*/ 2147483647 w 482"/>
                <a:gd name="T57" fmla="*/ 2147483647 h 786"/>
                <a:gd name="T58" fmla="*/ 2147483647 w 482"/>
                <a:gd name="T59" fmla="*/ 2147483647 h 786"/>
                <a:gd name="T60" fmla="*/ 2147483647 w 482"/>
                <a:gd name="T61" fmla="*/ 2147483647 h 786"/>
                <a:gd name="T62" fmla="*/ 2147483647 w 482"/>
                <a:gd name="T63" fmla="*/ 2147483647 h 786"/>
                <a:gd name="T64" fmla="*/ 2147483647 w 482"/>
                <a:gd name="T65" fmla="*/ 2147483647 h 786"/>
                <a:gd name="T66" fmla="*/ 2147483647 w 482"/>
                <a:gd name="T67" fmla="*/ 2147483647 h 786"/>
                <a:gd name="T68" fmla="*/ 2147483647 w 482"/>
                <a:gd name="T69" fmla="*/ 2147483647 h 786"/>
                <a:gd name="T70" fmla="*/ 2147483647 w 482"/>
                <a:gd name="T71" fmla="*/ 2147483647 h 786"/>
                <a:gd name="T72" fmla="*/ 2147483647 w 482"/>
                <a:gd name="T73" fmla="*/ 2147483647 h 786"/>
                <a:gd name="T74" fmla="*/ 2147483647 w 482"/>
                <a:gd name="T75" fmla="*/ 2147483647 h 786"/>
                <a:gd name="T76" fmla="*/ 2147483647 w 482"/>
                <a:gd name="T77" fmla="*/ 2147483647 h 786"/>
                <a:gd name="T78" fmla="*/ 2147483647 w 482"/>
                <a:gd name="T79" fmla="*/ 2147483647 h 786"/>
                <a:gd name="T80" fmla="*/ 2147483647 w 482"/>
                <a:gd name="T81" fmla="*/ 2147483647 h 786"/>
                <a:gd name="T82" fmla="*/ 2147483647 w 482"/>
                <a:gd name="T83" fmla="*/ 2147483647 h 786"/>
                <a:gd name="T84" fmla="*/ 2147483647 w 482"/>
                <a:gd name="T85" fmla="*/ 2147483647 h 786"/>
                <a:gd name="T86" fmla="*/ 2147483647 w 482"/>
                <a:gd name="T87" fmla="*/ 2147483647 h 786"/>
                <a:gd name="T88" fmla="*/ 2147483647 w 482"/>
                <a:gd name="T89" fmla="*/ 2147483647 h 786"/>
                <a:gd name="T90" fmla="*/ 2147483647 w 482"/>
                <a:gd name="T91" fmla="*/ 2147483647 h 786"/>
                <a:gd name="T92" fmla="*/ 2147483647 w 482"/>
                <a:gd name="T93" fmla="*/ 2147483647 h 786"/>
                <a:gd name="T94" fmla="*/ 2147483647 w 482"/>
                <a:gd name="T95" fmla="*/ 2147483647 h 786"/>
                <a:gd name="T96" fmla="*/ 2147483647 w 482"/>
                <a:gd name="T97" fmla="*/ 2147483647 h 786"/>
                <a:gd name="T98" fmla="*/ 2147483647 w 482"/>
                <a:gd name="T99" fmla="*/ 2147483647 h 786"/>
                <a:gd name="T100" fmla="*/ 2147483647 w 482"/>
                <a:gd name="T101" fmla="*/ 2147483647 h 786"/>
                <a:gd name="T102" fmla="*/ 2147483647 w 482"/>
                <a:gd name="T103" fmla="*/ 2147483647 h 786"/>
                <a:gd name="T104" fmla="*/ 2147483647 w 482"/>
                <a:gd name="T105" fmla="*/ 2147483647 h 786"/>
                <a:gd name="T106" fmla="*/ 0 w 482"/>
                <a:gd name="T107" fmla="*/ 2147483647 h 786"/>
                <a:gd name="T108" fmla="*/ 2147483647 w 482"/>
                <a:gd name="T109" fmla="*/ 2147483647 h 786"/>
                <a:gd name="T110" fmla="*/ 2147483647 w 482"/>
                <a:gd name="T111" fmla="*/ 2147483647 h 786"/>
                <a:gd name="T112" fmla="*/ 2147483647 w 482"/>
                <a:gd name="T113" fmla="*/ 2147483647 h 7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2"/>
                <a:gd name="T172" fmla="*/ 0 h 786"/>
                <a:gd name="T173" fmla="*/ 482 w 482"/>
                <a:gd name="T174" fmla="*/ 786 h 7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2" h="786">
                  <a:moveTo>
                    <a:pt x="46" y="201"/>
                  </a:moveTo>
                  <a:lnTo>
                    <a:pt x="115" y="218"/>
                  </a:lnTo>
                  <a:lnTo>
                    <a:pt x="87" y="183"/>
                  </a:lnTo>
                  <a:lnTo>
                    <a:pt x="60" y="152"/>
                  </a:lnTo>
                  <a:lnTo>
                    <a:pt x="58" y="139"/>
                  </a:lnTo>
                  <a:lnTo>
                    <a:pt x="66" y="127"/>
                  </a:lnTo>
                  <a:lnTo>
                    <a:pt x="58" y="106"/>
                  </a:lnTo>
                  <a:lnTo>
                    <a:pt x="73" y="85"/>
                  </a:lnTo>
                  <a:lnTo>
                    <a:pt x="95" y="107"/>
                  </a:lnTo>
                  <a:lnTo>
                    <a:pt x="99" y="71"/>
                  </a:lnTo>
                  <a:lnTo>
                    <a:pt x="157" y="54"/>
                  </a:lnTo>
                  <a:lnTo>
                    <a:pt x="84" y="40"/>
                  </a:lnTo>
                  <a:lnTo>
                    <a:pt x="73" y="11"/>
                  </a:lnTo>
                  <a:lnTo>
                    <a:pt x="77" y="0"/>
                  </a:lnTo>
                  <a:lnTo>
                    <a:pt x="174" y="17"/>
                  </a:lnTo>
                  <a:lnTo>
                    <a:pt x="204" y="59"/>
                  </a:lnTo>
                  <a:lnTo>
                    <a:pt x="203" y="84"/>
                  </a:lnTo>
                  <a:lnTo>
                    <a:pt x="246" y="197"/>
                  </a:lnTo>
                  <a:lnTo>
                    <a:pt x="240" y="223"/>
                  </a:lnTo>
                  <a:lnTo>
                    <a:pt x="251" y="205"/>
                  </a:lnTo>
                  <a:lnTo>
                    <a:pt x="311" y="226"/>
                  </a:lnTo>
                  <a:lnTo>
                    <a:pt x="317" y="247"/>
                  </a:lnTo>
                  <a:lnTo>
                    <a:pt x="309" y="255"/>
                  </a:lnTo>
                  <a:lnTo>
                    <a:pt x="316" y="271"/>
                  </a:lnTo>
                  <a:lnTo>
                    <a:pt x="313" y="302"/>
                  </a:lnTo>
                  <a:lnTo>
                    <a:pt x="332" y="332"/>
                  </a:lnTo>
                  <a:lnTo>
                    <a:pt x="351" y="324"/>
                  </a:lnTo>
                  <a:lnTo>
                    <a:pt x="333" y="286"/>
                  </a:lnTo>
                  <a:lnTo>
                    <a:pt x="339" y="247"/>
                  </a:lnTo>
                  <a:lnTo>
                    <a:pt x="374" y="261"/>
                  </a:lnTo>
                  <a:lnTo>
                    <a:pt x="377" y="308"/>
                  </a:lnTo>
                  <a:lnTo>
                    <a:pt x="357" y="330"/>
                  </a:lnTo>
                  <a:lnTo>
                    <a:pt x="389" y="337"/>
                  </a:lnTo>
                  <a:lnTo>
                    <a:pt x="395" y="363"/>
                  </a:lnTo>
                  <a:lnTo>
                    <a:pt x="399" y="375"/>
                  </a:lnTo>
                  <a:lnTo>
                    <a:pt x="372" y="450"/>
                  </a:lnTo>
                  <a:lnTo>
                    <a:pt x="407" y="424"/>
                  </a:lnTo>
                  <a:lnTo>
                    <a:pt x="430" y="452"/>
                  </a:lnTo>
                  <a:lnTo>
                    <a:pt x="433" y="476"/>
                  </a:lnTo>
                  <a:lnTo>
                    <a:pt x="449" y="446"/>
                  </a:lnTo>
                  <a:lnTo>
                    <a:pt x="482" y="509"/>
                  </a:lnTo>
                  <a:lnTo>
                    <a:pt x="481" y="530"/>
                  </a:lnTo>
                  <a:lnTo>
                    <a:pt x="411" y="579"/>
                  </a:lnTo>
                  <a:lnTo>
                    <a:pt x="412" y="592"/>
                  </a:lnTo>
                  <a:lnTo>
                    <a:pt x="400" y="607"/>
                  </a:lnTo>
                  <a:lnTo>
                    <a:pt x="391" y="578"/>
                  </a:lnTo>
                  <a:lnTo>
                    <a:pt x="393" y="619"/>
                  </a:lnTo>
                  <a:lnTo>
                    <a:pt x="366" y="668"/>
                  </a:lnTo>
                  <a:lnTo>
                    <a:pt x="353" y="648"/>
                  </a:lnTo>
                  <a:lnTo>
                    <a:pt x="348" y="573"/>
                  </a:lnTo>
                  <a:lnTo>
                    <a:pt x="338" y="632"/>
                  </a:lnTo>
                  <a:lnTo>
                    <a:pt x="342" y="668"/>
                  </a:lnTo>
                  <a:lnTo>
                    <a:pt x="352" y="689"/>
                  </a:lnTo>
                  <a:lnTo>
                    <a:pt x="351" y="711"/>
                  </a:lnTo>
                  <a:lnTo>
                    <a:pt x="322" y="675"/>
                  </a:lnTo>
                  <a:lnTo>
                    <a:pt x="320" y="704"/>
                  </a:lnTo>
                  <a:lnTo>
                    <a:pt x="333" y="728"/>
                  </a:lnTo>
                  <a:lnTo>
                    <a:pt x="324" y="777"/>
                  </a:lnTo>
                  <a:lnTo>
                    <a:pt x="266" y="682"/>
                  </a:lnTo>
                  <a:lnTo>
                    <a:pt x="262" y="700"/>
                  </a:lnTo>
                  <a:lnTo>
                    <a:pt x="295" y="782"/>
                  </a:lnTo>
                  <a:lnTo>
                    <a:pt x="265" y="749"/>
                  </a:lnTo>
                  <a:lnTo>
                    <a:pt x="244" y="750"/>
                  </a:lnTo>
                  <a:lnTo>
                    <a:pt x="263" y="767"/>
                  </a:lnTo>
                  <a:lnTo>
                    <a:pt x="264" y="786"/>
                  </a:lnTo>
                  <a:lnTo>
                    <a:pt x="185" y="770"/>
                  </a:lnTo>
                  <a:lnTo>
                    <a:pt x="174" y="752"/>
                  </a:lnTo>
                  <a:lnTo>
                    <a:pt x="178" y="741"/>
                  </a:lnTo>
                  <a:lnTo>
                    <a:pt x="165" y="745"/>
                  </a:lnTo>
                  <a:lnTo>
                    <a:pt x="149" y="708"/>
                  </a:lnTo>
                  <a:lnTo>
                    <a:pt x="200" y="697"/>
                  </a:lnTo>
                  <a:lnTo>
                    <a:pt x="144" y="683"/>
                  </a:lnTo>
                  <a:lnTo>
                    <a:pt x="128" y="646"/>
                  </a:lnTo>
                  <a:lnTo>
                    <a:pt x="123" y="631"/>
                  </a:lnTo>
                  <a:lnTo>
                    <a:pt x="108" y="594"/>
                  </a:lnTo>
                  <a:lnTo>
                    <a:pt x="145" y="558"/>
                  </a:lnTo>
                  <a:lnTo>
                    <a:pt x="187" y="541"/>
                  </a:lnTo>
                  <a:lnTo>
                    <a:pt x="173" y="525"/>
                  </a:lnTo>
                  <a:lnTo>
                    <a:pt x="190" y="513"/>
                  </a:lnTo>
                  <a:lnTo>
                    <a:pt x="178" y="506"/>
                  </a:lnTo>
                  <a:lnTo>
                    <a:pt x="180" y="493"/>
                  </a:lnTo>
                  <a:lnTo>
                    <a:pt x="146" y="515"/>
                  </a:lnTo>
                  <a:lnTo>
                    <a:pt x="143" y="512"/>
                  </a:lnTo>
                  <a:lnTo>
                    <a:pt x="147" y="484"/>
                  </a:lnTo>
                  <a:lnTo>
                    <a:pt x="124" y="533"/>
                  </a:lnTo>
                  <a:lnTo>
                    <a:pt x="109" y="526"/>
                  </a:lnTo>
                  <a:lnTo>
                    <a:pt x="122" y="500"/>
                  </a:lnTo>
                  <a:lnTo>
                    <a:pt x="100" y="494"/>
                  </a:lnTo>
                  <a:lnTo>
                    <a:pt x="75" y="533"/>
                  </a:lnTo>
                  <a:lnTo>
                    <a:pt x="65" y="499"/>
                  </a:lnTo>
                  <a:lnTo>
                    <a:pt x="38" y="490"/>
                  </a:lnTo>
                  <a:lnTo>
                    <a:pt x="44" y="464"/>
                  </a:lnTo>
                  <a:lnTo>
                    <a:pt x="90" y="461"/>
                  </a:lnTo>
                  <a:lnTo>
                    <a:pt x="108" y="432"/>
                  </a:lnTo>
                  <a:lnTo>
                    <a:pt x="92" y="449"/>
                  </a:lnTo>
                  <a:lnTo>
                    <a:pt x="35" y="431"/>
                  </a:lnTo>
                  <a:lnTo>
                    <a:pt x="9" y="382"/>
                  </a:lnTo>
                  <a:lnTo>
                    <a:pt x="8" y="356"/>
                  </a:lnTo>
                  <a:lnTo>
                    <a:pt x="8" y="341"/>
                  </a:lnTo>
                  <a:lnTo>
                    <a:pt x="2" y="316"/>
                  </a:lnTo>
                  <a:lnTo>
                    <a:pt x="96" y="362"/>
                  </a:lnTo>
                  <a:lnTo>
                    <a:pt x="86" y="333"/>
                  </a:lnTo>
                  <a:lnTo>
                    <a:pt x="116" y="317"/>
                  </a:lnTo>
                  <a:lnTo>
                    <a:pt x="91" y="302"/>
                  </a:lnTo>
                  <a:lnTo>
                    <a:pt x="64" y="331"/>
                  </a:lnTo>
                  <a:lnTo>
                    <a:pt x="41" y="311"/>
                  </a:lnTo>
                  <a:lnTo>
                    <a:pt x="9" y="288"/>
                  </a:lnTo>
                  <a:lnTo>
                    <a:pt x="0" y="263"/>
                  </a:lnTo>
                  <a:lnTo>
                    <a:pt x="8" y="257"/>
                  </a:lnTo>
                  <a:lnTo>
                    <a:pt x="62" y="262"/>
                  </a:lnTo>
                  <a:lnTo>
                    <a:pt x="21" y="234"/>
                  </a:lnTo>
                  <a:lnTo>
                    <a:pt x="25" y="227"/>
                  </a:lnTo>
                  <a:lnTo>
                    <a:pt x="23" y="204"/>
                  </a:lnTo>
                  <a:lnTo>
                    <a:pt x="46" y="201"/>
                  </a:lnTo>
                  <a:close/>
                </a:path>
              </a:pathLst>
            </a:custGeom>
            <a:grpFill/>
            <a:ln w="6350">
              <a:solidFill>
                <a:schemeClr val="tx2"/>
              </a:solidFill>
              <a:round/>
              <a:headEnd/>
              <a:tailEnd/>
            </a:ln>
          </p:spPr>
          <p:txBody>
            <a:bodyPr/>
            <a:lstStyle/>
            <a:p>
              <a:endParaRPr lang="en-US"/>
            </a:p>
          </p:txBody>
        </p:sp>
        <p:sp>
          <p:nvSpPr>
            <p:cNvPr id="114" name="Freeform 1184"/>
            <p:cNvSpPr>
              <a:spLocks/>
            </p:cNvSpPr>
            <p:nvPr/>
          </p:nvSpPr>
          <p:spPr bwMode="auto">
            <a:xfrm>
              <a:off x="2160600" y="1916313"/>
              <a:ext cx="63718" cy="39445"/>
            </a:xfrm>
            <a:custGeom>
              <a:avLst/>
              <a:gdLst>
                <a:gd name="T0" fmla="*/ 2147483647 w 129"/>
                <a:gd name="T1" fmla="*/ 2147483647 h 78"/>
                <a:gd name="T2" fmla="*/ 2147483647 w 129"/>
                <a:gd name="T3" fmla="*/ 2147483647 h 78"/>
                <a:gd name="T4" fmla="*/ 2147483647 w 129"/>
                <a:gd name="T5" fmla="*/ 2147483647 h 78"/>
                <a:gd name="T6" fmla="*/ 2147483647 w 129"/>
                <a:gd name="T7" fmla="*/ 2147483647 h 78"/>
                <a:gd name="T8" fmla="*/ 2147483647 w 129"/>
                <a:gd name="T9" fmla="*/ 2147483647 h 78"/>
                <a:gd name="T10" fmla="*/ 2147483647 w 129"/>
                <a:gd name="T11" fmla="*/ 2147483647 h 78"/>
                <a:gd name="T12" fmla="*/ 2147483647 w 129"/>
                <a:gd name="T13" fmla="*/ 2147483647 h 78"/>
                <a:gd name="T14" fmla="*/ 2147483647 w 129"/>
                <a:gd name="T15" fmla="*/ 2147483647 h 78"/>
                <a:gd name="T16" fmla="*/ 0 w 129"/>
                <a:gd name="T17" fmla="*/ 2147483647 h 78"/>
                <a:gd name="T18" fmla="*/ 2147483647 w 129"/>
                <a:gd name="T19" fmla="*/ 0 h 78"/>
                <a:gd name="T20" fmla="*/ 2147483647 w 129"/>
                <a:gd name="T21" fmla="*/ 2147483647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9"/>
                <a:gd name="T34" fmla="*/ 0 h 78"/>
                <a:gd name="T35" fmla="*/ 129 w 129"/>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9" h="78">
                  <a:moveTo>
                    <a:pt x="47" y="10"/>
                  </a:moveTo>
                  <a:lnTo>
                    <a:pt x="110" y="11"/>
                  </a:lnTo>
                  <a:lnTo>
                    <a:pt x="129" y="34"/>
                  </a:lnTo>
                  <a:lnTo>
                    <a:pt x="117" y="44"/>
                  </a:lnTo>
                  <a:lnTo>
                    <a:pt x="119" y="70"/>
                  </a:lnTo>
                  <a:lnTo>
                    <a:pt x="115" y="78"/>
                  </a:lnTo>
                  <a:lnTo>
                    <a:pt x="50" y="75"/>
                  </a:lnTo>
                  <a:lnTo>
                    <a:pt x="13" y="58"/>
                  </a:lnTo>
                  <a:lnTo>
                    <a:pt x="0" y="31"/>
                  </a:lnTo>
                  <a:lnTo>
                    <a:pt x="27" y="0"/>
                  </a:lnTo>
                  <a:lnTo>
                    <a:pt x="47" y="10"/>
                  </a:lnTo>
                  <a:close/>
                </a:path>
              </a:pathLst>
            </a:custGeom>
            <a:grpFill/>
            <a:ln w="6350">
              <a:solidFill>
                <a:schemeClr val="tx2"/>
              </a:solidFill>
              <a:round/>
              <a:headEnd/>
              <a:tailEnd/>
            </a:ln>
          </p:spPr>
          <p:txBody>
            <a:bodyPr/>
            <a:lstStyle/>
            <a:p>
              <a:endParaRPr lang="en-US"/>
            </a:p>
          </p:txBody>
        </p:sp>
        <p:sp>
          <p:nvSpPr>
            <p:cNvPr id="115" name="Freeform 1185"/>
            <p:cNvSpPr>
              <a:spLocks/>
            </p:cNvSpPr>
            <p:nvPr/>
          </p:nvSpPr>
          <p:spPr bwMode="auto">
            <a:xfrm>
              <a:off x="2143911" y="1990653"/>
              <a:ext cx="367141" cy="226049"/>
            </a:xfrm>
            <a:custGeom>
              <a:avLst/>
              <a:gdLst>
                <a:gd name="T0" fmla="*/ 2147483647 w 745"/>
                <a:gd name="T1" fmla="*/ 2147483647 h 456"/>
                <a:gd name="T2" fmla="*/ 0 w 745"/>
                <a:gd name="T3" fmla="*/ 2147483647 h 456"/>
                <a:gd name="T4" fmla="*/ 2147483647 w 745"/>
                <a:gd name="T5" fmla="*/ 2147483647 h 456"/>
                <a:gd name="T6" fmla="*/ 2147483647 w 745"/>
                <a:gd name="T7" fmla="*/ 2147483647 h 456"/>
                <a:gd name="T8" fmla="*/ 2147483647 w 745"/>
                <a:gd name="T9" fmla="*/ 2147483647 h 456"/>
                <a:gd name="T10" fmla="*/ 2147483647 w 745"/>
                <a:gd name="T11" fmla="*/ 2147483647 h 456"/>
                <a:gd name="T12" fmla="*/ 2147483647 w 745"/>
                <a:gd name="T13" fmla="*/ 2147483647 h 456"/>
                <a:gd name="T14" fmla="*/ 2147483647 w 745"/>
                <a:gd name="T15" fmla="*/ 2147483647 h 456"/>
                <a:gd name="T16" fmla="*/ 2147483647 w 745"/>
                <a:gd name="T17" fmla="*/ 2147483647 h 456"/>
                <a:gd name="T18" fmla="*/ 2147483647 w 745"/>
                <a:gd name="T19" fmla="*/ 2147483647 h 456"/>
                <a:gd name="T20" fmla="*/ 2147483647 w 745"/>
                <a:gd name="T21" fmla="*/ 2147483647 h 456"/>
                <a:gd name="T22" fmla="*/ 2147483647 w 745"/>
                <a:gd name="T23" fmla="*/ 2147483647 h 456"/>
                <a:gd name="T24" fmla="*/ 2147483647 w 745"/>
                <a:gd name="T25" fmla="*/ 2147483647 h 456"/>
                <a:gd name="T26" fmla="*/ 2147483647 w 745"/>
                <a:gd name="T27" fmla="*/ 2147483647 h 456"/>
                <a:gd name="T28" fmla="*/ 2147483647 w 745"/>
                <a:gd name="T29" fmla="*/ 2147483647 h 456"/>
                <a:gd name="T30" fmla="*/ 2147483647 w 745"/>
                <a:gd name="T31" fmla="*/ 2147483647 h 456"/>
                <a:gd name="T32" fmla="*/ 2147483647 w 745"/>
                <a:gd name="T33" fmla="*/ 2147483647 h 456"/>
                <a:gd name="T34" fmla="*/ 2147483647 w 745"/>
                <a:gd name="T35" fmla="*/ 2147483647 h 456"/>
                <a:gd name="T36" fmla="*/ 2147483647 w 745"/>
                <a:gd name="T37" fmla="*/ 2147483647 h 456"/>
                <a:gd name="T38" fmla="*/ 2147483647 w 745"/>
                <a:gd name="T39" fmla="*/ 2147483647 h 456"/>
                <a:gd name="T40" fmla="*/ 2147483647 w 745"/>
                <a:gd name="T41" fmla="*/ 2147483647 h 456"/>
                <a:gd name="T42" fmla="*/ 2147483647 w 745"/>
                <a:gd name="T43" fmla="*/ 2147483647 h 456"/>
                <a:gd name="T44" fmla="*/ 2147483647 w 745"/>
                <a:gd name="T45" fmla="*/ 2147483647 h 456"/>
                <a:gd name="T46" fmla="*/ 2147483647 w 745"/>
                <a:gd name="T47" fmla="*/ 2147483647 h 456"/>
                <a:gd name="T48" fmla="*/ 2147483647 w 745"/>
                <a:gd name="T49" fmla="*/ 2147483647 h 456"/>
                <a:gd name="T50" fmla="*/ 2147483647 w 745"/>
                <a:gd name="T51" fmla="*/ 2147483647 h 456"/>
                <a:gd name="T52" fmla="*/ 2147483647 w 745"/>
                <a:gd name="T53" fmla="*/ 2147483647 h 456"/>
                <a:gd name="T54" fmla="*/ 2147483647 w 745"/>
                <a:gd name="T55" fmla="*/ 2147483647 h 456"/>
                <a:gd name="T56" fmla="*/ 2147483647 w 745"/>
                <a:gd name="T57" fmla="*/ 2147483647 h 456"/>
                <a:gd name="T58" fmla="*/ 2147483647 w 745"/>
                <a:gd name="T59" fmla="*/ 2147483647 h 456"/>
                <a:gd name="T60" fmla="*/ 2147483647 w 745"/>
                <a:gd name="T61" fmla="*/ 2147483647 h 456"/>
                <a:gd name="T62" fmla="*/ 2147483647 w 745"/>
                <a:gd name="T63" fmla="*/ 2147483647 h 456"/>
                <a:gd name="T64" fmla="*/ 2147483647 w 745"/>
                <a:gd name="T65" fmla="*/ 2147483647 h 456"/>
                <a:gd name="T66" fmla="*/ 2147483647 w 745"/>
                <a:gd name="T67" fmla="*/ 2147483647 h 456"/>
                <a:gd name="T68" fmla="*/ 2147483647 w 745"/>
                <a:gd name="T69" fmla="*/ 2147483647 h 456"/>
                <a:gd name="T70" fmla="*/ 2147483647 w 745"/>
                <a:gd name="T71" fmla="*/ 2147483647 h 456"/>
                <a:gd name="T72" fmla="*/ 2147483647 w 745"/>
                <a:gd name="T73" fmla="*/ 2147483647 h 456"/>
                <a:gd name="T74" fmla="*/ 2147483647 w 745"/>
                <a:gd name="T75" fmla="*/ 2147483647 h 456"/>
                <a:gd name="T76" fmla="*/ 2147483647 w 745"/>
                <a:gd name="T77" fmla="*/ 2147483647 h 456"/>
                <a:gd name="T78" fmla="*/ 2147483647 w 745"/>
                <a:gd name="T79" fmla="*/ 2147483647 h 456"/>
                <a:gd name="T80" fmla="*/ 2147483647 w 745"/>
                <a:gd name="T81" fmla="*/ 2147483647 h 456"/>
                <a:gd name="T82" fmla="*/ 2147483647 w 745"/>
                <a:gd name="T83" fmla="*/ 2147483647 h 4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5"/>
                <a:gd name="T127" fmla="*/ 0 h 456"/>
                <a:gd name="T128" fmla="*/ 745 w 745"/>
                <a:gd name="T129" fmla="*/ 456 h 4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5" h="456">
                  <a:moveTo>
                    <a:pt x="86" y="4"/>
                  </a:moveTo>
                  <a:lnTo>
                    <a:pt x="21" y="0"/>
                  </a:lnTo>
                  <a:lnTo>
                    <a:pt x="4" y="22"/>
                  </a:lnTo>
                  <a:lnTo>
                    <a:pt x="30" y="51"/>
                  </a:lnTo>
                  <a:lnTo>
                    <a:pt x="5" y="41"/>
                  </a:lnTo>
                  <a:lnTo>
                    <a:pt x="0" y="57"/>
                  </a:lnTo>
                  <a:lnTo>
                    <a:pt x="42" y="86"/>
                  </a:lnTo>
                  <a:lnTo>
                    <a:pt x="56" y="122"/>
                  </a:lnTo>
                  <a:lnTo>
                    <a:pt x="79" y="132"/>
                  </a:lnTo>
                  <a:lnTo>
                    <a:pt x="86" y="156"/>
                  </a:lnTo>
                  <a:lnTo>
                    <a:pt x="89" y="142"/>
                  </a:lnTo>
                  <a:lnTo>
                    <a:pt x="133" y="156"/>
                  </a:lnTo>
                  <a:lnTo>
                    <a:pt x="163" y="135"/>
                  </a:lnTo>
                  <a:lnTo>
                    <a:pt x="177" y="172"/>
                  </a:lnTo>
                  <a:lnTo>
                    <a:pt x="181" y="202"/>
                  </a:lnTo>
                  <a:lnTo>
                    <a:pt x="201" y="231"/>
                  </a:lnTo>
                  <a:lnTo>
                    <a:pt x="204" y="262"/>
                  </a:lnTo>
                  <a:lnTo>
                    <a:pt x="210" y="269"/>
                  </a:lnTo>
                  <a:lnTo>
                    <a:pt x="189" y="302"/>
                  </a:lnTo>
                  <a:lnTo>
                    <a:pt x="193" y="305"/>
                  </a:lnTo>
                  <a:lnTo>
                    <a:pt x="188" y="334"/>
                  </a:lnTo>
                  <a:lnTo>
                    <a:pt x="219" y="353"/>
                  </a:lnTo>
                  <a:lnTo>
                    <a:pt x="201" y="370"/>
                  </a:lnTo>
                  <a:lnTo>
                    <a:pt x="203" y="399"/>
                  </a:lnTo>
                  <a:lnTo>
                    <a:pt x="222" y="418"/>
                  </a:lnTo>
                  <a:lnTo>
                    <a:pt x="227" y="429"/>
                  </a:lnTo>
                  <a:lnTo>
                    <a:pt x="242" y="426"/>
                  </a:lnTo>
                  <a:lnTo>
                    <a:pt x="242" y="413"/>
                  </a:lnTo>
                  <a:lnTo>
                    <a:pt x="259" y="396"/>
                  </a:lnTo>
                  <a:lnTo>
                    <a:pt x="251" y="414"/>
                  </a:lnTo>
                  <a:lnTo>
                    <a:pt x="263" y="432"/>
                  </a:lnTo>
                  <a:lnTo>
                    <a:pt x="263" y="411"/>
                  </a:lnTo>
                  <a:lnTo>
                    <a:pt x="280" y="430"/>
                  </a:lnTo>
                  <a:lnTo>
                    <a:pt x="277" y="438"/>
                  </a:lnTo>
                  <a:lnTo>
                    <a:pt x="312" y="447"/>
                  </a:lnTo>
                  <a:lnTo>
                    <a:pt x="327" y="429"/>
                  </a:lnTo>
                  <a:lnTo>
                    <a:pt x="318" y="407"/>
                  </a:lnTo>
                  <a:lnTo>
                    <a:pt x="330" y="409"/>
                  </a:lnTo>
                  <a:lnTo>
                    <a:pt x="329" y="396"/>
                  </a:lnTo>
                  <a:lnTo>
                    <a:pt x="340" y="423"/>
                  </a:lnTo>
                  <a:lnTo>
                    <a:pt x="348" y="397"/>
                  </a:lnTo>
                  <a:lnTo>
                    <a:pt x="352" y="399"/>
                  </a:lnTo>
                  <a:lnTo>
                    <a:pt x="359" y="405"/>
                  </a:lnTo>
                  <a:lnTo>
                    <a:pt x="356" y="450"/>
                  </a:lnTo>
                  <a:lnTo>
                    <a:pt x="367" y="455"/>
                  </a:lnTo>
                  <a:lnTo>
                    <a:pt x="401" y="455"/>
                  </a:lnTo>
                  <a:lnTo>
                    <a:pt x="436" y="456"/>
                  </a:lnTo>
                  <a:lnTo>
                    <a:pt x="441" y="452"/>
                  </a:lnTo>
                  <a:lnTo>
                    <a:pt x="435" y="437"/>
                  </a:lnTo>
                  <a:lnTo>
                    <a:pt x="449" y="453"/>
                  </a:lnTo>
                  <a:lnTo>
                    <a:pt x="458" y="436"/>
                  </a:lnTo>
                  <a:lnTo>
                    <a:pt x="467" y="456"/>
                  </a:lnTo>
                  <a:lnTo>
                    <a:pt x="488" y="443"/>
                  </a:lnTo>
                  <a:lnTo>
                    <a:pt x="488" y="423"/>
                  </a:lnTo>
                  <a:lnTo>
                    <a:pt x="503" y="450"/>
                  </a:lnTo>
                  <a:lnTo>
                    <a:pt x="512" y="437"/>
                  </a:lnTo>
                  <a:lnTo>
                    <a:pt x="511" y="418"/>
                  </a:lnTo>
                  <a:lnTo>
                    <a:pt x="516" y="446"/>
                  </a:lnTo>
                  <a:lnTo>
                    <a:pt x="574" y="438"/>
                  </a:lnTo>
                  <a:lnTo>
                    <a:pt x="587" y="409"/>
                  </a:lnTo>
                  <a:lnTo>
                    <a:pt x="562" y="383"/>
                  </a:lnTo>
                  <a:lnTo>
                    <a:pt x="572" y="383"/>
                  </a:lnTo>
                  <a:lnTo>
                    <a:pt x="594" y="398"/>
                  </a:lnTo>
                  <a:lnTo>
                    <a:pt x="595" y="431"/>
                  </a:lnTo>
                  <a:lnTo>
                    <a:pt x="610" y="449"/>
                  </a:lnTo>
                  <a:lnTo>
                    <a:pt x="621" y="439"/>
                  </a:lnTo>
                  <a:lnTo>
                    <a:pt x="649" y="455"/>
                  </a:lnTo>
                  <a:lnTo>
                    <a:pt x="721" y="438"/>
                  </a:lnTo>
                  <a:lnTo>
                    <a:pt x="721" y="411"/>
                  </a:lnTo>
                  <a:lnTo>
                    <a:pt x="719" y="400"/>
                  </a:lnTo>
                  <a:lnTo>
                    <a:pt x="704" y="380"/>
                  </a:lnTo>
                  <a:lnTo>
                    <a:pt x="705" y="359"/>
                  </a:lnTo>
                  <a:lnTo>
                    <a:pt x="745" y="317"/>
                  </a:lnTo>
                  <a:lnTo>
                    <a:pt x="744" y="288"/>
                  </a:lnTo>
                  <a:lnTo>
                    <a:pt x="736" y="275"/>
                  </a:lnTo>
                  <a:lnTo>
                    <a:pt x="709" y="275"/>
                  </a:lnTo>
                  <a:lnTo>
                    <a:pt x="718" y="270"/>
                  </a:lnTo>
                  <a:lnTo>
                    <a:pt x="715" y="259"/>
                  </a:lnTo>
                  <a:lnTo>
                    <a:pt x="677" y="248"/>
                  </a:lnTo>
                  <a:lnTo>
                    <a:pt x="676" y="228"/>
                  </a:lnTo>
                  <a:lnTo>
                    <a:pt x="627" y="219"/>
                  </a:lnTo>
                  <a:lnTo>
                    <a:pt x="594" y="237"/>
                  </a:lnTo>
                  <a:lnTo>
                    <a:pt x="560" y="226"/>
                  </a:lnTo>
                  <a:lnTo>
                    <a:pt x="529" y="259"/>
                  </a:lnTo>
                  <a:lnTo>
                    <a:pt x="506" y="257"/>
                  </a:lnTo>
                  <a:lnTo>
                    <a:pt x="500" y="263"/>
                  </a:lnTo>
                  <a:lnTo>
                    <a:pt x="501" y="280"/>
                  </a:lnTo>
                  <a:lnTo>
                    <a:pt x="488" y="264"/>
                  </a:lnTo>
                  <a:lnTo>
                    <a:pt x="459" y="281"/>
                  </a:lnTo>
                  <a:lnTo>
                    <a:pt x="485" y="304"/>
                  </a:lnTo>
                  <a:lnTo>
                    <a:pt x="436" y="311"/>
                  </a:lnTo>
                  <a:lnTo>
                    <a:pt x="446" y="300"/>
                  </a:lnTo>
                  <a:lnTo>
                    <a:pt x="402" y="268"/>
                  </a:lnTo>
                  <a:lnTo>
                    <a:pt x="395" y="294"/>
                  </a:lnTo>
                  <a:lnTo>
                    <a:pt x="387" y="272"/>
                  </a:lnTo>
                  <a:lnTo>
                    <a:pt x="366" y="292"/>
                  </a:lnTo>
                  <a:lnTo>
                    <a:pt x="368" y="280"/>
                  </a:lnTo>
                  <a:lnTo>
                    <a:pt x="350" y="257"/>
                  </a:lnTo>
                  <a:lnTo>
                    <a:pt x="343" y="263"/>
                  </a:lnTo>
                  <a:lnTo>
                    <a:pt x="345" y="292"/>
                  </a:lnTo>
                  <a:lnTo>
                    <a:pt x="340" y="302"/>
                  </a:lnTo>
                  <a:lnTo>
                    <a:pt x="332" y="278"/>
                  </a:lnTo>
                  <a:lnTo>
                    <a:pt x="322" y="265"/>
                  </a:lnTo>
                  <a:lnTo>
                    <a:pt x="328" y="240"/>
                  </a:lnTo>
                  <a:lnTo>
                    <a:pt x="320" y="229"/>
                  </a:lnTo>
                  <a:lnTo>
                    <a:pt x="300" y="231"/>
                  </a:lnTo>
                  <a:lnTo>
                    <a:pt x="305" y="223"/>
                  </a:lnTo>
                  <a:lnTo>
                    <a:pt x="295" y="206"/>
                  </a:lnTo>
                  <a:lnTo>
                    <a:pt x="242" y="236"/>
                  </a:lnTo>
                  <a:lnTo>
                    <a:pt x="247" y="204"/>
                  </a:lnTo>
                  <a:lnTo>
                    <a:pt x="279" y="198"/>
                  </a:lnTo>
                  <a:lnTo>
                    <a:pt x="229" y="171"/>
                  </a:lnTo>
                  <a:lnTo>
                    <a:pt x="234" y="154"/>
                  </a:lnTo>
                  <a:lnTo>
                    <a:pt x="275" y="180"/>
                  </a:lnTo>
                  <a:lnTo>
                    <a:pt x="316" y="176"/>
                  </a:lnTo>
                  <a:lnTo>
                    <a:pt x="327" y="166"/>
                  </a:lnTo>
                  <a:lnTo>
                    <a:pt x="329" y="143"/>
                  </a:lnTo>
                  <a:lnTo>
                    <a:pt x="278" y="113"/>
                  </a:lnTo>
                  <a:lnTo>
                    <a:pt x="272" y="93"/>
                  </a:lnTo>
                  <a:lnTo>
                    <a:pt x="231" y="66"/>
                  </a:lnTo>
                  <a:lnTo>
                    <a:pt x="166" y="86"/>
                  </a:lnTo>
                  <a:lnTo>
                    <a:pt x="142" y="120"/>
                  </a:lnTo>
                  <a:lnTo>
                    <a:pt x="153" y="88"/>
                  </a:lnTo>
                  <a:lnTo>
                    <a:pt x="156" y="59"/>
                  </a:lnTo>
                  <a:lnTo>
                    <a:pt x="153" y="46"/>
                  </a:lnTo>
                  <a:lnTo>
                    <a:pt x="139" y="20"/>
                  </a:lnTo>
                  <a:lnTo>
                    <a:pt x="114" y="27"/>
                  </a:lnTo>
                  <a:lnTo>
                    <a:pt x="86" y="4"/>
                  </a:lnTo>
                  <a:close/>
                </a:path>
              </a:pathLst>
            </a:custGeom>
            <a:grpFill/>
            <a:ln w="6350">
              <a:solidFill>
                <a:schemeClr val="tx2"/>
              </a:solidFill>
              <a:round/>
              <a:headEnd/>
              <a:tailEnd/>
            </a:ln>
          </p:spPr>
          <p:txBody>
            <a:bodyPr/>
            <a:lstStyle/>
            <a:p>
              <a:endParaRPr lang="en-US"/>
            </a:p>
          </p:txBody>
        </p:sp>
        <p:sp>
          <p:nvSpPr>
            <p:cNvPr id="116" name="Freeform 1186"/>
            <p:cNvSpPr>
              <a:spLocks/>
            </p:cNvSpPr>
            <p:nvPr/>
          </p:nvSpPr>
          <p:spPr bwMode="auto">
            <a:xfrm>
              <a:off x="2511052" y="2078645"/>
              <a:ext cx="18206" cy="24273"/>
            </a:xfrm>
            <a:custGeom>
              <a:avLst/>
              <a:gdLst>
                <a:gd name="T0" fmla="*/ 2147483647 w 35"/>
                <a:gd name="T1" fmla="*/ 2147483647 h 49"/>
                <a:gd name="T2" fmla="*/ 2147483647 w 35"/>
                <a:gd name="T3" fmla="*/ 2147483647 h 49"/>
                <a:gd name="T4" fmla="*/ 2147483647 w 35"/>
                <a:gd name="T5" fmla="*/ 2147483647 h 49"/>
                <a:gd name="T6" fmla="*/ 0 w 35"/>
                <a:gd name="T7" fmla="*/ 2147483647 h 49"/>
                <a:gd name="T8" fmla="*/ 2147483647 w 35"/>
                <a:gd name="T9" fmla="*/ 0 h 49"/>
                <a:gd name="T10" fmla="*/ 2147483647 w 35"/>
                <a:gd name="T11" fmla="*/ 2147483647 h 49"/>
                <a:gd name="T12" fmla="*/ 0 60000 65536"/>
                <a:gd name="T13" fmla="*/ 0 60000 65536"/>
                <a:gd name="T14" fmla="*/ 0 60000 65536"/>
                <a:gd name="T15" fmla="*/ 0 60000 65536"/>
                <a:gd name="T16" fmla="*/ 0 60000 65536"/>
                <a:gd name="T17" fmla="*/ 0 60000 65536"/>
                <a:gd name="T18" fmla="*/ 0 w 35"/>
                <a:gd name="T19" fmla="*/ 0 h 49"/>
                <a:gd name="T20" fmla="*/ 35 w 35"/>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35" h="49">
                  <a:moveTo>
                    <a:pt x="28" y="6"/>
                  </a:moveTo>
                  <a:lnTo>
                    <a:pt x="23" y="31"/>
                  </a:lnTo>
                  <a:lnTo>
                    <a:pt x="35" y="48"/>
                  </a:lnTo>
                  <a:lnTo>
                    <a:pt x="0" y="49"/>
                  </a:lnTo>
                  <a:lnTo>
                    <a:pt x="16" y="0"/>
                  </a:lnTo>
                  <a:lnTo>
                    <a:pt x="28" y="6"/>
                  </a:lnTo>
                  <a:close/>
                </a:path>
              </a:pathLst>
            </a:custGeom>
            <a:grpFill/>
            <a:ln w="6350">
              <a:solidFill>
                <a:schemeClr val="tx2"/>
              </a:solidFill>
              <a:round/>
              <a:headEnd/>
              <a:tailEnd/>
            </a:ln>
          </p:spPr>
          <p:txBody>
            <a:bodyPr/>
            <a:lstStyle/>
            <a:p>
              <a:endParaRPr lang="en-US"/>
            </a:p>
          </p:txBody>
        </p:sp>
        <p:sp>
          <p:nvSpPr>
            <p:cNvPr id="117" name="Freeform 1187"/>
            <p:cNvSpPr>
              <a:spLocks/>
            </p:cNvSpPr>
            <p:nvPr/>
          </p:nvSpPr>
          <p:spPr bwMode="auto">
            <a:xfrm>
              <a:off x="2495882" y="2168154"/>
              <a:ext cx="21239" cy="18206"/>
            </a:xfrm>
            <a:custGeom>
              <a:avLst/>
              <a:gdLst>
                <a:gd name="T0" fmla="*/ 2147483647 w 45"/>
                <a:gd name="T1" fmla="*/ 2147483647 h 37"/>
                <a:gd name="T2" fmla="*/ 2147483647 w 45"/>
                <a:gd name="T3" fmla="*/ 2147483647 h 37"/>
                <a:gd name="T4" fmla="*/ 2147483647 w 45"/>
                <a:gd name="T5" fmla="*/ 0 h 37"/>
                <a:gd name="T6" fmla="*/ 0 w 45"/>
                <a:gd name="T7" fmla="*/ 2147483647 h 37"/>
                <a:gd name="T8" fmla="*/ 2147483647 w 45"/>
                <a:gd name="T9" fmla="*/ 2147483647 h 37"/>
                <a:gd name="T10" fmla="*/ 2147483647 w 45"/>
                <a:gd name="T11" fmla="*/ 2147483647 h 37"/>
                <a:gd name="T12" fmla="*/ 0 60000 65536"/>
                <a:gd name="T13" fmla="*/ 0 60000 65536"/>
                <a:gd name="T14" fmla="*/ 0 60000 65536"/>
                <a:gd name="T15" fmla="*/ 0 60000 65536"/>
                <a:gd name="T16" fmla="*/ 0 60000 65536"/>
                <a:gd name="T17" fmla="*/ 0 60000 65536"/>
                <a:gd name="T18" fmla="*/ 0 w 45"/>
                <a:gd name="T19" fmla="*/ 0 h 37"/>
                <a:gd name="T20" fmla="*/ 45 w 45"/>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45" h="37">
                  <a:moveTo>
                    <a:pt x="34" y="30"/>
                  </a:moveTo>
                  <a:lnTo>
                    <a:pt x="45" y="21"/>
                  </a:lnTo>
                  <a:lnTo>
                    <a:pt x="36" y="0"/>
                  </a:lnTo>
                  <a:lnTo>
                    <a:pt x="0" y="17"/>
                  </a:lnTo>
                  <a:lnTo>
                    <a:pt x="13" y="37"/>
                  </a:lnTo>
                  <a:lnTo>
                    <a:pt x="34" y="30"/>
                  </a:lnTo>
                  <a:close/>
                </a:path>
              </a:pathLst>
            </a:custGeom>
            <a:grpFill/>
            <a:ln w="6350">
              <a:solidFill>
                <a:schemeClr val="tx2"/>
              </a:solidFill>
              <a:round/>
              <a:headEnd/>
              <a:tailEnd/>
            </a:ln>
          </p:spPr>
          <p:txBody>
            <a:bodyPr/>
            <a:lstStyle/>
            <a:p>
              <a:endParaRPr lang="en-US"/>
            </a:p>
          </p:txBody>
        </p:sp>
        <p:sp>
          <p:nvSpPr>
            <p:cNvPr id="118" name="Freeform 1188"/>
            <p:cNvSpPr>
              <a:spLocks/>
            </p:cNvSpPr>
            <p:nvPr/>
          </p:nvSpPr>
          <p:spPr bwMode="auto">
            <a:xfrm>
              <a:off x="2153014" y="2115056"/>
              <a:ext cx="63718" cy="87993"/>
            </a:xfrm>
            <a:custGeom>
              <a:avLst/>
              <a:gdLst>
                <a:gd name="T0" fmla="*/ 2147483647 w 127"/>
                <a:gd name="T1" fmla="*/ 2147483647 h 177"/>
                <a:gd name="T2" fmla="*/ 2147483647 w 127"/>
                <a:gd name="T3" fmla="*/ 2147483647 h 177"/>
                <a:gd name="T4" fmla="*/ 2147483647 w 127"/>
                <a:gd name="T5" fmla="*/ 2147483647 h 177"/>
                <a:gd name="T6" fmla="*/ 2147483647 w 127"/>
                <a:gd name="T7" fmla="*/ 2147483647 h 177"/>
                <a:gd name="T8" fmla="*/ 2147483647 w 127"/>
                <a:gd name="T9" fmla="*/ 2147483647 h 177"/>
                <a:gd name="T10" fmla="*/ 2147483647 w 127"/>
                <a:gd name="T11" fmla="*/ 2147483647 h 177"/>
                <a:gd name="T12" fmla="*/ 2147483647 w 127"/>
                <a:gd name="T13" fmla="*/ 2147483647 h 177"/>
                <a:gd name="T14" fmla="*/ 2147483647 w 127"/>
                <a:gd name="T15" fmla="*/ 2147483647 h 177"/>
                <a:gd name="T16" fmla="*/ 2147483647 w 127"/>
                <a:gd name="T17" fmla="*/ 2147483647 h 177"/>
                <a:gd name="T18" fmla="*/ 2147483647 w 127"/>
                <a:gd name="T19" fmla="*/ 2147483647 h 177"/>
                <a:gd name="T20" fmla="*/ 2147483647 w 127"/>
                <a:gd name="T21" fmla="*/ 2147483647 h 177"/>
                <a:gd name="T22" fmla="*/ 0 w 127"/>
                <a:gd name="T23" fmla="*/ 2147483647 h 177"/>
                <a:gd name="T24" fmla="*/ 2147483647 w 127"/>
                <a:gd name="T25" fmla="*/ 2147483647 h 177"/>
                <a:gd name="T26" fmla="*/ 2147483647 w 127"/>
                <a:gd name="T27" fmla="*/ 2147483647 h 177"/>
                <a:gd name="T28" fmla="*/ 2147483647 w 127"/>
                <a:gd name="T29" fmla="*/ 2147483647 h 177"/>
                <a:gd name="T30" fmla="*/ 2147483647 w 127"/>
                <a:gd name="T31" fmla="*/ 2147483647 h 177"/>
                <a:gd name="T32" fmla="*/ 2147483647 w 127"/>
                <a:gd name="T33" fmla="*/ 2147483647 h 177"/>
                <a:gd name="T34" fmla="*/ 2147483647 w 127"/>
                <a:gd name="T35" fmla="*/ 2147483647 h 177"/>
                <a:gd name="T36" fmla="*/ 2147483647 w 127"/>
                <a:gd name="T37" fmla="*/ 0 h 177"/>
                <a:gd name="T38" fmla="*/ 2147483647 w 127"/>
                <a:gd name="T39" fmla="*/ 2147483647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77"/>
                <a:gd name="T62" fmla="*/ 127 w 12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77">
                  <a:moveTo>
                    <a:pt x="65" y="2"/>
                  </a:moveTo>
                  <a:lnTo>
                    <a:pt x="127" y="74"/>
                  </a:lnTo>
                  <a:lnTo>
                    <a:pt x="124" y="82"/>
                  </a:lnTo>
                  <a:lnTo>
                    <a:pt x="127" y="163"/>
                  </a:lnTo>
                  <a:lnTo>
                    <a:pt x="78" y="177"/>
                  </a:lnTo>
                  <a:lnTo>
                    <a:pt x="53" y="143"/>
                  </a:lnTo>
                  <a:lnTo>
                    <a:pt x="27" y="137"/>
                  </a:lnTo>
                  <a:lnTo>
                    <a:pt x="20" y="122"/>
                  </a:lnTo>
                  <a:lnTo>
                    <a:pt x="24" y="109"/>
                  </a:lnTo>
                  <a:lnTo>
                    <a:pt x="11" y="121"/>
                  </a:lnTo>
                  <a:lnTo>
                    <a:pt x="5" y="108"/>
                  </a:lnTo>
                  <a:lnTo>
                    <a:pt x="0" y="77"/>
                  </a:lnTo>
                  <a:lnTo>
                    <a:pt x="19" y="61"/>
                  </a:lnTo>
                  <a:lnTo>
                    <a:pt x="28" y="59"/>
                  </a:lnTo>
                  <a:lnTo>
                    <a:pt x="20" y="49"/>
                  </a:lnTo>
                  <a:lnTo>
                    <a:pt x="18" y="37"/>
                  </a:lnTo>
                  <a:lnTo>
                    <a:pt x="34" y="35"/>
                  </a:lnTo>
                  <a:lnTo>
                    <a:pt x="32" y="19"/>
                  </a:lnTo>
                  <a:lnTo>
                    <a:pt x="51" y="0"/>
                  </a:lnTo>
                  <a:lnTo>
                    <a:pt x="65" y="2"/>
                  </a:lnTo>
                  <a:close/>
                </a:path>
              </a:pathLst>
            </a:custGeom>
            <a:grpFill/>
            <a:ln w="6350">
              <a:solidFill>
                <a:schemeClr val="tx2"/>
              </a:solidFill>
              <a:round/>
              <a:headEnd/>
              <a:tailEnd/>
            </a:ln>
          </p:spPr>
          <p:txBody>
            <a:bodyPr/>
            <a:lstStyle/>
            <a:p>
              <a:endParaRPr lang="en-US"/>
            </a:p>
          </p:txBody>
        </p:sp>
        <p:sp>
          <p:nvSpPr>
            <p:cNvPr id="119" name="Freeform 1189"/>
            <p:cNvSpPr>
              <a:spLocks/>
            </p:cNvSpPr>
            <p:nvPr/>
          </p:nvSpPr>
          <p:spPr bwMode="auto">
            <a:xfrm>
              <a:off x="2172736" y="2239459"/>
              <a:ext cx="113784" cy="159297"/>
            </a:xfrm>
            <a:custGeom>
              <a:avLst/>
              <a:gdLst>
                <a:gd name="T0" fmla="*/ 2147483647 w 232"/>
                <a:gd name="T1" fmla="*/ 2147483647 h 321"/>
                <a:gd name="T2" fmla="*/ 2147483647 w 232"/>
                <a:gd name="T3" fmla="*/ 0 h 321"/>
                <a:gd name="T4" fmla="*/ 2147483647 w 232"/>
                <a:gd name="T5" fmla="*/ 2147483647 h 321"/>
                <a:gd name="T6" fmla="*/ 2147483647 w 232"/>
                <a:gd name="T7" fmla="*/ 2147483647 h 321"/>
                <a:gd name="T8" fmla="*/ 2147483647 w 232"/>
                <a:gd name="T9" fmla="*/ 2147483647 h 321"/>
                <a:gd name="T10" fmla="*/ 2147483647 w 232"/>
                <a:gd name="T11" fmla="*/ 2147483647 h 321"/>
                <a:gd name="T12" fmla="*/ 2147483647 w 232"/>
                <a:gd name="T13" fmla="*/ 2147483647 h 321"/>
                <a:gd name="T14" fmla="*/ 2147483647 w 232"/>
                <a:gd name="T15" fmla="*/ 2147483647 h 321"/>
                <a:gd name="T16" fmla="*/ 2147483647 w 232"/>
                <a:gd name="T17" fmla="*/ 2147483647 h 321"/>
                <a:gd name="T18" fmla="*/ 2147483647 w 232"/>
                <a:gd name="T19" fmla="*/ 2147483647 h 321"/>
                <a:gd name="T20" fmla="*/ 2147483647 w 232"/>
                <a:gd name="T21" fmla="*/ 2147483647 h 321"/>
                <a:gd name="T22" fmla="*/ 2147483647 w 232"/>
                <a:gd name="T23" fmla="*/ 2147483647 h 321"/>
                <a:gd name="T24" fmla="*/ 2147483647 w 232"/>
                <a:gd name="T25" fmla="*/ 2147483647 h 321"/>
                <a:gd name="T26" fmla="*/ 2147483647 w 232"/>
                <a:gd name="T27" fmla="*/ 2147483647 h 321"/>
                <a:gd name="T28" fmla="*/ 2147483647 w 232"/>
                <a:gd name="T29" fmla="*/ 2147483647 h 321"/>
                <a:gd name="T30" fmla="*/ 2147483647 w 232"/>
                <a:gd name="T31" fmla="*/ 2147483647 h 321"/>
                <a:gd name="T32" fmla="*/ 2147483647 w 232"/>
                <a:gd name="T33" fmla="*/ 2147483647 h 321"/>
                <a:gd name="T34" fmla="*/ 2147483647 w 232"/>
                <a:gd name="T35" fmla="*/ 2147483647 h 321"/>
                <a:gd name="T36" fmla="*/ 2147483647 w 232"/>
                <a:gd name="T37" fmla="*/ 2147483647 h 321"/>
                <a:gd name="T38" fmla="*/ 2147483647 w 232"/>
                <a:gd name="T39" fmla="*/ 2147483647 h 321"/>
                <a:gd name="T40" fmla="*/ 2147483647 w 232"/>
                <a:gd name="T41" fmla="*/ 2147483647 h 321"/>
                <a:gd name="T42" fmla="*/ 2147483647 w 232"/>
                <a:gd name="T43" fmla="*/ 2147483647 h 321"/>
                <a:gd name="T44" fmla="*/ 2147483647 w 232"/>
                <a:gd name="T45" fmla="*/ 2147483647 h 321"/>
                <a:gd name="T46" fmla="*/ 2147483647 w 232"/>
                <a:gd name="T47" fmla="*/ 2147483647 h 321"/>
                <a:gd name="T48" fmla="*/ 2147483647 w 232"/>
                <a:gd name="T49" fmla="*/ 2147483647 h 321"/>
                <a:gd name="T50" fmla="*/ 2147483647 w 232"/>
                <a:gd name="T51" fmla="*/ 2147483647 h 321"/>
                <a:gd name="T52" fmla="*/ 2147483647 w 232"/>
                <a:gd name="T53" fmla="*/ 2147483647 h 321"/>
                <a:gd name="T54" fmla="*/ 0 w 232"/>
                <a:gd name="T55" fmla="*/ 2147483647 h 321"/>
                <a:gd name="T56" fmla="*/ 2147483647 w 232"/>
                <a:gd name="T57" fmla="*/ 2147483647 h 321"/>
                <a:gd name="T58" fmla="*/ 0 w 232"/>
                <a:gd name="T59" fmla="*/ 2147483647 h 321"/>
                <a:gd name="T60" fmla="*/ 2147483647 w 232"/>
                <a:gd name="T61" fmla="*/ 2147483647 h 321"/>
                <a:gd name="T62" fmla="*/ 2147483647 w 232"/>
                <a:gd name="T63" fmla="*/ 2147483647 h 321"/>
                <a:gd name="T64" fmla="*/ 2147483647 w 232"/>
                <a:gd name="T65" fmla="*/ 2147483647 h 321"/>
                <a:gd name="T66" fmla="*/ 2147483647 w 232"/>
                <a:gd name="T67" fmla="*/ 2147483647 h 3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321"/>
                <a:gd name="T104" fmla="*/ 232 w 232"/>
                <a:gd name="T105" fmla="*/ 321 h 32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321">
                  <a:moveTo>
                    <a:pt x="26" y="14"/>
                  </a:moveTo>
                  <a:lnTo>
                    <a:pt x="96" y="0"/>
                  </a:lnTo>
                  <a:lnTo>
                    <a:pt x="136" y="14"/>
                  </a:lnTo>
                  <a:lnTo>
                    <a:pt x="146" y="33"/>
                  </a:lnTo>
                  <a:lnTo>
                    <a:pt x="177" y="23"/>
                  </a:lnTo>
                  <a:lnTo>
                    <a:pt x="232" y="41"/>
                  </a:lnTo>
                  <a:lnTo>
                    <a:pt x="213" y="90"/>
                  </a:lnTo>
                  <a:lnTo>
                    <a:pt x="198" y="90"/>
                  </a:lnTo>
                  <a:lnTo>
                    <a:pt x="201" y="108"/>
                  </a:lnTo>
                  <a:lnTo>
                    <a:pt x="193" y="137"/>
                  </a:lnTo>
                  <a:lnTo>
                    <a:pt x="177" y="146"/>
                  </a:lnTo>
                  <a:lnTo>
                    <a:pt x="184" y="148"/>
                  </a:lnTo>
                  <a:lnTo>
                    <a:pt x="181" y="163"/>
                  </a:lnTo>
                  <a:lnTo>
                    <a:pt x="151" y="219"/>
                  </a:lnTo>
                  <a:lnTo>
                    <a:pt x="104" y="207"/>
                  </a:lnTo>
                  <a:lnTo>
                    <a:pt x="57" y="216"/>
                  </a:lnTo>
                  <a:lnTo>
                    <a:pt x="78" y="225"/>
                  </a:lnTo>
                  <a:lnTo>
                    <a:pt x="94" y="255"/>
                  </a:lnTo>
                  <a:lnTo>
                    <a:pt x="66" y="309"/>
                  </a:lnTo>
                  <a:lnTo>
                    <a:pt x="32" y="321"/>
                  </a:lnTo>
                  <a:lnTo>
                    <a:pt x="20" y="316"/>
                  </a:lnTo>
                  <a:lnTo>
                    <a:pt x="33" y="300"/>
                  </a:lnTo>
                  <a:lnTo>
                    <a:pt x="20" y="294"/>
                  </a:lnTo>
                  <a:lnTo>
                    <a:pt x="20" y="263"/>
                  </a:lnTo>
                  <a:lnTo>
                    <a:pt x="34" y="241"/>
                  </a:lnTo>
                  <a:lnTo>
                    <a:pt x="19" y="245"/>
                  </a:lnTo>
                  <a:lnTo>
                    <a:pt x="3" y="222"/>
                  </a:lnTo>
                  <a:lnTo>
                    <a:pt x="0" y="190"/>
                  </a:lnTo>
                  <a:lnTo>
                    <a:pt x="4" y="158"/>
                  </a:lnTo>
                  <a:lnTo>
                    <a:pt x="0" y="67"/>
                  </a:lnTo>
                  <a:lnTo>
                    <a:pt x="7" y="58"/>
                  </a:lnTo>
                  <a:lnTo>
                    <a:pt x="12" y="41"/>
                  </a:lnTo>
                  <a:lnTo>
                    <a:pt x="13" y="21"/>
                  </a:lnTo>
                  <a:lnTo>
                    <a:pt x="26" y="14"/>
                  </a:lnTo>
                  <a:close/>
                </a:path>
              </a:pathLst>
            </a:custGeom>
            <a:grpFill/>
            <a:ln w="6350">
              <a:solidFill>
                <a:schemeClr val="tx2"/>
              </a:solidFill>
              <a:round/>
              <a:headEnd/>
              <a:tailEnd/>
            </a:ln>
          </p:spPr>
          <p:txBody>
            <a:bodyPr/>
            <a:lstStyle/>
            <a:p>
              <a:endParaRPr lang="en-US"/>
            </a:p>
          </p:txBody>
        </p:sp>
        <p:sp>
          <p:nvSpPr>
            <p:cNvPr id="120" name="Freeform 1190"/>
            <p:cNvSpPr>
              <a:spLocks/>
            </p:cNvSpPr>
            <p:nvPr/>
          </p:nvSpPr>
          <p:spPr bwMode="auto">
            <a:xfrm>
              <a:off x="2357824" y="2629357"/>
              <a:ext cx="10620" cy="33376"/>
            </a:xfrm>
            <a:custGeom>
              <a:avLst/>
              <a:gdLst>
                <a:gd name="T0" fmla="*/ 2147483647 w 20"/>
                <a:gd name="T1" fmla="*/ 2147483647 h 64"/>
                <a:gd name="T2" fmla="*/ 2147483647 w 20"/>
                <a:gd name="T3" fmla="*/ 2147483647 h 64"/>
                <a:gd name="T4" fmla="*/ 2147483647 w 20"/>
                <a:gd name="T5" fmla="*/ 2147483647 h 64"/>
                <a:gd name="T6" fmla="*/ 0 w 20"/>
                <a:gd name="T7" fmla="*/ 2147483647 h 64"/>
                <a:gd name="T8" fmla="*/ 2147483647 w 20"/>
                <a:gd name="T9" fmla="*/ 2147483647 h 64"/>
                <a:gd name="T10" fmla="*/ 2147483647 w 20"/>
                <a:gd name="T11" fmla="*/ 0 h 64"/>
                <a:gd name="T12" fmla="*/ 2147483647 w 20"/>
                <a:gd name="T13" fmla="*/ 2147483647 h 64"/>
                <a:gd name="T14" fmla="*/ 0 60000 65536"/>
                <a:gd name="T15" fmla="*/ 0 60000 65536"/>
                <a:gd name="T16" fmla="*/ 0 60000 65536"/>
                <a:gd name="T17" fmla="*/ 0 60000 65536"/>
                <a:gd name="T18" fmla="*/ 0 60000 65536"/>
                <a:gd name="T19" fmla="*/ 0 60000 65536"/>
                <a:gd name="T20" fmla="*/ 0 60000 65536"/>
                <a:gd name="T21" fmla="*/ 0 w 20"/>
                <a:gd name="T22" fmla="*/ 0 h 64"/>
                <a:gd name="T23" fmla="*/ 20 w 2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64">
                  <a:moveTo>
                    <a:pt x="14" y="6"/>
                  </a:moveTo>
                  <a:lnTo>
                    <a:pt x="20" y="52"/>
                  </a:lnTo>
                  <a:lnTo>
                    <a:pt x="17" y="64"/>
                  </a:lnTo>
                  <a:lnTo>
                    <a:pt x="0" y="52"/>
                  </a:lnTo>
                  <a:lnTo>
                    <a:pt x="1" y="10"/>
                  </a:lnTo>
                  <a:lnTo>
                    <a:pt x="7" y="0"/>
                  </a:lnTo>
                  <a:lnTo>
                    <a:pt x="14" y="6"/>
                  </a:lnTo>
                  <a:close/>
                </a:path>
              </a:pathLst>
            </a:custGeom>
            <a:grpFill/>
            <a:ln w="6350">
              <a:solidFill>
                <a:schemeClr val="tx2"/>
              </a:solidFill>
              <a:round/>
              <a:headEnd/>
              <a:tailEnd/>
            </a:ln>
          </p:spPr>
          <p:txBody>
            <a:bodyPr/>
            <a:lstStyle/>
            <a:p>
              <a:endParaRPr lang="en-US"/>
            </a:p>
          </p:txBody>
        </p:sp>
        <p:sp>
          <p:nvSpPr>
            <p:cNvPr id="121" name="Freeform 1191"/>
            <p:cNvSpPr>
              <a:spLocks/>
            </p:cNvSpPr>
            <p:nvPr/>
          </p:nvSpPr>
          <p:spPr bwMode="auto">
            <a:xfrm>
              <a:off x="2354790" y="2762862"/>
              <a:ext cx="148677" cy="136541"/>
            </a:xfrm>
            <a:custGeom>
              <a:avLst/>
              <a:gdLst>
                <a:gd name="T0" fmla="*/ 2147483647 w 302"/>
                <a:gd name="T1" fmla="*/ 2147483647 h 273"/>
                <a:gd name="T2" fmla="*/ 2147483647 w 302"/>
                <a:gd name="T3" fmla="*/ 0 h 273"/>
                <a:gd name="T4" fmla="*/ 2147483647 w 302"/>
                <a:gd name="T5" fmla="*/ 2147483647 h 273"/>
                <a:gd name="T6" fmla="*/ 2147483647 w 302"/>
                <a:gd name="T7" fmla="*/ 2147483647 h 273"/>
                <a:gd name="T8" fmla="*/ 2147483647 w 302"/>
                <a:gd name="T9" fmla="*/ 2147483647 h 273"/>
                <a:gd name="T10" fmla="*/ 2147483647 w 302"/>
                <a:gd name="T11" fmla="*/ 2147483647 h 273"/>
                <a:gd name="T12" fmla="*/ 2147483647 w 302"/>
                <a:gd name="T13" fmla="*/ 2147483647 h 273"/>
                <a:gd name="T14" fmla="*/ 2147483647 w 302"/>
                <a:gd name="T15" fmla="*/ 2147483647 h 273"/>
                <a:gd name="T16" fmla="*/ 2147483647 w 302"/>
                <a:gd name="T17" fmla="*/ 2147483647 h 273"/>
                <a:gd name="T18" fmla="*/ 2147483647 w 302"/>
                <a:gd name="T19" fmla="*/ 2147483647 h 273"/>
                <a:gd name="T20" fmla="*/ 2147483647 w 302"/>
                <a:gd name="T21" fmla="*/ 2147483647 h 273"/>
                <a:gd name="T22" fmla="*/ 2147483647 w 302"/>
                <a:gd name="T23" fmla="*/ 2147483647 h 273"/>
                <a:gd name="T24" fmla="*/ 2147483647 w 302"/>
                <a:gd name="T25" fmla="*/ 2147483647 h 273"/>
                <a:gd name="T26" fmla="*/ 2147483647 w 302"/>
                <a:gd name="T27" fmla="*/ 2147483647 h 273"/>
                <a:gd name="T28" fmla="*/ 2147483647 w 302"/>
                <a:gd name="T29" fmla="*/ 2147483647 h 273"/>
                <a:gd name="T30" fmla="*/ 2147483647 w 302"/>
                <a:gd name="T31" fmla="*/ 2147483647 h 273"/>
                <a:gd name="T32" fmla="*/ 2147483647 w 302"/>
                <a:gd name="T33" fmla="*/ 2147483647 h 273"/>
                <a:gd name="T34" fmla="*/ 2147483647 w 302"/>
                <a:gd name="T35" fmla="*/ 2147483647 h 273"/>
                <a:gd name="T36" fmla="*/ 2147483647 w 302"/>
                <a:gd name="T37" fmla="*/ 2147483647 h 273"/>
                <a:gd name="T38" fmla="*/ 2147483647 w 302"/>
                <a:gd name="T39" fmla="*/ 2147483647 h 273"/>
                <a:gd name="T40" fmla="*/ 2147483647 w 302"/>
                <a:gd name="T41" fmla="*/ 2147483647 h 273"/>
                <a:gd name="T42" fmla="*/ 2147483647 w 302"/>
                <a:gd name="T43" fmla="*/ 2147483647 h 273"/>
                <a:gd name="T44" fmla="*/ 2147483647 w 302"/>
                <a:gd name="T45" fmla="*/ 2147483647 h 273"/>
                <a:gd name="T46" fmla="*/ 2147483647 w 302"/>
                <a:gd name="T47" fmla="*/ 2147483647 h 273"/>
                <a:gd name="T48" fmla="*/ 2147483647 w 302"/>
                <a:gd name="T49" fmla="*/ 2147483647 h 273"/>
                <a:gd name="T50" fmla="*/ 2147483647 w 302"/>
                <a:gd name="T51" fmla="*/ 2147483647 h 273"/>
                <a:gd name="T52" fmla="*/ 2147483647 w 302"/>
                <a:gd name="T53" fmla="*/ 2147483647 h 273"/>
                <a:gd name="T54" fmla="*/ 2147483647 w 302"/>
                <a:gd name="T55" fmla="*/ 2147483647 h 273"/>
                <a:gd name="T56" fmla="*/ 2147483647 w 302"/>
                <a:gd name="T57" fmla="*/ 2147483647 h 273"/>
                <a:gd name="T58" fmla="*/ 2147483647 w 302"/>
                <a:gd name="T59" fmla="*/ 2147483647 h 273"/>
                <a:gd name="T60" fmla="*/ 2147483647 w 302"/>
                <a:gd name="T61" fmla="*/ 2147483647 h 273"/>
                <a:gd name="T62" fmla="*/ 2147483647 w 302"/>
                <a:gd name="T63" fmla="*/ 2147483647 h 273"/>
                <a:gd name="T64" fmla="*/ 2147483647 w 302"/>
                <a:gd name="T65" fmla="*/ 2147483647 h 273"/>
                <a:gd name="T66" fmla="*/ 2147483647 w 302"/>
                <a:gd name="T67" fmla="*/ 2147483647 h 273"/>
                <a:gd name="T68" fmla="*/ 2147483647 w 302"/>
                <a:gd name="T69" fmla="*/ 2147483647 h 273"/>
                <a:gd name="T70" fmla="*/ 2147483647 w 302"/>
                <a:gd name="T71" fmla="*/ 2147483647 h 273"/>
                <a:gd name="T72" fmla="*/ 2147483647 w 302"/>
                <a:gd name="T73" fmla="*/ 2147483647 h 273"/>
                <a:gd name="T74" fmla="*/ 2147483647 w 302"/>
                <a:gd name="T75" fmla="*/ 2147483647 h 273"/>
                <a:gd name="T76" fmla="*/ 0 w 302"/>
                <a:gd name="T77" fmla="*/ 2147483647 h 273"/>
                <a:gd name="T78" fmla="*/ 2147483647 w 302"/>
                <a:gd name="T79" fmla="*/ 2147483647 h 273"/>
                <a:gd name="T80" fmla="*/ 2147483647 w 302"/>
                <a:gd name="T81" fmla="*/ 2147483647 h 273"/>
                <a:gd name="T82" fmla="*/ 2147483647 w 302"/>
                <a:gd name="T83" fmla="*/ 2147483647 h 273"/>
                <a:gd name="T84" fmla="*/ 2147483647 w 302"/>
                <a:gd name="T85" fmla="*/ 2147483647 h 273"/>
                <a:gd name="T86" fmla="*/ 2147483647 w 302"/>
                <a:gd name="T87" fmla="*/ 2147483647 h 273"/>
                <a:gd name="T88" fmla="*/ 2147483647 w 302"/>
                <a:gd name="T89" fmla="*/ 2147483647 h 2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2"/>
                <a:gd name="T136" fmla="*/ 0 h 273"/>
                <a:gd name="T137" fmla="*/ 302 w 302"/>
                <a:gd name="T138" fmla="*/ 273 h 2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2" h="273">
                  <a:moveTo>
                    <a:pt x="61" y="11"/>
                  </a:moveTo>
                  <a:lnTo>
                    <a:pt x="71" y="0"/>
                  </a:lnTo>
                  <a:lnTo>
                    <a:pt x="73" y="9"/>
                  </a:lnTo>
                  <a:lnTo>
                    <a:pt x="82" y="8"/>
                  </a:lnTo>
                  <a:lnTo>
                    <a:pt x="93" y="30"/>
                  </a:lnTo>
                  <a:lnTo>
                    <a:pt x="89" y="37"/>
                  </a:lnTo>
                  <a:lnTo>
                    <a:pt x="94" y="63"/>
                  </a:lnTo>
                  <a:lnTo>
                    <a:pt x="100" y="66"/>
                  </a:lnTo>
                  <a:lnTo>
                    <a:pt x="110" y="45"/>
                  </a:lnTo>
                  <a:lnTo>
                    <a:pt x="116" y="46"/>
                  </a:lnTo>
                  <a:lnTo>
                    <a:pt x="132" y="57"/>
                  </a:lnTo>
                  <a:lnTo>
                    <a:pt x="131" y="70"/>
                  </a:lnTo>
                  <a:lnTo>
                    <a:pt x="162" y="79"/>
                  </a:lnTo>
                  <a:lnTo>
                    <a:pt x="191" y="113"/>
                  </a:lnTo>
                  <a:lnTo>
                    <a:pt x="224" y="127"/>
                  </a:lnTo>
                  <a:lnTo>
                    <a:pt x="240" y="174"/>
                  </a:lnTo>
                  <a:lnTo>
                    <a:pt x="237" y="184"/>
                  </a:lnTo>
                  <a:lnTo>
                    <a:pt x="259" y="188"/>
                  </a:lnTo>
                  <a:lnTo>
                    <a:pt x="269" y="177"/>
                  </a:lnTo>
                  <a:lnTo>
                    <a:pt x="285" y="193"/>
                  </a:lnTo>
                  <a:lnTo>
                    <a:pt x="284" y="204"/>
                  </a:lnTo>
                  <a:lnTo>
                    <a:pt x="302" y="214"/>
                  </a:lnTo>
                  <a:lnTo>
                    <a:pt x="263" y="243"/>
                  </a:lnTo>
                  <a:lnTo>
                    <a:pt x="219" y="219"/>
                  </a:lnTo>
                  <a:lnTo>
                    <a:pt x="206" y="221"/>
                  </a:lnTo>
                  <a:lnTo>
                    <a:pt x="206" y="199"/>
                  </a:lnTo>
                  <a:lnTo>
                    <a:pt x="175" y="192"/>
                  </a:lnTo>
                  <a:lnTo>
                    <a:pt x="182" y="174"/>
                  </a:lnTo>
                  <a:lnTo>
                    <a:pt x="154" y="182"/>
                  </a:lnTo>
                  <a:lnTo>
                    <a:pt x="153" y="215"/>
                  </a:lnTo>
                  <a:lnTo>
                    <a:pt x="127" y="231"/>
                  </a:lnTo>
                  <a:lnTo>
                    <a:pt x="107" y="263"/>
                  </a:lnTo>
                  <a:lnTo>
                    <a:pt x="84" y="273"/>
                  </a:lnTo>
                  <a:lnTo>
                    <a:pt x="75" y="273"/>
                  </a:lnTo>
                  <a:lnTo>
                    <a:pt x="69" y="260"/>
                  </a:lnTo>
                  <a:lnTo>
                    <a:pt x="64" y="204"/>
                  </a:lnTo>
                  <a:lnTo>
                    <a:pt x="60" y="220"/>
                  </a:lnTo>
                  <a:lnTo>
                    <a:pt x="6" y="235"/>
                  </a:lnTo>
                  <a:lnTo>
                    <a:pt x="0" y="222"/>
                  </a:lnTo>
                  <a:lnTo>
                    <a:pt x="9" y="202"/>
                  </a:lnTo>
                  <a:lnTo>
                    <a:pt x="40" y="175"/>
                  </a:lnTo>
                  <a:lnTo>
                    <a:pt x="34" y="137"/>
                  </a:lnTo>
                  <a:lnTo>
                    <a:pt x="44" y="87"/>
                  </a:lnTo>
                  <a:lnTo>
                    <a:pt x="45" y="46"/>
                  </a:lnTo>
                  <a:lnTo>
                    <a:pt x="61" y="11"/>
                  </a:lnTo>
                  <a:close/>
                </a:path>
              </a:pathLst>
            </a:custGeom>
            <a:grpFill/>
            <a:ln w="6350">
              <a:solidFill>
                <a:schemeClr val="tx2"/>
              </a:solidFill>
              <a:round/>
              <a:headEnd/>
              <a:tailEnd/>
            </a:ln>
          </p:spPr>
          <p:txBody>
            <a:bodyPr/>
            <a:lstStyle/>
            <a:p>
              <a:endParaRPr lang="en-US"/>
            </a:p>
          </p:txBody>
        </p:sp>
        <p:sp>
          <p:nvSpPr>
            <p:cNvPr id="122" name="Freeform 1192"/>
            <p:cNvSpPr>
              <a:spLocks/>
            </p:cNvSpPr>
            <p:nvPr/>
          </p:nvSpPr>
          <p:spPr bwMode="auto">
            <a:xfrm>
              <a:off x="2412440" y="2752243"/>
              <a:ext cx="22757" cy="24273"/>
            </a:xfrm>
            <a:custGeom>
              <a:avLst/>
              <a:gdLst>
                <a:gd name="T0" fmla="*/ 2147483647 w 49"/>
                <a:gd name="T1" fmla="*/ 2147483647 h 52"/>
                <a:gd name="T2" fmla="*/ 2147483647 w 49"/>
                <a:gd name="T3" fmla="*/ 2147483647 h 52"/>
                <a:gd name="T4" fmla="*/ 2147483647 w 49"/>
                <a:gd name="T5" fmla="*/ 2147483647 h 52"/>
                <a:gd name="T6" fmla="*/ 2147483647 w 49"/>
                <a:gd name="T7" fmla="*/ 2147483647 h 52"/>
                <a:gd name="T8" fmla="*/ 0 w 49"/>
                <a:gd name="T9" fmla="*/ 0 h 52"/>
                <a:gd name="T10" fmla="*/ 2147483647 w 49"/>
                <a:gd name="T11" fmla="*/ 2147483647 h 52"/>
                <a:gd name="T12" fmla="*/ 0 60000 65536"/>
                <a:gd name="T13" fmla="*/ 0 60000 65536"/>
                <a:gd name="T14" fmla="*/ 0 60000 65536"/>
                <a:gd name="T15" fmla="*/ 0 60000 65536"/>
                <a:gd name="T16" fmla="*/ 0 60000 65536"/>
                <a:gd name="T17" fmla="*/ 0 60000 65536"/>
                <a:gd name="T18" fmla="*/ 0 w 49"/>
                <a:gd name="T19" fmla="*/ 0 h 52"/>
                <a:gd name="T20" fmla="*/ 49 w 49"/>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9" h="52">
                  <a:moveTo>
                    <a:pt x="26" y="17"/>
                  </a:moveTo>
                  <a:lnTo>
                    <a:pt x="49" y="52"/>
                  </a:lnTo>
                  <a:lnTo>
                    <a:pt x="32" y="50"/>
                  </a:lnTo>
                  <a:lnTo>
                    <a:pt x="18" y="34"/>
                  </a:lnTo>
                  <a:lnTo>
                    <a:pt x="0" y="0"/>
                  </a:lnTo>
                  <a:lnTo>
                    <a:pt x="26" y="17"/>
                  </a:lnTo>
                  <a:close/>
                </a:path>
              </a:pathLst>
            </a:custGeom>
            <a:grpFill/>
            <a:ln w="6350">
              <a:solidFill>
                <a:schemeClr val="tx2"/>
              </a:solidFill>
              <a:round/>
              <a:headEnd/>
              <a:tailEnd/>
            </a:ln>
          </p:spPr>
          <p:txBody>
            <a:bodyPr/>
            <a:lstStyle/>
            <a:p>
              <a:endParaRPr lang="en-US"/>
            </a:p>
          </p:txBody>
        </p:sp>
        <p:sp>
          <p:nvSpPr>
            <p:cNvPr id="123" name="Freeform 1193"/>
            <p:cNvSpPr>
              <a:spLocks/>
            </p:cNvSpPr>
            <p:nvPr/>
          </p:nvSpPr>
          <p:spPr bwMode="auto">
            <a:xfrm>
              <a:off x="2565669" y="2630874"/>
              <a:ext cx="45514" cy="59167"/>
            </a:xfrm>
            <a:custGeom>
              <a:avLst/>
              <a:gdLst>
                <a:gd name="T0" fmla="*/ 2147483647 w 94"/>
                <a:gd name="T1" fmla="*/ 0 h 118"/>
                <a:gd name="T2" fmla="*/ 2147483647 w 94"/>
                <a:gd name="T3" fmla="*/ 2147483647 h 118"/>
                <a:gd name="T4" fmla="*/ 2147483647 w 94"/>
                <a:gd name="T5" fmla="*/ 2147483647 h 118"/>
                <a:gd name="T6" fmla="*/ 2147483647 w 94"/>
                <a:gd name="T7" fmla="*/ 2147483647 h 118"/>
                <a:gd name="T8" fmla="*/ 2147483647 w 94"/>
                <a:gd name="T9" fmla="*/ 2147483647 h 118"/>
                <a:gd name="T10" fmla="*/ 2147483647 w 94"/>
                <a:gd name="T11" fmla="*/ 2147483647 h 118"/>
                <a:gd name="T12" fmla="*/ 0 w 94"/>
                <a:gd name="T13" fmla="*/ 2147483647 h 118"/>
                <a:gd name="T14" fmla="*/ 2147483647 w 94"/>
                <a:gd name="T15" fmla="*/ 2147483647 h 118"/>
                <a:gd name="T16" fmla="*/ 2147483647 w 94"/>
                <a:gd name="T17" fmla="*/ 2147483647 h 118"/>
                <a:gd name="T18" fmla="*/ 2147483647 w 94"/>
                <a:gd name="T19" fmla="*/ 0 h 1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4"/>
                <a:gd name="T31" fmla="*/ 0 h 118"/>
                <a:gd name="T32" fmla="*/ 94 w 94"/>
                <a:gd name="T33" fmla="*/ 118 h 1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4" h="118">
                  <a:moveTo>
                    <a:pt x="41" y="0"/>
                  </a:moveTo>
                  <a:lnTo>
                    <a:pt x="87" y="9"/>
                  </a:lnTo>
                  <a:lnTo>
                    <a:pt x="94" y="36"/>
                  </a:lnTo>
                  <a:lnTo>
                    <a:pt x="93" y="90"/>
                  </a:lnTo>
                  <a:lnTo>
                    <a:pt x="68" y="117"/>
                  </a:lnTo>
                  <a:lnTo>
                    <a:pt x="12" y="118"/>
                  </a:lnTo>
                  <a:lnTo>
                    <a:pt x="0" y="82"/>
                  </a:lnTo>
                  <a:lnTo>
                    <a:pt x="1" y="52"/>
                  </a:lnTo>
                  <a:lnTo>
                    <a:pt x="25" y="6"/>
                  </a:lnTo>
                  <a:lnTo>
                    <a:pt x="41" y="0"/>
                  </a:lnTo>
                  <a:close/>
                </a:path>
              </a:pathLst>
            </a:custGeom>
            <a:grpFill/>
            <a:ln w="6350">
              <a:solidFill>
                <a:schemeClr val="tx2"/>
              </a:solidFill>
              <a:round/>
              <a:headEnd/>
              <a:tailEnd/>
            </a:ln>
          </p:spPr>
          <p:txBody>
            <a:bodyPr/>
            <a:lstStyle/>
            <a:p>
              <a:endParaRPr lang="en-US"/>
            </a:p>
          </p:txBody>
        </p:sp>
        <p:sp>
          <p:nvSpPr>
            <p:cNvPr id="124" name="Freeform 1194"/>
            <p:cNvSpPr>
              <a:spLocks/>
            </p:cNvSpPr>
            <p:nvPr/>
          </p:nvSpPr>
          <p:spPr bwMode="auto">
            <a:xfrm>
              <a:off x="2620285" y="2639977"/>
              <a:ext cx="24273" cy="21239"/>
            </a:xfrm>
            <a:custGeom>
              <a:avLst/>
              <a:gdLst>
                <a:gd name="T0" fmla="*/ 0 w 53"/>
                <a:gd name="T1" fmla="*/ 2147483647 h 44"/>
                <a:gd name="T2" fmla="*/ 2147483647 w 53"/>
                <a:gd name="T3" fmla="*/ 0 h 44"/>
                <a:gd name="T4" fmla="*/ 2147483647 w 53"/>
                <a:gd name="T5" fmla="*/ 2147483647 h 44"/>
                <a:gd name="T6" fmla="*/ 2147483647 w 53"/>
                <a:gd name="T7" fmla="*/ 2147483647 h 44"/>
                <a:gd name="T8" fmla="*/ 2147483647 w 53"/>
                <a:gd name="T9" fmla="*/ 2147483647 h 44"/>
                <a:gd name="T10" fmla="*/ 2147483647 w 53"/>
                <a:gd name="T11" fmla="*/ 2147483647 h 44"/>
                <a:gd name="T12" fmla="*/ 0 w 53"/>
                <a:gd name="T13" fmla="*/ 2147483647 h 44"/>
                <a:gd name="T14" fmla="*/ 0 60000 65536"/>
                <a:gd name="T15" fmla="*/ 0 60000 65536"/>
                <a:gd name="T16" fmla="*/ 0 60000 65536"/>
                <a:gd name="T17" fmla="*/ 0 60000 65536"/>
                <a:gd name="T18" fmla="*/ 0 60000 65536"/>
                <a:gd name="T19" fmla="*/ 0 60000 65536"/>
                <a:gd name="T20" fmla="*/ 0 60000 65536"/>
                <a:gd name="T21" fmla="*/ 0 w 53"/>
                <a:gd name="T22" fmla="*/ 0 h 44"/>
                <a:gd name="T23" fmla="*/ 53 w 53"/>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44">
                  <a:moveTo>
                    <a:pt x="0" y="19"/>
                  </a:moveTo>
                  <a:lnTo>
                    <a:pt x="18" y="0"/>
                  </a:lnTo>
                  <a:lnTo>
                    <a:pt x="46" y="21"/>
                  </a:lnTo>
                  <a:lnTo>
                    <a:pt x="53" y="41"/>
                  </a:lnTo>
                  <a:lnTo>
                    <a:pt x="14" y="44"/>
                  </a:lnTo>
                  <a:lnTo>
                    <a:pt x="2" y="32"/>
                  </a:lnTo>
                  <a:lnTo>
                    <a:pt x="0" y="19"/>
                  </a:lnTo>
                  <a:close/>
                </a:path>
              </a:pathLst>
            </a:custGeom>
            <a:grpFill/>
            <a:ln w="6350">
              <a:solidFill>
                <a:schemeClr val="tx2"/>
              </a:solidFill>
              <a:round/>
              <a:headEnd/>
              <a:tailEnd/>
            </a:ln>
          </p:spPr>
          <p:txBody>
            <a:bodyPr/>
            <a:lstStyle/>
            <a:p>
              <a:endParaRPr lang="en-US"/>
            </a:p>
          </p:txBody>
        </p:sp>
        <p:sp>
          <p:nvSpPr>
            <p:cNvPr id="125" name="Freeform 1195"/>
            <p:cNvSpPr>
              <a:spLocks/>
            </p:cNvSpPr>
            <p:nvPr/>
          </p:nvSpPr>
          <p:spPr bwMode="auto">
            <a:xfrm>
              <a:off x="2517121" y="2568672"/>
              <a:ext cx="24273" cy="27308"/>
            </a:xfrm>
            <a:custGeom>
              <a:avLst/>
              <a:gdLst>
                <a:gd name="T0" fmla="*/ 2147483647 w 47"/>
                <a:gd name="T1" fmla="*/ 2147483647 h 57"/>
                <a:gd name="T2" fmla="*/ 2147483647 w 47"/>
                <a:gd name="T3" fmla="*/ 2147483647 h 57"/>
                <a:gd name="T4" fmla="*/ 0 w 47"/>
                <a:gd name="T5" fmla="*/ 2147483647 h 57"/>
                <a:gd name="T6" fmla="*/ 2147483647 w 47"/>
                <a:gd name="T7" fmla="*/ 2147483647 h 57"/>
                <a:gd name="T8" fmla="*/ 2147483647 w 47"/>
                <a:gd name="T9" fmla="*/ 2147483647 h 57"/>
                <a:gd name="T10" fmla="*/ 2147483647 w 47"/>
                <a:gd name="T11" fmla="*/ 2147483647 h 57"/>
                <a:gd name="T12" fmla="*/ 2147483647 w 47"/>
                <a:gd name="T13" fmla="*/ 2147483647 h 57"/>
                <a:gd name="T14" fmla="*/ 2147483647 w 47"/>
                <a:gd name="T15" fmla="*/ 0 h 57"/>
                <a:gd name="T16" fmla="*/ 2147483647 w 47"/>
                <a:gd name="T17" fmla="*/ 2147483647 h 57"/>
                <a:gd name="T18" fmla="*/ 2147483647 w 47"/>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57"/>
                <a:gd name="T32" fmla="*/ 47 w 47"/>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57">
                  <a:moveTo>
                    <a:pt x="37" y="18"/>
                  </a:moveTo>
                  <a:lnTo>
                    <a:pt x="25" y="47"/>
                  </a:lnTo>
                  <a:lnTo>
                    <a:pt x="0" y="57"/>
                  </a:lnTo>
                  <a:lnTo>
                    <a:pt x="8" y="34"/>
                  </a:lnTo>
                  <a:lnTo>
                    <a:pt x="28" y="12"/>
                  </a:lnTo>
                  <a:lnTo>
                    <a:pt x="45" y="18"/>
                  </a:lnTo>
                  <a:lnTo>
                    <a:pt x="47" y="1"/>
                  </a:lnTo>
                  <a:lnTo>
                    <a:pt x="34" y="0"/>
                  </a:lnTo>
                  <a:lnTo>
                    <a:pt x="31" y="11"/>
                  </a:lnTo>
                  <a:lnTo>
                    <a:pt x="37" y="18"/>
                  </a:lnTo>
                  <a:close/>
                </a:path>
              </a:pathLst>
            </a:custGeom>
            <a:grpFill/>
            <a:ln w="6350">
              <a:solidFill>
                <a:schemeClr val="tx2"/>
              </a:solidFill>
              <a:round/>
              <a:headEnd/>
              <a:tailEnd/>
            </a:ln>
          </p:spPr>
          <p:txBody>
            <a:bodyPr/>
            <a:lstStyle/>
            <a:p>
              <a:endParaRPr lang="en-US"/>
            </a:p>
          </p:txBody>
        </p:sp>
        <p:sp>
          <p:nvSpPr>
            <p:cNvPr id="126" name="Freeform 1196"/>
            <p:cNvSpPr>
              <a:spLocks/>
            </p:cNvSpPr>
            <p:nvPr/>
          </p:nvSpPr>
          <p:spPr bwMode="auto">
            <a:xfrm>
              <a:off x="2495882" y="2542881"/>
              <a:ext cx="24273" cy="19722"/>
            </a:xfrm>
            <a:custGeom>
              <a:avLst/>
              <a:gdLst>
                <a:gd name="T0" fmla="*/ 2147483647 w 48"/>
                <a:gd name="T1" fmla="*/ 0 h 39"/>
                <a:gd name="T2" fmla="*/ 2147483647 w 48"/>
                <a:gd name="T3" fmla="*/ 2147483647 h 39"/>
                <a:gd name="T4" fmla="*/ 2147483647 w 48"/>
                <a:gd name="T5" fmla="*/ 2147483647 h 39"/>
                <a:gd name="T6" fmla="*/ 2147483647 w 48"/>
                <a:gd name="T7" fmla="*/ 2147483647 h 39"/>
                <a:gd name="T8" fmla="*/ 2147483647 w 48"/>
                <a:gd name="T9" fmla="*/ 2147483647 h 39"/>
                <a:gd name="T10" fmla="*/ 0 w 48"/>
                <a:gd name="T11" fmla="*/ 2147483647 h 39"/>
                <a:gd name="T12" fmla="*/ 2147483647 w 48"/>
                <a:gd name="T13" fmla="*/ 0 h 39"/>
                <a:gd name="T14" fmla="*/ 0 60000 65536"/>
                <a:gd name="T15" fmla="*/ 0 60000 65536"/>
                <a:gd name="T16" fmla="*/ 0 60000 65536"/>
                <a:gd name="T17" fmla="*/ 0 60000 65536"/>
                <a:gd name="T18" fmla="*/ 0 60000 65536"/>
                <a:gd name="T19" fmla="*/ 0 60000 65536"/>
                <a:gd name="T20" fmla="*/ 0 60000 65536"/>
                <a:gd name="T21" fmla="*/ 0 w 48"/>
                <a:gd name="T22" fmla="*/ 0 h 39"/>
                <a:gd name="T23" fmla="*/ 48 w 48"/>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9">
                  <a:moveTo>
                    <a:pt x="12" y="0"/>
                  </a:moveTo>
                  <a:lnTo>
                    <a:pt x="48" y="8"/>
                  </a:lnTo>
                  <a:lnTo>
                    <a:pt x="28" y="26"/>
                  </a:lnTo>
                  <a:lnTo>
                    <a:pt x="20" y="19"/>
                  </a:lnTo>
                  <a:lnTo>
                    <a:pt x="20" y="39"/>
                  </a:lnTo>
                  <a:lnTo>
                    <a:pt x="0" y="2"/>
                  </a:lnTo>
                  <a:lnTo>
                    <a:pt x="12" y="0"/>
                  </a:lnTo>
                  <a:close/>
                </a:path>
              </a:pathLst>
            </a:custGeom>
            <a:grpFill/>
            <a:ln w="6350">
              <a:solidFill>
                <a:schemeClr val="tx2"/>
              </a:solidFill>
              <a:round/>
              <a:headEnd/>
              <a:tailEnd/>
            </a:ln>
          </p:spPr>
          <p:txBody>
            <a:bodyPr/>
            <a:lstStyle/>
            <a:p>
              <a:endParaRPr lang="en-US"/>
            </a:p>
          </p:txBody>
        </p:sp>
        <p:sp>
          <p:nvSpPr>
            <p:cNvPr id="127" name="Freeform 1197"/>
            <p:cNvSpPr>
              <a:spLocks/>
            </p:cNvSpPr>
            <p:nvPr/>
          </p:nvSpPr>
          <p:spPr bwMode="auto">
            <a:xfrm>
              <a:off x="2538361" y="2885749"/>
              <a:ext cx="21239" cy="16688"/>
            </a:xfrm>
            <a:custGeom>
              <a:avLst/>
              <a:gdLst>
                <a:gd name="T0" fmla="*/ 0 w 41"/>
                <a:gd name="T1" fmla="*/ 2147483647 h 32"/>
                <a:gd name="T2" fmla="*/ 2147483647 w 41"/>
                <a:gd name="T3" fmla="*/ 0 h 32"/>
                <a:gd name="T4" fmla="*/ 2147483647 w 41"/>
                <a:gd name="T5" fmla="*/ 2147483647 h 32"/>
                <a:gd name="T6" fmla="*/ 2147483647 w 41"/>
                <a:gd name="T7" fmla="*/ 2147483647 h 32"/>
                <a:gd name="T8" fmla="*/ 0 w 41"/>
                <a:gd name="T9" fmla="*/ 2147483647 h 32"/>
                <a:gd name="T10" fmla="*/ 0 60000 65536"/>
                <a:gd name="T11" fmla="*/ 0 60000 65536"/>
                <a:gd name="T12" fmla="*/ 0 60000 65536"/>
                <a:gd name="T13" fmla="*/ 0 60000 65536"/>
                <a:gd name="T14" fmla="*/ 0 60000 65536"/>
                <a:gd name="T15" fmla="*/ 0 w 41"/>
                <a:gd name="T16" fmla="*/ 0 h 32"/>
                <a:gd name="T17" fmla="*/ 41 w 41"/>
                <a:gd name="T18" fmla="*/ 32 h 32"/>
              </a:gdLst>
              <a:ahLst/>
              <a:cxnLst>
                <a:cxn ang="T10">
                  <a:pos x="T0" y="T1"/>
                </a:cxn>
                <a:cxn ang="T11">
                  <a:pos x="T2" y="T3"/>
                </a:cxn>
                <a:cxn ang="T12">
                  <a:pos x="T4" y="T5"/>
                </a:cxn>
                <a:cxn ang="T13">
                  <a:pos x="T6" y="T7"/>
                </a:cxn>
                <a:cxn ang="T14">
                  <a:pos x="T8" y="T9"/>
                </a:cxn>
              </a:cxnLst>
              <a:rect l="T15" t="T16" r="T17" b="T18"/>
              <a:pathLst>
                <a:path w="41" h="32">
                  <a:moveTo>
                    <a:pt x="0" y="2"/>
                  </a:moveTo>
                  <a:lnTo>
                    <a:pt x="32" y="0"/>
                  </a:lnTo>
                  <a:lnTo>
                    <a:pt x="41" y="20"/>
                  </a:lnTo>
                  <a:lnTo>
                    <a:pt x="28" y="32"/>
                  </a:lnTo>
                  <a:lnTo>
                    <a:pt x="0" y="2"/>
                  </a:lnTo>
                  <a:close/>
                </a:path>
              </a:pathLst>
            </a:custGeom>
            <a:grpFill/>
            <a:ln w="6350">
              <a:solidFill>
                <a:schemeClr val="tx2"/>
              </a:solidFill>
              <a:round/>
              <a:headEnd/>
              <a:tailEnd/>
            </a:ln>
          </p:spPr>
          <p:txBody>
            <a:bodyPr/>
            <a:lstStyle/>
            <a:p>
              <a:endParaRPr lang="en-US"/>
            </a:p>
          </p:txBody>
        </p:sp>
        <p:sp>
          <p:nvSpPr>
            <p:cNvPr id="128" name="Freeform 1198"/>
            <p:cNvSpPr>
              <a:spLocks/>
            </p:cNvSpPr>
            <p:nvPr/>
          </p:nvSpPr>
          <p:spPr bwMode="auto">
            <a:xfrm>
              <a:off x="2562635" y="2873612"/>
              <a:ext cx="15172" cy="13653"/>
            </a:xfrm>
            <a:custGeom>
              <a:avLst/>
              <a:gdLst>
                <a:gd name="T0" fmla="*/ 0 w 32"/>
                <a:gd name="T1" fmla="*/ 0 h 27"/>
                <a:gd name="T2" fmla="*/ 2147483647 w 32"/>
                <a:gd name="T3" fmla="*/ 2147483647 h 27"/>
                <a:gd name="T4" fmla="*/ 2147483647 w 32"/>
                <a:gd name="T5" fmla="*/ 2147483647 h 27"/>
                <a:gd name="T6" fmla="*/ 2147483647 w 32"/>
                <a:gd name="T7" fmla="*/ 2147483647 h 27"/>
                <a:gd name="T8" fmla="*/ 0 w 32"/>
                <a:gd name="T9" fmla="*/ 0 h 27"/>
                <a:gd name="T10" fmla="*/ 0 60000 65536"/>
                <a:gd name="T11" fmla="*/ 0 60000 65536"/>
                <a:gd name="T12" fmla="*/ 0 60000 65536"/>
                <a:gd name="T13" fmla="*/ 0 60000 65536"/>
                <a:gd name="T14" fmla="*/ 0 60000 65536"/>
                <a:gd name="T15" fmla="*/ 0 w 32"/>
                <a:gd name="T16" fmla="*/ 0 h 27"/>
                <a:gd name="T17" fmla="*/ 32 w 32"/>
                <a:gd name="T18" fmla="*/ 27 h 27"/>
              </a:gdLst>
              <a:ahLst/>
              <a:cxnLst>
                <a:cxn ang="T10">
                  <a:pos x="T0" y="T1"/>
                </a:cxn>
                <a:cxn ang="T11">
                  <a:pos x="T2" y="T3"/>
                </a:cxn>
                <a:cxn ang="T12">
                  <a:pos x="T4" y="T5"/>
                </a:cxn>
                <a:cxn ang="T13">
                  <a:pos x="T6" y="T7"/>
                </a:cxn>
                <a:cxn ang="T14">
                  <a:pos x="T8" y="T9"/>
                </a:cxn>
              </a:cxnLst>
              <a:rect l="T15" t="T16" r="T17" b="T18"/>
              <a:pathLst>
                <a:path w="32" h="27">
                  <a:moveTo>
                    <a:pt x="0" y="0"/>
                  </a:moveTo>
                  <a:lnTo>
                    <a:pt x="28" y="12"/>
                  </a:lnTo>
                  <a:lnTo>
                    <a:pt x="32" y="27"/>
                  </a:lnTo>
                  <a:lnTo>
                    <a:pt x="14" y="22"/>
                  </a:lnTo>
                  <a:lnTo>
                    <a:pt x="0" y="0"/>
                  </a:lnTo>
                  <a:close/>
                </a:path>
              </a:pathLst>
            </a:custGeom>
            <a:grpFill/>
            <a:ln w="6350">
              <a:solidFill>
                <a:schemeClr val="tx2"/>
              </a:solidFill>
              <a:round/>
              <a:headEnd/>
              <a:tailEnd/>
            </a:ln>
          </p:spPr>
          <p:txBody>
            <a:bodyPr/>
            <a:lstStyle/>
            <a:p>
              <a:endParaRPr lang="en-US"/>
            </a:p>
          </p:txBody>
        </p:sp>
        <p:sp>
          <p:nvSpPr>
            <p:cNvPr id="129" name="Freeform 1199"/>
            <p:cNvSpPr>
              <a:spLocks/>
            </p:cNvSpPr>
            <p:nvPr/>
          </p:nvSpPr>
          <p:spPr bwMode="auto">
            <a:xfrm>
              <a:off x="2250109" y="1213891"/>
              <a:ext cx="661462" cy="861720"/>
            </a:xfrm>
            <a:custGeom>
              <a:avLst/>
              <a:gdLst>
                <a:gd name="T0" fmla="*/ 2147483647 w 1329"/>
                <a:gd name="T1" fmla="*/ 2147483647 h 1734"/>
                <a:gd name="T2" fmla="*/ 2147483647 w 1329"/>
                <a:gd name="T3" fmla="*/ 2147483647 h 1734"/>
                <a:gd name="T4" fmla="*/ 2147483647 w 1329"/>
                <a:gd name="T5" fmla="*/ 2147483647 h 1734"/>
                <a:gd name="T6" fmla="*/ 2147483647 w 1329"/>
                <a:gd name="T7" fmla="*/ 2147483647 h 1734"/>
                <a:gd name="T8" fmla="*/ 2147483647 w 1329"/>
                <a:gd name="T9" fmla="*/ 2147483647 h 1734"/>
                <a:gd name="T10" fmla="*/ 2147483647 w 1329"/>
                <a:gd name="T11" fmla="*/ 2147483647 h 1734"/>
                <a:gd name="T12" fmla="*/ 2147483647 w 1329"/>
                <a:gd name="T13" fmla="*/ 2147483647 h 1734"/>
                <a:gd name="T14" fmla="*/ 2147483647 w 1329"/>
                <a:gd name="T15" fmla="*/ 2147483647 h 1734"/>
                <a:gd name="T16" fmla="*/ 2147483647 w 1329"/>
                <a:gd name="T17" fmla="*/ 2147483647 h 1734"/>
                <a:gd name="T18" fmla="*/ 2147483647 w 1329"/>
                <a:gd name="T19" fmla="*/ 2147483647 h 1734"/>
                <a:gd name="T20" fmla="*/ 2147483647 w 1329"/>
                <a:gd name="T21" fmla="*/ 2147483647 h 1734"/>
                <a:gd name="T22" fmla="*/ 2147483647 w 1329"/>
                <a:gd name="T23" fmla="*/ 2147483647 h 1734"/>
                <a:gd name="T24" fmla="*/ 2147483647 w 1329"/>
                <a:gd name="T25" fmla="*/ 2147483647 h 1734"/>
                <a:gd name="T26" fmla="*/ 2147483647 w 1329"/>
                <a:gd name="T27" fmla="*/ 2147483647 h 1734"/>
                <a:gd name="T28" fmla="*/ 2147483647 w 1329"/>
                <a:gd name="T29" fmla="*/ 2147483647 h 1734"/>
                <a:gd name="T30" fmla="*/ 2147483647 w 1329"/>
                <a:gd name="T31" fmla="*/ 2147483647 h 1734"/>
                <a:gd name="T32" fmla="*/ 2147483647 w 1329"/>
                <a:gd name="T33" fmla="*/ 2147483647 h 1734"/>
                <a:gd name="T34" fmla="*/ 2147483647 w 1329"/>
                <a:gd name="T35" fmla="*/ 2147483647 h 1734"/>
                <a:gd name="T36" fmla="*/ 2147483647 w 1329"/>
                <a:gd name="T37" fmla="*/ 2147483647 h 1734"/>
                <a:gd name="T38" fmla="*/ 2147483647 w 1329"/>
                <a:gd name="T39" fmla="*/ 2147483647 h 1734"/>
                <a:gd name="T40" fmla="*/ 2147483647 w 1329"/>
                <a:gd name="T41" fmla="*/ 2147483647 h 1734"/>
                <a:gd name="T42" fmla="*/ 2147483647 w 1329"/>
                <a:gd name="T43" fmla="*/ 2147483647 h 1734"/>
                <a:gd name="T44" fmla="*/ 2147483647 w 1329"/>
                <a:gd name="T45" fmla="*/ 2147483647 h 1734"/>
                <a:gd name="T46" fmla="*/ 2147483647 w 1329"/>
                <a:gd name="T47" fmla="*/ 2147483647 h 1734"/>
                <a:gd name="T48" fmla="*/ 2147483647 w 1329"/>
                <a:gd name="T49" fmla="*/ 2147483647 h 1734"/>
                <a:gd name="T50" fmla="*/ 2147483647 w 1329"/>
                <a:gd name="T51" fmla="*/ 2147483647 h 1734"/>
                <a:gd name="T52" fmla="*/ 2147483647 w 1329"/>
                <a:gd name="T53" fmla="*/ 2147483647 h 1734"/>
                <a:gd name="T54" fmla="*/ 2147483647 w 1329"/>
                <a:gd name="T55" fmla="*/ 2147483647 h 1734"/>
                <a:gd name="T56" fmla="*/ 2147483647 w 1329"/>
                <a:gd name="T57" fmla="*/ 2147483647 h 1734"/>
                <a:gd name="T58" fmla="*/ 2147483647 w 1329"/>
                <a:gd name="T59" fmla="*/ 2147483647 h 1734"/>
                <a:gd name="T60" fmla="*/ 2147483647 w 1329"/>
                <a:gd name="T61" fmla="*/ 2147483647 h 1734"/>
                <a:gd name="T62" fmla="*/ 2147483647 w 1329"/>
                <a:gd name="T63" fmla="*/ 2147483647 h 1734"/>
                <a:gd name="T64" fmla="*/ 2147483647 w 1329"/>
                <a:gd name="T65" fmla="*/ 2147483647 h 1734"/>
                <a:gd name="T66" fmla="*/ 2147483647 w 1329"/>
                <a:gd name="T67" fmla="*/ 2147483647 h 1734"/>
                <a:gd name="T68" fmla="*/ 2147483647 w 1329"/>
                <a:gd name="T69" fmla="*/ 2147483647 h 1734"/>
                <a:gd name="T70" fmla="*/ 2147483647 w 1329"/>
                <a:gd name="T71" fmla="*/ 2147483647 h 1734"/>
                <a:gd name="T72" fmla="*/ 2147483647 w 1329"/>
                <a:gd name="T73" fmla="*/ 2147483647 h 1734"/>
                <a:gd name="T74" fmla="*/ 2147483647 w 1329"/>
                <a:gd name="T75" fmla="*/ 2147483647 h 1734"/>
                <a:gd name="T76" fmla="*/ 2147483647 w 1329"/>
                <a:gd name="T77" fmla="*/ 2147483647 h 1734"/>
                <a:gd name="T78" fmla="*/ 2147483647 w 1329"/>
                <a:gd name="T79" fmla="*/ 2147483647 h 1734"/>
                <a:gd name="T80" fmla="*/ 2147483647 w 1329"/>
                <a:gd name="T81" fmla="*/ 2147483647 h 1734"/>
                <a:gd name="T82" fmla="*/ 2147483647 w 1329"/>
                <a:gd name="T83" fmla="*/ 2147483647 h 1734"/>
                <a:gd name="T84" fmla="*/ 2147483647 w 1329"/>
                <a:gd name="T85" fmla="*/ 2147483647 h 1734"/>
                <a:gd name="T86" fmla="*/ 2147483647 w 1329"/>
                <a:gd name="T87" fmla="*/ 2147483647 h 1734"/>
                <a:gd name="T88" fmla="*/ 2147483647 w 1329"/>
                <a:gd name="T89" fmla="*/ 2147483647 h 1734"/>
                <a:gd name="T90" fmla="*/ 2147483647 w 1329"/>
                <a:gd name="T91" fmla="*/ 2147483647 h 1734"/>
                <a:gd name="T92" fmla="*/ 2147483647 w 1329"/>
                <a:gd name="T93" fmla="*/ 2147483647 h 1734"/>
                <a:gd name="T94" fmla="*/ 2147483647 w 1329"/>
                <a:gd name="T95" fmla="*/ 2147483647 h 1734"/>
                <a:gd name="T96" fmla="*/ 2147483647 w 1329"/>
                <a:gd name="T97" fmla="*/ 2147483647 h 1734"/>
                <a:gd name="T98" fmla="*/ 2147483647 w 1329"/>
                <a:gd name="T99" fmla="*/ 2147483647 h 1734"/>
                <a:gd name="T100" fmla="*/ 2147483647 w 1329"/>
                <a:gd name="T101" fmla="*/ 2147483647 h 1734"/>
                <a:gd name="T102" fmla="*/ 2147483647 w 1329"/>
                <a:gd name="T103" fmla="*/ 2147483647 h 1734"/>
                <a:gd name="T104" fmla="*/ 2147483647 w 1329"/>
                <a:gd name="T105" fmla="*/ 2147483647 h 1734"/>
                <a:gd name="T106" fmla="*/ 2147483647 w 1329"/>
                <a:gd name="T107" fmla="*/ 2147483647 h 1734"/>
                <a:gd name="T108" fmla="*/ 2147483647 w 1329"/>
                <a:gd name="T109" fmla="*/ 2147483647 h 173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29"/>
                <a:gd name="T166" fmla="*/ 0 h 1734"/>
                <a:gd name="T167" fmla="*/ 1329 w 1329"/>
                <a:gd name="T168" fmla="*/ 1734 h 173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29" h="1734">
                  <a:moveTo>
                    <a:pt x="227" y="1696"/>
                  </a:moveTo>
                  <a:lnTo>
                    <a:pt x="280" y="1718"/>
                  </a:lnTo>
                  <a:lnTo>
                    <a:pt x="316" y="1712"/>
                  </a:lnTo>
                  <a:lnTo>
                    <a:pt x="292" y="1678"/>
                  </a:lnTo>
                  <a:lnTo>
                    <a:pt x="291" y="1661"/>
                  </a:lnTo>
                  <a:lnTo>
                    <a:pt x="312" y="1685"/>
                  </a:lnTo>
                  <a:lnTo>
                    <a:pt x="326" y="1672"/>
                  </a:lnTo>
                  <a:lnTo>
                    <a:pt x="326" y="1647"/>
                  </a:lnTo>
                  <a:lnTo>
                    <a:pt x="360" y="1687"/>
                  </a:lnTo>
                  <a:lnTo>
                    <a:pt x="371" y="1680"/>
                  </a:lnTo>
                  <a:lnTo>
                    <a:pt x="372" y="1661"/>
                  </a:lnTo>
                  <a:lnTo>
                    <a:pt x="381" y="1685"/>
                  </a:lnTo>
                  <a:lnTo>
                    <a:pt x="394" y="1695"/>
                  </a:lnTo>
                  <a:lnTo>
                    <a:pt x="415" y="1688"/>
                  </a:lnTo>
                  <a:lnTo>
                    <a:pt x="420" y="1669"/>
                  </a:lnTo>
                  <a:lnTo>
                    <a:pt x="403" y="1638"/>
                  </a:lnTo>
                  <a:lnTo>
                    <a:pt x="424" y="1648"/>
                  </a:lnTo>
                  <a:lnTo>
                    <a:pt x="431" y="1675"/>
                  </a:lnTo>
                  <a:lnTo>
                    <a:pt x="468" y="1674"/>
                  </a:lnTo>
                  <a:lnTo>
                    <a:pt x="475" y="1697"/>
                  </a:lnTo>
                  <a:lnTo>
                    <a:pt x="466" y="1724"/>
                  </a:lnTo>
                  <a:lnTo>
                    <a:pt x="470" y="1734"/>
                  </a:lnTo>
                  <a:lnTo>
                    <a:pt x="527" y="1710"/>
                  </a:lnTo>
                  <a:lnTo>
                    <a:pt x="558" y="1661"/>
                  </a:lnTo>
                  <a:lnTo>
                    <a:pt x="562" y="1684"/>
                  </a:lnTo>
                  <a:lnTo>
                    <a:pt x="598" y="1654"/>
                  </a:lnTo>
                  <a:lnTo>
                    <a:pt x="603" y="1621"/>
                  </a:lnTo>
                  <a:lnTo>
                    <a:pt x="593" y="1583"/>
                  </a:lnTo>
                  <a:lnTo>
                    <a:pt x="562" y="1611"/>
                  </a:lnTo>
                  <a:lnTo>
                    <a:pt x="538" y="1587"/>
                  </a:lnTo>
                  <a:lnTo>
                    <a:pt x="545" y="1578"/>
                  </a:lnTo>
                  <a:lnTo>
                    <a:pt x="558" y="1562"/>
                  </a:lnTo>
                  <a:lnTo>
                    <a:pt x="539" y="1540"/>
                  </a:lnTo>
                  <a:lnTo>
                    <a:pt x="503" y="1565"/>
                  </a:lnTo>
                  <a:lnTo>
                    <a:pt x="499" y="1565"/>
                  </a:lnTo>
                  <a:lnTo>
                    <a:pt x="508" y="1540"/>
                  </a:lnTo>
                  <a:lnTo>
                    <a:pt x="474" y="1534"/>
                  </a:lnTo>
                  <a:lnTo>
                    <a:pt x="436" y="1564"/>
                  </a:lnTo>
                  <a:lnTo>
                    <a:pt x="426" y="1530"/>
                  </a:lnTo>
                  <a:lnTo>
                    <a:pt x="462" y="1523"/>
                  </a:lnTo>
                  <a:lnTo>
                    <a:pt x="448" y="1509"/>
                  </a:lnTo>
                  <a:lnTo>
                    <a:pt x="445" y="1489"/>
                  </a:lnTo>
                  <a:lnTo>
                    <a:pt x="492" y="1528"/>
                  </a:lnTo>
                  <a:lnTo>
                    <a:pt x="590" y="1513"/>
                  </a:lnTo>
                  <a:lnTo>
                    <a:pt x="601" y="1471"/>
                  </a:lnTo>
                  <a:lnTo>
                    <a:pt x="615" y="1461"/>
                  </a:lnTo>
                  <a:lnTo>
                    <a:pt x="600" y="1446"/>
                  </a:lnTo>
                  <a:lnTo>
                    <a:pt x="601" y="1431"/>
                  </a:lnTo>
                  <a:lnTo>
                    <a:pt x="591" y="1414"/>
                  </a:lnTo>
                  <a:lnTo>
                    <a:pt x="590" y="1388"/>
                  </a:lnTo>
                  <a:lnTo>
                    <a:pt x="687" y="1392"/>
                  </a:lnTo>
                  <a:lnTo>
                    <a:pt x="704" y="1357"/>
                  </a:lnTo>
                  <a:lnTo>
                    <a:pt x="701" y="1344"/>
                  </a:lnTo>
                  <a:lnTo>
                    <a:pt x="728" y="1307"/>
                  </a:lnTo>
                  <a:lnTo>
                    <a:pt x="671" y="1274"/>
                  </a:lnTo>
                  <a:lnTo>
                    <a:pt x="745" y="1251"/>
                  </a:lnTo>
                  <a:lnTo>
                    <a:pt x="740" y="1245"/>
                  </a:lnTo>
                  <a:lnTo>
                    <a:pt x="740" y="1200"/>
                  </a:lnTo>
                  <a:lnTo>
                    <a:pt x="731" y="1191"/>
                  </a:lnTo>
                  <a:lnTo>
                    <a:pt x="677" y="1188"/>
                  </a:lnTo>
                  <a:lnTo>
                    <a:pt x="695" y="1171"/>
                  </a:lnTo>
                  <a:lnTo>
                    <a:pt x="690" y="1160"/>
                  </a:lnTo>
                  <a:lnTo>
                    <a:pt x="610" y="1180"/>
                  </a:lnTo>
                  <a:lnTo>
                    <a:pt x="619" y="1158"/>
                  </a:lnTo>
                  <a:lnTo>
                    <a:pt x="608" y="1150"/>
                  </a:lnTo>
                  <a:lnTo>
                    <a:pt x="608" y="1125"/>
                  </a:lnTo>
                  <a:lnTo>
                    <a:pt x="676" y="1117"/>
                  </a:lnTo>
                  <a:lnTo>
                    <a:pt x="697" y="1148"/>
                  </a:lnTo>
                  <a:lnTo>
                    <a:pt x="745" y="1158"/>
                  </a:lnTo>
                  <a:lnTo>
                    <a:pt x="751" y="1137"/>
                  </a:lnTo>
                  <a:lnTo>
                    <a:pt x="741" y="1122"/>
                  </a:lnTo>
                  <a:lnTo>
                    <a:pt x="750" y="1109"/>
                  </a:lnTo>
                  <a:lnTo>
                    <a:pt x="629" y="1100"/>
                  </a:lnTo>
                  <a:lnTo>
                    <a:pt x="638" y="1088"/>
                  </a:lnTo>
                  <a:lnTo>
                    <a:pt x="629" y="1064"/>
                  </a:lnTo>
                  <a:lnTo>
                    <a:pt x="635" y="1062"/>
                  </a:lnTo>
                  <a:lnTo>
                    <a:pt x="641" y="1044"/>
                  </a:lnTo>
                  <a:lnTo>
                    <a:pt x="725" y="1074"/>
                  </a:lnTo>
                  <a:lnTo>
                    <a:pt x="730" y="1068"/>
                  </a:lnTo>
                  <a:lnTo>
                    <a:pt x="728" y="1054"/>
                  </a:lnTo>
                  <a:lnTo>
                    <a:pt x="790" y="1044"/>
                  </a:lnTo>
                  <a:lnTo>
                    <a:pt x="793" y="1031"/>
                  </a:lnTo>
                  <a:lnTo>
                    <a:pt x="786" y="994"/>
                  </a:lnTo>
                  <a:lnTo>
                    <a:pt x="796" y="983"/>
                  </a:lnTo>
                  <a:lnTo>
                    <a:pt x="796" y="1003"/>
                  </a:lnTo>
                  <a:lnTo>
                    <a:pt x="808" y="1010"/>
                  </a:lnTo>
                  <a:lnTo>
                    <a:pt x="856" y="1007"/>
                  </a:lnTo>
                  <a:lnTo>
                    <a:pt x="889" y="969"/>
                  </a:lnTo>
                  <a:lnTo>
                    <a:pt x="871" y="957"/>
                  </a:lnTo>
                  <a:lnTo>
                    <a:pt x="911" y="911"/>
                  </a:lnTo>
                  <a:lnTo>
                    <a:pt x="832" y="922"/>
                  </a:lnTo>
                  <a:lnTo>
                    <a:pt x="845" y="902"/>
                  </a:lnTo>
                  <a:lnTo>
                    <a:pt x="931" y="887"/>
                  </a:lnTo>
                  <a:lnTo>
                    <a:pt x="911" y="842"/>
                  </a:lnTo>
                  <a:lnTo>
                    <a:pt x="918" y="817"/>
                  </a:lnTo>
                  <a:lnTo>
                    <a:pt x="922" y="850"/>
                  </a:lnTo>
                  <a:lnTo>
                    <a:pt x="958" y="837"/>
                  </a:lnTo>
                  <a:lnTo>
                    <a:pt x="976" y="782"/>
                  </a:lnTo>
                  <a:lnTo>
                    <a:pt x="1006" y="741"/>
                  </a:lnTo>
                  <a:lnTo>
                    <a:pt x="1181" y="542"/>
                  </a:lnTo>
                  <a:lnTo>
                    <a:pt x="1182" y="510"/>
                  </a:lnTo>
                  <a:lnTo>
                    <a:pt x="1134" y="524"/>
                  </a:lnTo>
                  <a:lnTo>
                    <a:pt x="935" y="647"/>
                  </a:lnTo>
                  <a:lnTo>
                    <a:pt x="941" y="629"/>
                  </a:lnTo>
                  <a:lnTo>
                    <a:pt x="937" y="622"/>
                  </a:lnTo>
                  <a:lnTo>
                    <a:pt x="1076" y="519"/>
                  </a:lnTo>
                  <a:lnTo>
                    <a:pt x="986" y="526"/>
                  </a:lnTo>
                  <a:lnTo>
                    <a:pt x="986" y="505"/>
                  </a:lnTo>
                  <a:lnTo>
                    <a:pt x="1003" y="504"/>
                  </a:lnTo>
                  <a:lnTo>
                    <a:pt x="1012" y="502"/>
                  </a:lnTo>
                  <a:lnTo>
                    <a:pt x="1204" y="447"/>
                  </a:lnTo>
                  <a:lnTo>
                    <a:pt x="1324" y="305"/>
                  </a:lnTo>
                  <a:lnTo>
                    <a:pt x="1329" y="260"/>
                  </a:lnTo>
                  <a:lnTo>
                    <a:pt x="1319" y="233"/>
                  </a:lnTo>
                  <a:lnTo>
                    <a:pt x="1277" y="208"/>
                  </a:lnTo>
                  <a:lnTo>
                    <a:pt x="1234" y="237"/>
                  </a:lnTo>
                  <a:lnTo>
                    <a:pt x="1248" y="189"/>
                  </a:lnTo>
                  <a:lnTo>
                    <a:pt x="1208" y="131"/>
                  </a:lnTo>
                  <a:lnTo>
                    <a:pt x="1217" y="122"/>
                  </a:lnTo>
                  <a:lnTo>
                    <a:pt x="1215" y="89"/>
                  </a:lnTo>
                  <a:lnTo>
                    <a:pt x="1180" y="114"/>
                  </a:lnTo>
                  <a:lnTo>
                    <a:pt x="1162" y="68"/>
                  </a:lnTo>
                  <a:lnTo>
                    <a:pt x="1134" y="106"/>
                  </a:lnTo>
                  <a:lnTo>
                    <a:pt x="1143" y="122"/>
                  </a:lnTo>
                  <a:lnTo>
                    <a:pt x="1139" y="131"/>
                  </a:lnTo>
                  <a:lnTo>
                    <a:pt x="1118" y="91"/>
                  </a:lnTo>
                  <a:lnTo>
                    <a:pt x="988" y="174"/>
                  </a:lnTo>
                  <a:lnTo>
                    <a:pt x="1087" y="56"/>
                  </a:lnTo>
                  <a:lnTo>
                    <a:pt x="964" y="54"/>
                  </a:lnTo>
                  <a:lnTo>
                    <a:pt x="920" y="0"/>
                  </a:lnTo>
                  <a:lnTo>
                    <a:pt x="853" y="41"/>
                  </a:lnTo>
                  <a:lnTo>
                    <a:pt x="822" y="1"/>
                  </a:lnTo>
                  <a:lnTo>
                    <a:pt x="788" y="8"/>
                  </a:lnTo>
                  <a:lnTo>
                    <a:pt x="761" y="63"/>
                  </a:lnTo>
                  <a:lnTo>
                    <a:pt x="785" y="127"/>
                  </a:lnTo>
                  <a:lnTo>
                    <a:pt x="725" y="34"/>
                  </a:lnTo>
                  <a:lnTo>
                    <a:pt x="593" y="38"/>
                  </a:lnTo>
                  <a:lnTo>
                    <a:pt x="690" y="193"/>
                  </a:lnTo>
                  <a:lnTo>
                    <a:pt x="657" y="237"/>
                  </a:lnTo>
                  <a:lnTo>
                    <a:pt x="663" y="202"/>
                  </a:lnTo>
                  <a:lnTo>
                    <a:pt x="659" y="181"/>
                  </a:lnTo>
                  <a:lnTo>
                    <a:pt x="607" y="86"/>
                  </a:lnTo>
                  <a:lnTo>
                    <a:pt x="482" y="58"/>
                  </a:lnTo>
                  <a:lnTo>
                    <a:pt x="466" y="82"/>
                  </a:lnTo>
                  <a:lnTo>
                    <a:pt x="508" y="148"/>
                  </a:lnTo>
                  <a:lnTo>
                    <a:pt x="417" y="120"/>
                  </a:lnTo>
                  <a:lnTo>
                    <a:pt x="464" y="218"/>
                  </a:lnTo>
                  <a:lnTo>
                    <a:pt x="388" y="168"/>
                  </a:lnTo>
                  <a:lnTo>
                    <a:pt x="377" y="194"/>
                  </a:lnTo>
                  <a:lnTo>
                    <a:pt x="411" y="219"/>
                  </a:lnTo>
                  <a:lnTo>
                    <a:pt x="365" y="241"/>
                  </a:lnTo>
                  <a:lnTo>
                    <a:pt x="371" y="274"/>
                  </a:lnTo>
                  <a:lnTo>
                    <a:pt x="457" y="335"/>
                  </a:lnTo>
                  <a:lnTo>
                    <a:pt x="450" y="356"/>
                  </a:lnTo>
                  <a:lnTo>
                    <a:pt x="371" y="289"/>
                  </a:lnTo>
                  <a:lnTo>
                    <a:pt x="352" y="301"/>
                  </a:lnTo>
                  <a:lnTo>
                    <a:pt x="380" y="346"/>
                  </a:lnTo>
                  <a:lnTo>
                    <a:pt x="351" y="345"/>
                  </a:lnTo>
                  <a:lnTo>
                    <a:pt x="352" y="325"/>
                  </a:lnTo>
                  <a:lnTo>
                    <a:pt x="337" y="277"/>
                  </a:lnTo>
                  <a:lnTo>
                    <a:pt x="264" y="228"/>
                  </a:lnTo>
                  <a:lnTo>
                    <a:pt x="235" y="243"/>
                  </a:lnTo>
                  <a:lnTo>
                    <a:pt x="253" y="274"/>
                  </a:lnTo>
                  <a:lnTo>
                    <a:pt x="250" y="291"/>
                  </a:lnTo>
                  <a:lnTo>
                    <a:pt x="202" y="321"/>
                  </a:lnTo>
                  <a:lnTo>
                    <a:pt x="291" y="366"/>
                  </a:lnTo>
                  <a:lnTo>
                    <a:pt x="284" y="371"/>
                  </a:lnTo>
                  <a:lnTo>
                    <a:pt x="286" y="388"/>
                  </a:lnTo>
                  <a:lnTo>
                    <a:pt x="258" y="370"/>
                  </a:lnTo>
                  <a:lnTo>
                    <a:pt x="263" y="401"/>
                  </a:lnTo>
                  <a:lnTo>
                    <a:pt x="226" y="355"/>
                  </a:lnTo>
                  <a:lnTo>
                    <a:pt x="205" y="358"/>
                  </a:lnTo>
                  <a:lnTo>
                    <a:pt x="199" y="377"/>
                  </a:lnTo>
                  <a:lnTo>
                    <a:pt x="201" y="394"/>
                  </a:lnTo>
                  <a:lnTo>
                    <a:pt x="188" y="355"/>
                  </a:lnTo>
                  <a:lnTo>
                    <a:pt x="148" y="339"/>
                  </a:lnTo>
                  <a:lnTo>
                    <a:pt x="106" y="380"/>
                  </a:lnTo>
                  <a:lnTo>
                    <a:pt x="119" y="415"/>
                  </a:lnTo>
                  <a:lnTo>
                    <a:pt x="102" y="396"/>
                  </a:lnTo>
                  <a:lnTo>
                    <a:pt x="103" y="435"/>
                  </a:lnTo>
                  <a:lnTo>
                    <a:pt x="80" y="399"/>
                  </a:lnTo>
                  <a:lnTo>
                    <a:pt x="12" y="451"/>
                  </a:lnTo>
                  <a:lnTo>
                    <a:pt x="0" y="484"/>
                  </a:lnTo>
                  <a:lnTo>
                    <a:pt x="30" y="514"/>
                  </a:lnTo>
                  <a:lnTo>
                    <a:pt x="86" y="469"/>
                  </a:lnTo>
                  <a:lnTo>
                    <a:pt x="113" y="492"/>
                  </a:lnTo>
                  <a:lnTo>
                    <a:pt x="59" y="545"/>
                  </a:lnTo>
                  <a:lnTo>
                    <a:pt x="75" y="567"/>
                  </a:lnTo>
                  <a:lnTo>
                    <a:pt x="169" y="502"/>
                  </a:lnTo>
                  <a:lnTo>
                    <a:pt x="168" y="520"/>
                  </a:lnTo>
                  <a:lnTo>
                    <a:pt x="98" y="574"/>
                  </a:lnTo>
                  <a:lnTo>
                    <a:pt x="140" y="595"/>
                  </a:lnTo>
                  <a:lnTo>
                    <a:pt x="92" y="609"/>
                  </a:lnTo>
                  <a:lnTo>
                    <a:pt x="91" y="645"/>
                  </a:lnTo>
                  <a:lnTo>
                    <a:pt x="108" y="662"/>
                  </a:lnTo>
                  <a:lnTo>
                    <a:pt x="207" y="653"/>
                  </a:lnTo>
                  <a:lnTo>
                    <a:pt x="236" y="668"/>
                  </a:lnTo>
                  <a:lnTo>
                    <a:pt x="116" y="697"/>
                  </a:lnTo>
                  <a:lnTo>
                    <a:pt x="215" y="780"/>
                  </a:lnTo>
                  <a:lnTo>
                    <a:pt x="245" y="703"/>
                  </a:lnTo>
                  <a:lnTo>
                    <a:pt x="283" y="658"/>
                  </a:lnTo>
                  <a:lnTo>
                    <a:pt x="280" y="680"/>
                  </a:lnTo>
                  <a:lnTo>
                    <a:pt x="244" y="759"/>
                  </a:lnTo>
                  <a:lnTo>
                    <a:pt x="243" y="783"/>
                  </a:lnTo>
                  <a:lnTo>
                    <a:pt x="262" y="794"/>
                  </a:lnTo>
                  <a:lnTo>
                    <a:pt x="294" y="773"/>
                  </a:lnTo>
                  <a:lnTo>
                    <a:pt x="288" y="798"/>
                  </a:lnTo>
                  <a:lnTo>
                    <a:pt x="331" y="805"/>
                  </a:lnTo>
                  <a:lnTo>
                    <a:pt x="341" y="780"/>
                  </a:lnTo>
                  <a:lnTo>
                    <a:pt x="337" y="754"/>
                  </a:lnTo>
                  <a:lnTo>
                    <a:pt x="357" y="726"/>
                  </a:lnTo>
                  <a:lnTo>
                    <a:pt x="349" y="766"/>
                  </a:lnTo>
                  <a:lnTo>
                    <a:pt x="367" y="768"/>
                  </a:lnTo>
                  <a:lnTo>
                    <a:pt x="422" y="691"/>
                  </a:lnTo>
                  <a:lnTo>
                    <a:pt x="418" y="703"/>
                  </a:lnTo>
                  <a:lnTo>
                    <a:pt x="420" y="724"/>
                  </a:lnTo>
                  <a:lnTo>
                    <a:pt x="433" y="720"/>
                  </a:lnTo>
                  <a:lnTo>
                    <a:pt x="363" y="781"/>
                  </a:lnTo>
                  <a:lnTo>
                    <a:pt x="375" y="807"/>
                  </a:lnTo>
                  <a:lnTo>
                    <a:pt x="516" y="716"/>
                  </a:lnTo>
                  <a:lnTo>
                    <a:pt x="530" y="684"/>
                  </a:lnTo>
                  <a:lnTo>
                    <a:pt x="522" y="678"/>
                  </a:lnTo>
                  <a:lnTo>
                    <a:pt x="529" y="646"/>
                  </a:lnTo>
                  <a:lnTo>
                    <a:pt x="511" y="613"/>
                  </a:lnTo>
                  <a:lnTo>
                    <a:pt x="538" y="640"/>
                  </a:lnTo>
                  <a:lnTo>
                    <a:pt x="564" y="581"/>
                  </a:lnTo>
                  <a:lnTo>
                    <a:pt x="616" y="529"/>
                  </a:lnTo>
                  <a:lnTo>
                    <a:pt x="559" y="615"/>
                  </a:lnTo>
                  <a:lnTo>
                    <a:pt x="538" y="673"/>
                  </a:lnTo>
                  <a:lnTo>
                    <a:pt x="540" y="699"/>
                  </a:lnTo>
                  <a:lnTo>
                    <a:pt x="664" y="696"/>
                  </a:lnTo>
                  <a:lnTo>
                    <a:pt x="667" y="717"/>
                  </a:lnTo>
                  <a:lnTo>
                    <a:pt x="595" y="714"/>
                  </a:lnTo>
                  <a:lnTo>
                    <a:pt x="509" y="761"/>
                  </a:lnTo>
                  <a:lnTo>
                    <a:pt x="370" y="842"/>
                  </a:lnTo>
                  <a:lnTo>
                    <a:pt x="410" y="923"/>
                  </a:lnTo>
                  <a:lnTo>
                    <a:pt x="447" y="944"/>
                  </a:lnTo>
                  <a:lnTo>
                    <a:pt x="437" y="954"/>
                  </a:lnTo>
                  <a:lnTo>
                    <a:pt x="448" y="1002"/>
                  </a:lnTo>
                  <a:lnTo>
                    <a:pt x="514" y="1006"/>
                  </a:lnTo>
                  <a:lnTo>
                    <a:pt x="478" y="1042"/>
                  </a:lnTo>
                  <a:lnTo>
                    <a:pt x="434" y="1030"/>
                  </a:lnTo>
                  <a:lnTo>
                    <a:pt x="419" y="975"/>
                  </a:lnTo>
                  <a:lnTo>
                    <a:pt x="337" y="862"/>
                  </a:lnTo>
                  <a:lnTo>
                    <a:pt x="243" y="840"/>
                  </a:lnTo>
                  <a:lnTo>
                    <a:pt x="233" y="854"/>
                  </a:lnTo>
                  <a:lnTo>
                    <a:pt x="228" y="892"/>
                  </a:lnTo>
                  <a:lnTo>
                    <a:pt x="231" y="917"/>
                  </a:lnTo>
                  <a:lnTo>
                    <a:pt x="238" y="928"/>
                  </a:lnTo>
                  <a:lnTo>
                    <a:pt x="234" y="931"/>
                  </a:lnTo>
                  <a:lnTo>
                    <a:pt x="234" y="966"/>
                  </a:lnTo>
                  <a:lnTo>
                    <a:pt x="292" y="1008"/>
                  </a:lnTo>
                  <a:lnTo>
                    <a:pt x="320" y="1064"/>
                  </a:lnTo>
                  <a:lnTo>
                    <a:pt x="329" y="1120"/>
                  </a:lnTo>
                  <a:lnTo>
                    <a:pt x="345" y="1109"/>
                  </a:lnTo>
                  <a:lnTo>
                    <a:pt x="339" y="1125"/>
                  </a:lnTo>
                  <a:lnTo>
                    <a:pt x="317" y="1133"/>
                  </a:lnTo>
                  <a:lnTo>
                    <a:pt x="307" y="1146"/>
                  </a:lnTo>
                  <a:lnTo>
                    <a:pt x="310" y="1158"/>
                  </a:lnTo>
                  <a:lnTo>
                    <a:pt x="397" y="1192"/>
                  </a:lnTo>
                  <a:lnTo>
                    <a:pt x="449" y="1170"/>
                  </a:lnTo>
                  <a:lnTo>
                    <a:pt x="432" y="1210"/>
                  </a:lnTo>
                  <a:lnTo>
                    <a:pt x="419" y="1231"/>
                  </a:lnTo>
                  <a:lnTo>
                    <a:pt x="406" y="1236"/>
                  </a:lnTo>
                  <a:lnTo>
                    <a:pt x="414" y="1263"/>
                  </a:lnTo>
                  <a:lnTo>
                    <a:pt x="347" y="1198"/>
                  </a:lnTo>
                  <a:lnTo>
                    <a:pt x="292" y="1181"/>
                  </a:lnTo>
                  <a:lnTo>
                    <a:pt x="221" y="1213"/>
                  </a:lnTo>
                  <a:lnTo>
                    <a:pt x="209" y="1255"/>
                  </a:lnTo>
                  <a:lnTo>
                    <a:pt x="217" y="1258"/>
                  </a:lnTo>
                  <a:lnTo>
                    <a:pt x="186" y="1293"/>
                  </a:lnTo>
                  <a:lnTo>
                    <a:pt x="192" y="1336"/>
                  </a:lnTo>
                  <a:lnTo>
                    <a:pt x="193" y="1354"/>
                  </a:lnTo>
                  <a:lnTo>
                    <a:pt x="235" y="1349"/>
                  </a:lnTo>
                  <a:lnTo>
                    <a:pt x="263" y="1302"/>
                  </a:lnTo>
                  <a:lnTo>
                    <a:pt x="246" y="1346"/>
                  </a:lnTo>
                  <a:lnTo>
                    <a:pt x="249" y="1361"/>
                  </a:lnTo>
                  <a:lnTo>
                    <a:pt x="279" y="1359"/>
                  </a:lnTo>
                  <a:lnTo>
                    <a:pt x="295" y="1331"/>
                  </a:lnTo>
                  <a:lnTo>
                    <a:pt x="315" y="1254"/>
                  </a:lnTo>
                  <a:lnTo>
                    <a:pt x="307" y="1300"/>
                  </a:lnTo>
                  <a:lnTo>
                    <a:pt x="317" y="1303"/>
                  </a:lnTo>
                  <a:lnTo>
                    <a:pt x="304" y="1337"/>
                  </a:lnTo>
                  <a:lnTo>
                    <a:pt x="299" y="1350"/>
                  </a:lnTo>
                  <a:lnTo>
                    <a:pt x="292" y="1368"/>
                  </a:lnTo>
                  <a:lnTo>
                    <a:pt x="302" y="1373"/>
                  </a:lnTo>
                  <a:lnTo>
                    <a:pt x="265" y="1394"/>
                  </a:lnTo>
                  <a:lnTo>
                    <a:pt x="279" y="1414"/>
                  </a:lnTo>
                  <a:lnTo>
                    <a:pt x="294" y="1414"/>
                  </a:lnTo>
                  <a:lnTo>
                    <a:pt x="285" y="1436"/>
                  </a:lnTo>
                  <a:lnTo>
                    <a:pt x="301" y="1456"/>
                  </a:lnTo>
                  <a:lnTo>
                    <a:pt x="312" y="1428"/>
                  </a:lnTo>
                  <a:lnTo>
                    <a:pt x="307" y="1472"/>
                  </a:lnTo>
                  <a:lnTo>
                    <a:pt x="362" y="1469"/>
                  </a:lnTo>
                  <a:lnTo>
                    <a:pt x="397" y="1374"/>
                  </a:lnTo>
                  <a:lnTo>
                    <a:pt x="412" y="1370"/>
                  </a:lnTo>
                  <a:lnTo>
                    <a:pt x="383" y="1446"/>
                  </a:lnTo>
                  <a:lnTo>
                    <a:pt x="355" y="1485"/>
                  </a:lnTo>
                  <a:lnTo>
                    <a:pt x="364" y="1501"/>
                  </a:lnTo>
                  <a:lnTo>
                    <a:pt x="319" y="1497"/>
                  </a:lnTo>
                  <a:lnTo>
                    <a:pt x="323" y="1516"/>
                  </a:lnTo>
                  <a:lnTo>
                    <a:pt x="268" y="1491"/>
                  </a:lnTo>
                  <a:lnTo>
                    <a:pt x="263" y="1462"/>
                  </a:lnTo>
                  <a:lnTo>
                    <a:pt x="234" y="1410"/>
                  </a:lnTo>
                  <a:lnTo>
                    <a:pt x="156" y="1421"/>
                  </a:lnTo>
                  <a:lnTo>
                    <a:pt x="157" y="1454"/>
                  </a:lnTo>
                  <a:lnTo>
                    <a:pt x="179" y="1482"/>
                  </a:lnTo>
                  <a:lnTo>
                    <a:pt x="182" y="1510"/>
                  </a:lnTo>
                  <a:lnTo>
                    <a:pt x="215" y="1508"/>
                  </a:lnTo>
                  <a:lnTo>
                    <a:pt x="201" y="1523"/>
                  </a:lnTo>
                  <a:lnTo>
                    <a:pt x="211" y="1527"/>
                  </a:lnTo>
                  <a:lnTo>
                    <a:pt x="202" y="1541"/>
                  </a:lnTo>
                  <a:lnTo>
                    <a:pt x="146" y="1572"/>
                  </a:lnTo>
                  <a:lnTo>
                    <a:pt x="104" y="1621"/>
                  </a:lnTo>
                  <a:lnTo>
                    <a:pt x="101" y="1660"/>
                  </a:lnTo>
                  <a:lnTo>
                    <a:pt x="116" y="1685"/>
                  </a:lnTo>
                  <a:lnTo>
                    <a:pt x="134" y="1660"/>
                  </a:lnTo>
                  <a:lnTo>
                    <a:pt x="138" y="1682"/>
                  </a:lnTo>
                  <a:lnTo>
                    <a:pt x="144" y="1663"/>
                  </a:lnTo>
                  <a:lnTo>
                    <a:pt x="138" y="1626"/>
                  </a:lnTo>
                  <a:lnTo>
                    <a:pt x="143" y="1615"/>
                  </a:lnTo>
                  <a:lnTo>
                    <a:pt x="148" y="1687"/>
                  </a:lnTo>
                  <a:lnTo>
                    <a:pt x="167" y="1699"/>
                  </a:lnTo>
                  <a:lnTo>
                    <a:pt x="179" y="1694"/>
                  </a:lnTo>
                  <a:lnTo>
                    <a:pt x="181" y="1662"/>
                  </a:lnTo>
                  <a:lnTo>
                    <a:pt x="213" y="1698"/>
                  </a:lnTo>
                  <a:lnTo>
                    <a:pt x="225" y="1673"/>
                  </a:lnTo>
                  <a:lnTo>
                    <a:pt x="226" y="1654"/>
                  </a:lnTo>
                  <a:lnTo>
                    <a:pt x="230" y="1675"/>
                  </a:lnTo>
                  <a:lnTo>
                    <a:pt x="227" y="1696"/>
                  </a:lnTo>
                  <a:close/>
                </a:path>
              </a:pathLst>
            </a:custGeom>
            <a:grpFill/>
            <a:ln w="6350">
              <a:solidFill>
                <a:schemeClr val="tx2"/>
              </a:solidFill>
              <a:round/>
              <a:headEnd/>
              <a:tailEnd/>
            </a:ln>
          </p:spPr>
          <p:txBody>
            <a:bodyPr/>
            <a:lstStyle/>
            <a:p>
              <a:endParaRPr lang="en-US"/>
            </a:p>
          </p:txBody>
        </p:sp>
        <p:sp>
          <p:nvSpPr>
            <p:cNvPr id="130" name="Freeform 1200"/>
            <p:cNvSpPr>
              <a:spLocks/>
            </p:cNvSpPr>
            <p:nvPr/>
          </p:nvSpPr>
          <p:spPr bwMode="auto">
            <a:xfrm>
              <a:off x="2486779" y="2274353"/>
              <a:ext cx="104680" cy="72821"/>
            </a:xfrm>
            <a:custGeom>
              <a:avLst/>
              <a:gdLst>
                <a:gd name="T0" fmla="*/ 2147483647 w 208"/>
                <a:gd name="T1" fmla="*/ 2147483647 h 149"/>
                <a:gd name="T2" fmla="*/ 2147483647 w 208"/>
                <a:gd name="T3" fmla="*/ 2147483647 h 149"/>
                <a:gd name="T4" fmla="*/ 2147483647 w 208"/>
                <a:gd name="T5" fmla="*/ 2147483647 h 149"/>
                <a:gd name="T6" fmla="*/ 2147483647 w 208"/>
                <a:gd name="T7" fmla="*/ 2147483647 h 149"/>
                <a:gd name="T8" fmla="*/ 2147483647 w 208"/>
                <a:gd name="T9" fmla="*/ 2147483647 h 149"/>
                <a:gd name="T10" fmla="*/ 2147483647 w 208"/>
                <a:gd name="T11" fmla="*/ 2147483647 h 149"/>
                <a:gd name="T12" fmla="*/ 2147483647 w 208"/>
                <a:gd name="T13" fmla="*/ 2147483647 h 149"/>
                <a:gd name="T14" fmla="*/ 2147483647 w 208"/>
                <a:gd name="T15" fmla="*/ 2147483647 h 149"/>
                <a:gd name="T16" fmla="*/ 2147483647 w 208"/>
                <a:gd name="T17" fmla="*/ 2147483647 h 149"/>
                <a:gd name="T18" fmla="*/ 0 w 208"/>
                <a:gd name="T19" fmla="*/ 2147483647 h 149"/>
                <a:gd name="T20" fmla="*/ 2147483647 w 208"/>
                <a:gd name="T21" fmla="*/ 2147483647 h 149"/>
                <a:gd name="T22" fmla="*/ 2147483647 w 208"/>
                <a:gd name="T23" fmla="*/ 0 h 149"/>
                <a:gd name="T24" fmla="*/ 2147483647 w 208"/>
                <a:gd name="T25" fmla="*/ 214748364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49"/>
                <a:gd name="T41" fmla="*/ 208 w 208"/>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49">
                  <a:moveTo>
                    <a:pt x="87" y="15"/>
                  </a:moveTo>
                  <a:lnTo>
                    <a:pt x="118" y="13"/>
                  </a:lnTo>
                  <a:lnTo>
                    <a:pt x="157" y="36"/>
                  </a:lnTo>
                  <a:lnTo>
                    <a:pt x="208" y="125"/>
                  </a:lnTo>
                  <a:lnTo>
                    <a:pt x="187" y="136"/>
                  </a:lnTo>
                  <a:lnTo>
                    <a:pt x="117" y="125"/>
                  </a:lnTo>
                  <a:lnTo>
                    <a:pt x="67" y="149"/>
                  </a:lnTo>
                  <a:lnTo>
                    <a:pt x="38" y="131"/>
                  </a:lnTo>
                  <a:lnTo>
                    <a:pt x="31" y="80"/>
                  </a:lnTo>
                  <a:lnTo>
                    <a:pt x="0" y="58"/>
                  </a:lnTo>
                  <a:lnTo>
                    <a:pt x="5" y="15"/>
                  </a:lnTo>
                  <a:lnTo>
                    <a:pt x="22" y="0"/>
                  </a:lnTo>
                  <a:lnTo>
                    <a:pt x="87" y="15"/>
                  </a:lnTo>
                  <a:close/>
                </a:path>
              </a:pathLst>
            </a:custGeom>
            <a:grpFill/>
            <a:ln w="6350">
              <a:solidFill>
                <a:schemeClr val="tx2"/>
              </a:solidFill>
              <a:round/>
              <a:headEnd/>
              <a:tailEnd/>
            </a:ln>
          </p:spPr>
          <p:txBody>
            <a:bodyPr/>
            <a:lstStyle/>
            <a:p>
              <a:endParaRPr lang="en-US"/>
            </a:p>
          </p:txBody>
        </p:sp>
        <p:sp>
          <p:nvSpPr>
            <p:cNvPr id="131" name="Freeform 1201"/>
            <p:cNvSpPr>
              <a:spLocks/>
            </p:cNvSpPr>
            <p:nvPr/>
          </p:nvSpPr>
          <p:spPr bwMode="auto">
            <a:xfrm>
              <a:off x="2424577" y="2910023"/>
              <a:ext cx="39445" cy="36411"/>
            </a:xfrm>
            <a:custGeom>
              <a:avLst/>
              <a:gdLst>
                <a:gd name="T0" fmla="*/ 2147483647 w 78"/>
                <a:gd name="T1" fmla="*/ 0 h 76"/>
                <a:gd name="T2" fmla="*/ 2147483647 w 78"/>
                <a:gd name="T3" fmla="*/ 2147483647 h 76"/>
                <a:gd name="T4" fmla="*/ 0 w 78"/>
                <a:gd name="T5" fmla="*/ 2147483647 h 76"/>
                <a:gd name="T6" fmla="*/ 2147483647 w 78"/>
                <a:gd name="T7" fmla="*/ 2147483647 h 76"/>
                <a:gd name="T8" fmla="*/ 2147483647 w 78"/>
                <a:gd name="T9" fmla="*/ 2147483647 h 76"/>
                <a:gd name="T10" fmla="*/ 2147483647 w 78"/>
                <a:gd name="T11" fmla="*/ 2147483647 h 76"/>
                <a:gd name="T12" fmla="*/ 2147483647 w 78"/>
                <a:gd name="T13" fmla="*/ 2147483647 h 76"/>
                <a:gd name="T14" fmla="*/ 2147483647 w 78"/>
                <a:gd name="T15" fmla="*/ 2147483647 h 76"/>
                <a:gd name="T16" fmla="*/ 2147483647 w 78"/>
                <a:gd name="T17" fmla="*/ 0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76"/>
                <a:gd name="T29" fmla="*/ 78 w 78"/>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76">
                  <a:moveTo>
                    <a:pt x="56" y="0"/>
                  </a:moveTo>
                  <a:lnTo>
                    <a:pt x="23" y="18"/>
                  </a:lnTo>
                  <a:lnTo>
                    <a:pt x="0" y="76"/>
                  </a:lnTo>
                  <a:lnTo>
                    <a:pt x="27" y="70"/>
                  </a:lnTo>
                  <a:lnTo>
                    <a:pt x="44" y="58"/>
                  </a:lnTo>
                  <a:lnTo>
                    <a:pt x="48" y="40"/>
                  </a:lnTo>
                  <a:lnTo>
                    <a:pt x="73" y="22"/>
                  </a:lnTo>
                  <a:lnTo>
                    <a:pt x="78" y="3"/>
                  </a:lnTo>
                  <a:lnTo>
                    <a:pt x="56" y="0"/>
                  </a:lnTo>
                  <a:close/>
                </a:path>
              </a:pathLst>
            </a:custGeom>
            <a:grpFill/>
            <a:ln w="6350">
              <a:solidFill>
                <a:schemeClr val="tx2"/>
              </a:solidFill>
              <a:round/>
              <a:headEnd/>
              <a:tailEnd/>
            </a:ln>
          </p:spPr>
          <p:txBody>
            <a:bodyPr/>
            <a:lstStyle/>
            <a:p>
              <a:endParaRPr lang="en-US"/>
            </a:p>
          </p:txBody>
        </p:sp>
        <p:sp>
          <p:nvSpPr>
            <p:cNvPr id="132" name="Freeform 1202"/>
            <p:cNvSpPr>
              <a:spLocks/>
            </p:cNvSpPr>
            <p:nvPr/>
          </p:nvSpPr>
          <p:spPr bwMode="auto">
            <a:xfrm>
              <a:off x="2498916" y="2935813"/>
              <a:ext cx="21239" cy="37929"/>
            </a:xfrm>
            <a:custGeom>
              <a:avLst/>
              <a:gdLst>
                <a:gd name="T0" fmla="*/ 2147483647 w 42"/>
                <a:gd name="T1" fmla="*/ 0 h 75"/>
                <a:gd name="T2" fmla="*/ 2147483647 w 42"/>
                <a:gd name="T3" fmla="*/ 2147483647 h 75"/>
                <a:gd name="T4" fmla="*/ 0 w 42"/>
                <a:gd name="T5" fmla="*/ 2147483647 h 75"/>
                <a:gd name="T6" fmla="*/ 2147483647 w 42"/>
                <a:gd name="T7" fmla="*/ 2147483647 h 75"/>
                <a:gd name="T8" fmla="*/ 2147483647 w 42"/>
                <a:gd name="T9" fmla="*/ 2147483647 h 75"/>
                <a:gd name="T10" fmla="*/ 2147483647 w 42"/>
                <a:gd name="T11" fmla="*/ 0 h 75"/>
                <a:gd name="T12" fmla="*/ 0 60000 65536"/>
                <a:gd name="T13" fmla="*/ 0 60000 65536"/>
                <a:gd name="T14" fmla="*/ 0 60000 65536"/>
                <a:gd name="T15" fmla="*/ 0 60000 65536"/>
                <a:gd name="T16" fmla="*/ 0 60000 65536"/>
                <a:gd name="T17" fmla="*/ 0 60000 65536"/>
                <a:gd name="T18" fmla="*/ 0 w 42"/>
                <a:gd name="T19" fmla="*/ 0 h 75"/>
                <a:gd name="T20" fmla="*/ 42 w 42"/>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42" h="75">
                  <a:moveTo>
                    <a:pt x="13" y="0"/>
                  </a:moveTo>
                  <a:lnTo>
                    <a:pt x="4" y="10"/>
                  </a:lnTo>
                  <a:lnTo>
                    <a:pt x="0" y="54"/>
                  </a:lnTo>
                  <a:lnTo>
                    <a:pt x="21" y="75"/>
                  </a:lnTo>
                  <a:lnTo>
                    <a:pt x="42" y="8"/>
                  </a:lnTo>
                  <a:lnTo>
                    <a:pt x="13" y="0"/>
                  </a:lnTo>
                  <a:close/>
                </a:path>
              </a:pathLst>
            </a:custGeom>
            <a:grpFill/>
            <a:ln w="6350">
              <a:solidFill>
                <a:schemeClr val="tx2"/>
              </a:solidFill>
              <a:round/>
              <a:headEnd/>
              <a:tailEnd/>
            </a:ln>
          </p:spPr>
          <p:txBody>
            <a:bodyPr/>
            <a:lstStyle/>
            <a:p>
              <a:endParaRPr lang="en-US"/>
            </a:p>
          </p:txBody>
        </p:sp>
        <p:sp>
          <p:nvSpPr>
            <p:cNvPr id="133" name="Freeform 1203"/>
            <p:cNvSpPr>
              <a:spLocks/>
            </p:cNvSpPr>
            <p:nvPr/>
          </p:nvSpPr>
          <p:spPr bwMode="auto">
            <a:xfrm>
              <a:off x="2758342" y="3014703"/>
              <a:ext cx="10620" cy="13654"/>
            </a:xfrm>
            <a:custGeom>
              <a:avLst/>
              <a:gdLst>
                <a:gd name="T0" fmla="*/ 2147483647 w 20"/>
                <a:gd name="T1" fmla="*/ 2147483647 h 27"/>
                <a:gd name="T2" fmla="*/ 0 w 20"/>
                <a:gd name="T3" fmla="*/ 2147483647 h 27"/>
                <a:gd name="T4" fmla="*/ 2147483647 w 20"/>
                <a:gd name="T5" fmla="*/ 2147483647 h 27"/>
                <a:gd name="T6" fmla="*/ 2147483647 w 20"/>
                <a:gd name="T7" fmla="*/ 0 h 27"/>
                <a:gd name="T8" fmla="*/ 2147483647 w 20"/>
                <a:gd name="T9" fmla="*/ 2147483647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2" y="10"/>
                  </a:moveTo>
                  <a:lnTo>
                    <a:pt x="0" y="27"/>
                  </a:lnTo>
                  <a:lnTo>
                    <a:pt x="20" y="11"/>
                  </a:lnTo>
                  <a:lnTo>
                    <a:pt x="18" y="0"/>
                  </a:lnTo>
                  <a:lnTo>
                    <a:pt x="2" y="10"/>
                  </a:lnTo>
                  <a:close/>
                </a:path>
              </a:pathLst>
            </a:custGeom>
            <a:grpFill/>
            <a:ln w="6350">
              <a:solidFill>
                <a:schemeClr val="tx2"/>
              </a:solidFill>
              <a:round/>
              <a:headEnd/>
              <a:tailEnd/>
            </a:ln>
          </p:spPr>
          <p:txBody>
            <a:bodyPr/>
            <a:lstStyle/>
            <a:p>
              <a:endParaRPr lang="en-US"/>
            </a:p>
          </p:txBody>
        </p:sp>
        <p:sp>
          <p:nvSpPr>
            <p:cNvPr id="134" name="Freeform 1204"/>
            <p:cNvSpPr>
              <a:spLocks/>
            </p:cNvSpPr>
            <p:nvPr/>
          </p:nvSpPr>
          <p:spPr bwMode="auto">
            <a:xfrm>
              <a:off x="2817510" y="2966155"/>
              <a:ext cx="18206" cy="15172"/>
            </a:xfrm>
            <a:custGeom>
              <a:avLst/>
              <a:gdLst>
                <a:gd name="T0" fmla="*/ 2147483647 w 35"/>
                <a:gd name="T1" fmla="*/ 0 h 29"/>
                <a:gd name="T2" fmla="*/ 2147483647 w 35"/>
                <a:gd name="T3" fmla="*/ 2147483647 h 29"/>
                <a:gd name="T4" fmla="*/ 2147483647 w 35"/>
                <a:gd name="T5" fmla="*/ 2147483647 h 29"/>
                <a:gd name="T6" fmla="*/ 0 w 35"/>
                <a:gd name="T7" fmla="*/ 2147483647 h 29"/>
                <a:gd name="T8" fmla="*/ 2147483647 w 35"/>
                <a:gd name="T9" fmla="*/ 2147483647 h 29"/>
                <a:gd name="T10" fmla="*/ 2147483647 w 35"/>
                <a:gd name="T11" fmla="*/ 0 h 29"/>
                <a:gd name="T12" fmla="*/ 0 60000 65536"/>
                <a:gd name="T13" fmla="*/ 0 60000 65536"/>
                <a:gd name="T14" fmla="*/ 0 60000 65536"/>
                <a:gd name="T15" fmla="*/ 0 60000 65536"/>
                <a:gd name="T16" fmla="*/ 0 60000 65536"/>
                <a:gd name="T17" fmla="*/ 0 60000 65536"/>
                <a:gd name="T18" fmla="*/ 0 w 35"/>
                <a:gd name="T19" fmla="*/ 0 h 29"/>
                <a:gd name="T20" fmla="*/ 35 w 3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5" h="29">
                  <a:moveTo>
                    <a:pt x="19" y="0"/>
                  </a:moveTo>
                  <a:lnTo>
                    <a:pt x="35" y="10"/>
                  </a:lnTo>
                  <a:lnTo>
                    <a:pt x="33" y="29"/>
                  </a:lnTo>
                  <a:lnTo>
                    <a:pt x="0" y="14"/>
                  </a:lnTo>
                  <a:lnTo>
                    <a:pt x="1" y="6"/>
                  </a:lnTo>
                  <a:lnTo>
                    <a:pt x="19" y="0"/>
                  </a:lnTo>
                  <a:close/>
                </a:path>
              </a:pathLst>
            </a:custGeom>
            <a:grpFill/>
            <a:ln w="6350">
              <a:solidFill>
                <a:schemeClr val="tx2"/>
              </a:solidFill>
              <a:round/>
              <a:headEnd/>
              <a:tailEnd/>
            </a:ln>
          </p:spPr>
          <p:txBody>
            <a:bodyPr/>
            <a:lstStyle/>
            <a:p>
              <a:endParaRPr lang="en-US"/>
            </a:p>
          </p:txBody>
        </p:sp>
        <p:sp>
          <p:nvSpPr>
            <p:cNvPr id="135" name="Freeform 1205"/>
            <p:cNvSpPr>
              <a:spLocks/>
            </p:cNvSpPr>
            <p:nvPr/>
          </p:nvSpPr>
          <p:spPr bwMode="auto">
            <a:xfrm>
              <a:off x="2289554" y="2265250"/>
              <a:ext cx="615948" cy="693322"/>
            </a:xfrm>
            <a:custGeom>
              <a:avLst/>
              <a:gdLst>
                <a:gd name="T0" fmla="*/ 2147483647 w 1241"/>
                <a:gd name="T1" fmla="*/ 2147483647 h 1394"/>
                <a:gd name="T2" fmla="*/ 2147483647 w 1241"/>
                <a:gd name="T3" fmla="*/ 2147483647 h 1394"/>
                <a:gd name="T4" fmla="*/ 2147483647 w 1241"/>
                <a:gd name="T5" fmla="*/ 2147483647 h 1394"/>
                <a:gd name="T6" fmla="*/ 2147483647 w 1241"/>
                <a:gd name="T7" fmla="*/ 2147483647 h 1394"/>
                <a:gd name="T8" fmla="*/ 2147483647 w 1241"/>
                <a:gd name="T9" fmla="*/ 2147483647 h 1394"/>
                <a:gd name="T10" fmla="*/ 2147483647 w 1241"/>
                <a:gd name="T11" fmla="*/ 2147483647 h 1394"/>
                <a:gd name="T12" fmla="*/ 2147483647 w 1241"/>
                <a:gd name="T13" fmla="*/ 2147483647 h 1394"/>
                <a:gd name="T14" fmla="*/ 2147483647 w 1241"/>
                <a:gd name="T15" fmla="*/ 2147483647 h 1394"/>
                <a:gd name="T16" fmla="*/ 2147483647 w 1241"/>
                <a:gd name="T17" fmla="*/ 2147483647 h 1394"/>
                <a:gd name="T18" fmla="*/ 2147483647 w 1241"/>
                <a:gd name="T19" fmla="*/ 2147483647 h 1394"/>
                <a:gd name="T20" fmla="*/ 2147483647 w 1241"/>
                <a:gd name="T21" fmla="*/ 2147483647 h 1394"/>
                <a:gd name="T22" fmla="*/ 2147483647 w 1241"/>
                <a:gd name="T23" fmla="*/ 2147483647 h 1394"/>
                <a:gd name="T24" fmla="*/ 2147483647 w 1241"/>
                <a:gd name="T25" fmla="*/ 2147483647 h 1394"/>
                <a:gd name="T26" fmla="*/ 2147483647 w 1241"/>
                <a:gd name="T27" fmla="*/ 2147483647 h 1394"/>
                <a:gd name="T28" fmla="*/ 2147483647 w 1241"/>
                <a:gd name="T29" fmla="*/ 2147483647 h 1394"/>
                <a:gd name="T30" fmla="*/ 2147483647 w 1241"/>
                <a:gd name="T31" fmla="*/ 2147483647 h 1394"/>
                <a:gd name="T32" fmla="*/ 2147483647 w 1241"/>
                <a:gd name="T33" fmla="*/ 2147483647 h 1394"/>
                <a:gd name="T34" fmla="*/ 2147483647 w 1241"/>
                <a:gd name="T35" fmla="*/ 2147483647 h 1394"/>
                <a:gd name="T36" fmla="*/ 2147483647 w 1241"/>
                <a:gd name="T37" fmla="*/ 2147483647 h 1394"/>
                <a:gd name="T38" fmla="*/ 2147483647 w 1241"/>
                <a:gd name="T39" fmla="*/ 2147483647 h 1394"/>
                <a:gd name="T40" fmla="*/ 2147483647 w 1241"/>
                <a:gd name="T41" fmla="*/ 2147483647 h 1394"/>
                <a:gd name="T42" fmla="*/ 2147483647 w 1241"/>
                <a:gd name="T43" fmla="*/ 2147483647 h 1394"/>
                <a:gd name="T44" fmla="*/ 2147483647 w 1241"/>
                <a:gd name="T45" fmla="*/ 2147483647 h 1394"/>
                <a:gd name="T46" fmla="*/ 2147483647 w 1241"/>
                <a:gd name="T47" fmla="*/ 2147483647 h 1394"/>
                <a:gd name="T48" fmla="*/ 2147483647 w 1241"/>
                <a:gd name="T49" fmla="*/ 2147483647 h 1394"/>
                <a:gd name="T50" fmla="*/ 2147483647 w 1241"/>
                <a:gd name="T51" fmla="*/ 2147483647 h 1394"/>
                <a:gd name="T52" fmla="*/ 2147483647 w 1241"/>
                <a:gd name="T53" fmla="*/ 2147483647 h 1394"/>
                <a:gd name="T54" fmla="*/ 2147483647 w 1241"/>
                <a:gd name="T55" fmla="*/ 2147483647 h 1394"/>
                <a:gd name="T56" fmla="*/ 2147483647 w 1241"/>
                <a:gd name="T57" fmla="*/ 2147483647 h 1394"/>
                <a:gd name="T58" fmla="*/ 2147483647 w 1241"/>
                <a:gd name="T59" fmla="*/ 2147483647 h 1394"/>
                <a:gd name="T60" fmla="*/ 2147483647 w 1241"/>
                <a:gd name="T61" fmla="*/ 2147483647 h 1394"/>
                <a:gd name="T62" fmla="*/ 2147483647 w 1241"/>
                <a:gd name="T63" fmla="*/ 2147483647 h 1394"/>
                <a:gd name="T64" fmla="*/ 2147483647 w 1241"/>
                <a:gd name="T65" fmla="*/ 2147483647 h 1394"/>
                <a:gd name="T66" fmla="*/ 2147483647 w 1241"/>
                <a:gd name="T67" fmla="*/ 2147483647 h 1394"/>
                <a:gd name="T68" fmla="*/ 2147483647 w 1241"/>
                <a:gd name="T69" fmla="*/ 2147483647 h 1394"/>
                <a:gd name="T70" fmla="*/ 2147483647 w 1241"/>
                <a:gd name="T71" fmla="*/ 2147483647 h 1394"/>
                <a:gd name="T72" fmla="*/ 2147483647 w 1241"/>
                <a:gd name="T73" fmla="*/ 2147483647 h 1394"/>
                <a:gd name="T74" fmla="*/ 2147483647 w 1241"/>
                <a:gd name="T75" fmla="*/ 2147483647 h 1394"/>
                <a:gd name="T76" fmla="*/ 2147483647 w 1241"/>
                <a:gd name="T77" fmla="*/ 2147483647 h 1394"/>
                <a:gd name="T78" fmla="*/ 2147483647 w 1241"/>
                <a:gd name="T79" fmla="*/ 2147483647 h 1394"/>
                <a:gd name="T80" fmla="*/ 2147483647 w 1241"/>
                <a:gd name="T81" fmla="*/ 2147483647 h 1394"/>
                <a:gd name="T82" fmla="*/ 2147483647 w 1241"/>
                <a:gd name="T83" fmla="*/ 2147483647 h 1394"/>
                <a:gd name="T84" fmla="*/ 2147483647 w 1241"/>
                <a:gd name="T85" fmla="*/ 2147483647 h 1394"/>
                <a:gd name="T86" fmla="*/ 2147483647 w 1241"/>
                <a:gd name="T87" fmla="*/ 2147483647 h 1394"/>
                <a:gd name="T88" fmla="*/ 2147483647 w 1241"/>
                <a:gd name="T89" fmla="*/ 2147483647 h 1394"/>
                <a:gd name="T90" fmla="*/ 2147483647 w 1241"/>
                <a:gd name="T91" fmla="*/ 2147483647 h 1394"/>
                <a:gd name="T92" fmla="*/ 2147483647 w 1241"/>
                <a:gd name="T93" fmla="*/ 2147483647 h 1394"/>
                <a:gd name="T94" fmla="*/ 2147483647 w 1241"/>
                <a:gd name="T95" fmla="*/ 2147483647 h 1394"/>
                <a:gd name="T96" fmla="*/ 2147483647 w 1241"/>
                <a:gd name="T97" fmla="*/ 2147483647 h 1394"/>
                <a:gd name="T98" fmla="*/ 2147483647 w 1241"/>
                <a:gd name="T99" fmla="*/ 2147483647 h 1394"/>
                <a:gd name="T100" fmla="*/ 2147483647 w 1241"/>
                <a:gd name="T101" fmla="*/ 2147483647 h 1394"/>
                <a:gd name="T102" fmla="*/ 2147483647 w 1241"/>
                <a:gd name="T103" fmla="*/ 2147483647 h 1394"/>
                <a:gd name="T104" fmla="*/ 2147483647 w 1241"/>
                <a:gd name="T105" fmla="*/ 2147483647 h 1394"/>
                <a:gd name="T106" fmla="*/ 2147483647 w 1241"/>
                <a:gd name="T107" fmla="*/ 2147483647 h 1394"/>
                <a:gd name="T108" fmla="*/ 2147483647 w 1241"/>
                <a:gd name="T109" fmla="*/ 2147483647 h 1394"/>
                <a:gd name="T110" fmla="*/ 2147483647 w 1241"/>
                <a:gd name="T111" fmla="*/ 2147483647 h 1394"/>
                <a:gd name="T112" fmla="*/ 2147483647 w 1241"/>
                <a:gd name="T113" fmla="*/ 2147483647 h 1394"/>
                <a:gd name="T114" fmla="*/ 2147483647 w 1241"/>
                <a:gd name="T115" fmla="*/ 2147483647 h 1394"/>
                <a:gd name="T116" fmla="*/ 2147483647 w 1241"/>
                <a:gd name="T117" fmla="*/ 2147483647 h 1394"/>
                <a:gd name="T118" fmla="*/ 2147483647 w 1241"/>
                <a:gd name="T119" fmla="*/ 2147483647 h 1394"/>
                <a:gd name="T120" fmla="*/ 2147483647 w 1241"/>
                <a:gd name="T121" fmla="*/ 2147483647 h 1394"/>
                <a:gd name="T122" fmla="*/ 2147483647 w 1241"/>
                <a:gd name="T123" fmla="*/ 2147483647 h 1394"/>
                <a:gd name="T124" fmla="*/ 2147483647 w 1241"/>
                <a:gd name="T125" fmla="*/ 2147483647 h 139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41"/>
                <a:gd name="T190" fmla="*/ 0 h 1394"/>
                <a:gd name="T191" fmla="*/ 1241 w 1241"/>
                <a:gd name="T192" fmla="*/ 1394 h 139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41" h="1394">
                  <a:moveTo>
                    <a:pt x="218" y="12"/>
                  </a:moveTo>
                  <a:lnTo>
                    <a:pt x="161" y="0"/>
                  </a:lnTo>
                  <a:lnTo>
                    <a:pt x="114" y="15"/>
                  </a:lnTo>
                  <a:lnTo>
                    <a:pt x="63" y="59"/>
                  </a:lnTo>
                  <a:lnTo>
                    <a:pt x="38" y="104"/>
                  </a:lnTo>
                  <a:lnTo>
                    <a:pt x="34" y="115"/>
                  </a:lnTo>
                  <a:lnTo>
                    <a:pt x="39" y="127"/>
                  </a:lnTo>
                  <a:lnTo>
                    <a:pt x="30" y="133"/>
                  </a:lnTo>
                  <a:lnTo>
                    <a:pt x="29" y="155"/>
                  </a:lnTo>
                  <a:lnTo>
                    <a:pt x="22" y="159"/>
                  </a:lnTo>
                  <a:lnTo>
                    <a:pt x="6" y="214"/>
                  </a:lnTo>
                  <a:lnTo>
                    <a:pt x="9" y="241"/>
                  </a:lnTo>
                  <a:lnTo>
                    <a:pt x="21" y="242"/>
                  </a:lnTo>
                  <a:lnTo>
                    <a:pt x="0" y="270"/>
                  </a:lnTo>
                  <a:lnTo>
                    <a:pt x="10" y="298"/>
                  </a:lnTo>
                  <a:lnTo>
                    <a:pt x="2" y="314"/>
                  </a:lnTo>
                  <a:lnTo>
                    <a:pt x="2" y="346"/>
                  </a:lnTo>
                  <a:lnTo>
                    <a:pt x="9" y="360"/>
                  </a:lnTo>
                  <a:lnTo>
                    <a:pt x="89" y="373"/>
                  </a:lnTo>
                  <a:lnTo>
                    <a:pt x="127" y="404"/>
                  </a:lnTo>
                  <a:lnTo>
                    <a:pt x="83" y="414"/>
                  </a:lnTo>
                  <a:lnTo>
                    <a:pt x="28" y="394"/>
                  </a:lnTo>
                  <a:lnTo>
                    <a:pt x="29" y="417"/>
                  </a:lnTo>
                  <a:lnTo>
                    <a:pt x="65" y="471"/>
                  </a:lnTo>
                  <a:lnTo>
                    <a:pt x="82" y="491"/>
                  </a:lnTo>
                  <a:lnTo>
                    <a:pt x="131" y="495"/>
                  </a:lnTo>
                  <a:lnTo>
                    <a:pt x="146" y="491"/>
                  </a:lnTo>
                  <a:lnTo>
                    <a:pt x="151" y="474"/>
                  </a:lnTo>
                  <a:lnTo>
                    <a:pt x="154" y="498"/>
                  </a:lnTo>
                  <a:lnTo>
                    <a:pt x="177" y="528"/>
                  </a:lnTo>
                  <a:lnTo>
                    <a:pt x="207" y="533"/>
                  </a:lnTo>
                  <a:lnTo>
                    <a:pt x="207" y="524"/>
                  </a:lnTo>
                  <a:lnTo>
                    <a:pt x="280" y="544"/>
                  </a:lnTo>
                  <a:lnTo>
                    <a:pt x="300" y="531"/>
                  </a:lnTo>
                  <a:lnTo>
                    <a:pt x="351" y="555"/>
                  </a:lnTo>
                  <a:lnTo>
                    <a:pt x="367" y="537"/>
                  </a:lnTo>
                  <a:lnTo>
                    <a:pt x="389" y="562"/>
                  </a:lnTo>
                  <a:lnTo>
                    <a:pt x="397" y="563"/>
                  </a:lnTo>
                  <a:lnTo>
                    <a:pt x="393" y="551"/>
                  </a:lnTo>
                  <a:lnTo>
                    <a:pt x="362" y="526"/>
                  </a:lnTo>
                  <a:lnTo>
                    <a:pt x="364" y="516"/>
                  </a:lnTo>
                  <a:lnTo>
                    <a:pt x="436" y="533"/>
                  </a:lnTo>
                  <a:lnTo>
                    <a:pt x="446" y="553"/>
                  </a:lnTo>
                  <a:lnTo>
                    <a:pt x="485" y="545"/>
                  </a:lnTo>
                  <a:lnTo>
                    <a:pt x="490" y="536"/>
                  </a:lnTo>
                  <a:lnTo>
                    <a:pt x="475" y="489"/>
                  </a:lnTo>
                  <a:lnTo>
                    <a:pt x="486" y="480"/>
                  </a:lnTo>
                  <a:lnTo>
                    <a:pt x="513" y="508"/>
                  </a:lnTo>
                  <a:lnTo>
                    <a:pt x="536" y="504"/>
                  </a:lnTo>
                  <a:lnTo>
                    <a:pt x="538" y="553"/>
                  </a:lnTo>
                  <a:lnTo>
                    <a:pt x="567" y="553"/>
                  </a:lnTo>
                  <a:lnTo>
                    <a:pt x="571" y="569"/>
                  </a:lnTo>
                  <a:lnTo>
                    <a:pt x="560" y="576"/>
                  </a:lnTo>
                  <a:lnTo>
                    <a:pt x="617" y="621"/>
                  </a:lnTo>
                  <a:lnTo>
                    <a:pt x="621" y="639"/>
                  </a:lnTo>
                  <a:lnTo>
                    <a:pt x="606" y="653"/>
                  </a:lnTo>
                  <a:lnTo>
                    <a:pt x="579" y="649"/>
                  </a:lnTo>
                  <a:lnTo>
                    <a:pt x="583" y="668"/>
                  </a:lnTo>
                  <a:lnTo>
                    <a:pt x="582" y="693"/>
                  </a:lnTo>
                  <a:lnTo>
                    <a:pt x="626" y="660"/>
                  </a:lnTo>
                  <a:lnTo>
                    <a:pt x="657" y="660"/>
                  </a:lnTo>
                  <a:lnTo>
                    <a:pt x="661" y="664"/>
                  </a:lnTo>
                  <a:lnTo>
                    <a:pt x="656" y="675"/>
                  </a:lnTo>
                  <a:lnTo>
                    <a:pt x="684" y="710"/>
                  </a:lnTo>
                  <a:lnTo>
                    <a:pt x="688" y="705"/>
                  </a:lnTo>
                  <a:lnTo>
                    <a:pt x="684" y="686"/>
                  </a:lnTo>
                  <a:lnTo>
                    <a:pt x="700" y="691"/>
                  </a:lnTo>
                  <a:lnTo>
                    <a:pt x="699" y="720"/>
                  </a:lnTo>
                  <a:lnTo>
                    <a:pt x="703" y="732"/>
                  </a:lnTo>
                  <a:lnTo>
                    <a:pt x="726" y="736"/>
                  </a:lnTo>
                  <a:lnTo>
                    <a:pt x="737" y="754"/>
                  </a:lnTo>
                  <a:lnTo>
                    <a:pt x="761" y="851"/>
                  </a:lnTo>
                  <a:lnTo>
                    <a:pt x="767" y="854"/>
                  </a:lnTo>
                  <a:lnTo>
                    <a:pt x="739" y="885"/>
                  </a:lnTo>
                  <a:lnTo>
                    <a:pt x="738" y="914"/>
                  </a:lnTo>
                  <a:lnTo>
                    <a:pt x="724" y="920"/>
                  </a:lnTo>
                  <a:lnTo>
                    <a:pt x="676" y="973"/>
                  </a:lnTo>
                  <a:lnTo>
                    <a:pt x="712" y="1029"/>
                  </a:lnTo>
                  <a:lnTo>
                    <a:pt x="712" y="1047"/>
                  </a:lnTo>
                  <a:lnTo>
                    <a:pt x="686" y="1039"/>
                  </a:lnTo>
                  <a:lnTo>
                    <a:pt x="665" y="1056"/>
                  </a:lnTo>
                  <a:lnTo>
                    <a:pt x="645" y="1055"/>
                  </a:lnTo>
                  <a:lnTo>
                    <a:pt x="644" y="1066"/>
                  </a:lnTo>
                  <a:lnTo>
                    <a:pt x="637" y="1069"/>
                  </a:lnTo>
                  <a:lnTo>
                    <a:pt x="549" y="1050"/>
                  </a:lnTo>
                  <a:lnTo>
                    <a:pt x="555" y="1058"/>
                  </a:lnTo>
                  <a:lnTo>
                    <a:pt x="547" y="1058"/>
                  </a:lnTo>
                  <a:lnTo>
                    <a:pt x="549" y="1076"/>
                  </a:lnTo>
                  <a:lnTo>
                    <a:pt x="525" y="1091"/>
                  </a:lnTo>
                  <a:lnTo>
                    <a:pt x="518" y="1103"/>
                  </a:lnTo>
                  <a:lnTo>
                    <a:pt x="517" y="1129"/>
                  </a:lnTo>
                  <a:lnTo>
                    <a:pt x="534" y="1154"/>
                  </a:lnTo>
                  <a:lnTo>
                    <a:pt x="578" y="1172"/>
                  </a:lnTo>
                  <a:lnTo>
                    <a:pt x="614" y="1154"/>
                  </a:lnTo>
                  <a:lnTo>
                    <a:pt x="612" y="1138"/>
                  </a:lnTo>
                  <a:lnTo>
                    <a:pt x="621" y="1134"/>
                  </a:lnTo>
                  <a:lnTo>
                    <a:pt x="632" y="1134"/>
                  </a:lnTo>
                  <a:lnTo>
                    <a:pt x="640" y="1149"/>
                  </a:lnTo>
                  <a:lnTo>
                    <a:pt x="666" y="1153"/>
                  </a:lnTo>
                  <a:lnTo>
                    <a:pt x="665" y="1145"/>
                  </a:lnTo>
                  <a:lnTo>
                    <a:pt x="672" y="1143"/>
                  </a:lnTo>
                  <a:lnTo>
                    <a:pt x="655" y="1126"/>
                  </a:lnTo>
                  <a:lnTo>
                    <a:pt x="655" y="1114"/>
                  </a:lnTo>
                  <a:lnTo>
                    <a:pt x="668" y="1107"/>
                  </a:lnTo>
                  <a:lnTo>
                    <a:pt x="669" y="1125"/>
                  </a:lnTo>
                  <a:lnTo>
                    <a:pt x="675" y="1117"/>
                  </a:lnTo>
                  <a:lnTo>
                    <a:pt x="683" y="1131"/>
                  </a:lnTo>
                  <a:lnTo>
                    <a:pt x="694" y="1125"/>
                  </a:lnTo>
                  <a:lnTo>
                    <a:pt x="705" y="1136"/>
                  </a:lnTo>
                  <a:lnTo>
                    <a:pt x="717" y="1133"/>
                  </a:lnTo>
                  <a:lnTo>
                    <a:pt x="722" y="1163"/>
                  </a:lnTo>
                  <a:lnTo>
                    <a:pt x="736" y="1173"/>
                  </a:lnTo>
                  <a:lnTo>
                    <a:pt x="740" y="1197"/>
                  </a:lnTo>
                  <a:lnTo>
                    <a:pt x="770" y="1209"/>
                  </a:lnTo>
                  <a:lnTo>
                    <a:pt x="780" y="1225"/>
                  </a:lnTo>
                  <a:lnTo>
                    <a:pt x="785" y="1208"/>
                  </a:lnTo>
                  <a:lnTo>
                    <a:pt x="801" y="1231"/>
                  </a:lnTo>
                  <a:lnTo>
                    <a:pt x="810" y="1231"/>
                  </a:lnTo>
                  <a:lnTo>
                    <a:pt x="788" y="1247"/>
                  </a:lnTo>
                  <a:lnTo>
                    <a:pt x="779" y="1237"/>
                  </a:lnTo>
                  <a:lnTo>
                    <a:pt x="796" y="1275"/>
                  </a:lnTo>
                  <a:lnTo>
                    <a:pt x="813" y="1289"/>
                  </a:lnTo>
                  <a:lnTo>
                    <a:pt x="856" y="1311"/>
                  </a:lnTo>
                  <a:lnTo>
                    <a:pt x="870" y="1296"/>
                  </a:lnTo>
                  <a:lnTo>
                    <a:pt x="870" y="1310"/>
                  </a:lnTo>
                  <a:lnTo>
                    <a:pt x="877" y="1313"/>
                  </a:lnTo>
                  <a:lnTo>
                    <a:pt x="892" y="1306"/>
                  </a:lnTo>
                  <a:lnTo>
                    <a:pt x="892" y="1322"/>
                  </a:lnTo>
                  <a:lnTo>
                    <a:pt x="903" y="1325"/>
                  </a:lnTo>
                  <a:lnTo>
                    <a:pt x="910" y="1344"/>
                  </a:lnTo>
                  <a:lnTo>
                    <a:pt x="919" y="1347"/>
                  </a:lnTo>
                  <a:lnTo>
                    <a:pt x="923" y="1338"/>
                  </a:lnTo>
                  <a:lnTo>
                    <a:pt x="923" y="1348"/>
                  </a:lnTo>
                  <a:lnTo>
                    <a:pt x="931" y="1356"/>
                  </a:lnTo>
                  <a:lnTo>
                    <a:pt x="970" y="1364"/>
                  </a:lnTo>
                  <a:lnTo>
                    <a:pt x="985" y="1379"/>
                  </a:lnTo>
                  <a:lnTo>
                    <a:pt x="1005" y="1372"/>
                  </a:lnTo>
                  <a:lnTo>
                    <a:pt x="1026" y="1394"/>
                  </a:lnTo>
                  <a:lnTo>
                    <a:pt x="1040" y="1392"/>
                  </a:lnTo>
                  <a:lnTo>
                    <a:pt x="1034" y="1379"/>
                  </a:lnTo>
                  <a:lnTo>
                    <a:pt x="1036" y="1353"/>
                  </a:lnTo>
                  <a:lnTo>
                    <a:pt x="970" y="1288"/>
                  </a:lnTo>
                  <a:lnTo>
                    <a:pt x="970" y="1279"/>
                  </a:lnTo>
                  <a:lnTo>
                    <a:pt x="962" y="1281"/>
                  </a:lnTo>
                  <a:lnTo>
                    <a:pt x="925" y="1236"/>
                  </a:lnTo>
                  <a:lnTo>
                    <a:pt x="917" y="1219"/>
                  </a:lnTo>
                  <a:lnTo>
                    <a:pt x="927" y="1216"/>
                  </a:lnTo>
                  <a:lnTo>
                    <a:pt x="955" y="1244"/>
                  </a:lnTo>
                  <a:lnTo>
                    <a:pt x="966" y="1245"/>
                  </a:lnTo>
                  <a:lnTo>
                    <a:pt x="964" y="1237"/>
                  </a:lnTo>
                  <a:lnTo>
                    <a:pt x="970" y="1234"/>
                  </a:lnTo>
                  <a:lnTo>
                    <a:pt x="988" y="1263"/>
                  </a:lnTo>
                  <a:lnTo>
                    <a:pt x="1005" y="1268"/>
                  </a:lnTo>
                  <a:lnTo>
                    <a:pt x="1010" y="1285"/>
                  </a:lnTo>
                  <a:lnTo>
                    <a:pt x="1035" y="1286"/>
                  </a:lnTo>
                  <a:lnTo>
                    <a:pt x="1045" y="1299"/>
                  </a:lnTo>
                  <a:lnTo>
                    <a:pt x="1064" y="1291"/>
                  </a:lnTo>
                  <a:lnTo>
                    <a:pt x="1072" y="1307"/>
                  </a:lnTo>
                  <a:lnTo>
                    <a:pt x="1079" y="1303"/>
                  </a:lnTo>
                  <a:lnTo>
                    <a:pt x="1076" y="1319"/>
                  </a:lnTo>
                  <a:lnTo>
                    <a:pt x="1089" y="1332"/>
                  </a:lnTo>
                  <a:lnTo>
                    <a:pt x="1095" y="1329"/>
                  </a:lnTo>
                  <a:lnTo>
                    <a:pt x="1083" y="1300"/>
                  </a:lnTo>
                  <a:lnTo>
                    <a:pt x="1107" y="1304"/>
                  </a:lnTo>
                  <a:lnTo>
                    <a:pt x="1108" y="1293"/>
                  </a:lnTo>
                  <a:lnTo>
                    <a:pt x="1101" y="1287"/>
                  </a:lnTo>
                  <a:lnTo>
                    <a:pt x="1093" y="1288"/>
                  </a:lnTo>
                  <a:lnTo>
                    <a:pt x="1084" y="1265"/>
                  </a:lnTo>
                  <a:lnTo>
                    <a:pt x="1085" y="1245"/>
                  </a:lnTo>
                  <a:lnTo>
                    <a:pt x="1105" y="1263"/>
                  </a:lnTo>
                  <a:lnTo>
                    <a:pt x="1103" y="1247"/>
                  </a:lnTo>
                  <a:lnTo>
                    <a:pt x="1108" y="1222"/>
                  </a:lnTo>
                  <a:lnTo>
                    <a:pt x="1100" y="1191"/>
                  </a:lnTo>
                  <a:lnTo>
                    <a:pt x="1074" y="1178"/>
                  </a:lnTo>
                  <a:lnTo>
                    <a:pt x="1073" y="1164"/>
                  </a:lnTo>
                  <a:lnTo>
                    <a:pt x="1082" y="1161"/>
                  </a:lnTo>
                  <a:lnTo>
                    <a:pt x="1085" y="1147"/>
                  </a:lnTo>
                  <a:lnTo>
                    <a:pt x="1083" y="1136"/>
                  </a:lnTo>
                  <a:lnTo>
                    <a:pt x="1073" y="1138"/>
                  </a:lnTo>
                  <a:lnTo>
                    <a:pt x="1069" y="1123"/>
                  </a:lnTo>
                  <a:lnTo>
                    <a:pt x="1057" y="1134"/>
                  </a:lnTo>
                  <a:lnTo>
                    <a:pt x="1055" y="1107"/>
                  </a:lnTo>
                  <a:lnTo>
                    <a:pt x="1027" y="1113"/>
                  </a:lnTo>
                  <a:lnTo>
                    <a:pt x="1036" y="1100"/>
                  </a:lnTo>
                  <a:lnTo>
                    <a:pt x="1014" y="1100"/>
                  </a:lnTo>
                  <a:lnTo>
                    <a:pt x="1011" y="1113"/>
                  </a:lnTo>
                  <a:lnTo>
                    <a:pt x="998" y="1075"/>
                  </a:lnTo>
                  <a:lnTo>
                    <a:pt x="987" y="1071"/>
                  </a:lnTo>
                  <a:lnTo>
                    <a:pt x="991" y="1062"/>
                  </a:lnTo>
                  <a:lnTo>
                    <a:pt x="986" y="1056"/>
                  </a:lnTo>
                  <a:lnTo>
                    <a:pt x="991" y="1053"/>
                  </a:lnTo>
                  <a:lnTo>
                    <a:pt x="984" y="1045"/>
                  </a:lnTo>
                  <a:lnTo>
                    <a:pt x="986" y="1031"/>
                  </a:lnTo>
                  <a:lnTo>
                    <a:pt x="958" y="1030"/>
                  </a:lnTo>
                  <a:lnTo>
                    <a:pt x="959" y="1003"/>
                  </a:lnTo>
                  <a:lnTo>
                    <a:pt x="992" y="996"/>
                  </a:lnTo>
                  <a:lnTo>
                    <a:pt x="975" y="971"/>
                  </a:lnTo>
                  <a:lnTo>
                    <a:pt x="953" y="963"/>
                  </a:lnTo>
                  <a:lnTo>
                    <a:pt x="948" y="949"/>
                  </a:lnTo>
                  <a:lnTo>
                    <a:pt x="963" y="950"/>
                  </a:lnTo>
                  <a:lnTo>
                    <a:pt x="959" y="942"/>
                  </a:lnTo>
                  <a:lnTo>
                    <a:pt x="966" y="941"/>
                  </a:lnTo>
                  <a:lnTo>
                    <a:pt x="989" y="958"/>
                  </a:lnTo>
                  <a:lnTo>
                    <a:pt x="983" y="943"/>
                  </a:lnTo>
                  <a:lnTo>
                    <a:pt x="990" y="944"/>
                  </a:lnTo>
                  <a:lnTo>
                    <a:pt x="979" y="934"/>
                  </a:lnTo>
                  <a:lnTo>
                    <a:pt x="984" y="927"/>
                  </a:lnTo>
                  <a:lnTo>
                    <a:pt x="1002" y="935"/>
                  </a:lnTo>
                  <a:lnTo>
                    <a:pt x="999" y="956"/>
                  </a:lnTo>
                  <a:lnTo>
                    <a:pt x="1043" y="980"/>
                  </a:lnTo>
                  <a:lnTo>
                    <a:pt x="1046" y="996"/>
                  </a:lnTo>
                  <a:lnTo>
                    <a:pt x="1069" y="992"/>
                  </a:lnTo>
                  <a:lnTo>
                    <a:pt x="1066" y="1005"/>
                  </a:lnTo>
                  <a:lnTo>
                    <a:pt x="1069" y="1023"/>
                  </a:lnTo>
                  <a:lnTo>
                    <a:pt x="1086" y="1051"/>
                  </a:lnTo>
                  <a:lnTo>
                    <a:pt x="1099" y="1043"/>
                  </a:lnTo>
                  <a:lnTo>
                    <a:pt x="1101" y="1052"/>
                  </a:lnTo>
                  <a:lnTo>
                    <a:pt x="1095" y="1064"/>
                  </a:lnTo>
                  <a:lnTo>
                    <a:pt x="1104" y="1077"/>
                  </a:lnTo>
                  <a:lnTo>
                    <a:pt x="1117" y="1070"/>
                  </a:lnTo>
                  <a:lnTo>
                    <a:pt x="1122" y="1088"/>
                  </a:lnTo>
                  <a:lnTo>
                    <a:pt x="1132" y="1081"/>
                  </a:lnTo>
                  <a:lnTo>
                    <a:pt x="1145" y="1104"/>
                  </a:lnTo>
                  <a:lnTo>
                    <a:pt x="1154" y="1065"/>
                  </a:lnTo>
                  <a:lnTo>
                    <a:pt x="1161" y="1064"/>
                  </a:lnTo>
                  <a:lnTo>
                    <a:pt x="1151" y="1017"/>
                  </a:lnTo>
                  <a:lnTo>
                    <a:pt x="1182" y="1035"/>
                  </a:lnTo>
                  <a:lnTo>
                    <a:pt x="1187" y="1017"/>
                  </a:lnTo>
                  <a:lnTo>
                    <a:pt x="1196" y="1014"/>
                  </a:lnTo>
                  <a:lnTo>
                    <a:pt x="1196" y="995"/>
                  </a:lnTo>
                  <a:lnTo>
                    <a:pt x="1209" y="990"/>
                  </a:lnTo>
                  <a:lnTo>
                    <a:pt x="1203" y="981"/>
                  </a:lnTo>
                  <a:lnTo>
                    <a:pt x="1187" y="983"/>
                  </a:lnTo>
                  <a:lnTo>
                    <a:pt x="1200" y="962"/>
                  </a:lnTo>
                  <a:lnTo>
                    <a:pt x="1227" y="965"/>
                  </a:lnTo>
                  <a:lnTo>
                    <a:pt x="1231" y="958"/>
                  </a:lnTo>
                  <a:lnTo>
                    <a:pt x="1223" y="949"/>
                  </a:lnTo>
                  <a:lnTo>
                    <a:pt x="1241" y="926"/>
                  </a:lnTo>
                  <a:lnTo>
                    <a:pt x="1205" y="886"/>
                  </a:lnTo>
                  <a:lnTo>
                    <a:pt x="1157" y="896"/>
                  </a:lnTo>
                  <a:lnTo>
                    <a:pt x="1169" y="854"/>
                  </a:lnTo>
                  <a:lnTo>
                    <a:pt x="1119" y="861"/>
                  </a:lnTo>
                  <a:lnTo>
                    <a:pt x="1117" y="853"/>
                  </a:lnTo>
                  <a:lnTo>
                    <a:pt x="1130" y="839"/>
                  </a:lnTo>
                  <a:lnTo>
                    <a:pt x="1108" y="796"/>
                  </a:lnTo>
                  <a:lnTo>
                    <a:pt x="1079" y="790"/>
                  </a:lnTo>
                  <a:lnTo>
                    <a:pt x="1085" y="765"/>
                  </a:lnTo>
                  <a:lnTo>
                    <a:pt x="1043" y="783"/>
                  </a:lnTo>
                  <a:lnTo>
                    <a:pt x="1030" y="771"/>
                  </a:lnTo>
                  <a:lnTo>
                    <a:pt x="1039" y="757"/>
                  </a:lnTo>
                  <a:lnTo>
                    <a:pt x="1033" y="745"/>
                  </a:lnTo>
                  <a:lnTo>
                    <a:pt x="1003" y="744"/>
                  </a:lnTo>
                  <a:lnTo>
                    <a:pt x="1011" y="727"/>
                  </a:lnTo>
                  <a:lnTo>
                    <a:pt x="941" y="700"/>
                  </a:lnTo>
                  <a:lnTo>
                    <a:pt x="969" y="691"/>
                  </a:lnTo>
                  <a:lnTo>
                    <a:pt x="948" y="667"/>
                  </a:lnTo>
                  <a:lnTo>
                    <a:pt x="966" y="655"/>
                  </a:lnTo>
                  <a:lnTo>
                    <a:pt x="932" y="632"/>
                  </a:lnTo>
                  <a:lnTo>
                    <a:pt x="954" y="630"/>
                  </a:lnTo>
                  <a:lnTo>
                    <a:pt x="953" y="619"/>
                  </a:lnTo>
                  <a:lnTo>
                    <a:pt x="980" y="636"/>
                  </a:lnTo>
                  <a:lnTo>
                    <a:pt x="1016" y="635"/>
                  </a:lnTo>
                  <a:lnTo>
                    <a:pt x="1020" y="620"/>
                  </a:lnTo>
                  <a:lnTo>
                    <a:pt x="996" y="601"/>
                  </a:lnTo>
                  <a:lnTo>
                    <a:pt x="950" y="593"/>
                  </a:lnTo>
                  <a:lnTo>
                    <a:pt x="947" y="603"/>
                  </a:lnTo>
                  <a:lnTo>
                    <a:pt x="925" y="583"/>
                  </a:lnTo>
                  <a:lnTo>
                    <a:pt x="919" y="588"/>
                  </a:lnTo>
                  <a:lnTo>
                    <a:pt x="960" y="562"/>
                  </a:lnTo>
                  <a:lnTo>
                    <a:pt x="988" y="566"/>
                  </a:lnTo>
                  <a:lnTo>
                    <a:pt x="995" y="552"/>
                  </a:lnTo>
                  <a:lnTo>
                    <a:pt x="990" y="541"/>
                  </a:lnTo>
                  <a:lnTo>
                    <a:pt x="963" y="502"/>
                  </a:lnTo>
                  <a:lnTo>
                    <a:pt x="947" y="495"/>
                  </a:lnTo>
                  <a:lnTo>
                    <a:pt x="942" y="507"/>
                  </a:lnTo>
                  <a:lnTo>
                    <a:pt x="943" y="518"/>
                  </a:lnTo>
                  <a:lnTo>
                    <a:pt x="925" y="538"/>
                  </a:lnTo>
                  <a:lnTo>
                    <a:pt x="911" y="537"/>
                  </a:lnTo>
                  <a:lnTo>
                    <a:pt x="925" y="509"/>
                  </a:lnTo>
                  <a:lnTo>
                    <a:pt x="882" y="511"/>
                  </a:lnTo>
                  <a:lnTo>
                    <a:pt x="919" y="492"/>
                  </a:lnTo>
                  <a:lnTo>
                    <a:pt x="925" y="474"/>
                  </a:lnTo>
                  <a:lnTo>
                    <a:pt x="933" y="484"/>
                  </a:lnTo>
                  <a:lnTo>
                    <a:pt x="934" y="458"/>
                  </a:lnTo>
                  <a:lnTo>
                    <a:pt x="887" y="436"/>
                  </a:lnTo>
                  <a:lnTo>
                    <a:pt x="849" y="467"/>
                  </a:lnTo>
                  <a:lnTo>
                    <a:pt x="871" y="425"/>
                  </a:lnTo>
                  <a:lnTo>
                    <a:pt x="830" y="450"/>
                  </a:lnTo>
                  <a:lnTo>
                    <a:pt x="843" y="413"/>
                  </a:lnTo>
                  <a:lnTo>
                    <a:pt x="841" y="398"/>
                  </a:lnTo>
                  <a:lnTo>
                    <a:pt x="807" y="410"/>
                  </a:lnTo>
                  <a:lnTo>
                    <a:pt x="777" y="397"/>
                  </a:lnTo>
                  <a:lnTo>
                    <a:pt x="817" y="383"/>
                  </a:lnTo>
                  <a:lnTo>
                    <a:pt x="821" y="374"/>
                  </a:lnTo>
                  <a:lnTo>
                    <a:pt x="806" y="338"/>
                  </a:lnTo>
                  <a:lnTo>
                    <a:pt x="757" y="308"/>
                  </a:lnTo>
                  <a:lnTo>
                    <a:pt x="744" y="333"/>
                  </a:lnTo>
                  <a:lnTo>
                    <a:pt x="724" y="331"/>
                  </a:lnTo>
                  <a:lnTo>
                    <a:pt x="727" y="363"/>
                  </a:lnTo>
                  <a:lnTo>
                    <a:pt x="710" y="347"/>
                  </a:lnTo>
                  <a:lnTo>
                    <a:pt x="712" y="328"/>
                  </a:lnTo>
                  <a:lnTo>
                    <a:pt x="692" y="342"/>
                  </a:lnTo>
                  <a:lnTo>
                    <a:pt x="714" y="295"/>
                  </a:lnTo>
                  <a:lnTo>
                    <a:pt x="680" y="300"/>
                  </a:lnTo>
                  <a:lnTo>
                    <a:pt x="662" y="321"/>
                  </a:lnTo>
                  <a:lnTo>
                    <a:pt x="663" y="306"/>
                  </a:lnTo>
                  <a:lnTo>
                    <a:pt x="678" y="289"/>
                  </a:lnTo>
                  <a:lnTo>
                    <a:pt x="683" y="279"/>
                  </a:lnTo>
                  <a:lnTo>
                    <a:pt x="680" y="261"/>
                  </a:lnTo>
                  <a:lnTo>
                    <a:pt x="643" y="251"/>
                  </a:lnTo>
                  <a:lnTo>
                    <a:pt x="652" y="238"/>
                  </a:lnTo>
                  <a:lnTo>
                    <a:pt x="650" y="225"/>
                  </a:lnTo>
                  <a:lnTo>
                    <a:pt x="635" y="201"/>
                  </a:lnTo>
                  <a:lnTo>
                    <a:pt x="638" y="194"/>
                  </a:lnTo>
                  <a:lnTo>
                    <a:pt x="620" y="186"/>
                  </a:lnTo>
                  <a:lnTo>
                    <a:pt x="537" y="162"/>
                  </a:lnTo>
                  <a:lnTo>
                    <a:pt x="495" y="190"/>
                  </a:lnTo>
                  <a:lnTo>
                    <a:pt x="494" y="207"/>
                  </a:lnTo>
                  <a:lnTo>
                    <a:pt x="508" y="219"/>
                  </a:lnTo>
                  <a:lnTo>
                    <a:pt x="476" y="234"/>
                  </a:lnTo>
                  <a:lnTo>
                    <a:pt x="462" y="214"/>
                  </a:lnTo>
                  <a:lnTo>
                    <a:pt x="444" y="221"/>
                  </a:lnTo>
                  <a:lnTo>
                    <a:pt x="442" y="195"/>
                  </a:lnTo>
                  <a:lnTo>
                    <a:pt x="428" y="239"/>
                  </a:lnTo>
                  <a:lnTo>
                    <a:pt x="421" y="237"/>
                  </a:lnTo>
                  <a:lnTo>
                    <a:pt x="395" y="279"/>
                  </a:lnTo>
                  <a:lnTo>
                    <a:pt x="392" y="261"/>
                  </a:lnTo>
                  <a:lnTo>
                    <a:pt x="408" y="252"/>
                  </a:lnTo>
                  <a:lnTo>
                    <a:pt x="397" y="244"/>
                  </a:lnTo>
                  <a:lnTo>
                    <a:pt x="419" y="164"/>
                  </a:lnTo>
                  <a:lnTo>
                    <a:pt x="400" y="137"/>
                  </a:lnTo>
                  <a:lnTo>
                    <a:pt x="408" y="114"/>
                  </a:lnTo>
                  <a:lnTo>
                    <a:pt x="372" y="89"/>
                  </a:lnTo>
                  <a:lnTo>
                    <a:pt x="384" y="77"/>
                  </a:lnTo>
                  <a:lnTo>
                    <a:pt x="380" y="36"/>
                  </a:lnTo>
                  <a:lnTo>
                    <a:pt x="369" y="16"/>
                  </a:lnTo>
                  <a:lnTo>
                    <a:pt x="315" y="18"/>
                  </a:lnTo>
                  <a:lnTo>
                    <a:pt x="280" y="38"/>
                  </a:lnTo>
                  <a:lnTo>
                    <a:pt x="266" y="52"/>
                  </a:lnTo>
                  <a:lnTo>
                    <a:pt x="278" y="65"/>
                  </a:lnTo>
                  <a:lnTo>
                    <a:pt x="275" y="80"/>
                  </a:lnTo>
                  <a:lnTo>
                    <a:pt x="266" y="61"/>
                  </a:lnTo>
                  <a:lnTo>
                    <a:pt x="240" y="62"/>
                  </a:lnTo>
                  <a:lnTo>
                    <a:pt x="238" y="72"/>
                  </a:lnTo>
                  <a:lnTo>
                    <a:pt x="246" y="92"/>
                  </a:lnTo>
                  <a:lnTo>
                    <a:pt x="217" y="76"/>
                  </a:lnTo>
                  <a:lnTo>
                    <a:pt x="213" y="89"/>
                  </a:lnTo>
                  <a:lnTo>
                    <a:pt x="222" y="101"/>
                  </a:lnTo>
                  <a:lnTo>
                    <a:pt x="196" y="115"/>
                  </a:lnTo>
                  <a:lnTo>
                    <a:pt x="219" y="137"/>
                  </a:lnTo>
                  <a:lnTo>
                    <a:pt x="187" y="141"/>
                  </a:lnTo>
                  <a:lnTo>
                    <a:pt x="194" y="184"/>
                  </a:lnTo>
                  <a:lnTo>
                    <a:pt x="191" y="192"/>
                  </a:lnTo>
                  <a:lnTo>
                    <a:pt x="196" y="204"/>
                  </a:lnTo>
                  <a:lnTo>
                    <a:pt x="225" y="213"/>
                  </a:lnTo>
                  <a:lnTo>
                    <a:pt x="176" y="268"/>
                  </a:lnTo>
                  <a:lnTo>
                    <a:pt x="203" y="311"/>
                  </a:lnTo>
                  <a:lnTo>
                    <a:pt x="230" y="317"/>
                  </a:lnTo>
                  <a:lnTo>
                    <a:pt x="233" y="328"/>
                  </a:lnTo>
                  <a:lnTo>
                    <a:pt x="226" y="356"/>
                  </a:lnTo>
                  <a:lnTo>
                    <a:pt x="226" y="394"/>
                  </a:lnTo>
                  <a:lnTo>
                    <a:pt x="220" y="411"/>
                  </a:lnTo>
                  <a:lnTo>
                    <a:pt x="215" y="406"/>
                  </a:lnTo>
                  <a:lnTo>
                    <a:pt x="220" y="384"/>
                  </a:lnTo>
                  <a:lnTo>
                    <a:pt x="217" y="380"/>
                  </a:lnTo>
                  <a:lnTo>
                    <a:pt x="149" y="401"/>
                  </a:lnTo>
                  <a:lnTo>
                    <a:pt x="177" y="377"/>
                  </a:lnTo>
                  <a:lnTo>
                    <a:pt x="220" y="366"/>
                  </a:lnTo>
                  <a:lnTo>
                    <a:pt x="214" y="342"/>
                  </a:lnTo>
                  <a:lnTo>
                    <a:pt x="200" y="339"/>
                  </a:lnTo>
                  <a:lnTo>
                    <a:pt x="160" y="282"/>
                  </a:lnTo>
                  <a:lnTo>
                    <a:pt x="153" y="260"/>
                  </a:lnTo>
                  <a:lnTo>
                    <a:pt x="161" y="215"/>
                  </a:lnTo>
                  <a:lnTo>
                    <a:pt x="145" y="178"/>
                  </a:lnTo>
                  <a:lnTo>
                    <a:pt x="146" y="154"/>
                  </a:lnTo>
                  <a:lnTo>
                    <a:pt x="162" y="120"/>
                  </a:lnTo>
                  <a:lnTo>
                    <a:pt x="165" y="97"/>
                  </a:lnTo>
                  <a:lnTo>
                    <a:pt x="222" y="18"/>
                  </a:lnTo>
                  <a:lnTo>
                    <a:pt x="218" y="12"/>
                  </a:lnTo>
                  <a:close/>
                </a:path>
              </a:pathLst>
            </a:custGeom>
            <a:grpFill/>
            <a:ln w="6350">
              <a:solidFill>
                <a:schemeClr val="tx2"/>
              </a:solidFill>
              <a:round/>
              <a:headEnd/>
              <a:tailEnd/>
            </a:ln>
          </p:spPr>
          <p:txBody>
            <a:bodyPr/>
            <a:lstStyle/>
            <a:p>
              <a:endParaRPr lang="en-US"/>
            </a:p>
          </p:txBody>
        </p:sp>
        <p:sp>
          <p:nvSpPr>
            <p:cNvPr id="136" name="Freeform 1206"/>
            <p:cNvSpPr>
              <a:spLocks/>
            </p:cNvSpPr>
            <p:nvPr/>
          </p:nvSpPr>
          <p:spPr bwMode="auto">
            <a:xfrm>
              <a:off x="2699175" y="2916091"/>
              <a:ext cx="13653" cy="9103"/>
            </a:xfrm>
            <a:custGeom>
              <a:avLst/>
              <a:gdLst>
                <a:gd name="T0" fmla="*/ 0 w 27"/>
                <a:gd name="T1" fmla="*/ 0 h 20"/>
                <a:gd name="T2" fmla="*/ 2147483647 w 27"/>
                <a:gd name="T3" fmla="*/ 2147483647 h 20"/>
                <a:gd name="T4" fmla="*/ 2147483647 w 27"/>
                <a:gd name="T5" fmla="*/ 2147483647 h 20"/>
                <a:gd name="T6" fmla="*/ 0 w 27"/>
                <a:gd name="T7" fmla="*/ 0 h 20"/>
                <a:gd name="T8" fmla="*/ 0 60000 65536"/>
                <a:gd name="T9" fmla="*/ 0 60000 65536"/>
                <a:gd name="T10" fmla="*/ 0 60000 65536"/>
                <a:gd name="T11" fmla="*/ 0 60000 65536"/>
                <a:gd name="T12" fmla="*/ 0 w 27"/>
                <a:gd name="T13" fmla="*/ 0 h 20"/>
                <a:gd name="T14" fmla="*/ 27 w 27"/>
                <a:gd name="T15" fmla="*/ 20 h 20"/>
              </a:gdLst>
              <a:ahLst/>
              <a:cxnLst>
                <a:cxn ang="T8">
                  <a:pos x="T0" y="T1"/>
                </a:cxn>
                <a:cxn ang="T9">
                  <a:pos x="T2" y="T3"/>
                </a:cxn>
                <a:cxn ang="T10">
                  <a:pos x="T4" y="T5"/>
                </a:cxn>
                <a:cxn ang="T11">
                  <a:pos x="T6" y="T7"/>
                </a:cxn>
              </a:cxnLst>
              <a:rect l="T12" t="T13" r="T14" b="T15"/>
              <a:pathLst>
                <a:path w="27" h="20">
                  <a:moveTo>
                    <a:pt x="0" y="0"/>
                  </a:moveTo>
                  <a:lnTo>
                    <a:pt x="27" y="13"/>
                  </a:lnTo>
                  <a:lnTo>
                    <a:pt x="17" y="20"/>
                  </a:lnTo>
                  <a:lnTo>
                    <a:pt x="0" y="0"/>
                  </a:lnTo>
                  <a:close/>
                </a:path>
              </a:pathLst>
            </a:custGeom>
            <a:grpFill/>
            <a:ln w="6350">
              <a:solidFill>
                <a:schemeClr val="tx2"/>
              </a:solidFill>
              <a:round/>
              <a:headEnd/>
              <a:tailEnd/>
            </a:ln>
          </p:spPr>
          <p:txBody>
            <a:bodyPr/>
            <a:lstStyle/>
            <a:p>
              <a:endParaRPr lang="en-US"/>
            </a:p>
          </p:txBody>
        </p:sp>
        <p:sp>
          <p:nvSpPr>
            <p:cNvPr id="137" name="Freeform 1268"/>
            <p:cNvSpPr>
              <a:spLocks/>
            </p:cNvSpPr>
            <p:nvPr/>
          </p:nvSpPr>
          <p:spPr bwMode="auto">
            <a:xfrm>
              <a:off x="1330738" y="2538330"/>
              <a:ext cx="31859" cy="4399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grpFill/>
            <a:ln w="6350">
              <a:solidFill>
                <a:schemeClr val="tx2"/>
              </a:solidFill>
              <a:round/>
              <a:headEnd/>
              <a:tailEnd/>
            </a:ln>
          </p:spPr>
          <p:txBody>
            <a:bodyPr/>
            <a:lstStyle/>
            <a:p>
              <a:endParaRPr lang="en-US"/>
            </a:p>
          </p:txBody>
        </p:sp>
        <p:sp>
          <p:nvSpPr>
            <p:cNvPr id="138" name="Freeform 1269"/>
            <p:cNvSpPr>
              <a:spLocks/>
            </p:cNvSpPr>
            <p:nvPr/>
          </p:nvSpPr>
          <p:spPr bwMode="auto">
            <a:xfrm>
              <a:off x="1318602" y="2567156"/>
              <a:ext cx="21239" cy="19722"/>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grpFill/>
            <a:ln w="6350">
              <a:solidFill>
                <a:schemeClr val="tx2"/>
              </a:solidFill>
              <a:round/>
              <a:headEnd/>
              <a:tailEnd/>
            </a:ln>
          </p:spPr>
          <p:txBody>
            <a:bodyPr/>
            <a:lstStyle/>
            <a:p>
              <a:endParaRPr lang="en-US"/>
            </a:p>
          </p:txBody>
        </p:sp>
        <p:sp>
          <p:nvSpPr>
            <p:cNvPr id="139" name="Freeform 1286"/>
            <p:cNvSpPr>
              <a:spLocks/>
            </p:cNvSpPr>
            <p:nvPr/>
          </p:nvSpPr>
          <p:spPr bwMode="auto">
            <a:xfrm>
              <a:off x="1309499" y="3104214"/>
              <a:ext cx="30342" cy="36411"/>
            </a:xfrm>
            <a:custGeom>
              <a:avLst/>
              <a:gdLst>
                <a:gd name="T0" fmla="*/ 2147483647 w 60"/>
                <a:gd name="T1" fmla="*/ 2147483647 h 73"/>
                <a:gd name="T2" fmla="*/ 2147483647 w 60"/>
                <a:gd name="T3" fmla="*/ 2147483647 h 73"/>
                <a:gd name="T4" fmla="*/ 2147483647 w 60"/>
                <a:gd name="T5" fmla="*/ 2147483647 h 73"/>
                <a:gd name="T6" fmla="*/ 2147483647 w 60"/>
                <a:gd name="T7" fmla="*/ 2147483647 h 73"/>
                <a:gd name="T8" fmla="*/ 2147483647 w 60"/>
                <a:gd name="T9" fmla="*/ 2147483647 h 73"/>
                <a:gd name="T10" fmla="*/ 2147483647 w 60"/>
                <a:gd name="T11" fmla="*/ 2147483647 h 73"/>
                <a:gd name="T12" fmla="*/ 2147483647 w 60"/>
                <a:gd name="T13" fmla="*/ 2147483647 h 73"/>
                <a:gd name="T14" fmla="*/ 2147483647 w 60"/>
                <a:gd name="T15" fmla="*/ 2147483647 h 73"/>
                <a:gd name="T16" fmla="*/ 2147483647 w 60"/>
                <a:gd name="T17" fmla="*/ 2147483647 h 73"/>
                <a:gd name="T18" fmla="*/ 2147483647 w 60"/>
                <a:gd name="T19" fmla="*/ 2147483647 h 73"/>
                <a:gd name="T20" fmla="*/ 2147483647 w 60"/>
                <a:gd name="T21" fmla="*/ 2147483647 h 73"/>
                <a:gd name="T22" fmla="*/ 2147483647 w 60"/>
                <a:gd name="T23" fmla="*/ 2147483647 h 73"/>
                <a:gd name="T24" fmla="*/ 2147483647 w 60"/>
                <a:gd name="T25" fmla="*/ 2147483647 h 73"/>
                <a:gd name="T26" fmla="*/ 2147483647 w 60"/>
                <a:gd name="T27" fmla="*/ 2147483647 h 73"/>
                <a:gd name="T28" fmla="*/ 0 w 60"/>
                <a:gd name="T29" fmla="*/ 2147483647 h 73"/>
                <a:gd name="T30" fmla="*/ 2147483647 w 60"/>
                <a:gd name="T31" fmla="*/ 2147483647 h 73"/>
                <a:gd name="T32" fmla="*/ 2147483647 w 60"/>
                <a:gd name="T33" fmla="*/ 2147483647 h 73"/>
                <a:gd name="T34" fmla="*/ 2147483647 w 60"/>
                <a:gd name="T35" fmla="*/ 0 h 73"/>
                <a:gd name="T36" fmla="*/ 2147483647 w 60"/>
                <a:gd name="T37" fmla="*/ 2147483647 h 73"/>
                <a:gd name="T38" fmla="*/ 2147483647 w 60"/>
                <a:gd name="T39" fmla="*/ 2147483647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3"/>
                <a:gd name="T62" fmla="*/ 60 w 60"/>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3">
                  <a:moveTo>
                    <a:pt x="55" y="19"/>
                  </a:moveTo>
                  <a:lnTo>
                    <a:pt x="59" y="30"/>
                  </a:lnTo>
                  <a:lnTo>
                    <a:pt x="50" y="28"/>
                  </a:lnTo>
                  <a:lnTo>
                    <a:pt x="56" y="40"/>
                  </a:lnTo>
                  <a:lnTo>
                    <a:pt x="59" y="46"/>
                  </a:lnTo>
                  <a:lnTo>
                    <a:pt x="60" y="68"/>
                  </a:lnTo>
                  <a:lnTo>
                    <a:pt x="26" y="42"/>
                  </a:lnTo>
                  <a:lnTo>
                    <a:pt x="30" y="66"/>
                  </a:lnTo>
                  <a:lnTo>
                    <a:pt x="25" y="73"/>
                  </a:lnTo>
                  <a:lnTo>
                    <a:pt x="16" y="67"/>
                  </a:lnTo>
                  <a:lnTo>
                    <a:pt x="19" y="64"/>
                  </a:lnTo>
                  <a:lnTo>
                    <a:pt x="2" y="39"/>
                  </a:lnTo>
                  <a:lnTo>
                    <a:pt x="1" y="28"/>
                  </a:lnTo>
                  <a:lnTo>
                    <a:pt x="7" y="28"/>
                  </a:lnTo>
                  <a:lnTo>
                    <a:pt x="0" y="13"/>
                  </a:lnTo>
                  <a:lnTo>
                    <a:pt x="1" y="8"/>
                  </a:lnTo>
                  <a:lnTo>
                    <a:pt x="4" y="16"/>
                  </a:lnTo>
                  <a:lnTo>
                    <a:pt x="19" y="0"/>
                  </a:lnTo>
                  <a:lnTo>
                    <a:pt x="34" y="14"/>
                  </a:lnTo>
                  <a:lnTo>
                    <a:pt x="55" y="19"/>
                  </a:lnTo>
                  <a:close/>
                </a:path>
              </a:pathLst>
            </a:custGeom>
            <a:grpFill/>
            <a:ln w="6350">
              <a:solidFill>
                <a:schemeClr val="tx2"/>
              </a:solidFill>
              <a:round/>
              <a:headEnd/>
              <a:tailEnd/>
            </a:ln>
          </p:spPr>
          <p:txBody>
            <a:bodyPr/>
            <a:lstStyle/>
            <a:p>
              <a:endParaRPr lang="en-US"/>
            </a:p>
          </p:txBody>
        </p:sp>
        <p:sp>
          <p:nvSpPr>
            <p:cNvPr id="140" name="Oval 990"/>
            <p:cNvSpPr>
              <a:spLocks noChangeArrowheads="1"/>
            </p:cNvSpPr>
            <p:nvPr/>
          </p:nvSpPr>
          <p:spPr bwMode="auto">
            <a:xfrm flipV="1">
              <a:off x="2110535" y="3918903"/>
              <a:ext cx="94061" cy="94061"/>
            </a:xfrm>
            <a:prstGeom prst="ellipse">
              <a:avLst/>
            </a:prstGeom>
            <a:grpFill/>
            <a:ln w="6350">
              <a:solidFill>
                <a:schemeClr val="tx2"/>
              </a:solidFill>
              <a:round/>
              <a:headEnd/>
              <a:tailEnd/>
            </a:ln>
          </p:spPr>
          <p:txBody>
            <a:bodyPr wrap="none" anchor="ctr"/>
            <a:lstStyle/>
            <a:p>
              <a:endParaRPr lang="en-US">
                <a:solidFill>
                  <a:srgbClr val="3C3C3C"/>
                </a:solidFill>
                <a:cs typeface="Museo Sans For Dell" pitchFamily="2" charset="0"/>
              </a:endParaRPr>
            </a:p>
          </p:txBody>
        </p:sp>
        <p:sp>
          <p:nvSpPr>
            <p:cNvPr id="141" name="Freeform 991"/>
            <p:cNvSpPr>
              <a:spLocks/>
            </p:cNvSpPr>
            <p:nvPr/>
          </p:nvSpPr>
          <p:spPr bwMode="auto">
            <a:xfrm>
              <a:off x="2247075" y="4263288"/>
              <a:ext cx="81924" cy="91027"/>
            </a:xfrm>
            <a:custGeom>
              <a:avLst/>
              <a:gdLst>
                <a:gd name="T0" fmla="*/ 2147483647 w 166"/>
                <a:gd name="T1" fmla="*/ 0 h 184"/>
                <a:gd name="T2" fmla="*/ 2147483647 w 166"/>
                <a:gd name="T3" fmla="*/ 2147483647 h 184"/>
                <a:gd name="T4" fmla="*/ 2147483647 w 166"/>
                <a:gd name="T5" fmla="*/ 2147483647 h 184"/>
                <a:gd name="T6" fmla="*/ 2147483647 w 166"/>
                <a:gd name="T7" fmla="*/ 2147483647 h 184"/>
                <a:gd name="T8" fmla="*/ 2147483647 w 166"/>
                <a:gd name="T9" fmla="*/ 2147483647 h 184"/>
                <a:gd name="T10" fmla="*/ 2147483647 w 166"/>
                <a:gd name="T11" fmla="*/ 2147483647 h 184"/>
                <a:gd name="T12" fmla="*/ 2147483647 w 166"/>
                <a:gd name="T13" fmla="*/ 2147483647 h 184"/>
                <a:gd name="T14" fmla="*/ 2147483647 w 166"/>
                <a:gd name="T15" fmla="*/ 2147483647 h 184"/>
                <a:gd name="T16" fmla="*/ 2147483647 w 166"/>
                <a:gd name="T17" fmla="*/ 2147483647 h 184"/>
                <a:gd name="T18" fmla="*/ 2147483647 w 166"/>
                <a:gd name="T19" fmla="*/ 2147483647 h 184"/>
                <a:gd name="T20" fmla="*/ 2147483647 w 166"/>
                <a:gd name="T21" fmla="*/ 2147483647 h 184"/>
                <a:gd name="T22" fmla="*/ 0 w 166"/>
                <a:gd name="T23" fmla="*/ 2147483647 h 184"/>
                <a:gd name="T24" fmla="*/ 2147483647 w 166"/>
                <a:gd name="T25" fmla="*/ 2147483647 h 184"/>
                <a:gd name="T26" fmla="*/ 2147483647 w 166"/>
                <a:gd name="T27" fmla="*/ 2147483647 h 184"/>
                <a:gd name="T28" fmla="*/ 2147483647 w 166"/>
                <a:gd name="T29" fmla="*/ 2147483647 h 184"/>
                <a:gd name="T30" fmla="*/ 2147483647 w 166"/>
                <a:gd name="T31" fmla="*/ 2147483647 h 184"/>
                <a:gd name="T32" fmla="*/ 2147483647 w 166"/>
                <a:gd name="T33" fmla="*/ 2147483647 h 184"/>
                <a:gd name="T34" fmla="*/ 2147483647 w 166"/>
                <a:gd name="T35" fmla="*/ 2147483647 h 184"/>
                <a:gd name="T36" fmla="*/ 2147483647 w 166"/>
                <a:gd name="T37" fmla="*/ 2147483647 h 184"/>
                <a:gd name="T38" fmla="*/ 2147483647 w 166"/>
                <a:gd name="T39" fmla="*/ 2147483647 h 184"/>
                <a:gd name="T40" fmla="*/ 2147483647 w 166"/>
                <a:gd name="T41" fmla="*/ 2147483647 h 184"/>
                <a:gd name="T42" fmla="*/ 2147483647 w 166"/>
                <a:gd name="T43" fmla="*/ 2147483647 h 184"/>
                <a:gd name="T44" fmla="*/ 2147483647 w 166"/>
                <a:gd name="T45" fmla="*/ 2147483647 h 184"/>
                <a:gd name="T46" fmla="*/ 2147483647 w 166"/>
                <a:gd name="T47" fmla="*/ 2147483647 h 184"/>
                <a:gd name="T48" fmla="*/ 2147483647 w 166"/>
                <a:gd name="T49" fmla="*/ 2147483647 h 184"/>
                <a:gd name="T50" fmla="*/ 2147483647 w 166"/>
                <a:gd name="T51" fmla="*/ 0 h 1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184"/>
                <a:gd name="T80" fmla="*/ 166 w 166"/>
                <a:gd name="T81" fmla="*/ 184 h 1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184">
                  <a:moveTo>
                    <a:pt x="131" y="0"/>
                  </a:moveTo>
                  <a:lnTo>
                    <a:pt x="98" y="1"/>
                  </a:lnTo>
                  <a:lnTo>
                    <a:pt x="57" y="1"/>
                  </a:lnTo>
                  <a:lnTo>
                    <a:pt x="56" y="22"/>
                  </a:lnTo>
                  <a:lnTo>
                    <a:pt x="30" y="21"/>
                  </a:lnTo>
                  <a:lnTo>
                    <a:pt x="62" y="49"/>
                  </a:lnTo>
                  <a:lnTo>
                    <a:pt x="74" y="67"/>
                  </a:lnTo>
                  <a:lnTo>
                    <a:pt x="74" y="78"/>
                  </a:lnTo>
                  <a:lnTo>
                    <a:pt x="32" y="80"/>
                  </a:lnTo>
                  <a:lnTo>
                    <a:pt x="4" y="123"/>
                  </a:lnTo>
                  <a:lnTo>
                    <a:pt x="6" y="129"/>
                  </a:lnTo>
                  <a:lnTo>
                    <a:pt x="0" y="147"/>
                  </a:lnTo>
                  <a:lnTo>
                    <a:pt x="37" y="174"/>
                  </a:lnTo>
                  <a:lnTo>
                    <a:pt x="94" y="184"/>
                  </a:lnTo>
                  <a:lnTo>
                    <a:pt x="99" y="174"/>
                  </a:lnTo>
                  <a:lnTo>
                    <a:pt x="114" y="165"/>
                  </a:lnTo>
                  <a:lnTo>
                    <a:pt x="120" y="153"/>
                  </a:lnTo>
                  <a:lnTo>
                    <a:pt x="130" y="144"/>
                  </a:lnTo>
                  <a:lnTo>
                    <a:pt x="128" y="131"/>
                  </a:lnTo>
                  <a:lnTo>
                    <a:pt x="164" y="105"/>
                  </a:lnTo>
                  <a:lnTo>
                    <a:pt x="166" y="95"/>
                  </a:lnTo>
                  <a:lnTo>
                    <a:pt x="160" y="92"/>
                  </a:lnTo>
                  <a:lnTo>
                    <a:pt x="153" y="95"/>
                  </a:lnTo>
                  <a:lnTo>
                    <a:pt x="144" y="87"/>
                  </a:lnTo>
                  <a:lnTo>
                    <a:pt x="128" y="85"/>
                  </a:lnTo>
                  <a:lnTo>
                    <a:pt x="131" y="0"/>
                  </a:lnTo>
                  <a:close/>
                </a:path>
              </a:pathLst>
            </a:custGeom>
            <a:grpFill/>
            <a:ln w="6350">
              <a:solidFill>
                <a:schemeClr val="tx2"/>
              </a:solidFill>
              <a:round/>
              <a:headEnd/>
              <a:tailEnd/>
            </a:ln>
          </p:spPr>
          <p:txBody>
            <a:bodyPr/>
            <a:lstStyle/>
            <a:p>
              <a:endParaRPr lang="en-US"/>
            </a:p>
          </p:txBody>
        </p:sp>
        <p:sp>
          <p:nvSpPr>
            <p:cNvPr id="142" name="Freeform 995"/>
            <p:cNvSpPr>
              <a:spLocks/>
            </p:cNvSpPr>
            <p:nvPr/>
          </p:nvSpPr>
          <p:spPr bwMode="auto">
            <a:xfrm>
              <a:off x="2629388" y="4216257"/>
              <a:ext cx="60685" cy="43996"/>
            </a:xfrm>
            <a:custGeom>
              <a:avLst/>
              <a:gdLst>
                <a:gd name="T0" fmla="*/ 2147483647 w 120"/>
                <a:gd name="T1" fmla="*/ 2147483647 h 87"/>
                <a:gd name="T2" fmla="*/ 2147483647 w 120"/>
                <a:gd name="T3" fmla="*/ 2147483647 h 87"/>
                <a:gd name="T4" fmla="*/ 2147483647 w 120"/>
                <a:gd name="T5" fmla="*/ 2147483647 h 87"/>
                <a:gd name="T6" fmla="*/ 2147483647 w 120"/>
                <a:gd name="T7" fmla="*/ 2147483647 h 87"/>
                <a:gd name="T8" fmla="*/ 2147483647 w 120"/>
                <a:gd name="T9" fmla="*/ 2147483647 h 87"/>
                <a:gd name="T10" fmla="*/ 2147483647 w 120"/>
                <a:gd name="T11" fmla="*/ 2147483647 h 87"/>
                <a:gd name="T12" fmla="*/ 2147483647 w 120"/>
                <a:gd name="T13" fmla="*/ 2147483647 h 87"/>
                <a:gd name="T14" fmla="*/ 2147483647 w 120"/>
                <a:gd name="T15" fmla="*/ 0 h 87"/>
                <a:gd name="T16" fmla="*/ 2147483647 w 120"/>
                <a:gd name="T17" fmla="*/ 2147483647 h 87"/>
                <a:gd name="T18" fmla="*/ 2147483647 w 120"/>
                <a:gd name="T19" fmla="*/ 2147483647 h 87"/>
                <a:gd name="T20" fmla="*/ 2147483647 w 120"/>
                <a:gd name="T21" fmla="*/ 2147483647 h 87"/>
                <a:gd name="T22" fmla="*/ 2147483647 w 120"/>
                <a:gd name="T23" fmla="*/ 2147483647 h 87"/>
                <a:gd name="T24" fmla="*/ 2147483647 w 120"/>
                <a:gd name="T25" fmla="*/ 2147483647 h 87"/>
                <a:gd name="T26" fmla="*/ 2147483647 w 120"/>
                <a:gd name="T27" fmla="*/ 2147483647 h 87"/>
                <a:gd name="T28" fmla="*/ 2147483647 w 120"/>
                <a:gd name="T29" fmla="*/ 2147483647 h 87"/>
                <a:gd name="T30" fmla="*/ 2147483647 w 120"/>
                <a:gd name="T31" fmla="*/ 2147483647 h 87"/>
                <a:gd name="T32" fmla="*/ 0 w 120"/>
                <a:gd name="T33" fmla="*/ 2147483647 h 87"/>
                <a:gd name="T34" fmla="*/ 2147483647 w 120"/>
                <a:gd name="T35" fmla="*/ 2147483647 h 87"/>
                <a:gd name="T36" fmla="*/ 2147483647 w 120"/>
                <a:gd name="T37" fmla="*/ 2147483647 h 87"/>
                <a:gd name="T38" fmla="*/ 2147483647 w 120"/>
                <a:gd name="T39" fmla="*/ 2147483647 h 87"/>
                <a:gd name="T40" fmla="*/ 2147483647 w 120"/>
                <a:gd name="T41" fmla="*/ 2147483647 h 87"/>
                <a:gd name="T42" fmla="*/ 2147483647 w 120"/>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87"/>
                <a:gd name="T68" fmla="*/ 120 w 120"/>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87">
                  <a:moveTo>
                    <a:pt x="113" y="87"/>
                  </a:moveTo>
                  <a:lnTo>
                    <a:pt x="115" y="75"/>
                  </a:lnTo>
                  <a:lnTo>
                    <a:pt x="110" y="62"/>
                  </a:lnTo>
                  <a:lnTo>
                    <a:pt x="117" y="55"/>
                  </a:lnTo>
                  <a:lnTo>
                    <a:pt x="120" y="35"/>
                  </a:lnTo>
                  <a:lnTo>
                    <a:pt x="112" y="5"/>
                  </a:lnTo>
                  <a:lnTo>
                    <a:pt x="88" y="9"/>
                  </a:lnTo>
                  <a:lnTo>
                    <a:pt x="61" y="0"/>
                  </a:lnTo>
                  <a:lnTo>
                    <a:pt x="41" y="8"/>
                  </a:lnTo>
                  <a:lnTo>
                    <a:pt x="45" y="16"/>
                  </a:lnTo>
                  <a:lnTo>
                    <a:pt x="67" y="19"/>
                  </a:lnTo>
                  <a:lnTo>
                    <a:pt x="70" y="46"/>
                  </a:lnTo>
                  <a:lnTo>
                    <a:pt x="87" y="58"/>
                  </a:lnTo>
                  <a:lnTo>
                    <a:pt x="85" y="64"/>
                  </a:lnTo>
                  <a:lnTo>
                    <a:pt x="52" y="67"/>
                  </a:lnTo>
                  <a:lnTo>
                    <a:pt x="1" y="62"/>
                  </a:lnTo>
                  <a:lnTo>
                    <a:pt x="0" y="68"/>
                  </a:lnTo>
                  <a:lnTo>
                    <a:pt x="23" y="87"/>
                  </a:lnTo>
                  <a:lnTo>
                    <a:pt x="35" y="77"/>
                  </a:lnTo>
                  <a:lnTo>
                    <a:pt x="69" y="84"/>
                  </a:lnTo>
                  <a:lnTo>
                    <a:pt x="95" y="79"/>
                  </a:lnTo>
                  <a:lnTo>
                    <a:pt x="113" y="87"/>
                  </a:lnTo>
                  <a:close/>
                </a:path>
              </a:pathLst>
            </a:custGeom>
            <a:grpFill/>
            <a:ln w="6350">
              <a:solidFill>
                <a:schemeClr val="tx2"/>
              </a:solidFill>
              <a:round/>
              <a:headEnd/>
              <a:tailEnd/>
            </a:ln>
          </p:spPr>
          <p:txBody>
            <a:bodyPr/>
            <a:lstStyle/>
            <a:p>
              <a:endParaRPr lang="en-US"/>
            </a:p>
          </p:txBody>
        </p:sp>
        <p:sp>
          <p:nvSpPr>
            <p:cNvPr id="143" name="Freeform 996"/>
            <p:cNvSpPr>
              <a:spLocks/>
            </p:cNvSpPr>
            <p:nvPr/>
          </p:nvSpPr>
          <p:spPr bwMode="auto">
            <a:xfrm>
              <a:off x="2684004" y="4216257"/>
              <a:ext cx="72821" cy="53099"/>
            </a:xfrm>
            <a:custGeom>
              <a:avLst/>
              <a:gdLst>
                <a:gd name="T0" fmla="*/ 2147483647 w 148"/>
                <a:gd name="T1" fmla="*/ 2147483647 h 104"/>
                <a:gd name="T2" fmla="*/ 2147483647 w 148"/>
                <a:gd name="T3" fmla="*/ 2147483647 h 104"/>
                <a:gd name="T4" fmla="*/ 2147483647 w 148"/>
                <a:gd name="T5" fmla="*/ 2147483647 h 104"/>
                <a:gd name="T6" fmla="*/ 2147483647 w 148"/>
                <a:gd name="T7" fmla="*/ 2147483647 h 104"/>
                <a:gd name="T8" fmla="*/ 2147483647 w 148"/>
                <a:gd name="T9" fmla="*/ 2147483647 h 104"/>
                <a:gd name="T10" fmla="*/ 2147483647 w 148"/>
                <a:gd name="T11" fmla="*/ 2147483647 h 104"/>
                <a:gd name="T12" fmla="*/ 2147483647 w 148"/>
                <a:gd name="T13" fmla="*/ 2147483647 h 104"/>
                <a:gd name="T14" fmla="*/ 2147483647 w 148"/>
                <a:gd name="T15" fmla="*/ 2147483647 h 104"/>
                <a:gd name="T16" fmla="*/ 2147483647 w 148"/>
                <a:gd name="T17" fmla="*/ 2147483647 h 104"/>
                <a:gd name="T18" fmla="*/ 2147483647 w 148"/>
                <a:gd name="T19" fmla="*/ 2147483647 h 104"/>
                <a:gd name="T20" fmla="*/ 2147483647 w 148"/>
                <a:gd name="T21" fmla="*/ 2147483647 h 104"/>
                <a:gd name="T22" fmla="*/ 2147483647 w 148"/>
                <a:gd name="T23" fmla="*/ 2147483647 h 104"/>
                <a:gd name="T24" fmla="*/ 2147483647 w 148"/>
                <a:gd name="T25" fmla="*/ 2147483647 h 104"/>
                <a:gd name="T26" fmla="*/ 2147483647 w 148"/>
                <a:gd name="T27" fmla="*/ 2147483647 h 104"/>
                <a:gd name="T28" fmla="*/ 2147483647 w 148"/>
                <a:gd name="T29" fmla="*/ 2147483647 h 104"/>
                <a:gd name="T30" fmla="*/ 2147483647 w 148"/>
                <a:gd name="T31" fmla="*/ 2147483647 h 104"/>
                <a:gd name="T32" fmla="*/ 2147483647 w 148"/>
                <a:gd name="T33" fmla="*/ 2147483647 h 104"/>
                <a:gd name="T34" fmla="*/ 2147483647 w 148"/>
                <a:gd name="T35" fmla="*/ 0 h 104"/>
                <a:gd name="T36" fmla="*/ 2147483647 w 148"/>
                <a:gd name="T37" fmla="*/ 2147483647 h 104"/>
                <a:gd name="T38" fmla="*/ 2147483647 w 148"/>
                <a:gd name="T39" fmla="*/ 2147483647 h 104"/>
                <a:gd name="T40" fmla="*/ 2147483647 w 148"/>
                <a:gd name="T41" fmla="*/ 2147483647 h 104"/>
                <a:gd name="T42" fmla="*/ 0 w 148"/>
                <a:gd name="T43" fmla="*/ 2147483647 h 104"/>
                <a:gd name="T44" fmla="*/ 2147483647 w 148"/>
                <a:gd name="T45" fmla="*/ 2147483647 h 104"/>
                <a:gd name="T46" fmla="*/ 2147483647 w 148"/>
                <a:gd name="T47" fmla="*/ 2147483647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8"/>
                <a:gd name="T73" fmla="*/ 0 h 104"/>
                <a:gd name="T74" fmla="*/ 148 w 148"/>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8" h="104">
                  <a:moveTo>
                    <a:pt x="3" y="86"/>
                  </a:moveTo>
                  <a:lnTo>
                    <a:pt x="6" y="98"/>
                  </a:lnTo>
                  <a:lnTo>
                    <a:pt x="15" y="104"/>
                  </a:lnTo>
                  <a:lnTo>
                    <a:pt x="44" y="70"/>
                  </a:lnTo>
                  <a:lnTo>
                    <a:pt x="50" y="71"/>
                  </a:lnTo>
                  <a:lnTo>
                    <a:pt x="56" y="83"/>
                  </a:lnTo>
                  <a:lnTo>
                    <a:pt x="80" y="70"/>
                  </a:lnTo>
                  <a:lnTo>
                    <a:pt x="96" y="67"/>
                  </a:lnTo>
                  <a:lnTo>
                    <a:pt x="139" y="76"/>
                  </a:lnTo>
                  <a:lnTo>
                    <a:pt x="148" y="58"/>
                  </a:lnTo>
                  <a:lnTo>
                    <a:pt x="130" y="42"/>
                  </a:lnTo>
                  <a:lnTo>
                    <a:pt x="98" y="38"/>
                  </a:lnTo>
                  <a:lnTo>
                    <a:pt x="114" y="33"/>
                  </a:lnTo>
                  <a:lnTo>
                    <a:pt x="112" y="29"/>
                  </a:lnTo>
                  <a:lnTo>
                    <a:pt x="88" y="25"/>
                  </a:lnTo>
                  <a:lnTo>
                    <a:pt x="80" y="11"/>
                  </a:lnTo>
                  <a:lnTo>
                    <a:pt x="46" y="1"/>
                  </a:lnTo>
                  <a:lnTo>
                    <a:pt x="7" y="0"/>
                  </a:lnTo>
                  <a:lnTo>
                    <a:pt x="2" y="4"/>
                  </a:lnTo>
                  <a:lnTo>
                    <a:pt x="10" y="34"/>
                  </a:lnTo>
                  <a:lnTo>
                    <a:pt x="7" y="54"/>
                  </a:lnTo>
                  <a:lnTo>
                    <a:pt x="0" y="61"/>
                  </a:lnTo>
                  <a:lnTo>
                    <a:pt x="5" y="74"/>
                  </a:lnTo>
                  <a:lnTo>
                    <a:pt x="3" y="86"/>
                  </a:lnTo>
                  <a:close/>
                </a:path>
              </a:pathLst>
            </a:custGeom>
            <a:grpFill/>
            <a:ln w="6350">
              <a:solidFill>
                <a:schemeClr val="tx2"/>
              </a:solidFill>
              <a:round/>
              <a:headEnd/>
              <a:tailEnd/>
            </a:ln>
          </p:spPr>
          <p:txBody>
            <a:bodyPr/>
            <a:lstStyle/>
            <a:p>
              <a:endParaRPr lang="en-US"/>
            </a:p>
          </p:txBody>
        </p:sp>
        <p:sp>
          <p:nvSpPr>
            <p:cNvPr id="144" name="Freeform 997"/>
            <p:cNvSpPr>
              <a:spLocks/>
            </p:cNvSpPr>
            <p:nvPr/>
          </p:nvSpPr>
          <p:spPr bwMode="auto">
            <a:xfrm>
              <a:off x="2444300" y="4442308"/>
              <a:ext cx="124403" cy="53098"/>
            </a:xfrm>
            <a:custGeom>
              <a:avLst/>
              <a:gdLst>
                <a:gd name="T0" fmla="*/ 2147483647 w 251"/>
                <a:gd name="T1" fmla="*/ 2147483647 h 105"/>
                <a:gd name="T2" fmla="*/ 2147483647 w 251"/>
                <a:gd name="T3" fmla="*/ 2147483647 h 105"/>
                <a:gd name="T4" fmla="*/ 2147483647 w 251"/>
                <a:gd name="T5" fmla="*/ 2147483647 h 105"/>
                <a:gd name="T6" fmla="*/ 2147483647 w 251"/>
                <a:gd name="T7" fmla="*/ 2147483647 h 105"/>
                <a:gd name="T8" fmla="*/ 2147483647 w 251"/>
                <a:gd name="T9" fmla="*/ 2147483647 h 105"/>
                <a:gd name="T10" fmla="*/ 2147483647 w 251"/>
                <a:gd name="T11" fmla="*/ 2147483647 h 105"/>
                <a:gd name="T12" fmla="*/ 2147483647 w 251"/>
                <a:gd name="T13" fmla="*/ 2147483647 h 105"/>
                <a:gd name="T14" fmla="*/ 2147483647 w 251"/>
                <a:gd name="T15" fmla="*/ 2147483647 h 105"/>
                <a:gd name="T16" fmla="*/ 2147483647 w 251"/>
                <a:gd name="T17" fmla="*/ 2147483647 h 105"/>
                <a:gd name="T18" fmla="*/ 2147483647 w 251"/>
                <a:gd name="T19" fmla="*/ 2147483647 h 105"/>
                <a:gd name="T20" fmla="*/ 2147483647 w 251"/>
                <a:gd name="T21" fmla="*/ 2147483647 h 105"/>
                <a:gd name="T22" fmla="*/ 2147483647 w 251"/>
                <a:gd name="T23" fmla="*/ 2147483647 h 105"/>
                <a:gd name="T24" fmla="*/ 2147483647 w 251"/>
                <a:gd name="T25" fmla="*/ 2147483647 h 105"/>
                <a:gd name="T26" fmla="*/ 2147483647 w 251"/>
                <a:gd name="T27" fmla="*/ 2147483647 h 105"/>
                <a:gd name="T28" fmla="*/ 2147483647 w 251"/>
                <a:gd name="T29" fmla="*/ 2147483647 h 105"/>
                <a:gd name="T30" fmla="*/ 2147483647 w 251"/>
                <a:gd name="T31" fmla="*/ 2147483647 h 105"/>
                <a:gd name="T32" fmla="*/ 2147483647 w 251"/>
                <a:gd name="T33" fmla="*/ 2147483647 h 105"/>
                <a:gd name="T34" fmla="*/ 2147483647 w 251"/>
                <a:gd name="T35" fmla="*/ 0 h 105"/>
                <a:gd name="T36" fmla="*/ 2147483647 w 251"/>
                <a:gd name="T37" fmla="*/ 0 h 105"/>
                <a:gd name="T38" fmla="*/ 2147483647 w 251"/>
                <a:gd name="T39" fmla="*/ 2147483647 h 105"/>
                <a:gd name="T40" fmla="*/ 2147483647 w 251"/>
                <a:gd name="T41" fmla="*/ 2147483647 h 105"/>
                <a:gd name="T42" fmla="*/ 2147483647 w 251"/>
                <a:gd name="T43" fmla="*/ 2147483647 h 105"/>
                <a:gd name="T44" fmla="*/ 2147483647 w 251"/>
                <a:gd name="T45" fmla="*/ 2147483647 h 105"/>
                <a:gd name="T46" fmla="*/ 0 w 251"/>
                <a:gd name="T47" fmla="*/ 2147483647 h 105"/>
                <a:gd name="T48" fmla="*/ 2147483647 w 251"/>
                <a:gd name="T49" fmla="*/ 2147483647 h 105"/>
                <a:gd name="T50" fmla="*/ 2147483647 w 251"/>
                <a:gd name="T51" fmla="*/ 2147483647 h 105"/>
                <a:gd name="T52" fmla="*/ 2147483647 w 251"/>
                <a:gd name="T53" fmla="*/ 2147483647 h 105"/>
                <a:gd name="T54" fmla="*/ 2147483647 w 251"/>
                <a:gd name="T55" fmla="*/ 2147483647 h 105"/>
                <a:gd name="T56" fmla="*/ 2147483647 w 251"/>
                <a:gd name="T57" fmla="*/ 2147483647 h 105"/>
                <a:gd name="T58" fmla="*/ 2147483647 w 251"/>
                <a:gd name="T59" fmla="*/ 2147483647 h 105"/>
                <a:gd name="T60" fmla="*/ 2147483647 w 251"/>
                <a:gd name="T61" fmla="*/ 2147483647 h 105"/>
                <a:gd name="T62" fmla="*/ 2147483647 w 251"/>
                <a:gd name="T63" fmla="*/ 2147483647 h 105"/>
                <a:gd name="T64" fmla="*/ 2147483647 w 251"/>
                <a:gd name="T65" fmla="*/ 2147483647 h 105"/>
                <a:gd name="T66" fmla="*/ 2147483647 w 251"/>
                <a:gd name="T67" fmla="*/ 2147483647 h 105"/>
                <a:gd name="T68" fmla="*/ 2147483647 w 251"/>
                <a:gd name="T69" fmla="*/ 2147483647 h 105"/>
                <a:gd name="T70" fmla="*/ 2147483647 w 251"/>
                <a:gd name="T71" fmla="*/ 2147483647 h 105"/>
                <a:gd name="T72" fmla="*/ 2147483647 w 251"/>
                <a:gd name="T73" fmla="*/ 2147483647 h 105"/>
                <a:gd name="T74" fmla="*/ 2147483647 w 251"/>
                <a:gd name="T75" fmla="*/ 2147483647 h 105"/>
                <a:gd name="T76" fmla="*/ 2147483647 w 251"/>
                <a:gd name="T77" fmla="*/ 2147483647 h 105"/>
                <a:gd name="T78" fmla="*/ 2147483647 w 251"/>
                <a:gd name="T79" fmla="*/ 2147483647 h 105"/>
                <a:gd name="T80" fmla="*/ 2147483647 w 251"/>
                <a:gd name="T81" fmla="*/ 2147483647 h 105"/>
                <a:gd name="T82" fmla="*/ 2147483647 w 251"/>
                <a:gd name="T83" fmla="*/ 2147483647 h 105"/>
                <a:gd name="T84" fmla="*/ 2147483647 w 251"/>
                <a:gd name="T85" fmla="*/ 2147483647 h 105"/>
                <a:gd name="T86" fmla="*/ 2147483647 w 251"/>
                <a:gd name="T87" fmla="*/ 2147483647 h 105"/>
                <a:gd name="T88" fmla="*/ 2147483647 w 251"/>
                <a:gd name="T89" fmla="*/ 2147483647 h 1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1"/>
                <a:gd name="T136" fmla="*/ 0 h 105"/>
                <a:gd name="T137" fmla="*/ 251 w 251"/>
                <a:gd name="T138" fmla="*/ 105 h 10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1" h="105">
                  <a:moveTo>
                    <a:pt x="221" y="100"/>
                  </a:moveTo>
                  <a:lnTo>
                    <a:pt x="229" y="85"/>
                  </a:lnTo>
                  <a:lnTo>
                    <a:pt x="236" y="87"/>
                  </a:lnTo>
                  <a:lnTo>
                    <a:pt x="251" y="71"/>
                  </a:lnTo>
                  <a:lnTo>
                    <a:pt x="240" y="52"/>
                  </a:lnTo>
                  <a:lnTo>
                    <a:pt x="242" y="42"/>
                  </a:lnTo>
                  <a:lnTo>
                    <a:pt x="211" y="14"/>
                  </a:lnTo>
                  <a:lnTo>
                    <a:pt x="165" y="1"/>
                  </a:lnTo>
                  <a:lnTo>
                    <a:pt x="144" y="3"/>
                  </a:lnTo>
                  <a:lnTo>
                    <a:pt x="140" y="21"/>
                  </a:lnTo>
                  <a:lnTo>
                    <a:pt x="133" y="24"/>
                  </a:lnTo>
                  <a:lnTo>
                    <a:pt x="130" y="16"/>
                  </a:lnTo>
                  <a:lnTo>
                    <a:pt x="124" y="15"/>
                  </a:lnTo>
                  <a:lnTo>
                    <a:pt x="81" y="34"/>
                  </a:lnTo>
                  <a:lnTo>
                    <a:pt x="57" y="26"/>
                  </a:lnTo>
                  <a:lnTo>
                    <a:pt x="38" y="26"/>
                  </a:lnTo>
                  <a:lnTo>
                    <a:pt x="30" y="7"/>
                  </a:lnTo>
                  <a:lnTo>
                    <a:pt x="19" y="0"/>
                  </a:lnTo>
                  <a:lnTo>
                    <a:pt x="11" y="0"/>
                  </a:lnTo>
                  <a:lnTo>
                    <a:pt x="6" y="7"/>
                  </a:lnTo>
                  <a:lnTo>
                    <a:pt x="5" y="18"/>
                  </a:lnTo>
                  <a:lnTo>
                    <a:pt x="14" y="24"/>
                  </a:lnTo>
                  <a:lnTo>
                    <a:pt x="7" y="49"/>
                  </a:lnTo>
                  <a:lnTo>
                    <a:pt x="0" y="55"/>
                  </a:lnTo>
                  <a:lnTo>
                    <a:pt x="6" y="64"/>
                  </a:lnTo>
                  <a:lnTo>
                    <a:pt x="11" y="56"/>
                  </a:lnTo>
                  <a:lnTo>
                    <a:pt x="54" y="63"/>
                  </a:lnTo>
                  <a:lnTo>
                    <a:pt x="74" y="87"/>
                  </a:lnTo>
                  <a:lnTo>
                    <a:pt x="88" y="80"/>
                  </a:lnTo>
                  <a:lnTo>
                    <a:pt x="94" y="105"/>
                  </a:lnTo>
                  <a:lnTo>
                    <a:pt x="108" y="105"/>
                  </a:lnTo>
                  <a:lnTo>
                    <a:pt x="126" y="92"/>
                  </a:lnTo>
                  <a:lnTo>
                    <a:pt x="110" y="73"/>
                  </a:lnTo>
                  <a:lnTo>
                    <a:pt x="111" y="63"/>
                  </a:lnTo>
                  <a:lnTo>
                    <a:pt x="134" y="52"/>
                  </a:lnTo>
                  <a:lnTo>
                    <a:pt x="151" y="31"/>
                  </a:lnTo>
                  <a:lnTo>
                    <a:pt x="163" y="26"/>
                  </a:lnTo>
                  <a:lnTo>
                    <a:pt x="190" y="41"/>
                  </a:lnTo>
                  <a:lnTo>
                    <a:pt x="199" y="52"/>
                  </a:lnTo>
                  <a:lnTo>
                    <a:pt x="211" y="49"/>
                  </a:lnTo>
                  <a:lnTo>
                    <a:pt x="215" y="53"/>
                  </a:lnTo>
                  <a:lnTo>
                    <a:pt x="205" y="62"/>
                  </a:lnTo>
                  <a:lnTo>
                    <a:pt x="203" y="73"/>
                  </a:lnTo>
                  <a:lnTo>
                    <a:pt x="207" y="86"/>
                  </a:lnTo>
                  <a:lnTo>
                    <a:pt x="221" y="100"/>
                  </a:lnTo>
                  <a:close/>
                </a:path>
              </a:pathLst>
            </a:custGeom>
            <a:grpFill/>
            <a:ln w="6350">
              <a:solidFill>
                <a:schemeClr val="tx2"/>
              </a:solidFill>
              <a:round/>
              <a:headEnd/>
              <a:tailEnd/>
            </a:ln>
          </p:spPr>
          <p:txBody>
            <a:bodyPr/>
            <a:lstStyle/>
            <a:p>
              <a:endParaRPr lang="en-US"/>
            </a:p>
          </p:txBody>
        </p:sp>
        <p:sp>
          <p:nvSpPr>
            <p:cNvPr id="145" name="Freeform 998"/>
            <p:cNvSpPr>
              <a:spLocks/>
            </p:cNvSpPr>
            <p:nvPr/>
          </p:nvSpPr>
          <p:spPr bwMode="auto">
            <a:xfrm>
              <a:off x="2292589" y="4339143"/>
              <a:ext cx="48548" cy="27308"/>
            </a:xfrm>
            <a:custGeom>
              <a:avLst/>
              <a:gdLst>
                <a:gd name="T0" fmla="*/ 0 w 98"/>
                <a:gd name="T1" fmla="*/ 2147483647 h 56"/>
                <a:gd name="T2" fmla="*/ 2147483647 w 98"/>
                <a:gd name="T3" fmla="*/ 2147483647 h 56"/>
                <a:gd name="T4" fmla="*/ 2147483647 w 98"/>
                <a:gd name="T5" fmla="*/ 2147483647 h 56"/>
                <a:gd name="T6" fmla="*/ 2147483647 w 98"/>
                <a:gd name="T7" fmla="*/ 0 h 56"/>
                <a:gd name="T8" fmla="*/ 2147483647 w 98"/>
                <a:gd name="T9" fmla="*/ 2147483647 h 56"/>
                <a:gd name="T10" fmla="*/ 2147483647 w 98"/>
                <a:gd name="T11" fmla="*/ 2147483647 h 56"/>
                <a:gd name="T12" fmla="*/ 2147483647 w 98"/>
                <a:gd name="T13" fmla="*/ 2147483647 h 56"/>
                <a:gd name="T14" fmla="*/ 2147483647 w 98"/>
                <a:gd name="T15" fmla="*/ 2147483647 h 56"/>
                <a:gd name="T16" fmla="*/ 2147483647 w 98"/>
                <a:gd name="T17" fmla="*/ 2147483647 h 56"/>
                <a:gd name="T18" fmla="*/ 2147483647 w 98"/>
                <a:gd name="T19" fmla="*/ 2147483647 h 56"/>
                <a:gd name="T20" fmla="*/ 2147483647 w 98"/>
                <a:gd name="T21" fmla="*/ 2147483647 h 56"/>
                <a:gd name="T22" fmla="*/ 2147483647 w 98"/>
                <a:gd name="T23" fmla="*/ 2147483647 h 56"/>
                <a:gd name="T24" fmla="*/ 2147483647 w 98"/>
                <a:gd name="T25" fmla="*/ 2147483647 h 56"/>
                <a:gd name="T26" fmla="*/ 0 w 98"/>
                <a:gd name="T27" fmla="*/ 2147483647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56"/>
                <a:gd name="T44" fmla="*/ 98 w 98"/>
                <a:gd name="T45" fmla="*/ 56 h 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56">
                  <a:moveTo>
                    <a:pt x="0" y="31"/>
                  </a:moveTo>
                  <a:lnTo>
                    <a:pt x="5" y="21"/>
                  </a:lnTo>
                  <a:lnTo>
                    <a:pt x="20" y="12"/>
                  </a:lnTo>
                  <a:lnTo>
                    <a:pt x="26" y="0"/>
                  </a:lnTo>
                  <a:lnTo>
                    <a:pt x="40" y="3"/>
                  </a:lnTo>
                  <a:lnTo>
                    <a:pt x="67" y="24"/>
                  </a:lnTo>
                  <a:lnTo>
                    <a:pt x="83" y="21"/>
                  </a:lnTo>
                  <a:lnTo>
                    <a:pt x="92" y="25"/>
                  </a:lnTo>
                  <a:lnTo>
                    <a:pt x="96" y="30"/>
                  </a:lnTo>
                  <a:lnTo>
                    <a:pt x="98" y="46"/>
                  </a:lnTo>
                  <a:lnTo>
                    <a:pt x="81" y="56"/>
                  </a:lnTo>
                  <a:lnTo>
                    <a:pt x="60" y="55"/>
                  </a:lnTo>
                  <a:lnTo>
                    <a:pt x="16" y="41"/>
                  </a:lnTo>
                  <a:lnTo>
                    <a:pt x="0" y="31"/>
                  </a:lnTo>
                  <a:close/>
                </a:path>
              </a:pathLst>
            </a:custGeom>
            <a:grpFill/>
            <a:ln w="6350">
              <a:solidFill>
                <a:schemeClr val="tx2"/>
              </a:solidFill>
              <a:round/>
              <a:headEnd/>
              <a:tailEnd/>
            </a:ln>
          </p:spPr>
          <p:txBody>
            <a:bodyPr/>
            <a:lstStyle/>
            <a:p>
              <a:endParaRPr lang="en-US"/>
            </a:p>
          </p:txBody>
        </p:sp>
        <p:sp>
          <p:nvSpPr>
            <p:cNvPr id="146" name="Freeform 999"/>
            <p:cNvSpPr>
              <a:spLocks/>
            </p:cNvSpPr>
            <p:nvPr/>
          </p:nvSpPr>
          <p:spPr bwMode="auto">
            <a:xfrm>
              <a:off x="2347205" y="4325489"/>
              <a:ext cx="92543" cy="92544"/>
            </a:xfrm>
            <a:custGeom>
              <a:avLst/>
              <a:gdLst>
                <a:gd name="T0" fmla="*/ 2147483647 w 183"/>
                <a:gd name="T1" fmla="*/ 2147483647 h 186"/>
                <a:gd name="T2" fmla="*/ 2147483647 w 183"/>
                <a:gd name="T3" fmla="*/ 2147483647 h 186"/>
                <a:gd name="T4" fmla="*/ 2147483647 w 183"/>
                <a:gd name="T5" fmla="*/ 2147483647 h 186"/>
                <a:gd name="T6" fmla="*/ 2147483647 w 183"/>
                <a:gd name="T7" fmla="*/ 2147483647 h 186"/>
                <a:gd name="T8" fmla="*/ 2147483647 w 183"/>
                <a:gd name="T9" fmla="*/ 2147483647 h 186"/>
                <a:gd name="T10" fmla="*/ 2147483647 w 183"/>
                <a:gd name="T11" fmla="*/ 2147483647 h 186"/>
                <a:gd name="T12" fmla="*/ 2147483647 w 183"/>
                <a:gd name="T13" fmla="*/ 2147483647 h 186"/>
                <a:gd name="T14" fmla="*/ 2147483647 w 183"/>
                <a:gd name="T15" fmla="*/ 2147483647 h 186"/>
                <a:gd name="T16" fmla="*/ 2147483647 w 183"/>
                <a:gd name="T17" fmla="*/ 2147483647 h 186"/>
                <a:gd name="T18" fmla="*/ 2147483647 w 183"/>
                <a:gd name="T19" fmla="*/ 2147483647 h 186"/>
                <a:gd name="T20" fmla="*/ 2147483647 w 183"/>
                <a:gd name="T21" fmla="*/ 2147483647 h 186"/>
                <a:gd name="T22" fmla="*/ 2147483647 w 183"/>
                <a:gd name="T23" fmla="*/ 0 h 186"/>
                <a:gd name="T24" fmla="*/ 2147483647 w 183"/>
                <a:gd name="T25" fmla="*/ 2147483647 h 186"/>
                <a:gd name="T26" fmla="*/ 2147483647 w 183"/>
                <a:gd name="T27" fmla="*/ 2147483647 h 186"/>
                <a:gd name="T28" fmla="*/ 2147483647 w 183"/>
                <a:gd name="T29" fmla="*/ 2147483647 h 186"/>
                <a:gd name="T30" fmla="*/ 2147483647 w 183"/>
                <a:gd name="T31" fmla="*/ 2147483647 h 186"/>
                <a:gd name="T32" fmla="*/ 2147483647 w 183"/>
                <a:gd name="T33" fmla="*/ 2147483647 h 186"/>
                <a:gd name="T34" fmla="*/ 2147483647 w 183"/>
                <a:gd name="T35" fmla="*/ 2147483647 h 186"/>
                <a:gd name="T36" fmla="*/ 2147483647 w 183"/>
                <a:gd name="T37" fmla="*/ 2147483647 h 186"/>
                <a:gd name="T38" fmla="*/ 2147483647 w 183"/>
                <a:gd name="T39" fmla="*/ 2147483647 h 186"/>
                <a:gd name="T40" fmla="*/ 2147483647 w 183"/>
                <a:gd name="T41" fmla="*/ 2147483647 h 186"/>
                <a:gd name="T42" fmla="*/ 2147483647 w 183"/>
                <a:gd name="T43" fmla="*/ 2147483647 h 186"/>
                <a:gd name="T44" fmla="*/ 2147483647 w 183"/>
                <a:gd name="T45" fmla="*/ 2147483647 h 186"/>
                <a:gd name="T46" fmla="*/ 2147483647 w 183"/>
                <a:gd name="T47" fmla="*/ 2147483647 h 186"/>
                <a:gd name="T48" fmla="*/ 0 w 183"/>
                <a:gd name="T49" fmla="*/ 2147483647 h 186"/>
                <a:gd name="T50" fmla="*/ 0 w 183"/>
                <a:gd name="T51" fmla="*/ 2147483647 h 186"/>
                <a:gd name="T52" fmla="*/ 2147483647 w 183"/>
                <a:gd name="T53" fmla="*/ 2147483647 h 1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83"/>
                <a:gd name="T82" fmla="*/ 0 h 186"/>
                <a:gd name="T83" fmla="*/ 183 w 183"/>
                <a:gd name="T84" fmla="*/ 186 h 1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83" h="186">
                  <a:moveTo>
                    <a:pt x="78" y="174"/>
                  </a:moveTo>
                  <a:lnTo>
                    <a:pt x="86" y="170"/>
                  </a:lnTo>
                  <a:lnTo>
                    <a:pt x="111" y="178"/>
                  </a:lnTo>
                  <a:lnTo>
                    <a:pt x="128" y="176"/>
                  </a:lnTo>
                  <a:lnTo>
                    <a:pt x="147" y="186"/>
                  </a:lnTo>
                  <a:lnTo>
                    <a:pt x="167" y="180"/>
                  </a:lnTo>
                  <a:lnTo>
                    <a:pt x="160" y="158"/>
                  </a:lnTo>
                  <a:lnTo>
                    <a:pt x="165" y="142"/>
                  </a:lnTo>
                  <a:lnTo>
                    <a:pt x="171" y="65"/>
                  </a:lnTo>
                  <a:lnTo>
                    <a:pt x="181" y="34"/>
                  </a:lnTo>
                  <a:lnTo>
                    <a:pt x="183" y="1"/>
                  </a:lnTo>
                  <a:lnTo>
                    <a:pt x="174" y="0"/>
                  </a:lnTo>
                  <a:lnTo>
                    <a:pt x="141" y="18"/>
                  </a:lnTo>
                  <a:lnTo>
                    <a:pt x="127" y="17"/>
                  </a:lnTo>
                  <a:lnTo>
                    <a:pt x="118" y="10"/>
                  </a:lnTo>
                  <a:lnTo>
                    <a:pt x="104" y="33"/>
                  </a:lnTo>
                  <a:lnTo>
                    <a:pt x="96" y="34"/>
                  </a:lnTo>
                  <a:lnTo>
                    <a:pt x="78" y="50"/>
                  </a:lnTo>
                  <a:lnTo>
                    <a:pt x="61" y="43"/>
                  </a:lnTo>
                  <a:lnTo>
                    <a:pt x="53" y="57"/>
                  </a:lnTo>
                  <a:lnTo>
                    <a:pt x="36" y="57"/>
                  </a:lnTo>
                  <a:lnTo>
                    <a:pt x="34" y="75"/>
                  </a:lnTo>
                  <a:lnTo>
                    <a:pt x="22" y="88"/>
                  </a:lnTo>
                  <a:lnTo>
                    <a:pt x="9" y="88"/>
                  </a:lnTo>
                  <a:lnTo>
                    <a:pt x="0" y="88"/>
                  </a:lnTo>
                  <a:lnTo>
                    <a:pt x="0" y="95"/>
                  </a:lnTo>
                  <a:lnTo>
                    <a:pt x="78" y="174"/>
                  </a:lnTo>
                  <a:close/>
                </a:path>
              </a:pathLst>
            </a:custGeom>
            <a:grpFill/>
            <a:ln w="6350">
              <a:solidFill>
                <a:schemeClr val="tx2"/>
              </a:solidFill>
              <a:round/>
              <a:headEnd/>
              <a:tailEnd/>
            </a:ln>
          </p:spPr>
          <p:txBody>
            <a:bodyPr/>
            <a:lstStyle/>
            <a:p>
              <a:endParaRPr lang="en-US"/>
            </a:p>
          </p:txBody>
        </p:sp>
        <p:sp>
          <p:nvSpPr>
            <p:cNvPr id="147" name="Freeform 1000"/>
            <p:cNvSpPr>
              <a:spLocks/>
            </p:cNvSpPr>
            <p:nvPr/>
          </p:nvSpPr>
          <p:spPr bwMode="auto">
            <a:xfrm>
              <a:off x="2307759" y="4305767"/>
              <a:ext cx="130472" cy="63718"/>
            </a:xfrm>
            <a:custGeom>
              <a:avLst/>
              <a:gdLst>
                <a:gd name="T0" fmla="*/ 2147483647 w 264"/>
                <a:gd name="T1" fmla="*/ 2147483647 h 129"/>
                <a:gd name="T2" fmla="*/ 2147483647 w 264"/>
                <a:gd name="T3" fmla="*/ 2147483647 h 129"/>
                <a:gd name="T4" fmla="*/ 2147483647 w 264"/>
                <a:gd name="T5" fmla="*/ 2147483647 h 129"/>
                <a:gd name="T6" fmla="*/ 2147483647 w 264"/>
                <a:gd name="T7" fmla="*/ 2147483647 h 129"/>
                <a:gd name="T8" fmla="*/ 2147483647 w 264"/>
                <a:gd name="T9" fmla="*/ 2147483647 h 129"/>
                <a:gd name="T10" fmla="*/ 2147483647 w 264"/>
                <a:gd name="T11" fmla="*/ 2147483647 h 129"/>
                <a:gd name="T12" fmla="*/ 2147483647 w 264"/>
                <a:gd name="T13" fmla="*/ 2147483647 h 129"/>
                <a:gd name="T14" fmla="*/ 2147483647 w 264"/>
                <a:gd name="T15" fmla="*/ 2147483647 h 129"/>
                <a:gd name="T16" fmla="*/ 2147483647 w 264"/>
                <a:gd name="T17" fmla="*/ 2147483647 h 129"/>
                <a:gd name="T18" fmla="*/ 2147483647 w 264"/>
                <a:gd name="T19" fmla="*/ 2147483647 h 129"/>
                <a:gd name="T20" fmla="*/ 2147483647 w 264"/>
                <a:gd name="T21" fmla="*/ 2147483647 h 129"/>
                <a:gd name="T22" fmla="*/ 2147483647 w 264"/>
                <a:gd name="T23" fmla="*/ 2147483647 h 129"/>
                <a:gd name="T24" fmla="*/ 2147483647 w 264"/>
                <a:gd name="T25" fmla="*/ 2147483647 h 129"/>
                <a:gd name="T26" fmla="*/ 2147483647 w 264"/>
                <a:gd name="T27" fmla="*/ 2147483647 h 129"/>
                <a:gd name="T28" fmla="*/ 2147483647 w 264"/>
                <a:gd name="T29" fmla="*/ 2147483647 h 129"/>
                <a:gd name="T30" fmla="*/ 2147483647 w 264"/>
                <a:gd name="T31" fmla="*/ 2147483647 h 129"/>
                <a:gd name="T32" fmla="*/ 2147483647 w 264"/>
                <a:gd name="T33" fmla="*/ 2147483647 h 129"/>
                <a:gd name="T34" fmla="*/ 2147483647 w 264"/>
                <a:gd name="T35" fmla="*/ 2147483647 h 129"/>
                <a:gd name="T36" fmla="*/ 2147483647 w 264"/>
                <a:gd name="T37" fmla="*/ 2147483647 h 129"/>
                <a:gd name="T38" fmla="*/ 2147483647 w 264"/>
                <a:gd name="T39" fmla="*/ 2147483647 h 129"/>
                <a:gd name="T40" fmla="*/ 2147483647 w 264"/>
                <a:gd name="T41" fmla="*/ 2147483647 h 129"/>
                <a:gd name="T42" fmla="*/ 0 w 264"/>
                <a:gd name="T43" fmla="*/ 2147483647 h 129"/>
                <a:gd name="T44" fmla="*/ 2147483647 w 264"/>
                <a:gd name="T45" fmla="*/ 2147483647 h 129"/>
                <a:gd name="T46" fmla="*/ 2147483647 w 264"/>
                <a:gd name="T47" fmla="*/ 2147483647 h 129"/>
                <a:gd name="T48" fmla="*/ 2147483647 w 264"/>
                <a:gd name="T49" fmla="*/ 2147483647 h 129"/>
                <a:gd name="T50" fmla="*/ 2147483647 w 264"/>
                <a:gd name="T51" fmla="*/ 2147483647 h 129"/>
                <a:gd name="T52" fmla="*/ 2147483647 w 264"/>
                <a:gd name="T53" fmla="*/ 2147483647 h 129"/>
                <a:gd name="T54" fmla="*/ 2147483647 w 264"/>
                <a:gd name="T55" fmla="*/ 2147483647 h 129"/>
                <a:gd name="T56" fmla="*/ 2147483647 w 264"/>
                <a:gd name="T57" fmla="*/ 0 h 129"/>
                <a:gd name="T58" fmla="*/ 2147483647 w 264"/>
                <a:gd name="T59" fmla="*/ 2147483647 h 129"/>
                <a:gd name="T60" fmla="*/ 2147483647 w 264"/>
                <a:gd name="T61" fmla="*/ 2147483647 h 129"/>
                <a:gd name="T62" fmla="*/ 2147483647 w 264"/>
                <a:gd name="T63" fmla="*/ 2147483647 h 129"/>
                <a:gd name="T64" fmla="*/ 2147483647 w 264"/>
                <a:gd name="T65" fmla="*/ 2147483647 h 129"/>
                <a:gd name="T66" fmla="*/ 2147483647 w 264"/>
                <a:gd name="T67" fmla="*/ 2147483647 h 1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4"/>
                <a:gd name="T103" fmla="*/ 0 h 129"/>
                <a:gd name="T104" fmla="*/ 264 w 264"/>
                <a:gd name="T105" fmla="*/ 129 h 12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4" h="129">
                  <a:moveTo>
                    <a:pt x="264" y="42"/>
                  </a:moveTo>
                  <a:lnTo>
                    <a:pt x="255" y="41"/>
                  </a:lnTo>
                  <a:lnTo>
                    <a:pt x="222" y="59"/>
                  </a:lnTo>
                  <a:lnTo>
                    <a:pt x="208" y="58"/>
                  </a:lnTo>
                  <a:lnTo>
                    <a:pt x="199" y="51"/>
                  </a:lnTo>
                  <a:lnTo>
                    <a:pt x="185" y="74"/>
                  </a:lnTo>
                  <a:lnTo>
                    <a:pt x="177" y="75"/>
                  </a:lnTo>
                  <a:lnTo>
                    <a:pt x="159" y="91"/>
                  </a:lnTo>
                  <a:lnTo>
                    <a:pt x="142" y="84"/>
                  </a:lnTo>
                  <a:lnTo>
                    <a:pt x="134" y="98"/>
                  </a:lnTo>
                  <a:lnTo>
                    <a:pt x="117" y="98"/>
                  </a:lnTo>
                  <a:lnTo>
                    <a:pt x="115" y="116"/>
                  </a:lnTo>
                  <a:lnTo>
                    <a:pt x="103" y="129"/>
                  </a:lnTo>
                  <a:lnTo>
                    <a:pt x="90" y="129"/>
                  </a:lnTo>
                  <a:lnTo>
                    <a:pt x="82" y="115"/>
                  </a:lnTo>
                  <a:lnTo>
                    <a:pt x="72" y="113"/>
                  </a:lnTo>
                  <a:lnTo>
                    <a:pt x="70" y="97"/>
                  </a:lnTo>
                  <a:lnTo>
                    <a:pt x="66" y="92"/>
                  </a:lnTo>
                  <a:lnTo>
                    <a:pt x="57" y="88"/>
                  </a:lnTo>
                  <a:lnTo>
                    <a:pt x="41" y="91"/>
                  </a:lnTo>
                  <a:lnTo>
                    <a:pt x="14" y="70"/>
                  </a:lnTo>
                  <a:lnTo>
                    <a:pt x="0" y="67"/>
                  </a:lnTo>
                  <a:lnTo>
                    <a:pt x="10" y="58"/>
                  </a:lnTo>
                  <a:lnTo>
                    <a:pt x="8" y="45"/>
                  </a:lnTo>
                  <a:lnTo>
                    <a:pt x="44" y="19"/>
                  </a:lnTo>
                  <a:lnTo>
                    <a:pt x="46" y="9"/>
                  </a:lnTo>
                  <a:lnTo>
                    <a:pt x="72" y="6"/>
                  </a:lnTo>
                  <a:lnTo>
                    <a:pt x="115" y="8"/>
                  </a:lnTo>
                  <a:lnTo>
                    <a:pt x="156" y="0"/>
                  </a:lnTo>
                  <a:lnTo>
                    <a:pt x="164" y="3"/>
                  </a:lnTo>
                  <a:lnTo>
                    <a:pt x="188" y="1"/>
                  </a:lnTo>
                  <a:lnTo>
                    <a:pt x="229" y="12"/>
                  </a:lnTo>
                  <a:lnTo>
                    <a:pt x="256" y="29"/>
                  </a:lnTo>
                  <a:lnTo>
                    <a:pt x="264" y="42"/>
                  </a:lnTo>
                  <a:close/>
                </a:path>
              </a:pathLst>
            </a:custGeom>
            <a:grpFill/>
            <a:ln w="6350">
              <a:solidFill>
                <a:schemeClr val="tx2"/>
              </a:solidFill>
              <a:round/>
              <a:headEnd/>
              <a:tailEnd/>
            </a:ln>
          </p:spPr>
          <p:txBody>
            <a:bodyPr/>
            <a:lstStyle/>
            <a:p>
              <a:endParaRPr lang="en-US"/>
            </a:p>
          </p:txBody>
        </p:sp>
        <p:sp>
          <p:nvSpPr>
            <p:cNvPr id="148" name="Freeform 1001"/>
            <p:cNvSpPr>
              <a:spLocks/>
            </p:cNvSpPr>
            <p:nvPr/>
          </p:nvSpPr>
          <p:spPr bwMode="auto">
            <a:xfrm>
              <a:off x="2383616" y="4410448"/>
              <a:ext cx="69787" cy="60685"/>
            </a:xfrm>
            <a:custGeom>
              <a:avLst/>
              <a:gdLst>
                <a:gd name="T0" fmla="*/ 2147483647 w 141"/>
                <a:gd name="T1" fmla="*/ 2147483647 h 122"/>
                <a:gd name="T2" fmla="*/ 2147483647 w 141"/>
                <a:gd name="T3" fmla="*/ 2147483647 h 122"/>
                <a:gd name="T4" fmla="*/ 2147483647 w 141"/>
                <a:gd name="T5" fmla="*/ 2147483647 h 122"/>
                <a:gd name="T6" fmla="*/ 2147483647 w 141"/>
                <a:gd name="T7" fmla="*/ 2147483647 h 122"/>
                <a:gd name="T8" fmla="*/ 2147483647 w 141"/>
                <a:gd name="T9" fmla="*/ 2147483647 h 122"/>
                <a:gd name="T10" fmla="*/ 2147483647 w 141"/>
                <a:gd name="T11" fmla="*/ 2147483647 h 122"/>
                <a:gd name="T12" fmla="*/ 2147483647 w 141"/>
                <a:gd name="T13" fmla="*/ 2147483647 h 122"/>
                <a:gd name="T14" fmla="*/ 2147483647 w 141"/>
                <a:gd name="T15" fmla="*/ 2147483647 h 122"/>
                <a:gd name="T16" fmla="*/ 2147483647 w 141"/>
                <a:gd name="T17" fmla="*/ 2147483647 h 122"/>
                <a:gd name="T18" fmla="*/ 2147483647 w 141"/>
                <a:gd name="T19" fmla="*/ 2147483647 h 122"/>
                <a:gd name="T20" fmla="*/ 2147483647 w 141"/>
                <a:gd name="T21" fmla="*/ 2147483647 h 122"/>
                <a:gd name="T22" fmla="*/ 2147483647 w 141"/>
                <a:gd name="T23" fmla="*/ 2147483647 h 122"/>
                <a:gd name="T24" fmla="*/ 2147483647 w 141"/>
                <a:gd name="T25" fmla="*/ 0 h 122"/>
                <a:gd name="T26" fmla="*/ 2147483647 w 141"/>
                <a:gd name="T27" fmla="*/ 2147483647 h 122"/>
                <a:gd name="T28" fmla="*/ 0 w 141"/>
                <a:gd name="T29" fmla="*/ 2147483647 h 122"/>
                <a:gd name="T30" fmla="*/ 2147483647 w 141"/>
                <a:gd name="T31" fmla="*/ 2147483647 h 122"/>
                <a:gd name="T32" fmla="*/ 2147483647 w 141"/>
                <a:gd name="T33" fmla="*/ 2147483647 h 122"/>
                <a:gd name="T34" fmla="*/ 2147483647 w 141"/>
                <a:gd name="T35" fmla="*/ 2147483647 h 122"/>
                <a:gd name="T36" fmla="*/ 2147483647 w 141"/>
                <a:gd name="T37" fmla="*/ 2147483647 h 122"/>
                <a:gd name="T38" fmla="*/ 2147483647 w 141"/>
                <a:gd name="T39" fmla="*/ 2147483647 h 122"/>
                <a:gd name="T40" fmla="*/ 2147483647 w 141"/>
                <a:gd name="T41" fmla="*/ 2147483647 h 122"/>
                <a:gd name="T42" fmla="*/ 2147483647 w 141"/>
                <a:gd name="T43" fmla="*/ 2147483647 h 122"/>
                <a:gd name="T44" fmla="*/ 2147483647 w 141"/>
                <a:gd name="T45" fmla="*/ 2147483647 h 122"/>
                <a:gd name="T46" fmla="*/ 2147483647 w 141"/>
                <a:gd name="T47" fmla="*/ 2147483647 h 122"/>
                <a:gd name="T48" fmla="*/ 2147483647 w 141"/>
                <a:gd name="T49" fmla="*/ 2147483647 h 122"/>
                <a:gd name="T50" fmla="*/ 2147483647 w 141"/>
                <a:gd name="T51" fmla="*/ 2147483647 h 122"/>
                <a:gd name="T52" fmla="*/ 2147483647 w 141"/>
                <a:gd name="T53" fmla="*/ 2147483647 h 12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1"/>
                <a:gd name="T82" fmla="*/ 0 h 122"/>
                <a:gd name="T83" fmla="*/ 141 w 141"/>
                <a:gd name="T84" fmla="*/ 122 h 12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1" h="122">
                  <a:moveTo>
                    <a:pt x="122" y="122"/>
                  </a:moveTo>
                  <a:lnTo>
                    <a:pt x="129" y="116"/>
                  </a:lnTo>
                  <a:lnTo>
                    <a:pt x="136" y="91"/>
                  </a:lnTo>
                  <a:lnTo>
                    <a:pt x="127" y="85"/>
                  </a:lnTo>
                  <a:lnTo>
                    <a:pt x="128" y="74"/>
                  </a:lnTo>
                  <a:lnTo>
                    <a:pt x="133" y="67"/>
                  </a:lnTo>
                  <a:lnTo>
                    <a:pt x="141" y="67"/>
                  </a:lnTo>
                  <a:lnTo>
                    <a:pt x="110" y="41"/>
                  </a:lnTo>
                  <a:lnTo>
                    <a:pt x="94" y="10"/>
                  </a:lnTo>
                  <a:lnTo>
                    <a:pt x="74" y="16"/>
                  </a:lnTo>
                  <a:lnTo>
                    <a:pt x="55" y="6"/>
                  </a:lnTo>
                  <a:lnTo>
                    <a:pt x="38" y="8"/>
                  </a:lnTo>
                  <a:lnTo>
                    <a:pt x="13" y="0"/>
                  </a:lnTo>
                  <a:lnTo>
                    <a:pt x="5" y="4"/>
                  </a:lnTo>
                  <a:lnTo>
                    <a:pt x="0" y="31"/>
                  </a:lnTo>
                  <a:lnTo>
                    <a:pt x="9" y="51"/>
                  </a:lnTo>
                  <a:lnTo>
                    <a:pt x="35" y="66"/>
                  </a:lnTo>
                  <a:lnTo>
                    <a:pt x="38" y="54"/>
                  </a:lnTo>
                  <a:lnTo>
                    <a:pt x="30" y="48"/>
                  </a:lnTo>
                  <a:lnTo>
                    <a:pt x="39" y="47"/>
                  </a:lnTo>
                  <a:lnTo>
                    <a:pt x="59" y="71"/>
                  </a:lnTo>
                  <a:lnTo>
                    <a:pt x="92" y="89"/>
                  </a:lnTo>
                  <a:lnTo>
                    <a:pt x="95" y="112"/>
                  </a:lnTo>
                  <a:lnTo>
                    <a:pt x="108" y="118"/>
                  </a:lnTo>
                  <a:lnTo>
                    <a:pt x="105" y="107"/>
                  </a:lnTo>
                  <a:lnTo>
                    <a:pt x="110" y="106"/>
                  </a:lnTo>
                  <a:lnTo>
                    <a:pt x="122" y="122"/>
                  </a:lnTo>
                  <a:close/>
                </a:path>
              </a:pathLst>
            </a:custGeom>
            <a:grpFill/>
            <a:ln w="6350">
              <a:solidFill>
                <a:schemeClr val="tx2"/>
              </a:solidFill>
              <a:round/>
              <a:headEnd/>
              <a:tailEnd/>
            </a:ln>
          </p:spPr>
          <p:txBody>
            <a:bodyPr/>
            <a:lstStyle/>
            <a:p>
              <a:endParaRPr lang="en-US"/>
            </a:p>
          </p:txBody>
        </p:sp>
        <p:sp>
          <p:nvSpPr>
            <p:cNvPr id="149" name="Freeform 1002"/>
            <p:cNvSpPr>
              <a:spLocks/>
            </p:cNvSpPr>
            <p:nvPr/>
          </p:nvSpPr>
          <p:spPr bwMode="auto">
            <a:xfrm>
              <a:off x="2307759" y="4249634"/>
              <a:ext cx="27308" cy="56134"/>
            </a:xfrm>
            <a:custGeom>
              <a:avLst/>
              <a:gdLst>
                <a:gd name="T0" fmla="*/ 2147483647 w 49"/>
                <a:gd name="T1" fmla="*/ 2147483647 h 113"/>
                <a:gd name="T2" fmla="*/ 0 w 49"/>
                <a:gd name="T3" fmla="*/ 2147483647 h 113"/>
                <a:gd name="T4" fmla="*/ 2147483647 w 49"/>
                <a:gd name="T5" fmla="*/ 2147483647 h 113"/>
                <a:gd name="T6" fmla="*/ 2147483647 w 49"/>
                <a:gd name="T7" fmla="*/ 2147483647 h 113"/>
                <a:gd name="T8" fmla="*/ 2147483647 w 49"/>
                <a:gd name="T9" fmla="*/ 2147483647 h 113"/>
                <a:gd name="T10" fmla="*/ 2147483647 w 49"/>
                <a:gd name="T11" fmla="*/ 0 h 113"/>
                <a:gd name="T12" fmla="*/ 2147483647 w 49"/>
                <a:gd name="T13" fmla="*/ 2147483647 h 113"/>
                <a:gd name="T14" fmla="*/ 2147483647 w 49"/>
                <a:gd name="T15" fmla="*/ 2147483647 h 113"/>
                <a:gd name="T16" fmla="*/ 2147483647 w 49"/>
                <a:gd name="T17" fmla="*/ 2147483647 h 113"/>
                <a:gd name="T18" fmla="*/ 2147483647 w 49"/>
                <a:gd name="T19" fmla="*/ 2147483647 h 113"/>
                <a:gd name="T20" fmla="*/ 2147483647 w 49"/>
                <a:gd name="T21" fmla="*/ 2147483647 h 113"/>
                <a:gd name="T22" fmla="*/ 2147483647 w 49"/>
                <a:gd name="T23" fmla="*/ 2147483647 h 1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113"/>
                <a:gd name="T38" fmla="*/ 49 w 49"/>
                <a:gd name="T39" fmla="*/ 113 h 1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113">
                  <a:moveTo>
                    <a:pt x="16" y="113"/>
                  </a:moveTo>
                  <a:lnTo>
                    <a:pt x="0" y="111"/>
                  </a:lnTo>
                  <a:lnTo>
                    <a:pt x="3" y="26"/>
                  </a:lnTo>
                  <a:lnTo>
                    <a:pt x="18" y="24"/>
                  </a:lnTo>
                  <a:lnTo>
                    <a:pt x="29" y="2"/>
                  </a:lnTo>
                  <a:lnTo>
                    <a:pt x="37" y="0"/>
                  </a:lnTo>
                  <a:lnTo>
                    <a:pt x="49" y="9"/>
                  </a:lnTo>
                  <a:lnTo>
                    <a:pt x="42" y="32"/>
                  </a:lnTo>
                  <a:lnTo>
                    <a:pt x="41" y="69"/>
                  </a:lnTo>
                  <a:lnTo>
                    <a:pt x="36" y="86"/>
                  </a:lnTo>
                  <a:lnTo>
                    <a:pt x="17" y="103"/>
                  </a:lnTo>
                  <a:lnTo>
                    <a:pt x="16" y="113"/>
                  </a:lnTo>
                  <a:close/>
                </a:path>
              </a:pathLst>
            </a:custGeom>
            <a:grpFill/>
            <a:ln w="6350">
              <a:solidFill>
                <a:schemeClr val="tx2"/>
              </a:solidFill>
              <a:round/>
              <a:headEnd/>
              <a:tailEnd/>
            </a:ln>
          </p:spPr>
          <p:txBody>
            <a:bodyPr/>
            <a:lstStyle/>
            <a:p>
              <a:endParaRPr lang="en-US"/>
            </a:p>
          </p:txBody>
        </p:sp>
        <p:sp>
          <p:nvSpPr>
            <p:cNvPr id="150" name="Freeform 1036"/>
            <p:cNvSpPr>
              <a:spLocks/>
            </p:cNvSpPr>
            <p:nvPr/>
          </p:nvSpPr>
          <p:spPr bwMode="auto">
            <a:xfrm>
              <a:off x="2538361" y="4047858"/>
              <a:ext cx="21239" cy="6069"/>
            </a:xfrm>
            <a:custGeom>
              <a:avLst/>
              <a:gdLst>
                <a:gd name="T0" fmla="*/ 2147483647 w 46"/>
                <a:gd name="T1" fmla="*/ 0 h 11"/>
                <a:gd name="T2" fmla="*/ 2147483647 w 46"/>
                <a:gd name="T3" fmla="*/ 2147483647 h 11"/>
                <a:gd name="T4" fmla="*/ 2147483647 w 46"/>
                <a:gd name="T5" fmla="*/ 2147483647 h 11"/>
                <a:gd name="T6" fmla="*/ 2147483647 w 46"/>
                <a:gd name="T7" fmla="*/ 2147483647 h 11"/>
                <a:gd name="T8" fmla="*/ 2147483647 w 46"/>
                <a:gd name="T9" fmla="*/ 2147483647 h 11"/>
                <a:gd name="T10" fmla="*/ 0 w 46"/>
                <a:gd name="T11" fmla="*/ 2147483647 h 11"/>
                <a:gd name="T12" fmla="*/ 2147483647 w 46"/>
                <a:gd name="T13" fmla="*/ 0 h 11"/>
                <a:gd name="T14" fmla="*/ 0 60000 65536"/>
                <a:gd name="T15" fmla="*/ 0 60000 65536"/>
                <a:gd name="T16" fmla="*/ 0 60000 65536"/>
                <a:gd name="T17" fmla="*/ 0 60000 65536"/>
                <a:gd name="T18" fmla="*/ 0 60000 65536"/>
                <a:gd name="T19" fmla="*/ 0 60000 65536"/>
                <a:gd name="T20" fmla="*/ 0 60000 65536"/>
                <a:gd name="T21" fmla="*/ 0 w 46"/>
                <a:gd name="T22" fmla="*/ 0 h 11"/>
                <a:gd name="T23" fmla="*/ 46 w 46"/>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11">
                  <a:moveTo>
                    <a:pt x="40" y="0"/>
                  </a:moveTo>
                  <a:lnTo>
                    <a:pt x="46" y="11"/>
                  </a:lnTo>
                  <a:lnTo>
                    <a:pt x="38" y="5"/>
                  </a:lnTo>
                  <a:lnTo>
                    <a:pt x="13" y="11"/>
                  </a:lnTo>
                  <a:lnTo>
                    <a:pt x="3" y="11"/>
                  </a:lnTo>
                  <a:lnTo>
                    <a:pt x="0" y="5"/>
                  </a:lnTo>
                  <a:lnTo>
                    <a:pt x="40" y="0"/>
                  </a:lnTo>
                  <a:close/>
                </a:path>
              </a:pathLst>
            </a:custGeom>
            <a:grpFill/>
            <a:ln w="6350">
              <a:solidFill>
                <a:schemeClr val="tx2"/>
              </a:solidFill>
              <a:round/>
              <a:headEnd/>
              <a:tailEnd/>
            </a:ln>
          </p:spPr>
          <p:txBody>
            <a:bodyPr/>
            <a:lstStyle/>
            <a:p>
              <a:endParaRPr lang="en-US"/>
            </a:p>
          </p:txBody>
        </p:sp>
        <p:sp>
          <p:nvSpPr>
            <p:cNvPr id="151" name="Freeform 1037"/>
            <p:cNvSpPr>
              <a:spLocks/>
            </p:cNvSpPr>
            <p:nvPr/>
          </p:nvSpPr>
          <p:spPr bwMode="auto">
            <a:xfrm>
              <a:off x="2573254" y="4053926"/>
              <a:ext cx="4551" cy="15172"/>
            </a:xfrm>
            <a:custGeom>
              <a:avLst/>
              <a:gdLst>
                <a:gd name="T0" fmla="*/ 2147483647 w 10"/>
                <a:gd name="T1" fmla="*/ 2147483647 h 31"/>
                <a:gd name="T2" fmla="*/ 2147483647 w 10"/>
                <a:gd name="T3" fmla="*/ 2147483647 h 31"/>
                <a:gd name="T4" fmla="*/ 0 w 10"/>
                <a:gd name="T5" fmla="*/ 2147483647 h 31"/>
                <a:gd name="T6" fmla="*/ 2147483647 w 10"/>
                <a:gd name="T7" fmla="*/ 2147483647 h 31"/>
                <a:gd name="T8" fmla="*/ 2147483647 w 10"/>
                <a:gd name="T9" fmla="*/ 0 h 31"/>
                <a:gd name="T10" fmla="*/ 2147483647 w 10"/>
                <a:gd name="T11" fmla="*/ 2147483647 h 31"/>
                <a:gd name="T12" fmla="*/ 0 60000 65536"/>
                <a:gd name="T13" fmla="*/ 0 60000 65536"/>
                <a:gd name="T14" fmla="*/ 0 60000 65536"/>
                <a:gd name="T15" fmla="*/ 0 60000 65536"/>
                <a:gd name="T16" fmla="*/ 0 60000 65536"/>
                <a:gd name="T17" fmla="*/ 0 60000 65536"/>
                <a:gd name="T18" fmla="*/ 0 w 10"/>
                <a:gd name="T19" fmla="*/ 0 h 31"/>
                <a:gd name="T20" fmla="*/ 10 w 10"/>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0" h="31">
                  <a:moveTo>
                    <a:pt x="10" y="11"/>
                  </a:moveTo>
                  <a:lnTo>
                    <a:pt x="5" y="31"/>
                  </a:lnTo>
                  <a:lnTo>
                    <a:pt x="0" y="23"/>
                  </a:lnTo>
                  <a:lnTo>
                    <a:pt x="2" y="12"/>
                  </a:lnTo>
                  <a:lnTo>
                    <a:pt x="7" y="0"/>
                  </a:lnTo>
                  <a:lnTo>
                    <a:pt x="10" y="11"/>
                  </a:lnTo>
                  <a:close/>
                </a:path>
              </a:pathLst>
            </a:custGeom>
            <a:grpFill/>
            <a:ln w="6350">
              <a:solidFill>
                <a:schemeClr val="tx2"/>
              </a:solidFill>
              <a:round/>
              <a:headEnd/>
              <a:tailEnd/>
            </a:ln>
          </p:spPr>
          <p:txBody>
            <a:bodyPr/>
            <a:lstStyle/>
            <a:p>
              <a:endParaRPr lang="en-US"/>
            </a:p>
          </p:txBody>
        </p:sp>
        <p:sp>
          <p:nvSpPr>
            <p:cNvPr id="152" name="Freeform 1038"/>
            <p:cNvSpPr>
              <a:spLocks/>
            </p:cNvSpPr>
            <p:nvPr/>
          </p:nvSpPr>
          <p:spPr bwMode="auto">
            <a:xfrm>
              <a:off x="2568703" y="4088820"/>
              <a:ext cx="6069" cy="3034"/>
            </a:xfrm>
            <a:custGeom>
              <a:avLst/>
              <a:gdLst>
                <a:gd name="T0" fmla="*/ 2147483647 w 10"/>
                <a:gd name="T1" fmla="*/ 2147483647 h 4"/>
                <a:gd name="T2" fmla="*/ 2147483647 w 10"/>
                <a:gd name="T3" fmla="*/ 0 h 4"/>
                <a:gd name="T4" fmla="*/ 2147483647 w 10"/>
                <a:gd name="T5" fmla="*/ 0 h 4"/>
                <a:gd name="T6" fmla="*/ 0 w 10"/>
                <a:gd name="T7" fmla="*/ 2147483647 h 4"/>
                <a:gd name="T8" fmla="*/ 2147483647 w 10"/>
                <a:gd name="T9" fmla="*/ 2147483647 h 4"/>
                <a:gd name="T10" fmla="*/ 0 60000 65536"/>
                <a:gd name="T11" fmla="*/ 0 60000 65536"/>
                <a:gd name="T12" fmla="*/ 0 60000 65536"/>
                <a:gd name="T13" fmla="*/ 0 60000 65536"/>
                <a:gd name="T14" fmla="*/ 0 60000 65536"/>
                <a:gd name="T15" fmla="*/ 0 w 10"/>
                <a:gd name="T16" fmla="*/ 0 h 4"/>
                <a:gd name="T17" fmla="*/ 10 w 10"/>
                <a:gd name="T18" fmla="*/ 4 h 4"/>
              </a:gdLst>
              <a:ahLst/>
              <a:cxnLst>
                <a:cxn ang="T10">
                  <a:pos x="T0" y="T1"/>
                </a:cxn>
                <a:cxn ang="T11">
                  <a:pos x="T2" y="T3"/>
                </a:cxn>
                <a:cxn ang="T12">
                  <a:pos x="T4" y="T5"/>
                </a:cxn>
                <a:cxn ang="T13">
                  <a:pos x="T6" y="T7"/>
                </a:cxn>
                <a:cxn ang="T14">
                  <a:pos x="T8" y="T9"/>
                </a:cxn>
              </a:cxnLst>
              <a:rect l="T15" t="T16" r="T17" b="T18"/>
              <a:pathLst>
                <a:path w="10" h="4">
                  <a:moveTo>
                    <a:pt x="8" y="3"/>
                  </a:moveTo>
                  <a:lnTo>
                    <a:pt x="10" y="0"/>
                  </a:lnTo>
                  <a:lnTo>
                    <a:pt x="7" y="0"/>
                  </a:lnTo>
                  <a:lnTo>
                    <a:pt x="0" y="4"/>
                  </a:lnTo>
                  <a:lnTo>
                    <a:pt x="8" y="3"/>
                  </a:lnTo>
                  <a:close/>
                </a:path>
              </a:pathLst>
            </a:custGeom>
            <a:grpFill/>
            <a:ln w="6350">
              <a:solidFill>
                <a:schemeClr val="tx2"/>
              </a:solidFill>
              <a:round/>
              <a:headEnd/>
              <a:tailEnd/>
            </a:ln>
          </p:spPr>
          <p:txBody>
            <a:bodyPr/>
            <a:lstStyle/>
            <a:p>
              <a:endParaRPr lang="en-US"/>
            </a:p>
          </p:txBody>
        </p:sp>
        <p:sp>
          <p:nvSpPr>
            <p:cNvPr id="153" name="Freeform 1039"/>
            <p:cNvSpPr>
              <a:spLocks/>
            </p:cNvSpPr>
            <p:nvPr/>
          </p:nvSpPr>
          <p:spPr bwMode="auto">
            <a:xfrm>
              <a:off x="2550498" y="4087304"/>
              <a:ext cx="12137" cy="18206"/>
            </a:xfrm>
            <a:custGeom>
              <a:avLst/>
              <a:gdLst>
                <a:gd name="T0" fmla="*/ 2147483647 w 24"/>
                <a:gd name="T1" fmla="*/ 2147483647 h 39"/>
                <a:gd name="T2" fmla="*/ 2147483647 w 24"/>
                <a:gd name="T3" fmla="*/ 2147483647 h 39"/>
                <a:gd name="T4" fmla="*/ 2147483647 w 24"/>
                <a:gd name="T5" fmla="*/ 2147483647 h 39"/>
                <a:gd name="T6" fmla="*/ 2147483647 w 24"/>
                <a:gd name="T7" fmla="*/ 2147483647 h 39"/>
                <a:gd name="T8" fmla="*/ 0 w 24"/>
                <a:gd name="T9" fmla="*/ 2147483647 h 39"/>
                <a:gd name="T10" fmla="*/ 2147483647 w 24"/>
                <a:gd name="T11" fmla="*/ 2147483647 h 39"/>
                <a:gd name="T12" fmla="*/ 2147483647 w 24"/>
                <a:gd name="T13" fmla="*/ 0 h 39"/>
                <a:gd name="T14" fmla="*/ 2147483647 w 24"/>
                <a:gd name="T15" fmla="*/ 2147483647 h 39"/>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39"/>
                <a:gd name="T26" fmla="*/ 24 w 2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39">
                  <a:moveTo>
                    <a:pt x="13" y="6"/>
                  </a:moveTo>
                  <a:lnTo>
                    <a:pt x="24" y="22"/>
                  </a:lnTo>
                  <a:lnTo>
                    <a:pt x="20" y="39"/>
                  </a:lnTo>
                  <a:lnTo>
                    <a:pt x="14" y="39"/>
                  </a:lnTo>
                  <a:lnTo>
                    <a:pt x="0" y="22"/>
                  </a:lnTo>
                  <a:lnTo>
                    <a:pt x="5" y="1"/>
                  </a:lnTo>
                  <a:lnTo>
                    <a:pt x="11" y="0"/>
                  </a:lnTo>
                  <a:lnTo>
                    <a:pt x="13" y="6"/>
                  </a:lnTo>
                  <a:close/>
                </a:path>
              </a:pathLst>
            </a:custGeom>
            <a:grpFill/>
            <a:ln w="6350">
              <a:solidFill>
                <a:schemeClr val="tx2"/>
              </a:solidFill>
              <a:round/>
              <a:headEnd/>
              <a:tailEnd/>
            </a:ln>
          </p:spPr>
          <p:txBody>
            <a:bodyPr/>
            <a:lstStyle/>
            <a:p>
              <a:endParaRPr lang="en-US"/>
            </a:p>
          </p:txBody>
        </p:sp>
        <p:sp>
          <p:nvSpPr>
            <p:cNvPr id="154" name="Freeform 1040"/>
            <p:cNvSpPr>
              <a:spLocks/>
            </p:cNvSpPr>
            <p:nvPr/>
          </p:nvSpPr>
          <p:spPr bwMode="auto">
            <a:xfrm>
              <a:off x="2561117" y="4107025"/>
              <a:ext cx="4551" cy="4551"/>
            </a:xfrm>
            <a:custGeom>
              <a:avLst/>
              <a:gdLst>
                <a:gd name="T0" fmla="*/ 2147483647 w 9"/>
                <a:gd name="T1" fmla="*/ 0 h 11"/>
                <a:gd name="T2" fmla="*/ 0 w 9"/>
                <a:gd name="T3" fmla="*/ 2147483647 h 11"/>
                <a:gd name="T4" fmla="*/ 2147483647 w 9"/>
                <a:gd name="T5" fmla="*/ 2147483647 h 11"/>
                <a:gd name="T6" fmla="*/ 2147483647 w 9"/>
                <a:gd name="T7" fmla="*/ 0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5" y="0"/>
                  </a:moveTo>
                  <a:lnTo>
                    <a:pt x="0" y="11"/>
                  </a:lnTo>
                  <a:lnTo>
                    <a:pt x="9" y="1"/>
                  </a:lnTo>
                  <a:lnTo>
                    <a:pt x="5" y="0"/>
                  </a:lnTo>
                  <a:close/>
                </a:path>
              </a:pathLst>
            </a:custGeom>
            <a:grpFill/>
            <a:ln w="6350">
              <a:solidFill>
                <a:schemeClr val="tx2"/>
              </a:solidFill>
              <a:round/>
              <a:headEnd/>
              <a:tailEnd/>
            </a:ln>
          </p:spPr>
          <p:txBody>
            <a:bodyPr/>
            <a:lstStyle/>
            <a:p>
              <a:endParaRPr lang="en-US"/>
            </a:p>
          </p:txBody>
        </p:sp>
        <p:sp>
          <p:nvSpPr>
            <p:cNvPr id="155" name="Freeform 1041"/>
            <p:cNvSpPr>
              <a:spLocks/>
            </p:cNvSpPr>
            <p:nvPr/>
          </p:nvSpPr>
          <p:spPr bwMode="auto">
            <a:xfrm>
              <a:off x="2564152" y="4108543"/>
              <a:ext cx="3034" cy="10619"/>
            </a:xfrm>
            <a:custGeom>
              <a:avLst/>
              <a:gdLst>
                <a:gd name="T0" fmla="*/ 0 w 8"/>
                <a:gd name="T1" fmla="*/ 2147483647 h 20"/>
                <a:gd name="T2" fmla="*/ 2147483647 w 8"/>
                <a:gd name="T3" fmla="*/ 0 h 20"/>
                <a:gd name="T4" fmla="*/ 2147483647 w 8"/>
                <a:gd name="T5" fmla="*/ 2147483647 h 20"/>
                <a:gd name="T6" fmla="*/ 2147483647 w 8"/>
                <a:gd name="T7" fmla="*/ 2147483647 h 20"/>
                <a:gd name="T8" fmla="*/ 0 w 8"/>
                <a:gd name="T9" fmla="*/ 2147483647 h 20"/>
                <a:gd name="T10" fmla="*/ 0 60000 65536"/>
                <a:gd name="T11" fmla="*/ 0 60000 65536"/>
                <a:gd name="T12" fmla="*/ 0 60000 65536"/>
                <a:gd name="T13" fmla="*/ 0 60000 65536"/>
                <a:gd name="T14" fmla="*/ 0 60000 65536"/>
                <a:gd name="T15" fmla="*/ 0 w 8"/>
                <a:gd name="T16" fmla="*/ 0 h 20"/>
                <a:gd name="T17" fmla="*/ 8 w 8"/>
                <a:gd name="T18" fmla="*/ 20 h 20"/>
              </a:gdLst>
              <a:ahLst/>
              <a:cxnLst>
                <a:cxn ang="T10">
                  <a:pos x="T0" y="T1"/>
                </a:cxn>
                <a:cxn ang="T11">
                  <a:pos x="T2" y="T3"/>
                </a:cxn>
                <a:cxn ang="T12">
                  <a:pos x="T4" y="T5"/>
                </a:cxn>
                <a:cxn ang="T13">
                  <a:pos x="T6" y="T7"/>
                </a:cxn>
                <a:cxn ang="T14">
                  <a:pos x="T8" y="T9"/>
                </a:cxn>
              </a:cxnLst>
              <a:rect l="T15" t="T16" r="T17" b="T18"/>
              <a:pathLst>
                <a:path w="8" h="20">
                  <a:moveTo>
                    <a:pt x="0" y="10"/>
                  </a:moveTo>
                  <a:lnTo>
                    <a:pt x="6" y="0"/>
                  </a:lnTo>
                  <a:lnTo>
                    <a:pt x="8" y="20"/>
                  </a:lnTo>
                  <a:lnTo>
                    <a:pt x="2" y="18"/>
                  </a:lnTo>
                  <a:lnTo>
                    <a:pt x="0" y="10"/>
                  </a:lnTo>
                  <a:close/>
                </a:path>
              </a:pathLst>
            </a:custGeom>
            <a:grpFill/>
            <a:ln w="6350">
              <a:solidFill>
                <a:schemeClr val="tx2"/>
              </a:solidFill>
              <a:round/>
              <a:headEnd/>
              <a:tailEnd/>
            </a:ln>
          </p:spPr>
          <p:txBody>
            <a:bodyPr/>
            <a:lstStyle/>
            <a:p>
              <a:endParaRPr lang="en-US"/>
            </a:p>
          </p:txBody>
        </p:sp>
        <p:sp>
          <p:nvSpPr>
            <p:cNvPr id="156" name="Freeform 1042"/>
            <p:cNvSpPr>
              <a:spLocks/>
            </p:cNvSpPr>
            <p:nvPr/>
          </p:nvSpPr>
          <p:spPr bwMode="auto">
            <a:xfrm>
              <a:off x="2596011" y="4087304"/>
              <a:ext cx="3034" cy="12137"/>
            </a:xfrm>
            <a:custGeom>
              <a:avLst/>
              <a:gdLst>
                <a:gd name="T0" fmla="*/ 2147483647 w 6"/>
                <a:gd name="T1" fmla="*/ 0 h 23"/>
                <a:gd name="T2" fmla="*/ 2147483647 w 6"/>
                <a:gd name="T3" fmla="*/ 2147483647 h 23"/>
                <a:gd name="T4" fmla="*/ 0 w 6"/>
                <a:gd name="T5" fmla="*/ 2147483647 h 23"/>
                <a:gd name="T6" fmla="*/ 2147483647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5" y="0"/>
                  </a:moveTo>
                  <a:lnTo>
                    <a:pt x="6" y="23"/>
                  </a:lnTo>
                  <a:lnTo>
                    <a:pt x="0" y="13"/>
                  </a:lnTo>
                  <a:lnTo>
                    <a:pt x="5" y="0"/>
                  </a:lnTo>
                  <a:close/>
                </a:path>
              </a:pathLst>
            </a:custGeom>
            <a:grpFill/>
            <a:ln w="6350">
              <a:solidFill>
                <a:schemeClr val="tx2"/>
              </a:solidFill>
              <a:round/>
              <a:headEnd/>
              <a:tailEnd/>
            </a:ln>
          </p:spPr>
          <p:txBody>
            <a:bodyPr/>
            <a:lstStyle/>
            <a:p>
              <a:endParaRPr lang="en-US"/>
            </a:p>
          </p:txBody>
        </p:sp>
        <p:sp>
          <p:nvSpPr>
            <p:cNvPr id="157" name="Freeform 1043"/>
            <p:cNvSpPr>
              <a:spLocks/>
            </p:cNvSpPr>
            <p:nvPr/>
          </p:nvSpPr>
          <p:spPr bwMode="auto">
            <a:xfrm>
              <a:off x="2605114" y="4097923"/>
              <a:ext cx="9103" cy="12137"/>
            </a:xfrm>
            <a:custGeom>
              <a:avLst/>
              <a:gdLst>
                <a:gd name="T0" fmla="*/ 2147483647 w 21"/>
                <a:gd name="T1" fmla="*/ 2147483647 h 28"/>
                <a:gd name="T2" fmla="*/ 2147483647 w 21"/>
                <a:gd name="T3" fmla="*/ 2147483647 h 28"/>
                <a:gd name="T4" fmla="*/ 2147483647 w 21"/>
                <a:gd name="T5" fmla="*/ 2147483647 h 28"/>
                <a:gd name="T6" fmla="*/ 2147483647 w 21"/>
                <a:gd name="T7" fmla="*/ 2147483647 h 28"/>
                <a:gd name="T8" fmla="*/ 0 w 21"/>
                <a:gd name="T9" fmla="*/ 0 h 28"/>
                <a:gd name="T10" fmla="*/ 2147483647 w 21"/>
                <a:gd name="T11" fmla="*/ 2147483647 h 28"/>
                <a:gd name="T12" fmla="*/ 0 60000 65536"/>
                <a:gd name="T13" fmla="*/ 0 60000 65536"/>
                <a:gd name="T14" fmla="*/ 0 60000 65536"/>
                <a:gd name="T15" fmla="*/ 0 60000 65536"/>
                <a:gd name="T16" fmla="*/ 0 60000 65536"/>
                <a:gd name="T17" fmla="*/ 0 60000 65536"/>
                <a:gd name="T18" fmla="*/ 0 w 21"/>
                <a:gd name="T19" fmla="*/ 0 h 28"/>
                <a:gd name="T20" fmla="*/ 21 w 21"/>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1" h="28">
                  <a:moveTo>
                    <a:pt x="17" y="19"/>
                  </a:moveTo>
                  <a:lnTo>
                    <a:pt x="21" y="28"/>
                  </a:lnTo>
                  <a:lnTo>
                    <a:pt x="12" y="28"/>
                  </a:lnTo>
                  <a:lnTo>
                    <a:pt x="14" y="21"/>
                  </a:lnTo>
                  <a:lnTo>
                    <a:pt x="0" y="0"/>
                  </a:lnTo>
                  <a:lnTo>
                    <a:pt x="17" y="19"/>
                  </a:lnTo>
                  <a:close/>
                </a:path>
              </a:pathLst>
            </a:custGeom>
            <a:grpFill/>
            <a:ln w="6350">
              <a:solidFill>
                <a:schemeClr val="tx2"/>
              </a:solidFill>
              <a:round/>
              <a:headEnd/>
              <a:tailEnd/>
            </a:ln>
          </p:spPr>
          <p:txBody>
            <a:bodyPr/>
            <a:lstStyle/>
            <a:p>
              <a:endParaRPr lang="en-US"/>
            </a:p>
          </p:txBody>
        </p:sp>
        <p:sp>
          <p:nvSpPr>
            <p:cNvPr id="158" name="Freeform 1044"/>
            <p:cNvSpPr>
              <a:spLocks/>
            </p:cNvSpPr>
            <p:nvPr/>
          </p:nvSpPr>
          <p:spPr bwMode="auto">
            <a:xfrm>
              <a:off x="2632422" y="4110059"/>
              <a:ext cx="3034" cy="4551"/>
            </a:xfrm>
            <a:custGeom>
              <a:avLst/>
              <a:gdLst>
                <a:gd name="T0" fmla="*/ 2147483647 w 7"/>
                <a:gd name="T1" fmla="*/ 0 h 7"/>
                <a:gd name="T2" fmla="*/ 0 w 7"/>
                <a:gd name="T3" fmla="*/ 2147483647 h 7"/>
                <a:gd name="T4" fmla="*/ 2147483647 w 7"/>
                <a:gd name="T5" fmla="*/ 2147483647 h 7"/>
                <a:gd name="T6" fmla="*/ 2147483647 w 7"/>
                <a:gd name="T7" fmla="*/ 0 h 7"/>
                <a:gd name="T8" fmla="*/ 2147483647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0"/>
                  </a:moveTo>
                  <a:lnTo>
                    <a:pt x="0" y="7"/>
                  </a:lnTo>
                  <a:lnTo>
                    <a:pt x="4" y="7"/>
                  </a:lnTo>
                  <a:lnTo>
                    <a:pt x="7" y="0"/>
                  </a:lnTo>
                  <a:lnTo>
                    <a:pt x="2" y="0"/>
                  </a:lnTo>
                  <a:close/>
                </a:path>
              </a:pathLst>
            </a:custGeom>
            <a:grpFill/>
            <a:ln w="6350">
              <a:solidFill>
                <a:schemeClr val="tx2"/>
              </a:solidFill>
              <a:round/>
              <a:headEnd/>
              <a:tailEnd/>
            </a:ln>
          </p:spPr>
          <p:txBody>
            <a:bodyPr/>
            <a:lstStyle/>
            <a:p>
              <a:endParaRPr lang="en-US"/>
            </a:p>
          </p:txBody>
        </p:sp>
        <p:sp>
          <p:nvSpPr>
            <p:cNvPr id="159" name="Freeform 1045"/>
            <p:cNvSpPr>
              <a:spLocks/>
            </p:cNvSpPr>
            <p:nvPr/>
          </p:nvSpPr>
          <p:spPr bwMode="auto">
            <a:xfrm>
              <a:off x="2617251" y="4123714"/>
              <a:ext cx="6069" cy="15172"/>
            </a:xfrm>
            <a:custGeom>
              <a:avLst/>
              <a:gdLst>
                <a:gd name="T0" fmla="*/ 0 w 16"/>
                <a:gd name="T1" fmla="*/ 0 h 31"/>
                <a:gd name="T2" fmla="*/ 2147483647 w 16"/>
                <a:gd name="T3" fmla="*/ 2147483647 h 31"/>
                <a:gd name="T4" fmla="*/ 2147483647 w 16"/>
                <a:gd name="T5" fmla="*/ 2147483647 h 31"/>
                <a:gd name="T6" fmla="*/ 0 w 16"/>
                <a:gd name="T7" fmla="*/ 0 h 31"/>
                <a:gd name="T8" fmla="*/ 0 60000 65536"/>
                <a:gd name="T9" fmla="*/ 0 60000 65536"/>
                <a:gd name="T10" fmla="*/ 0 60000 65536"/>
                <a:gd name="T11" fmla="*/ 0 60000 65536"/>
                <a:gd name="T12" fmla="*/ 0 w 16"/>
                <a:gd name="T13" fmla="*/ 0 h 31"/>
                <a:gd name="T14" fmla="*/ 16 w 16"/>
                <a:gd name="T15" fmla="*/ 31 h 31"/>
              </a:gdLst>
              <a:ahLst/>
              <a:cxnLst>
                <a:cxn ang="T8">
                  <a:pos x="T0" y="T1"/>
                </a:cxn>
                <a:cxn ang="T9">
                  <a:pos x="T2" y="T3"/>
                </a:cxn>
                <a:cxn ang="T10">
                  <a:pos x="T4" y="T5"/>
                </a:cxn>
                <a:cxn ang="T11">
                  <a:pos x="T6" y="T7"/>
                </a:cxn>
              </a:cxnLst>
              <a:rect l="T12" t="T13" r="T14" b="T15"/>
              <a:pathLst>
                <a:path w="16" h="31">
                  <a:moveTo>
                    <a:pt x="0" y="0"/>
                  </a:moveTo>
                  <a:lnTo>
                    <a:pt x="16" y="31"/>
                  </a:lnTo>
                  <a:lnTo>
                    <a:pt x="7" y="22"/>
                  </a:lnTo>
                  <a:lnTo>
                    <a:pt x="0" y="0"/>
                  </a:lnTo>
                  <a:close/>
                </a:path>
              </a:pathLst>
            </a:custGeom>
            <a:grpFill/>
            <a:ln w="6350">
              <a:solidFill>
                <a:schemeClr val="tx2"/>
              </a:solidFill>
              <a:round/>
              <a:headEnd/>
              <a:tailEnd/>
            </a:ln>
          </p:spPr>
          <p:txBody>
            <a:bodyPr/>
            <a:lstStyle/>
            <a:p>
              <a:endParaRPr lang="en-US"/>
            </a:p>
          </p:txBody>
        </p:sp>
        <p:sp>
          <p:nvSpPr>
            <p:cNvPr id="160" name="Freeform 1046"/>
            <p:cNvSpPr>
              <a:spLocks/>
            </p:cNvSpPr>
            <p:nvPr/>
          </p:nvSpPr>
          <p:spPr bwMode="auto">
            <a:xfrm>
              <a:off x="2635456" y="4141919"/>
              <a:ext cx="9103" cy="13653"/>
            </a:xfrm>
            <a:custGeom>
              <a:avLst/>
              <a:gdLst>
                <a:gd name="T0" fmla="*/ 2147483647 w 21"/>
                <a:gd name="T1" fmla="*/ 2147483647 h 28"/>
                <a:gd name="T2" fmla="*/ 0 w 21"/>
                <a:gd name="T3" fmla="*/ 0 h 28"/>
                <a:gd name="T4" fmla="*/ 2147483647 w 21"/>
                <a:gd name="T5" fmla="*/ 2147483647 h 28"/>
                <a:gd name="T6" fmla="*/ 2147483647 w 21"/>
                <a:gd name="T7" fmla="*/ 2147483647 h 28"/>
                <a:gd name="T8" fmla="*/ 2147483647 w 21"/>
                <a:gd name="T9" fmla="*/ 2147483647 h 28"/>
                <a:gd name="T10" fmla="*/ 2147483647 w 21"/>
                <a:gd name="T11" fmla="*/ 2147483647 h 28"/>
                <a:gd name="T12" fmla="*/ 2147483647 w 21"/>
                <a:gd name="T13" fmla="*/ 2147483647 h 28"/>
                <a:gd name="T14" fmla="*/ 2147483647 w 21"/>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8"/>
                <a:gd name="T26" fmla="*/ 21 w 21"/>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8">
                  <a:moveTo>
                    <a:pt x="14" y="9"/>
                  </a:moveTo>
                  <a:lnTo>
                    <a:pt x="0" y="0"/>
                  </a:lnTo>
                  <a:lnTo>
                    <a:pt x="21" y="7"/>
                  </a:lnTo>
                  <a:lnTo>
                    <a:pt x="21" y="14"/>
                  </a:lnTo>
                  <a:lnTo>
                    <a:pt x="7" y="28"/>
                  </a:lnTo>
                  <a:lnTo>
                    <a:pt x="5" y="24"/>
                  </a:lnTo>
                  <a:lnTo>
                    <a:pt x="15" y="12"/>
                  </a:lnTo>
                  <a:lnTo>
                    <a:pt x="14" y="9"/>
                  </a:lnTo>
                  <a:close/>
                </a:path>
              </a:pathLst>
            </a:custGeom>
            <a:grpFill/>
            <a:ln w="6350">
              <a:solidFill>
                <a:schemeClr val="tx2"/>
              </a:solidFill>
              <a:round/>
              <a:headEnd/>
              <a:tailEnd/>
            </a:ln>
          </p:spPr>
          <p:txBody>
            <a:bodyPr/>
            <a:lstStyle/>
            <a:p>
              <a:endParaRPr lang="en-US"/>
            </a:p>
          </p:txBody>
        </p:sp>
        <p:sp>
          <p:nvSpPr>
            <p:cNvPr id="161" name="Freeform 1047"/>
            <p:cNvSpPr>
              <a:spLocks/>
            </p:cNvSpPr>
            <p:nvPr/>
          </p:nvSpPr>
          <p:spPr bwMode="auto">
            <a:xfrm>
              <a:off x="2662764" y="4151022"/>
              <a:ext cx="6069" cy="1516"/>
            </a:xfrm>
            <a:custGeom>
              <a:avLst/>
              <a:gdLst>
                <a:gd name="T0" fmla="*/ 2147483647 w 16"/>
                <a:gd name="T1" fmla="*/ 2147483647 h 4"/>
                <a:gd name="T2" fmla="*/ 2147483647 w 16"/>
                <a:gd name="T3" fmla="*/ 0 h 4"/>
                <a:gd name="T4" fmla="*/ 0 w 16"/>
                <a:gd name="T5" fmla="*/ 2147483647 h 4"/>
                <a:gd name="T6" fmla="*/ 2147483647 w 16"/>
                <a:gd name="T7" fmla="*/ 2147483647 h 4"/>
                <a:gd name="T8" fmla="*/ 0 60000 65536"/>
                <a:gd name="T9" fmla="*/ 0 60000 65536"/>
                <a:gd name="T10" fmla="*/ 0 60000 65536"/>
                <a:gd name="T11" fmla="*/ 0 60000 65536"/>
                <a:gd name="T12" fmla="*/ 0 w 16"/>
                <a:gd name="T13" fmla="*/ 0 h 4"/>
                <a:gd name="T14" fmla="*/ 16 w 16"/>
                <a:gd name="T15" fmla="*/ 4 h 4"/>
              </a:gdLst>
              <a:ahLst/>
              <a:cxnLst>
                <a:cxn ang="T8">
                  <a:pos x="T0" y="T1"/>
                </a:cxn>
                <a:cxn ang="T9">
                  <a:pos x="T2" y="T3"/>
                </a:cxn>
                <a:cxn ang="T10">
                  <a:pos x="T4" y="T5"/>
                </a:cxn>
                <a:cxn ang="T11">
                  <a:pos x="T6" y="T7"/>
                </a:cxn>
              </a:cxnLst>
              <a:rect l="T12" t="T13" r="T14" b="T15"/>
              <a:pathLst>
                <a:path w="16" h="4">
                  <a:moveTo>
                    <a:pt x="16" y="4"/>
                  </a:moveTo>
                  <a:lnTo>
                    <a:pt x="14" y="0"/>
                  </a:lnTo>
                  <a:lnTo>
                    <a:pt x="0" y="3"/>
                  </a:lnTo>
                  <a:lnTo>
                    <a:pt x="16" y="4"/>
                  </a:lnTo>
                  <a:close/>
                </a:path>
              </a:pathLst>
            </a:custGeom>
            <a:grpFill/>
            <a:ln w="6350">
              <a:solidFill>
                <a:schemeClr val="tx2"/>
              </a:solidFill>
              <a:round/>
              <a:headEnd/>
              <a:tailEnd/>
            </a:ln>
          </p:spPr>
          <p:txBody>
            <a:bodyPr/>
            <a:lstStyle/>
            <a:p>
              <a:endParaRPr lang="en-US"/>
            </a:p>
          </p:txBody>
        </p:sp>
        <p:sp>
          <p:nvSpPr>
            <p:cNvPr id="162" name="Freeform 1048"/>
            <p:cNvSpPr>
              <a:spLocks/>
            </p:cNvSpPr>
            <p:nvPr/>
          </p:nvSpPr>
          <p:spPr bwMode="auto">
            <a:xfrm>
              <a:off x="2680969" y="4160125"/>
              <a:ext cx="15172" cy="7585"/>
            </a:xfrm>
            <a:custGeom>
              <a:avLst/>
              <a:gdLst>
                <a:gd name="T0" fmla="*/ 2147483647 w 33"/>
                <a:gd name="T1" fmla="*/ 2147483647 h 14"/>
                <a:gd name="T2" fmla="*/ 2147483647 w 33"/>
                <a:gd name="T3" fmla="*/ 0 h 14"/>
                <a:gd name="T4" fmla="*/ 2147483647 w 33"/>
                <a:gd name="T5" fmla="*/ 2147483647 h 14"/>
                <a:gd name="T6" fmla="*/ 2147483647 w 33"/>
                <a:gd name="T7" fmla="*/ 2147483647 h 14"/>
                <a:gd name="T8" fmla="*/ 0 w 33"/>
                <a:gd name="T9" fmla="*/ 2147483647 h 14"/>
                <a:gd name="T10" fmla="*/ 2147483647 w 33"/>
                <a:gd name="T11" fmla="*/ 2147483647 h 14"/>
                <a:gd name="T12" fmla="*/ 0 60000 65536"/>
                <a:gd name="T13" fmla="*/ 0 60000 65536"/>
                <a:gd name="T14" fmla="*/ 0 60000 65536"/>
                <a:gd name="T15" fmla="*/ 0 60000 65536"/>
                <a:gd name="T16" fmla="*/ 0 60000 65536"/>
                <a:gd name="T17" fmla="*/ 0 60000 65536"/>
                <a:gd name="T18" fmla="*/ 0 w 33"/>
                <a:gd name="T19" fmla="*/ 0 h 14"/>
                <a:gd name="T20" fmla="*/ 33 w 3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33" h="14">
                  <a:moveTo>
                    <a:pt x="6" y="3"/>
                  </a:moveTo>
                  <a:lnTo>
                    <a:pt x="11" y="0"/>
                  </a:lnTo>
                  <a:lnTo>
                    <a:pt x="33" y="14"/>
                  </a:lnTo>
                  <a:lnTo>
                    <a:pt x="13" y="5"/>
                  </a:lnTo>
                  <a:lnTo>
                    <a:pt x="0" y="10"/>
                  </a:lnTo>
                  <a:lnTo>
                    <a:pt x="6" y="3"/>
                  </a:lnTo>
                  <a:close/>
                </a:path>
              </a:pathLst>
            </a:custGeom>
            <a:grpFill/>
            <a:ln w="6350">
              <a:solidFill>
                <a:schemeClr val="tx2"/>
              </a:solidFill>
              <a:round/>
              <a:headEnd/>
              <a:tailEnd/>
            </a:ln>
          </p:spPr>
          <p:txBody>
            <a:bodyPr/>
            <a:lstStyle/>
            <a:p>
              <a:endParaRPr lang="en-US"/>
            </a:p>
          </p:txBody>
        </p:sp>
        <p:sp>
          <p:nvSpPr>
            <p:cNvPr id="163" name="Freeform 1049"/>
            <p:cNvSpPr>
              <a:spLocks/>
            </p:cNvSpPr>
            <p:nvPr/>
          </p:nvSpPr>
          <p:spPr bwMode="auto">
            <a:xfrm>
              <a:off x="2650627" y="4175295"/>
              <a:ext cx="15172" cy="10619"/>
            </a:xfrm>
            <a:custGeom>
              <a:avLst/>
              <a:gdLst>
                <a:gd name="T0" fmla="*/ 2147483647 w 26"/>
                <a:gd name="T1" fmla="*/ 0 h 21"/>
                <a:gd name="T2" fmla="*/ 2147483647 w 26"/>
                <a:gd name="T3" fmla="*/ 2147483647 h 21"/>
                <a:gd name="T4" fmla="*/ 0 w 26"/>
                <a:gd name="T5" fmla="*/ 2147483647 h 21"/>
                <a:gd name="T6" fmla="*/ 2147483647 w 26"/>
                <a:gd name="T7" fmla="*/ 2147483647 h 21"/>
                <a:gd name="T8" fmla="*/ 2147483647 w 26"/>
                <a:gd name="T9" fmla="*/ 2147483647 h 21"/>
                <a:gd name="T10" fmla="*/ 2147483647 w 26"/>
                <a:gd name="T11" fmla="*/ 0 h 21"/>
                <a:gd name="T12" fmla="*/ 0 60000 65536"/>
                <a:gd name="T13" fmla="*/ 0 60000 65536"/>
                <a:gd name="T14" fmla="*/ 0 60000 65536"/>
                <a:gd name="T15" fmla="*/ 0 60000 65536"/>
                <a:gd name="T16" fmla="*/ 0 60000 65536"/>
                <a:gd name="T17" fmla="*/ 0 60000 65536"/>
                <a:gd name="T18" fmla="*/ 0 w 26"/>
                <a:gd name="T19" fmla="*/ 0 h 21"/>
                <a:gd name="T20" fmla="*/ 26 w 26"/>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6" h="21">
                  <a:moveTo>
                    <a:pt x="26" y="0"/>
                  </a:moveTo>
                  <a:lnTo>
                    <a:pt x="24" y="15"/>
                  </a:lnTo>
                  <a:lnTo>
                    <a:pt x="0" y="21"/>
                  </a:lnTo>
                  <a:lnTo>
                    <a:pt x="1" y="11"/>
                  </a:lnTo>
                  <a:lnTo>
                    <a:pt x="16" y="10"/>
                  </a:lnTo>
                  <a:lnTo>
                    <a:pt x="26" y="0"/>
                  </a:lnTo>
                  <a:close/>
                </a:path>
              </a:pathLst>
            </a:custGeom>
            <a:grpFill/>
            <a:ln w="6350">
              <a:solidFill>
                <a:schemeClr val="tx2"/>
              </a:solidFill>
              <a:round/>
              <a:headEnd/>
              <a:tailEnd/>
            </a:ln>
          </p:spPr>
          <p:txBody>
            <a:bodyPr/>
            <a:lstStyle/>
            <a:p>
              <a:endParaRPr lang="en-US"/>
            </a:p>
          </p:txBody>
        </p:sp>
        <p:sp>
          <p:nvSpPr>
            <p:cNvPr id="164" name="Freeform 1050"/>
            <p:cNvSpPr>
              <a:spLocks/>
            </p:cNvSpPr>
            <p:nvPr/>
          </p:nvSpPr>
          <p:spPr bwMode="auto">
            <a:xfrm>
              <a:off x="2412440" y="4132816"/>
              <a:ext cx="227567" cy="75856"/>
            </a:xfrm>
            <a:custGeom>
              <a:avLst/>
              <a:gdLst>
                <a:gd name="T0" fmla="*/ 2147483647 w 459"/>
                <a:gd name="T1" fmla="*/ 2147483647 h 153"/>
                <a:gd name="T2" fmla="*/ 2147483647 w 459"/>
                <a:gd name="T3" fmla="*/ 2147483647 h 153"/>
                <a:gd name="T4" fmla="*/ 2147483647 w 459"/>
                <a:gd name="T5" fmla="*/ 2147483647 h 153"/>
                <a:gd name="T6" fmla="*/ 2147483647 w 459"/>
                <a:gd name="T7" fmla="*/ 2147483647 h 153"/>
                <a:gd name="T8" fmla="*/ 2147483647 w 459"/>
                <a:gd name="T9" fmla="*/ 2147483647 h 153"/>
                <a:gd name="T10" fmla="*/ 2147483647 w 459"/>
                <a:gd name="T11" fmla="*/ 2147483647 h 153"/>
                <a:gd name="T12" fmla="*/ 2147483647 w 459"/>
                <a:gd name="T13" fmla="*/ 2147483647 h 153"/>
                <a:gd name="T14" fmla="*/ 2147483647 w 459"/>
                <a:gd name="T15" fmla="*/ 2147483647 h 153"/>
                <a:gd name="T16" fmla="*/ 2147483647 w 459"/>
                <a:gd name="T17" fmla="*/ 2147483647 h 153"/>
                <a:gd name="T18" fmla="*/ 2147483647 w 459"/>
                <a:gd name="T19" fmla="*/ 2147483647 h 153"/>
                <a:gd name="T20" fmla="*/ 2147483647 w 459"/>
                <a:gd name="T21" fmla="*/ 2147483647 h 153"/>
                <a:gd name="T22" fmla="*/ 2147483647 w 459"/>
                <a:gd name="T23" fmla="*/ 2147483647 h 153"/>
                <a:gd name="T24" fmla="*/ 2147483647 w 459"/>
                <a:gd name="T25" fmla="*/ 2147483647 h 153"/>
                <a:gd name="T26" fmla="*/ 2147483647 w 459"/>
                <a:gd name="T27" fmla="*/ 2147483647 h 153"/>
                <a:gd name="T28" fmla="*/ 2147483647 w 459"/>
                <a:gd name="T29" fmla="*/ 2147483647 h 153"/>
                <a:gd name="T30" fmla="*/ 2147483647 w 459"/>
                <a:gd name="T31" fmla="*/ 2147483647 h 153"/>
                <a:gd name="T32" fmla="*/ 2147483647 w 459"/>
                <a:gd name="T33" fmla="*/ 2147483647 h 153"/>
                <a:gd name="T34" fmla="*/ 2147483647 w 459"/>
                <a:gd name="T35" fmla="*/ 2147483647 h 153"/>
                <a:gd name="T36" fmla="*/ 2147483647 w 459"/>
                <a:gd name="T37" fmla="*/ 2147483647 h 153"/>
                <a:gd name="T38" fmla="*/ 2147483647 w 459"/>
                <a:gd name="T39" fmla="*/ 2147483647 h 153"/>
                <a:gd name="T40" fmla="*/ 2147483647 w 459"/>
                <a:gd name="T41" fmla="*/ 2147483647 h 153"/>
                <a:gd name="T42" fmla="*/ 2147483647 w 459"/>
                <a:gd name="T43" fmla="*/ 2147483647 h 153"/>
                <a:gd name="T44" fmla="*/ 2147483647 w 459"/>
                <a:gd name="T45" fmla="*/ 2147483647 h 153"/>
                <a:gd name="T46" fmla="*/ 2147483647 w 459"/>
                <a:gd name="T47" fmla="*/ 2147483647 h 153"/>
                <a:gd name="T48" fmla="*/ 2147483647 w 459"/>
                <a:gd name="T49" fmla="*/ 2147483647 h 153"/>
                <a:gd name="T50" fmla="*/ 2147483647 w 459"/>
                <a:gd name="T51" fmla="*/ 2147483647 h 153"/>
                <a:gd name="T52" fmla="*/ 2147483647 w 459"/>
                <a:gd name="T53" fmla="*/ 2147483647 h 153"/>
                <a:gd name="T54" fmla="*/ 2147483647 w 459"/>
                <a:gd name="T55" fmla="*/ 2147483647 h 153"/>
                <a:gd name="T56" fmla="*/ 0 w 459"/>
                <a:gd name="T57" fmla="*/ 2147483647 h 153"/>
                <a:gd name="T58" fmla="*/ 2147483647 w 459"/>
                <a:gd name="T59" fmla="*/ 2147483647 h 153"/>
                <a:gd name="T60" fmla="*/ 2147483647 w 459"/>
                <a:gd name="T61" fmla="*/ 2147483647 h 153"/>
                <a:gd name="T62" fmla="*/ 2147483647 w 459"/>
                <a:gd name="T63" fmla="*/ 2147483647 h 153"/>
                <a:gd name="T64" fmla="*/ 2147483647 w 459"/>
                <a:gd name="T65" fmla="*/ 0 h 153"/>
                <a:gd name="T66" fmla="*/ 2147483647 w 459"/>
                <a:gd name="T67" fmla="*/ 0 h 153"/>
                <a:gd name="T68" fmla="*/ 2147483647 w 459"/>
                <a:gd name="T69" fmla="*/ 2147483647 h 153"/>
                <a:gd name="T70" fmla="*/ 2147483647 w 459"/>
                <a:gd name="T71" fmla="*/ 2147483647 h 153"/>
                <a:gd name="T72" fmla="*/ 2147483647 w 459"/>
                <a:gd name="T73" fmla="*/ 2147483647 h 153"/>
                <a:gd name="T74" fmla="*/ 2147483647 w 459"/>
                <a:gd name="T75" fmla="*/ 2147483647 h 153"/>
                <a:gd name="T76" fmla="*/ 2147483647 w 459"/>
                <a:gd name="T77" fmla="*/ 2147483647 h 153"/>
                <a:gd name="T78" fmla="*/ 2147483647 w 459"/>
                <a:gd name="T79" fmla="*/ 2147483647 h 153"/>
                <a:gd name="T80" fmla="*/ 2147483647 w 459"/>
                <a:gd name="T81" fmla="*/ 2147483647 h 1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9"/>
                <a:gd name="T124" fmla="*/ 0 h 153"/>
                <a:gd name="T125" fmla="*/ 459 w 459"/>
                <a:gd name="T126" fmla="*/ 153 h 1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9" h="153">
                  <a:moveTo>
                    <a:pt x="329" y="69"/>
                  </a:moveTo>
                  <a:lnTo>
                    <a:pt x="352" y="85"/>
                  </a:lnTo>
                  <a:lnTo>
                    <a:pt x="378" y="95"/>
                  </a:lnTo>
                  <a:lnTo>
                    <a:pt x="394" y="95"/>
                  </a:lnTo>
                  <a:lnTo>
                    <a:pt x="394" y="111"/>
                  </a:lnTo>
                  <a:lnTo>
                    <a:pt x="429" y="113"/>
                  </a:lnTo>
                  <a:lnTo>
                    <a:pt x="447" y="129"/>
                  </a:lnTo>
                  <a:lnTo>
                    <a:pt x="459" y="132"/>
                  </a:lnTo>
                  <a:lnTo>
                    <a:pt x="459" y="137"/>
                  </a:lnTo>
                  <a:lnTo>
                    <a:pt x="412" y="152"/>
                  </a:lnTo>
                  <a:lnTo>
                    <a:pt x="348" y="148"/>
                  </a:lnTo>
                  <a:lnTo>
                    <a:pt x="312" y="153"/>
                  </a:lnTo>
                  <a:lnTo>
                    <a:pt x="307" y="149"/>
                  </a:lnTo>
                  <a:lnTo>
                    <a:pt x="336" y="130"/>
                  </a:lnTo>
                  <a:lnTo>
                    <a:pt x="337" y="123"/>
                  </a:lnTo>
                  <a:lnTo>
                    <a:pt x="294" y="115"/>
                  </a:lnTo>
                  <a:lnTo>
                    <a:pt x="277" y="100"/>
                  </a:lnTo>
                  <a:lnTo>
                    <a:pt x="266" y="76"/>
                  </a:lnTo>
                  <a:lnTo>
                    <a:pt x="216" y="70"/>
                  </a:lnTo>
                  <a:lnTo>
                    <a:pt x="186" y="53"/>
                  </a:lnTo>
                  <a:lnTo>
                    <a:pt x="125" y="47"/>
                  </a:lnTo>
                  <a:lnTo>
                    <a:pt x="119" y="38"/>
                  </a:lnTo>
                  <a:lnTo>
                    <a:pt x="136" y="32"/>
                  </a:lnTo>
                  <a:lnTo>
                    <a:pt x="128" y="26"/>
                  </a:lnTo>
                  <a:lnTo>
                    <a:pt x="91" y="24"/>
                  </a:lnTo>
                  <a:lnTo>
                    <a:pt x="71" y="41"/>
                  </a:lnTo>
                  <a:lnTo>
                    <a:pt x="45" y="48"/>
                  </a:lnTo>
                  <a:lnTo>
                    <a:pt x="17" y="66"/>
                  </a:lnTo>
                  <a:lnTo>
                    <a:pt x="0" y="60"/>
                  </a:lnTo>
                  <a:lnTo>
                    <a:pt x="18" y="53"/>
                  </a:lnTo>
                  <a:lnTo>
                    <a:pt x="23" y="31"/>
                  </a:lnTo>
                  <a:lnTo>
                    <a:pt x="46" y="17"/>
                  </a:lnTo>
                  <a:lnTo>
                    <a:pt x="103" y="0"/>
                  </a:lnTo>
                  <a:lnTo>
                    <a:pt x="138" y="0"/>
                  </a:lnTo>
                  <a:lnTo>
                    <a:pt x="205" y="8"/>
                  </a:lnTo>
                  <a:lnTo>
                    <a:pt x="234" y="33"/>
                  </a:lnTo>
                  <a:lnTo>
                    <a:pt x="270" y="38"/>
                  </a:lnTo>
                  <a:lnTo>
                    <a:pt x="269" y="43"/>
                  </a:lnTo>
                  <a:lnTo>
                    <a:pt x="289" y="49"/>
                  </a:lnTo>
                  <a:lnTo>
                    <a:pt x="298" y="58"/>
                  </a:lnTo>
                  <a:lnTo>
                    <a:pt x="329" y="69"/>
                  </a:lnTo>
                  <a:close/>
                </a:path>
              </a:pathLst>
            </a:custGeom>
            <a:grpFill/>
            <a:ln w="6350">
              <a:solidFill>
                <a:schemeClr val="tx2"/>
              </a:solidFill>
              <a:round/>
              <a:headEnd/>
              <a:tailEnd/>
            </a:ln>
          </p:spPr>
          <p:txBody>
            <a:bodyPr/>
            <a:lstStyle/>
            <a:p>
              <a:endParaRPr lang="en-US"/>
            </a:p>
          </p:txBody>
        </p:sp>
        <p:sp>
          <p:nvSpPr>
            <p:cNvPr id="165" name="Freeform 1051"/>
            <p:cNvSpPr>
              <a:spLocks/>
            </p:cNvSpPr>
            <p:nvPr/>
          </p:nvSpPr>
          <p:spPr bwMode="auto">
            <a:xfrm>
              <a:off x="2447334" y="4163159"/>
              <a:ext cx="9103" cy="9103"/>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2147483647 h 18"/>
                <a:gd name="T10" fmla="*/ 2147483647 w 23"/>
                <a:gd name="T11" fmla="*/ 0 h 18"/>
                <a:gd name="T12" fmla="*/ 2147483647 w 23"/>
                <a:gd name="T13" fmla="*/ 0 h 18"/>
                <a:gd name="T14" fmla="*/ 0 60000 65536"/>
                <a:gd name="T15" fmla="*/ 0 60000 65536"/>
                <a:gd name="T16" fmla="*/ 0 60000 65536"/>
                <a:gd name="T17" fmla="*/ 0 60000 65536"/>
                <a:gd name="T18" fmla="*/ 0 60000 65536"/>
                <a:gd name="T19" fmla="*/ 0 60000 65536"/>
                <a:gd name="T20" fmla="*/ 0 60000 65536"/>
                <a:gd name="T21" fmla="*/ 0 w 23"/>
                <a:gd name="T22" fmla="*/ 0 h 18"/>
                <a:gd name="T23" fmla="*/ 23 w 2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8">
                  <a:moveTo>
                    <a:pt x="18" y="0"/>
                  </a:moveTo>
                  <a:lnTo>
                    <a:pt x="23" y="16"/>
                  </a:lnTo>
                  <a:lnTo>
                    <a:pt x="3" y="18"/>
                  </a:lnTo>
                  <a:lnTo>
                    <a:pt x="0" y="12"/>
                  </a:lnTo>
                  <a:lnTo>
                    <a:pt x="7" y="16"/>
                  </a:lnTo>
                  <a:lnTo>
                    <a:pt x="7" y="0"/>
                  </a:lnTo>
                  <a:lnTo>
                    <a:pt x="18" y="0"/>
                  </a:lnTo>
                  <a:close/>
                </a:path>
              </a:pathLst>
            </a:custGeom>
            <a:grpFill/>
            <a:ln w="6350">
              <a:solidFill>
                <a:schemeClr val="tx2"/>
              </a:solidFill>
              <a:round/>
              <a:headEnd/>
              <a:tailEnd/>
            </a:ln>
          </p:spPr>
          <p:txBody>
            <a:bodyPr/>
            <a:lstStyle/>
            <a:p>
              <a:endParaRPr lang="en-US"/>
            </a:p>
          </p:txBody>
        </p:sp>
        <p:sp>
          <p:nvSpPr>
            <p:cNvPr id="166" name="Freeform 1052"/>
            <p:cNvSpPr>
              <a:spLocks/>
            </p:cNvSpPr>
            <p:nvPr/>
          </p:nvSpPr>
          <p:spPr bwMode="auto">
            <a:xfrm>
              <a:off x="2544430" y="4147988"/>
              <a:ext cx="21239" cy="13653"/>
            </a:xfrm>
            <a:custGeom>
              <a:avLst/>
              <a:gdLst>
                <a:gd name="T0" fmla="*/ 2147483647 w 44"/>
                <a:gd name="T1" fmla="*/ 2147483647 h 27"/>
                <a:gd name="T2" fmla="*/ 2147483647 w 44"/>
                <a:gd name="T3" fmla="*/ 2147483647 h 27"/>
                <a:gd name="T4" fmla="*/ 2147483647 w 44"/>
                <a:gd name="T5" fmla="*/ 2147483647 h 27"/>
                <a:gd name="T6" fmla="*/ 2147483647 w 44"/>
                <a:gd name="T7" fmla="*/ 2147483647 h 27"/>
                <a:gd name="T8" fmla="*/ 2147483647 w 44"/>
                <a:gd name="T9" fmla="*/ 2147483647 h 27"/>
                <a:gd name="T10" fmla="*/ 2147483647 w 44"/>
                <a:gd name="T11" fmla="*/ 2147483647 h 27"/>
                <a:gd name="T12" fmla="*/ 0 w 44"/>
                <a:gd name="T13" fmla="*/ 0 h 27"/>
                <a:gd name="T14" fmla="*/ 2147483647 w 44"/>
                <a:gd name="T15" fmla="*/ 0 h 27"/>
                <a:gd name="T16" fmla="*/ 2147483647 w 44"/>
                <a:gd name="T17" fmla="*/ 2147483647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27"/>
                <a:gd name="T29" fmla="*/ 44 w 44"/>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27">
                  <a:moveTo>
                    <a:pt x="30" y="11"/>
                  </a:moveTo>
                  <a:lnTo>
                    <a:pt x="43" y="21"/>
                  </a:lnTo>
                  <a:lnTo>
                    <a:pt x="44" y="27"/>
                  </a:lnTo>
                  <a:lnTo>
                    <a:pt x="37" y="26"/>
                  </a:lnTo>
                  <a:lnTo>
                    <a:pt x="19" y="9"/>
                  </a:lnTo>
                  <a:lnTo>
                    <a:pt x="5" y="6"/>
                  </a:lnTo>
                  <a:lnTo>
                    <a:pt x="0" y="0"/>
                  </a:lnTo>
                  <a:lnTo>
                    <a:pt x="13" y="0"/>
                  </a:lnTo>
                  <a:lnTo>
                    <a:pt x="30" y="11"/>
                  </a:lnTo>
                  <a:close/>
                </a:path>
              </a:pathLst>
            </a:custGeom>
            <a:grpFill/>
            <a:ln w="6350">
              <a:solidFill>
                <a:schemeClr val="tx2"/>
              </a:solidFill>
              <a:round/>
              <a:headEnd/>
              <a:tailEnd/>
            </a:ln>
          </p:spPr>
          <p:txBody>
            <a:bodyPr/>
            <a:lstStyle/>
            <a:p>
              <a:endParaRPr lang="en-US"/>
            </a:p>
          </p:txBody>
        </p:sp>
        <p:sp>
          <p:nvSpPr>
            <p:cNvPr id="167" name="Freeform 1053"/>
            <p:cNvSpPr>
              <a:spLocks/>
            </p:cNvSpPr>
            <p:nvPr/>
          </p:nvSpPr>
          <p:spPr bwMode="auto">
            <a:xfrm>
              <a:off x="2552015" y="4239015"/>
              <a:ext cx="45514" cy="18206"/>
            </a:xfrm>
            <a:custGeom>
              <a:avLst/>
              <a:gdLst>
                <a:gd name="T0" fmla="*/ 2147483647 w 88"/>
                <a:gd name="T1" fmla="*/ 2147483647 h 36"/>
                <a:gd name="T2" fmla="*/ 2147483647 w 88"/>
                <a:gd name="T3" fmla="*/ 2147483647 h 36"/>
                <a:gd name="T4" fmla="*/ 2147483647 w 88"/>
                <a:gd name="T5" fmla="*/ 2147483647 h 36"/>
                <a:gd name="T6" fmla="*/ 2147483647 w 88"/>
                <a:gd name="T7" fmla="*/ 2147483647 h 36"/>
                <a:gd name="T8" fmla="*/ 2147483647 w 88"/>
                <a:gd name="T9" fmla="*/ 2147483647 h 36"/>
                <a:gd name="T10" fmla="*/ 2147483647 w 88"/>
                <a:gd name="T11" fmla="*/ 2147483647 h 36"/>
                <a:gd name="T12" fmla="*/ 2147483647 w 88"/>
                <a:gd name="T13" fmla="*/ 2147483647 h 36"/>
                <a:gd name="T14" fmla="*/ 2147483647 w 88"/>
                <a:gd name="T15" fmla="*/ 2147483647 h 36"/>
                <a:gd name="T16" fmla="*/ 0 w 88"/>
                <a:gd name="T17" fmla="*/ 2147483647 h 36"/>
                <a:gd name="T18" fmla="*/ 2147483647 w 88"/>
                <a:gd name="T19" fmla="*/ 0 h 36"/>
                <a:gd name="T20" fmla="*/ 2147483647 w 88"/>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36"/>
                <a:gd name="T35" fmla="*/ 88 w 88"/>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36">
                  <a:moveTo>
                    <a:pt x="50" y="4"/>
                  </a:moveTo>
                  <a:lnTo>
                    <a:pt x="66" y="13"/>
                  </a:lnTo>
                  <a:lnTo>
                    <a:pt x="82" y="14"/>
                  </a:lnTo>
                  <a:lnTo>
                    <a:pt x="88" y="29"/>
                  </a:lnTo>
                  <a:lnTo>
                    <a:pt x="69" y="27"/>
                  </a:lnTo>
                  <a:lnTo>
                    <a:pt x="53" y="30"/>
                  </a:lnTo>
                  <a:lnTo>
                    <a:pt x="50" y="36"/>
                  </a:lnTo>
                  <a:lnTo>
                    <a:pt x="26" y="30"/>
                  </a:lnTo>
                  <a:lnTo>
                    <a:pt x="0" y="9"/>
                  </a:lnTo>
                  <a:lnTo>
                    <a:pt x="19" y="0"/>
                  </a:lnTo>
                  <a:lnTo>
                    <a:pt x="50" y="4"/>
                  </a:lnTo>
                  <a:close/>
                </a:path>
              </a:pathLst>
            </a:custGeom>
            <a:grpFill/>
            <a:ln w="6350">
              <a:solidFill>
                <a:schemeClr val="tx2"/>
              </a:solidFill>
              <a:round/>
              <a:headEnd/>
              <a:tailEnd/>
            </a:ln>
          </p:spPr>
          <p:txBody>
            <a:bodyPr/>
            <a:lstStyle/>
            <a:p>
              <a:endParaRPr lang="en-US"/>
            </a:p>
          </p:txBody>
        </p:sp>
        <p:sp>
          <p:nvSpPr>
            <p:cNvPr id="168" name="Freeform 1054"/>
            <p:cNvSpPr>
              <a:spLocks/>
            </p:cNvSpPr>
            <p:nvPr/>
          </p:nvSpPr>
          <p:spPr bwMode="auto">
            <a:xfrm>
              <a:off x="2659730" y="4229912"/>
              <a:ext cx="9103" cy="4550"/>
            </a:xfrm>
            <a:custGeom>
              <a:avLst/>
              <a:gdLst>
                <a:gd name="T0" fmla="*/ 2147483647 w 20"/>
                <a:gd name="T1" fmla="*/ 0 h 10"/>
                <a:gd name="T2" fmla="*/ 2147483647 w 20"/>
                <a:gd name="T3" fmla="*/ 2147483647 h 10"/>
                <a:gd name="T4" fmla="*/ 2147483647 w 20"/>
                <a:gd name="T5" fmla="*/ 2147483647 h 10"/>
                <a:gd name="T6" fmla="*/ 2147483647 w 20"/>
                <a:gd name="T7" fmla="*/ 2147483647 h 10"/>
                <a:gd name="T8" fmla="*/ 0 w 20"/>
                <a:gd name="T9" fmla="*/ 2147483647 h 10"/>
                <a:gd name="T10" fmla="*/ 2147483647 w 20"/>
                <a:gd name="T11" fmla="*/ 0 h 10"/>
                <a:gd name="T12" fmla="*/ 0 60000 65536"/>
                <a:gd name="T13" fmla="*/ 0 60000 65536"/>
                <a:gd name="T14" fmla="*/ 0 60000 65536"/>
                <a:gd name="T15" fmla="*/ 0 60000 65536"/>
                <a:gd name="T16" fmla="*/ 0 60000 65536"/>
                <a:gd name="T17" fmla="*/ 0 60000 65536"/>
                <a:gd name="T18" fmla="*/ 0 w 20"/>
                <a:gd name="T19" fmla="*/ 0 h 10"/>
                <a:gd name="T20" fmla="*/ 20 w 2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0" h="10">
                  <a:moveTo>
                    <a:pt x="12" y="0"/>
                  </a:moveTo>
                  <a:lnTo>
                    <a:pt x="19" y="3"/>
                  </a:lnTo>
                  <a:lnTo>
                    <a:pt x="20" y="10"/>
                  </a:lnTo>
                  <a:lnTo>
                    <a:pt x="4" y="6"/>
                  </a:lnTo>
                  <a:lnTo>
                    <a:pt x="0" y="1"/>
                  </a:lnTo>
                  <a:lnTo>
                    <a:pt x="12" y="0"/>
                  </a:lnTo>
                  <a:close/>
                </a:path>
              </a:pathLst>
            </a:custGeom>
            <a:grpFill/>
            <a:ln w="6350">
              <a:solidFill>
                <a:schemeClr val="tx2"/>
              </a:solidFill>
              <a:round/>
              <a:headEnd/>
              <a:tailEnd/>
            </a:ln>
          </p:spPr>
          <p:txBody>
            <a:bodyPr/>
            <a:lstStyle/>
            <a:p>
              <a:endParaRPr lang="en-US"/>
            </a:p>
          </p:txBody>
        </p:sp>
        <p:sp>
          <p:nvSpPr>
            <p:cNvPr id="169" name="Freeform 1055"/>
            <p:cNvSpPr>
              <a:spLocks/>
            </p:cNvSpPr>
            <p:nvPr/>
          </p:nvSpPr>
          <p:spPr bwMode="auto">
            <a:xfrm>
              <a:off x="2667315" y="4202604"/>
              <a:ext cx="4551" cy="3034"/>
            </a:xfrm>
            <a:custGeom>
              <a:avLst/>
              <a:gdLst>
                <a:gd name="T0" fmla="*/ 2147483647 w 8"/>
                <a:gd name="T1" fmla="*/ 0 h 6"/>
                <a:gd name="T2" fmla="*/ 2147483647 w 8"/>
                <a:gd name="T3" fmla="*/ 2147483647 h 6"/>
                <a:gd name="T4" fmla="*/ 0 w 8"/>
                <a:gd name="T5" fmla="*/ 2147483647 h 6"/>
                <a:gd name="T6" fmla="*/ 2147483647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3" y="0"/>
                  </a:moveTo>
                  <a:lnTo>
                    <a:pt x="8" y="6"/>
                  </a:lnTo>
                  <a:lnTo>
                    <a:pt x="0" y="5"/>
                  </a:lnTo>
                  <a:lnTo>
                    <a:pt x="3" y="0"/>
                  </a:lnTo>
                  <a:close/>
                </a:path>
              </a:pathLst>
            </a:custGeom>
            <a:grpFill/>
            <a:ln w="6350">
              <a:solidFill>
                <a:schemeClr val="tx2"/>
              </a:solidFill>
              <a:round/>
              <a:headEnd/>
              <a:tailEnd/>
            </a:ln>
          </p:spPr>
          <p:txBody>
            <a:bodyPr/>
            <a:lstStyle/>
            <a:p>
              <a:endParaRPr lang="en-US"/>
            </a:p>
          </p:txBody>
        </p:sp>
        <p:sp>
          <p:nvSpPr>
            <p:cNvPr id="170" name="Freeform 1056"/>
            <p:cNvSpPr>
              <a:spLocks/>
            </p:cNvSpPr>
            <p:nvPr/>
          </p:nvSpPr>
          <p:spPr bwMode="auto">
            <a:xfrm>
              <a:off x="2779581" y="4246599"/>
              <a:ext cx="33376" cy="12137"/>
            </a:xfrm>
            <a:custGeom>
              <a:avLst/>
              <a:gdLst>
                <a:gd name="T0" fmla="*/ 2147483647 w 65"/>
                <a:gd name="T1" fmla="*/ 2147483647 h 25"/>
                <a:gd name="T2" fmla="*/ 2147483647 w 65"/>
                <a:gd name="T3" fmla="*/ 2147483647 h 25"/>
                <a:gd name="T4" fmla="*/ 2147483647 w 65"/>
                <a:gd name="T5" fmla="*/ 2147483647 h 25"/>
                <a:gd name="T6" fmla="*/ 2147483647 w 65"/>
                <a:gd name="T7" fmla="*/ 2147483647 h 25"/>
                <a:gd name="T8" fmla="*/ 2147483647 w 65"/>
                <a:gd name="T9" fmla="*/ 2147483647 h 25"/>
                <a:gd name="T10" fmla="*/ 0 w 65"/>
                <a:gd name="T11" fmla="*/ 2147483647 h 25"/>
                <a:gd name="T12" fmla="*/ 2147483647 w 65"/>
                <a:gd name="T13" fmla="*/ 0 h 25"/>
                <a:gd name="T14" fmla="*/ 2147483647 w 65"/>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25"/>
                <a:gd name="T26" fmla="*/ 65 w 65"/>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25">
                  <a:moveTo>
                    <a:pt x="61" y="3"/>
                  </a:moveTo>
                  <a:lnTo>
                    <a:pt x="65" y="14"/>
                  </a:lnTo>
                  <a:lnTo>
                    <a:pt x="55" y="23"/>
                  </a:lnTo>
                  <a:lnTo>
                    <a:pt x="41" y="25"/>
                  </a:lnTo>
                  <a:lnTo>
                    <a:pt x="7" y="25"/>
                  </a:lnTo>
                  <a:lnTo>
                    <a:pt x="0" y="9"/>
                  </a:lnTo>
                  <a:lnTo>
                    <a:pt x="4" y="0"/>
                  </a:lnTo>
                  <a:lnTo>
                    <a:pt x="61" y="3"/>
                  </a:lnTo>
                  <a:close/>
                </a:path>
              </a:pathLst>
            </a:custGeom>
            <a:grpFill/>
            <a:ln w="6350">
              <a:solidFill>
                <a:schemeClr val="tx2"/>
              </a:solidFill>
              <a:round/>
              <a:headEnd/>
              <a:tailEnd/>
            </a:ln>
          </p:spPr>
          <p:txBody>
            <a:bodyPr/>
            <a:lstStyle/>
            <a:p>
              <a:endParaRPr lang="en-US"/>
            </a:p>
          </p:txBody>
        </p:sp>
        <p:sp>
          <p:nvSpPr>
            <p:cNvPr id="171" name="Freeform 1057"/>
            <p:cNvSpPr>
              <a:spLocks/>
            </p:cNvSpPr>
            <p:nvPr/>
          </p:nvSpPr>
          <p:spPr bwMode="auto">
            <a:xfrm>
              <a:off x="2826613" y="4248117"/>
              <a:ext cx="3034" cy="3034"/>
            </a:xfrm>
            <a:custGeom>
              <a:avLst/>
              <a:gdLst>
                <a:gd name="T0" fmla="*/ 2147483647 w 3"/>
                <a:gd name="T1" fmla="*/ 0 h 5"/>
                <a:gd name="T2" fmla="*/ 0 w 3"/>
                <a:gd name="T3" fmla="*/ 2147483647 h 5"/>
                <a:gd name="T4" fmla="*/ 2147483647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0"/>
                  </a:moveTo>
                  <a:lnTo>
                    <a:pt x="0" y="5"/>
                  </a:lnTo>
                  <a:lnTo>
                    <a:pt x="3" y="0"/>
                  </a:lnTo>
                  <a:close/>
                </a:path>
              </a:pathLst>
            </a:custGeom>
            <a:grpFill/>
            <a:ln w="6350">
              <a:solidFill>
                <a:schemeClr val="tx2"/>
              </a:solidFill>
              <a:round/>
              <a:headEnd/>
              <a:tailEnd/>
            </a:ln>
          </p:spPr>
          <p:txBody>
            <a:bodyPr/>
            <a:lstStyle/>
            <a:p>
              <a:endParaRPr lang="en-US"/>
            </a:p>
          </p:txBody>
        </p:sp>
        <p:sp>
          <p:nvSpPr>
            <p:cNvPr id="172" name="Freeform 1058"/>
            <p:cNvSpPr>
              <a:spLocks/>
            </p:cNvSpPr>
            <p:nvPr/>
          </p:nvSpPr>
          <p:spPr bwMode="auto">
            <a:xfrm>
              <a:off x="2832681" y="4263288"/>
              <a:ext cx="3034" cy="1516"/>
            </a:xfrm>
            <a:custGeom>
              <a:avLst/>
              <a:gdLst>
                <a:gd name="T0" fmla="*/ 0 w 5"/>
                <a:gd name="T1" fmla="*/ 2147483647 h 5"/>
                <a:gd name="T2" fmla="*/ 0 w 5"/>
                <a:gd name="T3" fmla="*/ 2147483647 h 5"/>
                <a:gd name="T4" fmla="*/ 2147483647 w 5"/>
                <a:gd name="T5" fmla="*/ 0 h 5"/>
                <a:gd name="T6" fmla="*/ 0 w 5"/>
                <a:gd name="T7" fmla="*/ 2147483647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1"/>
                  </a:moveTo>
                  <a:lnTo>
                    <a:pt x="0" y="5"/>
                  </a:lnTo>
                  <a:lnTo>
                    <a:pt x="5" y="0"/>
                  </a:lnTo>
                  <a:lnTo>
                    <a:pt x="0" y="1"/>
                  </a:lnTo>
                  <a:close/>
                </a:path>
              </a:pathLst>
            </a:custGeom>
            <a:grpFill/>
            <a:ln w="6350">
              <a:solidFill>
                <a:schemeClr val="tx2"/>
              </a:solidFill>
              <a:round/>
              <a:headEnd/>
              <a:tailEnd/>
            </a:ln>
          </p:spPr>
          <p:txBody>
            <a:bodyPr/>
            <a:lstStyle/>
            <a:p>
              <a:endParaRPr lang="en-US"/>
            </a:p>
          </p:txBody>
        </p:sp>
        <p:sp>
          <p:nvSpPr>
            <p:cNvPr id="173" name="Freeform 1059"/>
            <p:cNvSpPr>
              <a:spLocks/>
            </p:cNvSpPr>
            <p:nvPr/>
          </p:nvSpPr>
          <p:spPr bwMode="auto">
            <a:xfrm>
              <a:off x="2741654" y="4380106"/>
              <a:ext cx="6069" cy="6069"/>
            </a:xfrm>
            <a:custGeom>
              <a:avLst/>
              <a:gdLst>
                <a:gd name="T0" fmla="*/ 2147483647 w 14"/>
                <a:gd name="T1" fmla="*/ 2147483647 h 13"/>
                <a:gd name="T2" fmla="*/ 0 w 14"/>
                <a:gd name="T3" fmla="*/ 0 h 13"/>
                <a:gd name="T4" fmla="*/ 2147483647 w 14"/>
                <a:gd name="T5" fmla="*/ 2147483647 h 13"/>
                <a:gd name="T6" fmla="*/ 2147483647 w 14"/>
                <a:gd name="T7" fmla="*/ 2147483647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3" y="4"/>
                  </a:moveTo>
                  <a:lnTo>
                    <a:pt x="0" y="0"/>
                  </a:lnTo>
                  <a:lnTo>
                    <a:pt x="3" y="9"/>
                  </a:lnTo>
                  <a:lnTo>
                    <a:pt x="14" y="13"/>
                  </a:lnTo>
                  <a:lnTo>
                    <a:pt x="3" y="4"/>
                  </a:lnTo>
                  <a:close/>
                </a:path>
              </a:pathLst>
            </a:custGeom>
            <a:grpFill/>
            <a:ln w="6350">
              <a:solidFill>
                <a:schemeClr val="tx2"/>
              </a:solidFill>
              <a:round/>
              <a:headEnd/>
              <a:tailEnd/>
            </a:ln>
          </p:spPr>
          <p:txBody>
            <a:bodyPr/>
            <a:lstStyle/>
            <a:p>
              <a:endParaRPr lang="en-US"/>
            </a:p>
          </p:txBody>
        </p:sp>
        <p:sp>
          <p:nvSpPr>
            <p:cNvPr id="174" name="Freeform 1060"/>
            <p:cNvSpPr>
              <a:spLocks/>
            </p:cNvSpPr>
            <p:nvPr/>
          </p:nvSpPr>
          <p:spPr bwMode="auto">
            <a:xfrm>
              <a:off x="2756826" y="4383140"/>
              <a:ext cx="1516" cy="4551"/>
            </a:xfrm>
            <a:custGeom>
              <a:avLst/>
              <a:gdLst>
                <a:gd name="T0" fmla="*/ 0 w 6"/>
                <a:gd name="T1" fmla="*/ 0 h 9"/>
                <a:gd name="T2" fmla="*/ 2147483647 w 6"/>
                <a:gd name="T3" fmla="*/ 2147483647 h 9"/>
                <a:gd name="T4" fmla="*/ 2147483647 w 6"/>
                <a:gd name="T5" fmla="*/ 2147483647 h 9"/>
                <a:gd name="T6" fmla="*/ 0 w 6"/>
                <a:gd name="T7" fmla="*/ 0 h 9"/>
                <a:gd name="T8" fmla="*/ 0 60000 65536"/>
                <a:gd name="T9" fmla="*/ 0 60000 65536"/>
                <a:gd name="T10" fmla="*/ 0 60000 65536"/>
                <a:gd name="T11" fmla="*/ 0 60000 65536"/>
                <a:gd name="T12" fmla="*/ 0 w 6"/>
                <a:gd name="T13" fmla="*/ 0 h 9"/>
                <a:gd name="T14" fmla="*/ 6 w 6"/>
                <a:gd name="T15" fmla="*/ 9 h 9"/>
              </a:gdLst>
              <a:ahLst/>
              <a:cxnLst>
                <a:cxn ang="T8">
                  <a:pos x="T0" y="T1"/>
                </a:cxn>
                <a:cxn ang="T9">
                  <a:pos x="T2" y="T3"/>
                </a:cxn>
                <a:cxn ang="T10">
                  <a:pos x="T4" y="T5"/>
                </a:cxn>
                <a:cxn ang="T11">
                  <a:pos x="T6" y="T7"/>
                </a:cxn>
              </a:cxnLst>
              <a:rect l="T12" t="T13" r="T14" b="T15"/>
              <a:pathLst>
                <a:path w="6" h="9">
                  <a:moveTo>
                    <a:pt x="0" y="0"/>
                  </a:moveTo>
                  <a:lnTo>
                    <a:pt x="6" y="9"/>
                  </a:lnTo>
                  <a:lnTo>
                    <a:pt x="6" y="2"/>
                  </a:lnTo>
                  <a:lnTo>
                    <a:pt x="0" y="0"/>
                  </a:lnTo>
                  <a:close/>
                </a:path>
              </a:pathLst>
            </a:custGeom>
            <a:grpFill/>
            <a:ln w="6350">
              <a:solidFill>
                <a:schemeClr val="tx2"/>
              </a:solidFill>
              <a:round/>
              <a:headEnd/>
              <a:tailEnd/>
            </a:ln>
          </p:spPr>
          <p:txBody>
            <a:bodyPr/>
            <a:lstStyle/>
            <a:p>
              <a:endParaRPr lang="en-US"/>
            </a:p>
          </p:txBody>
        </p:sp>
        <p:sp>
          <p:nvSpPr>
            <p:cNvPr id="175" name="Freeform 1061"/>
            <p:cNvSpPr>
              <a:spLocks/>
            </p:cNvSpPr>
            <p:nvPr/>
          </p:nvSpPr>
          <p:spPr bwMode="auto">
            <a:xfrm>
              <a:off x="2843300" y="4407413"/>
              <a:ext cx="10620" cy="6069"/>
            </a:xfrm>
            <a:custGeom>
              <a:avLst/>
              <a:gdLst>
                <a:gd name="T0" fmla="*/ 2147483647 w 25"/>
                <a:gd name="T1" fmla="*/ 0 h 12"/>
                <a:gd name="T2" fmla="*/ 2147483647 w 25"/>
                <a:gd name="T3" fmla="*/ 2147483647 h 12"/>
                <a:gd name="T4" fmla="*/ 2147483647 w 25"/>
                <a:gd name="T5" fmla="*/ 2147483647 h 12"/>
                <a:gd name="T6" fmla="*/ 2147483647 w 25"/>
                <a:gd name="T7" fmla="*/ 2147483647 h 12"/>
                <a:gd name="T8" fmla="*/ 0 w 25"/>
                <a:gd name="T9" fmla="*/ 2147483647 h 12"/>
                <a:gd name="T10" fmla="*/ 2147483647 w 25"/>
                <a:gd name="T11" fmla="*/ 2147483647 h 12"/>
                <a:gd name="T12" fmla="*/ 2147483647 w 25"/>
                <a:gd name="T13" fmla="*/ 0 h 12"/>
                <a:gd name="T14" fmla="*/ 0 60000 65536"/>
                <a:gd name="T15" fmla="*/ 0 60000 65536"/>
                <a:gd name="T16" fmla="*/ 0 60000 65536"/>
                <a:gd name="T17" fmla="*/ 0 60000 65536"/>
                <a:gd name="T18" fmla="*/ 0 60000 65536"/>
                <a:gd name="T19" fmla="*/ 0 60000 65536"/>
                <a:gd name="T20" fmla="*/ 0 60000 65536"/>
                <a:gd name="T21" fmla="*/ 0 w 25"/>
                <a:gd name="T22" fmla="*/ 0 h 12"/>
                <a:gd name="T23" fmla="*/ 25 w 2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2">
                  <a:moveTo>
                    <a:pt x="20" y="0"/>
                  </a:moveTo>
                  <a:lnTo>
                    <a:pt x="25" y="7"/>
                  </a:lnTo>
                  <a:lnTo>
                    <a:pt x="16" y="12"/>
                  </a:lnTo>
                  <a:lnTo>
                    <a:pt x="2" y="9"/>
                  </a:lnTo>
                  <a:lnTo>
                    <a:pt x="0" y="5"/>
                  </a:lnTo>
                  <a:lnTo>
                    <a:pt x="12" y="6"/>
                  </a:lnTo>
                  <a:lnTo>
                    <a:pt x="20" y="0"/>
                  </a:lnTo>
                  <a:close/>
                </a:path>
              </a:pathLst>
            </a:custGeom>
            <a:grpFill/>
            <a:ln w="6350">
              <a:solidFill>
                <a:schemeClr val="tx2"/>
              </a:solidFill>
              <a:round/>
              <a:headEnd/>
              <a:tailEnd/>
            </a:ln>
          </p:spPr>
          <p:txBody>
            <a:bodyPr/>
            <a:lstStyle/>
            <a:p>
              <a:endParaRPr lang="en-US"/>
            </a:p>
          </p:txBody>
        </p:sp>
        <p:sp>
          <p:nvSpPr>
            <p:cNvPr id="176" name="Freeform 1062"/>
            <p:cNvSpPr>
              <a:spLocks/>
            </p:cNvSpPr>
            <p:nvPr/>
          </p:nvSpPr>
          <p:spPr bwMode="auto">
            <a:xfrm>
              <a:off x="2899434" y="4384657"/>
              <a:ext cx="3034" cy="4550"/>
            </a:xfrm>
            <a:custGeom>
              <a:avLst/>
              <a:gdLst>
                <a:gd name="T0" fmla="*/ 2147483647 w 7"/>
                <a:gd name="T1" fmla="*/ 0 h 9"/>
                <a:gd name="T2" fmla="*/ 0 w 7"/>
                <a:gd name="T3" fmla="*/ 2147483647 h 9"/>
                <a:gd name="T4" fmla="*/ 2147483647 w 7"/>
                <a:gd name="T5" fmla="*/ 0 h 9"/>
                <a:gd name="T6" fmla="*/ 0 60000 65536"/>
                <a:gd name="T7" fmla="*/ 0 60000 65536"/>
                <a:gd name="T8" fmla="*/ 0 60000 65536"/>
                <a:gd name="T9" fmla="*/ 0 w 7"/>
                <a:gd name="T10" fmla="*/ 0 h 9"/>
                <a:gd name="T11" fmla="*/ 7 w 7"/>
                <a:gd name="T12" fmla="*/ 9 h 9"/>
              </a:gdLst>
              <a:ahLst/>
              <a:cxnLst>
                <a:cxn ang="T6">
                  <a:pos x="T0" y="T1"/>
                </a:cxn>
                <a:cxn ang="T7">
                  <a:pos x="T2" y="T3"/>
                </a:cxn>
                <a:cxn ang="T8">
                  <a:pos x="T4" y="T5"/>
                </a:cxn>
              </a:cxnLst>
              <a:rect l="T9" t="T10" r="T11" b="T12"/>
              <a:pathLst>
                <a:path w="7" h="9">
                  <a:moveTo>
                    <a:pt x="7" y="0"/>
                  </a:moveTo>
                  <a:lnTo>
                    <a:pt x="0" y="9"/>
                  </a:lnTo>
                  <a:lnTo>
                    <a:pt x="7" y="0"/>
                  </a:lnTo>
                  <a:close/>
                </a:path>
              </a:pathLst>
            </a:custGeom>
            <a:grpFill/>
            <a:ln w="6350">
              <a:solidFill>
                <a:schemeClr val="tx2"/>
              </a:solidFill>
              <a:round/>
              <a:headEnd/>
              <a:tailEnd/>
            </a:ln>
          </p:spPr>
          <p:txBody>
            <a:bodyPr/>
            <a:lstStyle/>
            <a:p>
              <a:endParaRPr lang="en-US"/>
            </a:p>
          </p:txBody>
        </p:sp>
        <p:sp>
          <p:nvSpPr>
            <p:cNvPr id="177" name="Freeform 1063"/>
            <p:cNvSpPr>
              <a:spLocks/>
            </p:cNvSpPr>
            <p:nvPr/>
          </p:nvSpPr>
          <p:spPr bwMode="auto">
            <a:xfrm>
              <a:off x="2911571" y="4360384"/>
              <a:ext cx="3034" cy="4550"/>
            </a:xfrm>
            <a:custGeom>
              <a:avLst/>
              <a:gdLst>
                <a:gd name="T0" fmla="*/ 2147483647 w 2"/>
                <a:gd name="T1" fmla="*/ 0 h 10"/>
                <a:gd name="T2" fmla="*/ 0 w 2"/>
                <a:gd name="T3" fmla="*/ 2147483647 h 10"/>
                <a:gd name="T4" fmla="*/ 2147483647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2" y="0"/>
                  </a:moveTo>
                  <a:lnTo>
                    <a:pt x="0" y="10"/>
                  </a:lnTo>
                  <a:lnTo>
                    <a:pt x="2" y="0"/>
                  </a:lnTo>
                  <a:close/>
                </a:path>
              </a:pathLst>
            </a:custGeom>
            <a:grpFill/>
            <a:ln w="6350">
              <a:solidFill>
                <a:schemeClr val="tx2"/>
              </a:solidFill>
              <a:round/>
              <a:headEnd/>
              <a:tailEnd/>
            </a:ln>
          </p:spPr>
          <p:txBody>
            <a:bodyPr/>
            <a:lstStyle/>
            <a:p>
              <a:endParaRPr lang="en-US"/>
            </a:p>
          </p:txBody>
        </p:sp>
        <p:sp>
          <p:nvSpPr>
            <p:cNvPr id="178" name="Freeform 1064"/>
            <p:cNvSpPr>
              <a:spLocks/>
            </p:cNvSpPr>
            <p:nvPr/>
          </p:nvSpPr>
          <p:spPr bwMode="auto">
            <a:xfrm>
              <a:off x="2914605" y="4345212"/>
              <a:ext cx="0" cy="7585"/>
            </a:xfrm>
            <a:custGeom>
              <a:avLst/>
              <a:gdLst>
                <a:gd name="T0" fmla="*/ 0 w 3"/>
                <a:gd name="T1" fmla="*/ 0 h 14"/>
                <a:gd name="T2" fmla="*/ 0 w 3"/>
                <a:gd name="T3" fmla="*/ 2147483647 h 14"/>
                <a:gd name="T4" fmla="*/ 0 w 3"/>
                <a:gd name="T5" fmla="*/ 2147483647 h 14"/>
                <a:gd name="T6" fmla="*/ 0 w 3"/>
                <a:gd name="T7" fmla="*/ 0 h 14"/>
                <a:gd name="T8" fmla="*/ 0 60000 65536"/>
                <a:gd name="T9" fmla="*/ 0 60000 65536"/>
                <a:gd name="T10" fmla="*/ 0 60000 65536"/>
                <a:gd name="T11" fmla="*/ 0 60000 65536"/>
                <a:gd name="T12" fmla="*/ 0 w 3"/>
                <a:gd name="T13" fmla="*/ 0 h 14"/>
                <a:gd name="T14" fmla="*/ 0 w 3"/>
                <a:gd name="T15" fmla="*/ 14 h 14"/>
              </a:gdLst>
              <a:ahLst/>
              <a:cxnLst>
                <a:cxn ang="T8">
                  <a:pos x="T0" y="T1"/>
                </a:cxn>
                <a:cxn ang="T9">
                  <a:pos x="T2" y="T3"/>
                </a:cxn>
                <a:cxn ang="T10">
                  <a:pos x="T4" y="T5"/>
                </a:cxn>
                <a:cxn ang="T11">
                  <a:pos x="T6" y="T7"/>
                </a:cxn>
              </a:cxnLst>
              <a:rect l="T12" t="T13" r="T14" b="T15"/>
              <a:pathLst>
                <a:path w="3" h="14">
                  <a:moveTo>
                    <a:pt x="3" y="0"/>
                  </a:moveTo>
                  <a:lnTo>
                    <a:pt x="0" y="13"/>
                  </a:lnTo>
                  <a:lnTo>
                    <a:pt x="3" y="14"/>
                  </a:lnTo>
                  <a:lnTo>
                    <a:pt x="3" y="0"/>
                  </a:lnTo>
                  <a:close/>
                </a:path>
              </a:pathLst>
            </a:custGeom>
            <a:grpFill/>
            <a:ln w="6350">
              <a:solidFill>
                <a:schemeClr val="tx2"/>
              </a:solidFill>
              <a:round/>
              <a:headEnd/>
              <a:tailEnd/>
            </a:ln>
          </p:spPr>
          <p:txBody>
            <a:bodyPr/>
            <a:lstStyle/>
            <a:p>
              <a:endParaRPr lang="en-US"/>
            </a:p>
          </p:txBody>
        </p:sp>
        <p:sp>
          <p:nvSpPr>
            <p:cNvPr id="179" name="Freeform 1065"/>
            <p:cNvSpPr>
              <a:spLocks/>
            </p:cNvSpPr>
            <p:nvPr/>
          </p:nvSpPr>
          <p:spPr bwMode="auto">
            <a:xfrm>
              <a:off x="2908537" y="4325489"/>
              <a:ext cx="9103" cy="10620"/>
            </a:xfrm>
            <a:custGeom>
              <a:avLst/>
              <a:gdLst>
                <a:gd name="T0" fmla="*/ 0 w 13"/>
                <a:gd name="T1" fmla="*/ 0 h 20"/>
                <a:gd name="T2" fmla="*/ 2147483647 w 13"/>
                <a:gd name="T3" fmla="*/ 2147483647 h 20"/>
                <a:gd name="T4" fmla="*/ 2147483647 w 13"/>
                <a:gd name="T5" fmla="*/ 2147483647 h 20"/>
                <a:gd name="T6" fmla="*/ 2147483647 w 13"/>
                <a:gd name="T7" fmla="*/ 2147483647 h 20"/>
                <a:gd name="T8" fmla="*/ 0 w 13"/>
                <a:gd name="T9" fmla="*/ 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0"/>
                  </a:moveTo>
                  <a:lnTo>
                    <a:pt x="8" y="6"/>
                  </a:lnTo>
                  <a:lnTo>
                    <a:pt x="13" y="20"/>
                  </a:lnTo>
                  <a:lnTo>
                    <a:pt x="6" y="19"/>
                  </a:lnTo>
                  <a:lnTo>
                    <a:pt x="0" y="0"/>
                  </a:lnTo>
                  <a:close/>
                </a:path>
              </a:pathLst>
            </a:custGeom>
            <a:grpFill/>
            <a:ln w="6350">
              <a:solidFill>
                <a:schemeClr val="tx2"/>
              </a:solidFill>
              <a:round/>
              <a:headEnd/>
              <a:tailEnd/>
            </a:ln>
          </p:spPr>
          <p:txBody>
            <a:bodyPr/>
            <a:lstStyle/>
            <a:p>
              <a:endParaRPr lang="en-US"/>
            </a:p>
          </p:txBody>
        </p:sp>
        <p:sp>
          <p:nvSpPr>
            <p:cNvPr id="180" name="Freeform 1066"/>
            <p:cNvSpPr>
              <a:spLocks/>
            </p:cNvSpPr>
            <p:nvPr/>
          </p:nvSpPr>
          <p:spPr bwMode="auto">
            <a:xfrm>
              <a:off x="2907019" y="4310318"/>
              <a:ext cx="3034" cy="7586"/>
            </a:xfrm>
            <a:custGeom>
              <a:avLst/>
              <a:gdLst>
                <a:gd name="T0" fmla="*/ 2147483647 w 7"/>
                <a:gd name="T1" fmla="*/ 0 h 17"/>
                <a:gd name="T2" fmla="*/ 0 w 7"/>
                <a:gd name="T3" fmla="*/ 2147483647 h 17"/>
                <a:gd name="T4" fmla="*/ 2147483647 w 7"/>
                <a:gd name="T5" fmla="*/ 2147483647 h 17"/>
                <a:gd name="T6" fmla="*/ 2147483647 w 7"/>
                <a:gd name="T7" fmla="*/ 2147483647 h 17"/>
                <a:gd name="T8" fmla="*/ 2147483647 w 7"/>
                <a:gd name="T9" fmla="*/ 0 h 17"/>
                <a:gd name="T10" fmla="*/ 0 60000 65536"/>
                <a:gd name="T11" fmla="*/ 0 60000 65536"/>
                <a:gd name="T12" fmla="*/ 0 60000 65536"/>
                <a:gd name="T13" fmla="*/ 0 60000 65536"/>
                <a:gd name="T14" fmla="*/ 0 60000 65536"/>
                <a:gd name="T15" fmla="*/ 0 w 7"/>
                <a:gd name="T16" fmla="*/ 0 h 17"/>
                <a:gd name="T17" fmla="*/ 7 w 7"/>
                <a:gd name="T18" fmla="*/ 17 h 17"/>
              </a:gdLst>
              <a:ahLst/>
              <a:cxnLst>
                <a:cxn ang="T10">
                  <a:pos x="T0" y="T1"/>
                </a:cxn>
                <a:cxn ang="T11">
                  <a:pos x="T2" y="T3"/>
                </a:cxn>
                <a:cxn ang="T12">
                  <a:pos x="T4" y="T5"/>
                </a:cxn>
                <a:cxn ang="T13">
                  <a:pos x="T6" y="T7"/>
                </a:cxn>
                <a:cxn ang="T14">
                  <a:pos x="T8" y="T9"/>
                </a:cxn>
              </a:cxnLst>
              <a:rect l="T15" t="T16" r="T17" b="T18"/>
              <a:pathLst>
                <a:path w="7" h="17">
                  <a:moveTo>
                    <a:pt x="3" y="0"/>
                  </a:moveTo>
                  <a:lnTo>
                    <a:pt x="0" y="12"/>
                  </a:lnTo>
                  <a:lnTo>
                    <a:pt x="6" y="17"/>
                  </a:lnTo>
                  <a:lnTo>
                    <a:pt x="7" y="3"/>
                  </a:lnTo>
                  <a:lnTo>
                    <a:pt x="3" y="0"/>
                  </a:lnTo>
                  <a:close/>
                </a:path>
              </a:pathLst>
            </a:custGeom>
            <a:grpFill/>
            <a:ln w="6350">
              <a:solidFill>
                <a:schemeClr val="tx2"/>
              </a:solidFill>
              <a:round/>
              <a:headEnd/>
              <a:tailEnd/>
            </a:ln>
          </p:spPr>
          <p:txBody>
            <a:bodyPr/>
            <a:lstStyle/>
            <a:p>
              <a:endParaRPr lang="en-US"/>
            </a:p>
          </p:txBody>
        </p:sp>
        <p:sp>
          <p:nvSpPr>
            <p:cNvPr id="181" name="Freeform 1067"/>
            <p:cNvSpPr>
              <a:spLocks/>
            </p:cNvSpPr>
            <p:nvPr/>
          </p:nvSpPr>
          <p:spPr bwMode="auto">
            <a:xfrm>
              <a:off x="2897917" y="4290597"/>
              <a:ext cx="10620" cy="10619"/>
            </a:xfrm>
            <a:custGeom>
              <a:avLst/>
              <a:gdLst>
                <a:gd name="T0" fmla="*/ 2147483647 w 22"/>
                <a:gd name="T1" fmla="*/ 0 h 22"/>
                <a:gd name="T2" fmla="*/ 2147483647 w 22"/>
                <a:gd name="T3" fmla="*/ 2147483647 h 22"/>
                <a:gd name="T4" fmla="*/ 2147483647 w 22"/>
                <a:gd name="T5" fmla="*/ 2147483647 h 22"/>
                <a:gd name="T6" fmla="*/ 0 w 22"/>
                <a:gd name="T7" fmla="*/ 2147483647 h 22"/>
                <a:gd name="T8" fmla="*/ 2147483647 w 22"/>
                <a:gd name="T9" fmla="*/ 2147483647 h 22"/>
                <a:gd name="T10" fmla="*/ 2147483647 w 22"/>
                <a:gd name="T11" fmla="*/ 2147483647 h 22"/>
                <a:gd name="T12" fmla="*/ 2147483647 w 22"/>
                <a:gd name="T13" fmla="*/ 2147483647 h 22"/>
                <a:gd name="T14" fmla="*/ 2147483647 w 22"/>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2"/>
                <a:gd name="T26" fmla="*/ 22 w 22"/>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2">
                  <a:moveTo>
                    <a:pt x="15" y="0"/>
                  </a:moveTo>
                  <a:lnTo>
                    <a:pt x="10" y="7"/>
                  </a:lnTo>
                  <a:lnTo>
                    <a:pt x="1" y="7"/>
                  </a:lnTo>
                  <a:lnTo>
                    <a:pt x="0" y="22"/>
                  </a:lnTo>
                  <a:lnTo>
                    <a:pt x="6" y="22"/>
                  </a:lnTo>
                  <a:lnTo>
                    <a:pt x="10" y="13"/>
                  </a:lnTo>
                  <a:lnTo>
                    <a:pt x="22" y="10"/>
                  </a:lnTo>
                  <a:lnTo>
                    <a:pt x="15" y="0"/>
                  </a:lnTo>
                  <a:close/>
                </a:path>
              </a:pathLst>
            </a:custGeom>
            <a:grpFill/>
            <a:ln w="6350">
              <a:solidFill>
                <a:schemeClr val="tx2"/>
              </a:solidFill>
              <a:round/>
              <a:headEnd/>
              <a:tailEnd/>
            </a:ln>
          </p:spPr>
          <p:txBody>
            <a:bodyPr/>
            <a:lstStyle/>
            <a:p>
              <a:endParaRPr lang="en-US"/>
            </a:p>
          </p:txBody>
        </p:sp>
        <p:sp>
          <p:nvSpPr>
            <p:cNvPr id="182" name="Freeform 1068"/>
            <p:cNvSpPr>
              <a:spLocks/>
            </p:cNvSpPr>
            <p:nvPr/>
          </p:nvSpPr>
          <p:spPr bwMode="auto">
            <a:xfrm>
              <a:off x="2896400" y="4275425"/>
              <a:ext cx="3034" cy="3034"/>
            </a:xfrm>
            <a:custGeom>
              <a:avLst/>
              <a:gdLst>
                <a:gd name="T0" fmla="*/ 0 w 5"/>
                <a:gd name="T1" fmla="*/ 0 h 7"/>
                <a:gd name="T2" fmla="*/ 2147483647 w 5"/>
                <a:gd name="T3" fmla="*/ 2147483647 h 7"/>
                <a:gd name="T4" fmla="*/ 2147483647 w 5"/>
                <a:gd name="T5" fmla="*/ 2147483647 h 7"/>
                <a:gd name="T6" fmla="*/ 0 w 5"/>
                <a:gd name="T7" fmla="*/ 0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0"/>
                  </a:moveTo>
                  <a:lnTo>
                    <a:pt x="1" y="7"/>
                  </a:lnTo>
                  <a:lnTo>
                    <a:pt x="5" y="3"/>
                  </a:lnTo>
                  <a:lnTo>
                    <a:pt x="0" y="0"/>
                  </a:lnTo>
                  <a:close/>
                </a:path>
              </a:pathLst>
            </a:custGeom>
            <a:grpFill/>
            <a:ln w="6350">
              <a:solidFill>
                <a:schemeClr val="tx2"/>
              </a:solidFill>
              <a:round/>
              <a:headEnd/>
              <a:tailEnd/>
            </a:ln>
          </p:spPr>
          <p:txBody>
            <a:bodyPr/>
            <a:lstStyle/>
            <a:p>
              <a:endParaRPr lang="en-US"/>
            </a:p>
          </p:txBody>
        </p:sp>
        <p:sp>
          <p:nvSpPr>
            <p:cNvPr id="183" name="Freeform 1069"/>
            <p:cNvSpPr>
              <a:spLocks/>
            </p:cNvSpPr>
            <p:nvPr/>
          </p:nvSpPr>
          <p:spPr bwMode="auto">
            <a:xfrm>
              <a:off x="2872126" y="4270873"/>
              <a:ext cx="3034" cy="1517"/>
            </a:xfrm>
            <a:custGeom>
              <a:avLst/>
              <a:gdLst>
                <a:gd name="T0" fmla="*/ 2147483647 w 4"/>
                <a:gd name="T1" fmla="*/ 2147483647 h 7"/>
                <a:gd name="T2" fmla="*/ 0 w 4"/>
                <a:gd name="T3" fmla="*/ 0 h 7"/>
                <a:gd name="T4" fmla="*/ 2147483647 w 4"/>
                <a:gd name="T5" fmla="*/ 2147483647 h 7"/>
                <a:gd name="T6" fmla="*/ 2147483647 w 4"/>
                <a:gd name="T7" fmla="*/ 2147483647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4" y="1"/>
                  </a:moveTo>
                  <a:lnTo>
                    <a:pt x="0" y="0"/>
                  </a:lnTo>
                  <a:lnTo>
                    <a:pt x="4" y="7"/>
                  </a:lnTo>
                  <a:lnTo>
                    <a:pt x="4" y="1"/>
                  </a:lnTo>
                  <a:close/>
                </a:path>
              </a:pathLst>
            </a:custGeom>
            <a:grpFill/>
            <a:ln w="6350">
              <a:solidFill>
                <a:schemeClr val="tx2"/>
              </a:solidFill>
              <a:round/>
              <a:headEnd/>
              <a:tailEnd/>
            </a:ln>
          </p:spPr>
          <p:txBody>
            <a:bodyPr/>
            <a:lstStyle/>
            <a:p>
              <a:endParaRPr lang="en-US"/>
            </a:p>
          </p:txBody>
        </p:sp>
        <p:sp>
          <p:nvSpPr>
            <p:cNvPr id="184" name="Freeform 1070"/>
            <p:cNvSpPr>
              <a:spLocks/>
            </p:cNvSpPr>
            <p:nvPr/>
          </p:nvSpPr>
          <p:spPr bwMode="auto">
            <a:xfrm>
              <a:off x="2917640" y="4402863"/>
              <a:ext cx="6069" cy="4550"/>
            </a:xfrm>
            <a:custGeom>
              <a:avLst/>
              <a:gdLst>
                <a:gd name="T0" fmla="*/ 2147483647 w 12"/>
                <a:gd name="T1" fmla="*/ 0 h 7"/>
                <a:gd name="T2" fmla="*/ 0 w 12"/>
                <a:gd name="T3" fmla="*/ 2147483647 h 7"/>
                <a:gd name="T4" fmla="*/ 2147483647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grpFill/>
            <a:ln w="6350">
              <a:solidFill>
                <a:schemeClr val="tx2"/>
              </a:solidFill>
              <a:round/>
              <a:headEnd/>
              <a:tailEnd/>
            </a:ln>
          </p:spPr>
          <p:txBody>
            <a:bodyPr/>
            <a:lstStyle/>
            <a:p>
              <a:endParaRPr lang="en-US"/>
            </a:p>
          </p:txBody>
        </p:sp>
        <p:sp>
          <p:nvSpPr>
            <p:cNvPr id="185" name="Freeform 1071"/>
            <p:cNvSpPr>
              <a:spLocks/>
            </p:cNvSpPr>
            <p:nvPr/>
          </p:nvSpPr>
          <p:spPr bwMode="auto">
            <a:xfrm>
              <a:off x="2896400" y="4414999"/>
              <a:ext cx="18206" cy="16688"/>
            </a:xfrm>
            <a:custGeom>
              <a:avLst/>
              <a:gdLst>
                <a:gd name="T0" fmla="*/ 2147483647 w 38"/>
                <a:gd name="T1" fmla="*/ 2147483647 h 34"/>
                <a:gd name="T2" fmla="*/ 2147483647 w 38"/>
                <a:gd name="T3" fmla="*/ 2147483647 h 34"/>
                <a:gd name="T4" fmla="*/ 2147483647 w 38"/>
                <a:gd name="T5" fmla="*/ 2147483647 h 34"/>
                <a:gd name="T6" fmla="*/ 2147483647 w 38"/>
                <a:gd name="T7" fmla="*/ 2147483647 h 34"/>
                <a:gd name="T8" fmla="*/ 0 w 38"/>
                <a:gd name="T9" fmla="*/ 2147483647 h 34"/>
                <a:gd name="T10" fmla="*/ 2147483647 w 38"/>
                <a:gd name="T11" fmla="*/ 2147483647 h 34"/>
                <a:gd name="T12" fmla="*/ 2147483647 w 38"/>
                <a:gd name="T13" fmla="*/ 2147483647 h 34"/>
                <a:gd name="T14" fmla="*/ 2147483647 w 38"/>
                <a:gd name="T15" fmla="*/ 2147483647 h 34"/>
                <a:gd name="T16" fmla="*/ 2147483647 w 38"/>
                <a:gd name="T17" fmla="*/ 0 h 34"/>
                <a:gd name="T18" fmla="*/ 2147483647 w 38"/>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34"/>
                <a:gd name="T32" fmla="*/ 38 w 38"/>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34">
                  <a:moveTo>
                    <a:pt x="38" y="3"/>
                  </a:moveTo>
                  <a:lnTo>
                    <a:pt x="34" y="14"/>
                  </a:lnTo>
                  <a:lnTo>
                    <a:pt x="36" y="27"/>
                  </a:lnTo>
                  <a:lnTo>
                    <a:pt x="31" y="32"/>
                  </a:lnTo>
                  <a:lnTo>
                    <a:pt x="0" y="34"/>
                  </a:lnTo>
                  <a:lnTo>
                    <a:pt x="16" y="21"/>
                  </a:lnTo>
                  <a:lnTo>
                    <a:pt x="16" y="9"/>
                  </a:lnTo>
                  <a:lnTo>
                    <a:pt x="9" y="4"/>
                  </a:lnTo>
                  <a:lnTo>
                    <a:pt x="37" y="0"/>
                  </a:lnTo>
                  <a:lnTo>
                    <a:pt x="38" y="3"/>
                  </a:lnTo>
                  <a:close/>
                </a:path>
              </a:pathLst>
            </a:custGeom>
            <a:grpFill/>
            <a:ln w="6350">
              <a:solidFill>
                <a:schemeClr val="tx2"/>
              </a:solidFill>
              <a:round/>
              <a:headEnd/>
              <a:tailEnd/>
            </a:ln>
          </p:spPr>
          <p:txBody>
            <a:bodyPr/>
            <a:lstStyle/>
            <a:p>
              <a:endParaRPr lang="en-US"/>
            </a:p>
          </p:txBody>
        </p:sp>
        <p:sp>
          <p:nvSpPr>
            <p:cNvPr id="186" name="Freeform 1072"/>
            <p:cNvSpPr>
              <a:spLocks/>
            </p:cNvSpPr>
            <p:nvPr/>
          </p:nvSpPr>
          <p:spPr bwMode="auto">
            <a:xfrm>
              <a:off x="2465540" y="4481753"/>
              <a:ext cx="6069" cy="9103"/>
            </a:xfrm>
            <a:custGeom>
              <a:avLst/>
              <a:gdLst>
                <a:gd name="T0" fmla="*/ 2147483647 w 7"/>
                <a:gd name="T1" fmla="*/ 0 h 18"/>
                <a:gd name="T2" fmla="*/ 0 w 7"/>
                <a:gd name="T3" fmla="*/ 2147483647 h 18"/>
                <a:gd name="T4" fmla="*/ 2147483647 w 7"/>
                <a:gd name="T5" fmla="*/ 2147483647 h 18"/>
                <a:gd name="T6" fmla="*/ 2147483647 w 7"/>
                <a:gd name="T7" fmla="*/ 2147483647 h 18"/>
                <a:gd name="T8" fmla="*/ 2147483647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4" y="0"/>
                  </a:moveTo>
                  <a:lnTo>
                    <a:pt x="0" y="13"/>
                  </a:lnTo>
                  <a:lnTo>
                    <a:pt x="6" y="18"/>
                  </a:lnTo>
                  <a:lnTo>
                    <a:pt x="7" y="1"/>
                  </a:lnTo>
                  <a:lnTo>
                    <a:pt x="4" y="0"/>
                  </a:lnTo>
                  <a:close/>
                </a:path>
              </a:pathLst>
            </a:custGeom>
            <a:grpFill/>
            <a:ln w="6350">
              <a:solidFill>
                <a:schemeClr val="tx2"/>
              </a:solidFill>
              <a:round/>
              <a:headEnd/>
              <a:tailEnd/>
            </a:ln>
          </p:spPr>
          <p:txBody>
            <a:bodyPr/>
            <a:lstStyle/>
            <a:p>
              <a:endParaRPr lang="en-US"/>
            </a:p>
          </p:txBody>
        </p:sp>
        <p:sp>
          <p:nvSpPr>
            <p:cNvPr id="187" name="Freeform 1087"/>
            <p:cNvSpPr>
              <a:spLocks/>
            </p:cNvSpPr>
            <p:nvPr/>
          </p:nvSpPr>
          <p:spPr bwMode="auto">
            <a:xfrm>
              <a:off x="2332034" y="3667062"/>
              <a:ext cx="69787" cy="110750"/>
            </a:xfrm>
            <a:custGeom>
              <a:avLst/>
              <a:gdLst>
                <a:gd name="T0" fmla="*/ 2147483647 w 142"/>
                <a:gd name="T1" fmla="*/ 2147483647 h 223"/>
                <a:gd name="T2" fmla="*/ 2147483647 w 142"/>
                <a:gd name="T3" fmla="*/ 2147483647 h 223"/>
                <a:gd name="T4" fmla="*/ 2147483647 w 142"/>
                <a:gd name="T5" fmla="*/ 2147483647 h 223"/>
                <a:gd name="T6" fmla="*/ 2147483647 w 142"/>
                <a:gd name="T7" fmla="*/ 2147483647 h 223"/>
                <a:gd name="T8" fmla="*/ 2147483647 w 142"/>
                <a:gd name="T9" fmla="*/ 0 h 223"/>
                <a:gd name="T10" fmla="*/ 2147483647 w 142"/>
                <a:gd name="T11" fmla="*/ 0 h 223"/>
                <a:gd name="T12" fmla="*/ 2147483647 w 142"/>
                <a:gd name="T13" fmla="*/ 2147483647 h 223"/>
                <a:gd name="T14" fmla="*/ 2147483647 w 142"/>
                <a:gd name="T15" fmla="*/ 2147483647 h 223"/>
                <a:gd name="T16" fmla="*/ 2147483647 w 142"/>
                <a:gd name="T17" fmla="*/ 2147483647 h 223"/>
                <a:gd name="T18" fmla="*/ 2147483647 w 142"/>
                <a:gd name="T19" fmla="*/ 2147483647 h 223"/>
                <a:gd name="T20" fmla="*/ 2147483647 w 142"/>
                <a:gd name="T21" fmla="*/ 2147483647 h 223"/>
                <a:gd name="T22" fmla="*/ 2147483647 w 142"/>
                <a:gd name="T23" fmla="*/ 2147483647 h 223"/>
                <a:gd name="T24" fmla="*/ 2147483647 w 142"/>
                <a:gd name="T25" fmla="*/ 2147483647 h 223"/>
                <a:gd name="T26" fmla="*/ 2147483647 w 142"/>
                <a:gd name="T27" fmla="*/ 2147483647 h 223"/>
                <a:gd name="T28" fmla="*/ 2147483647 w 142"/>
                <a:gd name="T29" fmla="*/ 2147483647 h 223"/>
                <a:gd name="T30" fmla="*/ 2147483647 w 142"/>
                <a:gd name="T31" fmla="*/ 2147483647 h 223"/>
                <a:gd name="T32" fmla="*/ 2147483647 w 142"/>
                <a:gd name="T33" fmla="*/ 2147483647 h 223"/>
                <a:gd name="T34" fmla="*/ 2147483647 w 142"/>
                <a:gd name="T35" fmla="*/ 2147483647 h 223"/>
                <a:gd name="T36" fmla="*/ 2147483647 w 142"/>
                <a:gd name="T37" fmla="*/ 2147483647 h 223"/>
                <a:gd name="T38" fmla="*/ 2147483647 w 142"/>
                <a:gd name="T39" fmla="*/ 2147483647 h 223"/>
                <a:gd name="T40" fmla="*/ 2147483647 w 142"/>
                <a:gd name="T41" fmla="*/ 2147483647 h 223"/>
                <a:gd name="T42" fmla="*/ 2147483647 w 142"/>
                <a:gd name="T43" fmla="*/ 2147483647 h 223"/>
                <a:gd name="T44" fmla="*/ 2147483647 w 142"/>
                <a:gd name="T45" fmla="*/ 2147483647 h 223"/>
                <a:gd name="T46" fmla="*/ 2147483647 w 142"/>
                <a:gd name="T47" fmla="*/ 2147483647 h 223"/>
                <a:gd name="T48" fmla="*/ 2147483647 w 142"/>
                <a:gd name="T49" fmla="*/ 2147483647 h 223"/>
                <a:gd name="T50" fmla="*/ 2147483647 w 142"/>
                <a:gd name="T51" fmla="*/ 2147483647 h 223"/>
                <a:gd name="T52" fmla="*/ 2147483647 w 142"/>
                <a:gd name="T53" fmla="*/ 2147483647 h 223"/>
                <a:gd name="T54" fmla="*/ 2147483647 w 142"/>
                <a:gd name="T55" fmla="*/ 2147483647 h 223"/>
                <a:gd name="T56" fmla="*/ 2147483647 w 142"/>
                <a:gd name="T57" fmla="*/ 2147483647 h 223"/>
                <a:gd name="T58" fmla="*/ 2147483647 w 142"/>
                <a:gd name="T59" fmla="*/ 2147483647 h 223"/>
                <a:gd name="T60" fmla="*/ 0 w 142"/>
                <a:gd name="T61" fmla="*/ 2147483647 h 223"/>
                <a:gd name="T62" fmla="*/ 2147483647 w 142"/>
                <a:gd name="T63" fmla="*/ 2147483647 h 223"/>
                <a:gd name="T64" fmla="*/ 2147483647 w 142"/>
                <a:gd name="T65" fmla="*/ 2147483647 h 223"/>
                <a:gd name="T66" fmla="*/ 2147483647 w 142"/>
                <a:gd name="T67" fmla="*/ 2147483647 h 223"/>
                <a:gd name="T68" fmla="*/ 2147483647 w 142"/>
                <a:gd name="T69" fmla="*/ 2147483647 h 223"/>
                <a:gd name="T70" fmla="*/ 2147483647 w 142"/>
                <a:gd name="T71" fmla="*/ 2147483647 h 223"/>
                <a:gd name="T72" fmla="*/ 2147483647 w 142"/>
                <a:gd name="T73" fmla="*/ 2147483647 h 223"/>
                <a:gd name="T74" fmla="*/ 2147483647 w 142"/>
                <a:gd name="T75" fmla="*/ 2147483647 h 223"/>
                <a:gd name="T76" fmla="*/ 2147483647 w 142"/>
                <a:gd name="T77" fmla="*/ 2147483647 h 223"/>
                <a:gd name="T78" fmla="*/ 2147483647 w 142"/>
                <a:gd name="T79" fmla="*/ 2147483647 h 2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2"/>
                <a:gd name="T121" fmla="*/ 0 h 223"/>
                <a:gd name="T122" fmla="*/ 142 w 142"/>
                <a:gd name="T123" fmla="*/ 223 h 2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2" h="223">
                  <a:moveTo>
                    <a:pt x="25" y="136"/>
                  </a:moveTo>
                  <a:lnTo>
                    <a:pt x="25" y="75"/>
                  </a:lnTo>
                  <a:lnTo>
                    <a:pt x="25" y="2"/>
                  </a:lnTo>
                  <a:lnTo>
                    <a:pt x="41" y="6"/>
                  </a:lnTo>
                  <a:lnTo>
                    <a:pt x="51" y="0"/>
                  </a:lnTo>
                  <a:lnTo>
                    <a:pt x="142" y="0"/>
                  </a:lnTo>
                  <a:lnTo>
                    <a:pt x="142" y="75"/>
                  </a:lnTo>
                  <a:lnTo>
                    <a:pt x="142" y="151"/>
                  </a:lnTo>
                  <a:lnTo>
                    <a:pt x="139" y="153"/>
                  </a:lnTo>
                  <a:lnTo>
                    <a:pt x="142" y="168"/>
                  </a:lnTo>
                  <a:lnTo>
                    <a:pt x="126" y="173"/>
                  </a:lnTo>
                  <a:lnTo>
                    <a:pt x="115" y="171"/>
                  </a:lnTo>
                  <a:lnTo>
                    <a:pt x="116" y="181"/>
                  </a:lnTo>
                  <a:lnTo>
                    <a:pt x="108" y="186"/>
                  </a:lnTo>
                  <a:lnTo>
                    <a:pt x="105" y="194"/>
                  </a:lnTo>
                  <a:lnTo>
                    <a:pt x="99" y="195"/>
                  </a:lnTo>
                  <a:lnTo>
                    <a:pt x="95" y="209"/>
                  </a:lnTo>
                  <a:lnTo>
                    <a:pt x="89" y="213"/>
                  </a:lnTo>
                  <a:lnTo>
                    <a:pt x="75" y="200"/>
                  </a:lnTo>
                  <a:lnTo>
                    <a:pt x="76" y="204"/>
                  </a:lnTo>
                  <a:lnTo>
                    <a:pt x="71" y="204"/>
                  </a:lnTo>
                  <a:lnTo>
                    <a:pt x="64" y="219"/>
                  </a:lnTo>
                  <a:lnTo>
                    <a:pt x="55" y="211"/>
                  </a:lnTo>
                  <a:lnTo>
                    <a:pt x="43" y="222"/>
                  </a:lnTo>
                  <a:lnTo>
                    <a:pt x="22" y="212"/>
                  </a:lnTo>
                  <a:lnTo>
                    <a:pt x="20" y="220"/>
                  </a:lnTo>
                  <a:lnTo>
                    <a:pt x="18" y="216"/>
                  </a:lnTo>
                  <a:lnTo>
                    <a:pt x="10" y="215"/>
                  </a:lnTo>
                  <a:lnTo>
                    <a:pt x="7" y="223"/>
                  </a:lnTo>
                  <a:lnTo>
                    <a:pt x="3" y="220"/>
                  </a:lnTo>
                  <a:lnTo>
                    <a:pt x="0" y="217"/>
                  </a:lnTo>
                  <a:lnTo>
                    <a:pt x="3" y="216"/>
                  </a:lnTo>
                  <a:lnTo>
                    <a:pt x="4" y="206"/>
                  </a:lnTo>
                  <a:lnTo>
                    <a:pt x="8" y="203"/>
                  </a:lnTo>
                  <a:lnTo>
                    <a:pt x="5" y="198"/>
                  </a:lnTo>
                  <a:lnTo>
                    <a:pt x="20" y="183"/>
                  </a:lnTo>
                  <a:lnTo>
                    <a:pt x="26" y="170"/>
                  </a:lnTo>
                  <a:lnTo>
                    <a:pt x="25" y="159"/>
                  </a:lnTo>
                  <a:lnTo>
                    <a:pt x="19" y="150"/>
                  </a:lnTo>
                  <a:lnTo>
                    <a:pt x="25" y="136"/>
                  </a:lnTo>
                  <a:close/>
                </a:path>
              </a:pathLst>
            </a:custGeom>
            <a:grpFill/>
            <a:ln w="6350">
              <a:solidFill>
                <a:schemeClr val="tx2"/>
              </a:solidFill>
              <a:round/>
              <a:headEnd/>
              <a:tailEnd/>
            </a:ln>
          </p:spPr>
          <p:txBody>
            <a:bodyPr/>
            <a:lstStyle/>
            <a:p>
              <a:endParaRPr lang="en-US"/>
            </a:p>
          </p:txBody>
        </p:sp>
        <p:sp>
          <p:nvSpPr>
            <p:cNvPr id="188" name="Freeform 1088"/>
            <p:cNvSpPr>
              <a:spLocks/>
            </p:cNvSpPr>
            <p:nvPr/>
          </p:nvSpPr>
          <p:spPr bwMode="auto">
            <a:xfrm>
              <a:off x="2386650" y="3849116"/>
              <a:ext cx="100130" cy="118335"/>
            </a:xfrm>
            <a:custGeom>
              <a:avLst/>
              <a:gdLst>
                <a:gd name="T0" fmla="*/ 2147483647 w 205"/>
                <a:gd name="T1" fmla="*/ 2147483647 h 236"/>
                <a:gd name="T2" fmla="*/ 2147483647 w 205"/>
                <a:gd name="T3" fmla="*/ 2147483647 h 236"/>
                <a:gd name="T4" fmla="*/ 2147483647 w 205"/>
                <a:gd name="T5" fmla="*/ 2147483647 h 236"/>
                <a:gd name="T6" fmla="*/ 2147483647 w 205"/>
                <a:gd name="T7" fmla="*/ 2147483647 h 236"/>
                <a:gd name="T8" fmla="*/ 2147483647 w 205"/>
                <a:gd name="T9" fmla="*/ 2147483647 h 236"/>
                <a:gd name="T10" fmla="*/ 2147483647 w 205"/>
                <a:gd name="T11" fmla="*/ 2147483647 h 236"/>
                <a:gd name="T12" fmla="*/ 2147483647 w 205"/>
                <a:gd name="T13" fmla="*/ 2147483647 h 236"/>
                <a:gd name="T14" fmla="*/ 2147483647 w 205"/>
                <a:gd name="T15" fmla="*/ 2147483647 h 236"/>
                <a:gd name="T16" fmla="*/ 2147483647 w 205"/>
                <a:gd name="T17" fmla="*/ 2147483647 h 236"/>
                <a:gd name="T18" fmla="*/ 2147483647 w 205"/>
                <a:gd name="T19" fmla="*/ 2147483647 h 236"/>
                <a:gd name="T20" fmla="*/ 2147483647 w 205"/>
                <a:gd name="T21" fmla="*/ 2147483647 h 236"/>
                <a:gd name="T22" fmla="*/ 2147483647 w 205"/>
                <a:gd name="T23" fmla="*/ 2147483647 h 236"/>
                <a:gd name="T24" fmla="*/ 2147483647 w 205"/>
                <a:gd name="T25" fmla="*/ 2147483647 h 236"/>
                <a:gd name="T26" fmla="*/ 2147483647 w 205"/>
                <a:gd name="T27" fmla="*/ 2147483647 h 236"/>
                <a:gd name="T28" fmla="*/ 2147483647 w 205"/>
                <a:gd name="T29" fmla="*/ 2147483647 h 236"/>
                <a:gd name="T30" fmla="*/ 2147483647 w 205"/>
                <a:gd name="T31" fmla="*/ 2147483647 h 236"/>
                <a:gd name="T32" fmla="*/ 2147483647 w 205"/>
                <a:gd name="T33" fmla="*/ 2147483647 h 236"/>
                <a:gd name="T34" fmla="*/ 2147483647 w 205"/>
                <a:gd name="T35" fmla="*/ 2147483647 h 236"/>
                <a:gd name="T36" fmla="*/ 2147483647 w 205"/>
                <a:gd name="T37" fmla="*/ 0 h 236"/>
                <a:gd name="T38" fmla="*/ 0 w 205"/>
                <a:gd name="T39" fmla="*/ 0 h 236"/>
                <a:gd name="T40" fmla="*/ 2147483647 w 205"/>
                <a:gd name="T41" fmla="*/ 2147483647 h 236"/>
                <a:gd name="T42" fmla="*/ 2147483647 w 205"/>
                <a:gd name="T43" fmla="*/ 2147483647 h 236"/>
                <a:gd name="T44" fmla="*/ 2147483647 w 205"/>
                <a:gd name="T45" fmla="*/ 2147483647 h 236"/>
                <a:gd name="T46" fmla="*/ 2147483647 w 205"/>
                <a:gd name="T47" fmla="*/ 2147483647 h 236"/>
                <a:gd name="T48" fmla="*/ 2147483647 w 205"/>
                <a:gd name="T49" fmla="*/ 2147483647 h 236"/>
                <a:gd name="T50" fmla="*/ 2147483647 w 205"/>
                <a:gd name="T51" fmla="*/ 2147483647 h 236"/>
                <a:gd name="T52" fmla="*/ 2147483647 w 205"/>
                <a:gd name="T53" fmla="*/ 2147483647 h 236"/>
                <a:gd name="T54" fmla="*/ 2147483647 w 205"/>
                <a:gd name="T55" fmla="*/ 2147483647 h 236"/>
                <a:gd name="T56" fmla="*/ 2147483647 w 205"/>
                <a:gd name="T57" fmla="*/ 2147483647 h 236"/>
                <a:gd name="T58" fmla="*/ 2147483647 w 205"/>
                <a:gd name="T59" fmla="*/ 2147483647 h 236"/>
                <a:gd name="T60" fmla="*/ 2147483647 w 205"/>
                <a:gd name="T61" fmla="*/ 2147483647 h 236"/>
                <a:gd name="T62" fmla="*/ 2147483647 w 205"/>
                <a:gd name="T63" fmla="*/ 2147483647 h 236"/>
                <a:gd name="T64" fmla="*/ 2147483647 w 205"/>
                <a:gd name="T65" fmla="*/ 2147483647 h 236"/>
                <a:gd name="T66" fmla="*/ 2147483647 w 205"/>
                <a:gd name="T67" fmla="*/ 2147483647 h 236"/>
                <a:gd name="T68" fmla="*/ 2147483647 w 205"/>
                <a:gd name="T69" fmla="*/ 2147483647 h 236"/>
                <a:gd name="T70" fmla="*/ 2147483647 w 205"/>
                <a:gd name="T71" fmla="*/ 2147483647 h 236"/>
                <a:gd name="T72" fmla="*/ 2147483647 w 205"/>
                <a:gd name="T73" fmla="*/ 2147483647 h 236"/>
                <a:gd name="T74" fmla="*/ 2147483647 w 205"/>
                <a:gd name="T75" fmla="*/ 2147483647 h 236"/>
                <a:gd name="T76" fmla="*/ 2147483647 w 205"/>
                <a:gd name="T77" fmla="*/ 2147483647 h 2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5"/>
                <a:gd name="T118" fmla="*/ 0 h 236"/>
                <a:gd name="T119" fmla="*/ 205 w 205"/>
                <a:gd name="T120" fmla="*/ 236 h 2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5" h="236">
                  <a:moveTo>
                    <a:pt x="177" y="219"/>
                  </a:moveTo>
                  <a:lnTo>
                    <a:pt x="178" y="207"/>
                  </a:lnTo>
                  <a:lnTo>
                    <a:pt x="187" y="191"/>
                  </a:lnTo>
                  <a:lnTo>
                    <a:pt x="188" y="184"/>
                  </a:lnTo>
                  <a:lnTo>
                    <a:pt x="197" y="161"/>
                  </a:lnTo>
                  <a:lnTo>
                    <a:pt x="205" y="153"/>
                  </a:lnTo>
                  <a:lnTo>
                    <a:pt x="194" y="148"/>
                  </a:lnTo>
                  <a:lnTo>
                    <a:pt x="195" y="139"/>
                  </a:lnTo>
                  <a:lnTo>
                    <a:pt x="190" y="128"/>
                  </a:lnTo>
                  <a:lnTo>
                    <a:pt x="183" y="124"/>
                  </a:lnTo>
                  <a:lnTo>
                    <a:pt x="178" y="103"/>
                  </a:lnTo>
                  <a:lnTo>
                    <a:pt x="167" y="96"/>
                  </a:lnTo>
                  <a:lnTo>
                    <a:pt x="159" y="86"/>
                  </a:lnTo>
                  <a:lnTo>
                    <a:pt x="160" y="80"/>
                  </a:lnTo>
                  <a:lnTo>
                    <a:pt x="132" y="56"/>
                  </a:lnTo>
                  <a:lnTo>
                    <a:pt x="119" y="28"/>
                  </a:lnTo>
                  <a:lnTo>
                    <a:pt x="111" y="28"/>
                  </a:lnTo>
                  <a:lnTo>
                    <a:pt x="97" y="16"/>
                  </a:lnTo>
                  <a:lnTo>
                    <a:pt x="108" y="0"/>
                  </a:lnTo>
                  <a:lnTo>
                    <a:pt x="0" y="0"/>
                  </a:lnTo>
                  <a:lnTo>
                    <a:pt x="11" y="62"/>
                  </a:lnTo>
                  <a:lnTo>
                    <a:pt x="19" y="104"/>
                  </a:lnTo>
                  <a:lnTo>
                    <a:pt x="23" y="123"/>
                  </a:lnTo>
                  <a:lnTo>
                    <a:pt x="28" y="134"/>
                  </a:lnTo>
                  <a:lnTo>
                    <a:pt x="27" y="138"/>
                  </a:lnTo>
                  <a:lnTo>
                    <a:pt x="31" y="141"/>
                  </a:lnTo>
                  <a:lnTo>
                    <a:pt x="25" y="148"/>
                  </a:lnTo>
                  <a:lnTo>
                    <a:pt x="23" y="159"/>
                  </a:lnTo>
                  <a:lnTo>
                    <a:pt x="26" y="167"/>
                  </a:lnTo>
                  <a:lnTo>
                    <a:pt x="23" y="197"/>
                  </a:lnTo>
                  <a:lnTo>
                    <a:pt x="27" y="205"/>
                  </a:lnTo>
                  <a:lnTo>
                    <a:pt x="32" y="219"/>
                  </a:lnTo>
                  <a:lnTo>
                    <a:pt x="90" y="223"/>
                  </a:lnTo>
                  <a:lnTo>
                    <a:pt x="146" y="226"/>
                  </a:lnTo>
                  <a:lnTo>
                    <a:pt x="149" y="236"/>
                  </a:lnTo>
                  <a:lnTo>
                    <a:pt x="155" y="236"/>
                  </a:lnTo>
                  <a:lnTo>
                    <a:pt x="155" y="218"/>
                  </a:lnTo>
                  <a:lnTo>
                    <a:pt x="158" y="214"/>
                  </a:lnTo>
                  <a:lnTo>
                    <a:pt x="177" y="219"/>
                  </a:lnTo>
                  <a:close/>
                </a:path>
              </a:pathLst>
            </a:custGeom>
            <a:grpFill/>
            <a:ln w="6350">
              <a:solidFill>
                <a:schemeClr val="tx2"/>
              </a:solidFill>
              <a:round/>
              <a:headEnd/>
              <a:tailEnd/>
            </a:ln>
          </p:spPr>
          <p:txBody>
            <a:bodyPr/>
            <a:lstStyle/>
            <a:p>
              <a:endParaRPr lang="en-US"/>
            </a:p>
          </p:txBody>
        </p:sp>
        <p:sp>
          <p:nvSpPr>
            <p:cNvPr id="189" name="Freeform 1089"/>
            <p:cNvSpPr>
              <a:spLocks/>
            </p:cNvSpPr>
            <p:nvPr/>
          </p:nvSpPr>
          <p:spPr bwMode="auto">
            <a:xfrm>
              <a:off x="1649333" y="3040495"/>
              <a:ext cx="212396" cy="406586"/>
            </a:xfrm>
            <a:custGeom>
              <a:avLst/>
              <a:gdLst>
                <a:gd name="T0" fmla="*/ 2147483647 w 429"/>
                <a:gd name="T1" fmla="*/ 0 h 820"/>
                <a:gd name="T2" fmla="*/ 2147483647 w 429"/>
                <a:gd name="T3" fmla="*/ 0 h 820"/>
                <a:gd name="T4" fmla="*/ 2147483647 w 429"/>
                <a:gd name="T5" fmla="*/ 0 h 820"/>
                <a:gd name="T6" fmla="*/ 2147483647 w 429"/>
                <a:gd name="T7" fmla="*/ 0 h 820"/>
                <a:gd name="T8" fmla="*/ 2147483647 w 429"/>
                <a:gd name="T9" fmla="*/ 0 h 820"/>
                <a:gd name="T10" fmla="*/ 0 w 429"/>
                <a:gd name="T11" fmla="*/ 0 h 820"/>
                <a:gd name="T12" fmla="*/ 0 w 429"/>
                <a:gd name="T13" fmla="*/ 2147483647 h 820"/>
                <a:gd name="T14" fmla="*/ 0 w 429"/>
                <a:gd name="T15" fmla="*/ 2147483647 h 820"/>
                <a:gd name="T16" fmla="*/ 0 w 429"/>
                <a:gd name="T17" fmla="*/ 2147483647 h 820"/>
                <a:gd name="T18" fmla="*/ 2147483647 w 429"/>
                <a:gd name="T19" fmla="*/ 2147483647 h 820"/>
                <a:gd name="T20" fmla="*/ 2147483647 w 429"/>
                <a:gd name="T21" fmla="*/ 2147483647 h 820"/>
                <a:gd name="T22" fmla="*/ 2147483647 w 429"/>
                <a:gd name="T23" fmla="*/ 2147483647 h 820"/>
                <a:gd name="T24" fmla="*/ 2147483647 w 429"/>
                <a:gd name="T25" fmla="*/ 2147483647 h 820"/>
                <a:gd name="T26" fmla="*/ 2147483647 w 429"/>
                <a:gd name="T27" fmla="*/ 2147483647 h 820"/>
                <a:gd name="T28" fmla="*/ 2147483647 w 429"/>
                <a:gd name="T29" fmla="*/ 2147483647 h 820"/>
                <a:gd name="T30" fmla="*/ 2147483647 w 429"/>
                <a:gd name="T31" fmla="*/ 2147483647 h 820"/>
                <a:gd name="T32" fmla="*/ 2147483647 w 429"/>
                <a:gd name="T33" fmla="*/ 2147483647 h 820"/>
                <a:gd name="T34" fmla="*/ 2147483647 w 429"/>
                <a:gd name="T35" fmla="*/ 2147483647 h 820"/>
                <a:gd name="T36" fmla="*/ 2147483647 w 429"/>
                <a:gd name="T37" fmla="*/ 2147483647 h 820"/>
                <a:gd name="T38" fmla="*/ 2147483647 w 429"/>
                <a:gd name="T39" fmla="*/ 2147483647 h 820"/>
                <a:gd name="T40" fmla="*/ 2147483647 w 429"/>
                <a:gd name="T41" fmla="*/ 2147483647 h 820"/>
                <a:gd name="T42" fmla="*/ 2147483647 w 429"/>
                <a:gd name="T43" fmla="*/ 2147483647 h 820"/>
                <a:gd name="T44" fmla="*/ 2147483647 w 429"/>
                <a:gd name="T45" fmla="*/ 2147483647 h 820"/>
                <a:gd name="T46" fmla="*/ 2147483647 w 429"/>
                <a:gd name="T47" fmla="*/ 2147483647 h 820"/>
                <a:gd name="T48" fmla="*/ 2147483647 w 429"/>
                <a:gd name="T49" fmla="*/ 2147483647 h 820"/>
                <a:gd name="T50" fmla="*/ 2147483647 w 429"/>
                <a:gd name="T51" fmla="*/ 2147483647 h 820"/>
                <a:gd name="T52" fmla="*/ 2147483647 w 429"/>
                <a:gd name="T53" fmla="*/ 2147483647 h 820"/>
                <a:gd name="T54" fmla="*/ 2147483647 w 429"/>
                <a:gd name="T55" fmla="*/ 2147483647 h 820"/>
                <a:gd name="T56" fmla="*/ 2147483647 w 429"/>
                <a:gd name="T57" fmla="*/ 2147483647 h 820"/>
                <a:gd name="T58" fmla="*/ 2147483647 w 429"/>
                <a:gd name="T59" fmla="*/ 2147483647 h 820"/>
                <a:gd name="T60" fmla="*/ 2147483647 w 429"/>
                <a:gd name="T61" fmla="*/ 2147483647 h 820"/>
                <a:gd name="T62" fmla="*/ 2147483647 w 429"/>
                <a:gd name="T63" fmla="*/ 2147483647 h 820"/>
                <a:gd name="T64" fmla="*/ 2147483647 w 429"/>
                <a:gd name="T65" fmla="*/ 0 h 8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9"/>
                <a:gd name="T100" fmla="*/ 0 h 820"/>
                <a:gd name="T101" fmla="*/ 429 w 429"/>
                <a:gd name="T102" fmla="*/ 820 h 8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9" h="820">
                  <a:moveTo>
                    <a:pt x="428" y="0"/>
                  </a:moveTo>
                  <a:lnTo>
                    <a:pt x="390" y="0"/>
                  </a:lnTo>
                  <a:lnTo>
                    <a:pt x="354" y="0"/>
                  </a:lnTo>
                  <a:lnTo>
                    <a:pt x="317" y="0"/>
                  </a:lnTo>
                  <a:lnTo>
                    <a:pt x="275" y="0"/>
                  </a:lnTo>
                  <a:lnTo>
                    <a:pt x="236" y="0"/>
                  </a:lnTo>
                  <a:lnTo>
                    <a:pt x="194" y="0"/>
                  </a:lnTo>
                  <a:lnTo>
                    <a:pt x="154" y="0"/>
                  </a:lnTo>
                  <a:lnTo>
                    <a:pt x="119" y="0"/>
                  </a:lnTo>
                  <a:lnTo>
                    <a:pt x="80" y="0"/>
                  </a:lnTo>
                  <a:lnTo>
                    <a:pt x="38" y="0"/>
                  </a:lnTo>
                  <a:lnTo>
                    <a:pt x="0" y="0"/>
                  </a:lnTo>
                  <a:lnTo>
                    <a:pt x="0" y="89"/>
                  </a:lnTo>
                  <a:lnTo>
                    <a:pt x="0" y="167"/>
                  </a:lnTo>
                  <a:lnTo>
                    <a:pt x="0" y="243"/>
                  </a:lnTo>
                  <a:lnTo>
                    <a:pt x="0" y="318"/>
                  </a:lnTo>
                  <a:lnTo>
                    <a:pt x="0" y="398"/>
                  </a:lnTo>
                  <a:lnTo>
                    <a:pt x="0" y="489"/>
                  </a:lnTo>
                  <a:lnTo>
                    <a:pt x="11" y="501"/>
                  </a:lnTo>
                  <a:lnTo>
                    <a:pt x="3" y="503"/>
                  </a:lnTo>
                  <a:lnTo>
                    <a:pt x="4" y="509"/>
                  </a:lnTo>
                  <a:lnTo>
                    <a:pt x="15" y="521"/>
                  </a:lnTo>
                  <a:lnTo>
                    <a:pt x="26" y="520"/>
                  </a:lnTo>
                  <a:lnTo>
                    <a:pt x="31" y="533"/>
                  </a:lnTo>
                  <a:lnTo>
                    <a:pt x="42" y="536"/>
                  </a:lnTo>
                  <a:lnTo>
                    <a:pt x="44" y="529"/>
                  </a:lnTo>
                  <a:lnTo>
                    <a:pt x="53" y="537"/>
                  </a:lnTo>
                  <a:lnTo>
                    <a:pt x="59" y="555"/>
                  </a:lnTo>
                  <a:lnTo>
                    <a:pt x="64" y="554"/>
                  </a:lnTo>
                  <a:lnTo>
                    <a:pt x="71" y="565"/>
                  </a:lnTo>
                  <a:lnTo>
                    <a:pt x="76" y="591"/>
                  </a:lnTo>
                  <a:lnTo>
                    <a:pt x="86" y="583"/>
                  </a:lnTo>
                  <a:lnTo>
                    <a:pt x="96" y="589"/>
                  </a:lnTo>
                  <a:lnTo>
                    <a:pt x="92" y="597"/>
                  </a:lnTo>
                  <a:lnTo>
                    <a:pt x="96" y="603"/>
                  </a:lnTo>
                  <a:lnTo>
                    <a:pt x="103" y="607"/>
                  </a:lnTo>
                  <a:lnTo>
                    <a:pt x="115" y="604"/>
                  </a:lnTo>
                  <a:lnTo>
                    <a:pt x="131" y="636"/>
                  </a:lnTo>
                  <a:lnTo>
                    <a:pt x="143" y="631"/>
                  </a:lnTo>
                  <a:lnTo>
                    <a:pt x="158" y="655"/>
                  </a:lnTo>
                  <a:lnTo>
                    <a:pt x="160" y="664"/>
                  </a:lnTo>
                  <a:lnTo>
                    <a:pt x="188" y="688"/>
                  </a:lnTo>
                  <a:lnTo>
                    <a:pt x="187" y="696"/>
                  </a:lnTo>
                  <a:lnTo>
                    <a:pt x="200" y="704"/>
                  </a:lnTo>
                  <a:lnTo>
                    <a:pt x="205" y="716"/>
                  </a:lnTo>
                  <a:lnTo>
                    <a:pt x="214" y="715"/>
                  </a:lnTo>
                  <a:lnTo>
                    <a:pt x="224" y="729"/>
                  </a:lnTo>
                  <a:lnTo>
                    <a:pt x="229" y="748"/>
                  </a:lnTo>
                  <a:lnTo>
                    <a:pt x="230" y="771"/>
                  </a:lnTo>
                  <a:lnTo>
                    <a:pt x="225" y="781"/>
                  </a:lnTo>
                  <a:lnTo>
                    <a:pt x="232" y="783"/>
                  </a:lnTo>
                  <a:lnTo>
                    <a:pt x="232" y="793"/>
                  </a:lnTo>
                  <a:lnTo>
                    <a:pt x="255" y="820"/>
                  </a:lnTo>
                  <a:lnTo>
                    <a:pt x="310" y="820"/>
                  </a:lnTo>
                  <a:lnTo>
                    <a:pt x="375" y="820"/>
                  </a:lnTo>
                  <a:lnTo>
                    <a:pt x="428" y="820"/>
                  </a:lnTo>
                  <a:lnTo>
                    <a:pt x="428" y="760"/>
                  </a:lnTo>
                  <a:lnTo>
                    <a:pt x="428" y="703"/>
                  </a:lnTo>
                  <a:lnTo>
                    <a:pt x="428" y="620"/>
                  </a:lnTo>
                  <a:lnTo>
                    <a:pt x="429" y="518"/>
                  </a:lnTo>
                  <a:lnTo>
                    <a:pt x="429" y="422"/>
                  </a:lnTo>
                  <a:lnTo>
                    <a:pt x="429" y="301"/>
                  </a:lnTo>
                  <a:lnTo>
                    <a:pt x="429" y="188"/>
                  </a:lnTo>
                  <a:lnTo>
                    <a:pt x="429" y="89"/>
                  </a:lnTo>
                  <a:lnTo>
                    <a:pt x="429" y="0"/>
                  </a:lnTo>
                  <a:lnTo>
                    <a:pt x="428" y="0"/>
                  </a:lnTo>
                  <a:close/>
                </a:path>
              </a:pathLst>
            </a:custGeom>
            <a:grpFill/>
            <a:ln w="6350">
              <a:solidFill>
                <a:schemeClr val="tx2"/>
              </a:solidFill>
              <a:round/>
              <a:headEnd/>
              <a:tailEnd/>
            </a:ln>
          </p:spPr>
          <p:txBody>
            <a:bodyPr/>
            <a:lstStyle/>
            <a:p>
              <a:endParaRPr lang="en-US"/>
            </a:p>
          </p:txBody>
        </p:sp>
        <p:sp>
          <p:nvSpPr>
            <p:cNvPr id="190" name="Freeform 1090"/>
            <p:cNvSpPr>
              <a:spLocks/>
            </p:cNvSpPr>
            <p:nvPr/>
          </p:nvSpPr>
          <p:spPr bwMode="auto">
            <a:xfrm>
              <a:off x="1863245" y="3040495"/>
              <a:ext cx="185087" cy="406586"/>
            </a:xfrm>
            <a:custGeom>
              <a:avLst/>
              <a:gdLst>
                <a:gd name="T0" fmla="*/ 2147483647 w 373"/>
                <a:gd name="T1" fmla="*/ 2147483647 h 821"/>
                <a:gd name="T2" fmla="*/ 2147483647 w 373"/>
                <a:gd name="T3" fmla="*/ 2147483647 h 821"/>
                <a:gd name="T4" fmla="*/ 2147483647 w 373"/>
                <a:gd name="T5" fmla="*/ 2147483647 h 821"/>
                <a:gd name="T6" fmla="*/ 2147483647 w 373"/>
                <a:gd name="T7" fmla="*/ 2147483647 h 821"/>
                <a:gd name="T8" fmla="*/ 2147483647 w 373"/>
                <a:gd name="T9" fmla="*/ 2147483647 h 821"/>
                <a:gd name="T10" fmla="*/ 2147483647 w 373"/>
                <a:gd name="T11" fmla="*/ 2147483647 h 821"/>
                <a:gd name="T12" fmla="*/ 2147483647 w 373"/>
                <a:gd name="T13" fmla="*/ 2147483647 h 821"/>
                <a:gd name="T14" fmla="*/ 2147483647 w 373"/>
                <a:gd name="T15" fmla="*/ 2147483647 h 821"/>
                <a:gd name="T16" fmla="*/ 2147483647 w 373"/>
                <a:gd name="T17" fmla="*/ 2147483647 h 821"/>
                <a:gd name="T18" fmla="*/ 2147483647 w 373"/>
                <a:gd name="T19" fmla="*/ 2147483647 h 821"/>
                <a:gd name="T20" fmla="*/ 2147483647 w 373"/>
                <a:gd name="T21" fmla="*/ 2147483647 h 821"/>
                <a:gd name="T22" fmla="*/ 2147483647 w 373"/>
                <a:gd name="T23" fmla="*/ 2147483647 h 821"/>
                <a:gd name="T24" fmla="*/ 2147483647 w 373"/>
                <a:gd name="T25" fmla="*/ 2147483647 h 821"/>
                <a:gd name="T26" fmla="*/ 2147483647 w 373"/>
                <a:gd name="T27" fmla="*/ 0 h 821"/>
                <a:gd name="T28" fmla="*/ 2147483647 w 373"/>
                <a:gd name="T29" fmla="*/ 0 h 821"/>
                <a:gd name="T30" fmla="*/ 2147483647 w 373"/>
                <a:gd name="T31" fmla="*/ 0 h 821"/>
                <a:gd name="T32" fmla="*/ 2147483647 w 373"/>
                <a:gd name="T33" fmla="*/ 0 h 821"/>
                <a:gd name="T34" fmla="*/ 2147483647 w 373"/>
                <a:gd name="T35" fmla="*/ 0 h 821"/>
                <a:gd name="T36" fmla="*/ 2147483647 w 373"/>
                <a:gd name="T37" fmla="*/ 0 h 821"/>
                <a:gd name="T38" fmla="*/ 2147483647 w 373"/>
                <a:gd name="T39" fmla="*/ 0 h 821"/>
                <a:gd name="T40" fmla="*/ 2147483647 w 373"/>
                <a:gd name="T41" fmla="*/ 0 h 821"/>
                <a:gd name="T42" fmla="*/ 2147483647 w 373"/>
                <a:gd name="T43" fmla="*/ 0 h 821"/>
                <a:gd name="T44" fmla="*/ 0 w 373"/>
                <a:gd name="T45" fmla="*/ 0 h 821"/>
                <a:gd name="T46" fmla="*/ 2147483647 w 373"/>
                <a:gd name="T47" fmla="*/ 0 h 821"/>
                <a:gd name="T48" fmla="*/ 2147483647 w 373"/>
                <a:gd name="T49" fmla="*/ 2147483647 h 821"/>
                <a:gd name="T50" fmla="*/ 2147483647 w 373"/>
                <a:gd name="T51" fmla="*/ 2147483647 h 821"/>
                <a:gd name="T52" fmla="*/ 2147483647 w 373"/>
                <a:gd name="T53" fmla="*/ 2147483647 h 821"/>
                <a:gd name="T54" fmla="*/ 2147483647 w 373"/>
                <a:gd name="T55" fmla="*/ 2147483647 h 821"/>
                <a:gd name="T56" fmla="*/ 2147483647 w 373"/>
                <a:gd name="T57" fmla="*/ 2147483647 h 821"/>
                <a:gd name="T58" fmla="*/ 0 w 373"/>
                <a:gd name="T59" fmla="*/ 2147483647 h 821"/>
                <a:gd name="T60" fmla="*/ 0 w 373"/>
                <a:gd name="T61" fmla="*/ 2147483647 h 821"/>
                <a:gd name="T62" fmla="*/ 0 w 373"/>
                <a:gd name="T63" fmla="*/ 2147483647 h 821"/>
                <a:gd name="T64" fmla="*/ 0 w 373"/>
                <a:gd name="T65" fmla="*/ 2147483647 h 821"/>
                <a:gd name="T66" fmla="*/ 2147483647 w 373"/>
                <a:gd name="T67" fmla="*/ 2147483647 h 821"/>
                <a:gd name="T68" fmla="*/ 2147483647 w 373"/>
                <a:gd name="T69" fmla="*/ 2147483647 h 821"/>
                <a:gd name="T70" fmla="*/ 2147483647 w 373"/>
                <a:gd name="T71" fmla="*/ 2147483647 h 821"/>
                <a:gd name="T72" fmla="*/ 2147483647 w 373"/>
                <a:gd name="T73" fmla="*/ 2147483647 h 821"/>
                <a:gd name="T74" fmla="*/ 2147483647 w 373"/>
                <a:gd name="T75" fmla="*/ 2147483647 h 821"/>
                <a:gd name="T76" fmla="*/ 2147483647 w 373"/>
                <a:gd name="T77" fmla="*/ 2147483647 h 8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3"/>
                <a:gd name="T118" fmla="*/ 0 h 821"/>
                <a:gd name="T119" fmla="*/ 373 w 373"/>
                <a:gd name="T120" fmla="*/ 821 h 8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3" h="821">
                  <a:moveTo>
                    <a:pt x="373" y="821"/>
                  </a:moveTo>
                  <a:lnTo>
                    <a:pt x="371" y="776"/>
                  </a:lnTo>
                  <a:lnTo>
                    <a:pt x="367" y="718"/>
                  </a:lnTo>
                  <a:lnTo>
                    <a:pt x="363" y="652"/>
                  </a:lnTo>
                  <a:lnTo>
                    <a:pt x="360" y="588"/>
                  </a:lnTo>
                  <a:lnTo>
                    <a:pt x="357" y="542"/>
                  </a:lnTo>
                  <a:lnTo>
                    <a:pt x="354" y="479"/>
                  </a:lnTo>
                  <a:lnTo>
                    <a:pt x="350" y="408"/>
                  </a:lnTo>
                  <a:lnTo>
                    <a:pt x="346" y="339"/>
                  </a:lnTo>
                  <a:lnTo>
                    <a:pt x="346" y="294"/>
                  </a:lnTo>
                  <a:lnTo>
                    <a:pt x="346" y="228"/>
                  </a:lnTo>
                  <a:lnTo>
                    <a:pt x="346" y="157"/>
                  </a:lnTo>
                  <a:lnTo>
                    <a:pt x="346" y="78"/>
                  </a:lnTo>
                  <a:lnTo>
                    <a:pt x="346" y="0"/>
                  </a:lnTo>
                  <a:lnTo>
                    <a:pt x="319" y="0"/>
                  </a:lnTo>
                  <a:lnTo>
                    <a:pt x="278" y="0"/>
                  </a:lnTo>
                  <a:lnTo>
                    <a:pt x="238" y="0"/>
                  </a:lnTo>
                  <a:lnTo>
                    <a:pt x="197" y="0"/>
                  </a:lnTo>
                  <a:lnTo>
                    <a:pt x="157" y="0"/>
                  </a:lnTo>
                  <a:lnTo>
                    <a:pt x="121" y="0"/>
                  </a:lnTo>
                  <a:lnTo>
                    <a:pt x="82" y="0"/>
                  </a:lnTo>
                  <a:lnTo>
                    <a:pt x="40" y="0"/>
                  </a:lnTo>
                  <a:lnTo>
                    <a:pt x="0" y="0"/>
                  </a:lnTo>
                  <a:lnTo>
                    <a:pt x="1" y="0"/>
                  </a:lnTo>
                  <a:lnTo>
                    <a:pt x="1" y="89"/>
                  </a:lnTo>
                  <a:lnTo>
                    <a:pt x="1" y="188"/>
                  </a:lnTo>
                  <a:lnTo>
                    <a:pt x="1" y="301"/>
                  </a:lnTo>
                  <a:lnTo>
                    <a:pt x="1" y="422"/>
                  </a:lnTo>
                  <a:lnTo>
                    <a:pt x="1" y="518"/>
                  </a:lnTo>
                  <a:lnTo>
                    <a:pt x="0" y="620"/>
                  </a:lnTo>
                  <a:lnTo>
                    <a:pt x="0" y="703"/>
                  </a:lnTo>
                  <a:lnTo>
                    <a:pt x="0" y="760"/>
                  </a:lnTo>
                  <a:lnTo>
                    <a:pt x="0" y="820"/>
                  </a:lnTo>
                  <a:lnTo>
                    <a:pt x="63" y="820"/>
                  </a:lnTo>
                  <a:lnTo>
                    <a:pt x="134" y="820"/>
                  </a:lnTo>
                  <a:lnTo>
                    <a:pt x="210" y="820"/>
                  </a:lnTo>
                  <a:lnTo>
                    <a:pt x="259" y="821"/>
                  </a:lnTo>
                  <a:lnTo>
                    <a:pt x="314" y="821"/>
                  </a:lnTo>
                  <a:lnTo>
                    <a:pt x="373" y="821"/>
                  </a:lnTo>
                  <a:close/>
                </a:path>
              </a:pathLst>
            </a:custGeom>
            <a:grpFill/>
            <a:ln w="6350">
              <a:solidFill>
                <a:schemeClr val="tx2"/>
              </a:solidFill>
              <a:round/>
              <a:headEnd/>
              <a:tailEnd/>
            </a:ln>
          </p:spPr>
          <p:txBody>
            <a:bodyPr/>
            <a:lstStyle/>
            <a:p>
              <a:endParaRPr lang="en-US"/>
            </a:p>
          </p:txBody>
        </p:sp>
        <p:sp>
          <p:nvSpPr>
            <p:cNvPr id="191" name="Freeform 1091"/>
            <p:cNvSpPr>
              <a:spLocks/>
            </p:cNvSpPr>
            <p:nvPr/>
          </p:nvSpPr>
          <p:spPr bwMode="auto">
            <a:xfrm>
              <a:off x="1239712" y="3040495"/>
              <a:ext cx="537058" cy="406586"/>
            </a:xfrm>
            <a:custGeom>
              <a:avLst/>
              <a:gdLst>
                <a:gd name="T0" fmla="*/ 2147483647 w 1079"/>
                <a:gd name="T1" fmla="*/ 0 h 820"/>
                <a:gd name="T2" fmla="*/ 2147483647 w 1079"/>
                <a:gd name="T3" fmla="*/ 2147483647 h 820"/>
                <a:gd name="T4" fmla="*/ 2147483647 w 1079"/>
                <a:gd name="T5" fmla="*/ 2147483647 h 820"/>
                <a:gd name="T6" fmla="*/ 2147483647 w 1079"/>
                <a:gd name="T7" fmla="*/ 2147483647 h 820"/>
                <a:gd name="T8" fmla="*/ 2147483647 w 1079"/>
                <a:gd name="T9" fmla="*/ 2147483647 h 820"/>
                <a:gd name="T10" fmla="*/ 2147483647 w 1079"/>
                <a:gd name="T11" fmla="*/ 2147483647 h 820"/>
                <a:gd name="T12" fmla="*/ 2147483647 w 1079"/>
                <a:gd name="T13" fmla="*/ 2147483647 h 820"/>
                <a:gd name="T14" fmla="*/ 2147483647 w 1079"/>
                <a:gd name="T15" fmla="*/ 2147483647 h 820"/>
                <a:gd name="T16" fmla="*/ 2147483647 w 1079"/>
                <a:gd name="T17" fmla="*/ 2147483647 h 820"/>
                <a:gd name="T18" fmla="*/ 2147483647 w 1079"/>
                <a:gd name="T19" fmla="*/ 2147483647 h 820"/>
                <a:gd name="T20" fmla="*/ 2147483647 w 1079"/>
                <a:gd name="T21" fmla="*/ 2147483647 h 820"/>
                <a:gd name="T22" fmla="*/ 2147483647 w 1079"/>
                <a:gd name="T23" fmla="*/ 2147483647 h 820"/>
                <a:gd name="T24" fmla="*/ 2147483647 w 1079"/>
                <a:gd name="T25" fmla="*/ 2147483647 h 820"/>
                <a:gd name="T26" fmla="*/ 2147483647 w 1079"/>
                <a:gd name="T27" fmla="*/ 2147483647 h 820"/>
                <a:gd name="T28" fmla="*/ 2147483647 w 1079"/>
                <a:gd name="T29" fmla="*/ 2147483647 h 820"/>
                <a:gd name="T30" fmla="*/ 2147483647 w 1079"/>
                <a:gd name="T31" fmla="*/ 2147483647 h 820"/>
                <a:gd name="T32" fmla="*/ 2147483647 w 1079"/>
                <a:gd name="T33" fmla="*/ 2147483647 h 820"/>
                <a:gd name="T34" fmla="*/ 2147483647 w 1079"/>
                <a:gd name="T35" fmla="*/ 2147483647 h 820"/>
                <a:gd name="T36" fmla="*/ 2147483647 w 1079"/>
                <a:gd name="T37" fmla="*/ 2147483647 h 820"/>
                <a:gd name="T38" fmla="*/ 2147483647 w 1079"/>
                <a:gd name="T39" fmla="*/ 2147483647 h 820"/>
                <a:gd name="T40" fmla="*/ 2147483647 w 1079"/>
                <a:gd name="T41" fmla="*/ 2147483647 h 820"/>
                <a:gd name="T42" fmla="*/ 2147483647 w 1079"/>
                <a:gd name="T43" fmla="*/ 2147483647 h 820"/>
                <a:gd name="T44" fmla="*/ 2147483647 w 1079"/>
                <a:gd name="T45" fmla="*/ 2147483647 h 820"/>
                <a:gd name="T46" fmla="*/ 2147483647 w 1079"/>
                <a:gd name="T47" fmla="*/ 2147483647 h 820"/>
                <a:gd name="T48" fmla="*/ 2147483647 w 1079"/>
                <a:gd name="T49" fmla="*/ 2147483647 h 820"/>
                <a:gd name="T50" fmla="*/ 2147483647 w 1079"/>
                <a:gd name="T51" fmla="*/ 2147483647 h 820"/>
                <a:gd name="T52" fmla="*/ 2147483647 w 1079"/>
                <a:gd name="T53" fmla="*/ 2147483647 h 820"/>
                <a:gd name="T54" fmla="*/ 2147483647 w 1079"/>
                <a:gd name="T55" fmla="*/ 2147483647 h 820"/>
                <a:gd name="T56" fmla="*/ 2147483647 w 1079"/>
                <a:gd name="T57" fmla="*/ 2147483647 h 820"/>
                <a:gd name="T58" fmla="*/ 2147483647 w 1079"/>
                <a:gd name="T59" fmla="*/ 2147483647 h 820"/>
                <a:gd name="T60" fmla="*/ 2147483647 w 1079"/>
                <a:gd name="T61" fmla="*/ 2147483647 h 820"/>
                <a:gd name="T62" fmla="*/ 2147483647 w 1079"/>
                <a:gd name="T63" fmla="*/ 2147483647 h 820"/>
                <a:gd name="T64" fmla="*/ 2147483647 w 1079"/>
                <a:gd name="T65" fmla="*/ 2147483647 h 820"/>
                <a:gd name="T66" fmla="*/ 2147483647 w 1079"/>
                <a:gd name="T67" fmla="*/ 2147483647 h 820"/>
                <a:gd name="T68" fmla="*/ 2147483647 w 1079"/>
                <a:gd name="T69" fmla="*/ 2147483647 h 820"/>
                <a:gd name="T70" fmla="*/ 2147483647 w 1079"/>
                <a:gd name="T71" fmla="*/ 2147483647 h 820"/>
                <a:gd name="T72" fmla="*/ 2147483647 w 1079"/>
                <a:gd name="T73" fmla="*/ 2147483647 h 820"/>
                <a:gd name="T74" fmla="*/ 2147483647 w 1079"/>
                <a:gd name="T75" fmla="*/ 2147483647 h 820"/>
                <a:gd name="T76" fmla="*/ 2147483647 w 1079"/>
                <a:gd name="T77" fmla="*/ 2147483647 h 820"/>
                <a:gd name="T78" fmla="*/ 2147483647 w 1079"/>
                <a:gd name="T79" fmla="*/ 2147483647 h 820"/>
                <a:gd name="T80" fmla="*/ 2147483647 w 1079"/>
                <a:gd name="T81" fmla="*/ 2147483647 h 820"/>
                <a:gd name="T82" fmla="*/ 2147483647 w 1079"/>
                <a:gd name="T83" fmla="*/ 2147483647 h 820"/>
                <a:gd name="T84" fmla="*/ 2147483647 w 1079"/>
                <a:gd name="T85" fmla="*/ 2147483647 h 820"/>
                <a:gd name="T86" fmla="*/ 2147483647 w 1079"/>
                <a:gd name="T87" fmla="*/ 2147483647 h 820"/>
                <a:gd name="T88" fmla="*/ 2147483647 w 1079"/>
                <a:gd name="T89" fmla="*/ 2147483647 h 820"/>
                <a:gd name="T90" fmla="*/ 2147483647 w 1079"/>
                <a:gd name="T91" fmla="*/ 2147483647 h 820"/>
                <a:gd name="T92" fmla="*/ 2147483647 w 1079"/>
                <a:gd name="T93" fmla="*/ 2147483647 h 820"/>
                <a:gd name="T94" fmla="*/ 2147483647 w 1079"/>
                <a:gd name="T95" fmla="*/ 2147483647 h 820"/>
                <a:gd name="T96" fmla="*/ 2147483647 w 1079"/>
                <a:gd name="T97" fmla="*/ 2147483647 h 820"/>
                <a:gd name="T98" fmla="*/ 2147483647 w 1079"/>
                <a:gd name="T99" fmla="*/ 2147483647 h 820"/>
                <a:gd name="T100" fmla="*/ 2147483647 w 1079"/>
                <a:gd name="T101" fmla="*/ 0 h 820"/>
                <a:gd name="T102" fmla="*/ 2147483647 w 1079"/>
                <a:gd name="T103" fmla="*/ 0 h 820"/>
                <a:gd name="T104" fmla="*/ 2147483647 w 1079"/>
                <a:gd name="T105" fmla="*/ 0 h 820"/>
                <a:gd name="T106" fmla="*/ 2147483647 w 1079"/>
                <a:gd name="T107" fmla="*/ 0 h 820"/>
                <a:gd name="T108" fmla="*/ 2147483647 w 1079"/>
                <a:gd name="T109" fmla="*/ 0 h 820"/>
                <a:gd name="T110" fmla="*/ 2147483647 w 1079"/>
                <a:gd name="T111" fmla="*/ 0 h 8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79"/>
                <a:gd name="T169" fmla="*/ 0 h 820"/>
                <a:gd name="T170" fmla="*/ 1079 w 1079"/>
                <a:gd name="T171" fmla="*/ 820 h 8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79" h="820">
                  <a:moveTo>
                    <a:pt x="700" y="0"/>
                  </a:moveTo>
                  <a:lnTo>
                    <a:pt x="737" y="0"/>
                  </a:lnTo>
                  <a:lnTo>
                    <a:pt x="775" y="0"/>
                  </a:lnTo>
                  <a:lnTo>
                    <a:pt x="824" y="0"/>
                  </a:lnTo>
                  <a:lnTo>
                    <a:pt x="824" y="89"/>
                  </a:lnTo>
                  <a:lnTo>
                    <a:pt x="824" y="167"/>
                  </a:lnTo>
                  <a:lnTo>
                    <a:pt x="824" y="243"/>
                  </a:lnTo>
                  <a:lnTo>
                    <a:pt x="824" y="318"/>
                  </a:lnTo>
                  <a:lnTo>
                    <a:pt x="824" y="398"/>
                  </a:lnTo>
                  <a:lnTo>
                    <a:pt x="824" y="489"/>
                  </a:lnTo>
                  <a:lnTo>
                    <a:pt x="835" y="501"/>
                  </a:lnTo>
                  <a:lnTo>
                    <a:pt x="827" y="503"/>
                  </a:lnTo>
                  <a:lnTo>
                    <a:pt x="828" y="509"/>
                  </a:lnTo>
                  <a:lnTo>
                    <a:pt x="839" y="521"/>
                  </a:lnTo>
                  <a:lnTo>
                    <a:pt x="850" y="520"/>
                  </a:lnTo>
                  <a:lnTo>
                    <a:pt x="855" y="533"/>
                  </a:lnTo>
                  <a:lnTo>
                    <a:pt x="866" y="536"/>
                  </a:lnTo>
                  <a:lnTo>
                    <a:pt x="868" y="529"/>
                  </a:lnTo>
                  <a:lnTo>
                    <a:pt x="877" y="537"/>
                  </a:lnTo>
                  <a:lnTo>
                    <a:pt x="883" y="555"/>
                  </a:lnTo>
                  <a:lnTo>
                    <a:pt x="888" y="554"/>
                  </a:lnTo>
                  <a:lnTo>
                    <a:pt x="895" y="565"/>
                  </a:lnTo>
                  <a:lnTo>
                    <a:pt x="900" y="591"/>
                  </a:lnTo>
                  <a:lnTo>
                    <a:pt x="910" y="583"/>
                  </a:lnTo>
                  <a:lnTo>
                    <a:pt x="920" y="589"/>
                  </a:lnTo>
                  <a:lnTo>
                    <a:pt x="916" y="597"/>
                  </a:lnTo>
                  <a:lnTo>
                    <a:pt x="920" y="603"/>
                  </a:lnTo>
                  <a:lnTo>
                    <a:pt x="927" y="607"/>
                  </a:lnTo>
                  <a:lnTo>
                    <a:pt x="939" y="604"/>
                  </a:lnTo>
                  <a:lnTo>
                    <a:pt x="955" y="636"/>
                  </a:lnTo>
                  <a:lnTo>
                    <a:pt x="967" y="631"/>
                  </a:lnTo>
                  <a:lnTo>
                    <a:pt x="982" y="655"/>
                  </a:lnTo>
                  <a:lnTo>
                    <a:pt x="984" y="664"/>
                  </a:lnTo>
                  <a:lnTo>
                    <a:pt x="1012" y="688"/>
                  </a:lnTo>
                  <a:lnTo>
                    <a:pt x="1011" y="696"/>
                  </a:lnTo>
                  <a:lnTo>
                    <a:pt x="1024" y="704"/>
                  </a:lnTo>
                  <a:lnTo>
                    <a:pt x="1029" y="716"/>
                  </a:lnTo>
                  <a:lnTo>
                    <a:pt x="1038" y="715"/>
                  </a:lnTo>
                  <a:lnTo>
                    <a:pt x="1048" y="729"/>
                  </a:lnTo>
                  <a:lnTo>
                    <a:pt x="1053" y="748"/>
                  </a:lnTo>
                  <a:lnTo>
                    <a:pt x="1054" y="771"/>
                  </a:lnTo>
                  <a:lnTo>
                    <a:pt x="1049" y="781"/>
                  </a:lnTo>
                  <a:lnTo>
                    <a:pt x="1056" y="783"/>
                  </a:lnTo>
                  <a:lnTo>
                    <a:pt x="1056" y="793"/>
                  </a:lnTo>
                  <a:lnTo>
                    <a:pt x="1079" y="820"/>
                  </a:lnTo>
                  <a:lnTo>
                    <a:pt x="1034" y="820"/>
                  </a:lnTo>
                  <a:lnTo>
                    <a:pt x="993" y="820"/>
                  </a:lnTo>
                  <a:lnTo>
                    <a:pt x="952" y="820"/>
                  </a:lnTo>
                  <a:lnTo>
                    <a:pt x="900" y="820"/>
                  </a:lnTo>
                  <a:lnTo>
                    <a:pt x="842" y="820"/>
                  </a:lnTo>
                  <a:lnTo>
                    <a:pt x="787" y="820"/>
                  </a:lnTo>
                  <a:lnTo>
                    <a:pt x="755" y="820"/>
                  </a:lnTo>
                  <a:lnTo>
                    <a:pt x="705" y="820"/>
                  </a:lnTo>
                  <a:lnTo>
                    <a:pt x="696" y="814"/>
                  </a:lnTo>
                  <a:lnTo>
                    <a:pt x="696" y="809"/>
                  </a:lnTo>
                  <a:lnTo>
                    <a:pt x="713" y="807"/>
                  </a:lnTo>
                  <a:lnTo>
                    <a:pt x="712" y="803"/>
                  </a:lnTo>
                  <a:lnTo>
                    <a:pt x="689" y="801"/>
                  </a:lnTo>
                  <a:lnTo>
                    <a:pt x="689" y="773"/>
                  </a:lnTo>
                  <a:lnTo>
                    <a:pt x="685" y="771"/>
                  </a:lnTo>
                  <a:lnTo>
                    <a:pt x="673" y="790"/>
                  </a:lnTo>
                  <a:lnTo>
                    <a:pt x="668" y="789"/>
                  </a:lnTo>
                  <a:lnTo>
                    <a:pt x="669" y="773"/>
                  </a:lnTo>
                  <a:lnTo>
                    <a:pt x="663" y="773"/>
                  </a:lnTo>
                  <a:lnTo>
                    <a:pt x="654" y="750"/>
                  </a:lnTo>
                  <a:lnTo>
                    <a:pt x="654" y="762"/>
                  </a:lnTo>
                  <a:lnTo>
                    <a:pt x="650" y="755"/>
                  </a:lnTo>
                  <a:lnTo>
                    <a:pt x="644" y="765"/>
                  </a:lnTo>
                  <a:lnTo>
                    <a:pt x="635" y="765"/>
                  </a:lnTo>
                  <a:lnTo>
                    <a:pt x="620" y="750"/>
                  </a:lnTo>
                  <a:lnTo>
                    <a:pt x="619" y="747"/>
                  </a:lnTo>
                  <a:lnTo>
                    <a:pt x="626" y="739"/>
                  </a:lnTo>
                  <a:lnTo>
                    <a:pt x="625" y="724"/>
                  </a:lnTo>
                  <a:lnTo>
                    <a:pt x="613" y="727"/>
                  </a:lnTo>
                  <a:lnTo>
                    <a:pt x="609" y="716"/>
                  </a:lnTo>
                  <a:lnTo>
                    <a:pt x="597" y="721"/>
                  </a:lnTo>
                  <a:lnTo>
                    <a:pt x="581" y="715"/>
                  </a:lnTo>
                  <a:lnTo>
                    <a:pt x="576" y="721"/>
                  </a:lnTo>
                  <a:lnTo>
                    <a:pt x="550" y="717"/>
                  </a:lnTo>
                  <a:lnTo>
                    <a:pt x="547" y="714"/>
                  </a:lnTo>
                  <a:lnTo>
                    <a:pt x="569" y="706"/>
                  </a:lnTo>
                  <a:lnTo>
                    <a:pt x="560" y="705"/>
                  </a:lnTo>
                  <a:lnTo>
                    <a:pt x="562" y="698"/>
                  </a:lnTo>
                  <a:lnTo>
                    <a:pt x="550" y="694"/>
                  </a:lnTo>
                  <a:lnTo>
                    <a:pt x="559" y="691"/>
                  </a:lnTo>
                  <a:lnTo>
                    <a:pt x="555" y="687"/>
                  </a:lnTo>
                  <a:lnTo>
                    <a:pt x="543" y="684"/>
                  </a:lnTo>
                  <a:lnTo>
                    <a:pt x="537" y="690"/>
                  </a:lnTo>
                  <a:lnTo>
                    <a:pt x="520" y="685"/>
                  </a:lnTo>
                  <a:lnTo>
                    <a:pt x="521" y="692"/>
                  </a:lnTo>
                  <a:lnTo>
                    <a:pt x="517" y="693"/>
                  </a:lnTo>
                  <a:lnTo>
                    <a:pt x="494" y="676"/>
                  </a:lnTo>
                  <a:lnTo>
                    <a:pt x="492" y="667"/>
                  </a:lnTo>
                  <a:lnTo>
                    <a:pt x="506" y="663"/>
                  </a:lnTo>
                  <a:lnTo>
                    <a:pt x="492" y="660"/>
                  </a:lnTo>
                  <a:lnTo>
                    <a:pt x="493" y="656"/>
                  </a:lnTo>
                  <a:lnTo>
                    <a:pt x="512" y="652"/>
                  </a:lnTo>
                  <a:lnTo>
                    <a:pt x="504" y="649"/>
                  </a:lnTo>
                  <a:lnTo>
                    <a:pt x="508" y="640"/>
                  </a:lnTo>
                  <a:lnTo>
                    <a:pt x="503" y="633"/>
                  </a:lnTo>
                  <a:lnTo>
                    <a:pt x="495" y="643"/>
                  </a:lnTo>
                  <a:lnTo>
                    <a:pt x="489" y="643"/>
                  </a:lnTo>
                  <a:lnTo>
                    <a:pt x="489" y="618"/>
                  </a:lnTo>
                  <a:lnTo>
                    <a:pt x="486" y="614"/>
                  </a:lnTo>
                  <a:lnTo>
                    <a:pt x="488" y="601"/>
                  </a:lnTo>
                  <a:lnTo>
                    <a:pt x="483" y="585"/>
                  </a:lnTo>
                  <a:lnTo>
                    <a:pt x="467" y="591"/>
                  </a:lnTo>
                  <a:lnTo>
                    <a:pt x="468" y="578"/>
                  </a:lnTo>
                  <a:lnTo>
                    <a:pt x="448" y="579"/>
                  </a:lnTo>
                  <a:lnTo>
                    <a:pt x="444" y="566"/>
                  </a:lnTo>
                  <a:lnTo>
                    <a:pt x="431" y="546"/>
                  </a:lnTo>
                  <a:lnTo>
                    <a:pt x="436" y="533"/>
                  </a:lnTo>
                  <a:lnTo>
                    <a:pt x="435" y="513"/>
                  </a:lnTo>
                  <a:lnTo>
                    <a:pt x="425" y="515"/>
                  </a:lnTo>
                  <a:lnTo>
                    <a:pt x="391" y="478"/>
                  </a:lnTo>
                  <a:lnTo>
                    <a:pt x="391" y="468"/>
                  </a:lnTo>
                  <a:lnTo>
                    <a:pt x="398" y="462"/>
                  </a:lnTo>
                  <a:lnTo>
                    <a:pt x="397" y="458"/>
                  </a:lnTo>
                  <a:lnTo>
                    <a:pt x="383" y="457"/>
                  </a:lnTo>
                  <a:lnTo>
                    <a:pt x="375" y="445"/>
                  </a:lnTo>
                  <a:lnTo>
                    <a:pt x="375" y="434"/>
                  </a:lnTo>
                  <a:lnTo>
                    <a:pt x="380" y="424"/>
                  </a:lnTo>
                  <a:lnTo>
                    <a:pt x="390" y="424"/>
                  </a:lnTo>
                  <a:lnTo>
                    <a:pt x="387" y="416"/>
                  </a:lnTo>
                  <a:lnTo>
                    <a:pt x="393" y="405"/>
                  </a:lnTo>
                  <a:lnTo>
                    <a:pt x="389" y="396"/>
                  </a:lnTo>
                  <a:lnTo>
                    <a:pt x="393" y="388"/>
                  </a:lnTo>
                  <a:lnTo>
                    <a:pt x="394" y="383"/>
                  </a:lnTo>
                  <a:lnTo>
                    <a:pt x="390" y="346"/>
                  </a:lnTo>
                  <a:lnTo>
                    <a:pt x="394" y="328"/>
                  </a:lnTo>
                  <a:lnTo>
                    <a:pt x="392" y="323"/>
                  </a:lnTo>
                  <a:lnTo>
                    <a:pt x="351" y="295"/>
                  </a:lnTo>
                  <a:lnTo>
                    <a:pt x="323" y="287"/>
                  </a:lnTo>
                  <a:lnTo>
                    <a:pt x="310" y="277"/>
                  </a:lnTo>
                  <a:lnTo>
                    <a:pt x="300" y="248"/>
                  </a:lnTo>
                  <a:lnTo>
                    <a:pt x="292" y="241"/>
                  </a:lnTo>
                  <a:lnTo>
                    <a:pt x="292" y="231"/>
                  </a:lnTo>
                  <a:lnTo>
                    <a:pt x="229" y="113"/>
                  </a:lnTo>
                  <a:lnTo>
                    <a:pt x="203" y="97"/>
                  </a:lnTo>
                  <a:lnTo>
                    <a:pt x="197" y="77"/>
                  </a:lnTo>
                  <a:lnTo>
                    <a:pt x="159" y="19"/>
                  </a:lnTo>
                  <a:lnTo>
                    <a:pt x="121" y="37"/>
                  </a:lnTo>
                  <a:lnTo>
                    <a:pt x="105" y="73"/>
                  </a:lnTo>
                  <a:lnTo>
                    <a:pt x="69" y="91"/>
                  </a:lnTo>
                  <a:lnTo>
                    <a:pt x="57" y="64"/>
                  </a:lnTo>
                  <a:lnTo>
                    <a:pt x="44" y="54"/>
                  </a:lnTo>
                  <a:lnTo>
                    <a:pt x="56" y="38"/>
                  </a:lnTo>
                  <a:lnTo>
                    <a:pt x="43" y="31"/>
                  </a:lnTo>
                  <a:lnTo>
                    <a:pt x="52" y="40"/>
                  </a:lnTo>
                  <a:lnTo>
                    <a:pt x="39" y="47"/>
                  </a:lnTo>
                  <a:lnTo>
                    <a:pt x="0" y="0"/>
                  </a:lnTo>
                  <a:lnTo>
                    <a:pt x="1" y="0"/>
                  </a:lnTo>
                  <a:lnTo>
                    <a:pt x="41" y="0"/>
                  </a:lnTo>
                  <a:lnTo>
                    <a:pt x="82" y="0"/>
                  </a:lnTo>
                  <a:lnTo>
                    <a:pt x="120" y="0"/>
                  </a:lnTo>
                  <a:lnTo>
                    <a:pt x="157" y="0"/>
                  </a:lnTo>
                  <a:lnTo>
                    <a:pt x="195" y="0"/>
                  </a:lnTo>
                  <a:lnTo>
                    <a:pt x="237" y="0"/>
                  </a:lnTo>
                  <a:lnTo>
                    <a:pt x="277" y="0"/>
                  </a:lnTo>
                  <a:lnTo>
                    <a:pt x="319" y="0"/>
                  </a:lnTo>
                  <a:lnTo>
                    <a:pt x="358" y="0"/>
                  </a:lnTo>
                  <a:lnTo>
                    <a:pt x="393" y="0"/>
                  </a:lnTo>
                  <a:lnTo>
                    <a:pt x="433" y="0"/>
                  </a:lnTo>
                  <a:lnTo>
                    <a:pt x="476" y="0"/>
                  </a:lnTo>
                  <a:lnTo>
                    <a:pt x="515" y="0"/>
                  </a:lnTo>
                  <a:lnTo>
                    <a:pt x="557" y="0"/>
                  </a:lnTo>
                  <a:lnTo>
                    <a:pt x="595" y="0"/>
                  </a:lnTo>
                  <a:lnTo>
                    <a:pt x="631" y="0"/>
                  </a:lnTo>
                  <a:lnTo>
                    <a:pt x="658" y="0"/>
                  </a:lnTo>
                  <a:lnTo>
                    <a:pt x="700" y="0"/>
                  </a:lnTo>
                  <a:close/>
                </a:path>
              </a:pathLst>
            </a:custGeom>
            <a:grpFill/>
            <a:ln w="6350">
              <a:solidFill>
                <a:schemeClr val="tx2"/>
              </a:solidFill>
              <a:round/>
              <a:headEnd/>
              <a:tailEnd/>
            </a:ln>
          </p:spPr>
          <p:txBody>
            <a:bodyPr/>
            <a:lstStyle/>
            <a:p>
              <a:endParaRPr lang="en-US"/>
            </a:p>
          </p:txBody>
        </p:sp>
        <p:sp>
          <p:nvSpPr>
            <p:cNvPr id="192" name="Freeform 1092"/>
            <p:cNvSpPr>
              <a:spLocks/>
            </p:cNvSpPr>
            <p:nvPr/>
          </p:nvSpPr>
          <p:spPr bwMode="auto">
            <a:xfrm>
              <a:off x="1884484" y="3797534"/>
              <a:ext cx="130472" cy="145642"/>
            </a:xfrm>
            <a:custGeom>
              <a:avLst/>
              <a:gdLst>
                <a:gd name="T0" fmla="*/ 2147483647 w 261"/>
                <a:gd name="T1" fmla="*/ 2147483647 h 293"/>
                <a:gd name="T2" fmla="*/ 2147483647 w 261"/>
                <a:gd name="T3" fmla="*/ 2147483647 h 293"/>
                <a:gd name="T4" fmla="*/ 2147483647 w 261"/>
                <a:gd name="T5" fmla="*/ 2147483647 h 293"/>
                <a:gd name="T6" fmla="*/ 2147483647 w 261"/>
                <a:gd name="T7" fmla="*/ 2147483647 h 293"/>
                <a:gd name="T8" fmla="*/ 2147483647 w 261"/>
                <a:gd name="T9" fmla="*/ 2147483647 h 293"/>
                <a:gd name="T10" fmla="*/ 2147483647 w 261"/>
                <a:gd name="T11" fmla="*/ 2147483647 h 293"/>
                <a:gd name="T12" fmla="*/ 2147483647 w 261"/>
                <a:gd name="T13" fmla="*/ 2147483647 h 293"/>
                <a:gd name="T14" fmla="*/ 2147483647 w 261"/>
                <a:gd name="T15" fmla="*/ 2147483647 h 293"/>
                <a:gd name="T16" fmla="*/ 2147483647 w 261"/>
                <a:gd name="T17" fmla="*/ 0 h 293"/>
                <a:gd name="T18" fmla="*/ 2147483647 w 261"/>
                <a:gd name="T19" fmla="*/ 0 h 293"/>
                <a:gd name="T20" fmla="*/ 2147483647 w 261"/>
                <a:gd name="T21" fmla="*/ 0 h 293"/>
                <a:gd name="T22" fmla="*/ 2147483647 w 261"/>
                <a:gd name="T23" fmla="*/ 0 h 293"/>
                <a:gd name="T24" fmla="*/ 0 w 261"/>
                <a:gd name="T25" fmla="*/ 0 h 293"/>
                <a:gd name="T26" fmla="*/ 0 w 261"/>
                <a:gd name="T27" fmla="*/ 2147483647 h 293"/>
                <a:gd name="T28" fmla="*/ 0 w 261"/>
                <a:gd name="T29" fmla="*/ 2147483647 h 293"/>
                <a:gd name="T30" fmla="*/ 0 w 261"/>
                <a:gd name="T31" fmla="*/ 2147483647 h 293"/>
                <a:gd name="T32" fmla="*/ 0 w 261"/>
                <a:gd name="T33" fmla="*/ 2147483647 h 293"/>
                <a:gd name="T34" fmla="*/ 2147483647 w 261"/>
                <a:gd name="T35" fmla="*/ 2147483647 h 293"/>
                <a:gd name="T36" fmla="*/ 2147483647 w 261"/>
                <a:gd name="T37" fmla="*/ 2147483647 h 293"/>
                <a:gd name="T38" fmla="*/ 2147483647 w 261"/>
                <a:gd name="T39" fmla="*/ 2147483647 h 293"/>
                <a:gd name="T40" fmla="*/ 2147483647 w 261"/>
                <a:gd name="T41" fmla="*/ 2147483647 h 293"/>
                <a:gd name="T42" fmla="*/ 2147483647 w 261"/>
                <a:gd name="T43" fmla="*/ 2147483647 h 293"/>
                <a:gd name="T44" fmla="*/ 2147483647 w 261"/>
                <a:gd name="T45" fmla="*/ 2147483647 h 29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1"/>
                <a:gd name="T70" fmla="*/ 0 h 293"/>
                <a:gd name="T71" fmla="*/ 261 w 261"/>
                <a:gd name="T72" fmla="*/ 293 h 29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1" h="293">
                  <a:moveTo>
                    <a:pt x="156" y="260"/>
                  </a:moveTo>
                  <a:lnTo>
                    <a:pt x="218" y="260"/>
                  </a:lnTo>
                  <a:lnTo>
                    <a:pt x="259" y="260"/>
                  </a:lnTo>
                  <a:lnTo>
                    <a:pt x="259" y="202"/>
                  </a:lnTo>
                  <a:lnTo>
                    <a:pt x="259" y="146"/>
                  </a:lnTo>
                  <a:lnTo>
                    <a:pt x="259" y="80"/>
                  </a:lnTo>
                  <a:lnTo>
                    <a:pt x="259" y="27"/>
                  </a:lnTo>
                  <a:lnTo>
                    <a:pt x="261" y="27"/>
                  </a:lnTo>
                  <a:lnTo>
                    <a:pt x="261" y="0"/>
                  </a:lnTo>
                  <a:lnTo>
                    <a:pt x="188" y="0"/>
                  </a:lnTo>
                  <a:lnTo>
                    <a:pt x="114" y="0"/>
                  </a:lnTo>
                  <a:lnTo>
                    <a:pt x="52" y="0"/>
                  </a:lnTo>
                  <a:lnTo>
                    <a:pt x="0" y="0"/>
                  </a:lnTo>
                  <a:lnTo>
                    <a:pt x="0" y="78"/>
                  </a:lnTo>
                  <a:lnTo>
                    <a:pt x="0" y="155"/>
                  </a:lnTo>
                  <a:lnTo>
                    <a:pt x="0" y="228"/>
                  </a:lnTo>
                  <a:lnTo>
                    <a:pt x="0" y="293"/>
                  </a:lnTo>
                  <a:lnTo>
                    <a:pt x="35" y="293"/>
                  </a:lnTo>
                  <a:lnTo>
                    <a:pt x="35" y="269"/>
                  </a:lnTo>
                  <a:lnTo>
                    <a:pt x="72" y="268"/>
                  </a:lnTo>
                  <a:lnTo>
                    <a:pt x="107" y="268"/>
                  </a:lnTo>
                  <a:lnTo>
                    <a:pt x="104" y="260"/>
                  </a:lnTo>
                  <a:lnTo>
                    <a:pt x="156" y="260"/>
                  </a:lnTo>
                  <a:close/>
                </a:path>
              </a:pathLst>
            </a:custGeom>
            <a:grpFill/>
            <a:ln w="6350">
              <a:solidFill>
                <a:schemeClr val="tx2"/>
              </a:solidFill>
              <a:round/>
              <a:headEnd/>
              <a:tailEnd/>
            </a:ln>
          </p:spPr>
          <p:txBody>
            <a:bodyPr/>
            <a:lstStyle/>
            <a:p>
              <a:endParaRPr lang="en-US"/>
            </a:p>
          </p:txBody>
        </p:sp>
        <p:sp>
          <p:nvSpPr>
            <p:cNvPr id="193" name="Freeform 1093"/>
            <p:cNvSpPr>
              <a:spLocks/>
            </p:cNvSpPr>
            <p:nvPr/>
          </p:nvSpPr>
          <p:spPr bwMode="auto">
            <a:xfrm>
              <a:off x="1761599" y="3797534"/>
              <a:ext cx="121369" cy="145642"/>
            </a:xfrm>
            <a:custGeom>
              <a:avLst/>
              <a:gdLst>
                <a:gd name="T0" fmla="*/ 2147483647 w 246"/>
                <a:gd name="T1" fmla="*/ 0 h 293"/>
                <a:gd name="T2" fmla="*/ 2147483647 w 246"/>
                <a:gd name="T3" fmla="*/ 0 h 293"/>
                <a:gd name="T4" fmla="*/ 2147483647 w 246"/>
                <a:gd name="T5" fmla="*/ 0 h 293"/>
                <a:gd name="T6" fmla="*/ 2147483647 w 246"/>
                <a:gd name="T7" fmla="*/ 0 h 293"/>
                <a:gd name="T8" fmla="*/ 2147483647 w 246"/>
                <a:gd name="T9" fmla="*/ 0 h 293"/>
                <a:gd name="T10" fmla="*/ 2147483647 w 246"/>
                <a:gd name="T11" fmla="*/ 2147483647 h 293"/>
                <a:gd name="T12" fmla="*/ 2147483647 w 246"/>
                <a:gd name="T13" fmla="*/ 2147483647 h 293"/>
                <a:gd name="T14" fmla="*/ 2147483647 w 246"/>
                <a:gd name="T15" fmla="*/ 2147483647 h 293"/>
                <a:gd name="T16" fmla="*/ 2147483647 w 246"/>
                <a:gd name="T17" fmla="*/ 2147483647 h 293"/>
                <a:gd name="T18" fmla="*/ 2147483647 w 246"/>
                <a:gd name="T19" fmla="*/ 2147483647 h 293"/>
                <a:gd name="T20" fmla="*/ 2147483647 w 246"/>
                <a:gd name="T21" fmla="*/ 2147483647 h 293"/>
                <a:gd name="T22" fmla="*/ 2147483647 w 246"/>
                <a:gd name="T23" fmla="*/ 2147483647 h 293"/>
                <a:gd name="T24" fmla="*/ 2147483647 w 246"/>
                <a:gd name="T25" fmla="*/ 2147483647 h 293"/>
                <a:gd name="T26" fmla="*/ 2147483647 w 246"/>
                <a:gd name="T27" fmla="*/ 2147483647 h 293"/>
                <a:gd name="T28" fmla="*/ 0 w 246"/>
                <a:gd name="T29" fmla="*/ 2147483647 h 293"/>
                <a:gd name="T30" fmla="*/ 2147483647 w 246"/>
                <a:gd name="T31" fmla="*/ 2147483647 h 293"/>
                <a:gd name="T32" fmla="*/ 2147483647 w 246"/>
                <a:gd name="T33" fmla="*/ 2147483647 h 293"/>
                <a:gd name="T34" fmla="*/ 2147483647 w 246"/>
                <a:gd name="T35" fmla="*/ 2147483647 h 293"/>
                <a:gd name="T36" fmla="*/ 2147483647 w 246"/>
                <a:gd name="T37" fmla="*/ 2147483647 h 293"/>
                <a:gd name="T38" fmla="*/ 2147483647 w 246"/>
                <a:gd name="T39" fmla="*/ 2147483647 h 293"/>
                <a:gd name="T40" fmla="*/ 2147483647 w 246"/>
                <a:gd name="T41" fmla="*/ 2147483647 h 293"/>
                <a:gd name="T42" fmla="*/ 2147483647 w 246"/>
                <a:gd name="T43" fmla="*/ 2147483647 h 293"/>
                <a:gd name="T44" fmla="*/ 2147483647 w 246"/>
                <a:gd name="T45" fmla="*/ 2147483647 h 293"/>
                <a:gd name="T46" fmla="*/ 2147483647 w 246"/>
                <a:gd name="T47" fmla="*/ 2147483647 h 293"/>
                <a:gd name="T48" fmla="*/ 2147483647 w 246"/>
                <a:gd name="T49" fmla="*/ 2147483647 h 293"/>
                <a:gd name="T50" fmla="*/ 2147483647 w 246"/>
                <a:gd name="T51" fmla="*/ 2147483647 h 293"/>
                <a:gd name="T52" fmla="*/ 2147483647 w 246"/>
                <a:gd name="T53" fmla="*/ 2147483647 h 293"/>
                <a:gd name="T54" fmla="*/ 2147483647 w 246"/>
                <a:gd name="T55" fmla="*/ 2147483647 h 293"/>
                <a:gd name="T56" fmla="*/ 2147483647 w 246"/>
                <a:gd name="T57" fmla="*/ 2147483647 h 293"/>
                <a:gd name="T58" fmla="*/ 2147483647 w 246"/>
                <a:gd name="T59" fmla="*/ 2147483647 h 293"/>
                <a:gd name="T60" fmla="*/ 2147483647 w 246"/>
                <a:gd name="T61" fmla="*/ 2147483647 h 293"/>
                <a:gd name="T62" fmla="*/ 2147483647 w 246"/>
                <a:gd name="T63" fmla="*/ 0 h 293"/>
                <a:gd name="T64" fmla="*/ 2147483647 w 246"/>
                <a:gd name="T65" fmla="*/ 0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6"/>
                <a:gd name="T100" fmla="*/ 0 h 293"/>
                <a:gd name="T101" fmla="*/ 246 w 246"/>
                <a:gd name="T102" fmla="*/ 293 h 2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6" h="293">
                  <a:moveTo>
                    <a:pt x="64" y="0"/>
                  </a:moveTo>
                  <a:lnTo>
                    <a:pt x="109" y="0"/>
                  </a:lnTo>
                  <a:lnTo>
                    <a:pt x="165" y="0"/>
                  </a:lnTo>
                  <a:lnTo>
                    <a:pt x="210" y="0"/>
                  </a:lnTo>
                  <a:lnTo>
                    <a:pt x="246" y="0"/>
                  </a:lnTo>
                  <a:lnTo>
                    <a:pt x="246" y="78"/>
                  </a:lnTo>
                  <a:lnTo>
                    <a:pt x="246" y="155"/>
                  </a:lnTo>
                  <a:lnTo>
                    <a:pt x="246" y="228"/>
                  </a:lnTo>
                  <a:lnTo>
                    <a:pt x="246" y="293"/>
                  </a:lnTo>
                  <a:lnTo>
                    <a:pt x="210" y="293"/>
                  </a:lnTo>
                  <a:lnTo>
                    <a:pt x="164" y="293"/>
                  </a:lnTo>
                  <a:lnTo>
                    <a:pt x="103" y="269"/>
                  </a:lnTo>
                  <a:lnTo>
                    <a:pt x="42" y="247"/>
                  </a:lnTo>
                  <a:lnTo>
                    <a:pt x="1" y="232"/>
                  </a:lnTo>
                  <a:lnTo>
                    <a:pt x="0" y="227"/>
                  </a:lnTo>
                  <a:lnTo>
                    <a:pt x="3" y="223"/>
                  </a:lnTo>
                  <a:lnTo>
                    <a:pt x="10" y="223"/>
                  </a:lnTo>
                  <a:lnTo>
                    <a:pt x="14" y="216"/>
                  </a:lnTo>
                  <a:lnTo>
                    <a:pt x="14" y="210"/>
                  </a:lnTo>
                  <a:lnTo>
                    <a:pt x="3" y="204"/>
                  </a:lnTo>
                  <a:lnTo>
                    <a:pt x="2" y="188"/>
                  </a:lnTo>
                  <a:lnTo>
                    <a:pt x="10" y="180"/>
                  </a:lnTo>
                  <a:lnTo>
                    <a:pt x="12" y="160"/>
                  </a:lnTo>
                  <a:lnTo>
                    <a:pt x="29" y="143"/>
                  </a:lnTo>
                  <a:lnTo>
                    <a:pt x="6" y="112"/>
                  </a:lnTo>
                  <a:lnTo>
                    <a:pt x="6" y="106"/>
                  </a:lnTo>
                  <a:lnTo>
                    <a:pt x="8" y="89"/>
                  </a:lnTo>
                  <a:lnTo>
                    <a:pt x="2" y="56"/>
                  </a:lnTo>
                  <a:lnTo>
                    <a:pt x="9" y="45"/>
                  </a:lnTo>
                  <a:lnTo>
                    <a:pt x="29" y="50"/>
                  </a:lnTo>
                  <a:lnTo>
                    <a:pt x="32" y="43"/>
                  </a:lnTo>
                  <a:lnTo>
                    <a:pt x="32" y="0"/>
                  </a:lnTo>
                  <a:lnTo>
                    <a:pt x="64" y="0"/>
                  </a:lnTo>
                  <a:close/>
                </a:path>
              </a:pathLst>
            </a:custGeom>
            <a:grpFill/>
            <a:ln w="6350">
              <a:solidFill>
                <a:schemeClr val="tx2"/>
              </a:solidFill>
              <a:round/>
              <a:headEnd/>
              <a:tailEnd/>
            </a:ln>
          </p:spPr>
          <p:txBody>
            <a:bodyPr/>
            <a:lstStyle/>
            <a:p>
              <a:endParaRPr lang="en-US"/>
            </a:p>
          </p:txBody>
        </p:sp>
        <p:sp>
          <p:nvSpPr>
            <p:cNvPr id="194" name="Freeform 1094"/>
            <p:cNvSpPr>
              <a:spLocks/>
            </p:cNvSpPr>
            <p:nvPr/>
          </p:nvSpPr>
          <p:spPr bwMode="auto">
            <a:xfrm>
              <a:off x="1713051" y="3911318"/>
              <a:ext cx="646290" cy="421758"/>
            </a:xfrm>
            <a:custGeom>
              <a:avLst/>
              <a:gdLst>
                <a:gd name="T0" fmla="*/ 2147483647 w 1301"/>
                <a:gd name="T1" fmla="*/ 2147483647 h 849"/>
                <a:gd name="T2" fmla="*/ 2147483647 w 1301"/>
                <a:gd name="T3" fmla="*/ 2147483647 h 849"/>
                <a:gd name="T4" fmla="*/ 2147483647 w 1301"/>
                <a:gd name="T5" fmla="*/ 2147483647 h 849"/>
                <a:gd name="T6" fmla="*/ 2147483647 w 1301"/>
                <a:gd name="T7" fmla="*/ 2147483647 h 849"/>
                <a:gd name="T8" fmla="*/ 2147483647 w 1301"/>
                <a:gd name="T9" fmla="*/ 2147483647 h 849"/>
                <a:gd name="T10" fmla="*/ 2147483647 w 1301"/>
                <a:gd name="T11" fmla="*/ 2147483647 h 849"/>
                <a:gd name="T12" fmla="*/ 2147483647 w 1301"/>
                <a:gd name="T13" fmla="*/ 2147483647 h 849"/>
                <a:gd name="T14" fmla="*/ 2147483647 w 1301"/>
                <a:gd name="T15" fmla="*/ 2147483647 h 849"/>
                <a:gd name="T16" fmla="*/ 2147483647 w 1301"/>
                <a:gd name="T17" fmla="*/ 2147483647 h 849"/>
                <a:gd name="T18" fmla="*/ 2147483647 w 1301"/>
                <a:gd name="T19" fmla="*/ 2147483647 h 849"/>
                <a:gd name="T20" fmla="*/ 2147483647 w 1301"/>
                <a:gd name="T21" fmla="*/ 2147483647 h 849"/>
                <a:gd name="T22" fmla="*/ 2147483647 w 1301"/>
                <a:gd name="T23" fmla="*/ 2147483647 h 849"/>
                <a:gd name="T24" fmla="*/ 2147483647 w 1301"/>
                <a:gd name="T25" fmla="*/ 2147483647 h 849"/>
                <a:gd name="T26" fmla="*/ 2147483647 w 1301"/>
                <a:gd name="T27" fmla="*/ 2147483647 h 849"/>
                <a:gd name="T28" fmla="*/ 2147483647 w 1301"/>
                <a:gd name="T29" fmla="*/ 2147483647 h 849"/>
                <a:gd name="T30" fmla="*/ 2147483647 w 1301"/>
                <a:gd name="T31" fmla="*/ 2147483647 h 849"/>
                <a:gd name="T32" fmla="*/ 2147483647 w 1301"/>
                <a:gd name="T33" fmla="*/ 2147483647 h 849"/>
                <a:gd name="T34" fmla="*/ 2147483647 w 1301"/>
                <a:gd name="T35" fmla="*/ 2147483647 h 849"/>
                <a:gd name="T36" fmla="*/ 2147483647 w 1301"/>
                <a:gd name="T37" fmla="*/ 2147483647 h 849"/>
                <a:gd name="T38" fmla="*/ 2147483647 w 1301"/>
                <a:gd name="T39" fmla="*/ 2147483647 h 849"/>
                <a:gd name="T40" fmla="*/ 2147483647 w 1301"/>
                <a:gd name="T41" fmla="*/ 2147483647 h 849"/>
                <a:gd name="T42" fmla="*/ 2147483647 w 1301"/>
                <a:gd name="T43" fmla="*/ 2147483647 h 849"/>
                <a:gd name="T44" fmla="*/ 2147483647 w 1301"/>
                <a:gd name="T45" fmla="*/ 2147483647 h 849"/>
                <a:gd name="T46" fmla="*/ 2147483647 w 1301"/>
                <a:gd name="T47" fmla="*/ 2147483647 h 849"/>
                <a:gd name="T48" fmla="*/ 2147483647 w 1301"/>
                <a:gd name="T49" fmla="*/ 2147483647 h 849"/>
                <a:gd name="T50" fmla="*/ 2147483647 w 1301"/>
                <a:gd name="T51" fmla="*/ 2147483647 h 849"/>
                <a:gd name="T52" fmla="*/ 2147483647 w 1301"/>
                <a:gd name="T53" fmla="*/ 2147483647 h 849"/>
                <a:gd name="T54" fmla="*/ 2147483647 w 1301"/>
                <a:gd name="T55" fmla="*/ 2147483647 h 849"/>
                <a:gd name="T56" fmla="*/ 2147483647 w 1301"/>
                <a:gd name="T57" fmla="*/ 2147483647 h 849"/>
                <a:gd name="T58" fmla="*/ 2147483647 w 1301"/>
                <a:gd name="T59" fmla="*/ 2147483647 h 849"/>
                <a:gd name="T60" fmla="*/ 2147483647 w 1301"/>
                <a:gd name="T61" fmla="*/ 2147483647 h 849"/>
                <a:gd name="T62" fmla="*/ 2147483647 w 1301"/>
                <a:gd name="T63" fmla="*/ 2147483647 h 849"/>
                <a:gd name="T64" fmla="*/ 2147483647 w 1301"/>
                <a:gd name="T65" fmla="*/ 2147483647 h 849"/>
                <a:gd name="T66" fmla="*/ 2147483647 w 1301"/>
                <a:gd name="T67" fmla="*/ 2147483647 h 849"/>
                <a:gd name="T68" fmla="*/ 2147483647 w 1301"/>
                <a:gd name="T69" fmla="*/ 2147483647 h 849"/>
                <a:gd name="T70" fmla="*/ 2147483647 w 1301"/>
                <a:gd name="T71" fmla="*/ 2147483647 h 849"/>
                <a:gd name="T72" fmla="*/ 2147483647 w 1301"/>
                <a:gd name="T73" fmla="*/ 2147483647 h 849"/>
                <a:gd name="T74" fmla="*/ 2147483647 w 1301"/>
                <a:gd name="T75" fmla="*/ 2147483647 h 849"/>
                <a:gd name="T76" fmla="*/ 2147483647 w 1301"/>
                <a:gd name="T77" fmla="*/ 2147483647 h 849"/>
                <a:gd name="T78" fmla="*/ 2147483647 w 1301"/>
                <a:gd name="T79" fmla="*/ 2147483647 h 849"/>
                <a:gd name="T80" fmla="*/ 2147483647 w 1301"/>
                <a:gd name="T81" fmla="*/ 2147483647 h 849"/>
                <a:gd name="T82" fmla="*/ 2147483647 w 1301"/>
                <a:gd name="T83" fmla="*/ 2147483647 h 849"/>
                <a:gd name="T84" fmla="*/ 2147483647 w 1301"/>
                <a:gd name="T85" fmla="*/ 2147483647 h 849"/>
                <a:gd name="T86" fmla="*/ 2147483647 w 1301"/>
                <a:gd name="T87" fmla="*/ 2147483647 h 849"/>
                <a:gd name="T88" fmla="*/ 2147483647 w 1301"/>
                <a:gd name="T89" fmla="*/ 2147483647 h 849"/>
                <a:gd name="T90" fmla="*/ 2147483647 w 1301"/>
                <a:gd name="T91" fmla="*/ 2147483647 h 849"/>
                <a:gd name="T92" fmla="*/ 2147483647 w 1301"/>
                <a:gd name="T93" fmla="*/ 2147483647 h 849"/>
                <a:gd name="T94" fmla="*/ 2147483647 w 1301"/>
                <a:gd name="T95" fmla="*/ 2147483647 h 849"/>
                <a:gd name="T96" fmla="*/ 2147483647 w 1301"/>
                <a:gd name="T97" fmla="*/ 2147483647 h 849"/>
                <a:gd name="T98" fmla="*/ 2147483647 w 1301"/>
                <a:gd name="T99" fmla="*/ 2147483647 h 849"/>
                <a:gd name="T100" fmla="*/ 2147483647 w 1301"/>
                <a:gd name="T101" fmla="*/ 2147483647 h 849"/>
                <a:gd name="T102" fmla="*/ 2147483647 w 1301"/>
                <a:gd name="T103" fmla="*/ 2147483647 h 849"/>
                <a:gd name="T104" fmla="*/ 2147483647 w 1301"/>
                <a:gd name="T105" fmla="*/ 2147483647 h 849"/>
                <a:gd name="T106" fmla="*/ 2147483647 w 1301"/>
                <a:gd name="T107" fmla="*/ 2147483647 h 849"/>
                <a:gd name="T108" fmla="*/ 2147483647 w 1301"/>
                <a:gd name="T109" fmla="*/ 2147483647 h 849"/>
                <a:gd name="T110" fmla="*/ 2147483647 w 1301"/>
                <a:gd name="T111" fmla="*/ 2147483647 h 849"/>
                <a:gd name="T112" fmla="*/ 2147483647 w 1301"/>
                <a:gd name="T113" fmla="*/ 2147483647 h 849"/>
                <a:gd name="T114" fmla="*/ 2147483647 w 1301"/>
                <a:gd name="T115" fmla="*/ 2147483647 h 849"/>
                <a:gd name="T116" fmla="*/ 2147483647 w 1301"/>
                <a:gd name="T117" fmla="*/ 2147483647 h 8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01"/>
                <a:gd name="T178" fmla="*/ 0 h 849"/>
                <a:gd name="T179" fmla="*/ 1301 w 1301"/>
                <a:gd name="T180" fmla="*/ 849 h 8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01" h="849">
                  <a:moveTo>
                    <a:pt x="99" y="42"/>
                  </a:moveTo>
                  <a:lnTo>
                    <a:pt x="127" y="60"/>
                  </a:lnTo>
                  <a:lnTo>
                    <a:pt x="143" y="60"/>
                  </a:lnTo>
                  <a:lnTo>
                    <a:pt x="150" y="69"/>
                  </a:lnTo>
                  <a:lnTo>
                    <a:pt x="172" y="78"/>
                  </a:lnTo>
                  <a:lnTo>
                    <a:pt x="177" y="102"/>
                  </a:lnTo>
                  <a:lnTo>
                    <a:pt x="191" y="139"/>
                  </a:lnTo>
                  <a:lnTo>
                    <a:pt x="200" y="148"/>
                  </a:lnTo>
                  <a:lnTo>
                    <a:pt x="204" y="167"/>
                  </a:lnTo>
                  <a:lnTo>
                    <a:pt x="211" y="172"/>
                  </a:lnTo>
                  <a:lnTo>
                    <a:pt x="227" y="202"/>
                  </a:lnTo>
                  <a:lnTo>
                    <a:pt x="262" y="235"/>
                  </a:lnTo>
                  <a:lnTo>
                    <a:pt x="282" y="240"/>
                  </a:lnTo>
                  <a:lnTo>
                    <a:pt x="281" y="255"/>
                  </a:lnTo>
                  <a:lnTo>
                    <a:pt x="287" y="267"/>
                  </a:lnTo>
                  <a:lnTo>
                    <a:pt x="306" y="279"/>
                  </a:lnTo>
                  <a:lnTo>
                    <a:pt x="319" y="298"/>
                  </a:lnTo>
                  <a:lnTo>
                    <a:pt x="330" y="297"/>
                  </a:lnTo>
                  <a:lnTo>
                    <a:pt x="344" y="312"/>
                  </a:lnTo>
                  <a:lnTo>
                    <a:pt x="335" y="333"/>
                  </a:lnTo>
                  <a:lnTo>
                    <a:pt x="339" y="349"/>
                  </a:lnTo>
                  <a:lnTo>
                    <a:pt x="354" y="345"/>
                  </a:lnTo>
                  <a:lnTo>
                    <a:pt x="355" y="358"/>
                  </a:lnTo>
                  <a:lnTo>
                    <a:pt x="374" y="367"/>
                  </a:lnTo>
                  <a:lnTo>
                    <a:pt x="382" y="366"/>
                  </a:lnTo>
                  <a:lnTo>
                    <a:pt x="398" y="379"/>
                  </a:lnTo>
                  <a:lnTo>
                    <a:pt x="400" y="397"/>
                  </a:lnTo>
                  <a:lnTo>
                    <a:pt x="441" y="430"/>
                  </a:lnTo>
                  <a:lnTo>
                    <a:pt x="446" y="442"/>
                  </a:lnTo>
                  <a:lnTo>
                    <a:pt x="453" y="446"/>
                  </a:lnTo>
                  <a:lnTo>
                    <a:pt x="465" y="466"/>
                  </a:lnTo>
                  <a:lnTo>
                    <a:pt x="495" y="492"/>
                  </a:lnTo>
                  <a:lnTo>
                    <a:pt x="502" y="520"/>
                  </a:lnTo>
                  <a:lnTo>
                    <a:pt x="508" y="527"/>
                  </a:lnTo>
                  <a:lnTo>
                    <a:pt x="517" y="551"/>
                  </a:lnTo>
                  <a:lnTo>
                    <a:pt x="515" y="562"/>
                  </a:lnTo>
                  <a:lnTo>
                    <a:pt x="507" y="572"/>
                  </a:lnTo>
                  <a:lnTo>
                    <a:pt x="514" y="582"/>
                  </a:lnTo>
                  <a:lnTo>
                    <a:pt x="499" y="592"/>
                  </a:lnTo>
                  <a:lnTo>
                    <a:pt x="508" y="617"/>
                  </a:lnTo>
                  <a:lnTo>
                    <a:pt x="536" y="644"/>
                  </a:lnTo>
                  <a:lnTo>
                    <a:pt x="554" y="649"/>
                  </a:lnTo>
                  <a:lnTo>
                    <a:pt x="574" y="662"/>
                  </a:lnTo>
                  <a:lnTo>
                    <a:pt x="593" y="685"/>
                  </a:lnTo>
                  <a:lnTo>
                    <a:pt x="640" y="701"/>
                  </a:lnTo>
                  <a:lnTo>
                    <a:pt x="656" y="702"/>
                  </a:lnTo>
                  <a:lnTo>
                    <a:pt x="700" y="734"/>
                  </a:lnTo>
                  <a:lnTo>
                    <a:pt x="785" y="765"/>
                  </a:lnTo>
                  <a:lnTo>
                    <a:pt x="792" y="764"/>
                  </a:lnTo>
                  <a:lnTo>
                    <a:pt x="818" y="782"/>
                  </a:lnTo>
                  <a:lnTo>
                    <a:pt x="844" y="791"/>
                  </a:lnTo>
                  <a:lnTo>
                    <a:pt x="865" y="794"/>
                  </a:lnTo>
                  <a:lnTo>
                    <a:pt x="887" y="803"/>
                  </a:lnTo>
                  <a:lnTo>
                    <a:pt x="904" y="803"/>
                  </a:lnTo>
                  <a:lnTo>
                    <a:pt x="949" y="778"/>
                  </a:lnTo>
                  <a:lnTo>
                    <a:pt x="978" y="781"/>
                  </a:lnTo>
                  <a:lnTo>
                    <a:pt x="1013" y="797"/>
                  </a:lnTo>
                  <a:lnTo>
                    <a:pt x="1069" y="849"/>
                  </a:lnTo>
                  <a:lnTo>
                    <a:pt x="1075" y="831"/>
                  </a:lnTo>
                  <a:lnTo>
                    <a:pt x="1073" y="825"/>
                  </a:lnTo>
                  <a:lnTo>
                    <a:pt x="1101" y="782"/>
                  </a:lnTo>
                  <a:lnTo>
                    <a:pt x="1143" y="780"/>
                  </a:lnTo>
                  <a:lnTo>
                    <a:pt x="1143" y="769"/>
                  </a:lnTo>
                  <a:lnTo>
                    <a:pt x="1131" y="751"/>
                  </a:lnTo>
                  <a:lnTo>
                    <a:pt x="1099" y="723"/>
                  </a:lnTo>
                  <a:lnTo>
                    <a:pt x="1125" y="724"/>
                  </a:lnTo>
                  <a:lnTo>
                    <a:pt x="1126" y="703"/>
                  </a:lnTo>
                  <a:lnTo>
                    <a:pt x="1167" y="703"/>
                  </a:lnTo>
                  <a:lnTo>
                    <a:pt x="1200" y="702"/>
                  </a:lnTo>
                  <a:lnTo>
                    <a:pt x="1215" y="700"/>
                  </a:lnTo>
                  <a:lnTo>
                    <a:pt x="1226" y="677"/>
                  </a:lnTo>
                  <a:lnTo>
                    <a:pt x="1234" y="676"/>
                  </a:lnTo>
                  <a:lnTo>
                    <a:pt x="1243" y="659"/>
                  </a:lnTo>
                  <a:lnTo>
                    <a:pt x="1249" y="660"/>
                  </a:lnTo>
                  <a:lnTo>
                    <a:pt x="1246" y="672"/>
                  </a:lnTo>
                  <a:lnTo>
                    <a:pt x="1253" y="676"/>
                  </a:lnTo>
                  <a:lnTo>
                    <a:pt x="1254" y="696"/>
                  </a:lnTo>
                  <a:lnTo>
                    <a:pt x="1257" y="692"/>
                  </a:lnTo>
                  <a:lnTo>
                    <a:pt x="1270" y="639"/>
                  </a:lnTo>
                  <a:lnTo>
                    <a:pt x="1265" y="632"/>
                  </a:lnTo>
                  <a:lnTo>
                    <a:pt x="1271" y="628"/>
                  </a:lnTo>
                  <a:lnTo>
                    <a:pt x="1271" y="623"/>
                  </a:lnTo>
                  <a:lnTo>
                    <a:pt x="1265" y="619"/>
                  </a:lnTo>
                  <a:lnTo>
                    <a:pt x="1282" y="583"/>
                  </a:lnTo>
                  <a:lnTo>
                    <a:pt x="1298" y="567"/>
                  </a:lnTo>
                  <a:lnTo>
                    <a:pt x="1301" y="552"/>
                  </a:lnTo>
                  <a:lnTo>
                    <a:pt x="1294" y="535"/>
                  </a:lnTo>
                  <a:lnTo>
                    <a:pt x="1270" y="533"/>
                  </a:lnTo>
                  <a:lnTo>
                    <a:pt x="1260" y="541"/>
                  </a:lnTo>
                  <a:lnTo>
                    <a:pt x="1260" y="532"/>
                  </a:lnTo>
                  <a:lnTo>
                    <a:pt x="1246" y="529"/>
                  </a:lnTo>
                  <a:lnTo>
                    <a:pt x="1213" y="540"/>
                  </a:lnTo>
                  <a:lnTo>
                    <a:pt x="1174" y="542"/>
                  </a:lnTo>
                  <a:lnTo>
                    <a:pt x="1150" y="555"/>
                  </a:lnTo>
                  <a:lnTo>
                    <a:pt x="1141" y="601"/>
                  </a:lnTo>
                  <a:lnTo>
                    <a:pt x="1128" y="638"/>
                  </a:lnTo>
                  <a:lnTo>
                    <a:pt x="1108" y="651"/>
                  </a:lnTo>
                  <a:lnTo>
                    <a:pt x="1110" y="666"/>
                  </a:lnTo>
                  <a:lnTo>
                    <a:pt x="1097" y="674"/>
                  </a:lnTo>
                  <a:lnTo>
                    <a:pt x="1084" y="674"/>
                  </a:lnTo>
                  <a:lnTo>
                    <a:pt x="1082" y="665"/>
                  </a:lnTo>
                  <a:lnTo>
                    <a:pt x="1061" y="663"/>
                  </a:lnTo>
                  <a:lnTo>
                    <a:pt x="1058" y="666"/>
                  </a:lnTo>
                  <a:lnTo>
                    <a:pt x="1039" y="673"/>
                  </a:lnTo>
                  <a:lnTo>
                    <a:pt x="1001" y="677"/>
                  </a:lnTo>
                  <a:lnTo>
                    <a:pt x="983" y="687"/>
                  </a:lnTo>
                  <a:lnTo>
                    <a:pt x="973" y="687"/>
                  </a:lnTo>
                  <a:lnTo>
                    <a:pt x="949" y="666"/>
                  </a:lnTo>
                  <a:lnTo>
                    <a:pt x="937" y="667"/>
                  </a:lnTo>
                  <a:lnTo>
                    <a:pt x="918" y="658"/>
                  </a:lnTo>
                  <a:lnTo>
                    <a:pt x="901" y="642"/>
                  </a:lnTo>
                  <a:lnTo>
                    <a:pt x="887" y="605"/>
                  </a:lnTo>
                  <a:lnTo>
                    <a:pt x="865" y="581"/>
                  </a:lnTo>
                  <a:lnTo>
                    <a:pt x="854" y="562"/>
                  </a:lnTo>
                  <a:lnTo>
                    <a:pt x="851" y="554"/>
                  </a:lnTo>
                  <a:lnTo>
                    <a:pt x="856" y="544"/>
                  </a:lnTo>
                  <a:lnTo>
                    <a:pt x="855" y="537"/>
                  </a:lnTo>
                  <a:lnTo>
                    <a:pt x="841" y="520"/>
                  </a:lnTo>
                  <a:lnTo>
                    <a:pt x="835" y="506"/>
                  </a:lnTo>
                  <a:lnTo>
                    <a:pt x="838" y="450"/>
                  </a:lnTo>
                  <a:lnTo>
                    <a:pt x="830" y="390"/>
                  </a:lnTo>
                  <a:lnTo>
                    <a:pt x="839" y="376"/>
                  </a:lnTo>
                  <a:lnTo>
                    <a:pt x="840" y="360"/>
                  </a:lnTo>
                  <a:lnTo>
                    <a:pt x="855" y="359"/>
                  </a:lnTo>
                  <a:lnTo>
                    <a:pt x="860" y="353"/>
                  </a:lnTo>
                  <a:lnTo>
                    <a:pt x="862" y="341"/>
                  </a:lnTo>
                  <a:lnTo>
                    <a:pt x="855" y="348"/>
                  </a:lnTo>
                  <a:lnTo>
                    <a:pt x="860" y="333"/>
                  </a:lnTo>
                  <a:lnTo>
                    <a:pt x="861" y="332"/>
                  </a:lnTo>
                  <a:lnTo>
                    <a:pt x="847" y="332"/>
                  </a:lnTo>
                  <a:lnTo>
                    <a:pt x="832" y="325"/>
                  </a:lnTo>
                  <a:lnTo>
                    <a:pt x="811" y="324"/>
                  </a:lnTo>
                  <a:lnTo>
                    <a:pt x="788" y="316"/>
                  </a:lnTo>
                  <a:lnTo>
                    <a:pt x="775" y="307"/>
                  </a:lnTo>
                  <a:lnTo>
                    <a:pt x="762" y="288"/>
                  </a:lnTo>
                  <a:lnTo>
                    <a:pt x="750" y="250"/>
                  </a:lnTo>
                  <a:lnTo>
                    <a:pt x="736" y="241"/>
                  </a:lnTo>
                  <a:lnTo>
                    <a:pt x="730" y="226"/>
                  </a:lnTo>
                  <a:lnTo>
                    <a:pt x="717" y="213"/>
                  </a:lnTo>
                  <a:lnTo>
                    <a:pt x="702" y="176"/>
                  </a:lnTo>
                  <a:lnTo>
                    <a:pt x="676" y="150"/>
                  </a:lnTo>
                  <a:lnTo>
                    <a:pt x="669" y="143"/>
                  </a:lnTo>
                  <a:lnTo>
                    <a:pt x="625" y="142"/>
                  </a:lnTo>
                  <a:lnTo>
                    <a:pt x="616" y="145"/>
                  </a:lnTo>
                  <a:lnTo>
                    <a:pt x="595" y="184"/>
                  </a:lnTo>
                  <a:lnTo>
                    <a:pt x="578" y="181"/>
                  </a:lnTo>
                  <a:lnTo>
                    <a:pt x="544" y="156"/>
                  </a:lnTo>
                  <a:lnTo>
                    <a:pt x="533" y="141"/>
                  </a:lnTo>
                  <a:lnTo>
                    <a:pt x="522" y="101"/>
                  </a:lnTo>
                  <a:lnTo>
                    <a:pt x="499" y="86"/>
                  </a:lnTo>
                  <a:lnTo>
                    <a:pt x="476" y="62"/>
                  </a:lnTo>
                  <a:lnTo>
                    <a:pt x="467" y="57"/>
                  </a:lnTo>
                  <a:lnTo>
                    <a:pt x="461" y="47"/>
                  </a:lnTo>
                  <a:lnTo>
                    <a:pt x="450" y="41"/>
                  </a:lnTo>
                  <a:lnTo>
                    <a:pt x="415" y="41"/>
                  </a:lnTo>
                  <a:lnTo>
                    <a:pt x="378" y="42"/>
                  </a:lnTo>
                  <a:lnTo>
                    <a:pt x="378" y="66"/>
                  </a:lnTo>
                  <a:lnTo>
                    <a:pt x="307" y="66"/>
                  </a:lnTo>
                  <a:lnTo>
                    <a:pt x="261" y="66"/>
                  </a:lnTo>
                  <a:lnTo>
                    <a:pt x="200" y="42"/>
                  </a:lnTo>
                  <a:lnTo>
                    <a:pt x="139" y="20"/>
                  </a:lnTo>
                  <a:lnTo>
                    <a:pt x="98" y="5"/>
                  </a:lnTo>
                  <a:lnTo>
                    <a:pt x="97" y="0"/>
                  </a:lnTo>
                  <a:lnTo>
                    <a:pt x="68" y="3"/>
                  </a:lnTo>
                  <a:lnTo>
                    <a:pt x="36" y="5"/>
                  </a:lnTo>
                  <a:lnTo>
                    <a:pt x="0" y="8"/>
                  </a:lnTo>
                  <a:lnTo>
                    <a:pt x="23" y="44"/>
                  </a:lnTo>
                  <a:lnTo>
                    <a:pt x="24" y="56"/>
                  </a:lnTo>
                  <a:lnTo>
                    <a:pt x="46" y="93"/>
                  </a:lnTo>
                  <a:lnTo>
                    <a:pt x="52" y="117"/>
                  </a:lnTo>
                  <a:lnTo>
                    <a:pt x="57" y="114"/>
                  </a:lnTo>
                  <a:lnTo>
                    <a:pt x="64" y="147"/>
                  </a:lnTo>
                  <a:lnTo>
                    <a:pt x="88" y="164"/>
                  </a:lnTo>
                  <a:lnTo>
                    <a:pt x="95" y="165"/>
                  </a:lnTo>
                  <a:lnTo>
                    <a:pt x="134" y="211"/>
                  </a:lnTo>
                  <a:lnTo>
                    <a:pt x="135" y="232"/>
                  </a:lnTo>
                  <a:lnTo>
                    <a:pt x="129" y="236"/>
                  </a:lnTo>
                  <a:lnTo>
                    <a:pt x="130" y="244"/>
                  </a:lnTo>
                  <a:lnTo>
                    <a:pt x="125" y="240"/>
                  </a:lnTo>
                  <a:lnTo>
                    <a:pt x="112" y="244"/>
                  </a:lnTo>
                  <a:lnTo>
                    <a:pt x="94" y="243"/>
                  </a:lnTo>
                  <a:lnTo>
                    <a:pt x="94" y="249"/>
                  </a:lnTo>
                  <a:lnTo>
                    <a:pt x="98" y="247"/>
                  </a:lnTo>
                  <a:lnTo>
                    <a:pt x="115" y="258"/>
                  </a:lnTo>
                  <a:lnTo>
                    <a:pt x="120" y="271"/>
                  </a:lnTo>
                  <a:lnTo>
                    <a:pt x="134" y="276"/>
                  </a:lnTo>
                  <a:lnTo>
                    <a:pt x="156" y="292"/>
                  </a:lnTo>
                  <a:lnTo>
                    <a:pt x="166" y="294"/>
                  </a:lnTo>
                  <a:lnTo>
                    <a:pt x="175" y="285"/>
                  </a:lnTo>
                  <a:lnTo>
                    <a:pt x="179" y="299"/>
                  </a:lnTo>
                  <a:lnTo>
                    <a:pt x="188" y="311"/>
                  </a:lnTo>
                  <a:lnTo>
                    <a:pt x="207" y="319"/>
                  </a:lnTo>
                  <a:lnTo>
                    <a:pt x="217" y="342"/>
                  </a:lnTo>
                  <a:lnTo>
                    <a:pt x="219" y="366"/>
                  </a:lnTo>
                  <a:lnTo>
                    <a:pt x="213" y="389"/>
                  </a:lnTo>
                  <a:lnTo>
                    <a:pt x="217" y="384"/>
                  </a:lnTo>
                  <a:lnTo>
                    <a:pt x="219" y="389"/>
                  </a:lnTo>
                  <a:lnTo>
                    <a:pt x="228" y="390"/>
                  </a:lnTo>
                  <a:lnTo>
                    <a:pt x="231" y="397"/>
                  </a:lnTo>
                  <a:lnTo>
                    <a:pt x="240" y="399"/>
                  </a:lnTo>
                  <a:lnTo>
                    <a:pt x="247" y="411"/>
                  </a:lnTo>
                  <a:lnTo>
                    <a:pt x="288" y="441"/>
                  </a:lnTo>
                  <a:lnTo>
                    <a:pt x="297" y="451"/>
                  </a:lnTo>
                  <a:lnTo>
                    <a:pt x="309" y="475"/>
                  </a:lnTo>
                  <a:lnTo>
                    <a:pt x="328" y="462"/>
                  </a:lnTo>
                  <a:lnTo>
                    <a:pt x="332" y="451"/>
                  </a:lnTo>
                  <a:lnTo>
                    <a:pt x="330" y="446"/>
                  </a:lnTo>
                  <a:lnTo>
                    <a:pt x="317" y="425"/>
                  </a:lnTo>
                  <a:lnTo>
                    <a:pt x="299" y="411"/>
                  </a:lnTo>
                  <a:lnTo>
                    <a:pt x="292" y="417"/>
                  </a:lnTo>
                  <a:lnTo>
                    <a:pt x="283" y="411"/>
                  </a:lnTo>
                  <a:lnTo>
                    <a:pt x="277" y="397"/>
                  </a:lnTo>
                  <a:lnTo>
                    <a:pt x="277" y="383"/>
                  </a:lnTo>
                  <a:lnTo>
                    <a:pt x="267" y="368"/>
                  </a:lnTo>
                  <a:lnTo>
                    <a:pt x="267" y="354"/>
                  </a:lnTo>
                  <a:lnTo>
                    <a:pt x="255" y="341"/>
                  </a:lnTo>
                  <a:lnTo>
                    <a:pt x="251" y="317"/>
                  </a:lnTo>
                  <a:lnTo>
                    <a:pt x="242" y="298"/>
                  </a:lnTo>
                  <a:lnTo>
                    <a:pt x="230" y="291"/>
                  </a:lnTo>
                  <a:lnTo>
                    <a:pt x="235" y="304"/>
                  </a:lnTo>
                  <a:lnTo>
                    <a:pt x="229" y="299"/>
                  </a:lnTo>
                  <a:lnTo>
                    <a:pt x="223" y="281"/>
                  </a:lnTo>
                  <a:lnTo>
                    <a:pt x="214" y="274"/>
                  </a:lnTo>
                  <a:lnTo>
                    <a:pt x="209" y="258"/>
                  </a:lnTo>
                  <a:lnTo>
                    <a:pt x="194" y="242"/>
                  </a:lnTo>
                  <a:lnTo>
                    <a:pt x="188" y="216"/>
                  </a:lnTo>
                  <a:lnTo>
                    <a:pt x="180" y="211"/>
                  </a:lnTo>
                  <a:lnTo>
                    <a:pt x="172" y="193"/>
                  </a:lnTo>
                  <a:lnTo>
                    <a:pt x="160" y="190"/>
                  </a:lnTo>
                  <a:lnTo>
                    <a:pt x="152" y="171"/>
                  </a:lnTo>
                  <a:lnTo>
                    <a:pt x="129" y="149"/>
                  </a:lnTo>
                  <a:lnTo>
                    <a:pt x="123" y="148"/>
                  </a:lnTo>
                  <a:lnTo>
                    <a:pt x="113" y="129"/>
                  </a:lnTo>
                  <a:lnTo>
                    <a:pt x="107" y="89"/>
                  </a:lnTo>
                  <a:lnTo>
                    <a:pt x="101" y="78"/>
                  </a:lnTo>
                  <a:lnTo>
                    <a:pt x="99" y="42"/>
                  </a:lnTo>
                  <a:close/>
                </a:path>
              </a:pathLst>
            </a:custGeom>
            <a:grpFill/>
            <a:ln w="6350">
              <a:solidFill>
                <a:schemeClr val="tx2"/>
              </a:solidFill>
              <a:round/>
              <a:headEnd/>
              <a:tailEnd/>
            </a:ln>
          </p:spPr>
          <p:txBody>
            <a:bodyPr/>
            <a:lstStyle/>
            <a:p>
              <a:endParaRPr lang="en-US"/>
            </a:p>
          </p:txBody>
        </p:sp>
        <p:sp>
          <p:nvSpPr>
            <p:cNvPr id="195" name="Freeform 1095"/>
            <p:cNvSpPr>
              <a:spLocks/>
            </p:cNvSpPr>
            <p:nvPr/>
          </p:nvSpPr>
          <p:spPr bwMode="auto">
            <a:xfrm>
              <a:off x="1559822" y="3659477"/>
              <a:ext cx="215430" cy="256391"/>
            </a:xfrm>
            <a:custGeom>
              <a:avLst/>
              <a:gdLst>
                <a:gd name="T0" fmla="*/ 2147483647 w 436"/>
                <a:gd name="T1" fmla="*/ 2147483647 h 514"/>
                <a:gd name="T2" fmla="*/ 2147483647 w 436"/>
                <a:gd name="T3" fmla="*/ 2147483647 h 514"/>
                <a:gd name="T4" fmla="*/ 2147483647 w 436"/>
                <a:gd name="T5" fmla="*/ 2147483647 h 514"/>
                <a:gd name="T6" fmla="*/ 2147483647 w 436"/>
                <a:gd name="T7" fmla="*/ 2147483647 h 514"/>
                <a:gd name="T8" fmla="*/ 2147483647 w 436"/>
                <a:gd name="T9" fmla="*/ 2147483647 h 514"/>
                <a:gd name="T10" fmla="*/ 2147483647 w 436"/>
                <a:gd name="T11" fmla="*/ 2147483647 h 514"/>
                <a:gd name="T12" fmla="*/ 2147483647 w 436"/>
                <a:gd name="T13" fmla="*/ 0 h 514"/>
                <a:gd name="T14" fmla="*/ 2147483647 w 436"/>
                <a:gd name="T15" fmla="*/ 0 h 514"/>
                <a:gd name="T16" fmla="*/ 2147483647 w 436"/>
                <a:gd name="T17" fmla="*/ 0 h 514"/>
                <a:gd name="T18" fmla="*/ 2147483647 w 436"/>
                <a:gd name="T19" fmla="*/ 2147483647 h 514"/>
                <a:gd name="T20" fmla="*/ 0 w 436"/>
                <a:gd name="T21" fmla="*/ 2147483647 h 514"/>
                <a:gd name="T22" fmla="*/ 2147483647 w 436"/>
                <a:gd name="T23" fmla="*/ 2147483647 h 514"/>
                <a:gd name="T24" fmla="*/ 2147483647 w 436"/>
                <a:gd name="T25" fmla="*/ 2147483647 h 514"/>
                <a:gd name="T26" fmla="*/ 2147483647 w 436"/>
                <a:gd name="T27" fmla="*/ 2147483647 h 514"/>
                <a:gd name="T28" fmla="*/ 2147483647 w 436"/>
                <a:gd name="T29" fmla="*/ 2147483647 h 514"/>
                <a:gd name="T30" fmla="*/ 2147483647 w 436"/>
                <a:gd name="T31" fmla="*/ 2147483647 h 514"/>
                <a:gd name="T32" fmla="*/ 2147483647 w 436"/>
                <a:gd name="T33" fmla="*/ 2147483647 h 514"/>
                <a:gd name="T34" fmla="*/ 2147483647 w 436"/>
                <a:gd name="T35" fmla="*/ 2147483647 h 514"/>
                <a:gd name="T36" fmla="*/ 2147483647 w 436"/>
                <a:gd name="T37" fmla="*/ 2147483647 h 514"/>
                <a:gd name="T38" fmla="*/ 2147483647 w 436"/>
                <a:gd name="T39" fmla="*/ 2147483647 h 514"/>
                <a:gd name="T40" fmla="*/ 2147483647 w 436"/>
                <a:gd name="T41" fmla="*/ 2147483647 h 514"/>
                <a:gd name="T42" fmla="*/ 2147483647 w 436"/>
                <a:gd name="T43" fmla="*/ 2147483647 h 514"/>
                <a:gd name="T44" fmla="*/ 2147483647 w 436"/>
                <a:gd name="T45" fmla="*/ 2147483647 h 514"/>
                <a:gd name="T46" fmla="*/ 2147483647 w 436"/>
                <a:gd name="T47" fmla="*/ 2147483647 h 514"/>
                <a:gd name="T48" fmla="*/ 2147483647 w 436"/>
                <a:gd name="T49" fmla="*/ 2147483647 h 514"/>
                <a:gd name="T50" fmla="*/ 2147483647 w 436"/>
                <a:gd name="T51" fmla="*/ 2147483647 h 514"/>
                <a:gd name="T52" fmla="*/ 2147483647 w 436"/>
                <a:gd name="T53" fmla="*/ 2147483647 h 514"/>
                <a:gd name="T54" fmla="*/ 2147483647 w 436"/>
                <a:gd name="T55" fmla="*/ 2147483647 h 514"/>
                <a:gd name="T56" fmla="*/ 2147483647 w 436"/>
                <a:gd name="T57" fmla="*/ 2147483647 h 514"/>
                <a:gd name="T58" fmla="*/ 2147483647 w 436"/>
                <a:gd name="T59" fmla="*/ 2147483647 h 514"/>
                <a:gd name="T60" fmla="*/ 2147483647 w 436"/>
                <a:gd name="T61" fmla="*/ 2147483647 h 514"/>
                <a:gd name="T62" fmla="*/ 2147483647 w 436"/>
                <a:gd name="T63" fmla="*/ 2147483647 h 5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6"/>
                <a:gd name="T97" fmla="*/ 0 h 514"/>
                <a:gd name="T98" fmla="*/ 436 w 436"/>
                <a:gd name="T99" fmla="*/ 514 h 51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6" h="514">
                  <a:moveTo>
                    <a:pt x="409" y="467"/>
                  </a:moveTo>
                  <a:lnTo>
                    <a:pt x="417" y="459"/>
                  </a:lnTo>
                  <a:lnTo>
                    <a:pt x="419" y="439"/>
                  </a:lnTo>
                  <a:lnTo>
                    <a:pt x="436" y="422"/>
                  </a:lnTo>
                  <a:lnTo>
                    <a:pt x="413" y="391"/>
                  </a:lnTo>
                  <a:lnTo>
                    <a:pt x="413" y="385"/>
                  </a:lnTo>
                  <a:lnTo>
                    <a:pt x="372" y="346"/>
                  </a:lnTo>
                  <a:lnTo>
                    <a:pt x="311" y="291"/>
                  </a:lnTo>
                  <a:lnTo>
                    <a:pt x="267" y="250"/>
                  </a:lnTo>
                  <a:lnTo>
                    <a:pt x="220" y="206"/>
                  </a:lnTo>
                  <a:lnTo>
                    <a:pt x="183" y="171"/>
                  </a:lnTo>
                  <a:lnTo>
                    <a:pt x="183" y="104"/>
                  </a:lnTo>
                  <a:lnTo>
                    <a:pt x="183" y="48"/>
                  </a:lnTo>
                  <a:lnTo>
                    <a:pt x="183" y="0"/>
                  </a:lnTo>
                  <a:lnTo>
                    <a:pt x="137" y="0"/>
                  </a:lnTo>
                  <a:lnTo>
                    <a:pt x="90" y="0"/>
                  </a:lnTo>
                  <a:lnTo>
                    <a:pt x="43" y="0"/>
                  </a:lnTo>
                  <a:lnTo>
                    <a:pt x="5" y="0"/>
                  </a:lnTo>
                  <a:lnTo>
                    <a:pt x="13" y="35"/>
                  </a:lnTo>
                  <a:lnTo>
                    <a:pt x="10" y="68"/>
                  </a:lnTo>
                  <a:lnTo>
                    <a:pt x="0" y="85"/>
                  </a:lnTo>
                  <a:lnTo>
                    <a:pt x="0" y="92"/>
                  </a:lnTo>
                  <a:lnTo>
                    <a:pt x="25" y="132"/>
                  </a:lnTo>
                  <a:lnTo>
                    <a:pt x="24" y="150"/>
                  </a:lnTo>
                  <a:lnTo>
                    <a:pt x="32" y="179"/>
                  </a:lnTo>
                  <a:lnTo>
                    <a:pt x="57" y="207"/>
                  </a:lnTo>
                  <a:lnTo>
                    <a:pt x="59" y="220"/>
                  </a:lnTo>
                  <a:lnTo>
                    <a:pt x="67" y="228"/>
                  </a:lnTo>
                  <a:lnTo>
                    <a:pt x="78" y="229"/>
                  </a:lnTo>
                  <a:lnTo>
                    <a:pt x="79" y="217"/>
                  </a:lnTo>
                  <a:lnTo>
                    <a:pt x="101" y="221"/>
                  </a:lnTo>
                  <a:lnTo>
                    <a:pt x="86" y="230"/>
                  </a:lnTo>
                  <a:lnTo>
                    <a:pt x="97" y="252"/>
                  </a:lnTo>
                  <a:lnTo>
                    <a:pt x="80" y="237"/>
                  </a:lnTo>
                  <a:lnTo>
                    <a:pt x="87" y="272"/>
                  </a:lnTo>
                  <a:lnTo>
                    <a:pt x="94" y="279"/>
                  </a:lnTo>
                  <a:lnTo>
                    <a:pt x="104" y="281"/>
                  </a:lnTo>
                  <a:lnTo>
                    <a:pt x="109" y="289"/>
                  </a:lnTo>
                  <a:lnTo>
                    <a:pt x="109" y="298"/>
                  </a:lnTo>
                  <a:lnTo>
                    <a:pt x="104" y="302"/>
                  </a:lnTo>
                  <a:lnTo>
                    <a:pt x="106" y="315"/>
                  </a:lnTo>
                  <a:lnTo>
                    <a:pt x="149" y="364"/>
                  </a:lnTo>
                  <a:lnTo>
                    <a:pt x="150" y="372"/>
                  </a:lnTo>
                  <a:lnTo>
                    <a:pt x="162" y="381"/>
                  </a:lnTo>
                  <a:lnTo>
                    <a:pt x="165" y="408"/>
                  </a:lnTo>
                  <a:lnTo>
                    <a:pt x="194" y="417"/>
                  </a:lnTo>
                  <a:lnTo>
                    <a:pt x="203" y="416"/>
                  </a:lnTo>
                  <a:lnTo>
                    <a:pt x="240" y="439"/>
                  </a:lnTo>
                  <a:lnTo>
                    <a:pt x="243" y="434"/>
                  </a:lnTo>
                  <a:lnTo>
                    <a:pt x="249" y="436"/>
                  </a:lnTo>
                  <a:lnTo>
                    <a:pt x="258" y="451"/>
                  </a:lnTo>
                  <a:lnTo>
                    <a:pt x="277" y="457"/>
                  </a:lnTo>
                  <a:lnTo>
                    <a:pt x="302" y="481"/>
                  </a:lnTo>
                  <a:lnTo>
                    <a:pt x="306" y="488"/>
                  </a:lnTo>
                  <a:lnTo>
                    <a:pt x="310" y="514"/>
                  </a:lnTo>
                  <a:lnTo>
                    <a:pt x="346" y="511"/>
                  </a:lnTo>
                  <a:lnTo>
                    <a:pt x="378" y="509"/>
                  </a:lnTo>
                  <a:lnTo>
                    <a:pt x="407" y="506"/>
                  </a:lnTo>
                  <a:lnTo>
                    <a:pt x="410" y="502"/>
                  </a:lnTo>
                  <a:lnTo>
                    <a:pt x="417" y="502"/>
                  </a:lnTo>
                  <a:lnTo>
                    <a:pt x="421" y="495"/>
                  </a:lnTo>
                  <a:lnTo>
                    <a:pt x="421" y="489"/>
                  </a:lnTo>
                  <a:lnTo>
                    <a:pt x="410" y="483"/>
                  </a:lnTo>
                  <a:lnTo>
                    <a:pt x="409" y="467"/>
                  </a:lnTo>
                  <a:close/>
                </a:path>
              </a:pathLst>
            </a:custGeom>
            <a:grpFill/>
            <a:ln w="6350">
              <a:solidFill>
                <a:schemeClr val="tx2"/>
              </a:solidFill>
              <a:round/>
              <a:headEnd/>
              <a:tailEnd/>
            </a:ln>
          </p:spPr>
          <p:txBody>
            <a:bodyPr/>
            <a:lstStyle/>
            <a:p>
              <a:endParaRPr lang="en-US"/>
            </a:p>
          </p:txBody>
        </p:sp>
        <p:sp>
          <p:nvSpPr>
            <p:cNvPr id="196" name="Freeform 1096"/>
            <p:cNvSpPr>
              <a:spLocks/>
            </p:cNvSpPr>
            <p:nvPr/>
          </p:nvSpPr>
          <p:spPr bwMode="auto">
            <a:xfrm>
              <a:off x="1776769" y="3659477"/>
              <a:ext cx="106198" cy="138057"/>
            </a:xfrm>
            <a:custGeom>
              <a:avLst/>
              <a:gdLst>
                <a:gd name="T0" fmla="*/ 2147483647 w 214"/>
                <a:gd name="T1" fmla="*/ 0 h 279"/>
                <a:gd name="T2" fmla="*/ 2147483647 w 214"/>
                <a:gd name="T3" fmla="*/ 0 h 279"/>
                <a:gd name="T4" fmla="*/ 2147483647 w 214"/>
                <a:gd name="T5" fmla="*/ 2147483647 h 279"/>
                <a:gd name="T6" fmla="*/ 2147483647 w 214"/>
                <a:gd name="T7" fmla="*/ 2147483647 h 279"/>
                <a:gd name="T8" fmla="*/ 2147483647 w 214"/>
                <a:gd name="T9" fmla="*/ 2147483647 h 279"/>
                <a:gd name="T10" fmla="*/ 2147483647 w 214"/>
                <a:gd name="T11" fmla="*/ 2147483647 h 279"/>
                <a:gd name="T12" fmla="*/ 2147483647 w 214"/>
                <a:gd name="T13" fmla="*/ 2147483647 h 279"/>
                <a:gd name="T14" fmla="*/ 2147483647 w 214"/>
                <a:gd name="T15" fmla="*/ 2147483647 h 279"/>
                <a:gd name="T16" fmla="*/ 2147483647 w 214"/>
                <a:gd name="T17" fmla="*/ 2147483647 h 279"/>
                <a:gd name="T18" fmla="*/ 2147483647 w 214"/>
                <a:gd name="T19" fmla="*/ 2147483647 h 279"/>
                <a:gd name="T20" fmla="*/ 2147483647 w 214"/>
                <a:gd name="T21" fmla="*/ 2147483647 h 279"/>
                <a:gd name="T22" fmla="*/ 2147483647 w 214"/>
                <a:gd name="T23" fmla="*/ 2147483647 h 279"/>
                <a:gd name="T24" fmla="*/ 0 w 214"/>
                <a:gd name="T25" fmla="*/ 2147483647 h 279"/>
                <a:gd name="T26" fmla="*/ 0 w 214"/>
                <a:gd name="T27" fmla="*/ 2147483647 h 279"/>
                <a:gd name="T28" fmla="*/ 0 w 214"/>
                <a:gd name="T29" fmla="*/ 2147483647 h 279"/>
                <a:gd name="T30" fmla="*/ 0 w 214"/>
                <a:gd name="T31" fmla="*/ 2147483647 h 279"/>
                <a:gd name="T32" fmla="*/ 0 w 214"/>
                <a:gd name="T33" fmla="*/ 0 h 279"/>
                <a:gd name="T34" fmla="*/ 2147483647 w 214"/>
                <a:gd name="T35" fmla="*/ 0 h 27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4"/>
                <a:gd name="T55" fmla="*/ 0 h 279"/>
                <a:gd name="T56" fmla="*/ 214 w 214"/>
                <a:gd name="T57" fmla="*/ 279 h 27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4" h="279">
                  <a:moveTo>
                    <a:pt x="27" y="0"/>
                  </a:moveTo>
                  <a:lnTo>
                    <a:pt x="128" y="0"/>
                  </a:lnTo>
                  <a:lnTo>
                    <a:pt x="128" y="58"/>
                  </a:lnTo>
                  <a:lnTo>
                    <a:pt x="170" y="58"/>
                  </a:lnTo>
                  <a:lnTo>
                    <a:pt x="214" y="58"/>
                  </a:lnTo>
                  <a:lnTo>
                    <a:pt x="214" y="134"/>
                  </a:lnTo>
                  <a:lnTo>
                    <a:pt x="214" y="218"/>
                  </a:lnTo>
                  <a:lnTo>
                    <a:pt x="214" y="279"/>
                  </a:lnTo>
                  <a:lnTo>
                    <a:pt x="178" y="279"/>
                  </a:lnTo>
                  <a:lnTo>
                    <a:pt x="133" y="279"/>
                  </a:lnTo>
                  <a:lnTo>
                    <a:pt x="77" y="279"/>
                  </a:lnTo>
                  <a:lnTo>
                    <a:pt x="32" y="279"/>
                  </a:lnTo>
                  <a:lnTo>
                    <a:pt x="0" y="279"/>
                  </a:lnTo>
                  <a:lnTo>
                    <a:pt x="0" y="217"/>
                  </a:lnTo>
                  <a:lnTo>
                    <a:pt x="0" y="139"/>
                  </a:lnTo>
                  <a:lnTo>
                    <a:pt x="0" y="65"/>
                  </a:lnTo>
                  <a:lnTo>
                    <a:pt x="0" y="0"/>
                  </a:lnTo>
                  <a:lnTo>
                    <a:pt x="27" y="0"/>
                  </a:lnTo>
                  <a:close/>
                </a:path>
              </a:pathLst>
            </a:custGeom>
            <a:grpFill/>
            <a:ln w="6350">
              <a:solidFill>
                <a:schemeClr val="tx2"/>
              </a:solidFill>
              <a:round/>
              <a:headEnd/>
              <a:tailEnd/>
            </a:ln>
          </p:spPr>
          <p:txBody>
            <a:bodyPr/>
            <a:lstStyle/>
            <a:p>
              <a:endParaRPr lang="en-US"/>
            </a:p>
          </p:txBody>
        </p:sp>
        <p:sp>
          <p:nvSpPr>
            <p:cNvPr id="197" name="Freeform 1097"/>
            <p:cNvSpPr>
              <a:spLocks/>
            </p:cNvSpPr>
            <p:nvPr/>
          </p:nvSpPr>
          <p:spPr bwMode="auto">
            <a:xfrm>
              <a:off x="1650849" y="3659477"/>
              <a:ext cx="125920" cy="191156"/>
            </a:xfrm>
            <a:custGeom>
              <a:avLst/>
              <a:gdLst>
                <a:gd name="T0" fmla="*/ 2147483647 w 256"/>
                <a:gd name="T1" fmla="*/ 2147483647 h 385"/>
                <a:gd name="T2" fmla="*/ 2147483647 w 256"/>
                <a:gd name="T3" fmla="*/ 2147483647 h 385"/>
                <a:gd name="T4" fmla="*/ 2147483647 w 256"/>
                <a:gd name="T5" fmla="*/ 2147483647 h 385"/>
                <a:gd name="T6" fmla="*/ 2147483647 w 256"/>
                <a:gd name="T7" fmla="*/ 2147483647 h 385"/>
                <a:gd name="T8" fmla="*/ 0 w 256"/>
                <a:gd name="T9" fmla="*/ 2147483647 h 385"/>
                <a:gd name="T10" fmla="*/ 0 w 256"/>
                <a:gd name="T11" fmla="*/ 2147483647 h 385"/>
                <a:gd name="T12" fmla="*/ 0 w 256"/>
                <a:gd name="T13" fmla="*/ 2147483647 h 385"/>
                <a:gd name="T14" fmla="*/ 0 w 256"/>
                <a:gd name="T15" fmla="*/ 0 h 385"/>
                <a:gd name="T16" fmla="*/ 2147483647 w 256"/>
                <a:gd name="T17" fmla="*/ 0 h 385"/>
                <a:gd name="T18" fmla="*/ 2147483647 w 256"/>
                <a:gd name="T19" fmla="*/ 0 h 385"/>
                <a:gd name="T20" fmla="*/ 2147483647 w 256"/>
                <a:gd name="T21" fmla="*/ 0 h 385"/>
                <a:gd name="T22" fmla="*/ 2147483647 w 256"/>
                <a:gd name="T23" fmla="*/ 0 h 385"/>
                <a:gd name="T24" fmla="*/ 2147483647 w 256"/>
                <a:gd name="T25" fmla="*/ 0 h 385"/>
                <a:gd name="T26" fmla="*/ 2147483647 w 256"/>
                <a:gd name="T27" fmla="*/ 0 h 385"/>
                <a:gd name="T28" fmla="*/ 2147483647 w 256"/>
                <a:gd name="T29" fmla="*/ 2147483647 h 385"/>
                <a:gd name="T30" fmla="*/ 2147483647 w 256"/>
                <a:gd name="T31" fmla="*/ 2147483647 h 385"/>
                <a:gd name="T32" fmla="*/ 2147483647 w 256"/>
                <a:gd name="T33" fmla="*/ 2147483647 h 385"/>
                <a:gd name="T34" fmla="*/ 2147483647 w 256"/>
                <a:gd name="T35" fmla="*/ 2147483647 h 385"/>
                <a:gd name="T36" fmla="*/ 2147483647 w 256"/>
                <a:gd name="T37" fmla="*/ 2147483647 h 385"/>
                <a:gd name="T38" fmla="*/ 2147483647 w 256"/>
                <a:gd name="T39" fmla="*/ 2147483647 h 385"/>
                <a:gd name="T40" fmla="*/ 2147483647 w 256"/>
                <a:gd name="T41" fmla="*/ 2147483647 h 385"/>
                <a:gd name="T42" fmla="*/ 2147483647 w 256"/>
                <a:gd name="T43" fmla="*/ 2147483647 h 385"/>
                <a:gd name="T44" fmla="*/ 2147483647 w 256"/>
                <a:gd name="T45" fmla="*/ 2147483647 h 385"/>
                <a:gd name="T46" fmla="*/ 2147483647 w 256"/>
                <a:gd name="T47" fmla="*/ 2147483647 h 3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6"/>
                <a:gd name="T73" fmla="*/ 0 h 385"/>
                <a:gd name="T74" fmla="*/ 256 w 256"/>
                <a:gd name="T75" fmla="*/ 385 h 3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6" h="385">
                  <a:moveTo>
                    <a:pt x="189" y="346"/>
                  </a:moveTo>
                  <a:lnTo>
                    <a:pt x="128" y="291"/>
                  </a:lnTo>
                  <a:lnTo>
                    <a:pt x="84" y="250"/>
                  </a:lnTo>
                  <a:lnTo>
                    <a:pt x="37" y="206"/>
                  </a:lnTo>
                  <a:lnTo>
                    <a:pt x="0" y="171"/>
                  </a:lnTo>
                  <a:lnTo>
                    <a:pt x="0" y="104"/>
                  </a:lnTo>
                  <a:lnTo>
                    <a:pt x="0" y="48"/>
                  </a:lnTo>
                  <a:lnTo>
                    <a:pt x="0" y="0"/>
                  </a:lnTo>
                  <a:lnTo>
                    <a:pt x="42" y="0"/>
                  </a:lnTo>
                  <a:lnTo>
                    <a:pt x="83" y="0"/>
                  </a:lnTo>
                  <a:lnTo>
                    <a:pt x="128" y="0"/>
                  </a:lnTo>
                  <a:lnTo>
                    <a:pt x="168" y="0"/>
                  </a:lnTo>
                  <a:lnTo>
                    <a:pt x="210" y="0"/>
                  </a:lnTo>
                  <a:lnTo>
                    <a:pt x="256" y="0"/>
                  </a:lnTo>
                  <a:lnTo>
                    <a:pt x="256" y="65"/>
                  </a:lnTo>
                  <a:lnTo>
                    <a:pt x="256" y="139"/>
                  </a:lnTo>
                  <a:lnTo>
                    <a:pt x="256" y="217"/>
                  </a:lnTo>
                  <a:lnTo>
                    <a:pt x="256" y="322"/>
                  </a:lnTo>
                  <a:lnTo>
                    <a:pt x="253" y="329"/>
                  </a:lnTo>
                  <a:lnTo>
                    <a:pt x="233" y="324"/>
                  </a:lnTo>
                  <a:lnTo>
                    <a:pt x="226" y="335"/>
                  </a:lnTo>
                  <a:lnTo>
                    <a:pt x="232" y="368"/>
                  </a:lnTo>
                  <a:lnTo>
                    <a:pt x="230" y="385"/>
                  </a:lnTo>
                  <a:lnTo>
                    <a:pt x="189" y="346"/>
                  </a:lnTo>
                  <a:close/>
                </a:path>
              </a:pathLst>
            </a:custGeom>
            <a:grpFill/>
            <a:ln w="6350">
              <a:solidFill>
                <a:schemeClr val="tx2"/>
              </a:solidFill>
              <a:round/>
              <a:headEnd/>
              <a:tailEnd/>
            </a:ln>
          </p:spPr>
          <p:txBody>
            <a:bodyPr/>
            <a:lstStyle/>
            <a:p>
              <a:endParaRPr lang="en-US"/>
            </a:p>
          </p:txBody>
        </p:sp>
        <p:sp>
          <p:nvSpPr>
            <p:cNvPr id="198" name="Freeform 1098"/>
            <p:cNvSpPr>
              <a:spLocks/>
            </p:cNvSpPr>
            <p:nvPr/>
          </p:nvSpPr>
          <p:spPr bwMode="auto">
            <a:xfrm>
              <a:off x="1555271" y="3535074"/>
              <a:ext cx="172951" cy="124403"/>
            </a:xfrm>
            <a:custGeom>
              <a:avLst/>
              <a:gdLst>
                <a:gd name="T0" fmla="*/ 2147483647 w 341"/>
                <a:gd name="T1" fmla="*/ 2147483647 h 249"/>
                <a:gd name="T2" fmla="*/ 2147483647 w 341"/>
                <a:gd name="T3" fmla="*/ 2147483647 h 249"/>
                <a:gd name="T4" fmla="*/ 2147483647 w 341"/>
                <a:gd name="T5" fmla="*/ 2147483647 h 249"/>
                <a:gd name="T6" fmla="*/ 2147483647 w 341"/>
                <a:gd name="T7" fmla="*/ 2147483647 h 249"/>
                <a:gd name="T8" fmla="*/ 2147483647 w 341"/>
                <a:gd name="T9" fmla="*/ 2147483647 h 249"/>
                <a:gd name="T10" fmla="*/ 2147483647 w 341"/>
                <a:gd name="T11" fmla="*/ 2147483647 h 249"/>
                <a:gd name="T12" fmla="*/ 2147483647 w 341"/>
                <a:gd name="T13" fmla="*/ 2147483647 h 249"/>
                <a:gd name="T14" fmla="*/ 2147483647 w 341"/>
                <a:gd name="T15" fmla="*/ 2147483647 h 249"/>
                <a:gd name="T16" fmla="*/ 0 w 341"/>
                <a:gd name="T17" fmla="*/ 2147483647 h 249"/>
                <a:gd name="T18" fmla="*/ 2147483647 w 341"/>
                <a:gd name="T19" fmla="*/ 2147483647 h 249"/>
                <a:gd name="T20" fmla="*/ 2147483647 w 341"/>
                <a:gd name="T21" fmla="*/ 2147483647 h 249"/>
                <a:gd name="T22" fmla="*/ 2147483647 w 341"/>
                <a:gd name="T23" fmla="*/ 2147483647 h 249"/>
                <a:gd name="T24" fmla="*/ 2147483647 w 341"/>
                <a:gd name="T25" fmla="*/ 2147483647 h 249"/>
                <a:gd name="T26" fmla="*/ 2147483647 w 341"/>
                <a:gd name="T27" fmla="*/ 2147483647 h 249"/>
                <a:gd name="T28" fmla="*/ 2147483647 w 341"/>
                <a:gd name="T29" fmla="*/ 0 h 249"/>
                <a:gd name="T30" fmla="*/ 2147483647 w 341"/>
                <a:gd name="T31" fmla="*/ 2147483647 h 249"/>
                <a:gd name="T32" fmla="*/ 2147483647 w 341"/>
                <a:gd name="T33" fmla="*/ 2147483647 h 249"/>
                <a:gd name="T34" fmla="*/ 2147483647 w 341"/>
                <a:gd name="T35" fmla="*/ 2147483647 h 249"/>
                <a:gd name="T36" fmla="*/ 2147483647 w 341"/>
                <a:gd name="T37" fmla="*/ 2147483647 h 249"/>
                <a:gd name="T38" fmla="*/ 2147483647 w 341"/>
                <a:gd name="T39" fmla="*/ 2147483647 h 249"/>
                <a:gd name="T40" fmla="*/ 2147483647 w 341"/>
                <a:gd name="T41" fmla="*/ 2147483647 h 249"/>
                <a:gd name="T42" fmla="*/ 2147483647 w 341"/>
                <a:gd name="T43" fmla="*/ 2147483647 h 249"/>
                <a:gd name="T44" fmla="*/ 2147483647 w 341"/>
                <a:gd name="T45" fmla="*/ 2147483647 h 249"/>
                <a:gd name="T46" fmla="*/ 2147483647 w 341"/>
                <a:gd name="T47" fmla="*/ 2147483647 h 249"/>
                <a:gd name="T48" fmla="*/ 2147483647 w 341"/>
                <a:gd name="T49" fmla="*/ 2147483647 h 249"/>
                <a:gd name="T50" fmla="*/ 2147483647 w 341"/>
                <a:gd name="T51" fmla="*/ 2147483647 h 249"/>
                <a:gd name="T52" fmla="*/ 2147483647 w 341"/>
                <a:gd name="T53" fmla="*/ 2147483647 h 249"/>
                <a:gd name="T54" fmla="*/ 2147483647 w 341"/>
                <a:gd name="T55" fmla="*/ 2147483647 h 249"/>
                <a:gd name="T56" fmla="*/ 2147483647 w 341"/>
                <a:gd name="T57" fmla="*/ 2147483647 h 249"/>
                <a:gd name="T58" fmla="*/ 2147483647 w 341"/>
                <a:gd name="T59" fmla="*/ 2147483647 h 249"/>
                <a:gd name="T60" fmla="*/ 2147483647 w 341"/>
                <a:gd name="T61" fmla="*/ 2147483647 h 249"/>
                <a:gd name="T62" fmla="*/ 2147483647 w 341"/>
                <a:gd name="T63" fmla="*/ 2147483647 h 249"/>
                <a:gd name="T64" fmla="*/ 2147483647 w 341"/>
                <a:gd name="T65" fmla="*/ 2147483647 h 249"/>
                <a:gd name="T66" fmla="*/ 2147483647 w 341"/>
                <a:gd name="T67" fmla="*/ 2147483647 h 249"/>
                <a:gd name="T68" fmla="*/ 2147483647 w 341"/>
                <a:gd name="T69" fmla="*/ 2147483647 h 249"/>
                <a:gd name="T70" fmla="*/ 2147483647 w 341"/>
                <a:gd name="T71" fmla="*/ 2147483647 h 249"/>
                <a:gd name="T72" fmla="*/ 2147483647 w 341"/>
                <a:gd name="T73" fmla="*/ 2147483647 h 249"/>
                <a:gd name="T74" fmla="*/ 2147483647 w 341"/>
                <a:gd name="T75" fmla="*/ 2147483647 h 2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1"/>
                <a:gd name="T115" fmla="*/ 0 h 249"/>
                <a:gd name="T116" fmla="*/ 341 w 341"/>
                <a:gd name="T117" fmla="*/ 249 h 2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1" h="249">
                  <a:moveTo>
                    <a:pt x="272" y="249"/>
                  </a:moveTo>
                  <a:lnTo>
                    <a:pt x="231" y="249"/>
                  </a:lnTo>
                  <a:lnTo>
                    <a:pt x="189" y="249"/>
                  </a:lnTo>
                  <a:lnTo>
                    <a:pt x="143" y="249"/>
                  </a:lnTo>
                  <a:lnTo>
                    <a:pt x="96" y="249"/>
                  </a:lnTo>
                  <a:lnTo>
                    <a:pt x="49" y="249"/>
                  </a:lnTo>
                  <a:lnTo>
                    <a:pt x="11" y="249"/>
                  </a:lnTo>
                  <a:lnTo>
                    <a:pt x="4" y="231"/>
                  </a:lnTo>
                  <a:lnTo>
                    <a:pt x="0" y="199"/>
                  </a:lnTo>
                  <a:lnTo>
                    <a:pt x="4" y="178"/>
                  </a:lnTo>
                  <a:lnTo>
                    <a:pt x="13" y="167"/>
                  </a:lnTo>
                  <a:lnTo>
                    <a:pt x="11" y="160"/>
                  </a:lnTo>
                  <a:lnTo>
                    <a:pt x="18" y="117"/>
                  </a:lnTo>
                  <a:lnTo>
                    <a:pt x="24" y="3"/>
                  </a:lnTo>
                  <a:lnTo>
                    <a:pt x="52" y="0"/>
                  </a:lnTo>
                  <a:lnTo>
                    <a:pt x="64" y="8"/>
                  </a:lnTo>
                  <a:lnTo>
                    <a:pt x="70" y="33"/>
                  </a:lnTo>
                  <a:lnTo>
                    <a:pt x="89" y="38"/>
                  </a:lnTo>
                  <a:lnTo>
                    <a:pt x="111" y="29"/>
                  </a:lnTo>
                  <a:lnTo>
                    <a:pt x="132" y="29"/>
                  </a:lnTo>
                  <a:lnTo>
                    <a:pt x="138" y="35"/>
                  </a:lnTo>
                  <a:lnTo>
                    <a:pt x="162" y="27"/>
                  </a:lnTo>
                  <a:lnTo>
                    <a:pt x="180" y="28"/>
                  </a:lnTo>
                  <a:lnTo>
                    <a:pt x="207" y="16"/>
                  </a:lnTo>
                  <a:lnTo>
                    <a:pt x="232" y="12"/>
                  </a:lnTo>
                  <a:lnTo>
                    <a:pt x="279" y="12"/>
                  </a:lnTo>
                  <a:lnTo>
                    <a:pt x="322" y="12"/>
                  </a:lnTo>
                  <a:lnTo>
                    <a:pt x="328" y="22"/>
                  </a:lnTo>
                  <a:lnTo>
                    <a:pt x="337" y="26"/>
                  </a:lnTo>
                  <a:lnTo>
                    <a:pt x="341" y="36"/>
                  </a:lnTo>
                  <a:lnTo>
                    <a:pt x="322" y="83"/>
                  </a:lnTo>
                  <a:lnTo>
                    <a:pt x="309" y="104"/>
                  </a:lnTo>
                  <a:lnTo>
                    <a:pt x="310" y="116"/>
                  </a:lnTo>
                  <a:lnTo>
                    <a:pt x="322" y="123"/>
                  </a:lnTo>
                  <a:lnTo>
                    <a:pt x="317" y="143"/>
                  </a:lnTo>
                  <a:lnTo>
                    <a:pt x="317" y="196"/>
                  </a:lnTo>
                  <a:lnTo>
                    <a:pt x="317" y="249"/>
                  </a:lnTo>
                  <a:lnTo>
                    <a:pt x="272" y="249"/>
                  </a:lnTo>
                  <a:close/>
                </a:path>
              </a:pathLst>
            </a:custGeom>
            <a:grpFill/>
            <a:ln w="6350">
              <a:solidFill>
                <a:schemeClr val="tx2"/>
              </a:solidFill>
              <a:round/>
              <a:headEnd/>
              <a:tailEnd/>
            </a:ln>
          </p:spPr>
          <p:txBody>
            <a:bodyPr/>
            <a:lstStyle/>
            <a:p>
              <a:endParaRPr lang="en-US"/>
            </a:p>
          </p:txBody>
        </p:sp>
        <p:sp>
          <p:nvSpPr>
            <p:cNvPr id="199" name="Freeform 1099"/>
            <p:cNvSpPr>
              <a:spLocks/>
            </p:cNvSpPr>
            <p:nvPr/>
          </p:nvSpPr>
          <p:spPr bwMode="auto">
            <a:xfrm>
              <a:off x="1710017" y="3447081"/>
              <a:ext cx="130472" cy="212396"/>
            </a:xfrm>
            <a:custGeom>
              <a:avLst/>
              <a:gdLst>
                <a:gd name="T0" fmla="*/ 2147483647 w 264"/>
                <a:gd name="T1" fmla="*/ 2147483647 h 427"/>
                <a:gd name="T2" fmla="*/ 2147483647 w 264"/>
                <a:gd name="T3" fmla="*/ 2147483647 h 427"/>
                <a:gd name="T4" fmla="*/ 2147483647 w 264"/>
                <a:gd name="T5" fmla="*/ 2147483647 h 427"/>
                <a:gd name="T6" fmla="*/ 2147483647 w 264"/>
                <a:gd name="T7" fmla="*/ 2147483647 h 427"/>
                <a:gd name="T8" fmla="*/ 2147483647 w 264"/>
                <a:gd name="T9" fmla="*/ 2147483647 h 427"/>
                <a:gd name="T10" fmla="*/ 2147483647 w 264"/>
                <a:gd name="T11" fmla="*/ 2147483647 h 427"/>
                <a:gd name="T12" fmla="*/ 2147483647 w 264"/>
                <a:gd name="T13" fmla="*/ 2147483647 h 427"/>
                <a:gd name="T14" fmla="*/ 2147483647 w 264"/>
                <a:gd name="T15" fmla="*/ 2147483647 h 427"/>
                <a:gd name="T16" fmla="*/ 2147483647 w 264"/>
                <a:gd name="T17" fmla="*/ 2147483647 h 427"/>
                <a:gd name="T18" fmla="*/ 2147483647 w 264"/>
                <a:gd name="T19" fmla="*/ 2147483647 h 427"/>
                <a:gd name="T20" fmla="*/ 2147483647 w 264"/>
                <a:gd name="T21" fmla="*/ 2147483647 h 427"/>
                <a:gd name="T22" fmla="*/ 2147483647 w 264"/>
                <a:gd name="T23" fmla="*/ 2147483647 h 427"/>
                <a:gd name="T24" fmla="*/ 2147483647 w 264"/>
                <a:gd name="T25" fmla="*/ 2147483647 h 427"/>
                <a:gd name="T26" fmla="*/ 2147483647 w 264"/>
                <a:gd name="T27" fmla="*/ 2147483647 h 427"/>
                <a:gd name="T28" fmla="*/ 2147483647 w 264"/>
                <a:gd name="T29" fmla="*/ 2147483647 h 427"/>
                <a:gd name="T30" fmla="*/ 2147483647 w 264"/>
                <a:gd name="T31" fmla="*/ 2147483647 h 427"/>
                <a:gd name="T32" fmla="*/ 2147483647 w 264"/>
                <a:gd name="T33" fmla="*/ 2147483647 h 427"/>
                <a:gd name="T34" fmla="*/ 2147483647 w 264"/>
                <a:gd name="T35" fmla="*/ 2147483647 h 427"/>
                <a:gd name="T36" fmla="*/ 2147483647 w 264"/>
                <a:gd name="T37" fmla="*/ 2147483647 h 427"/>
                <a:gd name="T38" fmla="*/ 2147483647 w 264"/>
                <a:gd name="T39" fmla="*/ 2147483647 h 427"/>
                <a:gd name="T40" fmla="*/ 2147483647 w 264"/>
                <a:gd name="T41" fmla="*/ 2147483647 h 427"/>
                <a:gd name="T42" fmla="*/ 2147483647 w 264"/>
                <a:gd name="T43" fmla="*/ 2147483647 h 427"/>
                <a:gd name="T44" fmla="*/ 2147483647 w 264"/>
                <a:gd name="T45" fmla="*/ 2147483647 h 427"/>
                <a:gd name="T46" fmla="*/ 2147483647 w 264"/>
                <a:gd name="T47" fmla="*/ 2147483647 h 427"/>
                <a:gd name="T48" fmla="*/ 2147483647 w 264"/>
                <a:gd name="T49" fmla="*/ 2147483647 h 427"/>
                <a:gd name="T50" fmla="*/ 2147483647 w 264"/>
                <a:gd name="T51" fmla="*/ 2147483647 h 427"/>
                <a:gd name="T52" fmla="*/ 2147483647 w 264"/>
                <a:gd name="T53" fmla="*/ 2147483647 h 427"/>
                <a:gd name="T54" fmla="*/ 2147483647 w 264"/>
                <a:gd name="T55" fmla="*/ 2147483647 h 427"/>
                <a:gd name="T56" fmla="*/ 2147483647 w 264"/>
                <a:gd name="T57" fmla="*/ 2147483647 h 427"/>
                <a:gd name="T58" fmla="*/ 2147483647 w 264"/>
                <a:gd name="T59" fmla="*/ 2147483647 h 427"/>
                <a:gd name="T60" fmla="*/ 2147483647 w 264"/>
                <a:gd name="T61" fmla="*/ 2147483647 h 427"/>
                <a:gd name="T62" fmla="*/ 2147483647 w 264"/>
                <a:gd name="T63" fmla="*/ 2147483647 h 427"/>
                <a:gd name="T64" fmla="*/ 2147483647 w 264"/>
                <a:gd name="T65" fmla="*/ 2147483647 h 427"/>
                <a:gd name="T66" fmla="*/ 2147483647 w 264"/>
                <a:gd name="T67" fmla="*/ 2147483647 h 427"/>
                <a:gd name="T68" fmla="*/ 2147483647 w 264"/>
                <a:gd name="T69" fmla="*/ 2147483647 h 427"/>
                <a:gd name="T70" fmla="*/ 2147483647 w 264"/>
                <a:gd name="T71" fmla="*/ 0 h 427"/>
                <a:gd name="T72" fmla="*/ 2147483647 w 264"/>
                <a:gd name="T73" fmla="*/ 0 h 427"/>
                <a:gd name="T74" fmla="*/ 2147483647 w 264"/>
                <a:gd name="T75" fmla="*/ 2147483647 h 427"/>
                <a:gd name="T76" fmla="*/ 2147483647 w 264"/>
                <a:gd name="T77" fmla="*/ 2147483647 h 427"/>
                <a:gd name="T78" fmla="*/ 2147483647 w 264"/>
                <a:gd name="T79" fmla="*/ 2147483647 h 427"/>
                <a:gd name="T80" fmla="*/ 2147483647 w 264"/>
                <a:gd name="T81" fmla="*/ 2147483647 h 427"/>
                <a:gd name="T82" fmla="*/ 2147483647 w 264"/>
                <a:gd name="T83" fmla="*/ 2147483647 h 427"/>
                <a:gd name="T84" fmla="*/ 2147483647 w 264"/>
                <a:gd name="T85" fmla="*/ 2147483647 h 427"/>
                <a:gd name="T86" fmla="*/ 2147483647 w 264"/>
                <a:gd name="T87" fmla="*/ 2147483647 h 427"/>
                <a:gd name="T88" fmla="*/ 2147483647 w 264"/>
                <a:gd name="T89" fmla="*/ 2147483647 h 427"/>
                <a:gd name="T90" fmla="*/ 2147483647 w 264"/>
                <a:gd name="T91" fmla="*/ 2147483647 h 427"/>
                <a:gd name="T92" fmla="*/ 0 w 264"/>
                <a:gd name="T93" fmla="*/ 2147483647 h 427"/>
                <a:gd name="T94" fmla="*/ 2147483647 w 264"/>
                <a:gd name="T95" fmla="*/ 2147483647 h 427"/>
                <a:gd name="T96" fmla="*/ 2147483647 w 264"/>
                <a:gd name="T97" fmla="*/ 2147483647 h 427"/>
                <a:gd name="T98" fmla="*/ 2147483647 w 264"/>
                <a:gd name="T99" fmla="*/ 2147483647 h 427"/>
                <a:gd name="T100" fmla="*/ 2147483647 w 264"/>
                <a:gd name="T101" fmla="*/ 2147483647 h 427"/>
                <a:gd name="T102" fmla="*/ 2147483647 w 264"/>
                <a:gd name="T103" fmla="*/ 2147483647 h 427"/>
                <a:gd name="T104" fmla="*/ 2147483647 w 264"/>
                <a:gd name="T105" fmla="*/ 2147483647 h 42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4"/>
                <a:gd name="T160" fmla="*/ 0 h 427"/>
                <a:gd name="T161" fmla="*/ 264 w 264"/>
                <a:gd name="T162" fmla="*/ 427 h 42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4" h="427">
                  <a:moveTo>
                    <a:pt x="48" y="427"/>
                  </a:moveTo>
                  <a:lnTo>
                    <a:pt x="90" y="427"/>
                  </a:lnTo>
                  <a:lnTo>
                    <a:pt x="264" y="427"/>
                  </a:lnTo>
                  <a:lnTo>
                    <a:pt x="264" y="353"/>
                  </a:lnTo>
                  <a:lnTo>
                    <a:pt x="264" y="281"/>
                  </a:lnTo>
                  <a:lnTo>
                    <a:pt x="251" y="265"/>
                  </a:lnTo>
                  <a:lnTo>
                    <a:pt x="247" y="268"/>
                  </a:lnTo>
                  <a:lnTo>
                    <a:pt x="247" y="278"/>
                  </a:lnTo>
                  <a:lnTo>
                    <a:pt x="213" y="277"/>
                  </a:lnTo>
                  <a:lnTo>
                    <a:pt x="207" y="283"/>
                  </a:lnTo>
                  <a:lnTo>
                    <a:pt x="191" y="281"/>
                  </a:lnTo>
                  <a:lnTo>
                    <a:pt x="188" y="290"/>
                  </a:lnTo>
                  <a:lnTo>
                    <a:pt x="181" y="283"/>
                  </a:lnTo>
                  <a:lnTo>
                    <a:pt x="174" y="264"/>
                  </a:lnTo>
                  <a:lnTo>
                    <a:pt x="161" y="259"/>
                  </a:lnTo>
                  <a:lnTo>
                    <a:pt x="161" y="250"/>
                  </a:lnTo>
                  <a:lnTo>
                    <a:pt x="150" y="232"/>
                  </a:lnTo>
                  <a:lnTo>
                    <a:pt x="146" y="214"/>
                  </a:lnTo>
                  <a:lnTo>
                    <a:pt x="138" y="208"/>
                  </a:lnTo>
                  <a:lnTo>
                    <a:pt x="125" y="222"/>
                  </a:lnTo>
                  <a:lnTo>
                    <a:pt x="113" y="216"/>
                  </a:lnTo>
                  <a:lnTo>
                    <a:pt x="117" y="208"/>
                  </a:lnTo>
                  <a:lnTo>
                    <a:pt x="113" y="203"/>
                  </a:lnTo>
                  <a:lnTo>
                    <a:pt x="121" y="197"/>
                  </a:lnTo>
                  <a:lnTo>
                    <a:pt x="116" y="180"/>
                  </a:lnTo>
                  <a:lnTo>
                    <a:pt x="119" y="178"/>
                  </a:lnTo>
                  <a:lnTo>
                    <a:pt x="124" y="149"/>
                  </a:lnTo>
                  <a:lnTo>
                    <a:pt x="104" y="145"/>
                  </a:lnTo>
                  <a:lnTo>
                    <a:pt x="81" y="112"/>
                  </a:lnTo>
                  <a:lnTo>
                    <a:pt x="64" y="101"/>
                  </a:lnTo>
                  <a:lnTo>
                    <a:pt x="67" y="98"/>
                  </a:lnTo>
                  <a:lnTo>
                    <a:pt x="63" y="93"/>
                  </a:lnTo>
                  <a:lnTo>
                    <a:pt x="66" y="90"/>
                  </a:lnTo>
                  <a:lnTo>
                    <a:pt x="64" y="84"/>
                  </a:lnTo>
                  <a:lnTo>
                    <a:pt x="49" y="65"/>
                  </a:lnTo>
                  <a:lnTo>
                    <a:pt x="49" y="0"/>
                  </a:lnTo>
                  <a:lnTo>
                    <a:pt x="8" y="0"/>
                  </a:lnTo>
                  <a:lnTo>
                    <a:pt x="7" y="57"/>
                  </a:lnTo>
                  <a:lnTo>
                    <a:pt x="7" y="110"/>
                  </a:lnTo>
                  <a:lnTo>
                    <a:pt x="8" y="163"/>
                  </a:lnTo>
                  <a:lnTo>
                    <a:pt x="12" y="180"/>
                  </a:lnTo>
                  <a:lnTo>
                    <a:pt x="13" y="190"/>
                  </a:lnTo>
                  <a:lnTo>
                    <a:pt x="19" y="200"/>
                  </a:lnTo>
                  <a:lnTo>
                    <a:pt x="28" y="204"/>
                  </a:lnTo>
                  <a:lnTo>
                    <a:pt x="32" y="214"/>
                  </a:lnTo>
                  <a:lnTo>
                    <a:pt x="13" y="261"/>
                  </a:lnTo>
                  <a:lnTo>
                    <a:pt x="0" y="282"/>
                  </a:lnTo>
                  <a:lnTo>
                    <a:pt x="1" y="294"/>
                  </a:lnTo>
                  <a:lnTo>
                    <a:pt x="13" y="301"/>
                  </a:lnTo>
                  <a:lnTo>
                    <a:pt x="8" y="321"/>
                  </a:lnTo>
                  <a:lnTo>
                    <a:pt x="8" y="374"/>
                  </a:lnTo>
                  <a:lnTo>
                    <a:pt x="8" y="427"/>
                  </a:lnTo>
                  <a:lnTo>
                    <a:pt x="48" y="427"/>
                  </a:lnTo>
                  <a:close/>
                </a:path>
              </a:pathLst>
            </a:custGeom>
            <a:grpFill/>
            <a:ln w="6350">
              <a:solidFill>
                <a:schemeClr val="tx2"/>
              </a:solidFill>
              <a:round/>
              <a:headEnd/>
              <a:tailEnd/>
            </a:ln>
          </p:spPr>
          <p:txBody>
            <a:bodyPr/>
            <a:lstStyle/>
            <a:p>
              <a:endParaRPr lang="en-US"/>
            </a:p>
          </p:txBody>
        </p:sp>
        <p:sp>
          <p:nvSpPr>
            <p:cNvPr id="200" name="Freeform 1100"/>
            <p:cNvSpPr>
              <a:spLocks/>
            </p:cNvSpPr>
            <p:nvPr/>
          </p:nvSpPr>
          <p:spPr bwMode="auto">
            <a:xfrm>
              <a:off x="1552237" y="3447081"/>
              <a:ext cx="163848" cy="107715"/>
            </a:xfrm>
            <a:custGeom>
              <a:avLst/>
              <a:gdLst>
                <a:gd name="T0" fmla="*/ 2147483647 w 331"/>
                <a:gd name="T1" fmla="*/ 0 h 216"/>
                <a:gd name="T2" fmla="*/ 2147483647 w 331"/>
                <a:gd name="T3" fmla="*/ 0 h 216"/>
                <a:gd name="T4" fmla="*/ 2147483647 w 331"/>
                <a:gd name="T5" fmla="*/ 0 h 216"/>
                <a:gd name="T6" fmla="*/ 2147483647 w 331"/>
                <a:gd name="T7" fmla="*/ 0 h 216"/>
                <a:gd name="T8" fmla="*/ 2147483647 w 331"/>
                <a:gd name="T9" fmla="*/ 0 h 216"/>
                <a:gd name="T10" fmla="*/ 2147483647 w 331"/>
                <a:gd name="T11" fmla="*/ 2147483647 h 216"/>
                <a:gd name="T12" fmla="*/ 2147483647 w 331"/>
                <a:gd name="T13" fmla="*/ 2147483647 h 216"/>
                <a:gd name="T14" fmla="*/ 2147483647 w 331"/>
                <a:gd name="T15" fmla="*/ 2147483647 h 216"/>
                <a:gd name="T16" fmla="*/ 2147483647 w 331"/>
                <a:gd name="T17" fmla="*/ 2147483647 h 216"/>
                <a:gd name="T18" fmla="*/ 2147483647 w 331"/>
                <a:gd name="T19" fmla="*/ 2147483647 h 216"/>
                <a:gd name="T20" fmla="*/ 2147483647 w 331"/>
                <a:gd name="T21" fmla="*/ 2147483647 h 216"/>
                <a:gd name="T22" fmla="*/ 2147483647 w 331"/>
                <a:gd name="T23" fmla="*/ 2147483647 h 216"/>
                <a:gd name="T24" fmla="*/ 2147483647 w 331"/>
                <a:gd name="T25" fmla="*/ 2147483647 h 216"/>
                <a:gd name="T26" fmla="*/ 2147483647 w 331"/>
                <a:gd name="T27" fmla="*/ 2147483647 h 216"/>
                <a:gd name="T28" fmla="*/ 2147483647 w 331"/>
                <a:gd name="T29" fmla="*/ 2147483647 h 216"/>
                <a:gd name="T30" fmla="*/ 2147483647 w 331"/>
                <a:gd name="T31" fmla="*/ 2147483647 h 216"/>
                <a:gd name="T32" fmla="*/ 2147483647 w 331"/>
                <a:gd name="T33" fmla="*/ 2147483647 h 216"/>
                <a:gd name="T34" fmla="*/ 2147483647 w 331"/>
                <a:gd name="T35" fmla="*/ 2147483647 h 216"/>
                <a:gd name="T36" fmla="*/ 2147483647 w 331"/>
                <a:gd name="T37" fmla="*/ 2147483647 h 216"/>
                <a:gd name="T38" fmla="*/ 2147483647 w 331"/>
                <a:gd name="T39" fmla="*/ 2147483647 h 216"/>
                <a:gd name="T40" fmla="*/ 2147483647 w 331"/>
                <a:gd name="T41" fmla="*/ 2147483647 h 216"/>
                <a:gd name="T42" fmla="*/ 2147483647 w 331"/>
                <a:gd name="T43" fmla="*/ 2147483647 h 216"/>
                <a:gd name="T44" fmla="*/ 2147483647 w 331"/>
                <a:gd name="T45" fmla="*/ 2147483647 h 216"/>
                <a:gd name="T46" fmla="*/ 2147483647 w 331"/>
                <a:gd name="T47" fmla="*/ 2147483647 h 216"/>
                <a:gd name="T48" fmla="*/ 2147483647 w 331"/>
                <a:gd name="T49" fmla="*/ 2147483647 h 216"/>
                <a:gd name="T50" fmla="*/ 2147483647 w 331"/>
                <a:gd name="T51" fmla="*/ 2147483647 h 216"/>
                <a:gd name="T52" fmla="*/ 2147483647 w 331"/>
                <a:gd name="T53" fmla="*/ 2147483647 h 216"/>
                <a:gd name="T54" fmla="*/ 2147483647 w 331"/>
                <a:gd name="T55" fmla="*/ 2147483647 h 216"/>
                <a:gd name="T56" fmla="*/ 2147483647 w 331"/>
                <a:gd name="T57" fmla="*/ 2147483647 h 216"/>
                <a:gd name="T58" fmla="*/ 2147483647 w 331"/>
                <a:gd name="T59" fmla="*/ 2147483647 h 216"/>
                <a:gd name="T60" fmla="*/ 2147483647 w 331"/>
                <a:gd name="T61" fmla="*/ 2147483647 h 216"/>
                <a:gd name="T62" fmla="*/ 2147483647 w 331"/>
                <a:gd name="T63" fmla="*/ 2147483647 h 216"/>
                <a:gd name="T64" fmla="*/ 2147483647 w 331"/>
                <a:gd name="T65" fmla="*/ 2147483647 h 216"/>
                <a:gd name="T66" fmla="*/ 0 w 331"/>
                <a:gd name="T67" fmla="*/ 2147483647 h 216"/>
                <a:gd name="T68" fmla="*/ 2147483647 w 331"/>
                <a:gd name="T69" fmla="*/ 2147483647 h 216"/>
                <a:gd name="T70" fmla="*/ 2147483647 w 331"/>
                <a:gd name="T71" fmla="*/ 2147483647 h 216"/>
                <a:gd name="T72" fmla="*/ 2147483647 w 331"/>
                <a:gd name="T73" fmla="*/ 2147483647 h 216"/>
                <a:gd name="T74" fmla="*/ 2147483647 w 331"/>
                <a:gd name="T75" fmla="*/ 2147483647 h 216"/>
                <a:gd name="T76" fmla="*/ 2147483647 w 331"/>
                <a:gd name="T77" fmla="*/ 2147483647 h 216"/>
                <a:gd name="T78" fmla="*/ 2147483647 w 331"/>
                <a:gd name="T79" fmla="*/ 2147483647 h 216"/>
                <a:gd name="T80" fmla="*/ 2147483647 w 331"/>
                <a:gd name="T81" fmla="*/ 2147483647 h 216"/>
                <a:gd name="T82" fmla="*/ 2147483647 w 331"/>
                <a:gd name="T83" fmla="*/ 2147483647 h 216"/>
                <a:gd name="T84" fmla="*/ 2147483647 w 331"/>
                <a:gd name="T85" fmla="*/ 2147483647 h 216"/>
                <a:gd name="T86" fmla="*/ 2147483647 w 331"/>
                <a:gd name="T87" fmla="*/ 2147483647 h 216"/>
                <a:gd name="T88" fmla="*/ 2147483647 w 331"/>
                <a:gd name="T89" fmla="*/ 2147483647 h 216"/>
                <a:gd name="T90" fmla="*/ 2147483647 w 331"/>
                <a:gd name="T91" fmla="*/ 2147483647 h 216"/>
                <a:gd name="T92" fmla="*/ 2147483647 w 331"/>
                <a:gd name="T93" fmla="*/ 2147483647 h 216"/>
                <a:gd name="T94" fmla="*/ 2147483647 w 331"/>
                <a:gd name="T95" fmla="*/ 2147483647 h 216"/>
                <a:gd name="T96" fmla="*/ 2147483647 w 331"/>
                <a:gd name="T97" fmla="*/ 2147483647 h 216"/>
                <a:gd name="T98" fmla="*/ 2147483647 w 331"/>
                <a:gd name="T99" fmla="*/ 2147483647 h 216"/>
                <a:gd name="T100" fmla="*/ 2147483647 w 331"/>
                <a:gd name="T101" fmla="*/ 2147483647 h 216"/>
                <a:gd name="T102" fmla="*/ 2147483647 w 331"/>
                <a:gd name="T103" fmla="*/ 2147483647 h 216"/>
                <a:gd name="T104" fmla="*/ 2147483647 w 331"/>
                <a:gd name="T105" fmla="*/ 2147483647 h 216"/>
                <a:gd name="T106" fmla="*/ 2147483647 w 331"/>
                <a:gd name="T107" fmla="*/ 0 h 216"/>
                <a:gd name="T108" fmla="*/ 2147483647 w 331"/>
                <a:gd name="T109" fmla="*/ 0 h 2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1"/>
                <a:gd name="T166" fmla="*/ 0 h 216"/>
                <a:gd name="T167" fmla="*/ 331 w 331"/>
                <a:gd name="T168" fmla="*/ 216 h 2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1" h="216">
                  <a:moveTo>
                    <a:pt x="129" y="0"/>
                  </a:moveTo>
                  <a:lnTo>
                    <a:pt x="161" y="0"/>
                  </a:lnTo>
                  <a:lnTo>
                    <a:pt x="216" y="0"/>
                  </a:lnTo>
                  <a:lnTo>
                    <a:pt x="274" y="0"/>
                  </a:lnTo>
                  <a:lnTo>
                    <a:pt x="326" y="0"/>
                  </a:lnTo>
                  <a:lnTo>
                    <a:pt x="325" y="57"/>
                  </a:lnTo>
                  <a:lnTo>
                    <a:pt x="325" y="110"/>
                  </a:lnTo>
                  <a:lnTo>
                    <a:pt x="326" y="163"/>
                  </a:lnTo>
                  <a:lnTo>
                    <a:pt x="330" y="180"/>
                  </a:lnTo>
                  <a:lnTo>
                    <a:pt x="331" y="190"/>
                  </a:lnTo>
                  <a:lnTo>
                    <a:pt x="288" y="190"/>
                  </a:lnTo>
                  <a:lnTo>
                    <a:pt x="241" y="190"/>
                  </a:lnTo>
                  <a:lnTo>
                    <a:pt x="216" y="194"/>
                  </a:lnTo>
                  <a:lnTo>
                    <a:pt x="189" y="206"/>
                  </a:lnTo>
                  <a:lnTo>
                    <a:pt x="171" y="205"/>
                  </a:lnTo>
                  <a:lnTo>
                    <a:pt x="147" y="213"/>
                  </a:lnTo>
                  <a:lnTo>
                    <a:pt x="141" y="207"/>
                  </a:lnTo>
                  <a:lnTo>
                    <a:pt x="120" y="207"/>
                  </a:lnTo>
                  <a:lnTo>
                    <a:pt x="98" y="216"/>
                  </a:lnTo>
                  <a:lnTo>
                    <a:pt x="79" y="211"/>
                  </a:lnTo>
                  <a:lnTo>
                    <a:pt x="73" y="186"/>
                  </a:lnTo>
                  <a:lnTo>
                    <a:pt x="61" y="178"/>
                  </a:lnTo>
                  <a:lnTo>
                    <a:pt x="51" y="170"/>
                  </a:lnTo>
                  <a:lnTo>
                    <a:pt x="28" y="167"/>
                  </a:lnTo>
                  <a:lnTo>
                    <a:pt x="27" y="150"/>
                  </a:lnTo>
                  <a:lnTo>
                    <a:pt x="31" y="161"/>
                  </a:lnTo>
                  <a:lnTo>
                    <a:pt x="34" y="159"/>
                  </a:lnTo>
                  <a:lnTo>
                    <a:pt x="34" y="143"/>
                  </a:lnTo>
                  <a:lnTo>
                    <a:pt x="26" y="139"/>
                  </a:lnTo>
                  <a:lnTo>
                    <a:pt x="30" y="125"/>
                  </a:lnTo>
                  <a:lnTo>
                    <a:pt x="27" y="121"/>
                  </a:lnTo>
                  <a:lnTo>
                    <a:pt x="22" y="125"/>
                  </a:lnTo>
                  <a:lnTo>
                    <a:pt x="14" y="90"/>
                  </a:lnTo>
                  <a:lnTo>
                    <a:pt x="0" y="62"/>
                  </a:lnTo>
                  <a:lnTo>
                    <a:pt x="1" y="42"/>
                  </a:lnTo>
                  <a:lnTo>
                    <a:pt x="4" y="38"/>
                  </a:lnTo>
                  <a:lnTo>
                    <a:pt x="35" y="50"/>
                  </a:lnTo>
                  <a:lnTo>
                    <a:pt x="83" y="55"/>
                  </a:lnTo>
                  <a:lnTo>
                    <a:pt x="84" y="69"/>
                  </a:lnTo>
                  <a:lnTo>
                    <a:pt x="70" y="92"/>
                  </a:lnTo>
                  <a:lnTo>
                    <a:pt x="70" y="101"/>
                  </a:lnTo>
                  <a:lnTo>
                    <a:pt x="76" y="101"/>
                  </a:lnTo>
                  <a:lnTo>
                    <a:pt x="75" y="95"/>
                  </a:lnTo>
                  <a:lnTo>
                    <a:pt x="90" y="73"/>
                  </a:lnTo>
                  <a:lnTo>
                    <a:pt x="96" y="72"/>
                  </a:lnTo>
                  <a:lnTo>
                    <a:pt x="100" y="79"/>
                  </a:lnTo>
                  <a:lnTo>
                    <a:pt x="101" y="67"/>
                  </a:lnTo>
                  <a:lnTo>
                    <a:pt x="97" y="42"/>
                  </a:lnTo>
                  <a:lnTo>
                    <a:pt x="88" y="33"/>
                  </a:lnTo>
                  <a:lnTo>
                    <a:pt x="94" y="27"/>
                  </a:lnTo>
                  <a:lnTo>
                    <a:pt x="95" y="19"/>
                  </a:lnTo>
                  <a:lnTo>
                    <a:pt x="101" y="19"/>
                  </a:lnTo>
                  <a:lnTo>
                    <a:pt x="86" y="14"/>
                  </a:lnTo>
                  <a:lnTo>
                    <a:pt x="79" y="0"/>
                  </a:lnTo>
                  <a:lnTo>
                    <a:pt x="129" y="0"/>
                  </a:lnTo>
                  <a:close/>
                </a:path>
              </a:pathLst>
            </a:custGeom>
            <a:grpFill/>
            <a:ln w="6350">
              <a:solidFill>
                <a:schemeClr val="tx2"/>
              </a:solidFill>
              <a:round/>
              <a:headEnd/>
              <a:tailEnd/>
            </a:ln>
          </p:spPr>
          <p:txBody>
            <a:bodyPr/>
            <a:lstStyle/>
            <a:p>
              <a:endParaRPr lang="en-US"/>
            </a:p>
          </p:txBody>
        </p:sp>
        <p:sp>
          <p:nvSpPr>
            <p:cNvPr id="201" name="Freeform 1101"/>
            <p:cNvSpPr>
              <a:spLocks/>
            </p:cNvSpPr>
            <p:nvPr/>
          </p:nvSpPr>
          <p:spPr bwMode="auto">
            <a:xfrm>
              <a:off x="1734290" y="3447081"/>
              <a:ext cx="257910" cy="145642"/>
            </a:xfrm>
            <a:custGeom>
              <a:avLst/>
              <a:gdLst>
                <a:gd name="T0" fmla="*/ 2147483647 w 518"/>
                <a:gd name="T1" fmla="*/ 2147483647 h 290"/>
                <a:gd name="T2" fmla="*/ 2147483647 w 518"/>
                <a:gd name="T3" fmla="*/ 2147483647 h 290"/>
                <a:gd name="T4" fmla="*/ 2147483647 w 518"/>
                <a:gd name="T5" fmla="*/ 2147483647 h 290"/>
                <a:gd name="T6" fmla="*/ 2147483647 w 518"/>
                <a:gd name="T7" fmla="*/ 2147483647 h 290"/>
                <a:gd name="T8" fmla="*/ 2147483647 w 518"/>
                <a:gd name="T9" fmla="*/ 2147483647 h 290"/>
                <a:gd name="T10" fmla="*/ 2147483647 w 518"/>
                <a:gd name="T11" fmla="*/ 2147483647 h 290"/>
                <a:gd name="T12" fmla="*/ 2147483647 w 518"/>
                <a:gd name="T13" fmla="*/ 2147483647 h 290"/>
                <a:gd name="T14" fmla="*/ 2147483647 w 518"/>
                <a:gd name="T15" fmla="*/ 2147483647 h 290"/>
                <a:gd name="T16" fmla="*/ 2147483647 w 518"/>
                <a:gd name="T17" fmla="*/ 2147483647 h 290"/>
                <a:gd name="T18" fmla="*/ 2147483647 w 518"/>
                <a:gd name="T19" fmla="*/ 2147483647 h 290"/>
                <a:gd name="T20" fmla="*/ 2147483647 w 518"/>
                <a:gd name="T21" fmla="*/ 2147483647 h 290"/>
                <a:gd name="T22" fmla="*/ 2147483647 w 518"/>
                <a:gd name="T23" fmla="*/ 2147483647 h 290"/>
                <a:gd name="T24" fmla="*/ 2147483647 w 518"/>
                <a:gd name="T25" fmla="*/ 2147483647 h 290"/>
                <a:gd name="T26" fmla="*/ 2147483647 w 518"/>
                <a:gd name="T27" fmla="*/ 2147483647 h 290"/>
                <a:gd name="T28" fmla="*/ 2147483647 w 518"/>
                <a:gd name="T29" fmla="*/ 2147483647 h 290"/>
                <a:gd name="T30" fmla="*/ 2147483647 w 518"/>
                <a:gd name="T31" fmla="*/ 2147483647 h 290"/>
                <a:gd name="T32" fmla="*/ 2147483647 w 518"/>
                <a:gd name="T33" fmla="*/ 2147483647 h 290"/>
                <a:gd name="T34" fmla="*/ 2147483647 w 518"/>
                <a:gd name="T35" fmla="*/ 2147483647 h 290"/>
                <a:gd name="T36" fmla="*/ 2147483647 w 518"/>
                <a:gd name="T37" fmla="*/ 2147483647 h 290"/>
                <a:gd name="T38" fmla="*/ 2147483647 w 518"/>
                <a:gd name="T39" fmla="*/ 2147483647 h 290"/>
                <a:gd name="T40" fmla="*/ 2147483647 w 518"/>
                <a:gd name="T41" fmla="*/ 2147483647 h 290"/>
                <a:gd name="T42" fmla="*/ 2147483647 w 518"/>
                <a:gd name="T43" fmla="*/ 2147483647 h 290"/>
                <a:gd name="T44" fmla="*/ 2147483647 w 518"/>
                <a:gd name="T45" fmla="*/ 2147483647 h 290"/>
                <a:gd name="T46" fmla="*/ 2147483647 w 518"/>
                <a:gd name="T47" fmla="*/ 2147483647 h 290"/>
                <a:gd name="T48" fmla="*/ 2147483647 w 518"/>
                <a:gd name="T49" fmla="*/ 2147483647 h 290"/>
                <a:gd name="T50" fmla="*/ 2147483647 w 518"/>
                <a:gd name="T51" fmla="*/ 2147483647 h 290"/>
                <a:gd name="T52" fmla="*/ 2147483647 w 518"/>
                <a:gd name="T53" fmla="*/ 2147483647 h 290"/>
                <a:gd name="T54" fmla="*/ 2147483647 w 518"/>
                <a:gd name="T55" fmla="*/ 2147483647 h 290"/>
                <a:gd name="T56" fmla="*/ 2147483647 w 518"/>
                <a:gd name="T57" fmla="*/ 2147483647 h 290"/>
                <a:gd name="T58" fmla="*/ 2147483647 w 518"/>
                <a:gd name="T59" fmla="*/ 2147483647 h 290"/>
                <a:gd name="T60" fmla="*/ 2147483647 w 518"/>
                <a:gd name="T61" fmla="*/ 2147483647 h 290"/>
                <a:gd name="T62" fmla="*/ 2147483647 w 518"/>
                <a:gd name="T63" fmla="*/ 2147483647 h 290"/>
                <a:gd name="T64" fmla="*/ 2147483647 w 518"/>
                <a:gd name="T65" fmla="*/ 2147483647 h 290"/>
                <a:gd name="T66" fmla="*/ 2147483647 w 518"/>
                <a:gd name="T67" fmla="*/ 2147483647 h 290"/>
                <a:gd name="T68" fmla="*/ 2147483647 w 518"/>
                <a:gd name="T69" fmla="*/ 2147483647 h 290"/>
                <a:gd name="T70" fmla="*/ 0 w 518"/>
                <a:gd name="T71" fmla="*/ 2147483647 h 290"/>
                <a:gd name="T72" fmla="*/ 0 w 518"/>
                <a:gd name="T73" fmla="*/ 0 h 290"/>
                <a:gd name="T74" fmla="*/ 2147483647 w 518"/>
                <a:gd name="T75" fmla="*/ 0 h 290"/>
                <a:gd name="T76" fmla="*/ 2147483647 w 518"/>
                <a:gd name="T77" fmla="*/ 0 h 290"/>
                <a:gd name="T78" fmla="*/ 2147483647 w 518"/>
                <a:gd name="T79" fmla="*/ 0 h 290"/>
                <a:gd name="T80" fmla="*/ 2147483647 w 518"/>
                <a:gd name="T81" fmla="*/ 0 h 290"/>
                <a:gd name="T82" fmla="*/ 2147483647 w 518"/>
                <a:gd name="T83" fmla="*/ 0 h 290"/>
                <a:gd name="T84" fmla="*/ 2147483647 w 518"/>
                <a:gd name="T85" fmla="*/ 0 h 290"/>
                <a:gd name="T86" fmla="*/ 2147483647 w 518"/>
                <a:gd name="T87" fmla="*/ 0 h 290"/>
                <a:gd name="T88" fmla="*/ 2147483647 w 518"/>
                <a:gd name="T89" fmla="*/ 0 h 290"/>
                <a:gd name="T90" fmla="*/ 2147483647 w 518"/>
                <a:gd name="T91" fmla="*/ 2147483647 h 290"/>
                <a:gd name="T92" fmla="*/ 2147483647 w 518"/>
                <a:gd name="T93" fmla="*/ 2147483647 h 290"/>
                <a:gd name="T94" fmla="*/ 2147483647 w 518"/>
                <a:gd name="T95" fmla="*/ 2147483647 h 290"/>
                <a:gd name="T96" fmla="*/ 2147483647 w 518"/>
                <a:gd name="T97" fmla="*/ 2147483647 h 2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18"/>
                <a:gd name="T148" fmla="*/ 0 h 290"/>
                <a:gd name="T149" fmla="*/ 518 w 518"/>
                <a:gd name="T150" fmla="*/ 290 h 29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18" h="290">
                  <a:moveTo>
                    <a:pt x="480" y="251"/>
                  </a:moveTo>
                  <a:lnTo>
                    <a:pt x="406" y="251"/>
                  </a:lnTo>
                  <a:lnTo>
                    <a:pt x="333" y="251"/>
                  </a:lnTo>
                  <a:lnTo>
                    <a:pt x="271" y="251"/>
                  </a:lnTo>
                  <a:lnTo>
                    <a:pt x="215" y="251"/>
                  </a:lnTo>
                  <a:lnTo>
                    <a:pt x="215" y="281"/>
                  </a:lnTo>
                  <a:lnTo>
                    <a:pt x="202" y="265"/>
                  </a:lnTo>
                  <a:lnTo>
                    <a:pt x="198" y="268"/>
                  </a:lnTo>
                  <a:lnTo>
                    <a:pt x="198" y="278"/>
                  </a:lnTo>
                  <a:lnTo>
                    <a:pt x="164" y="277"/>
                  </a:lnTo>
                  <a:lnTo>
                    <a:pt x="158" y="283"/>
                  </a:lnTo>
                  <a:lnTo>
                    <a:pt x="142" y="281"/>
                  </a:lnTo>
                  <a:lnTo>
                    <a:pt x="139" y="290"/>
                  </a:lnTo>
                  <a:lnTo>
                    <a:pt x="132" y="283"/>
                  </a:lnTo>
                  <a:lnTo>
                    <a:pt x="125" y="264"/>
                  </a:lnTo>
                  <a:lnTo>
                    <a:pt x="112" y="259"/>
                  </a:lnTo>
                  <a:lnTo>
                    <a:pt x="112" y="250"/>
                  </a:lnTo>
                  <a:lnTo>
                    <a:pt x="101" y="232"/>
                  </a:lnTo>
                  <a:lnTo>
                    <a:pt x="97" y="214"/>
                  </a:lnTo>
                  <a:lnTo>
                    <a:pt x="89" y="208"/>
                  </a:lnTo>
                  <a:lnTo>
                    <a:pt x="76" y="222"/>
                  </a:lnTo>
                  <a:lnTo>
                    <a:pt x="64" y="216"/>
                  </a:lnTo>
                  <a:lnTo>
                    <a:pt x="68" y="208"/>
                  </a:lnTo>
                  <a:lnTo>
                    <a:pt x="64" y="203"/>
                  </a:lnTo>
                  <a:lnTo>
                    <a:pt x="72" y="197"/>
                  </a:lnTo>
                  <a:lnTo>
                    <a:pt x="67" y="180"/>
                  </a:lnTo>
                  <a:lnTo>
                    <a:pt x="70" y="178"/>
                  </a:lnTo>
                  <a:lnTo>
                    <a:pt x="75" y="149"/>
                  </a:lnTo>
                  <a:lnTo>
                    <a:pt x="55" y="145"/>
                  </a:lnTo>
                  <a:lnTo>
                    <a:pt x="32" y="112"/>
                  </a:lnTo>
                  <a:lnTo>
                    <a:pt x="15" y="101"/>
                  </a:lnTo>
                  <a:lnTo>
                    <a:pt x="18" y="98"/>
                  </a:lnTo>
                  <a:lnTo>
                    <a:pt x="14" y="93"/>
                  </a:lnTo>
                  <a:lnTo>
                    <a:pt x="17" y="90"/>
                  </a:lnTo>
                  <a:lnTo>
                    <a:pt x="15" y="84"/>
                  </a:lnTo>
                  <a:lnTo>
                    <a:pt x="0" y="65"/>
                  </a:lnTo>
                  <a:lnTo>
                    <a:pt x="0" y="0"/>
                  </a:lnTo>
                  <a:lnTo>
                    <a:pt x="41" y="0"/>
                  </a:lnTo>
                  <a:lnTo>
                    <a:pt x="86" y="0"/>
                  </a:lnTo>
                  <a:lnTo>
                    <a:pt x="141" y="0"/>
                  </a:lnTo>
                  <a:lnTo>
                    <a:pt x="206" y="0"/>
                  </a:lnTo>
                  <a:lnTo>
                    <a:pt x="259" y="0"/>
                  </a:lnTo>
                  <a:lnTo>
                    <a:pt x="322" y="0"/>
                  </a:lnTo>
                  <a:lnTo>
                    <a:pt x="393" y="0"/>
                  </a:lnTo>
                  <a:lnTo>
                    <a:pt x="469" y="0"/>
                  </a:lnTo>
                  <a:lnTo>
                    <a:pt x="518" y="1"/>
                  </a:lnTo>
                  <a:lnTo>
                    <a:pt x="518" y="94"/>
                  </a:lnTo>
                  <a:lnTo>
                    <a:pt x="518" y="251"/>
                  </a:lnTo>
                  <a:lnTo>
                    <a:pt x="480" y="251"/>
                  </a:lnTo>
                  <a:close/>
                </a:path>
              </a:pathLst>
            </a:custGeom>
            <a:grpFill/>
            <a:ln w="6350">
              <a:solidFill>
                <a:schemeClr val="tx2"/>
              </a:solidFill>
              <a:round/>
              <a:headEnd/>
              <a:tailEnd/>
            </a:ln>
          </p:spPr>
          <p:txBody>
            <a:bodyPr/>
            <a:lstStyle/>
            <a:p>
              <a:endParaRPr lang="en-US"/>
            </a:p>
          </p:txBody>
        </p:sp>
        <p:sp>
          <p:nvSpPr>
            <p:cNvPr id="202" name="Freeform 1102"/>
            <p:cNvSpPr>
              <a:spLocks/>
            </p:cNvSpPr>
            <p:nvPr/>
          </p:nvSpPr>
          <p:spPr bwMode="auto">
            <a:xfrm>
              <a:off x="1840489" y="3573002"/>
              <a:ext cx="151711" cy="115300"/>
            </a:xfrm>
            <a:custGeom>
              <a:avLst/>
              <a:gdLst>
                <a:gd name="T0" fmla="*/ 2147483647 w 303"/>
                <a:gd name="T1" fmla="*/ 0 h 234"/>
                <a:gd name="T2" fmla="*/ 2147483647 w 303"/>
                <a:gd name="T3" fmla="*/ 0 h 234"/>
                <a:gd name="T4" fmla="*/ 2147483647 w 303"/>
                <a:gd name="T5" fmla="*/ 0 h 234"/>
                <a:gd name="T6" fmla="*/ 2147483647 w 303"/>
                <a:gd name="T7" fmla="*/ 0 h 234"/>
                <a:gd name="T8" fmla="*/ 0 w 303"/>
                <a:gd name="T9" fmla="*/ 0 h 234"/>
                <a:gd name="T10" fmla="*/ 0 w 303"/>
                <a:gd name="T11" fmla="*/ 2147483647 h 234"/>
                <a:gd name="T12" fmla="*/ 0 w 303"/>
                <a:gd name="T13" fmla="*/ 2147483647 h 234"/>
                <a:gd name="T14" fmla="*/ 2147483647 w 303"/>
                <a:gd name="T15" fmla="*/ 2147483647 h 234"/>
                <a:gd name="T16" fmla="*/ 2147483647 w 303"/>
                <a:gd name="T17" fmla="*/ 2147483647 h 234"/>
                <a:gd name="T18" fmla="*/ 2147483647 w 303"/>
                <a:gd name="T19" fmla="*/ 2147483647 h 234"/>
                <a:gd name="T20" fmla="*/ 2147483647 w 303"/>
                <a:gd name="T21" fmla="*/ 2147483647 h 234"/>
                <a:gd name="T22" fmla="*/ 2147483647 w 303"/>
                <a:gd name="T23" fmla="*/ 2147483647 h 234"/>
                <a:gd name="T24" fmla="*/ 2147483647 w 303"/>
                <a:gd name="T25" fmla="*/ 2147483647 h 234"/>
                <a:gd name="T26" fmla="*/ 2147483647 w 303"/>
                <a:gd name="T27" fmla="*/ 2147483647 h 234"/>
                <a:gd name="T28" fmla="*/ 2147483647 w 303"/>
                <a:gd name="T29" fmla="*/ 0 h 234"/>
                <a:gd name="T30" fmla="*/ 2147483647 w 303"/>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3"/>
                <a:gd name="T49" fmla="*/ 0 h 234"/>
                <a:gd name="T50" fmla="*/ 303 w 303"/>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3" h="234">
                  <a:moveTo>
                    <a:pt x="265" y="0"/>
                  </a:moveTo>
                  <a:lnTo>
                    <a:pt x="191" y="0"/>
                  </a:lnTo>
                  <a:lnTo>
                    <a:pt x="118" y="0"/>
                  </a:lnTo>
                  <a:lnTo>
                    <a:pt x="56" y="0"/>
                  </a:lnTo>
                  <a:lnTo>
                    <a:pt x="0" y="0"/>
                  </a:lnTo>
                  <a:lnTo>
                    <a:pt x="0" y="102"/>
                  </a:lnTo>
                  <a:lnTo>
                    <a:pt x="0" y="234"/>
                  </a:lnTo>
                  <a:lnTo>
                    <a:pt x="42" y="234"/>
                  </a:lnTo>
                  <a:lnTo>
                    <a:pt x="131" y="234"/>
                  </a:lnTo>
                  <a:lnTo>
                    <a:pt x="181" y="234"/>
                  </a:lnTo>
                  <a:lnTo>
                    <a:pt x="249" y="234"/>
                  </a:lnTo>
                  <a:lnTo>
                    <a:pt x="303" y="234"/>
                  </a:lnTo>
                  <a:lnTo>
                    <a:pt x="303" y="174"/>
                  </a:lnTo>
                  <a:lnTo>
                    <a:pt x="303" y="60"/>
                  </a:lnTo>
                  <a:lnTo>
                    <a:pt x="303" y="0"/>
                  </a:lnTo>
                  <a:lnTo>
                    <a:pt x="265" y="0"/>
                  </a:lnTo>
                  <a:close/>
                </a:path>
              </a:pathLst>
            </a:custGeom>
            <a:grpFill/>
            <a:ln w="6350">
              <a:solidFill>
                <a:schemeClr val="tx2"/>
              </a:solidFill>
              <a:round/>
              <a:headEnd/>
              <a:tailEnd/>
            </a:ln>
          </p:spPr>
          <p:txBody>
            <a:bodyPr/>
            <a:lstStyle/>
            <a:p>
              <a:endParaRPr lang="en-US"/>
            </a:p>
          </p:txBody>
        </p:sp>
        <p:sp>
          <p:nvSpPr>
            <p:cNvPr id="203" name="Freeform 1103"/>
            <p:cNvSpPr>
              <a:spLocks/>
            </p:cNvSpPr>
            <p:nvPr/>
          </p:nvSpPr>
          <p:spPr bwMode="auto">
            <a:xfrm>
              <a:off x="1992200" y="3630651"/>
              <a:ext cx="182054" cy="84958"/>
            </a:xfrm>
            <a:custGeom>
              <a:avLst/>
              <a:gdLst>
                <a:gd name="T0" fmla="*/ 2147483647 w 370"/>
                <a:gd name="T1" fmla="*/ 0 h 171"/>
                <a:gd name="T2" fmla="*/ 2147483647 w 370"/>
                <a:gd name="T3" fmla="*/ 0 h 171"/>
                <a:gd name="T4" fmla="*/ 2147483647 w 370"/>
                <a:gd name="T5" fmla="*/ 0 h 171"/>
                <a:gd name="T6" fmla="*/ 0 w 370"/>
                <a:gd name="T7" fmla="*/ 0 h 171"/>
                <a:gd name="T8" fmla="*/ 0 w 370"/>
                <a:gd name="T9" fmla="*/ 2147483647 h 171"/>
                <a:gd name="T10" fmla="*/ 0 w 370"/>
                <a:gd name="T11" fmla="*/ 2147483647 h 171"/>
                <a:gd name="T12" fmla="*/ 2147483647 w 370"/>
                <a:gd name="T13" fmla="*/ 2147483647 h 171"/>
                <a:gd name="T14" fmla="*/ 2147483647 w 370"/>
                <a:gd name="T15" fmla="*/ 2147483647 h 171"/>
                <a:gd name="T16" fmla="*/ 2147483647 w 370"/>
                <a:gd name="T17" fmla="*/ 2147483647 h 171"/>
                <a:gd name="T18" fmla="*/ 2147483647 w 370"/>
                <a:gd name="T19" fmla="*/ 2147483647 h 171"/>
                <a:gd name="T20" fmla="*/ 2147483647 w 370"/>
                <a:gd name="T21" fmla="*/ 2147483647 h 171"/>
                <a:gd name="T22" fmla="*/ 2147483647 w 370"/>
                <a:gd name="T23" fmla="*/ 2147483647 h 171"/>
                <a:gd name="T24" fmla="*/ 2147483647 w 370"/>
                <a:gd name="T25" fmla="*/ 2147483647 h 171"/>
                <a:gd name="T26" fmla="*/ 2147483647 w 370"/>
                <a:gd name="T27" fmla="*/ 2147483647 h 171"/>
                <a:gd name="T28" fmla="*/ 2147483647 w 370"/>
                <a:gd name="T29" fmla="*/ 2147483647 h 171"/>
                <a:gd name="T30" fmla="*/ 2147483647 w 370"/>
                <a:gd name="T31" fmla="*/ 2147483647 h 171"/>
                <a:gd name="T32" fmla="*/ 2147483647 w 370"/>
                <a:gd name="T33" fmla="*/ 2147483647 h 171"/>
                <a:gd name="T34" fmla="*/ 2147483647 w 370"/>
                <a:gd name="T35" fmla="*/ 2147483647 h 171"/>
                <a:gd name="T36" fmla="*/ 2147483647 w 370"/>
                <a:gd name="T37" fmla="*/ 2147483647 h 171"/>
                <a:gd name="T38" fmla="*/ 2147483647 w 370"/>
                <a:gd name="T39" fmla="*/ 2147483647 h 171"/>
                <a:gd name="T40" fmla="*/ 2147483647 w 370"/>
                <a:gd name="T41" fmla="*/ 2147483647 h 171"/>
                <a:gd name="T42" fmla="*/ 2147483647 w 370"/>
                <a:gd name="T43" fmla="*/ 2147483647 h 171"/>
                <a:gd name="T44" fmla="*/ 2147483647 w 370"/>
                <a:gd name="T45" fmla="*/ 2147483647 h 171"/>
                <a:gd name="T46" fmla="*/ 2147483647 w 370"/>
                <a:gd name="T47" fmla="*/ 2147483647 h 171"/>
                <a:gd name="T48" fmla="*/ 2147483647 w 370"/>
                <a:gd name="T49" fmla="*/ 2147483647 h 171"/>
                <a:gd name="T50" fmla="*/ 2147483647 w 370"/>
                <a:gd name="T51" fmla="*/ 2147483647 h 171"/>
                <a:gd name="T52" fmla="*/ 2147483647 w 370"/>
                <a:gd name="T53" fmla="*/ 2147483647 h 171"/>
                <a:gd name="T54" fmla="*/ 2147483647 w 370"/>
                <a:gd name="T55" fmla="*/ 2147483647 h 171"/>
                <a:gd name="T56" fmla="*/ 2147483647 w 370"/>
                <a:gd name="T57" fmla="*/ 2147483647 h 171"/>
                <a:gd name="T58" fmla="*/ 2147483647 w 370"/>
                <a:gd name="T59" fmla="*/ 2147483647 h 171"/>
                <a:gd name="T60" fmla="*/ 2147483647 w 370"/>
                <a:gd name="T61" fmla="*/ 2147483647 h 171"/>
                <a:gd name="T62" fmla="*/ 2147483647 w 370"/>
                <a:gd name="T63" fmla="*/ 2147483647 h 171"/>
                <a:gd name="T64" fmla="*/ 2147483647 w 370"/>
                <a:gd name="T65" fmla="*/ 2147483647 h 171"/>
                <a:gd name="T66" fmla="*/ 2147483647 w 370"/>
                <a:gd name="T67" fmla="*/ 0 h 171"/>
                <a:gd name="T68" fmla="*/ 2147483647 w 370"/>
                <a:gd name="T69" fmla="*/ 0 h 1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0"/>
                <a:gd name="T106" fmla="*/ 0 h 171"/>
                <a:gd name="T107" fmla="*/ 370 w 370"/>
                <a:gd name="T108" fmla="*/ 171 h 17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0" h="171">
                  <a:moveTo>
                    <a:pt x="222" y="0"/>
                  </a:moveTo>
                  <a:lnTo>
                    <a:pt x="163" y="0"/>
                  </a:lnTo>
                  <a:lnTo>
                    <a:pt x="83" y="0"/>
                  </a:lnTo>
                  <a:lnTo>
                    <a:pt x="0" y="0"/>
                  </a:lnTo>
                  <a:lnTo>
                    <a:pt x="0" y="55"/>
                  </a:lnTo>
                  <a:lnTo>
                    <a:pt x="0" y="115"/>
                  </a:lnTo>
                  <a:lnTo>
                    <a:pt x="43" y="115"/>
                  </a:lnTo>
                  <a:lnTo>
                    <a:pt x="87" y="115"/>
                  </a:lnTo>
                  <a:lnTo>
                    <a:pt x="87" y="171"/>
                  </a:lnTo>
                  <a:lnTo>
                    <a:pt x="158" y="171"/>
                  </a:lnTo>
                  <a:lnTo>
                    <a:pt x="230" y="171"/>
                  </a:lnTo>
                  <a:lnTo>
                    <a:pt x="299" y="171"/>
                  </a:lnTo>
                  <a:lnTo>
                    <a:pt x="370" y="171"/>
                  </a:lnTo>
                  <a:lnTo>
                    <a:pt x="368" y="158"/>
                  </a:lnTo>
                  <a:lnTo>
                    <a:pt x="360" y="154"/>
                  </a:lnTo>
                  <a:lnTo>
                    <a:pt x="358" y="143"/>
                  </a:lnTo>
                  <a:lnTo>
                    <a:pt x="355" y="138"/>
                  </a:lnTo>
                  <a:lnTo>
                    <a:pt x="351" y="131"/>
                  </a:lnTo>
                  <a:lnTo>
                    <a:pt x="353" y="122"/>
                  </a:lnTo>
                  <a:lnTo>
                    <a:pt x="351" y="112"/>
                  </a:lnTo>
                  <a:lnTo>
                    <a:pt x="351" y="98"/>
                  </a:lnTo>
                  <a:lnTo>
                    <a:pt x="347" y="96"/>
                  </a:lnTo>
                  <a:lnTo>
                    <a:pt x="349" y="89"/>
                  </a:lnTo>
                  <a:lnTo>
                    <a:pt x="342" y="84"/>
                  </a:lnTo>
                  <a:lnTo>
                    <a:pt x="343" y="70"/>
                  </a:lnTo>
                  <a:lnTo>
                    <a:pt x="331" y="47"/>
                  </a:lnTo>
                  <a:lnTo>
                    <a:pt x="328" y="29"/>
                  </a:lnTo>
                  <a:lnTo>
                    <a:pt x="324" y="28"/>
                  </a:lnTo>
                  <a:lnTo>
                    <a:pt x="318" y="28"/>
                  </a:lnTo>
                  <a:lnTo>
                    <a:pt x="315" y="19"/>
                  </a:lnTo>
                  <a:lnTo>
                    <a:pt x="291" y="8"/>
                  </a:lnTo>
                  <a:lnTo>
                    <a:pt x="266" y="8"/>
                  </a:lnTo>
                  <a:lnTo>
                    <a:pt x="258" y="13"/>
                  </a:lnTo>
                  <a:lnTo>
                    <a:pt x="238" y="0"/>
                  </a:lnTo>
                  <a:lnTo>
                    <a:pt x="222" y="0"/>
                  </a:lnTo>
                  <a:close/>
                </a:path>
              </a:pathLst>
            </a:custGeom>
            <a:grpFill/>
            <a:ln w="6350">
              <a:solidFill>
                <a:schemeClr val="tx2"/>
              </a:solidFill>
              <a:round/>
              <a:headEnd/>
              <a:tailEnd/>
            </a:ln>
          </p:spPr>
          <p:txBody>
            <a:bodyPr/>
            <a:lstStyle/>
            <a:p>
              <a:endParaRPr lang="en-US"/>
            </a:p>
          </p:txBody>
        </p:sp>
        <p:sp>
          <p:nvSpPr>
            <p:cNvPr id="204" name="Freeform 1104"/>
            <p:cNvSpPr>
              <a:spLocks/>
            </p:cNvSpPr>
            <p:nvPr/>
          </p:nvSpPr>
          <p:spPr bwMode="auto">
            <a:xfrm>
              <a:off x="1882968" y="3688302"/>
              <a:ext cx="151711" cy="109232"/>
            </a:xfrm>
            <a:custGeom>
              <a:avLst/>
              <a:gdLst>
                <a:gd name="T0" fmla="*/ 2147483647 w 304"/>
                <a:gd name="T1" fmla="*/ 2147483647 h 221"/>
                <a:gd name="T2" fmla="*/ 2147483647 w 304"/>
                <a:gd name="T3" fmla="*/ 2147483647 h 221"/>
                <a:gd name="T4" fmla="*/ 2147483647 w 304"/>
                <a:gd name="T5" fmla="*/ 2147483647 h 221"/>
                <a:gd name="T6" fmla="*/ 2147483647 w 304"/>
                <a:gd name="T7" fmla="*/ 2147483647 h 221"/>
                <a:gd name="T8" fmla="*/ 0 w 304"/>
                <a:gd name="T9" fmla="*/ 2147483647 h 221"/>
                <a:gd name="T10" fmla="*/ 0 w 304"/>
                <a:gd name="T11" fmla="*/ 2147483647 h 221"/>
                <a:gd name="T12" fmla="*/ 0 w 304"/>
                <a:gd name="T13" fmla="*/ 2147483647 h 221"/>
                <a:gd name="T14" fmla="*/ 0 w 304"/>
                <a:gd name="T15" fmla="*/ 0 h 221"/>
                <a:gd name="T16" fmla="*/ 2147483647 w 304"/>
                <a:gd name="T17" fmla="*/ 0 h 221"/>
                <a:gd name="T18" fmla="*/ 2147483647 w 304"/>
                <a:gd name="T19" fmla="*/ 0 h 221"/>
                <a:gd name="T20" fmla="*/ 2147483647 w 304"/>
                <a:gd name="T21" fmla="*/ 0 h 221"/>
                <a:gd name="T22" fmla="*/ 2147483647 w 304"/>
                <a:gd name="T23" fmla="*/ 0 h 221"/>
                <a:gd name="T24" fmla="*/ 2147483647 w 304"/>
                <a:gd name="T25" fmla="*/ 0 h 221"/>
                <a:gd name="T26" fmla="*/ 2147483647 w 304"/>
                <a:gd name="T27" fmla="*/ 2147483647 h 221"/>
                <a:gd name="T28" fmla="*/ 2147483647 w 304"/>
                <a:gd name="T29" fmla="*/ 2147483647 h 221"/>
                <a:gd name="T30" fmla="*/ 2147483647 w 304"/>
                <a:gd name="T31" fmla="*/ 2147483647 h 221"/>
                <a:gd name="T32" fmla="*/ 2147483647 w 304"/>
                <a:gd name="T33" fmla="*/ 2147483647 h 2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4"/>
                <a:gd name="T52" fmla="*/ 0 h 221"/>
                <a:gd name="T53" fmla="*/ 304 w 304"/>
                <a:gd name="T54" fmla="*/ 221 h 2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4" h="221">
                  <a:moveTo>
                    <a:pt x="261" y="221"/>
                  </a:moveTo>
                  <a:lnTo>
                    <a:pt x="188" y="221"/>
                  </a:lnTo>
                  <a:lnTo>
                    <a:pt x="114" y="221"/>
                  </a:lnTo>
                  <a:lnTo>
                    <a:pt x="52" y="221"/>
                  </a:lnTo>
                  <a:lnTo>
                    <a:pt x="0" y="221"/>
                  </a:lnTo>
                  <a:lnTo>
                    <a:pt x="0" y="160"/>
                  </a:lnTo>
                  <a:lnTo>
                    <a:pt x="0" y="76"/>
                  </a:lnTo>
                  <a:lnTo>
                    <a:pt x="0" y="0"/>
                  </a:lnTo>
                  <a:lnTo>
                    <a:pt x="45" y="0"/>
                  </a:lnTo>
                  <a:lnTo>
                    <a:pt x="95" y="0"/>
                  </a:lnTo>
                  <a:lnTo>
                    <a:pt x="163" y="0"/>
                  </a:lnTo>
                  <a:lnTo>
                    <a:pt x="260" y="0"/>
                  </a:lnTo>
                  <a:lnTo>
                    <a:pt x="304" y="0"/>
                  </a:lnTo>
                  <a:lnTo>
                    <a:pt x="304" y="107"/>
                  </a:lnTo>
                  <a:lnTo>
                    <a:pt x="304" y="169"/>
                  </a:lnTo>
                  <a:lnTo>
                    <a:pt x="304" y="221"/>
                  </a:lnTo>
                  <a:lnTo>
                    <a:pt x="261" y="221"/>
                  </a:lnTo>
                  <a:close/>
                </a:path>
              </a:pathLst>
            </a:custGeom>
            <a:grpFill/>
            <a:ln w="6350">
              <a:solidFill>
                <a:schemeClr val="tx2"/>
              </a:solidFill>
              <a:round/>
              <a:headEnd/>
              <a:tailEnd/>
            </a:ln>
          </p:spPr>
          <p:txBody>
            <a:bodyPr/>
            <a:lstStyle/>
            <a:p>
              <a:endParaRPr lang="en-US"/>
            </a:p>
          </p:txBody>
        </p:sp>
        <p:sp>
          <p:nvSpPr>
            <p:cNvPr id="205" name="Freeform 1105"/>
            <p:cNvSpPr>
              <a:spLocks/>
            </p:cNvSpPr>
            <p:nvPr/>
          </p:nvSpPr>
          <p:spPr bwMode="auto">
            <a:xfrm>
              <a:off x="2034679" y="3715610"/>
              <a:ext cx="157780" cy="81924"/>
            </a:xfrm>
            <a:custGeom>
              <a:avLst/>
              <a:gdLst>
                <a:gd name="T0" fmla="*/ 2147483647 w 319"/>
                <a:gd name="T1" fmla="*/ 0 h 165"/>
                <a:gd name="T2" fmla="*/ 2147483647 w 319"/>
                <a:gd name="T3" fmla="*/ 0 h 165"/>
                <a:gd name="T4" fmla="*/ 2147483647 w 319"/>
                <a:gd name="T5" fmla="*/ 0 h 165"/>
                <a:gd name="T6" fmla="*/ 2147483647 w 319"/>
                <a:gd name="T7" fmla="*/ 0 h 165"/>
                <a:gd name="T8" fmla="*/ 0 w 319"/>
                <a:gd name="T9" fmla="*/ 0 h 165"/>
                <a:gd name="T10" fmla="*/ 0 w 319"/>
                <a:gd name="T11" fmla="*/ 2147483647 h 165"/>
                <a:gd name="T12" fmla="*/ 0 w 319"/>
                <a:gd name="T13" fmla="*/ 2147483647 h 165"/>
                <a:gd name="T14" fmla="*/ 0 w 319"/>
                <a:gd name="T15" fmla="*/ 2147483647 h 165"/>
                <a:gd name="T16" fmla="*/ 2147483647 w 319"/>
                <a:gd name="T17" fmla="*/ 2147483647 h 165"/>
                <a:gd name="T18" fmla="*/ 2147483647 w 319"/>
                <a:gd name="T19" fmla="*/ 2147483647 h 165"/>
                <a:gd name="T20" fmla="*/ 2147483647 w 319"/>
                <a:gd name="T21" fmla="*/ 2147483647 h 165"/>
                <a:gd name="T22" fmla="*/ 2147483647 w 319"/>
                <a:gd name="T23" fmla="*/ 2147483647 h 165"/>
                <a:gd name="T24" fmla="*/ 2147483647 w 319"/>
                <a:gd name="T25" fmla="*/ 2147483647 h 165"/>
                <a:gd name="T26" fmla="*/ 2147483647 w 319"/>
                <a:gd name="T27" fmla="*/ 2147483647 h 165"/>
                <a:gd name="T28" fmla="*/ 2147483647 w 319"/>
                <a:gd name="T29" fmla="*/ 2147483647 h 165"/>
                <a:gd name="T30" fmla="*/ 2147483647 w 319"/>
                <a:gd name="T31" fmla="*/ 2147483647 h 165"/>
                <a:gd name="T32" fmla="*/ 2147483647 w 319"/>
                <a:gd name="T33" fmla="*/ 2147483647 h 165"/>
                <a:gd name="T34" fmla="*/ 2147483647 w 319"/>
                <a:gd name="T35" fmla="*/ 2147483647 h 165"/>
                <a:gd name="T36" fmla="*/ 2147483647 w 319"/>
                <a:gd name="T37" fmla="*/ 2147483647 h 165"/>
                <a:gd name="T38" fmla="*/ 2147483647 w 319"/>
                <a:gd name="T39" fmla="*/ 2147483647 h 165"/>
                <a:gd name="T40" fmla="*/ 2147483647 w 319"/>
                <a:gd name="T41" fmla="*/ 0 h 165"/>
                <a:gd name="T42" fmla="*/ 2147483647 w 319"/>
                <a:gd name="T43" fmla="*/ 0 h 1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9"/>
                <a:gd name="T67" fmla="*/ 0 h 165"/>
                <a:gd name="T68" fmla="*/ 319 w 319"/>
                <a:gd name="T69" fmla="*/ 165 h 16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9" h="165">
                  <a:moveTo>
                    <a:pt x="275" y="0"/>
                  </a:moveTo>
                  <a:lnTo>
                    <a:pt x="212" y="0"/>
                  </a:lnTo>
                  <a:lnTo>
                    <a:pt x="143" y="0"/>
                  </a:lnTo>
                  <a:lnTo>
                    <a:pt x="71" y="0"/>
                  </a:lnTo>
                  <a:lnTo>
                    <a:pt x="0" y="0"/>
                  </a:lnTo>
                  <a:lnTo>
                    <a:pt x="0" y="51"/>
                  </a:lnTo>
                  <a:lnTo>
                    <a:pt x="0" y="113"/>
                  </a:lnTo>
                  <a:lnTo>
                    <a:pt x="0" y="165"/>
                  </a:lnTo>
                  <a:lnTo>
                    <a:pt x="41" y="165"/>
                  </a:lnTo>
                  <a:lnTo>
                    <a:pt x="104" y="165"/>
                  </a:lnTo>
                  <a:lnTo>
                    <a:pt x="176" y="165"/>
                  </a:lnTo>
                  <a:lnTo>
                    <a:pt x="253" y="165"/>
                  </a:lnTo>
                  <a:lnTo>
                    <a:pt x="319" y="165"/>
                  </a:lnTo>
                  <a:lnTo>
                    <a:pt x="319" y="49"/>
                  </a:lnTo>
                  <a:lnTo>
                    <a:pt x="310" y="45"/>
                  </a:lnTo>
                  <a:lnTo>
                    <a:pt x="296" y="26"/>
                  </a:lnTo>
                  <a:lnTo>
                    <a:pt x="302" y="16"/>
                  </a:lnTo>
                  <a:lnTo>
                    <a:pt x="308" y="16"/>
                  </a:lnTo>
                  <a:lnTo>
                    <a:pt x="305" y="7"/>
                  </a:lnTo>
                  <a:lnTo>
                    <a:pt x="296" y="9"/>
                  </a:lnTo>
                  <a:lnTo>
                    <a:pt x="283" y="0"/>
                  </a:lnTo>
                  <a:lnTo>
                    <a:pt x="275" y="0"/>
                  </a:lnTo>
                  <a:close/>
                </a:path>
              </a:pathLst>
            </a:custGeom>
            <a:grpFill/>
            <a:ln w="6350">
              <a:solidFill>
                <a:schemeClr val="tx2"/>
              </a:solidFill>
              <a:round/>
              <a:headEnd/>
              <a:tailEnd/>
            </a:ln>
          </p:spPr>
          <p:txBody>
            <a:bodyPr/>
            <a:lstStyle/>
            <a:p>
              <a:endParaRPr lang="en-US"/>
            </a:p>
          </p:txBody>
        </p:sp>
        <p:sp>
          <p:nvSpPr>
            <p:cNvPr id="206" name="Freeform 1106"/>
            <p:cNvSpPr>
              <a:spLocks/>
            </p:cNvSpPr>
            <p:nvPr/>
          </p:nvSpPr>
          <p:spPr bwMode="auto">
            <a:xfrm>
              <a:off x="1936066" y="3811188"/>
              <a:ext cx="282183" cy="265494"/>
            </a:xfrm>
            <a:custGeom>
              <a:avLst/>
              <a:gdLst>
                <a:gd name="T0" fmla="*/ 2147483647 w 566"/>
                <a:gd name="T1" fmla="*/ 2147483647 h 532"/>
                <a:gd name="T2" fmla="*/ 2147483647 w 566"/>
                <a:gd name="T3" fmla="*/ 2147483647 h 532"/>
                <a:gd name="T4" fmla="*/ 2147483647 w 566"/>
                <a:gd name="T5" fmla="*/ 2147483647 h 532"/>
                <a:gd name="T6" fmla="*/ 2147483647 w 566"/>
                <a:gd name="T7" fmla="*/ 2147483647 h 532"/>
                <a:gd name="T8" fmla="*/ 2147483647 w 566"/>
                <a:gd name="T9" fmla="*/ 2147483647 h 532"/>
                <a:gd name="T10" fmla="*/ 2147483647 w 566"/>
                <a:gd name="T11" fmla="*/ 2147483647 h 532"/>
                <a:gd name="T12" fmla="*/ 2147483647 w 566"/>
                <a:gd name="T13" fmla="*/ 2147483647 h 532"/>
                <a:gd name="T14" fmla="*/ 2147483647 w 566"/>
                <a:gd name="T15" fmla="*/ 2147483647 h 532"/>
                <a:gd name="T16" fmla="*/ 2147483647 w 566"/>
                <a:gd name="T17" fmla="*/ 2147483647 h 532"/>
                <a:gd name="T18" fmla="*/ 2147483647 w 566"/>
                <a:gd name="T19" fmla="*/ 2147483647 h 532"/>
                <a:gd name="T20" fmla="*/ 2147483647 w 566"/>
                <a:gd name="T21" fmla="*/ 2147483647 h 532"/>
                <a:gd name="T22" fmla="*/ 2147483647 w 566"/>
                <a:gd name="T23" fmla="*/ 2147483647 h 532"/>
                <a:gd name="T24" fmla="*/ 2147483647 w 566"/>
                <a:gd name="T25" fmla="*/ 2147483647 h 532"/>
                <a:gd name="T26" fmla="*/ 2147483647 w 566"/>
                <a:gd name="T27" fmla="*/ 2147483647 h 532"/>
                <a:gd name="T28" fmla="*/ 2147483647 w 566"/>
                <a:gd name="T29" fmla="*/ 2147483647 h 532"/>
                <a:gd name="T30" fmla="*/ 2147483647 w 566"/>
                <a:gd name="T31" fmla="*/ 2147483647 h 532"/>
                <a:gd name="T32" fmla="*/ 2147483647 w 566"/>
                <a:gd name="T33" fmla="*/ 2147483647 h 532"/>
                <a:gd name="T34" fmla="*/ 2147483647 w 566"/>
                <a:gd name="T35" fmla="*/ 2147483647 h 532"/>
                <a:gd name="T36" fmla="*/ 2147483647 w 566"/>
                <a:gd name="T37" fmla="*/ 2147483647 h 532"/>
                <a:gd name="T38" fmla="*/ 2147483647 w 566"/>
                <a:gd name="T39" fmla="*/ 2147483647 h 532"/>
                <a:gd name="T40" fmla="*/ 2147483647 w 566"/>
                <a:gd name="T41" fmla="*/ 2147483647 h 532"/>
                <a:gd name="T42" fmla="*/ 2147483647 w 566"/>
                <a:gd name="T43" fmla="*/ 2147483647 h 532"/>
                <a:gd name="T44" fmla="*/ 2147483647 w 566"/>
                <a:gd name="T45" fmla="*/ 2147483647 h 532"/>
                <a:gd name="T46" fmla="*/ 2147483647 w 566"/>
                <a:gd name="T47" fmla="*/ 2147483647 h 532"/>
                <a:gd name="T48" fmla="*/ 2147483647 w 566"/>
                <a:gd name="T49" fmla="*/ 2147483647 h 532"/>
                <a:gd name="T50" fmla="*/ 2147483647 w 566"/>
                <a:gd name="T51" fmla="*/ 2147483647 h 532"/>
                <a:gd name="T52" fmla="*/ 2147483647 w 566"/>
                <a:gd name="T53" fmla="*/ 2147483647 h 532"/>
                <a:gd name="T54" fmla="*/ 2147483647 w 566"/>
                <a:gd name="T55" fmla="*/ 2147483647 h 532"/>
                <a:gd name="T56" fmla="*/ 2147483647 w 566"/>
                <a:gd name="T57" fmla="*/ 2147483647 h 532"/>
                <a:gd name="T58" fmla="*/ 2147483647 w 566"/>
                <a:gd name="T59" fmla="*/ 2147483647 h 532"/>
                <a:gd name="T60" fmla="*/ 2147483647 w 566"/>
                <a:gd name="T61" fmla="*/ 2147483647 h 532"/>
                <a:gd name="T62" fmla="*/ 2147483647 w 566"/>
                <a:gd name="T63" fmla="*/ 2147483647 h 532"/>
                <a:gd name="T64" fmla="*/ 2147483647 w 566"/>
                <a:gd name="T65" fmla="*/ 2147483647 h 532"/>
                <a:gd name="T66" fmla="*/ 2147483647 w 566"/>
                <a:gd name="T67" fmla="*/ 2147483647 h 532"/>
                <a:gd name="T68" fmla="*/ 2147483647 w 566"/>
                <a:gd name="T69" fmla="*/ 2147483647 h 532"/>
                <a:gd name="T70" fmla="*/ 2147483647 w 566"/>
                <a:gd name="T71" fmla="*/ 2147483647 h 532"/>
                <a:gd name="T72" fmla="*/ 2147483647 w 566"/>
                <a:gd name="T73" fmla="*/ 2147483647 h 532"/>
                <a:gd name="T74" fmla="*/ 2147483647 w 566"/>
                <a:gd name="T75" fmla="*/ 2147483647 h 532"/>
                <a:gd name="T76" fmla="*/ 2147483647 w 566"/>
                <a:gd name="T77" fmla="*/ 2147483647 h 532"/>
                <a:gd name="T78" fmla="*/ 2147483647 w 566"/>
                <a:gd name="T79" fmla="*/ 2147483647 h 532"/>
                <a:gd name="T80" fmla="*/ 2147483647 w 566"/>
                <a:gd name="T81" fmla="*/ 2147483647 h 532"/>
                <a:gd name="T82" fmla="*/ 2147483647 w 566"/>
                <a:gd name="T83" fmla="*/ 2147483647 h 532"/>
                <a:gd name="T84" fmla="*/ 2147483647 w 566"/>
                <a:gd name="T85" fmla="*/ 2147483647 h 532"/>
                <a:gd name="T86" fmla="*/ 2147483647 w 566"/>
                <a:gd name="T87" fmla="*/ 2147483647 h 532"/>
                <a:gd name="T88" fmla="*/ 2147483647 w 566"/>
                <a:gd name="T89" fmla="*/ 2147483647 h 532"/>
                <a:gd name="T90" fmla="*/ 2147483647 w 566"/>
                <a:gd name="T91" fmla="*/ 2147483647 h 532"/>
                <a:gd name="T92" fmla="*/ 2147483647 w 566"/>
                <a:gd name="T93" fmla="*/ 2147483647 h 532"/>
                <a:gd name="T94" fmla="*/ 2147483647 w 566"/>
                <a:gd name="T95" fmla="*/ 0 h 532"/>
                <a:gd name="T96" fmla="*/ 2147483647 w 566"/>
                <a:gd name="T97" fmla="*/ 0 h 532"/>
                <a:gd name="T98" fmla="*/ 2147483647 w 566"/>
                <a:gd name="T99" fmla="*/ 2147483647 h 532"/>
                <a:gd name="T100" fmla="*/ 2147483647 w 566"/>
                <a:gd name="T101" fmla="*/ 2147483647 h 532"/>
                <a:gd name="T102" fmla="*/ 2147483647 w 566"/>
                <a:gd name="T103" fmla="*/ 2147483647 h 5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66"/>
                <a:gd name="T157" fmla="*/ 0 h 532"/>
                <a:gd name="T158" fmla="*/ 566 w 566"/>
                <a:gd name="T159" fmla="*/ 532 h 53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66" h="532">
                  <a:moveTo>
                    <a:pt x="114" y="233"/>
                  </a:moveTo>
                  <a:lnTo>
                    <a:pt x="52" y="233"/>
                  </a:lnTo>
                  <a:lnTo>
                    <a:pt x="0" y="233"/>
                  </a:lnTo>
                  <a:lnTo>
                    <a:pt x="3" y="241"/>
                  </a:lnTo>
                  <a:lnTo>
                    <a:pt x="14" y="247"/>
                  </a:lnTo>
                  <a:lnTo>
                    <a:pt x="20" y="257"/>
                  </a:lnTo>
                  <a:lnTo>
                    <a:pt x="29" y="262"/>
                  </a:lnTo>
                  <a:lnTo>
                    <a:pt x="52" y="286"/>
                  </a:lnTo>
                  <a:lnTo>
                    <a:pt x="75" y="301"/>
                  </a:lnTo>
                  <a:lnTo>
                    <a:pt x="86" y="341"/>
                  </a:lnTo>
                  <a:lnTo>
                    <a:pt x="97" y="356"/>
                  </a:lnTo>
                  <a:lnTo>
                    <a:pt x="131" y="381"/>
                  </a:lnTo>
                  <a:lnTo>
                    <a:pt x="148" y="384"/>
                  </a:lnTo>
                  <a:lnTo>
                    <a:pt x="169" y="345"/>
                  </a:lnTo>
                  <a:lnTo>
                    <a:pt x="178" y="342"/>
                  </a:lnTo>
                  <a:lnTo>
                    <a:pt x="222" y="343"/>
                  </a:lnTo>
                  <a:lnTo>
                    <a:pt x="229" y="350"/>
                  </a:lnTo>
                  <a:lnTo>
                    <a:pt x="255" y="376"/>
                  </a:lnTo>
                  <a:lnTo>
                    <a:pt x="270" y="413"/>
                  </a:lnTo>
                  <a:lnTo>
                    <a:pt x="283" y="426"/>
                  </a:lnTo>
                  <a:lnTo>
                    <a:pt x="289" y="441"/>
                  </a:lnTo>
                  <a:lnTo>
                    <a:pt x="303" y="450"/>
                  </a:lnTo>
                  <a:lnTo>
                    <a:pt x="315" y="488"/>
                  </a:lnTo>
                  <a:lnTo>
                    <a:pt x="328" y="507"/>
                  </a:lnTo>
                  <a:lnTo>
                    <a:pt x="341" y="516"/>
                  </a:lnTo>
                  <a:lnTo>
                    <a:pt x="364" y="524"/>
                  </a:lnTo>
                  <a:lnTo>
                    <a:pt x="385" y="525"/>
                  </a:lnTo>
                  <a:lnTo>
                    <a:pt x="400" y="532"/>
                  </a:lnTo>
                  <a:lnTo>
                    <a:pt x="414" y="532"/>
                  </a:lnTo>
                  <a:lnTo>
                    <a:pt x="407" y="521"/>
                  </a:lnTo>
                  <a:lnTo>
                    <a:pt x="400" y="494"/>
                  </a:lnTo>
                  <a:lnTo>
                    <a:pt x="403" y="475"/>
                  </a:lnTo>
                  <a:lnTo>
                    <a:pt x="395" y="471"/>
                  </a:lnTo>
                  <a:lnTo>
                    <a:pt x="407" y="467"/>
                  </a:lnTo>
                  <a:lnTo>
                    <a:pt x="409" y="451"/>
                  </a:lnTo>
                  <a:lnTo>
                    <a:pt x="404" y="443"/>
                  </a:lnTo>
                  <a:lnTo>
                    <a:pt x="415" y="441"/>
                  </a:lnTo>
                  <a:lnTo>
                    <a:pt x="419" y="433"/>
                  </a:lnTo>
                  <a:lnTo>
                    <a:pt x="414" y="432"/>
                  </a:lnTo>
                  <a:lnTo>
                    <a:pt x="415" y="429"/>
                  </a:lnTo>
                  <a:lnTo>
                    <a:pt x="425" y="425"/>
                  </a:lnTo>
                  <a:lnTo>
                    <a:pt x="432" y="415"/>
                  </a:lnTo>
                  <a:lnTo>
                    <a:pt x="443" y="413"/>
                  </a:lnTo>
                  <a:lnTo>
                    <a:pt x="440" y="400"/>
                  </a:lnTo>
                  <a:lnTo>
                    <a:pt x="447" y="404"/>
                  </a:lnTo>
                  <a:lnTo>
                    <a:pt x="448" y="397"/>
                  </a:lnTo>
                  <a:lnTo>
                    <a:pt x="453" y="403"/>
                  </a:lnTo>
                  <a:lnTo>
                    <a:pt x="458" y="396"/>
                  </a:lnTo>
                  <a:lnTo>
                    <a:pt x="460" y="404"/>
                  </a:lnTo>
                  <a:lnTo>
                    <a:pt x="474" y="400"/>
                  </a:lnTo>
                  <a:lnTo>
                    <a:pt x="456" y="412"/>
                  </a:lnTo>
                  <a:lnTo>
                    <a:pt x="465" y="410"/>
                  </a:lnTo>
                  <a:lnTo>
                    <a:pt x="481" y="403"/>
                  </a:lnTo>
                  <a:lnTo>
                    <a:pt x="487" y="396"/>
                  </a:lnTo>
                  <a:lnTo>
                    <a:pt x="496" y="388"/>
                  </a:lnTo>
                  <a:lnTo>
                    <a:pt x="505" y="373"/>
                  </a:lnTo>
                  <a:lnTo>
                    <a:pt x="508" y="345"/>
                  </a:lnTo>
                  <a:lnTo>
                    <a:pt x="512" y="344"/>
                  </a:lnTo>
                  <a:lnTo>
                    <a:pt x="513" y="353"/>
                  </a:lnTo>
                  <a:lnTo>
                    <a:pt x="518" y="354"/>
                  </a:lnTo>
                  <a:lnTo>
                    <a:pt x="514" y="360"/>
                  </a:lnTo>
                  <a:lnTo>
                    <a:pt x="538" y="349"/>
                  </a:lnTo>
                  <a:lnTo>
                    <a:pt x="551" y="348"/>
                  </a:lnTo>
                  <a:lnTo>
                    <a:pt x="547" y="343"/>
                  </a:lnTo>
                  <a:lnTo>
                    <a:pt x="557" y="331"/>
                  </a:lnTo>
                  <a:lnTo>
                    <a:pt x="556" y="305"/>
                  </a:lnTo>
                  <a:lnTo>
                    <a:pt x="566" y="281"/>
                  </a:lnTo>
                  <a:lnTo>
                    <a:pt x="552" y="253"/>
                  </a:lnTo>
                  <a:lnTo>
                    <a:pt x="552" y="243"/>
                  </a:lnTo>
                  <a:lnTo>
                    <a:pt x="543" y="233"/>
                  </a:lnTo>
                  <a:lnTo>
                    <a:pt x="543" y="154"/>
                  </a:lnTo>
                  <a:lnTo>
                    <a:pt x="528" y="154"/>
                  </a:lnTo>
                  <a:lnTo>
                    <a:pt x="525" y="149"/>
                  </a:lnTo>
                  <a:lnTo>
                    <a:pt x="491" y="133"/>
                  </a:lnTo>
                  <a:lnTo>
                    <a:pt x="486" y="138"/>
                  </a:lnTo>
                  <a:lnTo>
                    <a:pt x="476" y="134"/>
                  </a:lnTo>
                  <a:lnTo>
                    <a:pt x="468" y="139"/>
                  </a:lnTo>
                  <a:lnTo>
                    <a:pt x="461" y="137"/>
                  </a:lnTo>
                  <a:lnTo>
                    <a:pt x="445" y="147"/>
                  </a:lnTo>
                  <a:lnTo>
                    <a:pt x="424" y="135"/>
                  </a:lnTo>
                  <a:lnTo>
                    <a:pt x="412" y="139"/>
                  </a:lnTo>
                  <a:lnTo>
                    <a:pt x="409" y="145"/>
                  </a:lnTo>
                  <a:lnTo>
                    <a:pt x="407" y="136"/>
                  </a:lnTo>
                  <a:lnTo>
                    <a:pt x="397" y="140"/>
                  </a:lnTo>
                  <a:lnTo>
                    <a:pt x="388" y="132"/>
                  </a:lnTo>
                  <a:lnTo>
                    <a:pt x="378" y="138"/>
                  </a:lnTo>
                  <a:lnTo>
                    <a:pt x="373" y="137"/>
                  </a:lnTo>
                  <a:lnTo>
                    <a:pt x="367" y="124"/>
                  </a:lnTo>
                  <a:lnTo>
                    <a:pt x="352" y="128"/>
                  </a:lnTo>
                  <a:lnTo>
                    <a:pt x="346" y="123"/>
                  </a:lnTo>
                  <a:lnTo>
                    <a:pt x="322" y="120"/>
                  </a:lnTo>
                  <a:lnTo>
                    <a:pt x="314" y="107"/>
                  </a:lnTo>
                  <a:lnTo>
                    <a:pt x="312" y="111"/>
                  </a:lnTo>
                  <a:lnTo>
                    <a:pt x="301" y="111"/>
                  </a:lnTo>
                  <a:lnTo>
                    <a:pt x="286" y="101"/>
                  </a:lnTo>
                  <a:lnTo>
                    <a:pt x="286" y="0"/>
                  </a:lnTo>
                  <a:lnTo>
                    <a:pt x="239" y="0"/>
                  </a:lnTo>
                  <a:lnTo>
                    <a:pt x="201" y="0"/>
                  </a:lnTo>
                  <a:lnTo>
                    <a:pt x="155" y="0"/>
                  </a:lnTo>
                  <a:lnTo>
                    <a:pt x="155" y="53"/>
                  </a:lnTo>
                  <a:lnTo>
                    <a:pt x="155" y="119"/>
                  </a:lnTo>
                  <a:lnTo>
                    <a:pt x="155" y="175"/>
                  </a:lnTo>
                  <a:lnTo>
                    <a:pt x="155" y="233"/>
                  </a:lnTo>
                  <a:lnTo>
                    <a:pt x="114" y="233"/>
                  </a:lnTo>
                  <a:close/>
                </a:path>
              </a:pathLst>
            </a:custGeom>
            <a:grpFill/>
            <a:ln w="6350">
              <a:solidFill>
                <a:schemeClr val="tx2"/>
              </a:solidFill>
              <a:round/>
              <a:headEnd/>
              <a:tailEnd/>
            </a:ln>
          </p:spPr>
          <p:txBody>
            <a:bodyPr/>
            <a:lstStyle/>
            <a:p>
              <a:endParaRPr lang="en-US"/>
            </a:p>
          </p:txBody>
        </p:sp>
        <p:sp>
          <p:nvSpPr>
            <p:cNvPr id="207" name="Freeform 1107"/>
            <p:cNvSpPr>
              <a:spLocks/>
            </p:cNvSpPr>
            <p:nvPr/>
          </p:nvSpPr>
          <p:spPr bwMode="auto">
            <a:xfrm>
              <a:off x="1993717" y="3542659"/>
              <a:ext cx="160814" cy="103163"/>
            </a:xfrm>
            <a:custGeom>
              <a:avLst/>
              <a:gdLst>
                <a:gd name="T0" fmla="*/ 2147483647 w 326"/>
                <a:gd name="T1" fmla="*/ 0 h 205"/>
                <a:gd name="T2" fmla="*/ 2147483647 w 326"/>
                <a:gd name="T3" fmla="*/ 0 h 205"/>
                <a:gd name="T4" fmla="*/ 2147483647 w 326"/>
                <a:gd name="T5" fmla="*/ 0 h 205"/>
                <a:gd name="T6" fmla="*/ 2147483647 w 326"/>
                <a:gd name="T7" fmla="*/ 0 h 205"/>
                <a:gd name="T8" fmla="*/ 2147483647 w 326"/>
                <a:gd name="T9" fmla="*/ 0 h 205"/>
                <a:gd name="T10" fmla="*/ 0 w 326"/>
                <a:gd name="T11" fmla="*/ 0 h 205"/>
                <a:gd name="T12" fmla="*/ 0 w 326"/>
                <a:gd name="T13" fmla="*/ 2147483647 h 205"/>
                <a:gd name="T14" fmla="*/ 0 w 326"/>
                <a:gd name="T15" fmla="*/ 2147483647 h 205"/>
                <a:gd name="T16" fmla="*/ 2147483647 w 326"/>
                <a:gd name="T17" fmla="*/ 2147483647 h 205"/>
                <a:gd name="T18" fmla="*/ 2147483647 w 326"/>
                <a:gd name="T19" fmla="*/ 2147483647 h 205"/>
                <a:gd name="T20" fmla="*/ 2147483647 w 326"/>
                <a:gd name="T21" fmla="*/ 2147483647 h 205"/>
                <a:gd name="T22" fmla="*/ 2147483647 w 326"/>
                <a:gd name="T23" fmla="*/ 2147483647 h 205"/>
                <a:gd name="T24" fmla="*/ 2147483647 w 326"/>
                <a:gd name="T25" fmla="*/ 2147483647 h 205"/>
                <a:gd name="T26" fmla="*/ 2147483647 w 326"/>
                <a:gd name="T27" fmla="*/ 2147483647 h 205"/>
                <a:gd name="T28" fmla="*/ 2147483647 w 326"/>
                <a:gd name="T29" fmla="*/ 2147483647 h 205"/>
                <a:gd name="T30" fmla="*/ 2147483647 w 326"/>
                <a:gd name="T31" fmla="*/ 2147483647 h 205"/>
                <a:gd name="T32" fmla="*/ 2147483647 w 326"/>
                <a:gd name="T33" fmla="*/ 2147483647 h 205"/>
                <a:gd name="T34" fmla="*/ 2147483647 w 326"/>
                <a:gd name="T35" fmla="*/ 2147483647 h 205"/>
                <a:gd name="T36" fmla="*/ 2147483647 w 326"/>
                <a:gd name="T37" fmla="*/ 2147483647 h 205"/>
                <a:gd name="T38" fmla="*/ 2147483647 w 326"/>
                <a:gd name="T39" fmla="*/ 2147483647 h 205"/>
                <a:gd name="T40" fmla="*/ 2147483647 w 326"/>
                <a:gd name="T41" fmla="*/ 2147483647 h 205"/>
                <a:gd name="T42" fmla="*/ 2147483647 w 326"/>
                <a:gd name="T43" fmla="*/ 2147483647 h 205"/>
                <a:gd name="T44" fmla="*/ 2147483647 w 326"/>
                <a:gd name="T45" fmla="*/ 2147483647 h 205"/>
                <a:gd name="T46" fmla="*/ 2147483647 w 326"/>
                <a:gd name="T47" fmla="*/ 2147483647 h 205"/>
                <a:gd name="T48" fmla="*/ 2147483647 w 326"/>
                <a:gd name="T49" fmla="*/ 0 h 205"/>
                <a:gd name="T50" fmla="*/ 2147483647 w 326"/>
                <a:gd name="T51" fmla="*/ 0 h 20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26"/>
                <a:gd name="T79" fmla="*/ 0 h 205"/>
                <a:gd name="T80" fmla="*/ 326 w 326"/>
                <a:gd name="T81" fmla="*/ 205 h 20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26" h="205">
                  <a:moveTo>
                    <a:pt x="303" y="0"/>
                  </a:moveTo>
                  <a:lnTo>
                    <a:pt x="266" y="0"/>
                  </a:lnTo>
                  <a:lnTo>
                    <a:pt x="208" y="0"/>
                  </a:lnTo>
                  <a:lnTo>
                    <a:pt x="133" y="0"/>
                  </a:lnTo>
                  <a:lnTo>
                    <a:pt x="62" y="0"/>
                  </a:lnTo>
                  <a:lnTo>
                    <a:pt x="0" y="0"/>
                  </a:lnTo>
                  <a:lnTo>
                    <a:pt x="0" y="118"/>
                  </a:lnTo>
                  <a:lnTo>
                    <a:pt x="0" y="177"/>
                  </a:lnTo>
                  <a:lnTo>
                    <a:pt x="83" y="177"/>
                  </a:lnTo>
                  <a:lnTo>
                    <a:pt x="163" y="177"/>
                  </a:lnTo>
                  <a:lnTo>
                    <a:pt x="238" y="177"/>
                  </a:lnTo>
                  <a:lnTo>
                    <a:pt x="258" y="190"/>
                  </a:lnTo>
                  <a:lnTo>
                    <a:pt x="266" y="185"/>
                  </a:lnTo>
                  <a:lnTo>
                    <a:pt x="291" y="185"/>
                  </a:lnTo>
                  <a:lnTo>
                    <a:pt x="315" y="196"/>
                  </a:lnTo>
                  <a:lnTo>
                    <a:pt x="318" y="205"/>
                  </a:lnTo>
                  <a:lnTo>
                    <a:pt x="324" y="205"/>
                  </a:lnTo>
                  <a:lnTo>
                    <a:pt x="317" y="192"/>
                  </a:lnTo>
                  <a:lnTo>
                    <a:pt x="326" y="170"/>
                  </a:lnTo>
                  <a:lnTo>
                    <a:pt x="320" y="163"/>
                  </a:lnTo>
                  <a:lnTo>
                    <a:pt x="319" y="147"/>
                  </a:lnTo>
                  <a:lnTo>
                    <a:pt x="326" y="147"/>
                  </a:lnTo>
                  <a:lnTo>
                    <a:pt x="326" y="40"/>
                  </a:lnTo>
                  <a:lnTo>
                    <a:pt x="308" y="22"/>
                  </a:lnTo>
                  <a:lnTo>
                    <a:pt x="321" y="0"/>
                  </a:lnTo>
                  <a:lnTo>
                    <a:pt x="303" y="0"/>
                  </a:lnTo>
                  <a:close/>
                </a:path>
              </a:pathLst>
            </a:custGeom>
            <a:grpFill/>
            <a:ln w="6350">
              <a:solidFill>
                <a:schemeClr val="tx2"/>
              </a:solidFill>
              <a:round/>
              <a:headEnd/>
              <a:tailEnd/>
            </a:ln>
          </p:spPr>
          <p:txBody>
            <a:bodyPr/>
            <a:lstStyle/>
            <a:p>
              <a:endParaRPr lang="en-US"/>
            </a:p>
          </p:txBody>
        </p:sp>
        <p:sp>
          <p:nvSpPr>
            <p:cNvPr id="208" name="Freeform 1108"/>
            <p:cNvSpPr>
              <a:spLocks/>
            </p:cNvSpPr>
            <p:nvPr/>
          </p:nvSpPr>
          <p:spPr bwMode="auto">
            <a:xfrm>
              <a:off x="1992200" y="3447081"/>
              <a:ext cx="160814" cy="95578"/>
            </a:xfrm>
            <a:custGeom>
              <a:avLst/>
              <a:gdLst>
                <a:gd name="T0" fmla="*/ 2147483647 w 321"/>
                <a:gd name="T1" fmla="*/ 0 h 192"/>
                <a:gd name="T2" fmla="*/ 2147483647 w 321"/>
                <a:gd name="T3" fmla="*/ 0 h 192"/>
                <a:gd name="T4" fmla="*/ 2147483647 w 321"/>
                <a:gd name="T5" fmla="*/ 0 h 192"/>
                <a:gd name="T6" fmla="*/ 2147483647 w 321"/>
                <a:gd name="T7" fmla="*/ 0 h 192"/>
                <a:gd name="T8" fmla="*/ 0 w 321"/>
                <a:gd name="T9" fmla="*/ 0 h 192"/>
                <a:gd name="T10" fmla="*/ 0 w 321"/>
                <a:gd name="T11" fmla="*/ 2147483647 h 192"/>
                <a:gd name="T12" fmla="*/ 0 w 321"/>
                <a:gd name="T13" fmla="*/ 2147483647 h 192"/>
                <a:gd name="T14" fmla="*/ 2147483647 w 321"/>
                <a:gd name="T15" fmla="*/ 2147483647 h 192"/>
                <a:gd name="T16" fmla="*/ 2147483647 w 321"/>
                <a:gd name="T17" fmla="*/ 2147483647 h 192"/>
                <a:gd name="T18" fmla="*/ 2147483647 w 321"/>
                <a:gd name="T19" fmla="*/ 2147483647 h 192"/>
                <a:gd name="T20" fmla="*/ 2147483647 w 321"/>
                <a:gd name="T21" fmla="*/ 2147483647 h 192"/>
                <a:gd name="T22" fmla="*/ 2147483647 w 321"/>
                <a:gd name="T23" fmla="*/ 2147483647 h 192"/>
                <a:gd name="T24" fmla="*/ 2147483647 w 321"/>
                <a:gd name="T25" fmla="*/ 2147483647 h 192"/>
                <a:gd name="T26" fmla="*/ 2147483647 w 321"/>
                <a:gd name="T27" fmla="*/ 2147483647 h 192"/>
                <a:gd name="T28" fmla="*/ 2147483647 w 321"/>
                <a:gd name="T29" fmla="*/ 2147483647 h 192"/>
                <a:gd name="T30" fmla="*/ 2147483647 w 321"/>
                <a:gd name="T31" fmla="*/ 2147483647 h 192"/>
                <a:gd name="T32" fmla="*/ 2147483647 w 321"/>
                <a:gd name="T33" fmla="*/ 2147483647 h 192"/>
                <a:gd name="T34" fmla="*/ 2147483647 w 321"/>
                <a:gd name="T35" fmla="*/ 2147483647 h 192"/>
                <a:gd name="T36" fmla="*/ 2147483647 w 321"/>
                <a:gd name="T37" fmla="*/ 0 h 192"/>
                <a:gd name="T38" fmla="*/ 2147483647 w 321"/>
                <a:gd name="T39" fmla="*/ 0 h 19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1"/>
                <a:gd name="T61" fmla="*/ 0 h 192"/>
                <a:gd name="T62" fmla="*/ 321 w 321"/>
                <a:gd name="T63" fmla="*/ 192 h 19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1" h="192">
                  <a:moveTo>
                    <a:pt x="237" y="0"/>
                  </a:moveTo>
                  <a:lnTo>
                    <a:pt x="172" y="0"/>
                  </a:lnTo>
                  <a:lnTo>
                    <a:pt x="114" y="0"/>
                  </a:lnTo>
                  <a:lnTo>
                    <a:pt x="55" y="0"/>
                  </a:lnTo>
                  <a:lnTo>
                    <a:pt x="0" y="0"/>
                  </a:lnTo>
                  <a:lnTo>
                    <a:pt x="0" y="93"/>
                  </a:lnTo>
                  <a:lnTo>
                    <a:pt x="0" y="192"/>
                  </a:lnTo>
                  <a:lnTo>
                    <a:pt x="62" y="192"/>
                  </a:lnTo>
                  <a:lnTo>
                    <a:pt x="133" y="192"/>
                  </a:lnTo>
                  <a:lnTo>
                    <a:pt x="208" y="192"/>
                  </a:lnTo>
                  <a:lnTo>
                    <a:pt x="266" y="192"/>
                  </a:lnTo>
                  <a:lnTo>
                    <a:pt x="321" y="192"/>
                  </a:lnTo>
                  <a:lnTo>
                    <a:pt x="320" y="179"/>
                  </a:lnTo>
                  <a:lnTo>
                    <a:pt x="310" y="149"/>
                  </a:lnTo>
                  <a:lnTo>
                    <a:pt x="309" y="125"/>
                  </a:lnTo>
                  <a:lnTo>
                    <a:pt x="308" y="89"/>
                  </a:lnTo>
                  <a:lnTo>
                    <a:pt x="296" y="53"/>
                  </a:lnTo>
                  <a:lnTo>
                    <a:pt x="298" y="21"/>
                  </a:lnTo>
                  <a:lnTo>
                    <a:pt x="292" y="0"/>
                  </a:lnTo>
                  <a:lnTo>
                    <a:pt x="237" y="0"/>
                  </a:lnTo>
                  <a:close/>
                </a:path>
              </a:pathLst>
            </a:custGeom>
            <a:grpFill/>
            <a:ln w="6350">
              <a:solidFill>
                <a:schemeClr val="tx2"/>
              </a:solidFill>
              <a:round/>
              <a:headEnd/>
              <a:tailEnd/>
            </a:ln>
          </p:spPr>
          <p:txBody>
            <a:bodyPr/>
            <a:lstStyle/>
            <a:p>
              <a:endParaRPr lang="en-US"/>
            </a:p>
          </p:txBody>
        </p:sp>
        <p:sp>
          <p:nvSpPr>
            <p:cNvPr id="209" name="Freeform 1109"/>
            <p:cNvSpPr>
              <a:spLocks/>
            </p:cNvSpPr>
            <p:nvPr/>
          </p:nvSpPr>
          <p:spPr bwMode="auto">
            <a:xfrm>
              <a:off x="2034679" y="3040495"/>
              <a:ext cx="276114" cy="406586"/>
            </a:xfrm>
            <a:custGeom>
              <a:avLst/>
              <a:gdLst>
                <a:gd name="T0" fmla="*/ 2147483647 w 556"/>
                <a:gd name="T1" fmla="*/ 2147483647 h 821"/>
                <a:gd name="T2" fmla="*/ 2147483647 w 556"/>
                <a:gd name="T3" fmla="*/ 2147483647 h 821"/>
                <a:gd name="T4" fmla="*/ 2147483647 w 556"/>
                <a:gd name="T5" fmla="*/ 2147483647 h 821"/>
                <a:gd name="T6" fmla="*/ 2147483647 w 556"/>
                <a:gd name="T7" fmla="*/ 2147483647 h 821"/>
                <a:gd name="T8" fmla="*/ 2147483647 w 556"/>
                <a:gd name="T9" fmla="*/ 2147483647 h 821"/>
                <a:gd name="T10" fmla="*/ 2147483647 w 556"/>
                <a:gd name="T11" fmla="*/ 2147483647 h 821"/>
                <a:gd name="T12" fmla="*/ 2147483647 w 556"/>
                <a:gd name="T13" fmla="*/ 2147483647 h 821"/>
                <a:gd name="T14" fmla="*/ 2147483647 w 556"/>
                <a:gd name="T15" fmla="*/ 2147483647 h 821"/>
                <a:gd name="T16" fmla="*/ 2147483647 w 556"/>
                <a:gd name="T17" fmla="*/ 2147483647 h 821"/>
                <a:gd name="T18" fmla="*/ 2147483647 w 556"/>
                <a:gd name="T19" fmla="*/ 2147483647 h 821"/>
                <a:gd name="T20" fmla="*/ 2147483647 w 556"/>
                <a:gd name="T21" fmla="*/ 2147483647 h 821"/>
                <a:gd name="T22" fmla="*/ 2147483647 w 556"/>
                <a:gd name="T23" fmla="*/ 2147483647 h 821"/>
                <a:gd name="T24" fmla="*/ 2147483647 w 556"/>
                <a:gd name="T25" fmla="*/ 2147483647 h 821"/>
                <a:gd name="T26" fmla="*/ 2147483647 w 556"/>
                <a:gd name="T27" fmla="*/ 2147483647 h 821"/>
                <a:gd name="T28" fmla="*/ 2147483647 w 556"/>
                <a:gd name="T29" fmla="*/ 2147483647 h 821"/>
                <a:gd name="T30" fmla="*/ 2147483647 w 556"/>
                <a:gd name="T31" fmla="*/ 2147483647 h 821"/>
                <a:gd name="T32" fmla="*/ 2147483647 w 556"/>
                <a:gd name="T33" fmla="*/ 2147483647 h 821"/>
                <a:gd name="T34" fmla="*/ 2147483647 w 556"/>
                <a:gd name="T35" fmla="*/ 2147483647 h 821"/>
                <a:gd name="T36" fmla="*/ 2147483647 w 556"/>
                <a:gd name="T37" fmla="*/ 2147483647 h 821"/>
                <a:gd name="T38" fmla="*/ 2147483647 w 556"/>
                <a:gd name="T39" fmla="*/ 2147483647 h 821"/>
                <a:gd name="T40" fmla="*/ 2147483647 w 556"/>
                <a:gd name="T41" fmla="*/ 2147483647 h 821"/>
                <a:gd name="T42" fmla="*/ 2147483647 w 556"/>
                <a:gd name="T43" fmla="*/ 2147483647 h 821"/>
                <a:gd name="T44" fmla="*/ 2147483647 w 556"/>
                <a:gd name="T45" fmla="*/ 2147483647 h 821"/>
                <a:gd name="T46" fmla="*/ 2147483647 w 556"/>
                <a:gd name="T47" fmla="*/ 2147483647 h 821"/>
                <a:gd name="T48" fmla="*/ 2147483647 w 556"/>
                <a:gd name="T49" fmla="*/ 2147483647 h 821"/>
                <a:gd name="T50" fmla="*/ 2147483647 w 556"/>
                <a:gd name="T51" fmla="*/ 2147483647 h 821"/>
                <a:gd name="T52" fmla="*/ 2147483647 w 556"/>
                <a:gd name="T53" fmla="*/ 2147483647 h 821"/>
                <a:gd name="T54" fmla="*/ 2147483647 w 556"/>
                <a:gd name="T55" fmla="*/ 2147483647 h 821"/>
                <a:gd name="T56" fmla="*/ 2147483647 w 556"/>
                <a:gd name="T57" fmla="*/ 2147483647 h 821"/>
                <a:gd name="T58" fmla="*/ 2147483647 w 556"/>
                <a:gd name="T59" fmla="*/ 2147483647 h 821"/>
                <a:gd name="T60" fmla="*/ 2147483647 w 556"/>
                <a:gd name="T61" fmla="*/ 2147483647 h 821"/>
                <a:gd name="T62" fmla="*/ 2147483647 w 556"/>
                <a:gd name="T63" fmla="*/ 2147483647 h 821"/>
                <a:gd name="T64" fmla="*/ 2147483647 w 556"/>
                <a:gd name="T65" fmla="*/ 2147483647 h 821"/>
                <a:gd name="T66" fmla="*/ 2147483647 w 556"/>
                <a:gd name="T67" fmla="*/ 2147483647 h 821"/>
                <a:gd name="T68" fmla="*/ 2147483647 w 556"/>
                <a:gd name="T69" fmla="*/ 0 h 821"/>
                <a:gd name="T70" fmla="*/ 2147483647 w 556"/>
                <a:gd name="T71" fmla="*/ 0 h 821"/>
                <a:gd name="T72" fmla="*/ 2147483647 w 556"/>
                <a:gd name="T73" fmla="*/ 0 h 821"/>
                <a:gd name="T74" fmla="*/ 2147483647 w 556"/>
                <a:gd name="T75" fmla="*/ 0 h 821"/>
                <a:gd name="T76" fmla="*/ 2147483647 w 556"/>
                <a:gd name="T77" fmla="*/ 0 h 821"/>
                <a:gd name="T78" fmla="*/ 2147483647 w 556"/>
                <a:gd name="T79" fmla="*/ 0 h 821"/>
                <a:gd name="T80" fmla="*/ 2147483647 w 556"/>
                <a:gd name="T81" fmla="*/ 0 h 821"/>
                <a:gd name="T82" fmla="*/ 2147483647 w 556"/>
                <a:gd name="T83" fmla="*/ 0 h 821"/>
                <a:gd name="T84" fmla="*/ 0 w 556"/>
                <a:gd name="T85" fmla="*/ 0 h 821"/>
                <a:gd name="T86" fmla="*/ 0 w 556"/>
                <a:gd name="T87" fmla="*/ 2147483647 h 821"/>
                <a:gd name="T88" fmla="*/ 0 w 556"/>
                <a:gd name="T89" fmla="*/ 2147483647 h 821"/>
                <a:gd name="T90" fmla="*/ 0 w 556"/>
                <a:gd name="T91" fmla="*/ 2147483647 h 821"/>
                <a:gd name="T92" fmla="*/ 0 w 556"/>
                <a:gd name="T93" fmla="*/ 2147483647 h 821"/>
                <a:gd name="T94" fmla="*/ 0 w 556"/>
                <a:gd name="T95" fmla="*/ 2147483647 h 821"/>
                <a:gd name="T96" fmla="*/ 2147483647 w 556"/>
                <a:gd name="T97" fmla="*/ 2147483647 h 821"/>
                <a:gd name="T98" fmla="*/ 2147483647 w 556"/>
                <a:gd name="T99" fmla="*/ 2147483647 h 821"/>
                <a:gd name="T100" fmla="*/ 2147483647 w 556"/>
                <a:gd name="T101" fmla="*/ 2147483647 h 821"/>
                <a:gd name="T102" fmla="*/ 2147483647 w 556"/>
                <a:gd name="T103" fmla="*/ 2147483647 h 821"/>
                <a:gd name="T104" fmla="*/ 2147483647 w 556"/>
                <a:gd name="T105" fmla="*/ 2147483647 h 821"/>
                <a:gd name="T106" fmla="*/ 2147483647 w 556"/>
                <a:gd name="T107" fmla="*/ 2147483647 h 821"/>
                <a:gd name="T108" fmla="*/ 2147483647 w 556"/>
                <a:gd name="T109" fmla="*/ 2147483647 h 821"/>
                <a:gd name="T110" fmla="*/ 2147483647 w 556"/>
                <a:gd name="T111" fmla="*/ 2147483647 h 821"/>
                <a:gd name="T112" fmla="*/ 2147483647 w 556"/>
                <a:gd name="T113" fmla="*/ 2147483647 h 821"/>
                <a:gd name="T114" fmla="*/ 2147483647 w 556"/>
                <a:gd name="T115" fmla="*/ 2147483647 h 821"/>
                <a:gd name="T116" fmla="*/ 2147483647 w 556"/>
                <a:gd name="T117" fmla="*/ 2147483647 h 821"/>
                <a:gd name="T118" fmla="*/ 2147483647 w 556"/>
                <a:gd name="T119" fmla="*/ 2147483647 h 821"/>
                <a:gd name="T120" fmla="*/ 2147483647 w 556"/>
                <a:gd name="T121" fmla="*/ 2147483647 h 8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56"/>
                <a:gd name="T184" fmla="*/ 0 h 821"/>
                <a:gd name="T185" fmla="*/ 556 w 556"/>
                <a:gd name="T186" fmla="*/ 821 h 8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56" h="821">
                  <a:moveTo>
                    <a:pt x="295" y="793"/>
                  </a:moveTo>
                  <a:lnTo>
                    <a:pt x="295" y="749"/>
                  </a:lnTo>
                  <a:lnTo>
                    <a:pt x="295" y="690"/>
                  </a:lnTo>
                  <a:lnTo>
                    <a:pt x="295" y="623"/>
                  </a:lnTo>
                  <a:lnTo>
                    <a:pt x="295" y="559"/>
                  </a:lnTo>
                  <a:lnTo>
                    <a:pt x="320" y="533"/>
                  </a:lnTo>
                  <a:lnTo>
                    <a:pt x="351" y="499"/>
                  </a:lnTo>
                  <a:lnTo>
                    <a:pt x="387" y="460"/>
                  </a:lnTo>
                  <a:lnTo>
                    <a:pt x="419" y="424"/>
                  </a:lnTo>
                  <a:lnTo>
                    <a:pt x="444" y="397"/>
                  </a:lnTo>
                  <a:lnTo>
                    <a:pt x="475" y="361"/>
                  </a:lnTo>
                  <a:lnTo>
                    <a:pt x="510" y="321"/>
                  </a:lnTo>
                  <a:lnTo>
                    <a:pt x="543" y="282"/>
                  </a:lnTo>
                  <a:lnTo>
                    <a:pt x="556" y="266"/>
                  </a:lnTo>
                  <a:lnTo>
                    <a:pt x="536" y="262"/>
                  </a:lnTo>
                  <a:lnTo>
                    <a:pt x="504" y="247"/>
                  </a:lnTo>
                  <a:lnTo>
                    <a:pt x="485" y="230"/>
                  </a:lnTo>
                  <a:lnTo>
                    <a:pt x="468" y="226"/>
                  </a:lnTo>
                  <a:lnTo>
                    <a:pt x="418" y="252"/>
                  </a:lnTo>
                  <a:lnTo>
                    <a:pt x="414" y="245"/>
                  </a:lnTo>
                  <a:lnTo>
                    <a:pt x="399" y="255"/>
                  </a:lnTo>
                  <a:lnTo>
                    <a:pt x="411" y="237"/>
                  </a:lnTo>
                  <a:lnTo>
                    <a:pt x="410" y="210"/>
                  </a:lnTo>
                  <a:lnTo>
                    <a:pt x="400" y="196"/>
                  </a:lnTo>
                  <a:lnTo>
                    <a:pt x="399" y="167"/>
                  </a:lnTo>
                  <a:lnTo>
                    <a:pt x="385" y="133"/>
                  </a:lnTo>
                  <a:lnTo>
                    <a:pt x="380" y="107"/>
                  </a:lnTo>
                  <a:lnTo>
                    <a:pt x="338" y="102"/>
                  </a:lnTo>
                  <a:lnTo>
                    <a:pt x="333" y="126"/>
                  </a:lnTo>
                  <a:lnTo>
                    <a:pt x="330" y="102"/>
                  </a:lnTo>
                  <a:lnTo>
                    <a:pt x="325" y="105"/>
                  </a:lnTo>
                  <a:lnTo>
                    <a:pt x="312" y="84"/>
                  </a:lnTo>
                  <a:lnTo>
                    <a:pt x="305" y="82"/>
                  </a:lnTo>
                  <a:lnTo>
                    <a:pt x="312" y="68"/>
                  </a:lnTo>
                  <a:lnTo>
                    <a:pt x="314" y="0"/>
                  </a:lnTo>
                  <a:lnTo>
                    <a:pt x="276" y="0"/>
                  </a:lnTo>
                  <a:lnTo>
                    <a:pt x="236" y="0"/>
                  </a:lnTo>
                  <a:lnTo>
                    <a:pt x="195" y="0"/>
                  </a:lnTo>
                  <a:lnTo>
                    <a:pt x="155" y="0"/>
                  </a:lnTo>
                  <a:lnTo>
                    <a:pt x="120" y="0"/>
                  </a:lnTo>
                  <a:lnTo>
                    <a:pt x="81" y="0"/>
                  </a:lnTo>
                  <a:lnTo>
                    <a:pt x="39" y="0"/>
                  </a:lnTo>
                  <a:lnTo>
                    <a:pt x="0" y="0"/>
                  </a:lnTo>
                  <a:lnTo>
                    <a:pt x="0" y="78"/>
                  </a:lnTo>
                  <a:lnTo>
                    <a:pt x="0" y="157"/>
                  </a:lnTo>
                  <a:lnTo>
                    <a:pt x="0" y="228"/>
                  </a:lnTo>
                  <a:lnTo>
                    <a:pt x="0" y="294"/>
                  </a:lnTo>
                  <a:lnTo>
                    <a:pt x="0" y="339"/>
                  </a:lnTo>
                  <a:lnTo>
                    <a:pt x="4" y="408"/>
                  </a:lnTo>
                  <a:lnTo>
                    <a:pt x="8" y="479"/>
                  </a:lnTo>
                  <a:lnTo>
                    <a:pt x="11" y="542"/>
                  </a:lnTo>
                  <a:lnTo>
                    <a:pt x="14" y="588"/>
                  </a:lnTo>
                  <a:lnTo>
                    <a:pt x="17" y="652"/>
                  </a:lnTo>
                  <a:lnTo>
                    <a:pt x="21" y="718"/>
                  </a:lnTo>
                  <a:lnTo>
                    <a:pt x="25" y="776"/>
                  </a:lnTo>
                  <a:lnTo>
                    <a:pt x="27" y="821"/>
                  </a:lnTo>
                  <a:lnTo>
                    <a:pt x="85" y="821"/>
                  </a:lnTo>
                  <a:lnTo>
                    <a:pt x="150" y="821"/>
                  </a:lnTo>
                  <a:lnTo>
                    <a:pt x="205" y="821"/>
                  </a:lnTo>
                  <a:lnTo>
                    <a:pt x="295" y="821"/>
                  </a:lnTo>
                  <a:lnTo>
                    <a:pt x="295" y="793"/>
                  </a:lnTo>
                  <a:close/>
                </a:path>
              </a:pathLst>
            </a:custGeom>
            <a:grpFill/>
            <a:ln w="6350">
              <a:solidFill>
                <a:schemeClr val="tx2"/>
              </a:solidFill>
              <a:round/>
              <a:headEnd/>
              <a:tailEnd/>
            </a:ln>
          </p:spPr>
          <p:txBody>
            <a:bodyPr/>
            <a:lstStyle/>
            <a:p>
              <a:endParaRPr lang="en-US"/>
            </a:p>
          </p:txBody>
        </p:sp>
        <p:sp>
          <p:nvSpPr>
            <p:cNvPr id="210" name="Freeform 1110"/>
            <p:cNvSpPr>
              <a:spLocks/>
            </p:cNvSpPr>
            <p:nvPr/>
          </p:nvSpPr>
          <p:spPr bwMode="auto">
            <a:xfrm>
              <a:off x="2136325" y="3433427"/>
              <a:ext cx="162332" cy="182054"/>
            </a:xfrm>
            <a:custGeom>
              <a:avLst/>
              <a:gdLst>
                <a:gd name="T0" fmla="*/ 2147483647 w 324"/>
                <a:gd name="T1" fmla="*/ 2147483647 h 367"/>
                <a:gd name="T2" fmla="*/ 2147483647 w 324"/>
                <a:gd name="T3" fmla="*/ 2147483647 h 367"/>
                <a:gd name="T4" fmla="*/ 2147483647 w 324"/>
                <a:gd name="T5" fmla="*/ 2147483647 h 367"/>
                <a:gd name="T6" fmla="*/ 2147483647 w 324"/>
                <a:gd name="T7" fmla="*/ 2147483647 h 367"/>
                <a:gd name="T8" fmla="*/ 2147483647 w 324"/>
                <a:gd name="T9" fmla="*/ 2147483647 h 367"/>
                <a:gd name="T10" fmla="*/ 2147483647 w 324"/>
                <a:gd name="T11" fmla="*/ 2147483647 h 367"/>
                <a:gd name="T12" fmla="*/ 2147483647 w 324"/>
                <a:gd name="T13" fmla="*/ 2147483647 h 367"/>
                <a:gd name="T14" fmla="*/ 2147483647 w 324"/>
                <a:gd name="T15" fmla="*/ 2147483647 h 367"/>
                <a:gd name="T16" fmla="*/ 2147483647 w 324"/>
                <a:gd name="T17" fmla="*/ 2147483647 h 367"/>
                <a:gd name="T18" fmla="*/ 2147483647 w 324"/>
                <a:gd name="T19" fmla="*/ 2147483647 h 367"/>
                <a:gd name="T20" fmla="*/ 2147483647 w 324"/>
                <a:gd name="T21" fmla="*/ 2147483647 h 367"/>
                <a:gd name="T22" fmla="*/ 2147483647 w 324"/>
                <a:gd name="T23" fmla="*/ 2147483647 h 367"/>
                <a:gd name="T24" fmla="*/ 2147483647 w 324"/>
                <a:gd name="T25" fmla="*/ 2147483647 h 367"/>
                <a:gd name="T26" fmla="*/ 2147483647 w 324"/>
                <a:gd name="T27" fmla="*/ 2147483647 h 367"/>
                <a:gd name="T28" fmla="*/ 2147483647 w 324"/>
                <a:gd name="T29" fmla="*/ 2147483647 h 367"/>
                <a:gd name="T30" fmla="*/ 2147483647 w 324"/>
                <a:gd name="T31" fmla="*/ 2147483647 h 367"/>
                <a:gd name="T32" fmla="*/ 2147483647 w 324"/>
                <a:gd name="T33" fmla="*/ 2147483647 h 367"/>
                <a:gd name="T34" fmla="*/ 2147483647 w 324"/>
                <a:gd name="T35" fmla="*/ 2147483647 h 367"/>
                <a:gd name="T36" fmla="*/ 2147483647 w 324"/>
                <a:gd name="T37" fmla="*/ 2147483647 h 367"/>
                <a:gd name="T38" fmla="*/ 2147483647 w 324"/>
                <a:gd name="T39" fmla="*/ 2147483647 h 367"/>
                <a:gd name="T40" fmla="*/ 2147483647 w 324"/>
                <a:gd name="T41" fmla="*/ 2147483647 h 367"/>
                <a:gd name="T42" fmla="*/ 2147483647 w 324"/>
                <a:gd name="T43" fmla="*/ 2147483647 h 367"/>
                <a:gd name="T44" fmla="*/ 2147483647 w 324"/>
                <a:gd name="T45" fmla="*/ 2147483647 h 367"/>
                <a:gd name="T46" fmla="*/ 2147483647 w 324"/>
                <a:gd name="T47" fmla="*/ 2147483647 h 367"/>
                <a:gd name="T48" fmla="*/ 2147483647 w 324"/>
                <a:gd name="T49" fmla="*/ 2147483647 h 367"/>
                <a:gd name="T50" fmla="*/ 2147483647 w 324"/>
                <a:gd name="T51" fmla="*/ 2147483647 h 367"/>
                <a:gd name="T52" fmla="*/ 2147483647 w 324"/>
                <a:gd name="T53" fmla="*/ 2147483647 h 367"/>
                <a:gd name="T54" fmla="*/ 2147483647 w 324"/>
                <a:gd name="T55" fmla="*/ 2147483647 h 367"/>
                <a:gd name="T56" fmla="*/ 2147483647 w 324"/>
                <a:gd name="T57" fmla="*/ 0 h 367"/>
                <a:gd name="T58" fmla="*/ 2147483647 w 324"/>
                <a:gd name="T59" fmla="*/ 2147483647 h 367"/>
                <a:gd name="T60" fmla="*/ 0 w 324"/>
                <a:gd name="T61" fmla="*/ 2147483647 h 367"/>
                <a:gd name="T62" fmla="*/ 2147483647 w 324"/>
                <a:gd name="T63" fmla="*/ 2147483647 h 367"/>
                <a:gd name="T64" fmla="*/ 2147483647 w 324"/>
                <a:gd name="T65" fmla="*/ 2147483647 h 367"/>
                <a:gd name="T66" fmla="*/ 2147483647 w 324"/>
                <a:gd name="T67" fmla="*/ 2147483647 h 367"/>
                <a:gd name="T68" fmla="*/ 2147483647 w 324"/>
                <a:gd name="T69" fmla="*/ 2147483647 h 367"/>
                <a:gd name="T70" fmla="*/ 2147483647 w 324"/>
                <a:gd name="T71" fmla="*/ 2147483647 h 367"/>
                <a:gd name="T72" fmla="*/ 2147483647 w 324"/>
                <a:gd name="T73" fmla="*/ 2147483647 h 367"/>
                <a:gd name="T74" fmla="*/ 2147483647 w 324"/>
                <a:gd name="T75" fmla="*/ 2147483647 h 367"/>
                <a:gd name="T76" fmla="*/ 2147483647 w 324"/>
                <a:gd name="T77" fmla="*/ 2147483647 h 367"/>
                <a:gd name="T78" fmla="*/ 2147483647 w 324"/>
                <a:gd name="T79" fmla="*/ 2147483647 h 367"/>
                <a:gd name="T80" fmla="*/ 2147483647 w 324"/>
                <a:gd name="T81" fmla="*/ 2147483647 h 367"/>
                <a:gd name="T82" fmla="*/ 2147483647 w 324"/>
                <a:gd name="T83" fmla="*/ 2147483647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4"/>
                <a:gd name="T127" fmla="*/ 0 h 367"/>
                <a:gd name="T128" fmla="*/ 324 w 324"/>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4" h="367">
                  <a:moveTo>
                    <a:pt x="48" y="367"/>
                  </a:moveTo>
                  <a:lnTo>
                    <a:pt x="90" y="367"/>
                  </a:lnTo>
                  <a:lnTo>
                    <a:pt x="145" y="367"/>
                  </a:lnTo>
                  <a:lnTo>
                    <a:pt x="206" y="367"/>
                  </a:lnTo>
                  <a:lnTo>
                    <a:pt x="260" y="367"/>
                  </a:lnTo>
                  <a:lnTo>
                    <a:pt x="254" y="343"/>
                  </a:lnTo>
                  <a:lnTo>
                    <a:pt x="235" y="329"/>
                  </a:lnTo>
                  <a:lnTo>
                    <a:pt x="222" y="311"/>
                  </a:lnTo>
                  <a:lnTo>
                    <a:pt x="209" y="308"/>
                  </a:lnTo>
                  <a:lnTo>
                    <a:pt x="191" y="293"/>
                  </a:lnTo>
                  <a:lnTo>
                    <a:pt x="194" y="261"/>
                  </a:lnTo>
                  <a:lnTo>
                    <a:pt x="198" y="253"/>
                  </a:lnTo>
                  <a:lnTo>
                    <a:pt x="188" y="242"/>
                  </a:lnTo>
                  <a:lnTo>
                    <a:pt x="188" y="235"/>
                  </a:lnTo>
                  <a:lnTo>
                    <a:pt x="196" y="222"/>
                  </a:lnTo>
                  <a:lnTo>
                    <a:pt x="213" y="212"/>
                  </a:lnTo>
                  <a:lnTo>
                    <a:pt x="213" y="176"/>
                  </a:lnTo>
                  <a:lnTo>
                    <a:pt x="219" y="170"/>
                  </a:lnTo>
                  <a:lnTo>
                    <a:pt x="222" y="175"/>
                  </a:lnTo>
                  <a:lnTo>
                    <a:pt x="258" y="141"/>
                  </a:lnTo>
                  <a:lnTo>
                    <a:pt x="324" y="93"/>
                  </a:lnTo>
                  <a:lnTo>
                    <a:pt x="276" y="82"/>
                  </a:lnTo>
                  <a:lnTo>
                    <a:pt x="253" y="88"/>
                  </a:lnTo>
                  <a:lnTo>
                    <a:pt x="192" y="52"/>
                  </a:lnTo>
                  <a:lnTo>
                    <a:pt x="157" y="55"/>
                  </a:lnTo>
                  <a:lnTo>
                    <a:pt x="136" y="45"/>
                  </a:lnTo>
                  <a:lnTo>
                    <a:pt x="118" y="46"/>
                  </a:lnTo>
                  <a:lnTo>
                    <a:pt x="101" y="1"/>
                  </a:lnTo>
                  <a:lnTo>
                    <a:pt x="90" y="0"/>
                  </a:lnTo>
                  <a:lnTo>
                    <a:pt x="90" y="28"/>
                  </a:lnTo>
                  <a:lnTo>
                    <a:pt x="0" y="28"/>
                  </a:lnTo>
                  <a:lnTo>
                    <a:pt x="6" y="49"/>
                  </a:lnTo>
                  <a:lnTo>
                    <a:pt x="4" y="81"/>
                  </a:lnTo>
                  <a:lnTo>
                    <a:pt x="16" y="117"/>
                  </a:lnTo>
                  <a:lnTo>
                    <a:pt x="17" y="153"/>
                  </a:lnTo>
                  <a:lnTo>
                    <a:pt x="18" y="177"/>
                  </a:lnTo>
                  <a:lnTo>
                    <a:pt x="28" y="207"/>
                  </a:lnTo>
                  <a:lnTo>
                    <a:pt x="29" y="220"/>
                  </a:lnTo>
                  <a:lnTo>
                    <a:pt x="16" y="242"/>
                  </a:lnTo>
                  <a:lnTo>
                    <a:pt x="34" y="260"/>
                  </a:lnTo>
                  <a:lnTo>
                    <a:pt x="34" y="367"/>
                  </a:lnTo>
                  <a:lnTo>
                    <a:pt x="48" y="367"/>
                  </a:lnTo>
                  <a:close/>
                </a:path>
              </a:pathLst>
            </a:custGeom>
            <a:grpFill/>
            <a:ln w="6350">
              <a:solidFill>
                <a:schemeClr val="tx2"/>
              </a:solidFill>
              <a:round/>
              <a:headEnd/>
              <a:tailEnd/>
            </a:ln>
          </p:spPr>
          <p:txBody>
            <a:bodyPr/>
            <a:lstStyle/>
            <a:p>
              <a:endParaRPr lang="en-US"/>
            </a:p>
          </p:txBody>
        </p:sp>
        <p:sp>
          <p:nvSpPr>
            <p:cNvPr id="211" name="Freeform 1111"/>
            <p:cNvSpPr>
              <a:spLocks/>
            </p:cNvSpPr>
            <p:nvPr/>
          </p:nvSpPr>
          <p:spPr bwMode="auto">
            <a:xfrm>
              <a:off x="2151497" y="3615481"/>
              <a:ext cx="138058" cy="91027"/>
            </a:xfrm>
            <a:custGeom>
              <a:avLst/>
              <a:gdLst>
                <a:gd name="T0" fmla="*/ 2147483647 w 281"/>
                <a:gd name="T1" fmla="*/ 0 h 181"/>
                <a:gd name="T2" fmla="*/ 2147483647 w 281"/>
                <a:gd name="T3" fmla="*/ 0 h 181"/>
                <a:gd name="T4" fmla="*/ 2147483647 w 281"/>
                <a:gd name="T5" fmla="*/ 0 h 181"/>
                <a:gd name="T6" fmla="*/ 2147483647 w 281"/>
                <a:gd name="T7" fmla="*/ 0 h 181"/>
                <a:gd name="T8" fmla="*/ 2147483647 w 281"/>
                <a:gd name="T9" fmla="*/ 0 h 181"/>
                <a:gd name="T10" fmla="*/ 2147483647 w 281"/>
                <a:gd name="T11" fmla="*/ 2147483647 h 181"/>
                <a:gd name="T12" fmla="*/ 2147483647 w 281"/>
                <a:gd name="T13" fmla="*/ 2147483647 h 181"/>
                <a:gd name="T14" fmla="*/ 2147483647 w 281"/>
                <a:gd name="T15" fmla="*/ 2147483647 h 181"/>
                <a:gd name="T16" fmla="*/ 2147483647 w 281"/>
                <a:gd name="T17" fmla="*/ 2147483647 h 181"/>
                <a:gd name="T18" fmla="*/ 2147483647 w 281"/>
                <a:gd name="T19" fmla="*/ 2147483647 h 181"/>
                <a:gd name="T20" fmla="*/ 2147483647 w 281"/>
                <a:gd name="T21" fmla="*/ 2147483647 h 181"/>
                <a:gd name="T22" fmla="*/ 2147483647 w 281"/>
                <a:gd name="T23" fmla="*/ 2147483647 h 181"/>
                <a:gd name="T24" fmla="*/ 2147483647 w 281"/>
                <a:gd name="T25" fmla="*/ 2147483647 h 181"/>
                <a:gd name="T26" fmla="*/ 2147483647 w 281"/>
                <a:gd name="T27" fmla="*/ 2147483647 h 181"/>
                <a:gd name="T28" fmla="*/ 2147483647 w 281"/>
                <a:gd name="T29" fmla="*/ 2147483647 h 181"/>
                <a:gd name="T30" fmla="*/ 2147483647 w 281"/>
                <a:gd name="T31" fmla="*/ 2147483647 h 181"/>
                <a:gd name="T32" fmla="*/ 2147483647 w 281"/>
                <a:gd name="T33" fmla="*/ 2147483647 h 181"/>
                <a:gd name="T34" fmla="*/ 2147483647 w 281"/>
                <a:gd name="T35" fmla="*/ 2147483647 h 181"/>
                <a:gd name="T36" fmla="*/ 2147483647 w 281"/>
                <a:gd name="T37" fmla="*/ 2147483647 h 181"/>
                <a:gd name="T38" fmla="*/ 2147483647 w 281"/>
                <a:gd name="T39" fmla="*/ 2147483647 h 181"/>
                <a:gd name="T40" fmla="*/ 2147483647 w 281"/>
                <a:gd name="T41" fmla="*/ 2147483647 h 181"/>
                <a:gd name="T42" fmla="*/ 2147483647 w 281"/>
                <a:gd name="T43" fmla="*/ 2147483647 h 181"/>
                <a:gd name="T44" fmla="*/ 2147483647 w 281"/>
                <a:gd name="T45" fmla="*/ 2147483647 h 181"/>
                <a:gd name="T46" fmla="*/ 2147483647 w 281"/>
                <a:gd name="T47" fmla="*/ 2147483647 h 181"/>
                <a:gd name="T48" fmla="*/ 2147483647 w 281"/>
                <a:gd name="T49" fmla="*/ 2147483647 h 181"/>
                <a:gd name="T50" fmla="*/ 2147483647 w 281"/>
                <a:gd name="T51" fmla="*/ 2147483647 h 181"/>
                <a:gd name="T52" fmla="*/ 2147483647 w 281"/>
                <a:gd name="T53" fmla="*/ 2147483647 h 181"/>
                <a:gd name="T54" fmla="*/ 2147483647 w 281"/>
                <a:gd name="T55" fmla="*/ 2147483647 h 181"/>
                <a:gd name="T56" fmla="*/ 2147483647 w 281"/>
                <a:gd name="T57" fmla="*/ 2147483647 h 181"/>
                <a:gd name="T58" fmla="*/ 2147483647 w 281"/>
                <a:gd name="T59" fmla="*/ 2147483647 h 181"/>
                <a:gd name="T60" fmla="*/ 2147483647 w 281"/>
                <a:gd name="T61" fmla="*/ 2147483647 h 181"/>
                <a:gd name="T62" fmla="*/ 2147483647 w 281"/>
                <a:gd name="T63" fmla="*/ 2147483647 h 181"/>
                <a:gd name="T64" fmla="*/ 2147483647 w 281"/>
                <a:gd name="T65" fmla="*/ 2147483647 h 181"/>
                <a:gd name="T66" fmla="*/ 2147483647 w 281"/>
                <a:gd name="T67" fmla="*/ 2147483647 h 181"/>
                <a:gd name="T68" fmla="*/ 2147483647 w 281"/>
                <a:gd name="T69" fmla="*/ 2147483647 h 181"/>
                <a:gd name="T70" fmla="*/ 2147483647 w 281"/>
                <a:gd name="T71" fmla="*/ 2147483647 h 181"/>
                <a:gd name="T72" fmla="*/ 0 w 281"/>
                <a:gd name="T73" fmla="*/ 2147483647 h 181"/>
                <a:gd name="T74" fmla="*/ 2147483647 w 281"/>
                <a:gd name="T75" fmla="*/ 2147483647 h 181"/>
                <a:gd name="T76" fmla="*/ 2147483647 w 281"/>
                <a:gd name="T77" fmla="*/ 2147483647 h 181"/>
                <a:gd name="T78" fmla="*/ 2147483647 w 281"/>
                <a:gd name="T79" fmla="*/ 0 h 181"/>
                <a:gd name="T80" fmla="*/ 2147483647 w 281"/>
                <a:gd name="T81" fmla="*/ 0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181"/>
                <a:gd name="T125" fmla="*/ 281 w 281"/>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181">
                  <a:moveTo>
                    <a:pt x="23" y="0"/>
                  </a:moveTo>
                  <a:lnTo>
                    <a:pt x="65" y="0"/>
                  </a:lnTo>
                  <a:lnTo>
                    <a:pt x="120" y="0"/>
                  </a:lnTo>
                  <a:lnTo>
                    <a:pt x="181" y="0"/>
                  </a:lnTo>
                  <a:lnTo>
                    <a:pt x="235" y="0"/>
                  </a:lnTo>
                  <a:lnTo>
                    <a:pt x="242" y="46"/>
                  </a:lnTo>
                  <a:lnTo>
                    <a:pt x="257" y="51"/>
                  </a:lnTo>
                  <a:lnTo>
                    <a:pt x="259" y="61"/>
                  </a:lnTo>
                  <a:lnTo>
                    <a:pt x="280" y="81"/>
                  </a:lnTo>
                  <a:lnTo>
                    <a:pt x="281" y="89"/>
                  </a:lnTo>
                  <a:lnTo>
                    <a:pt x="279" y="99"/>
                  </a:lnTo>
                  <a:lnTo>
                    <a:pt x="272" y="112"/>
                  </a:lnTo>
                  <a:lnTo>
                    <a:pt x="242" y="122"/>
                  </a:lnTo>
                  <a:lnTo>
                    <a:pt x="240" y="132"/>
                  </a:lnTo>
                  <a:lnTo>
                    <a:pt x="246" y="139"/>
                  </a:lnTo>
                  <a:lnTo>
                    <a:pt x="246" y="147"/>
                  </a:lnTo>
                  <a:lnTo>
                    <a:pt x="238" y="164"/>
                  </a:lnTo>
                  <a:lnTo>
                    <a:pt x="227" y="170"/>
                  </a:lnTo>
                  <a:lnTo>
                    <a:pt x="228" y="179"/>
                  </a:lnTo>
                  <a:lnTo>
                    <a:pt x="224" y="181"/>
                  </a:lnTo>
                  <a:lnTo>
                    <a:pt x="213" y="168"/>
                  </a:lnTo>
                  <a:lnTo>
                    <a:pt x="178" y="168"/>
                  </a:lnTo>
                  <a:lnTo>
                    <a:pt x="128" y="168"/>
                  </a:lnTo>
                  <a:lnTo>
                    <a:pt x="82" y="168"/>
                  </a:lnTo>
                  <a:lnTo>
                    <a:pt x="38" y="168"/>
                  </a:lnTo>
                  <a:lnTo>
                    <a:pt x="34" y="161"/>
                  </a:lnTo>
                  <a:lnTo>
                    <a:pt x="36" y="152"/>
                  </a:lnTo>
                  <a:lnTo>
                    <a:pt x="34" y="142"/>
                  </a:lnTo>
                  <a:lnTo>
                    <a:pt x="34" y="128"/>
                  </a:lnTo>
                  <a:lnTo>
                    <a:pt x="30" y="126"/>
                  </a:lnTo>
                  <a:lnTo>
                    <a:pt x="32" y="119"/>
                  </a:lnTo>
                  <a:lnTo>
                    <a:pt x="25" y="114"/>
                  </a:lnTo>
                  <a:lnTo>
                    <a:pt x="26" y="100"/>
                  </a:lnTo>
                  <a:lnTo>
                    <a:pt x="14" y="77"/>
                  </a:lnTo>
                  <a:lnTo>
                    <a:pt x="11" y="59"/>
                  </a:lnTo>
                  <a:lnTo>
                    <a:pt x="7" y="58"/>
                  </a:lnTo>
                  <a:lnTo>
                    <a:pt x="0" y="45"/>
                  </a:lnTo>
                  <a:lnTo>
                    <a:pt x="9" y="23"/>
                  </a:lnTo>
                  <a:lnTo>
                    <a:pt x="3" y="16"/>
                  </a:lnTo>
                  <a:lnTo>
                    <a:pt x="2" y="0"/>
                  </a:lnTo>
                  <a:lnTo>
                    <a:pt x="23" y="0"/>
                  </a:lnTo>
                  <a:close/>
                </a:path>
              </a:pathLst>
            </a:custGeom>
            <a:grpFill/>
            <a:ln w="6350">
              <a:solidFill>
                <a:schemeClr val="tx2"/>
              </a:solidFill>
              <a:round/>
              <a:headEnd/>
              <a:tailEnd/>
            </a:ln>
          </p:spPr>
          <p:txBody>
            <a:bodyPr/>
            <a:lstStyle/>
            <a:p>
              <a:endParaRPr lang="en-US"/>
            </a:p>
          </p:txBody>
        </p:sp>
        <p:sp>
          <p:nvSpPr>
            <p:cNvPr id="212" name="Freeform 1112"/>
            <p:cNvSpPr>
              <a:spLocks/>
            </p:cNvSpPr>
            <p:nvPr/>
          </p:nvSpPr>
          <p:spPr bwMode="auto">
            <a:xfrm>
              <a:off x="2304726" y="3741401"/>
              <a:ext cx="160814" cy="71304"/>
            </a:xfrm>
            <a:custGeom>
              <a:avLst/>
              <a:gdLst>
                <a:gd name="T0" fmla="*/ 2147483647 w 324"/>
                <a:gd name="T1" fmla="*/ 2147483647 h 146"/>
                <a:gd name="T2" fmla="*/ 2147483647 w 324"/>
                <a:gd name="T3" fmla="*/ 2147483647 h 146"/>
                <a:gd name="T4" fmla="*/ 2147483647 w 324"/>
                <a:gd name="T5" fmla="*/ 2147483647 h 146"/>
                <a:gd name="T6" fmla="*/ 2147483647 w 324"/>
                <a:gd name="T7" fmla="*/ 2147483647 h 146"/>
                <a:gd name="T8" fmla="*/ 2147483647 w 324"/>
                <a:gd name="T9" fmla="*/ 2147483647 h 146"/>
                <a:gd name="T10" fmla="*/ 2147483647 w 324"/>
                <a:gd name="T11" fmla="*/ 2147483647 h 146"/>
                <a:gd name="T12" fmla="*/ 2147483647 w 324"/>
                <a:gd name="T13" fmla="*/ 2147483647 h 146"/>
                <a:gd name="T14" fmla="*/ 2147483647 w 324"/>
                <a:gd name="T15" fmla="*/ 2147483647 h 146"/>
                <a:gd name="T16" fmla="*/ 2147483647 w 324"/>
                <a:gd name="T17" fmla="*/ 2147483647 h 146"/>
                <a:gd name="T18" fmla="*/ 2147483647 w 324"/>
                <a:gd name="T19" fmla="*/ 2147483647 h 146"/>
                <a:gd name="T20" fmla="*/ 2147483647 w 324"/>
                <a:gd name="T21" fmla="*/ 2147483647 h 146"/>
                <a:gd name="T22" fmla="*/ 2147483647 w 324"/>
                <a:gd name="T23" fmla="*/ 2147483647 h 146"/>
                <a:gd name="T24" fmla="*/ 2147483647 w 324"/>
                <a:gd name="T25" fmla="*/ 2147483647 h 146"/>
                <a:gd name="T26" fmla="*/ 2147483647 w 324"/>
                <a:gd name="T27" fmla="*/ 2147483647 h 146"/>
                <a:gd name="T28" fmla="*/ 2147483647 w 324"/>
                <a:gd name="T29" fmla="*/ 2147483647 h 146"/>
                <a:gd name="T30" fmla="*/ 2147483647 w 324"/>
                <a:gd name="T31" fmla="*/ 2147483647 h 146"/>
                <a:gd name="T32" fmla="*/ 2147483647 w 324"/>
                <a:gd name="T33" fmla="*/ 2147483647 h 146"/>
                <a:gd name="T34" fmla="*/ 2147483647 w 324"/>
                <a:gd name="T35" fmla="*/ 2147483647 h 146"/>
                <a:gd name="T36" fmla="*/ 2147483647 w 324"/>
                <a:gd name="T37" fmla="*/ 2147483647 h 146"/>
                <a:gd name="T38" fmla="*/ 2147483647 w 324"/>
                <a:gd name="T39" fmla="*/ 2147483647 h 146"/>
                <a:gd name="T40" fmla="*/ 2147483647 w 324"/>
                <a:gd name="T41" fmla="*/ 2147483647 h 146"/>
                <a:gd name="T42" fmla="*/ 2147483647 w 324"/>
                <a:gd name="T43" fmla="*/ 0 h 146"/>
                <a:gd name="T44" fmla="*/ 2147483647 w 324"/>
                <a:gd name="T45" fmla="*/ 2147483647 h 146"/>
                <a:gd name="T46" fmla="*/ 2147483647 w 324"/>
                <a:gd name="T47" fmla="*/ 2147483647 h 146"/>
                <a:gd name="T48" fmla="*/ 2147483647 w 324"/>
                <a:gd name="T49" fmla="*/ 2147483647 h 146"/>
                <a:gd name="T50" fmla="*/ 2147483647 w 324"/>
                <a:gd name="T51" fmla="*/ 2147483647 h 146"/>
                <a:gd name="T52" fmla="*/ 2147483647 w 324"/>
                <a:gd name="T53" fmla="*/ 2147483647 h 146"/>
                <a:gd name="T54" fmla="*/ 2147483647 w 324"/>
                <a:gd name="T55" fmla="*/ 2147483647 h 146"/>
                <a:gd name="T56" fmla="*/ 2147483647 w 324"/>
                <a:gd name="T57" fmla="*/ 2147483647 h 146"/>
                <a:gd name="T58" fmla="*/ 2147483647 w 324"/>
                <a:gd name="T59" fmla="*/ 2147483647 h 146"/>
                <a:gd name="T60" fmla="*/ 2147483647 w 324"/>
                <a:gd name="T61" fmla="*/ 2147483647 h 146"/>
                <a:gd name="T62" fmla="*/ 2147483647 w 324"/>
                <a:gd name="T63" fmla="*/ 2147483647 h 146"/>
                <a:gd name="T64" fmla="*/ 2147483647 w 324"/>
                <a:gd name="T65" fmla="*/ 2147483647 h 146"/>
                <a:gd name="T66" fmla="*/ 2147483647 w 324"/>
                <a:gd name="T67" fmla="*/ 2147483647 h 146"/>
                <a:gd name="T68" fmla="*/ 2147483647 w 324"/>
                <a:gd name="T69" fmla="*/ 2147483647 h 146"/>
                <a:gd name="T70" fmla="*/ 2147483647 w 324"/>
                <a:gd name="T71" fmla="*/ 2147483647 h 146"/>
                <a:gd name="T72" fmla="*/ 2147483647 w 324"/>
                <a:gd name="T73" fmla="*/ 2147483647 h 146"/>
                <a:gd name="T74" fmla="*/ 2147483647 w 324"/>
                <a:gd name="T75" fmla="*/ 2147483647 h 146"/>
                <a:gd name="T76" fmla="*/ 2147483647 w 324"/>
                <a:gd name="T77" fmla="*/ 2147483647 h 146"/>
                <a:gd name="T78" fmla="*/ 2147483647 w 324"/>
                <a:gd name="T79" fmla="*/ 2147483647 h 146"/>
                <a:gd name="T80" fmla="*/ 2147483647 w 324"/>
                <a:gd name="T81" fmla="*/ 2147483647 h 146"/>
                <a:gd name="T82" fmla="*/ 2147483647 w 324"/>
                <a:gd name="T83" fmla="*/ 2147483647 h 146"/>
                <a:gd name="T84" fmla="*/ 2147483647 w 324"/>
                <a:gd name="T85" fmla="*/ 2147483647 h 146"/>
                <a:gd name="T86" fmla="*/ 2147483647 w 324"/>
                <a:gd name="T87" fmla="*/ 2147483647 h 146"/>
                <a:gd name="T88" fmla="*/ 2147483647 w 324"/>
                <a:gd name="T89" fmla="*/ 2147483647 h 146"/>
                <a:gd name="T90" fmla="*/ 2147483647 w 324"/>
                <a:gd name="T91" fmla="*/ 2147483647 h 146"/>
                <a:gd name="T92" fmla="*/ 2147483647 w 324"/>
                <a:gd name="T93" fmla="*/ 2147483647 h 146"/>
                <a:gd name="T94" fmla="*/ 2147483647 w 324"/>
                <a:gd name="T95" fmla="*/ 2147483647 h 146"/>
                <a:gd name="T96" fmla="*/ 2147483647 w 324"/>
                <a:gd name="T97" fmla="*/ 2147483647 h 146"/>
                <a:gd name="T98" fmla="*/ 2147483647 w 324"/>
                <a:gd name="T99" fmla="*/ 2147483647 h 146"/>
                <a:gd name="T100" fmla="*/ 2147483647 w 324"/>
                <a:gd name="T101" fmla="*/ 2147483647 h 146"/>
                <a:gd name="T102" fmla="*/ 2147483647 w 324"/>
                <a:gd name="T103" fmla="*/ 2147483647 h 146"/>
                <a:gd name="T104" fmla="*/ 2147483647 w 324"/>
                <a:gd name="T105" fmla="*/ 2147483647 h 146"/>
                <a:gd name="T106" fmla="*/ 2147483647 w 324"/>
                <a:gd name="T107" fmla="*/ 2147483647 h 146"/>
                <a:gd name="T108" fmla="*/ 2147483647 w 324"/>
                <a:gd name="T109" fmla="*/ 2147483647 h 146"/>
                <a:gd name="T110" fmla="*/ 0 w 324"/>
                <a:gd name="T111" fmla="*/ 2147483647 h 146"/>
                <a:gd name="T112" fmla="*/ 2147483647 w 324"/>
                <a:gd name="T113" fmla="*/ 2147483647 h 146"/>
                <a:gd name="T114" fmla="*/ 2147483647 w 324"/>
                <a:gd name="T115" fmla="*/ 2147483647 h 146"/>
                <a:gd name="T116" fmla="*/ 2147483647 w 324"/>
                <a:gd name="T117" fmla="*/ 2147483647 h 1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4"/>
                <a:gd name="T178" fmla="*/ 0 h 146"/>
                <a:gd name="T179" fmla="*/ 324 w 324"/>
                <a:gd name="T180" fmla="*/ 146 h 1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4" h="146">
                  <a:moveTo>
                    <a:pt x="108" y="133"/>
                  </a:moveTo>
                  <a:lnTo>
                    <a:pt x="158" y="134"/>
                  </a:lnTo>
                  <a:lnTo>
                    <a:pt x="187" y="134"/>
                  </a:lnTo>
                  <a:lnTo>
                    <a:pt x="250" y="134"/>
                  </a:lnTo>
                  <a:lnTo>
                    <a:pt x="273" y="130"/>
                  </a:lnTo>
                  <a:lnTo>
                    <a:pt x="285" y="122"/>
                  </a:lnTo>
                  <a:lnTo>
                    <a:pt x="292" y="109"/>
                  </a:lnTo>
                  <a:lnTo>
                    <a:pt x="324" y="87"/>
                  </a:lnTo>
                  <a:lnTo>
                    <a:pt x="309" y="80"/>
                  </a:lnTo>
                  <a:lnTo>
                    <a:pt x="295" y="54"/>
                  </a:lnTo>
                  <a:lnTo>
                    <a:pt x="297" y="40"/>
                  </a:lnTo>
                  <a:lnTo>
                    <a:pt x="287" y="31"/>
                  </a:lnTo>
                  <a:lnTo>
                    <a:pt x="284" y="22"/>
                  </a:lnTo>
                  <a:lnTo>
                    <a:pt x="272" y="29"/>
                  </a:lnTo>
                  <a:lnTo>
                    <a:pt x="266" y="30"/>
                  </a:lnTo>
                  <a:lnTo>
                    <a:pt x="257" y="24"/>
                  </a:lnTo>
                  <a:lnTo>
                    <a:pt x="251" y="28"/>
                  </a:lnTo>
                  <a:lnTo>
                    <a:pt x="247" y="27"/>
                  </a:lnTo>
                  <a:lnTo>
                    <a:pt x="242" y="21"/>
                  </a:lnTo>
                  <a:lnTo>
                    <a:pt x="227" y="18"/>
                  </a:lnTo>
                  <a:lnTo>
                    <a:pt x="216" y="2"/>
                  </a:lnTo>
                  <a:lnTo>
                    <a:pt x="204" y="0"/>
                  </a:lnTo>
                  <a:lnTo>
                    <a:pt x="198" y="5"/>
                  </a:lnTo>
                  <a:lnTo>
                    <a:pt x="201" y="20"/>
                  </a:lnTo>
                  <a:lnTo>
                    <a:pt x="185" y="25"/>
                  </a:lnTo>
                  <a:lnTo>
                    <a:pt x="174" y="23"/>
                  </a:lnTo>
                  <a:lnTo>
                    <a:pt x="175" y="33"/>
                  </a:lnTo>
                  <a:lnTo>
                    <a:pt x="167" y="38"/>
                  </a:lnTo>
                  <a:lnTo>
                    <a:pt x="164" y="46"/>
                  </a:lnTo>
                  <a:lnTo>
                    <a:pt x="158" y="47"/>
                  </a:lnTo>
                  <a:lnTo>
                    <a:pt x="154" y="61"/>
                  </a:lnTo>
                  <a:lnTo>
                    <a:pt x="148" y="65"/>
                  </a:lnTo>
                  <a:lnTo>
                    <a:pt x="134" y="52"/>
                  </a:lnTo>
                  <a:lnTo>
                    <a:pt x="135" y="56"/>
                  </a:lnTo>
                  <a:lnTo>
                    <a:pt x="130" y="56"/>
                  </a:lnTo>
                  <a:lnTo>
                    <a:pt x="123" y="71"/>
                  </a:lnTo>
                  <a:lnTo>
                    <a:pt x="114" y="63"/>
                  </a:lnTo>
                  <a:lnTo>
                    <a:pt x="102" y="74"/>
                  </a:lnTo>
                  <a:lnTo>
                    <a:pt x="81" y="64"/>
                  </a:lnTo>
                  <a:lnTo>
                    <a:pt x="79" y="72"/>
                  </a:lnTo>
                  <a:lnTo>
                    <a:pt x="77" y="68"/>
                  </a:lnTo>
                  <a:lnTo>
                    <a:pt x="69" y="67"/>
                  </a:lnTo>
                  <a:lnTo>
                    <a:pt x="66" y="75"/>
                  </a:lnTo>
                  <a:lnTo>
                    <a:pt x="62" y="72"/>
                  </a:lnTo>
                  <a:lnTo>
                    <a:pt x="57" y="81"/>
                  </a:lnTo>
                  <a:lnTo>
                    <a:pt x="60" y="90"/>
                  </a:lnTo>
                  <a:lnTo>
                    <a:pt x="43" y="95"/>
                  </a:lnTo>
                  <a:lnTo>
                    <a:pt x="46" y="108"/>
                  </a:lnTo>
                  <a:lnTo>
                    <a:pt x="41" y="113"/>
                  </a:lnTo>
                  <a:lnTo>
                    <a:pt x="21" y="104"/>
                  </a:lnTo>
                  <a:lnTo>
                    <a:pt x="13" y="112"/>
                  </a:lnTo>
                  <a:lnTo>
                    <a:pt x="16" y="118"/>
                  </a:lnTo>
                  <a:lnTo>
                    <a:pt x="15" y="129"/>
                  </a:lnTo>
                  <a:lnTo>
                    <a:pt x="10" y="140"/>
                  </a:lnTo>
                  <a:lnTo>
                    <a:pt x="5" y="137"/>
                  </a:lnTo>
                  <a:lnTo>
                    <a:pt x="0" y="146"/>
                  </a:lnTo>
                  <a:lnTo>
                    <a:pt x="62" y="143"/>
                  </a:lnTo>
                  <a:lnTo>
                    <a:pt x="61" y="133"/>
                  </a:lnTo>
                  <a:lnTo>
                    <a:pt x="108" y="133"/>
                  </a:lnTo>
                  <a:close/>
                </a:path>
              </a:pathLst>
            </a:custGeom>
            <a:grpFill/>
            <a:ln w="6350">
              <a:solidFill>
                <a:schemeClr val="tx2"/>
              </a:solidFill>
              <a:round/>
              <a:headEnd/>
              <a:tailEnd/>
            </a:ln>
          </p:spPr>
          <p:txBody>
            <a:bodyPr/>
            <a:lstStyle/>
            <a:p>
              <a:endParaRPr lang="en-US"/>
            </a:p>
          </p:txBody>
        </p:sp>
        <p:sp>
          <p:nvSpPr>
            <p:cNvPr id="213" name="Freeform 1113"/>
            <p:cNvSpPr>
              <a:spLocks/>
            </p:cNvSpPr>
            <p:nvPr/>
          </p:nvSpPr>
          <p:spPr bwMode="auto">
            <a:xfrm>
              <a:off x="2193976" y="3811188"/>
              <a:ext cx="106198" cy="91027"/>
            </a:xfrm>
            <a:custGeom>
              <a:avLst/>
              <a:gdLst>
                <a:gd name="T0" fmla="*/ 2147483647 w 213"/>
                <a:gd name="T1" fmla="*/ 0 h 181"/>
                <a:gd name="T2" fmla="*/ 2147483647 w 213"/>
                <a:gd name="T3" fmla="*/ 0 h 181"/>
                <a:gd name="T4" fmla="*/ 2147483647 w 213"/>
                <a:gd name="T5" fmla="*/ 0 h 181"/>
                <a:gd name="T6" fmla="*/ 0 w 213"/>
                <a:gd name="T7" fmla="*/ 0 h 181"/>
                <a:gd name="T8" fmla="*/ 2147483647 w 213"/>
                <a:gd name="T9" fmla="*/ 2147483647 h 181"/>
                <a:gd name="T10" fmla="*/ 2147483647 w 213"/>
                <a:gd name="T11" fmla="*/ 2147483647 h 181"/>
                <a:gd name="T12" fmla="*/ 2147483647 w 213"/>
                <a:gd name="T13" fmla="*/ 2147483647 h 181"/>
                <a:gd name="T14" fmla="*/ 2147483647 w 213"/>
                <a:gd name="T15" fmla="*/ 2147483647 h 181"/>
                <a:gd name="T16" fmla="*/ 2147483647 w 213"/>
                <a:gd name="T17" fmla="*/ 2147483647 h 181"/>
                <a:gd name="T18" fmla="*/ 2147483647 w 213"/>
                <a:gd name="T19" fmla="*/ 2147483647 h 181"/>
                <a:gd name="T20" fmla="*/ 2147483647 w 213"/>
                <a:gd name="T21" fmla="*/ 2147483647 h 181"/>
                <a:gd name="T22" fmla="*/ 2147483647 w 213"/>
                <a:gd name="T23" fmla="*/ 2147483647 h 181"/>
                <a:gd name="T24" fmla="*/ 2147483647 w 213"/>
                <a:gd name="T25" fmla="*/ 2147483647 h 181"/>
                <a:gd name="T26" fmla="*/ 2147483647 w 213"/>
                <a:gd name="T27" fmla="*/ 2147483647 h 181"/>
                <a:gd name="T28" fmla="*/ 2147483647 w 213"/>
                <a:gd name="T29" fmla="*/ 2147483647 h 181"/>
                <a:gd name="T30" fmla="*/ 2147483647 w 213"/>
                <a:gd name="T31" fmla="*/ 2147483647 h 181"/>
                <a:gd name="T32" fmla="*/ 2147483647 w 213"/>
                <a:gd name="T33" fmla="*/ 2147483647 h 181"/>
                <a:gd name="T34" fmla="*/ 2147483647 w 213"/>
                <a:gd name="T35" fmla="*/ 2147483647 h 181"/>
                <a:gd name="T36" fmla="*/ 2147483647 w 213"/>
                <a:gd name="T37" fmla="*/ 2147483647 h 181"/>
                <a:gd name="T38" fmla="*/ 2147483647 w 213"/>
                <a:gd name="T39" fmla="*/ 2147483647 h 181"/>
                <a:gd name="T40" fmla="*/ 2147483647 w 213"/>
                <a:gd name="T41" fmla="*/ 2147483647 h 181"/>
                <a:gd name="T42" fmla="*/ 2147483647 w 213"/>
                <a:gd name="T43" fmla="*/ 2147483647 h 181"/>
                <a:gd name="T44" fmla="*/ 2147483647 w 213"/>
                <a:gd name="T45" fmla="*/ 2147483647 h 181"/>
                <a:gd name="T46" fmla="*/ 2147483647 w 213"/>
                <a:gd name="T47" fmla="*/ 2147483647 h 181"/>
                <a:gd name="T48" fmla="*/ 2147483647 w 213"/>
                <a:gd name="T49" fmla="*/ 2147483647 h 181"/>
                <a:gd name="T50" fmla="*/ 2147483647 w 213"/>
                <a:gd name="T51" fmla="*/ 2147483647 h 181"/>
                <a:gd name="T52" fmla="*/ 2147483647 w 213"/>
                <a:gd name="T53" fmla="*/ 2147483647 h 181"/>
                <a:gd name="T54" fmla="*/ 2147483647 w 213"/>
                <a:gd name="T55" fmla="*/ 2147483647 h 181"/>
                <a:gd name="T56" fmla="*/ 2147483647 w 213"/>
                <a:gd name="T57" fmla="*/ 2147483647 h 181"/>
                <a:gd name="T58" fmla="*/ 2147483647 w 213"/>
                <a:gd name="T59" fmla="*/ 2147483647 h 181"/>
                <a:gd name="T60" fmla="*/ 2147483647 w 213"/>
                <a:gd name="T61" fmla="*/ 2147483647 h 181"/>
                <a:gd name="T62" fmla="*/ 2147483647 w 213"/>
                <a:gd name="T63" fmla="*/ 2147483647 h 181"/>
                <a:gd name="T64" fmla="*/ 2147483647 w 213"/>
                <a:gd name="T65" fmla="*/ 2147483647 h 181"/>
                <a:gd name="T66" fmla="*/ 2147483647 w 213"/>
                <a:gd name="T67" fmla="*/ 2147483647 h 181"/>
                <a:gd name="T68" fmla="*/ 2147483647 w 213"/>
                <a:gd name="T69" fmla="*/ 2147483647 h 181"/>
                <a:gd name="T70" fmla="*/ 2147483647 w 213"/>
                <a:gd name="T71" fmla="*/ 0 h 181"/>
                <a:gd name="T72" fmla="*/ 2147483647 w 213"/>
                <a:gd name="T73" fmla="*/ 0 h 1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181"/>
                <a:gd name="T113" fmla="*/ 213 w 213"/>
                <a:gd name="T114" fmla="*/ 181 h 1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181">
                  <a:moveTo>
                    <a:pt x="165" y="0"/>
                  </a:moveTo>
                  <a:lnTo>
                    <a:pt x="134" y="0"/>
                  </a:lnTo>
                  <a:lnTo>
                    <a:pt x="62" y="0"/>
                  </a:lnTo>
                  <a:lnTo>
                    <a:pt x="0" y="0"/>
                  </a:lnTo>
                  <a:lnTo>
                    <a:pt x="6" y="59"/>
                  </a:lnTo>
                  <a:lnTo>
                    <a:pt x="6" y="149"/>
                  </a:lnTo>
                  <a:lnTo>
                    <a:pt x="9" y="154"/>
                  </a:lnTo>
                  <a:lnTo>
                    <a:pt x="24" y="154"/>
                  </a:lnTo>
                  <a:lnTo>
                    <a:pt x="24" y="181"/>
                  </a:lnTo>
                  <a:lnTo>
                    <a:pt x="88" y="181"/>
                  </a:lnTo>
                  <a:lnTo>
                    <a:pt x="149" y="181"/>
                  </a:lnTo>
                  <a:lnTo>
                    <a:pt x="151" y="173"/>
                  </a:lnTo>
                  <a:lnTo>
                    <a:pt x="147" y="166"/>
                  </a:lnTo>
                  <a:lnTo>
                    <a:pt x="149" y="158"/>
                  </a:lnTo>
                  <a:lnTo>
                    <a:pt x="145" y="154"/>
                  </a:lnTo>
                  <a:lnTo>
                    <a:pt x="149" y="150"/>
                  </a:lnTo>
                  <a:lnTo>
                    <a:pt x="145" y="147"/>
                  </a:lnTo>
                  <a:lnTo>
                    <a:pt x="152" y="142"/>
                  </a:lnTo>
                  <a:lnTo>
                    <a:pt x="151" y="132"/>
                  </a:lnTo>
                  <a:lnTo>
                    <a:pt x="160" y="129"/>
                  </a:lnTo>
                  <a:lnTo>
                    <a:pt x="157" y="124"/>
                  </a:lnTo>
                  <a:lnTo>
                    <a:pt x="165" y="116"/>
                  </a:lnTo>
                  <a:lnTo>
                    <a:pt x="165" y="111"/>
                  </a:lnTo>
                  <a:lnTo>
                    <a:pt x="173" y="109"/>
                  </a:lnTo>
                  <a:lnTo>
                    <a:pt x="174" y="93"/>
                  </a:lnTo>
                  <a:lnTo>
                    <a:pt x="187" y="83"/>
                  </a:lnTo>
                  <a:lnTo>
                    <a:pt x="185" y="78"/>
                  </a:lnTo>
                  <a:lnTo>
                    <a:pt x="194" y="72"/>
                  </a:lnTo>
                  <a:lnTo>
                    <a:pt x="193" y="61"/>
                  </a:lnTo>
                  <a:lnTo>
                    <a:pt x="202" y="52"/>
                  </a:lnTo>
                  <a:lnTo>
                    <a:pt x="200" y="41"/>
                  </a:lnTo>
                  <a:lnTo>
                    <a:pt x="213" y="31"/>
                  </a:lnTo>
                  <a:lnTo>
                    <a:pt x="210" y="26"/>
                  </a:lnTo>
                  <a:lnTo>
                    <a:pt x="182" y="26"/>
                  </a:lnTo>
                  <a:lnTo>
                    <a:pt x="195" y="11"/>
                  </a:lnTo>
                  <a:lnTo>
                    <a:pt x="191" y="0"/>
                  </a:lnTo>
                  <a:lnTo>
                    <a:pt x="165" y="0"/>
                  </a:lnTo>
                  <a:close/>
                </a:path>
              </a:pathLst>
            </a:custGeom>
            <a:grpFill/>
            <a:ln w="6350">
              <a:solidFill>
                <a:schemeClr val="tx2"/>
              </a:solidFill>
              <a:round/>
              <a:headEnd/>
              <a:tailEnd/>
            </a:ln>
          </p:spPr>
          <p:txBody>
            <a:bodyPr/>
            <a:lstStyle/>
            <a:p>
              <a:endParaRPr lang="en-US"/>
            </a:p>
          </p:txBody>
        </p:sp>
        <p:sp>
          <p:nvSpPr>
            <p:cNvPr id="214" name="Freeform 1114"/>
            <p:cNvSpPr>
              <a:spLocks/>
            </p:cNvSpPr>
            <p:nvPr/>
          </p:nvSpPr>
          <p:spPr bwMode="auto">
            <a:xfrm>
              <a:off x="2168185" y="3698922"/>
              <a:ext cx="142609" cy="125920"/>
            </a:xfrm>
            <a:custGeom>
              <a:avLst/>
              <a:gdLst>
                <a:gd name="T0" fmla="*/ 2147483647 w 94"/>
                <a:gd name="T1" fmla="*/ 0 h 83"/>
                <a:gd name="T2" fmla="*/ 2147483647 w 94"/>
                <a:gd name="T3" fmla="*/ 0 h 83"/>
                <a:gd name="T4" fmla="*/ 2147483647 w 94"/>
                <a:gd name="T5" fmla="*/ 0 h 83"/>
                <a:gd name="T6" fmla="*/ 0 w 94"/>
                <a:gd name="T7" fmla="*/ 0 h 83"/>
                <a:gd name="T8" fmla="*/ 2147483647 w 94"/>
                <a:gd name="T9" fmla="*/ 2147483647 h 83"/>
                <a:gd name="T10" fmla="*/ 2147483647 w 94"/>
                <a:gd name="T11" fmla="*/ 2147483647 h 83"/>
                <a:gd name="T12" fmla="*/ 2147483647 w 94"/>
                <a:gd name="T13" fmla="*/ 2147483647 h 83"/>
                <a:gd name="T14" fmla="*/ 2147483647 w 94"/>
                <a:gd name="T15" fmla="*/ 2147483647 h 83"/>
                <a:gd name="T16" fmla="*/ 2147483647 w 94"/>
                <a:gd name="T17" fmla="*/ 2147483647 h 83"/>
                <a:gd name="T18" fmla="*/ 2147483647 w 94"/>
                <a:gd name="T19" fmla="*/ 2147483647 h 83"/>
                <a:gd name="T20" fmla="*/ 2147483647 w 94"/>
                <a:gd name="T21" fmla="*/ 2147483647 h 83"/>
                <a:gd name="T22" fmla="*/ 2147483647 w 94"/>
                <a:gd name="T23" fmla="*/ 2147483647 h 83"/>
                <a:gd name="T24" fmla="*/ 2147483647 w 94"/>
                <a:gd name="T25" fmla="*/ 2147483647 h 83"/>
                <a:gd name="T26" fmla="*/ 2147483647 w 94"/>
                <a:gd name="T27" fmla="*/ 2147483647 h 83"/>
                <a:gd name="T28" fmla="*/ 2147483647 w 94"/>
                <a:gd name="T29" fmla="*/ 2147483647 h 83"/>
                <a:gd name="T30" fmla="*/ 2147483647 w 94"/>
                <a:gd name="T31" fmla="*/ 2147483647 h 83"/>
                <a:gd name="T32" fmla="*/ 2147483647 w 94"/>
                <a:gd name="T33" fmla="*/ 2147483647 h 83"/>
                <a:gd name="T34" fmla="*/ 2147483647 w 94"/>
                <a:gd name="T35" fmla="*/ 2147483647 h 83"/>
                <a:gd name="T36" fmla="*/ 2147483647 w 94"/>
                <a:gd name="T37" fmla="*/ 2147483647 h 83"/>
                <a:gd name="T38" fmla="*/ 2147483647 w 94"/>
                <a:gd name="T39" fmla="*/ 2147483647 h 83"/>
                <a:gd name="T40" fmla="*/ 2147483647 w 94"/>
                <a:gd name="T41" fmla="*/ 2147483647 h 83"/>
                <a:gd name="T42" fmla="*/ 2147483647 w 94"/>
                <a:gd name="T43" fmla="*/ 2147483647 h 83"/>
                <a:gd name="T44" fmla="*/ 2147483647 w 94"/>
                <a:gd name="T45" fmla="*/ 2147483647 h 83"/>
                <a:gd name="T46" fmla="*/ 2147483647 w 94"/>
                <a:gd name="T47" fmla="*/ 2147483647 h 83"/>
                <a:gd name="T48" fmla="*/ 2147483647 w 94"/>
                <a:gd name="T49" fmla="*/ 2147483647 h 83"/>
                <a:gd name="T50" fmla="*/ 2147483647 w 94"/>
                <a:gd name="T51" fmla="*/ 2147483647 h 83"/>
                <a:gd name="T52" fmla="*/ 2147483647 w 94"/>
                <a:gd name="T53" fmla="*/ 2147483647 h 83"/>
                <a:gd name="T54" fmla="*/ 2147483647 w 94"/>
                <a:gd name="T55" fmla="*/ 2147483647 h 83"/>
                <a:gd name="T56" fmla="*/ 2147483647 w 94"/>
                <a:gd name="T57" fmla="*/ 2147483647 h 83"/>
                <a:gd name="T58" fmla="*/ 2147483647 w 94"/>
                <a:gd name="T59" fmla="*/ 2147483647 h 83"/>
                <a:gd name="T60" fmla="*/ 2147483647 w 94"/>
                <a:gd name="T61" fmla="*/ 2147483647 h 83"/>
                <a:gd name="T62" fmla="*/ 2147483647 w 94"/>
                <a:gd name="T63" fmla="*/ 2147483647 h 83"/>
                <a:gd name="T64" fmla="*/ 2147483647 w 94"/>
                <a:gd name="T65" fmla="*/ 2147483647 h 83"/>
                <a:gd name="T66" fmla="*/ 2147483647 w 94"/>
                <a:gd name="T67" fmla="*/ 2147483647 h 83"/>
                <a:gd name="T68" fmla="*/ 2147483647 w 94"/>
                <a:gd name="T69" fmla="*/ 2147483647 h 83"/>
                <a:gd name="T70" fmla="*/ 2147483647 w 94"/>
                <a:gd name="T71" fmla="*/ 2147483647 h 83"/>
                <a:gd name="T72" fmla="*/ 2147483647 w 94"/>
                <a:gd name="T73" fmla="*/ 2147483647 h 83"/>
                <a:gd name="T74" fmla="*/ 2147483647 w 94"/>
                <a:gd name="T75" fmla="*/ 2147483647 h 83"/>
                <a:gd name="T76" fmla="*/ 2147483647 w 94"/>
                <a:gd name="T77" fmla="*/ 2147483647 h 83"/>
                <a:gd name="T78" fmla="*/ 2147483647 w 94"/>
                <a:gd name="T79" fmla="*/ 2147483647 h 83"/>
                <a:gd name="T80" fmla="*/ 2147483647 w 94"/>
                <a:gd name="T81" fmla="*/ 2147483647 h 83"/>
                <a:gd name="T82" fmla="*/ 2147483647 w 94"/>
                <a:gd name="T83" fmla="*/ 2147483647 h 83"/>
                <a:gd name="T84" fmla="*/ 2147483647 w 94"/>
                <a:gd name="T85" fmla="*/ 2147483647 h 83"/>
                <a:gd name="T86" fmla="*/ 2147483647 w 94"/>
                <a:gd name="T87" fmla="*/ 2147483647 h 83"/>
                <a:gd name="T88" fmla="*/ 2147483647 w 94"/>
                <a:gd name="T89" fmla="*/ 2147483647 h 83"/>
                <a:gd name="T90" fmla="*/ 2147483647 w 94"/>
                <a:gd name="T91" fmla="*/ 2147483647 h 83"/>
                <a:gd name="T92" fmla="*/ 2147483647 w 94"/>
                <a:gd name="T93" fmla="*/ 2147483647 h 83"/>
                <a:gd name="T94" fmla="*/ 2147483647 w 94"/>
                <a:gd name="T95" fmla="*/ 2147483647 h 83"/>
                <a:gd name="T96" fmla="*/ 2147483647 w 94"/>
                <a:gd name="T97" fmla="*/ 2147483647 h 83"/>
                <a:gd name="T98" fmla="*/ 2147483647 w 94"/>
                <a:gd name="T99" fmla="*/ 2147483647 h 83"/>
                <a:gd name="T100" fmla="*/ 2147483647 w 94"/>
                <a:gd name="T101" fmla="*/ 0 h 83"/>
                <a:gd name="T102" fmla="*/ 2147483647 w 94"/>
                <a:gd name="T103" fmla="*/ 0 h 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
                <a:gd name="T157" fmla="*/ 0 h 83"/>
                <a:gd name="T158" fmla="*/ 94 w 94"/>
                <a:gd name="T159" fmla="*/ 83 h 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 h="83">
                  <a:moveTo>
                    <a:pt x="46" y="0"/>
                  </a:moveTo>
                  <a:lnTo>
                    <a:pt x="29" y="0"/>
                  </a:lnTo>
                  <a:lnTo>
                    <a:pt x="14" y="0"/>
                  </a:lnTo>
                  <a:lnTo>
                    <a:pt x="0" y="0"/>
                  </a:lnTo>
                  <a:lnTo>
                    <a:pt x="1" y="2"/>
                  </a:lnTo>
                  <a:lnTo>
                    <a:pt x="2" y="5"/>
                  </a:lnTo>
                  <a:lnTo>
                    <a:pt x="4" y="7"/>
                  </a:lnTo>
                  <a:lnTo>
                    <a:pt x="5" y="11"/>
                  </a:lnTo>
                  <a:lnTo>
                    <a:pt x="9" y="14"/>
                  </a:lnTo>
                  <a:lnTo>
                    <a:pt x="12" y="13"/>
                  </a:lnTo>
                  <a:lnTo>
                    <a:pt x="13" y="16"/>
                  </a:lnTo>
                  <a:lnTo>
                    <a:pt x="11" y="16"/>
                  </a:lnTo>
                  <a:lnTo>
                    <a:pt x="9" y="20"/>
                  </a:lnTo>
                  <a:lnTo>
                    <a:pt x="22" y="45"/>
                  </a:lnTo>
                  <a:lnTo>
                    <a:pt x="17" y="27"/>
                  </a:lnTo>
                  <a:lnTo>
                    <a:pt x="17" y="59"/>
                  </a:lnTo>
                  <a:lnTo>
                    <a:pt x="17" y="74"/>
                  </a:lnTo>
                  <a:lnTo>
                    <a:pt x="37" y="74"/>
                  </a:lnTo>
                  <a:lnTo>
                    <a:pt x="61" y="74"/>
                  </a:lnTo>
                  <a:lnTo>
                    <a:pt x="71" y="74"/>
                  </a:lnTo>
                  <a:lnTo>
                    <a:pt x="79" y="74"/>
                  </a:lnTo>
                  <a:lnTo>
                    <a:pt x="81" y="78"/>
                  </a:lnTo>
                  <a:lnTo>
                    <a:pt x="76" y="83"/>
                  </a:lnTo>
                  <a:lnTo>
                    <a:pt x="85" y="83"/>
                  </a:lnTo>
                  <a:lnTo>
                    <a:pt x="87" y="81"/>
                  </a:lnTo>
                  <a:lnTo>
                    <a:pt x="86" y="79"/>
                  </a:lnTo>
                  <a:lnTo>
                    <a:pt x="88" y="79"/>
                  </a:lnTo>
                  <a:lnTo>
                    <a:pt x="87" y="77"/>
                  </a:lnTo>
                  <a:lnTo>
                    <a:pt x="88" y="77"/>
                  </a:lnTo>
                  <a:lnTo>
                    <a:pt x="87" y="74"/>
                  </a:lnTo>
                  <a:lnTo>
                    <a:pt x="89" y="75"/>
                  </a:lnTo>
                  <a:lnTo>
                    <a:pt x="90" y="72"/>
                  </a:lnTo>
                  <a:lnTo>
                    <a:pt x="92" y="73"/>
                  </a:lnTo>
                  <a:lnTo>
                    <a:pt x="94" y="70"/>
                  </a:lnTo>
                  <a:lnTo>
                    <a:pt x="94" y="66"/>
                  </a:lnTo>
                  <a:lnTo>
                    <a:pt x="92" y="64"/>
                  </a:lnTo>
                  <a:lnTo>
                    <a:pt x="92" y="65"/>
                  </a:lnTo>
                  <a:lnTo>
                    <a:pt x="90" y="64"/>
                  </a:lnTo>
                  <a:lnTo>
                    <a:pt x="88" y="61"/>
                  </a:lnTo>
                  <a:lnTo>
                    <a:pt x="89" y="58"/>
                  </a:lnTo>
                  <a:lnTo>
                    <a:pt x="88" y="54"/>
                  </a:lnTo>
                  <a:lnTo>
                    <a:pt x="77" y="44"/>
                  </a:lnTo>
                  <a:lnTo>
                    <a:pt x="76" y="41"/>
                  </a:lnTo>
                  <a:lnTo>
                    <a:pt x="80" y="33"/>
                  </a:lnTo>
                  <a:lnTo>
                    <a:pt x="76" y="30"/>
                  </a:lnTo>
                  <a:lnTo>
                    <a:pt x="73" y="32"/>
                  </a:lnTo>
                  <a:lnTo>
                    <a:pt x="70" y="24"/>
                  </a:lnTo>
                  <a:lnTo>
                    <a:pt x="62" y="17"/>
                  </a:lnTo>
                  <a:lnTo>
                    <a:pt x="60" y="9"/>
                  </a:lnTo>
                  <a:lnTo>
                    <a:pt x="61" y="4"/>
                  </a:lnTo>
                  <a:lnTo>
                    <a:pt x="57" y="0"/>
                  </a:lnTo>
                  <a:lnTo>
                    <a:pt x="46" y="0"/>
                  </a:lnTo>
                  <a:close/>
                </a:path>
              </a:pathLst>
            </a:custGeom>
            <a:grpFill/>
            <a:ln w="6350">
              <a:solidFill>
                <a:schemeClr val="tx2"/>
              </a:solidFill>
              <a:round/>
              <a:headEnd/>
              <a:tailEnd/>
            </a:ln>
          </p:spPr>
          <p:txBody>
            <a:bodyPr/>
            <a:lstStyle/>
            <a:p>
              <a:endParaRPr lang="en-US"/>
            </a:p>
          </p:txBody>
        </p:sp>
        <p:sp>
          <p:nvSpPr>
            <p:cNvPr id="215" name="Freeform 1115"/>
            <p:cNvSpPr>
              <a:spLocks/>
            </p:cNvSpPr>
            <p:nvPr/>
          </p:nvSpPr>
          <p:spPr bwMode="auto">
            <a:xfrm>
              <a:off x="2204596" y="3902215"/>
              <a:ext cx="103163" cy="98612"/>
            </a:xfrm>
            <a:custGeom>
              <a:avLst/>
              <a:gdLst>
                <a:gd name="T0" fmla="*/ 2147483647 w 210"/>
                <a:gd name="T1" fmla="*/ 2147483647 h 200"/>
                <a:gd name="T2" fmla="*/ 2147483647 w 210"/>
                <a:gd name="T3" fmla="*/ 2147483647 h 200"/>
                <a:gd name="T4" fmla="*/ 2147483647 w 210"/>
                <a:gd name="T5" fmla="*/ 2147483647 h 200"/>
                <a:gd name="T6" fmla="*/ 2147483647 w 210"/>
                <a:gd name="T7" fmla="*/ 2147483647 h 200"/>
                <a:gd name="T8" fmla="*/ 2147483647 w 210"/>
                <a:gd name="T9" fmla="*/ 2147483647 h 200"/>
                <a:gd name="T10" fmla="*/ 2147483647 w 210"/>
                <a:gd name="T11" fmla="*/ 2147483647 h 200"/>
                <a:gd name="T12" fmla="*/ 2147483647 w 210"/>
                <a:gd name="T13" fmla="*/ 2147483647 h 200"/>
                <a:gd name="T14" fmla="*/ 2147483647 w 210"/>
                <a:gd name="T15" fmla="*/ 2147483647 h 200"/>
                <a:gd name="T16" fmla="*/ 2147483647 w 210"/>
                <a:gd name="T17" fmla="*/ 2147483647 h 200"/>
                <a:gd name="T18" fmla="*/ 2147483647 w 210"/>
                <a:gd name="T19" fmla="*/ 2147483647 h 200"/>
                <a:gd name="T20" fmla="*/ 2147483647 w 210"/>
                <a:gd name="T21" fmla="*/ 2147483647 h 200"/>
                <a:gd name="T22" fmla="*/ 2147483647 w 210"/>
                <a:gd name="T23" fmla="*/ 2147483647 h 200"/>
                <a:gd name="T24" fmla="*/ 2147483647 w 210"/>
                <a:gd name="T25" fmla="*/ 2147483647 h 200"/>
                <a:gd name="T26" fmla="*/ 2147483647 w 210"/>
                <a:gd name="T27" fmla="*/ 2147483647 h 200"/>
                <a:gd name="T28" fmla="*/ 2147483647 w 210"/>
                <a:gd name="T29" fmla="*/ 2147483647 h 200"/>
                <a:gd name="T30" fmla="*/ 2147483647 w 210"/>
                <a:gd name="T31" fmla="*/ 2147483647 h 200"/>
                <a:gd name="T32" fmla="*/ 2147483647 w 210"/>
                <a:gd name="T33" fmla="*/ 2147483647 h 200"/>
                <a:gd name="T34" fmla="*/ 2147483647 w 210"/>
                <a:gd name="T35" fmla="*/ 2147483647 h 200"/>
                <a:gd name="T36" fmla="*/ 2147483647 w 210"/>
                <a:gd name="T37" fmla="*/ 2147483647 h 200"/>
                <a:gd name="T38" fmla="*/ 2147483647 w 210"/>
                <a:gd name="T39" fmla="*/ 2147483647 h 200"/>
                <a:gd name="T40" fmla="*/ 2147483647 w 210"/>
                <a:gd name="T41" fmla="*/ 2147483647 h 200"/>
                <a:gd name="T42" fmla="*/ 2147483647 w 210"/>
                <a:gd name="T43" fmla="*/ 2147483647 h 200"/>
                <a:gd name="T44" fmla="*/ 2147483647 w 210"/>
                <a:gd name="T45" fmla="*/ 2147483647 h 200"/>
                <a:gd name="T46" fmla="*/ 2147483647 w 210"/>
                <a:gd name="T47" fmla="*/ 2147483647 h 200"/>
                <a:gd name="T48" fmla="*/ 2147483647 w 210"/>
                <a:gd name="T49" fmla="*/ 2147483647 h 200"/>
                <a:gd name="T50" fmla="*/ 2147483647 w 210"/>
                <a:gd name="T51" fmla="*/ 2147483647 h 200"/>
                <a:gd name="T52" fmla="*/ 2147483647 w 210"/>
                <a:gd name="T53" fmla="*/ 2147483647 h 200"/>
                <a:gd name="T54" fmla="*/ 2147483647 w 210"/>
                <a:gd name="T55" fmla="*/ 2147483647 h 200"/>
                <a:gd name="T56" fmla="*/ 2147483647 w 210"/>
                <a:gd name="T57" fmla="*/ 2147483647 h 200"/>
                <a:gd name="T58" fmla="*/ 2147483647 w 210"/>
                <a:gd name="T59" fmla="*/ 2147483647 h 200"/>
                <a:gd name="T60" fmla="*/ 2147483647 w 210"/>
                <a:gd name="T61" fmla="*/ 2147483647 h 200"/>
                <a:gd name="T62" fmla="*/ 2147483647 w 210"/>
                <a:gd name="T63" fmla="*/ 2147483647 h 200"/>
                <a:gd name="T64" fmla="*/ 2147483647 w 210"/>
                <a:gd name="T65" fmla="*/ 2147483647 h 200"/>
                <a:gd name="T66" fmla="*/ 2147483647 w 210"/>
                <a:gd name="T67" fmla="*/ 2147483647 h 200"/>
                <a:gd name="T68" fmla="*/ 2147483647 w 210"/>
                <a:gd name="T69" fmla="*/ 2147483647 h 200"/>
                <a:gd name="T70" fmla="*/ 2147483647 w 210"/>
                <a:gd name="T71" fmla="*/ 2147483647 h 200"/>
                <a:gd name="T72" fmla="*/ 2147483647 w 210"/>
                <a:gd name="T73" fmla="*/ 2147483647 h 200"/>
                <a:gd name="T74" fmla="*/ 0 w 210"/>
                <a:gd name="T75" fmla="*/ 2147483647 h 200"/>
                <a:gd name="T76" fmla="*/ 0 w 210"/>
                <a:gd name="T77" fmla="*/ 0 h 200"/>
                <a:gd name="T78" fmla="*/ 2147483647 w 210"/>
                <a:gd name="T79" fmla="*/ 0 h 200"/>
                <a:gd name="T80" fmla="*/ 2147483647 w 210"/>
                <a:gd name="T81" fmla="*/ 0 h 200"/>
                <a:gd name="T82" fmla="*/ 2147483647 w 210"/>
                <a:gd name="T83" fmla="*/ 2147483647 h 200"/>
                <a:gd name="T84" fmla="*/ 2147483647 w 210"/>
                <a:gd name="T85" fmla="*/ 2147483647 h 200"/>
                <a:gd name="T86" fmla="*/ 2147483647 w 210"/>
                <a:gd name="T87" fmla="*/ 2147483647 h 200"/>
                <a:gd name="T88" fmla="*/ 2147483647 w 210"/>
                <a:gd name="T89" fmla="*/ 2147483647 h 200"/>
                <a:gd name="T90" fmla="*/ 2147483647 w 210"/>
                <a:gd name="T91" fmla="*/ 2147483647 h 200"/>
                <a:gd name="T92" fmla="*/ 2147483647 w 210"/>
                <a:gd name="T93" fmla="*/ 2147483647 h 200"/>
                <a:gd name="T94" fmla="*/ 2147483647 w 210"/>
                <a:gd name="T95" fmla="*/ 2147483647 h 200"/>
                <a:gd name="T96" fmla="*/ 2147483647 w 210"/>
                <a:gd name="T97" fmla="*/ 2147483647 h 200"/>
                <a:gd name="T98" fmla="*/ 2147483647 w 210"/>
                <a:gd name="T99" fmla="*/ 2147483647 h 200"/>
                <a:gd name="T100" fmla="*/ 2147483647 w 210"/>
                <a:gd name="T101" fmla="*/ 2147483647 h 200"/>
                <a:gd name="T102" fmla="*/ 2147483647 w 210"/>
                <a:gd name="T103" fmla="*/ 2147483647 h 200"/>
                <a:gd name="T104" fmla="*/ 2147483647 w 210"/>
                <a:gd name="T105" fmla="*/ 2147483647 h 200"/>
                <a:gd name="T106" fmla="*/ 2147483647 w 210"/>
                <a:gd name="T107" fmla="*/ 2147483647 h 200"/>
                <a:gd name="T108" fmla="*/ 2147483647 w 210"/>
                <a:gd name="T109" fmla="*/ 2147483647 h 200"/>
                <a:gd name="T110" fmla="*/ 2147483647 w 210"/>
                <a:gd name="T111" fmla="*/ 2147483647 h 200"/>
                <a:gd name="T112" fmla="*/ 2147483647 w 210"/>
                <a:gd name="T113" fmla="*/ 2147483647 h 200"/>
                <a:gd name="T114" fmla="*/ 2147483647 w 210"/>
                <a:gd name="T115" fmla="*/ 2147483647 h 200"/>
                <a:gd name="T116" fmla="*/ 2147483647 w 210"/>
                <a:gd name="T117" fmla="*/ 2147483647 h 200"/>
                <a:gd name="T118" fmla="*/ 2147483647 w 210"/>
                <a:gd name="T119" fmla="*/ 2147483647 h 2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0"/>
                <a:gd name="T181" fmla="*/ 0 h 200"/>
                <a:gd name="T182" fmla="*/ 210 w 210"/>
                <a:gd name="T183" fmla="*/ 200 h 2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0" h="200">
                  <a:moveTo>
                    <a:pt x="191" y="140"/>
                  </a:moveTo>
                  <a:lnTo>
                    <a:pt x="168" y="131"/>
                  </a:lnTo>
                  <a:lnTo>
                    <a:pt x="158" y="134"/>
                  </a:lnTo>
                  <a:lnTo>
                    <a:pt x="156" y="144"/>
                  </a:lnTo>
                  <a:lnTo>
                    <a:pt x="162" y="150"/>
                  </a:lnTo>
                  <a:lnTo>
                    <a:pt x="181" y="144"/>
                  </a:lnTo>
                  <a:lnTo>
                    <a:pt x="183" y="154"/>
                  </a:lnTo>
                  <a:lnTo>
                    <a:pt x="186" y="154"/>
                  </a:lnTo>
                  <a:lnTo>
                    <a:pt x="200" y="146"/>
                  </a:lnTo>
                  <a:lnTo>
                    <a:pt x="203" y="149"/>
                  </a:lnTo>
                  <a:lnTo>
                    <a:pt x="201" y="160"/>
                  </a:lnTo>
                  <a:lnTo>
                    <a:pt x="189" y="174"/>
                  </a:lnTo>
                  <a:lnTo>
                    <a:pt x="210" y="193"/>
                  </a:lnTo>
                  <a:lnTo>
                    <a:pt x="207" y="197"/>
                  </a:lnTo>
                  <a:lnTo>
                    <a:pt x="205" y="199"/>
                  </a:lnTo>
                  <a:lnTo>
                    <a:pt x="200" y="200"/>
                  </a:lnTo>
                  <a:lnTo>
                    <a:pt x="192" y="189"/>
                  </a:lnTo>
                  <a:lnTo>
                    <a:pt x="178" y="180"/>
                  </a:lnTo>
                  <a:lnTo>
                    <a:pt x="173" y="181"/>
                  </a:lnTo>
                  <a:lnTo>
                    <a:pt x="167" y="193"/>
                  </a:lnTo>
                  <a:lnTo>
                    <a:pt x="146" y="190"/>
                  </a:lnTo>
                  <a:lnTo>
                    <a:pt x="140" y="193"/>
                  </a:lnTo>
                  <a:lnTo>
                    <a:pt x="122" y="189"/>
                  </a:lnTo>
                  <a:lnTo>
                    <a:pt x="114" y="176"/>
                  </a:lnTo>
                  <a:lnTo>
                    <a:pt x="92" y="163"/>
                  </a:lnTo>
                  <a:lnTo>
                    <a:pt x="83" y="163"/>
                  </a:lnTo>
                  <a:lnTo>
                    <a:pt x="83" y="170"/>
                  </a:lnTo>
                  <a:lnTo>
                    <a:pt x="77" y="174"/>
                  </a:lnTo>
                  <a:lnTo>
                    <a:pt x="60" y="173"/>
                  </a:lnTo>
                  <a:lnTo>
                    <a:pt x="33" y="164"/>
                  </a:lnTo>
                  <a:lnTo>
                    <a:pt x="8" y="167"/>
                  </a:lnTo>
                  <a:lnTo>
                    <a:pt x="4" y="162"/>
                  </a:lnTo>
                  <a:lnTo>
                    <a:pt x="14" y="150"/>
                  </a:lnTo>
                  <a:lnTo>
                    <a:pt x="13" y="124"/>
                  </a:lnTo>
                  <a:lnTo>
                    <a:pt x="23" y="100"/>
                  </a:lnTo>
                  <a:lnTo>
                    <a:pt x="9" y="72"/>
                  </a:lnTo>
                  <a:lnTo>
                    <a:pt x="9" y="62"/>
                  </a:lnTo>
                  <a:lnTo>
                    <a:pt x="0" y="52"/>
                  </a:lnTo>
                  <a:lnTo>
                    <a:pt x="0" y="0"/>
                  </a:lnTo>
                  <a:lnTo>
                    <a:pt x="64" y="0"/>
                  </a:lnTo>
                  <a:lnTo>
                    <a:pt x="125" y="0"/>
                  </a:lnTo>
                  <a:lnTo>
                    <a:pt x="124" y="2"/>
                  </a:lnTo>
                  <a:lnTo>
                    <a:pt x="128" y="5"/>
                  </a:lnTo>
                  <a:lnTo>
                    <a:pt x="124" y="14"/>
                  </a:lnTo>
                  <a:lnTo>
                    <a:pt x="128" y="17"/>
                  </a:lnTo>
                  <a:lnTo>
                    <a:pt x="124" y="19"/>
                  </a:lnTo>
                  <a:lnTo>
                    <a:pt x="127" y="29"/>
                  </a:lnTo>
                  <a:lnTo>
                    <a:pt x="135" y="36"/>
                  </a:lnTo>
                  <a:lnTo>
                    <a:pt x="127" y="45"/>
                  </a:lnTo>
                  <a:lnTo>
                    <a:pt x="127" y="51"/>
                  </a:lnTo>
                  <a:lnTo>
                    <a:pt x="116" y="60"/>
                  </a:lnTo>
                  <a:lnTo>
                    <a:pt x="109" y="76"/>
                  </a:lnTo>
                  <a:lnTo>
                    <a:pt x="109" y="88"/>
                  </a:lnTo>
                  <a:lnTo>
                    <a:pt x="103" y="89"/>
                  </a:lnTo>
                  <a:lnTo>
                    <a:pt x="107" y="99"/>
                  </a:lnTo>
                  <a:lnTo>
                    <a:pt x="103" y="102"/>
                  </a:lnTo>
                  <a:lnTo>
                    <a:pt x="144" y="102"/>
                  </a:lnTo>
                  <a:lnTo>
                    <a:pt x="186" y="102"/>
                  </a:lnTo>
                  <a:lnTo>
                    <a:pt x="181" y="118"/>
                  </a:lnTo>
                  <a:lnTo>
                    <a:pt x="191" y="140"/>
                  </a:lnTo>
                  <a:close/>
                </a:path>
              </a:pathLst>
            </a:custGeom>
            <a:grpFill/>
            <a:ln w="6350">
              <a:solidFill>
                <a:schemeClr val="tx2"/>
              </a:solidFill>
              <a:round/>
              <a:headEnd/>
              <a:tailEnd/>
            </a:ln>
          </p:spPr>
          <p:txBody>
            <a:bodyPr/>
            <a:lstStyle/>
            <a:p>
              <a:endParaRPr lang="en-US"/>
            </a:p>
          </p:txBody>
        </p:sp>
        <p:sp>
          <p:nvSpPr>
            <p:cNvPr id="216" name="Freeform 1116"/>
            <p:cNvSpPr>
              <a:spLocks/>
            </p:cNvSpPr>
            <p:nvPr/>
          </p:nvSpPr>
          <p:spPr bwMode="auto">
            <a:xfrm>
              <a:off x="2325965" y="3849116"/>
              <a:ext cx="74338" cy="121369"/>
            </a:xfrm>
            <a:custGeom>
              <a:avLst/>
              <a:gdLst>
                <a:gd name="T0" fmla="*/ 2147483647 w 154"/>
                <a:gd name="T1" fmla="*/ 2147483647 h 243"/>
                <a:gd name="T2" fmla="*/ 2147483647 w 154"/>
                <a:gd name="T3" fmla="*/ 2147483647 h 243"/>
                <a:gd name="T4" fmla="*/ 2147483647 w 154"/>
                <a:gd name="T5" fmla="*/ 2147483647 h 243"/>
                <a:gd name="T6" fmla="*/ 2147483647 w 154"/>
                <a:gd name="T7" fmla="*/ 2147483647 h 243"/>
                <a:gd name="T8" fmla="*/ 2147483647 w 154"/>
                <a:gd name="T9" fmla="*/ 2147483647 h 243"/>
                <a:gd name="T10" fmla="*/ 2147483647 w 154"/>
                <a:gd name="T11" fmla="*/ 2147483647 h 243"/>
                <a:gd name="T12" fmla="*/ 2147483647 w 154"/>
                <a:gd name="T13" fmla="*/ 2147483647 h 243"/>
                <a:gd name="T14" fmla="*/ 2147483647 w 154"/>
                <a:gd name="T15" fmla="*/ 2147483647 h 243"/>
                <a:gd name="T16" fmla="*/ 2147483647 w 154"/>
                <a:gd name="T17" fmla="*/ 2147483647 h 243"/>
                <a:gd name="T18" fmla="*/ 2147483647 w 154"/>
                <a:gd name="T19" fmla="*/ 2147483647 h 243"/>
                <a:gd name="T20" fmla="*/ 2147483647 w 154"/>
                <a:gd name="T21" fmla="*/ 2147483647 h 243"/>
                <a:gd name="T22" fmla="*/ 2147483647 w 154"/>
                <a:gd name="T23" fmla="*/ 2147483647 h 243"/>
                <a:gd name="T24" fmla="*/ 2147483647 w 154"/>
                <a:gd name="T25" fmla="*/ 2147483647 h 243"/>
                <a:gd name="T26" fmla="*/ 2147483647 w 154"/>
                <a:gd name="T27" fmla="*/ 2147483647 h 243"/>
                <a:gd name="T28" fmla="*/ 2147483647 w 154"/>
                <a:gd name="T29" fmla="*/ 2147483647 h 243"/>
                <a:gd name="T30" fmla="*/ 2147483647 w 154"/>
                <a:gd name="T31" fmla="*/ 2147483647 h 243"/>
                <a:gd name="T32" fmla="*/ 2147483647 w 154"/>
                <a:gd name="T33" fmla="*/ 2147483647 h 243"/>
                <a:gd name="T34" fmla="*/ 2147483647 w 154"/>
                <a:gd name="T35" fmla="*/ 2147483647 h 243"/>
                <a:gd name="T36" fmla="*/ 2147483647 w 154"/>
                <a:gd name="T37" fmla="*/ 2147483647 h 243"/>
                <a:gd name="T38" fmla="*/ 2147483647 w 154"/>
                <a:gd name="T39" fmla="*/ 2147483647 h 243"/>
                <a:gd name="T40" fmla="*/ 2147483647 w 154"/>
                <a:gd name="T41" fmla="*/ 0 h 243"/>
                <a:gd name="T42" fmla="*/ 2147483647 w 154"/>
                <a:gd name="T43" fmla="*/ 0 h 243"/>
                <a:gd name="T44" fmla="*/ 2147483647 w 154"/>
                <a:gd name="T45" fmla="*/ 0 h 243"/>
                <a:gd name="T46" fmla="*/ 2147483647 w 154"/>
                <a:gd name="T47" fmla="*/ 2147483647 h 243"/>
                <a:gd name="T48" fmla="*/ 2147483647 w 154"/>
                <a:gd name="T49" fmla="*/ 2147483647 h 243"/>
                <a:gd name="T50" fmla="*/ 0 w 154"/>
                <a:gd name="T51" fmla="*/ 2147483647 h 243"/>
                <a:gd name="T52" fmla="*/ 2147483647 w 154"/>
                <a:gd name="T53" fmla="*/ 2147483647 h 24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4"/>
                <a:gd name="T82" fmla="*/ 0 h 243"/>
                <a:gd name="T83" fmla="*/ 154 w 154"/>
                <a:gd name="T84" fmla="*/ 243 h 24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4" h="243">
                  <a:moveTo>
                    <a:pt x="4" y="235"/>
                  </a:moveTo>
                  <a:lnTo>
                    <a:pt x="13" y="234"/>
                  </a:lnTo>
                  <a:lnTo>
                    <a:pt x="20" y="209"/>
                  </a:lnTo>
                  <a:lnTo>
                    <a:pt x="22" y="243"/>
                  </a:lnTo>
                  <a:lnTo>
                    <a:pt x="46" y="236"/>
                  </a:lnTo>
                  <a:lnTo>
                    <a:pt x="47" y="222"/>
                  </a:lnTo>
                  <a:lnTo>
                    <a:pt x="37" y="212"/>
                  </a:lnTo>
                  <a:lnTo>
                    <a:pt x="38" y="205"/>
                  </a:lnTo>
                  <a:lnTo>
                    <a:pt x="92" y="205"/>
                  </a:lnTo>
                  <a:lnTo>
                    <a:pt x="150" y="205"/>
                  </a:lnTo>
                  <a:lnTo>
                    <a:pt x="146" y="197"/>
                  </a:lnTo>
                  <a:lnTo>
                    <a:pt x="149" y="167"/>
                  </a:lnTo>
                  <a:lnTo>
                    <a:pt x="146" y="159"/>
                  </a:lnTo>
                  <a:lnTo>
                    <a:pt x="148" y="148"/>
                  </a:lnTo>
                  <a:lnTo>
                    <a:pt x="154" y="141"/>
                  </a:lnTo>
                  <a:lnTo>
                    <a:pt x="150" y="138"/>
                  </a:lnTo>
                  <a:lnTo>
                    <a:pt x="151" y="134"/>
                  </a:lnTo>
                  <a:lnTo>
                    <a:pt x="146" y="123"/>
                  </a:lnTo>
                  <a:lnTo>
                    <a:pt x="142" y="104"/>
                  </a:lnTo>
                  <a:lnTo>
                    <a:pt x="134" y="62"/>
                  </a:lnTo>
                  <a:lnTo>
                    <a:pt x="123" y="0"/>
                  </a:lnTo>
                  <a:lnTo>
                    <a:pt x="66" y="0"/>
                  </a:lnTo>
                  <a:lnTo>
                    <a:pt x="13" y="0"/>
                  </a:lnTo>
                  <a:lnTo>
                    <a:pt x="17" y="6"/>
                  </a:lnTo>
                  <a:lnTo>
                    <a:pt x="10" y="77"/>
                  </a:lnTo>
                  <a:lnTo>
                    <a:pt x="0" y="160"/>
                  </a:lnTo>
                  <a:lnTo>
                    <a:pt x="4" y="235"/>
                  </a:lnTo>
                  <a:close/>
                </a:path>
              </a:pathLst>
            </a:custGeom>
            <a:grpFill/>
            <a:ln w="6350">
              <a:solidFill>
                <a:schemeClr val="tx2"/>
              </a:solidFill>
              <a:round/>
              <a:headEnd/>
              <a:tailEnd/>
            </a:ln>
          </p:spPr>
          <p:txBody>
            <a:bodyPr/>
            <a:lstStyle/>
            <a:p>
              <a:endParaRPr lang="en-US"/>
            </a:p>
          </p:txBody>
        </p:sp>
        <p:sp>
          <p:nvSpPr>
            <p:cNvPr id="217" name="Freeform 1117"/>
            <p:cNvSpPr>
              <a:spLocks/>
            </p:cNvSpPr>
            <p:nvPr/>
          </p:nvSpPr>
          <p:spPr bwMode="auto">
            <a:xfrm>
              <a:off x="2342653" y="3952279"/>
              <a:ext cx="162332" cy="142608"/>
            </a:xfrm>
            <a:custGeom>
              <a:avLst/>
              <a:gdLst>
                <a:gd name="T0" fmla="*/ 2147483647 w 323"/>
                <a:gd name="T1" fmla="*/ 2147483647 h 285"/>
                <a:gd name="T2" fmla="*/ 2147483647 w 323"/>
                <a:gd name="T3" fmla="*/ 2147483647 h 285"/>
                <a:gd name="T4" fmla="*/ 2147483647 w 323"/>
                <a:gd name="T5" fmla="*/ 2147483647 h 285"/>
                <a:gd name="T6" fmla="*/ 2147483647 w 323"/>
                <a:gd name="T7" fmla="*/ 2147483647 h 285"/>
                <a:gd name="T8" fmla="*/ 2147483647 w 323"/>
                <a:gd name="T9" fmla="*/ 2147483647 h 285"/>
                <a:gd name="T10" fmla="*/ 2147483647 w 323"/>
                <a:gd name="T11" fmla="*/ 2147483647 h 285"/>
                <a:gd name="T12" fmla="*/ 2147483647 w 323"/>
                <a:gd name="T13" fmla="*/ 2147483647 h 285"/>
                <a:gd name="T14" fmla="*/ 2147483647 w 323"/>
                <a:gd name="T15" fmla="*/ 2147483647 h 285"/>
                <a:gd name="T16" fmla="*/ 2147483647 w 323"/>
                <a:gd name="T17" fmla="*/ 2147483647 h 285"/>
                <a:gd name="T18" fmla="*/ 2147483647 w 323"/>
                <a:gd name="T19" fmla="*/ 2147483647 h 285"/>
                <a:gd name="T20" fmla="*/ 2147483647 w 323"/>
                <a:gd name="T21" fmla="*/ 2147483647 h 285"/>
                <a:gd name="T22" fmla="*/ 2147483647 w 323"/>
                <a:gd name="T23" fmla="*/ 2147483647 h 285"/>
                <a:gd name="T24" fmla="*/ 2147483647 w 323"/>
                <a:gd name="T25" fmla="*/ 2147483647 h 285"/>
                <a:gd name="T26" fmla="*/ 2147483647 w 323"/>
                <a:gd name="T27" fmla="*/ 2147483647 h 285"/>
                <a:gd name="T28" fmla="*/ 2147483647 w 323"/>
                <a:gd name="T29" fmla="*/ 2147483647 h 285"/>
                <a:gd name="T30" fmla="*/ 2147483647 w 323"/>
                <a:gd name="T31" fmla="*/ 2147483647 h 285"/>
                <a:gd name="T32" fmla="*/ 2147483647 w 323"/>
                <a:gd name="T33" fmla="*/ 2147483647 h 285"/>
                <a:gd name="T34" fmla="*/ 2147483647 w 323"/>
                <a:gd name="T35" fmla="*/ 2147483647 h 285"/>
                <a:gd name="T36" fmla="*/ 2147483647 w 323"/>
                <a:gd name="T37" fmla="*/ 2147483647 h 285"/>
                <a:gd name="T38" fmla="*/ 2147483647 w 323"/>
                <a:gd name="T39" fmla="*/ 2147483647 h 285"/>
                <a:gd name="T40" fmla="*/ 2147483647 w 323"/>
                <a:gd name="T41" fmla="*/ 2147483647 h 285"/>
                <a:gd name="T42" fmla="*/ 2147483647 w 323"/>
                <a:gd name="T43" fmla="*/ 2147483647 h 285"/>
                <a:gd name="T44" fmla="*/ 2147483647 w 323"/>
                <a:gd name="T45" fmla="*/ 2147483647 h 285"/>
                <a:gd name="T46" fmla="*/ 2147483647 w 323"/>
                <a:gd name="T47" fmla="*/ 2147483647 h 285"/>
                <a:gd name="T48" fmla="*/ 2147483647 w 323"/>
                <a:gd name="T49" fmla="*/ 2147483647 h 285"/>
                <a:gd name="T50" fmla="*/ 2147483647 w 323"/>
                <a:gd name="T51" fmla="*/ 2147483647 h 285"/>
                <a:gd name="T52" fmla="*/ 2147483647 w 323"/>
                <a:gd name="T53" fmla="*/ 2147483647 h 285"/>
                <a:gd name="T54" fmla="*/ 2147483647 w 323"/>
                <a:gd name="T55" fmla="*/ 2147483647 h 285"/>
                <a:gd name="T56" fmla="*/ 2147483647 w 323"/>
                <a:gd name="T57" fmla="*/ 2147483647 h 285"/>
                <a:gd name="T58" fmla="*/ 2147483647 w 323"/>
                <a:gd name="T59" fmla="*/ 2147483647 h 285"/>
                <a:gd name="T60" fmla="*/ 2147483647 w 323"/>
                <a:gd name="T61" fmla="*/ 2147483647 h 285"/>
                <a:gd name="T62" fmla="*/ 2147483647 w 323"/>
                <a:gd name="T63" fmla="*/ 2147483647 h 285"/>
                <a:gd name="T64" fmla="*/ 2147483647 w 323"/>
                <a:gd name="T65" fmla="*/ 2147483647 h 285"/>
                <a:gd name="T66" fmla="*/ 2147483647 w 323"/>
                <a:gd name="T67" fmla="*/ 2147483647 h 285"/>
                <a:gd name="T68" fmla="*/ 2147483647 w 323"/>
                <a:gd name="T69" fmla="*/ 2147483647 h 285"/>
                <a:gd name="T70" fmla="*/ 2147483647 w 323"/>
                <a:gd name="T71" fmla="*/ 2147483647 h 285"/>
                <a:gd name="T72" fmla="*/ 2147483647 w 323"/>
                <a:gd name="T73" fmla="*/ 2147483647 h 285"/>
                <a:gd name="T74" fmla="*/ 2147483647 w 323"/>
                <a:gd name="T75" fmla="*/ 2147483647 h 285"/>
                <a:gd name="T76" fmla="*/ 2147483647 w 323"/>
                <a:gd name="T77" fmla="*/ 2147483647 h 285"/>
                <a:gd name="T78" fmla="*/ 2147483647 w 323"/>
                <a:gd name="T79" fmla="*/ 2147483647 h 285"/>
                <a:gd name="T80" fmla="*/ 2147483647 w 323"/>
                <a:gd name="T81" fmla="*/ 2147483647 h 285"/>
                <a:gd name="T82" fmla="*/ 2147483647 w 323"/>
                <a:gd name="T83" fmla="*/ 2147483647 h 285"/>
                <a:gd name="T84" fmla="*/ 2147483647 w 323"/>
                <a:gd name="T85" fmla="*/ 2147483647 h 285"/>
                <a:gd name="T86" fmla="*/ 2147483647 w 323"/>
                <a:gd name="T87" fmla="*/ 2147483647 h 285"/>
                <a:gd name="T88" fmla="*/ 2147483647 w 323"/>
                <a:gd name="T89" fmla="*/ 2147483647 h 285"/>
                <a:gd name="T90" fmla="*/ 2147483647 w 323"/>
                <a:gd name="T91" fmla="*/ 2147483647 h 285"/>
                <a:gd name="T92" fmla="*/ 2147483647 w 323"/>
                <a:gd name="T93" fmla="*/ 2147483647 h 285"/>
                <a:gd name="T94" fmla="*/ 2147483647 w 323"/>
                <a:gd name="T95" fmla="*/ 2147483647 h 285"/>
                <a:gd name="T96" fmla="*/ 2147483647 w 323"/>
                <a:gd name="T97" fmla="*/ 2147483647 h 285"/>
                <a:gd name="T98" fmla="*/ 2147483647 w 323"/>
                <a:gd name="T99" fmla="*/ 0 h 285"/>
                <a:gd name="T100" fmla="*/ 2147483647 w 323"/>
                <a:gd name="T101" fmla="*/ 0 h 285"/>
                <a:gd name="T102" fmla="*/ 2147483647 w 323"/>
                <a:gd name="T103" fmla="*/ 0 h 285"/>
                <a:gd name="T104" fmla="*/ 0 w 323"/>
                <a:gd name="T105" fmla="*/ 2147483647 h 285"/>
                <a:gd name="T106" fmla="*/ 2147483647 w 323"/>
                <a:gd name="T107" fmla="*/ 2147483647 h 285"/>
                <a:gd name="T108" fmla="*/ 2147483647 w 323"/>
                <a:gd name="T109" fmla="*/ 2147483647 h 2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3"/>
                <a:gd name="T166" fmla="*/ 0 h 285"/>
                <a:gd name="T167" fmla="*/ 323 w 323"/>
                <a:gd name="T168" fmla="*/ 285 h 2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3" h="285">
                  <a:moveTo>
                    <a:pt x="9" y="31"/>
                  </a:moveTo>
                  <a:lnTo>
                    <a:pt x="24" y="21"/>
                  </a:lnTo>
                  <a:lnTo>
                    <a:pt x="23" y="29"/>
                  </a:lnTo>
                  <a:lnTo>
                    <a:pt x="54" y="24"/>
                  </a:lnTo>
                  <a:lnTo>
                    <a:pt x="58" y="26"/>
                  </a:lnTo>
                  <a:lnTo>
                    <a:pt x="55" y="31"/>
                  </a:lnTo>
                  <a:lnTo>
                    <a:pt x="89" y="50"/>
                  </a:lnTo>
                  <a:lnTo>
                    <a:pt x="100" y="64"/>
                  </a:lnTo>
                  <a:lnTo>
                    <a:pt x="111" y="62"/>
                  </a:lnTo>
                  <a:lnTo>
                    <a:pt x="139" y="54"/>
                  </a:lnTo>
                  <a:lnTo>
                    <a:pt x="144" y="46"/>
                  </a:lnTo>
                  <a:lnTo>
                    <a:pt x="162" y="49"/>
                  </a:lnTo>
                  <a:lnTo>
                    <a:pt x="179" y="66"/>
                  </a:lnTo>
                  <a:lnTo>
                    <a:pt x="180" y="73"/>
                  </a:lnTo>
                  <a:lnTo>
                    <a:pt x="209" y="95"/>
                  </a:lnTo>
                  <a:lnTo>
                    <a:pt x="211" y="115"/>
                  </a:lnTo>
                  <a:lnTo>
                    <a:pt x="207" y="147"/>
                  </a:lnTo>
                  <a:lnTo>
                    <a:pt x="209" y="156"/>
                  </a:lnTo>
                  <a:lnTo>
                    <a:pt x="212" y="156"/>
                  </a:lnTo>
                  <a:lnTo>
                    <a:pt x="213" y="149"/>
                  </a:lnTo>
                  <a:lnTo>
                    <a:pt x="219" y="153"/>
                  </a:lnTo>
                  <a:lnTo>
                    <a:pt x="216" y="178"/>
                  </a:lnTo>
                  <a:lnTo>
                    <a:pt x="230" y="202"/>
                  </a:lnTo>
                  <a:lnTo>
                    <a:pt x="238" y="201"/>
                  </a:lnTo>
                  <a:lnTo>
                    <a:pt x="241" y="214"/>
                  </a:lnTo>
                  <a:lnTo>
                    <a:pt x="245" y="214"/>
                  </a:lnTo>
                  <a:lnTo>
                    <a:pt x="242" y="220"/>
                  </a:lnTo>
                  <a:lnTo>
                    <a:pt x="254" y="245"/>
                  </a:lnTo>
                  <a:lnTo>
                    <a:pt x="270" y="254"/>
                  </a:lnTo>
                  <a:lnTo>
                    <a:pt x="277" y="272"/>
                  </a:lnTo>
                  <a:lnTo>
                    <a:pt x="278" y="283"/>
                  </a:lnTo>
                  <a:lnTo>
                    <a:pt x="291" y="285"/>
                  </a:lnTo>
                  <a:lnTo>
                    <a:pt x="308" y="279"/>
                  </a:lnTo>
                  <a:lnTo>
                    <a:pt x="314" y="282"/>
                  </a:lnTo>
                  <a:lnTo>
                    <a:pt x="323" y="241"/>
                  </a:lnTo>
                  <a:lnTo>
                    <a:pt x="323" y="200"/>
                  </a:lnTo>
                  <a:lnTo>
                    <a:pt x="303" y="151"/>
                  </a:lnTo>
                  <a:lnTo>
                    <a:pt x="301" y="121"/>
                  </a:lnTo>
                  <a:lnTo>
                    <a:pt x="281" y="88"/>
                  </a:lnTo>
                  <a:lnTo>
                    <a:pt x="271" y="57"/>
                  </a:lnTo>
                  <a:lnTo>
                    <a:pt x="262" y="19"/>
                  </a:lnTo>
                  <a:lnTo>
                    <a:pt x="263" y="14"/>
                  </a:lnTo>
                  <a:lnTo>
                    <a:pt x="244" y="9"/>
                  </a:lnTo>
                  <a:lnTo>
                    <a:pt x="241" y="13"/>
                  </a:lnTo>
                  <a:lnTo>
                    <a:pt x="241" y="31"/>
                  </a:lnTo>
                  <a:lnTo>
                    <a:pt x="235" y="31"/>
                  </a:lnTo>
                  <a:lnTo>
                    <a:pt x="232" y="21"/>
                  </a:lnTo>
                  <a:lnTo>
                    <a:pt x="176" y="18"/>
                  </a:lnTo>
                  <a:lnTo>
                    <a:pt x="118" y="14"/>
                  </a:lnTo>
                  <a:lnTo>
                    <a:pt x="113" y="0"/>
                  </a:lnTo>
                  <a:lnTo>
                    <a:pt x="55" y="0"/>
                  </a:lnTo>
                  <a:lnTo>
                    <a:pt x="1" y="0"/>
                  </a:lnTo>
                  <a:lnTo>
                    <a:pt x="0" y="7"/>
                  </a:lnTo>
                  <a:lnTo>
                    <a:pt x="10" y="17"/>
                  </a:lnTo>
                  <a:lnTo>
                    <a:pt x="9" y="31"/>
                  </a:lnTo>
                  <a:close/>
                </a:path>
              </a:pathLst>
            </a:custGeom>
            <a:grpFill/>
            <a:ln w="6350">
              <a:solidFill>
                <a:schemeClr val="tx2"/>
              </a:solidFill>
              <a:round/>
              <a:headEnd/>
              <a:tailEnd/>
            </a:ln>
          </p:spPr>
          <p:txBody>
            <a:bodyPr/>
            <a:lstStyle/>
            <a:p>
              <a:endParaRPr lang="en-US"/>
            </a:p>
          </p:txBody>
        </p:sp>
        <p:sp>
          <p:nvSpPr>
            <p:cNvPr id="218" name="Freeform 1118"/>
            <p:cNvSpPr>
              <a:spLocks/>
            </p:cNvSpPr>
            <p:nvPr/>
          </p:nvSpPr>
          <p:spPr bwMode="auto">
            <a:xfrm>
              <a:off x="2286520" y="3806637"/>
              <a:ext cx="185087" cy="42479"/>
            </a:xfrm>
            <a:custGeom>
              <a:avLst/>
              <a:gdLst>
                <a:gd name="T0" fmla="*/ 2147483647 w 372"/>
                <a:gd name="T1" fmla="*/ 2147483647 h 88"/>
                <a:gd name="T2" fmla="*/ 2147483647 w 372"/>
                <a:gd name="T3" fmla="*/ 2147483647 h 88"/>
                <a:gd name="T4" fmla="*/ 2147483647 w 372"/>
                <a:gd name="T5" fmla="*/ 2147483647 h 88"/>
                <a:gd name="T6" fmla="*/ 2147483647 w 372"/>
                <a:gd name="T7" fmla="*/ 2147483647 h 88"/>
                <a:gd name="T8" fmla="*/ 2147483647 w 372"/>
                <a:gd name="T9" fmla="*/ 0 h 88"/>
                <a:gd name="T10" fmla="*/ 2147483647 w 372"/>
                <a:gd name="T11" fmla="*/ 0 h 88"/>
                <a:gd name="T12" fmla="*/ 2147483647 w 372"/>
                <a:gd name="T13" fmla="*/ 2147483647 h 88"/>
                <a:gd name="T14" fmla="*/ 2147483647 w 372"/>
                <a:gd name="T15" fmla="*/ 2147483647 h 88"/>
                <a:gd name="T16" fmla="*/ 2147483647 w 372"/>
                <a:gd name="T17" fmla="*/ 2147483647 h 88"/>
                <a:gd name="T18" fmla="*/ 2147483647 w 372"/>
                <a:gd name="T19" fmla="*/ 2147483647 h 88"/>
                <a:gd name="T20" fmla="*/ 2147483647 w 372"/>
                <a:gd name="T21" fmla="*/ 2147483647 h 88"/>
                <a:gd name="T22" fmla="*/ 2147483647 w 372"/>
                <a:gd name="T23" fmla="*/ 2147483647 h 88"/>
                <a:gd name="T24" fmla="*/ 2147483647 w 372"/>
                <a:gd name="T25" fmla="*/ 2147483647 h 88"/>
                <a:gd name="T26" fmla="*/ 2147483647 w 372"/>
                <a:gd name="T27" fmla="*/ 2147483647 h 88"/>
                <a:gd name="T28" fmla="*/ 2147483647 w 372"/>
                <a:gd name="T29" fmla="*/ 2147483647 h 88"/>
                <a:gd name="T30" fmla="*/ 2147483647 w 372"/>
                <a:gd name="T31" fmla="*/ 2147483647 h 88"/>
                <a:gd name="T32" fmla="*/ 2147483647 w 372"/>
                <a:gd name="T33" fmla="*/ 2147483647 h 88"/>
                <a:gd name="T34" fmla="*/ 2147483647 w 372"/>
                <a:gd name="T35" fmla="*/ 2147483647 h 88"/>
                <a:gd name="T36" fmla="*/ 2147483647 w 372"/>
                <a:gd name="T37" fmla="*/ 2147483647 h 88"/>
                <a:gd name="T38" fmla="*/ 2147483647 w 372"/>
                <a:gd name="T39" fmla="*/ 2147483647 h 88"/>
                <a:gd name="T40" fmla="*/ 0 w 372"/>
                <a:gd name="T41" fmla="*/ 2147483647 h 88"/>
                <a:gd name="T42" fmla="*/ 2147483647 w 372"/>
                <a:gd name="T43" fmla="*/ 2147483647 h 88"/>
                <a:gd name="T44" fmla="*/ 2147483647 w 372"/>
                <a:gd name="T45" fmla="*/ 2147483647 h 88"/>
                <a:gd name="T46" fmla="*/ 2147483647 w 372"/>
                <a:gd name="T47" fmla="*/ 2147483647 h 88"/>
                <a:gd name="T48" fmla="*/ 2147483647 w 372"/>
                <a:gd name="T49" fmla="*/ 2147483647 h 88"/>
                <a:gd name="T50" fmla="*/ 2147483647 w 372"/>
                <a:gd name="T51" fmla="*/ 2147483647 h 88"/>
                <a:gd name="T52" fmla="*/ 2147483647 w 372"/>
                <a:gd name="T53" fmla="*/ 2147483647 h 88"/>
                <a:gd name="T54" fmla="*/ 2147483647 w 372"/>
                <a:gd name="T55" fmla="*/ 2147483647 h 88"/>
                <a:gd name="T56" fmla="*/ 2147483647 w 372"/>
                <a:gd name="T57" fmla="*/ 2147483647 h 88"/>
                <a:gd name="T58" fmla="*/ 2147483647 w 372"/>
                <a:gd name="T59" fmla="*/ 2147483647 h 88"/>
                <a:gd name="T60" fmla="*/ 2147483647 w 372"/>
                <a:gd name="T61" fmla="*/ 2147483647 h 88"/>
                <a:gd name="T62" fmla="*/ 2147483647 w 372"/>
                <a:gd name="T63" fmla="*/ 2147483647 h 88"/>
                <a:gd name="T64" fmla="*/ 2147483647 w 372"/>
                <a:gd name="T65" fmla="*/ 2147483647 h 88"/>
                <a:gd name="T66" fmla="*/ 2147483647 w 372"/>
                <a:gd name="T67" fmla="*/ 2147483647 h 88"/>
                <a:gd name="T68" fmla="*/ 2147483647 w 372"/>
                <a:gd name="T69" fmla="*/ 2147483647 h 88"/>
                <a:gd name="T70" fmla="*/ 2147483647 w 372"/>
                <a:gd name="T71" fmla="*/ 2147483647 h 88"/>
                <a:gd name="T72" fmla="*/ 2147483647 w 372"/>
                <a:gd name="T73" fmla="*/ 2147483647 h 88"/>
                <a:gd name="T74" fmla="*/ 2147483647 w 372"/>
                <a:gd name="T75" fmla="*/ 2147483647 h 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2"/>
                <a:gd name="T115" fmla="*/ 0 h 88"/>
                <a:gd name="T116" fmla="*/ 372 w 372"/>
                <a:gd name="T117" fmla="*/ 88 h 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2" h="88">
                  <a:moveTo>
                    <a:pt x="372" y="1"/>
                  </a:moveTo>
                  <a:lnTo>
                    <a:pt x="285" y="1"/>
                  </a:lnTo>
                  <a:lnTo>
                    <a:pt x="222" y="1"/>
                  </a:lnTo>
                  <a:lnTo>
                    <a:pt x="193" y="1"/>
                  </a:lnTo>
                  <a:lnTo>
                    <a:pt x="143" y="0"/>
                  </a:lnTo>
                  <a:lnTo>
                    <a:pt x="96" y="0"/>
                  </a:lnTo>
                  <a:lnTo>
                    <a:pt x="97" y="10"/>
                  </a:lnTo>
                  <a:lnTo>
                    <a:pt x="35" y="13"/>
                  </a:lnTo>
                  <a:lnTo>
                    <a:pt x="31" y="8"/>
                  </a:lnTo>
                  <a:lnTo>
                    <a:pt x="33" y="17"/>
                  </a:lnTo>
                  <a:lnTo>
                    <a:pt x="29" y="19"/>
                  </a:lnTo>
                  <a:lnTo>
                    <a:pt x="32" y="23"/>
                  </a:lnTo>
                  <a:lnTo>
                    <a:pt x="26" y="24"/>
                  </a:lnTo>
                  <a:lnTo>
                    <a:pt x="30" y="29"/>
                  </a:lnTo>
                  <a:lnTo>
                    <a:pt x="25" y="36"/>
                  </a:lnTo>
                  <a:lnTo>
                    <a:pt x="28" y="41"/>
                  </a:lnTo>
                  <a:lnTo>
                    <a:pt x="15" y="51"/>
                  </a:lnTo>
                  <a:lnTo>
                    <a:pt x="17" y="62"/>
                  </a:lnTo>
                  <a:lnTo>
                    <a:pt x="8" y="71"/>
                  </a:lnTo>
                  <a:lnTo>
                    <a:pt x="9" y="82"/>
                  </a:lnTo>
                  <a:lnTo>
                    <a:pt x="0" y="88"/>
                  </a:lnTo>
                  <a:lnTo>
                    <a:pt x="45" y="88"/>
                  </a:lnTo>
                  <a:lnTo>
                    <a:pt x="91" y="88"/>
                  </a:lnTo>
                  <a:lnTo>
                    <a:pt x="144" y="88"/>
                  </a:lnTo>
                  <a:lnTo>
                    <a:pt x="257" y="88"/>
                  </a:lnTo>
                  <a:lnTo>
                    <a:pt x="259" y="77"/>
                  </a:lnTo>
                  <a:lnTo>
                    <a:pt x="268" y="75"/>
                  </a:lnTo>
                  <a:lnTo>
                    <a:pt x="276" y="62"/>
                  </a:lnTo>
                  <a:lnTo>
                    <a:pt x="293" y="60"/>
                  </a:lnTo>
                  <a:lnTo>
                    <a:pt x="314" y="48"/>
                  </a:lnTo>
                  <a:lnTo>
                    <a:pt x="318" y="39"/>
                  </a:lnTo>
                  <a:lnTo>
                    <a:pt x="330" y="33"/>
                  </a:lnTo>
                  <a:lnTo>
                    <a:pt x="333" y="38"/>
                  </a:lnTo>
                  <a:lnTo>
                    <a:pt x="344" y="29"/>
                  </a:lnTo>
                  <a:lnTo>
                    <a:pt x="355" y="31"/>
                  </a:lnTo>
                  <a:lnTo>
                    <a:pt x="362" y="20"/>
                  </a:lnTo>
                  <a:lnTo>
                    <a:pt x="370" y="18"/>
                  </a:lnTo>
                  <a:lnTo>
                    <a:pt x="372" y="1"/>
                  </a:lnTo>
                  <a:close/>
                </a:path>
              </a:pathLst>
            </a:custGeom>
            <a:grpFill/>
            <a:ln w="6350">
              <a:solidFill>
                <a:schemeClr val="tx2"/>
              </a:solidFill>
              <a:round/>
              <a:headEnd/>
              <a:tailEnd/>
            </a:ln>
          </p:spPr>
          <p:txBody>
            <a:bodyPr/>
            <a:lstStyle/>
            <a:p>
              <a:endParaRPr lang="en-US"/>
            </a:p>
          </p:txBody>
        </p:sp>
        <p:sp>
          <p:nvSpPr>
            <p:cNvPr id="219" name="Freeform 1119"/>
            <p:cNvSpPr>
              <a:spLocks/>
            </p:cNvSpPr>
            <p:nvPr/>
          </p:nvSpPr>
          <p:spPr bwMode="auto">
            <a:xfrm>
              <a:off x="2257694" y="3849116"/>
              <a:ext cx="75856" cy="121369"/>
            </a:xfrm>
            <a:custGeom>
              <a:avLst/>
              <a:gdLst>
                <a:gd name="T0" fmla="*/ 2147483647 w 153"/>
                <a:gd name="T1" fmla="*/ 2147483647 h 243"/>
                <a:gd name="T2" fmla="*/ 2147483647 w 153"/>
                <a:gd name="T3" fmla="*/ 2147483647 h 243"/>
                <a:gd name="T4" fmla="*/ 2147483647 w 153"/>
                <a:gd name="T5" fmla="*/ 2147483647 h 243"/>
                <a:gd name="T6" fmla="*/ 2147483647 w 153"/>
                <a:gd name="T7" fmla="*/ 2147483647 h 243"/>
                <a:gd name="T8" fmla="*/ 2147483647 w 153"/>
                <a:gd name="T9" fmla="*/ 2147483647 h 243"/>
                <a:gd name="T10" fmla="*/ 2147483647 w 153"/>
                <a:gd name="T11" fmla="*/ 2147483647 h 243"/>
                <a:gd name="T12" fmla="*/ 0 w 153"/>
                <a:gd name="T13" fmla="*/ 2147483647 h 243"/>
                <a:gd name="T14" fmla="*/ 2147483647 w 153"/>
                <a:gd name="T15" fmla="*/ 2147483647 h 243"/>
                <a:gd name="T16" fmla="*/ 0 w 153"/>
                <a:gd name="T17" fmla="*/ 2147483647 h 243"/>
                <a:gd name="T18" fmla="*/ 2147483647 w 153"/>
                <a:gd name="T19" fmla="*/ 2147483647 h 243"/>
                <a:gd name="T20" fmla="*/ 2147483647 w 153"/>
                <a:gd name="T21" fmla="*/ 2147483647 h 243"/>
                <a:gd name="T22" fmla="*/ 2147483647 w 153"/>
                <a:gd name="T23" fmla="*/ 2147483647 h 243"/>
                <a:gd name="T24" fmla="*/ 2147483647 w 153"/>
                <a:gd name="T25" fmla="*/ 2147483647 h 243"/>
                <a:gd name="T26" fmla="*/ 2147483647 w 153"/>
                <a:gd name="T27" fmla="*/ 2147483647 h 243"/>
                <a:gd name="T28" fmla="*/ 2147483647 w 153"/>
                <a:gd name="T29" fmla="*/ 2147483647 h 243"/>
                <a:gd name="T30" fmla="*/ 2147483647 w 153"/>
                <a:gd name="T31" fmla="*/ 2147483647 h 243"/>
                <a:gd name="T32" fmla="*/ 2147483647 w 153"/>
                <a:gd name="T33" fmla="*/ 2147483647 h 243"/>
                <a:gd name="T34" fmla="*/ 2147483647 w 153"/>
                <a:gd name="T35" fmla="*/ 2147483647 h 243"/>
                <a:gd name="T36" fmla="*/ 2147483647 w 153"/>
                <a:gd name="T37" fmla="*/ 2147483647 h 243"/>
                <a:gd name="T38" fmla="*/ 2147483647 w 153"/>
                <a:gd name="T39" fmla="*/ 2147483647 h 243"/>
                <a:gd name="T40" fmla="*/ 2147483647 w 153"/>
                <a:gd name="T41" fmla="*/ 2147483647 h 243"/>
                <a:gd name="T42" fmla="*/ 2147483647 w 153"/>
                <a:gd name="T43" fmla="*/ 2147483647 h 243"/>
                <a:gd name="T44" fmla="*/ 2147483647 w 153"/>
                <a:gd name="T45" fmla="*/ 2147483647 h 243"/>
                <a:gd name="T46" fmla="*/ 2147483647 w 153"/>
                <a:gd name="T47" fmla="*/ 2147483647 h 243"/>
                <a:gd name="T48" fmla="*/ 2147483647 w 153"/>
                <a:gd name="T49" fmla="*/ 2147483647 h 243"/>
                <a:gd name="T50" fmla="*/ 2147483647 w 153"/>
                <a:gd name="T51" fmla="*/ 2147483647 h 243"/>
                <a:gd name="T52" fmla="*/ 2147483647 w 153"/>
                <a:gd name="T53" fmla="*/ 2147483647 h 243"/>
                <a:gd name="T54" fmla="*/ 2147483647 w 153"/>
                <a:gd name="T55" fmla="*/ 2147483647 h 243"/>
                <a:gd name="T56" fmla="*/ 2147483647 w 153"/>
                <a:gd name="T57" fmla="*/ 2147483647 h 243"/>
                <a:gd name="T58" fmla="*/ 2147483647 w 153"/>
                <a:gd name="T59" fmla="*/ 2147483647 h 243"/>
                <a:gd name="T60" fmla="*/ 2147483647 w 153"/>
                <a:gd name="T61" fmla="*/ 2147483647 h 243"/>
                <a:gd name="T62" fmla="*/ 2147483647 w 153"/>
                <a:gd name="T63" fmla="*/ 2147483647 h 243"/>
                <a:gd name="T64" fmla="*/ 2147483647 w 153"/>
                <a:gd name="T65" fmla="*/ 2147483647 h 243"/>
                <a:gd name="T66" fmla="*/ 2147483647 w 153"/>
                <a:gd name="T67" fmla="*/ 2147483647 h 243"/>
                <a:gd name="T68" fmla="*/ 2147483647 w 153"/>
                <a:gd name="T69" fmla="*/ 2147483647 h 243"/>
                <a:gd name="T70" fmla="*/ 2147483647 w 153"/>
                <a:gd name="T71" fmla="*/ 2147483647 h 243"/>
                <a:gd name="T72" fmla="*/ 2147483647 w 153"/>
                <a:gd name="T73" fmla="*/ 2147483647 h 243"/>
                <a:gd name="T74" fmla="*/ 2147483647 w 153"/>
                <a:gd name="T75" fmla="*/ 0 h 243"/>
                <a:gd name="T76" fmla="*/ 2147483647 w 153"/>
                <a:gd name="T77" fmla="*/ 0 h 243"/>
                <a:gd name="T78" fmla="*/ 2147483647 w 153"/>
                <a:gd name="T79" fmla="*/ 0 h 243"/>
                <a:gd name="T80" fmla="*/ 2147483647 w 153"/>
                <a:gd name="T81" fmla="*/ 2147483647 h 243"/>
                <a:gd name="T82" fmla="*/ 2147483647 w 153"/>
                <a:gd name="T83" fmla="*/ 2147483647 h 243"/>
                <a:gd name="T84" fmla="*/ 2147483647 w 153"/>
                <a:gd name="T85" fmla="*/ 2147483647 h 243"/>
                <a:gd name="T86" fmla="*/ 2147483647 w 153"/>
                <a:gd name="T87" fmla="*/ 2147483647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3"/>
                <a:gd name="T133" fmla="*/ 0 h 243"/>
                <a:gd name="T134" fmla="*/ 153 w 153"/>
                <a:gd name="T135" fmla="*/ 243 h 2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3" h="243">
                  <a:moveTo>
                    <a:pt x="140" y="235"/>
                  </a:moveTo>
                  <a:lnTo>
                    <a:pt x="113" y="234"/>
                  </a:lnTo>
                  <a:lnTo>
                    <a:pt x="88" y="243"/>
                  </a:lnTo>
                  <a:lnTo>
                    <a:pt x="78" y="221"/>
                  </a:lnTo>
                  <a:lnTo>
                    <a:pt x="83" y="205"/>
                  </a:lnTo>
                  <a:lnTo>
                    <a:pt x="41" y="205"/>
                  </a:lnTo>
                  <a:lnTo>
                    <a:pt x="0" y="205"/>
                  </a:lnTo>
                  <a:lnTo>
                    <a:pt x="4" y="202"/>
                  </a:lnTo>
                  <a:lnTo>
                    <a:pt x="0" y="192"/>
                  </a:lnTo>
                  <a:lnTo>
                    <a:pt x="6" y="191"/>
                  </a:lnTo>
                  <a:lnTo>
                    <a:pt x="6" y="179"/>
                  </a:lnTo>
                  <a:lnTo>
                    <a:pt x="13" y="163"/>
                  </a:lnTo>
                  <a:lnTo>
                    <a:pt x="24" y="154"/>
                  </a:lnTo>
                  <a:lnTo>
                    <a:pt x="24" y="148"/>
                  </a:lnTo>
                  <a:lnTo>
                    <a:pt x="32" y="139"/>
                  </a:lnTo>
                  <a:lnTo>
                    <a:pt x="24" y="132"/>
                  </a:lnTo>
                  <a:lnTo>
                    <a:pt x="21" y="122"/>
                  </a:lnTo>
                  <a:lnTo>
                    <a:pt x="25" y="120"/>
                  </a:lnTo>
                  <a:lnTo>
                    <a:pt x="21" y="117"/>
                  </a:lnTo>
                  <a:lnTo>
                    <a:pt x="25" y="108"/>
                  </a:lnTo>
                  <a:lnTo>
                    <a:pt x="21" y="105"/>
                  </a:lnTo>
                  <a:lnTo>
                    <a:pt x="22" y="103"/>
                  </a:lnTo>
                  <a:lnTo>
                    <a:pt x="24" y="95"/>
                  </a:lnTo>
                  <a:lnTo>
                    <a:pt x="20" y="88"/>
                  </a:lnTo>
                  <a:lnTo>
                    <a:pt x="22" y="80"/>
                  </a:lnTo>
                  <a:lnTo>
                    <a:pt x="18" y="76"/>
                  </a:lnTo>
                  <a:lnTo>
                    <a:pt x="22" y="72"/>
                  </a:lnTo>
                  <a:lnTo>
                    <a:pt x="18" y="69"/>
                  </a:lnTo>
                  <a:lnTo>
                    <a:pt x="25" y="64"/>
                  </a:lnTo>
                  <a:lnTo>
                    <a:pt x="24" y="54"/>
                  </a:lnTo>
                  <a:lnTo>
                    <a:pt x="33" y="51"/>
                  </a:lnTo>
                  <a:lnTo>
                    <a:pt x="30" y="46"/>
                  </a:lnTo>
                  <a:lnTo>
                    <a:pt x="38" y="38"/>
                  </a:lnTo>
                  <a:lnTo>
                    <a:pt x="38" y="33"/>
                  </a:lnTo>
                  <a:lnTo>
                    <a:pt x="46" y="31"/>
                  </a:lnTo>
                  <a:lnTo>
                    <a:pt x="47" y="15"/>
                  </a:lnTo>
                  <a:lnTo>
                    <a:pt x="60" y="5"/>
                  </a:lnTo>
                  <a:lnTo>
                    <a:pt x="58" y="0"/>
                  </a:lnTo>
                  <a:lnTo>
                    <a:pt x="103" y="0"/>
                  </a:lnTo>
                  <a:lnTo>
                    <a:pt x="149" y="0"/>
                  </a:lnTo>
                  <a:lnTo>
                    <a:pt x="153" y="6"/>
                  </a:lnTo>
                  <a:lnTo>
                    <a:pt x="146" y="77"/>
                  </a:lnTo>
                  <a:lnTo>
                    <a:pt x="136" y="160"/>
                  </a:lnTo>
                  <a:lnTo>
                    <a:pt x="140" y="235"/>
                  </a:lnTo>
                  <a:close/>
                </a:path>
              </a:pathLst>
            </a:custGeom>
            <a:grpFill/>
            <a:ln w="6350">
              <a:solidFill>
                <a:schemeClr val="tx2"/>
              </a:solidFill>
              <a:round/>
              <a:headEnd/>
              <a:tailEnd/>
            </a:ln>
          </p:spPr>
          <p:txBody>
            <a:bodyPr/>
            <a:lstStyle/>
            <a:p>
              <a:endParaRPr lang="en-US"/>
            </a:p>
          </p:txBody>
        </p:sp>
        <p:sp>
          <p:nvSpPr>
            <p:cNvPr id="220" name="Freeform 1120"/>
            <p:cNvSpPr>
              <a:spLocks/>
            </p:cNvSpPr>
            <p:nvPr/>
          </p:nvSpPr>
          <p:spPr bwMode="auto">
            <a:xfrm>
              <a:off x="2231904" y="3513835"/>
              <a:ext cx="124403" cy="133506"/>
            </a:xfrm>
            <a:custGeom>
              <a:avLst/>
              <a:gdLst>
                <a:gd name="T0" fmla="*/ 2147483647 w 251"/>
                <a:gd name="T1" fmla="*/ 2147483647 h 269"/>
                <a:gd name="T2" fmla="*/ 2147483647 w 251"/>
                <a:gd name="T3" fmla="*/ 2147483647 h 269"/>
                <a:gd name="T4" fmla="*/ 2147483647 w 251"/>
                <a:gd name="T5" fmla="*/ 2147483647 h 269"/>
                <a:gd name="T6" fmla="*/ 2147483647 w 251"/>
                <a:gd name="T7" fmla="*/ 0 h 269"/>
                <a:gd name="T8" fmla="*/ 2147483647 w 251"/>
                <a:gd name="T9" fmla="*/ 2147483647 h 269"/>
                <a:gd name="T10" fmla="*/ 2147483647 w 251"/>
                <a:gd name="T11" fmla="*/ 2147483647 h 269"/>
                <a:gd name="T12" fmla="*/ 2147483647 w 251"/>
                <a:gd name="T13" fmla="*/ 2147483647 h 269"/>
                <a:gd name="T14" fmla="*/ 2147483647 w 251"/>
                <a:gd name="T15" fmla="*/ 2147483647 h 269"/>
                <a:gd name="T16" fmla="*/ 2147483647 w 251"/>
                <a:gd name="T17" fmla="*/ 2147483647 h 269"/>
                <a:gd name="T18" fmla="*/ 2147483647 w 251"/>
                <a:gd name="T19" fmla="*/ 2147483647 h 269"/>
                <a:gd name="T20" fmla="*/ 2147483647 w 251"/>
                <a:gd name="T21" fmla="*/ 2147483647 h 269"/>
                <a:gd name="T22" fmla="*/ 0 w 251"/>
                <a:gd name="T23" fmla="*/ 2147483647 h 269"/>
                <a:gd name="T24" fmla="*/ 0 w 251"/>
                <a:gd name="T25" fmla="*/ 2147483647 h 269"/>
                <a:gd name="T26" fmla="*/ 2147483647 w 251"/>
                <a:gd name="T27" fmla="*/ 2147483647 h 269"/>
                <a:gd name="T28" fmla="*/ 2147483647 w 251"/>
                <a:gd name="T29" fmla="*/ 2147483647 h 269"/>
                <a:gd name="T30" fmla="*/ 2147483647 w 251"/>
                <a:gd name="T31" fmla="*/ 2147483647 h 269"/>
                <a:gd name="T32" fmla="*/ 2147483647 w 251"/>
                <a:gd name="T33" fmla="*/ 2147483647 h 269"/>
                <a:gd name="T34" fmla="*/ 2147483647 w 251"/>
                <a:gd name="T35" fmla="*/ 2147483647 h 269"/>
                <a:gd name="T36" fmla="*/ 2147483647 w 251"/>
                <a:gd name="T37" fmla="*/ 2147483647 h 269"/>
                <a:gd name="T38" fmla="*/ 2147483647 w 251"/>
                <a:gd name="T39" fmla="*/ 2147483647 h 269"/>
                <a:gd name="T40" fmla="*/ 2147483647 w 251"/>
                <a:gd name="T41" fmla="*/ 2147483647 h 269"/>
                <a:gd name="T42" fmla="*/ 2147483647 w 251"/>
                <a:gd name="T43" fmla="*/ 2147483647 h 269"/>
                <a:gd name="T44" fmla="*/ 2147483647 w 251"/>
                <a:gd name="T45" fmla="*/ 2147483647 h 269"/>
                <a:gd name="T46" fmla="*/ 2147483647 w 251"/>
                <a:gd name="T47" fmla="*/ 2147483647 h 269"/>
                <a:gd name="T48" fmla="*/ 2147483647 w 251"/>
                <a:gd name="T49" fmla="*/ 2147483647 h 269"/>
                <a:gd name="T50" fmla="*/ 2147483647 w 251"/>
                <a:gd name="T51" fmla="*/ 2147483647 h 269"/>
                <a:gd name="T52" fmla="*/ 2147483647 w 251"/>
                <a:gd name="T53" fmla="*/ 2147483647 h 269"/>
                <a:gd name="T54" fmla="*/ 2147483647 w 251"/>
                <a:gd name="T55" fmla="*/ 2147483647 h 269"/>
                <a:gd name="T56" fmla="*/ 2147483647 w 251"/>
                <a:gd name="T57" fmla="*/ 2147483647 h 269"/>
                <a:gd name="T58" fmla="*/ 2147483647 w 251"/>
                <a:gd name="T59" fmla="*/ 2147483647 h 269"/>
                <a:gd name="T60" fmla="*/ 2147483647 w 251"/>
                <a:gd name="T61" fmla="*/ 2147483647 h 269"/>
                <a:gd name="T62" fmla="*/ 2147483647 w 251"/>
                <a:gd name="T63" fmla="*/ 2147483647 h 269"/>
                <a:gd name="T64" fmla="*/ 2147483647 w 251"/>
                <a:gd name="T65" fmla="*/ 2147483647 h 269"/>
                <a:gd name="T66" fmla="*/ 2147483647 w 251"/>
                <a:gd name="T67" fmla="*/ 2147483647 h 269"/>
                <a:gd name="T68" fmla="*/ 2147483647 w 251"/>
                <a:gd name="T69" fmla="*/ 2147483647 h 269"/>
                <a:gd name="T70" fmla="*/ 2147483647 w 251"/>
                <a:gd name="T71" fmla="*/ 2147483647 h 269"/>
                <a:gd name="T72" fmla="*/ 2147483647 w 251"/>
                <a:gd name="T73" fmla="*/ 2147483647 h 269"/>
                <a:gd name="T74" fmla="*/ 2147483647 w 251"/>
                <a:gd name="T75" fmla="*/ 2147483647 h 269"/>
                <a:gd name="T76" fmla="*/ 2147483647 w 251"/>
                <a:gd name="T77" fmla="*/ 2147483647 h 269"/>
                <a:gd name="T78" fmla="*/ 2147483647 w 251"/>
                <a:gd name="T79" fmla="*/ 2147483647 h 269"/>
                <a:gd name="T80" fmla="*/ 2147483647 w 251"/>
                <a:gd name="T81" fmla="*/ 2147483647 h 269"/>
                <a:gd name="T82" fmla="*/ 2147483647 w 251"/>
                <a:gd name="T83" fmla="*/ 2147483647 h 269"/>
                <a:gd name="T84" fmla="*/ 2147483647 w 251"/>
                <a:gd name="T85" fmla="*/ 2147483647 h 269"/>
                <a:gd name="T86" fmla="*/ 2147483647 w 251"/>
                <a:gd name="T87" fmla="*/ 2147483647 h 269"/>
                <a:gd name="T88" fmla="*/ 2147483647 w 251"/>
                <a:gd name="T89" fmla="*/ 2147483647 h 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1"/>
                <a:gd name="T136" fmla="*/ 0 h 269"/>
                <a:gd name="T137" fmla="*/ 251 w 251"/>
                <a:gd name="T138" fmla="*/ 269 h 26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1" h="269">
                  <a:moveTo>
                    <a:pt x="107" y="22"/>
                  </a:moveTo>
                  <a:lnTo>
                    <a:pt x="87" y="24"/>
                  </a:lnTo>
                  <a:lnTo>
                    <a:pt x="88" y="5"/>
                  </a:lnTo>
                  <a:lnTo>
                    <a:pt x="83" y="0"/>
                  </a:lnTo>
                  <a:lnTo>
                    <a:pt x="55" y="19"/>
                  </a:lnTo>
                  <a:lnTo>
                    <a:pt x="38" y="21"/>
                  </a:lnTo>
                  <a:lnTo>
                    <a:pt x="34" y="16"/>
                  </a:lnTo>
                  <a:lnTo>
                    <a:pt x="31" y="11"/>
                  </a:lnTo>
                  <a:lnTo>
                    <a:pt x="25" y="17"/>
                  </a:lnTo>
                  <a:lnTo>
                    <a:pt x="25" y="53"/>
                  </a:lnTo>
                  <a:lnTo>
                    <a:pt x="8" y="63"/>
                  </a:lnTo>
                  <a:lnTo>
                    <a:pt x="0" y="76"/>
                  </a:lnTo>
                  <a:lnTo>
                    <a:pt x="0" y="83"/>
                  </a:lnTo>
                  <a:lnTo>
                    <a:pt x="10" y="94"/>
                  </a:lnTo>
                  <a:lnTo>
                    <a:pt x="6" y="102"/>
                  </a:lnTo>
                  <a:lnTo>
                    <a:pt x="3" y="134"/>
                  </a:lnTo>
                  <a:lnTo>
                    <a:pt x="21" y="149"/>
                  </a:lnTo>
                  <a:lnTo>
                    <a:pt x="34" y="152"/>
                  </a:lnTo>
                  <a:lnTo>
                    <a:pt x="47" y="170"/>
                  </a:lnTo>
                  <a:lnTo>
                    <a:pt x="66" y="184"/>
                  </a:lnTo>
                  <a:lnTo>
                    <a:pt x="72" y="208"/>
                  </a:lnTo>
                  <a:lnTo>
                    <a:pt x="79" y="254"/>
                  </a:lnTo>
                  <a:lnTo>
                    <a:pt x="94" y="259"/>
                  </a:lnTo>
                  <a:lnTo>
                    <a:pt x="96" y="269"/>
                  </a:lnTo>
                  <a:lnTo>
                    <a:pt x="163" y="269"/>
                  </a:lnTo>
                  <a:lnTo>
                    <a:pt x="218" y="269"/>
                  </a:lnTo>
                  <a:lnTo>
                    <a:pt x="215" y="225"/>
                  </a:lnTo>
                  <a:lnTo>
                    <a:pt x="224" y="199"/>
                  </a:lnTo>
                  <a:lnTo>
                    <a:pt x="232" y="147"/>
                  </a:lnTo>
                  <a:lnTo>
                    <a:pt x="251" y="111"/>
                  </a:lnTo>
                  <a:lnTo>
                    <a:pt x="249" y="104"/>
                  </a:lnTo>
                  <a:lnTo>
                    <a:pt x="238" y="116"/>
                  </a:lnTo>
                  <a:lnTo>
                    <a:pt x="236" y="129"/>
                  </a:lnTo>
                  <a:lnTo>
                    <a:pt x="211" y="147"/>
                  </a:lnTo>
                  <a:lnTo>
                    <a:pt x="219" y="127"/>
                  </a:lnTo>
                  <a:lnTo>
                    <a:pt x="227" y="113"/>
                  </a:lnTo>
                  <a:lnTo>
                    <a:pt x="221" y="108"/>
                  </a:lnTo>
                  <a:lnTo>
                    <a:pt x="224" y="96"/>
                  </a:lnTo>
                  <a:lnTo>
                    <a:pt x="215" y="97"/>
                  </a:lnTo>
                  <a:lnTo>
                    <a:pt x="218" y="77"/>
                  </a:lnTo>
                  <a:lnTo>
                    <a:pt x="205" y="70"/>
                  </a:lnTo>
                  <a:lnTo>
                    <a:pt x="205" y="62"/>
                  </a:lnTo>
                  <a:lnTo>
                    <a:pt x="119" y="37"/>
                  </a:lnTo>
                  <a:lnTo>
                    <a:pt x="115" y="27"/>
                  </a:lnTo>
                  <a:lnTo>
                    <a:pt x="107" y="22"/>
                  </a:lnTo>
                  <a:close/>
                </a:path>
              </a:pathLst>
            </a:custGeom>
            <a:grpFill/>
            <a:ln w="6350">
              <a:solidFill>
                <a:schemeClr val="tx2"/>
              </a:solidFill>
              <a:round/>
              <a:headEnd/>
              <a:tailEnd/>
            </a:ln>
          </p:spPr>
          <p:txBody>
            <a:bodyPr/>
            <a:lstStyle/>
            <a:p>
              <a:endParaRPr lang="en-US"/>
            </a:p>
          </p:txBody>
        </p:sp>
        <p:sp>
          <p:nvSpPr>
            <p:cNvPr id="221" name="Freeform 1121"/>
            <p:cNvSpPr>
              <a:spLocks/>
            </p:cNvSpPr>
            <p:nvPr/>
          </p:nvSpPr>
          <p:spPr bwMode="auto">
            <a:xfrm>
              <a:off x="2262247" y="3647340"/>
              <a:ext cx="81924" cy="151711"/>
            </a:xfrm>
            <a:custGeom>
              <a:avLst/>
              <a:gdLst>
                <a:gd name="T0" fmla="*/ 2147483647 w 172"/>
                <a:gd name="T1" fmla="*/ 2147483647 h 307"/>
                <a:gd name="T2" fmla="*/ 0 w 172"/>
                <a:gd name="T3" fmla="*/ 2147483647 h 307"/>
                <a:gd name="T4" fmla="*/ 2147483647 w 172"/>
                <a:gd name="T5" fmla="*/ 2147483647 h 307"/>
                <a:gd name="T6" fmla="*/ 2147483647 w 172"/>
                <a:gd name="T7" fmla="*/ 2147483647 h 307"/>
                <a:gd name="T8" fmla="*/ 2147483647 w 172"/>
                <a:gd name="T9" fmla="*/ 2147483647 h 307"/>
                <a:gd name="T10" fmla="*/ 2147483647 w 172"/>
                <a:gd name="T11" fmla="*/ 2147483647 h 307"/>
                <a:gd name="T12" fmla="*/ 2147483647 w 172"/>
                <a:gd name="T13" fmla="*/ 2147483647 h 307"/>
                <a:gd name="T14" fmla="*/ 2147483647 w 172"/>
                <a:gd name="T15" fmla="*/ 2147483647 h 307"/>
                <a:gd name="T16" fmla="*/ 2147483647 w 172"/>
                <a:gd name="T17" fmla="*/ 2147483647 h 307"/>
                <a:gd name="T18" fmla="*/ 2147483647 w 172"/>
                <a:gd name="T19" fmla="*/ 2147483647 h 307"/>
                <a:gd name="T20" fmla="*/ 2147483647 w 172"/>
                <a:gd name="T21" fmla="*/ 2147483647 h 307"/>
                <a:gd name="T22" fmla="*/ 2147483647 w 172"/>
                <a:gd name="T23" fmla="*/ 2147483647 h 307"/>
                <a:gd name="T24" fmla="*/ 2147483647 w 172"/>
                <a:gd name="T25" fmla="*/ 2147483647 h 307"/>
                <a:gd name="T26" fmla="*/ 2147483647 w 172"/>
                <a:gd name="T27" fmla="*/ 2147483647 h 307"/>
                <a:gd name="T28" fmla="*/ 2147483647 w 172"/>
                <a:gd name="T29" fmla="*/ 2147483647 h 307"/>
                <a:gd name="T30" fmla="*/ 2147483647 w 172"/>
                <a:gd name="T31" fmla="*/ 2147483647 h 307"/>
                <a:gd name="T32" fmla="*/ 2147483647 w 172"/>
                <a:gd name="T33" fmla="*/ 2147483647 h 307"/>
                <a:gd name="T34" fmla="*/ 2147483647 w 172"/>
                <a:gd name="T35" fmla="*/ 2147483647 h 307"/>
                <a:gd name="T36" fmla="*/ 2147483647 w 172"/>
                <a:gd name="T37" fmla="*/ 2147483647 h 307"/>
                <a:gd name="T38" fmla="*/ 2147483647 w 172"/>
                <a:gd name="T39" fmla="*/ 2147483647 h 307"/>
                <a:gd name="T40" fmla="*/ 2147483647 w 172"/>
                <a:gd name="T41" fmla="*/ 2147483647 h 307"/>
                <a:gd name="T42" fmla="*/ 2147483647 w 172"/>
                <a:gd name="T43" fmla="*/ 2147483647 h 307"/>
                <a:gd name="T44" fmla="*/ 2147483647 w 172"/>
                <a:gd name="T45" fmla="*/ 2147483647 h 307"/>
                <a:gd name="T46" fmla="*/ 2147483647 w 172"/>
                <a:gd name="T47" fmla="*/ 2147483647 h 307"/>
                <a:gd name="T48" fmla="*/ 2147483647 w 172"/>
                <a:gd name="T49" fmla="*/ 2147483647 h 307"/>
                <a:gd name="T50" fmla="*/ 2147483647 w 172"/>
                <a:gd name="T51" fmla="*/ 2147483647 h 307"/>
                <a:gd name="T52" fmla="*/ 2147483647 w 172"/>
                <a:gd name="T53" fmla="*/ 2147483647 h 307"/>
                <a:gd name="T54" fmla="*/ 2147483647 w 172"/>
                <a:gd name="T55" fmla="*/ 2147483647 h 307"/>
                <a:gd name="T56" fmla="*/ 2147483647 w 172"/>
                <a:gd name="T57" fmla="*/ 2147483647 h 307"/>
                <a:gd name="T58" fmla="*/ 2147483647 w 172"/>
                <a:gd name="T59" fmla="*/ 2147483647 h 307"/>
                <a:gd name="T60" fmla="*/ 2147483647 w 172"/>
                <a:gd name="T61" fmla="*/ 2147483647 h 307"/>
                <a:gd name="T62" fmla="*/ 2147483647 w 172"/>
                <a:gd name="T63" fmla="*/ 2147483647 h 307"/>
                <a:gd name="T64" fmla="*/ 2147483647 w 172"/>
                <a:gd name="T65" fmla="*/ 2147483647 h 307"/>
                <a:gd name="T66" fmla="*/ 2147483647 w 172"/>
                <a:gd name="T67" fmla="*/ 2147483647 h 307"/>
                <a:gd name="T68" fmla="*/ 2147483647 w 172"/>
                <a:gd name="T69" fmla="*/ 2147483647 h 307"/>
                <a:gd name="T70" fmla="*/ 2147483647 w 172"/>
                <a:gd name="T71" fmla="*/ 2147483647 h 307"/>
                <a:gd name="T72" fmla="*/ 2147483647 w 172"/>
                <a:gd name="T73" fmla="*/ 2147483647 h 307"/>
                <a:gd name="T74" fmla="*/ 2147483647 w 172"/>
                <a:gd name="T75" fmla="*/ 2147483647 h 307"/>
                <a:gd name="T76" fmla="*/ 2147483647 w 172"/>
                <a:gd name="T77" fmla="*/ 0 h 307"/>
                <a:gd name="T78" fmla="*/ 2147483647 w 172"/>
                <a:gd name="T79" fmla="*/ 0 h 307"/>
                <a:gd name="T80" fmla="*/ 2147483647 w 172"/>
                <a:gd name="T81" fmla="*/ 0 h 307"/>
                <a:gd name="T82" fmla="*/ 2147483647 w 172"/>
                <a:gd name="T83" fmla="*/ 2147483647 h 307"/>
                <a:gd name="T84" fmla="*/ 2147483647 w 172"/>
                <a:gd name="T85" fmla="*/ 2147483647 h 307"/>
                <a:gd name="T86" fmla="*/ 2147483647 w 172"/>
                <a:gd name="T87" fmla="*/ 2147483647 h 307"/>
                <a:gd name="T88" fmla="*/ 2147483647 w 172"/>
                <a:gd name="T89" fmla="*/ 2147483647 h 307"/>
                <a:gd name="T90" fmla="*/ 2147483647 w 172"/>
                <a:gd name="T91" fmla="*/ 2147483647 h 307"/>
                <a:gd name="T92" fmla="*/ 2147483647 w 172"/>
                <a:gd name="T93" fmla="*/ 2147483647 h 307"/>
                <a:gd name="T94" fmla="*/ 2147483647 w 172"/>
                <a:gd name="T95" fmla="*/ 2147483647 h 307"/>
                <a:gd name="T96" fmla="*/ 2147483647 w 172"/>
                <a:gd name="T97" fmla="*/ 2147483647 h 307"/>
                <a:gd name="T98" fmla="*/ 2147483647 w 172"/>
                <a:gd name="T99" fmla="*/ 2147483647 h 307"/>
                <a:gd name="T100" fmla="*/ 2147483647 w 172"/>
                <a:gd name="T101" fmla="*/ 2147483647 h 307"/>
                <a:gd name="T102" fmla="*/ 2147483647 w 172"/>
                <a:gd name="T103" fmla="*/ 2147483647 h 307"/>
                <a:gd name="T104" fmla="*/ 2147483647 w 172"/>
                <a:gd name="T105" fmla="*/ 2147483647 h 30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2"/>
                <a:gd name="T160" fmla="*/ 0 h 307"/>
                <a:gd name="T161" fmla="*/ 172 w 172"/>
                <a:gd name="T162" fmla="*/ 307 h 30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2" h="307">
                  <a:moveTo>
                    <a:pt x="2" y="120"/>
                  </a:moveTo>
                  <a:lnTo>
                    <a:pt x="0" y="135"/>
                  </a:lnTo>
                  <a:lnTo>
                    <a:pt x="6" y="157"/>
                  </a:lnTo>
                  <a:lnTo>
                    <a:pt x="31" y="181"/>
                  </a:lnTo>
                  <a:lnTo>
                    <a:pt x="38" y="203"/>
                  </a:lnTo>
                  <a:lnTo>
                    <a:pt x="47" y="199"/>
                  </a:lnTo>
                  <a:lnTo>
                    <a:pt x="60" y="206"/>
                  </a:lnTo>
                  <a:lnTo>
                    <a:pt x="49" y="232"/>
                  </a:lnTo>
                  <a:lnTo>
                    <a:pt x="50" y="240"/>
                  </a:lnTo>
                  <a:lnTo>
                    <a:pt x="85" y="269"/>
                  </a:lnTo>
                  <a:lnTo>
                    <a:pt x="89" y="283"/>
                  </a:lnTo>
                  <a:lnTo>
                    <a:pt x="86" y="291"/>
                  </a:lnTo>
                  <a:lnTo>
                    <a:pt x="91" y="302"/>
                  </a:lnTo>
                  <a:lnTo>
                    <a:pt x="96" y="305"/>
                  </a:lnTo>
                  <a:lnTo>
                    <a:pt x="96" y="300"/>
                  </a:lnTo>
                  <a:lnTo>
                    <a:pt x="103" y="307"/>
                  </a:lnTo>
                  <a:lnTo>
                    <a:pt x="100" y="301"/>
                  </a:lnTo>
                  <a:lnTo>
                    <a:pt x="108" y="293"/>
                  </a:lnTo>
                  <a:lnTo>
                    <a:pt x="128" y="302"/>
                  </a:lnTo>
                  <a:lnTo>
                    <a:pt x="133" y="297"/>
                  </a:lnTo>
                  <a:lnTo>
                    <a:pt x="130" y="284"/>
                  </a:lnTo>
                  <a:lnTo>
                    <a:pt x="147" y="279"/>
                  </a:lnTo>
                  <a:lnTo>
                    <a:pt x="144" y="270"/>
                  </a:lnTo>
                  <a:lnTo>
                    <a:pt x="149" y="261"/>
                  </a:lnTo>
                  <a:lnTo>
                    <a:pt x="146" y="258"/>
                  </a:lnTo>
                  <a:lnTo>
                    <a:pt x="149" y="257"/>
                  </a:lnTo>
                  <a:lnTo>
                    <a:pt x="150" y="247"/>
                  </a:lnTo>
                  <a:lnTo>
                    <a:pt x="154" y="244"/>
                  </a:lnTo>
                  <a:lnTo>
                    <a:pt x="151" y="239"/>
                  </a:lnTo>
                  <a:lnTo>
                    <a:pt x="166" y="224"/>
                  </a:lnTo>
                  <a:lnTo>
                    <a:pt x="172" y="211"/>
                  </a:lnTo>
                  <a:lnTo>
                    <a:pt x="171" y="200"/>
                  </a:lnTo>
                  <a:lnTo>
                    <a:pt x="165" y="191"/>
                  </a:lnTo>
                  <a:lnTo>
                    <a:pt x="171" y="177"/>
                  </a:lnTo>
                  <a:lnTo>
                    <a:pt x="171" y="116"/>
                  </a:lnTo>
                  <a:lnTo>
                    <a:pt x="171" y="43"/>
                  </a:lnTo>
                  <a:lnTo>
                    <a:pt x="168" y="39"/>
                  </a:lnTo>
                  <a:lnTo>
                    <a:pt x="159" y="11"/>
                  </a:lnTo>
                  <a:lnTo>
                    <a:pt x="159" y="0"/>
                  </a:lnTo>
                  <a:lnTo>
                    <a:pt x="104" y="0"/>
                  </a:lnTo>
                  <a:lnTo>
                    <a:pt x="37" y="0"/>
                  </a:lnTo>
                  <a:lnTo>
                    <a:pt x="58" y="20"/>
                  </a:lnTo>
                  <a:lnTo>
                    <a:pt x="59" y="28"/>
                  </a:lnTo>
                  <a:lnTo>
                    <a:pt x="57" y="38"/>
                  </a:lnTo>
                  <a:lnTo>
                    <a:pt x="50" y="51"/>
                  </a:lnTo>
                  <a:lnTo>
                    <a:pt x="20" y="61"/>
                  </a:lnTo>
                  <a:lnTo>
                    <a:pt x="18" y="71"/>
                  </a:lnTo>
                  <a:lnTo>
                    <a:pt x="24" y="78"/>
                  </a:lnTo>
                  <a:lnTo>
                    <a:pt x="24" y="86"/>
                  </a:lnTo>
                  <a:lnTo>
                    <a:pt x="16" y="103"/>
                  </a:lnTo>
                  <a:lnTo>
                    <a:pt x="5" y="109"/>
                  </a:lnTo>
                  <a:lnTo>
                    <a:pt x="6" y="118"/>
                  </a:lnTo>
                  <a:lnTo>
                    <a:pt x="2" y="120"/>
                  </a:lnTo>
                  <a:close/>
                </a:path>
              </a:pathLst>
            </a:custGeom>
            <a:grpFill/>
            <a:ln w="6350">
              <a:solidFill>
                <a:schemeClr val="tx2"/>
              </a:solidFill>
              <a:round/>
              <a:headEnd/>
              <a:tailEnd/>
            </a:ln>
          </p:spPr>
          <p:txBody>
            <a:bodyPr/>
            <a:lstStyle/>
            <a:p>
              <a:endParaRPr lang="en-US"/>
            </a:p>
          </p:txBody>
        </p:sp>
        <p:sp>
          <p:nvSpPr>
            <p:cNvPr id="222" name="Freeform 1122"/>
            <p:cNvSpPr>
              <a:spLocks/>
            </p:cNvSpPr>
            <p:nvPr/>
          </p:nvSpPr>
          <p:spPr bwMode="auto">
            <a:xfrm>
              <a:off x="2415474" y="3806637"/>
              <a:ext cx="185087" cy="72821"/>
            </a:xfrm>
            <a:custGeom>
              <a:avLst/>
              <a:gdLst>
                <a:gd name="T0" fmla="*/ 2147483647 w 373"/>
                <a:gd name="T1" fmla="*/ 0 h 147"/>
                <a:gd name="T2" fmla="*/ 2147483647 w 373"/>
                <a:gd name="T3" fmla="*/ 0 h 147"/>
                <a:gd name="T4" fmla="*/ 2147483647 w 373"/>
                <a:gd name="T5" fmla="*/ 0 h 147"/>
                <a:gd name="T6" fmla="*/ 2147483647 w 373"/>
                <a:gd name="T7" fmla="*/ 0 h 147"/>
                <a:gd name="T8" fmla="*/ 2147483647 w 373"/>
                <a:gd name="T9" fmla="*/ 2147483647 h 147"/>
                <a:gd name="T10" fmla="*/ 2147483647 w 373"/>
                <a:gd name="T11" fmla="*/ 2147483647 h 147"/>
                <a:gd name="T12" fmla="*/ 2147483647 w 373"/>
                <a:gd name="T13" fmla="*/ 2147483647 h 147"/>
                <a:gd name="T14" fmla="*/ 2147483647 w 373"/>
                <a:gd name="T15" fmla="*/ 2147483647 h 147"/>
                <a:gd name="T16" fmla="*/ 2147483647 w 373"/>
                <a:gd name="T17" fmla="*/ 2147483647 h 147"/>
                <a:gd name="T18" fmla="*/ 2147483647 w 373"/>
                <a:gd name="T19" fmla="*/ 2147483647 h 147"/>
                <a:gd name="T20" fmla="*/ 2147483647 w 373"/>
                <a:gd name="T21" fmla="*/ 2147483647 h 147"/>
                <a:gd name="T22" fmla="*/ 2147483647 w 373"/>
                <a:gd name="T23" fmla="*/ 2147483647 h 147"/>
                <a:gd name="T24" fmla="*/ 2147483647 w 373"/>
                <a:gd name="T25" fmla="*/ 2147483647 h 147"/>
                <a:gd name="T26" fmla="*/ 2147483647 w 373"/>
                <a:gd name="T27" fmla="*/ 2147483647 h 147"/>
                <a:gd name="T28" fmla="*/ 2147483647 w 373"/>
                <a:gd name="T29" fmla="*/ 2147483647 h 147"/>
                <a:gd name="T30" fmla="*/ 2147483647 w 373"/>
                <a:gd name="T31" fmla="*/ 2147483647 h 147"/>
                <a:gd name="T32" fmla="*/ 0 w 373"/>
                <a:gd name="T33" fmla="*/ 2147483647 h 147"/>
                <a:gd name="T34" fmla="*/ 2147483647 w 373"/>
                <a:gd name="T35" fmla="*/ 2147483647 h 147"/>
                <a:gd name="T36" fmla="*/ 2147483647 w 373"/>
                <a:gd name="T37" fmla="*/ 2147483647 h 147"/>
                <a:gd name="T38" fmla="*/ 2147483647 w 373"/>
                <a:gd name="T39" fmla="*/ 2147483647 h 147"/>
                <a:gd name="T40" fmla="*/ 2147483647 w 373"/>
                <a:gd name="T41" fmla="*/ 2147483647 h 147"/>
                <a:gd name="T42" fmla="*/ 2147483647 w 373"/>
                <a:gd name="T43" fmla="*/ 2147483647 h 147"/>
                <a:gd name="T44" fmla="*/ 2147483647 w 373"/>
                <a:gd name="T45" fmla="*/ 2147483647 h 147"/>
                <a:gd name="T46" fmla="*/ 2147483647 w 373"/>
                <a:gd name="T47" fmla="*/ 2147483647 h 147"/>
                <a:gd name="T48" fmla="*/ 2147483647 w 373"/>
                <a:gd name="T49" fmla="*/ 2147483647 h 147"/>
                <a:gd name="T50" fmla="*/ 2147483647 w 373"/>
                <a:gd name="T51" fmla="*/ 2147483647 h 147"/>
                <a:gd name="T52" fmla="*/ 2147483647 w 373"/>
                <a:gd name="T53" fmla="*/ 2147483647 h 147"/>
                <a:gd name="T54" fmla="*/ 2147483647 w 373"/>
                <a:gd name="T55" fmla="*/ 2147483647 h 147"/>
                <a:gd name="T56" fmla="*/ 2147483647 w 373"/>
                <a:gd name="T57" fmla="*/ 2147483647 h 147"/>
                <a:gd name="T58" fmla="*/ 2147483647 w 373"/>
                <a:gd name="T59" fmla="*/ 2147483647 h 147"/>
                <a:gd name="T60" fmla="*/ 2147483647 w 373"/>
                <a:gd name="T61" fmla="*/ 2147483647 h 147"/>
                <a:gd name="T62" fmla="*/ 2147483647 w 373"/>
                <a:gd name="T63" fmla="*/ 2147483647 h 147"/>
                <a:gd name="T64" fmla="*/ 2147483647 w 373"/>
                <a:gd name="T65" fmla="*/ 2147483647 h 147"/>
                <a:gd name="T66" fmla="*/ 2147483647 w 373"/>
                <a:gd name="T67" fmla="*/ 2147483647 h 147"/>
                <a:gd name="T68" fmla="*/ 2147483647 w 373"/>
                <a:gd name="T69" fmla="*/ 2147483647 h 147"/>
                <a:gd name="T70" fmla="*/ 2147483647 w 373"/>
                <a:gd name="T71" fmla="*/ 2147483647 h 147"/>
                <a:gd name="T72" fmla="*/ 2147483647 w 373"/>
                <a:gd name="T73" fmla="*/ 2147483647 h 147"/>
                <a:gd name="T74" fmla="*/ 2147483647 w 373"/>
                <a:gd name="T75" fmla="*/ 2147483647 h 147"/>
                <a:gd name="T76" fmla="*/ 2147483647 w 373"/>
                <a:gd name="T77" fmla="*/ 2147483647 h 147"/>
                <a:gd name="T78" fmla="*/ 2147483647 w 373"/>
                <a:gd name="T79" fmla="*/ 2147483647 h 147"/>
                <a:gd name="T80" fmla="*/ 2147483647 w 373"/>
                <a:gd name="T81" fmla="*/ 2147483647 h 147"/>
                <a:gd name="T82" fmla="*/ 2147483647 w 373"/>
                <a:gd name="T83" fmla="*/ 2147483647 h 147"/>
                <a:gd name="T84" fmla="*/ 2147483647 w 373"/>
                <a:gd name="T85" fmla="*/ 2147483647 h 147"/>
                <a:gd name="T86" fmla="*/ 2147483647 w 373"/>
                <a:gd name="T87" fmla="*/ 2147483647 h 147"/>
                <a:gd name="T88" fmla="*/ 2147483647 w 373"/>
                <a:gd name="T89" fmla="*/ 2147483647 h 147"/>
                <a:gd name="T90" fmla="*/ 2147483647 w 373"/>
                <a:gd name="T91" fmla="*/ 2147483647 h 147"/>
                <a:gd name="T92" fmla="*/ 2147483647 w 373"/>
                <a:gd name="T93" fmla="*/ 2147483647 h 147"/>
                <a:gd name="T94" fmla="*/ 2147483647 w 373"/>
                <a:gd name="T95" fmla="*/ 2147483647 h 147"/>
                <a:gd name="T96" fmla="*/ 2147483647 w 373"/>
                <a:gd name="T97" fmla="*/ 2147483647 h 147"/>
                <a:gd name="T98" fmla="*/ 2147483647 w 373"/>
                <a:gd name="T99" fmla="*/ 2147483647 h 147"/>
                <a:gd name="T100" fmla="*/ 2147483647 w 373"/>
                <a:gd name="T101" fmla="*/ 2147483647 h 147"/>
                <a:gd name="T102" fmla="*/ 2147483647 w 373"/>
                <a:gd name="T103" fmla="*/ 2147483647 h 147"/>
                <a:gd name="T104" fmla="*/ 2147483647 w 373"/>
                <a:gd name="T105" fmla="*/ 0 h 147"/>
                <a:gd name="T106" fmla="*/ 2147483647 w 373"/>
                <a:gd name="T107" fmla="*/ 0 h 1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3"/>
                <a:gd name="T163" fmla="*/ 0 h 147"/>
                <a:gd name="T164" fmla="*/ 373 w 373"/>
                <a:gd name="T165" fmla="*/ 147 h 1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3" h="147">
                  <a:moveTo>
                    <a:pt x="332" y="0"/>
                  </a:moveTo>
                  <a:lnTo>
                    <a:pt x="282" y="0"/>
                  </a:lnTo>
                  <a:lnTo>
                    <a:pt x="188" y="0"/>
                  </a:lnTo>
                  <a:lnTo>
                    <a:pt x="115" y="0"/>
                  </a:lnTo>
                  <a:lnTo>
                    <a:pt x="113" y="17"/>
                  </a:lnTo>
                  <a:lnTo>
                    <a:pt x="105" y="19"/>
                  </a:lnTo>
                  <a:lnTo>
                    <a:pt x="98" y="30"/>
                  </a:lnTo>
                  <a:lnTo>
                    <a:pt x="87" y="28"/>
                  </a:lnTo>
                  <a:lnTo>
                    <a:pt x="76" y="37"/>
                  </a:lnTo>
                  <a:lnTo>
                    <a:pt x="73" y="32"/>
                  </a:lnTo>
                  <a:lnTo>
                    <a:pt x="61" y="38"/>
                  </a:lnTo>
                  <a:lnTo>
                    <a:pt x="57" y="47"/>
                  </a:lnTo>
                  <a:lnTo>
                    <a:pt x="36" y="59"/>
                  </a:lnTo>
                  <a:lnTo>
                    <a:pt x="19" y="61"/>
                  </a:lnTo>
                  <a:lnTo>
                    <a:pt x="11" y="74"/>
                  </a:lnTo>
                  <a:lnTo>
                    <a:pt x="2" y="76"/>
                  </a:lnTo>
                  <a:lnTo>
                    <a:pt x="0" y="87"/>
                  </a:lnTo>
                  <a:lnTo>
                    <a:pt x="52" y="87"/>
                  </a:lnTo>
                  <a:lnTo>
                    <a:pt x="83" y="77"/>
                  </a:lnTo>
                  <a:lnTo>
                    <a:pt x="142" y="80"/>
                  </a:lnTo>
                  <a:lnTo>
                    <a:pt x="143" y="85"/>
                  </a:lnTo>
                  <a:lnTo>
                    <a:pt x="147" y="82"/>
                  </a:lnTo>
                  <a:lnTo>
                    <a:pt x="153" y="90"/>
                  </a:lnTo>
                  <a:lnTo>
                    <a:pt x="153" y="98"/>
                  </a:lnTo>
                  <a:lnTo>
                    <a:pt x="201" y="98"/>
                  </a:lnTo>
                  <a:lnTo>
                    <a:pt x="249" y="147"/>
                  </a:lnTo>
                  <a:lnTo>
                    <a:pt x="268" y="145"/>
                  </a:lnTo>
                  <a:lnTo>
                    <a:pt x="282" y="138"/>
                  </a:lnTo>
                  <a:lnTo>
                    <a:pt x="300" y="115"/>
                  </a:lnTo>
                  <a:lnTo>
                    <a:pt x="314" y="108"/>
                  </a:lnTo>
                  <a:lnTo>
                    <a:pt x="331" y="107"/>
                  </a:lnTo>
                  <a:lnTo>
                    <a:pt x="343" y="100"/>
                  </a:lnTo>
                  <a:lnTo>
                    <a:pt x="344" y="90"/>
                  </a:lnTo>
                  <a:lnTo>
                    <a:pt x="333" y="90"/>
                  </a:lnTo>
                  <a:lnTo>
                    <a:pt x="342" y="75"/>
                  </a:lnTo>
                  <a:lnTo>
                    <a:pt x="327" y="67"/>
                  </a:lnTo>
                  <a:lnTo>
                    <a:pt x="342" y="63"/>
                  </a:lnTo>
                  <a:lnTo>
                    <a:pt x="349" y="71"/>
                  </a:lnTo>
                  <a:lnTo>
                    <a:pt x="357" y="71"/>
                  </a:lnTo>
                  <a:lnTo>
                    <a:pt x="373" y="57"/>
                  </a:lnTo>
                  <a:lnTo>
                    <a:pt x="369" y="39"/>
                  </a:lnTo>
                  <a:lnTo>
                    <a:pt x="360" y="51"/>
                  </a:lnTo>
                  <a:lnTo>
                    <a:pt x="358" y="38"/>
                  </a:lnTo>
                  <a:lnTo>
                    <a:pt x="339" y="42"/>
                  </a:lnTo>
                  <a:lnTo>
                    <a:pt x="334" y="41"/>
                  </a:lnTo>
                  <a:lnTo>
                    <a:pt x="333" y="34"/>
                  </a:lnTo>
                  <a:lnTo>
                    <a:pt x="334" y="21"/>
                  </a:lnTo>
                  <a:lnTo>
                    <a:pt x="339" y="34"/>
                  </a:lnTo>
                  <a:lnTo>
                    <a:pt x="358" y="25"/>
                  </a:lnTo>
                  <a:lnTo>
                    <a:pt x="367" y="27"/>
                  </a:lnTo>
                  <a:lnTo>
                    <a:pt x="370" y="32"/>
                  </a:lnTo>
                  <a:lnTo>
                    <a:pt x="363" y="13"/>
                  </a:lnTo>
                  <a:lnTo>
                    <a:pt x="366" y="0"/>
                  </a:lnTo>
                  <a:lnTo>
                    <a:pt x="332" y="0"/>
                  </a:lnTo>
                  <a:close/>
                </a:path>
              </a:pathLst>
            </a:custGeom>
            <a:grpFill/>
            <a:ln w="6350">
              <a:solidFill>
                <a:schemeClr val="tx2"/>
              </a:solidFill>
              <a:round/>
              <a:headEnd/>
              <a:tailEnd/>
            </a:ln>
          </p:spPr>
          <p:txBody>
            <a:bodyPr/>
            <a:lstStyle/>
            <a:p>
              <a:endParaRPr lang="en-US"/>
            </a:p>
          </p:txBody>
        </p:sp>
        <p:sp>
          <p:nvSpPr>
            <p:cNvPr id="223" name="Freeform 1123"/>
            <p:cNvSpPr>
              <a:spLocks/>
            </p:cNvSpPr>
            <p:nvPr/>
          </p:nvSpPr>
          <p:spPr bwMode="auto">
            <a:xfrm>
              <a:off x="2426095" y="3732298"/>
              <a:ext cx="169917" cy="74338"/>
            </a:xfrm>
            <a:custGeom>
              <a:avLst/>
              <a:gdLst>
                <a:gd name="T0" fmla="*/ 2147483647 w 338"/>
                <a:gd name="T1" fmla="*/ 2147483647 h 151"/>
                <a:gd name="T2" fmla="*/ 2147483647 w 338"/>
                <a:gd name="T3" fmla="*/ 2147483647 h 151"/>
                <a:gd name="T4" fmla="*/ 2147483647 w 338"/>
                <a:gd name="T5" fmla="*/ 2147483647 h 151"/>
                <a:gd name="T6" fmla="*/ 0 w 338"/>
                <a:gd name="T7" fmla="*/ 2147483647 h 151"/>
                <a:gd name="T8" fmla="*/ 2147483647 w 338"/>
                <a:gd name="T9" fmla="*/ 2147483647 h 151"/>
                <a:gd name="T10" fmla="*/ 2147483647 w 338"/>
                <a:gd name="T11" fmla="*/ 2147483647 h 151"/>
                <a:gd name="T12" fmla="*/ 2147483647 w 338"/>
                <a:gd name="T13" fmla="*/ 2147483647 h 151"/>
                <a:gd name="T14" fmla="*/ 2147483647 w 338"/>
                <a:gd name="T15" fmla="*/ 2147483647 h 151"/>
                <a:gd name="T16" fmla="*/ 2147483647 w 338"/>
                <a:gd name="T17" fmla="*/ 2147483647 h 151"/>
                <a:gd name="T18" fmla="*/ 2147483647 w 338"/>
                <a:gd name="T19" fmla="*/ 2147483647 h 151"/>
                <a:gd name="T20" fmla="*/ 2147483647 w 338"/>
                <a:gd name="T21" fmla="*/ 2147483647 h 151"/>
                <a:gd name="T22" fmla="*/ 2147483647 w 338"/>
                <a:gd name="T23" fmla="*/ 2147483647 h 151"/>
                <a:gd name="T24" fmla="*/ 2147483647 w 338"/>
                <a:gd name="T25" fmla="*/ 2147483647 h 151"/>
                <a:gd name="T26" fmla="*/ 2147483647 w 338"/>
                <a:gd name="T27" fmla="*/ 2147483647 h 151"/>
                <a:gd name="T28" fmla="*/ 2147483647 w 338"/>
                <a:gd name="T29" fmla="*/ 2147483647 h 151"/>
                <a:gd name="T30" fmla="*/ 2147483647 w 338"/>
                <a:gd name="T31" fmla="*/ 2147483647 h 151"/>
                <a:gd name="T32" fmla="*/ 2147483647 w 338"/>
                <a:gd name="T33" fmla="*/ 2147483647 h 151"/>
                <a:gd name="T34" fmla="*/ 2147483647 w 338"/>
                <a:gd name="T35" fmla="*/ 2147483647 h 151"/>
                <a:gd name="T36" fmla="*/ 2147483647 w 338"/>
                <a:gd name="T37" fmla="*/ 2147483647 h 151"/>
                <a:gd name="T38" fmla="*/ 2147483647 w 338"/>
                <a:gd name="T39" fmla="*/ 2147483647 h 151"/>
                <a:gd name="T40" fmla="*/ 2147483647 w 338"/>
                <a:gd name="T41" fmla="*/ 2147483647 h 151"/>
                <a:gd name="T42" fmla="*/ 2147483647 w 338"/>
                <a:gd name="T43" fmla="*/ 2147483647 h 151"/>
                <a:gd name="T44" fmla="*/ 2147483647 w 338"/>
                <a:gd name="T45" fmla="*/ 2147483647 h 151"/>
                <a:gd name="T46" fmla="*/ 2147483647 w 338"/>
                <a:gd name="T47" fmla="*/ 2147483647 h 151"/>
                <a:gd name="T48" fmla="*/ 2147483647 w 338"/>
                <a:gd name="T49" fmla="*/ 2147483647 h 151"/>
                <a:gd name="T50" fmla="*/ 2147483647 w 338"/>
                <a:gd name="T51" fmla="*/ 0 h 151"/>
                <a:gd name="T52" fmla="*/ 2147483647 w 338"/>
                <a:gd name="T53" fmla="*/ 2147483647 h 151"/>
                <a:gd name="T54" fmla="*/ 2147483647 w 338"/>
                <a:gd name="T55" fmla="*/ 2147483647 h 151"/>
                <a:gd name="T56" fmla="*/ 2147483647 w 338"/>
                <a:gd name="T57" fmla="*/ 2147483647 h 151"/>
                <a:gd name="T58" fmla="*/ 2147483647 w 338"/>
                <a:gd name="T59" fmla="*/ 2147483647 h 151"/>
                <a:gd name="T60" fmla="*/ 2147483647 w 338"/>
                <a:gd name="T61" fmla="*/ 2147483647 h 151"/>
                <a:gd name="T62" fmla="*/ 2147483647 w 338"/>
                <a:gd name="T63" fmla="*/ 2147483647 h 151"/>
                <a:gd name="T64" fmla="*/ 2147483647 w 338"/>
                <a:gd name="T65" fmla="*/ 2147483647 h 151"/>
                <a:gd name="T66" fmla="*/ 2147483647 w 338"/>
                <a:gd name="T67" fmla="*/ 2147483647 h 151"/>
                <a:gd name="T68" fmla="*/ 2147483647 w 338"/>
                <a:gd name="T69" fmla="*/ 2147483647 h 151"/>
                <a:gd name="T70" fmla="*/ 2147483647 w 338"/>
                <a:gd name="T71" fmla="*/ 2147483647 h 151"/>
                <a:gd name="T72" fmla="*/ 2147483647 w 338"/>
                <a:gd name="T73" fmla="*/ 2147483647 h 151"/>
                <a:gd name="T74" fmla="*/ 2147483647 w 338"/>
                <a:gd name="T75" fmla="*/ 2147483647 h 151"/>
                <a:gd name="T76" fmla="*/ 2147483647 w 338"/>
                <a:gd name="T77" fmla="*/ 2147483647 h 151"/>
                <a:gd name="T78" fmla="*/ 2147483647 w 338"/>
                <a:gd name="T79" fmla="*/ 2147483647 h 151"/>
                <a:gd name="T80" fmla="*/ 2147483647 w 338"/>
                <a:gd name="T81" fmla="*/ 2147483647 h 151"/>
                <a:gd name="T82" fmla="*/ 2147483647 w 338"/>
                <a:gd name="T83" fmla="*/ 2147483647 h 151"/>
                <a:gd name="T84" fmla="*/ 2147483647 w 338"/>
                <a:gd name="T85" fmla="*/ 2147483647 h 151"/>
                <a:gd name="T86" fmla="*/ 2147483647 w 338"/>
                <a:gd name="T87" fmla="*/ 2147483647 h 151"/>
                <a:gd name="T88" fmla="*/ 2147483647 w 338"/>
                <a:gd name="T89" fmla="*/ 2147483647 h 151"/>
                <a:gd name="T90" fmla="*/ 2147483647 w 338"/>
                <a:gd name="T91" fmla="*/ 2147483647 h 15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8"/>
                <a:gd name="T139" fmla="*/ 0 h 151"/>
                <a:gd name="T140" fmla="*/ 338 w 338"/>
                <a:gd name="T141" fmla="*/ 151 h 15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8" h="151">
                  <a:moveTo>
                    <a:pt x="304" y="151"/>
                  </a:moveTo>
                  <a:lnTo>
                    <a:pt x="254" y="151"/>
                  </a:lnTo>
                  <a:lnTo>
                    <a:pt x="160" y="151"/>
                  </a:lnTo>
                  <a:lnTo>
                    <a:pt x="0" y="151"/>
                  </a:lnTo>
                  <a:lnTo>
                    <a:pt x="23" y="147"/>
                  </a:lnTo>
                  <a:lnTo>
                    <a:pt x="35" y="139"/>
                  </a:lnTo>
                  <a:lnTo>
                    <a:pt x="42" y="126"/>
                  </a:lnTo>
                  <a:lnTo>
                    <a:pt x="74" y="104"/>
                  </a:lnTo>
                  <a:lnTo>
                    <a:pt x="76" y="113"/>
                  </a:lnTo>
                  <a:lnTo>
                    <a:pt x="80" y="118"/>
                  </a:lnTo>
                  <a:lnTo>
                    <a:pt x="89" y="122"/>
                  </a:lnTo>
                  <a:lnTo>
                    <a:pt x="101" y="115"/>
                  </a:lnTo>
                  <a:lnTo>
                    <a:pt x="107" y="120"/>
                  </a:lnTo>
                  <a:lnTo>
                    <a:pt x="120" y="116"/>
                  </a:lnTo>
                  <a:lnTo>
                    <a:pt x="122" y="110"/>
                  </a:lnTo>
                  <a:lnTo>
                    <a:pt x="139" y="110"/>
                  </a:lnTo>
                  <a:lnTo>
                    <a:pt x="147" y="105"/>
                  </a:lnTo>
                  <a:lnTo>
                    <a:pt x="149" y="100"/>
                  </a:lnTo>
                  <a:lnTo>
                    <a:pt x="146" y="97"/>
                  </a:lnTo>
                  <a:lnTo>
                    <a:pt x="168" y="64"/>
                  </a:lnTo>
                  <a:lnTo>
                    <a:pt x="174" y="47"/>
                  </a:lnTo>
                  <a:lnTo>
                    <a:pt x="190" y="56"/>
                  </a:lnTo>
                  <a:lnTo>
                    <a:pt x="202" y="33"/>
                  </a:lnTo>
                  <a:lnTo>
                    <a:pt x="207" y="37"/>
                  </a:lnTo>
                  <a:lnTo>
                    <a:pt x="227" y="17"/>
                  </a:lnTo>
                  <a:lnTo>
                    <a:pt x="231" y="0"/>
                  </a:lnTo>
                  <a:lnTo>
                    <a:pt x="252" y="17"/>
                  </a:lnTo>
                  <a:lnTo>
                    <a:pt x="256" y="7"/>
                  </a:lnTo>
                  <a:lnTo>
                    <a:pt x="268" y="12"/>
                  </a:lnTo>
                  <a:lnTo>
                    <a:pt x="266" y="17"/>
                  </a:lnTo>
                  <a:lnTo>
                    <a:pt x="269" y="21"/>
                  </a:lnTo>
                  <a:lnTo>
                    <a:pt x="282" y="28"/>
                  </a:lnTo>
                  <a:lnTo>
                    <a:pt x="286" y="36"/>
                  </a:lnTo>
                  <a:lnTo>
                    <a:pt x="286" y="39"/>
                  </a:lnTo>
                  <a:lnTo>
                    <a:pt x="276" y="53"/>
                  </a:lnTo>
                  <a:lnTo>
                    <a:pt x="277" y="57"/>
                  </a:lnTo>
                  <a:lnTo>
                    <a:pt x="320" y="84"/>
                  </a:lnTo>
                  <a:lnTo>
                    <a:pt x="315" y="100"/>
                  </a:lnTo>
                  <a:lnTo>
                    <a:pt x="323" y="115"/>
                  </a:lnTo>
                  <a:lnTo>
                    <a:pt x="317" y="119"/>
                  </a:lnTo>
                  <a:lnTo>
                    <a:pt x="323" y="129"/>
                  </a:lnTo>
                  <a:lnTo>
                    <a:pt x="312" y="131"/>
                  </a:lnTo>
                  <a:lnTo>
                    <a:pt x="311" y="134"/>
                  </a:lnTo>
                  <a:lnTo>
                    <a:pt x="337" y="141"/>
                  </a:lnTo>
                  <a:lnTo>
                    <a:pt x="338" y="151"/>
                  </a:lnTo>
                  <a:lnTo>
                    <a:pt x="304" y="151"/>
                  </a:lnTo>
                  <a:close/>
                </a:path>
              </a:pathLst>
            </a:custGeom>
            <a:grpFill/>
            <a:ln w="6350">
              <a:solidFill>
                <a:schemeClr val="tx2"/>
              </a:solidFill>
              <a:round/>
              <a:headEnd/>
              <a:tailEnd/>
            </a:ln>
          </p:spPr>
          <p:txBody>
            <a:bodyPr/>
            <a:lstStyle/>
            <a:p>
              <a:endParaRPr lang="en-US"/>
            </a:p>
          </p:txBody>
        </p:sp>
        <p:sp>
          <p:nvSpPr>
            <p:cNvPr id="224" name="Freeform 1124"/>
            <p:cNvSpPr>
              <a:spLocks/>
            </p:cNvSpPr>
            <p:nvPr/>
          </p:nvSpPr>
          <p:spPr bwMode="auto">
            <a:xfrm>
              <a:off x="2517121" y="3724713"/>
              <a:ext cx="94061" cy="47031"/>
            </a:xfrm>
            <a:custGeom>
              <a:avLst/>
              <a:gdLst>
                <a:gd name="T0" fmla="*/ 2147483647 w 191"/>
                <a:gd name="T1" fmla="*/ 0 h 96"/>
                <a:gd name="T2" fmla="*/ 2147483647 w 191"/>
                <a:gd name="T3" fmla="*/ 0 h 96"/>
                <a:gd name="T4" fmla="*/ 2147483647 w 191"/>
                <a:gd name="T5" fmla="*/ 0 h 96"/>
                <a:gd name="T6" fmla="*/ 0 w 191"/>
                <a:gd name="T7" fmla="*/ 2147483647 h 96"/>
                <a:gd name="T8" fmla="*/ 2147483647 w 191"/>
                <a:gd name="T9" fmla="*/ 2147483647 h 96"/>
                <a:gd name="T10" fmla="*/ 2147483647 w 191"/>
                <a:gd name="T11" fmla="*/ 2147483647 h 96"/>
                <a:gd name="T12" fmla="*/ 2147483647 w 191"/>
                <a:gd name="T13" fmla="*/ 2147483647 h 96"/>
                <a:gd name="T14" fmla="*/ 2147483647 w 191"/>
                <a:gd name="T15" fmla="*/ 2147483647 h 96"/>
                <a:gd name="T16" fmla="*/ 2147483647 w 191"/>
                <a:gd name="T17" fmla="*/ 2147483647 h 96"/>
                <a:gd name="T18" fmla="*/ 2147483647 w 191"/>
                <a:gd name="T19" fmla="*/ 2147483647 h 96"/>
                <a:gd name="T20" fmla="*/ 2147483647 w 191"/>
                <a:gd name="T21" fmla="*/ 2147483647 h 96"/>
                <a:gd name="T22" fmla="*/ 2147483647 w 191"/>
                <a:gd name="T23" fmla="*/ 2147483647 h 96"/>
                <a:gd name="T24" fmla="*/ 2147483647 w 191"/>
                <a:gd name="T25" fmla="*/ 2147483647 h 96"/>
                <a:gd name="T26" fmla="*/ 2147483647 w 191"/>
                <a:gd name="T27" fmla="*/ 2147483647 h 96"/>
                <a:gd name="T28" fmla="*/ 2147483647 w 191"/>
                <a:gd name="T29" fmla="*/ 2147483647 h 96"/>
                <a:gd name="T30" fmla="*/ 2147483647 w 191"/>
                <a:gd name="T31" fmla="*/ 2147483647 h 96"/>
                <a:gd name="T32" fmla="*/ 2147483647 w 191"/>
                <a:gd name="T33" fmla="*/ 2147483647 h 96"/>
                <a:gd name="T34" fmla="*/ 2147483647 w 191"/>
                <a:gd name="T35" fmla="*/ 2147483647 h 96"/>
                <a:gd name="T36" fmla="*/ 2147483647 w 191"/>
                <a:gd name="T37" fmla="*/ 2147483647 h 96"/>
                <a:gd name="T38" fmla="*/ 2147483647 w 191"/>
                <a:gd name="T39" fmla="*/ 2147483647 h 96"/>
                <a:gd name="T40" fmla="*/ 2147483647 w 191"/>
                <a:gd name="T41" fmla="*/ 2147483647 h 96"/>
                <a:gd name="T42" fmla="*/ 2147483647 w 191"/>
                <a:gd name="T43" fmla="*/ 2147483647 h 96"/>
                <a:gd name="T44" fmla="*/ 2147483647 w 191"/>
                <a:gd name="T45" fmla="*/ 2147483647 h 96"/>
                <a:gd name="T46" fmla="*/ 2147483647 w 191"/>
                <a:gd name="T47" fmla="*/ 2147483647 h 96"/>
                <a:gd name="T48" fmla="*/ 2147483647 w 191"/>
                <a:gd name="T49" fmla="*/ 2147483647 h 96"/>
                <a:gd name="T50" fmla="*/ 2147483647 w 191"/>
                <a:gd name="T51" fmla="*/ 2147483647 h 96"/>
                <a:gd name="T52" fmla="*/ 2147483647 w 191"/>
                <a:gd name="T53" fmla="*/ 2147483647 h 96"/>
                <a:gd name="T54" fmla="*/ 2147483647 w 191"/>
                <a:gd name="T55" fmla="*/ 2147483647 h 96"/>
                <a:gd name="T56" fmla="*/ 2147483647 w 191"/>
                <a:gd name="T57" fmla="*/ 2147483647 h 96"/>
                <a:gd name="T58" fmla="*/ 2147483647 w 191"/>
                <a:gd name="T59" fmla="*/ 2147483647 h 96"/>
                <a:gd name="T60" fmla="*/ 2147483647 w 191"/>
                <a:gd name="T61" fmla="*/ 2147483647 h 96"/>
                <a:gd name="T62" fmla="*/ 2147483647 w 191"/>
                <a:gd name="T63" fmla="*/ 2147483647 h 96"/>
                <a:gd name="T64" fmla="*/ 2147483647 w 191"/>
                <a:gd name="T65" fmla="*/ 2147483647 h 96"/>
                <a:gd name="T66" fmla="*/ 2147483647 w 191"/>
                <a:gd name="T67" fmla="*/ 2147483647 h 96"/>
                <a:gd name="T68" fmla="*/ 2147483647 w 191"/>
                <a:gd name="T69" fmla="*/ 2147483647 h 96"/>
                <a:gd name="T70" fmla="*/ 2147483647 w 191"/>
                <a:gd name="T71" fmla="*/ 2147483647 h 96"/>
                <a:gd name="T72" fmla="*/ 2147483647 w 191"/>
                <a:gd name="T73" fmla="*/ 2147483647 h 96"/>
                <a:gd name="T74" fmla="*/ 2147483647 w 191"/>
                <a:gd name="T75" fmla="*/ 2147483647 h 96"/>
                <a:gd name="T76" fmla="*/ 2147483647 w 191"/>
                <a:gd name="T77" fmla="*/ 2147483647 h 96"/>
                <a:gd name="T78" fmla="*/ 2147483647 w 191"/>
                <a:gd name="T79" fmla="*/ 2147483647 h 96"/>
                <a:gd name="T80" fmla="*/ 2147483647 w 191"/>
                <a:gd name="T81" fmla="*/ 2147483647 h 96"/>
                <a:gd name="T82" fmla="*/ 2147483647 w 191"/>
                <a:gd name="T83" fmla="*/ 2147483647 h 96"/>
                <a:gd name="T84" fmla="*/ 2147483647 w 191"/>
                <a:gd name="T85" fmla="*/ 2147483647 h 96"/>
                <a:gd name="T86" fmla="*/ 2147483647 w 191"/>
                <a:gd name="T87" fmla="*/ 0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1"/>
                <a:gd name="T133" fmla="*/ 0 h 96"/>
                <a:gd name="T134" fmla="*/ 191 w 191"/>
                <a:gd name="T135" fmla="*/ 96 h 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1" h="96">
                  <a:moveTo>
                    <a:pt x="159" y="0"/>
                  </a:moveTo>
                  <a:lnTo>
                    <a:pt x="86" y="0"/>
                  </a:lnTo>
                  <a:lnTo>
                    <a:pt x="1" y="0"/>
                  </a:lnTo>
                  <a:lnTo>
                    <a:pt x="0" y="29"/>
                  </a:lnTo>
                  <a:lnTo>
                    <a:pt x="16" y="15"/>
                  </a:lnTo>
                  <a:lnTo>
                    <a:pt x="23" y="16"/>
                  </a:lnTo>
                  <a:lnTo>
                    <a:pt x="30" y="4"/>
                  </a:lnTo>
                  <a:lnTo>
                    <a:pt x="39" y="10"/>
                  </a:lnTo>
                  <a:lnTo>
                    <a:pt x="43" y="10"/>
                  </a:lnTo>
                  <a:lnTo>
                    <a:pt x="46" y="5"/>
                  </a:lnTo>
                  <a:lnTo>
                    <a:pt x="56" y="1"/>
                  </a:lnTo>
                  <a:lnTo>
                    <a:pt x="71" y="6"/>
                  </a:lnTo>
                  <a:lnTo>
                    <a:pt x="75" y="22"/>
                  </a:lnTo>
                  <a:lnTo>
                    <a:pt x="87" y="27"/>
                  </a:lnTo>
                  <a:lnTo>
                    <a:pt x="85" y="32"/>
                  </a:lnTo>
                  <a:lnTo>
                    <a:pt x="88" y="36"/>
                  </a:lnTo>
                  <a:lnTo>
                    <a:pt x="101" y="43"/>
                  </a:lnTo>
                  <a:lnTo>
                    <a:pt x="105" y="40"/>
                  </a:lnTo>
                  <a:lnTo>
                    <a:pt x="112" y="46"/>
                  </a:lnTo>
                  <a:lnTo>
                    <a:pt x="105" y="51"/>
                  </a:lnTo>
                  <a:lnTo>
                    <a:pt x="105" y="54"/>
                  </a:lnTo>
                  <a:lnTo>
                    <a:pt x="98" y="69"/>
                  </a:lnTo>
                  <a:lnTo>
                    <a:pt x="137" y="89"/>
                  </a:lnTo>
                  <a:lnTo>
                    <a:pt x="134" y="75"/>
                  </a:lnTo>
                  <a:lnTo>
                    <a:pt x="128" y="70"/>
                  </a:lnTo>
                  <a:lnTo>
                    <a:pt x="132" y="69"/>
                  </a:lnTo>
                  <a:lnTo>
                    <a:pt x="130" y="29"/>
                  </a:lnTo>
                  <a:lnTo>
                    <a:pt x="150" y="13"/>
                  </a:lnTo>
                  <a:lnTo>
                    <a:pt x="153" y="8"/>
                  </a:lnTo>
                  <a:lnTo>
                    <a:pt x="154" y="17"/>
                  </a:lnTo>
                  <a:lnTo>
                    <a:pt x="145" y="26"/>
                  </a:lnTo>
                  <a:lnTo>
                    <a:pt x="146" y="37"/>
                  </a:lnTo>
                  <a:lnTo>
                    <a:pt x="140" y="44"/>
                  </a:lnTo>
                  <a:lnTo>
                    <a:pt x="147" y="47"/>
                  </a:lnTo>
                  <a:lnTo>
                    <a:pt x="147" y="59"/>
                  </a:lnTo>
                  <a:lnTo>
                    <a:pt x="141" y="68"/>
                  </a:lnTo>
                  <a:lnTo>
                    <a:pt x="147" y="79"/>
                  </a:lnTo>
                  <a:lnTo>
                    <a:pt x="157" y="80"/>
                  </a:lnTo>
                  <a:lnTo>
                    <a:pt x="163" y="96"/>
                  </a:lnTo>
                  <a:lnTo>
                    <a:pt x="183" y="93"/>
                  </a:lnTo>
                  <a:lnTo>
                    <a:pt x="183" y="86"/>
                  </a:lnTo>
                  <a:lnTo>
                    <a:pt x="191" y="70"/>
                  </a:lnTo>
                  <a:lnTo>
                    <a:pt x="162" y="69"/>
                  </a:lnTo>
                  <a:lnTo>
                    <a:pt x="159" y="0"/>
                  </a:lnTo>
                  <a:close/>
                </a:path>
              </a:pathLst>
            </a:custGeom>
            <a:grpFill/>
            <a:ln w="6350">
              <a:solidFill>
                <a:schemeClr val="tx2"/>
              </a:solidFill>
              <a:round/>
              <a:headEnd/>
              <a:tailEnd/>
            </a:ln>
          </p:spPr>
          <p:txBody>
            <a:bodyPr/>
            <a:lstStyle/>
            <a:p>
              <a:endParaRPr lang="en-US"/>
            </a:p>
          </p:txBody>
        </p:sp>
        <p:sp>
          <p:nvSpPr>
            <p:cNvPr id="225" name="Freeform 1125"/>
            <p:cNvSpPr>
              <a:spLocks/>
            </p:cNvSpPr>
            <p:nvPr/>
          </p:nvSpPr>
          <p:spPr bwMode="auto">
            <a:xfrm>
              <a:off x="2495882" y="3653409"/>
              <a:ext cx="124403" cy="71304"/>
            </a:xfrm>
            <a:custGeom>
              <a:avLst/>
              <a:gdLst>
                <a:gd name="T0" fmla="*/ 2147483647 w 250"/>
                <a:gd name="T1" fmla="*/ 2147483647 h 145"/>
                <a:gd name="T2" fmla="*/ 2147483647 w 250"/>
                <a:gd name="T3" fmla="*/ 2147483647 h 145"/>
                <a:gd name="T4" fmla="*/ 2147483647 w 250"/>
                <a:gd name="T5" fmla="*/ 2147483647 h 145"/>
                <a:gd name="T6" fmla="*/ 2147483647 w 250"/>
                <a:gd name="T7" fmla="*/ 2147483647 h 145"/>
                <a:gd name="T8" fmla="*/ 2147483647 w 250"/>
                <a:gd name="T9" fmla="*/ 0 h 145"/>
                <a:gd name="T10" fmla="*/ 0 w 250"/>
                <a:gd name="T11" fmla="*/ 2147483647 h 145"/>
                <a:gd name="T12" fmla="*/ 0 w 250"/>
                <a:gd name="T13" fmla="*/ 2147483647 h 145"/>
                <a:gd name="T14" fmla="*/ 2147483647 w 250"/>
                <a:gd name="T15" fmla="*/ 2147483647 h 145"/>
                <a:gd name="T16" fmla="*/ 2147483647 w 250"/>
                <a:gd name="T17" fmla="*/ 2147483647 h 145"/>
                <a:gd name="T18" fmla="*/ 2147483647 w 250"/>
                <a:gd name="T19" fmla="*/ 2147483647 h 145"/>
                <a:gd name="T20" fmla="*/ 2147483647 w 250"/>
                <a:gd name="T21" fmla="*/ 2147483647 h 145"/>
                <a:gd name="T22" fmla="*/ 2147483647 w 250"/>
                <a:gd name="T23" fmla="*/ 2147483647 h 145"/>
                <a:gd name="T24" fmla="*/ 2147483647 w 250"/>
                <a:gd name="T25" fmla="*/ 2147483647 h 145"/>
                <a:gd name="T26" fmla="*/ 2147483647 w 250"/>
                <a:gd name="T27" fmla="*/ 2147483647 h 145"/>
                <a:gd name="T28" fmla="*/ 2147483647 w 250"/>
                <a:gd name="T29" fmla="*/ 2147483647 h 145"/>
                <a:gd name="T30" fmla="*/ 2147483647 w 250"/>
                <a:gd name="T31" fmla="*/ 2147483647 h 145"/>
                <a:gd name="T32" fmla="*/ 2147483647 w 250"/>
                <a:gd name="T33" fmla="*/ 2147483647 h 145"/>
                <a:gd name="T34" fmla="*/ 2147483647 w 250"/>
                <a:gd name="T35" fmla="*/ 2147483647 h 145"/>
                <a:gd name="T36" fmla="*/ 2147483647 w 250"/>
                <a:gd name="T37" fmla="*/ 2147483647 h 145"/>
                <a:gd name="T38" fmla="*/ 2147483647 w 250"/>
                <a:gd name="T39" fmla="*/ 2147483647 h 145"/>
                <a:gd name="T40" fmla="*/ 2147483647 w 250"/>
                <a:gd name="T41" fmla="*/ 2147483647 h 145"/>
                <a:gd name="T42" fmla="*/ 2147483647 w 250"/>
                <a:gd name="T43" fmla="*/ 2147483647 h 145"/>
                <a:gd name="T44" fmla="*/ 2147483647 w 250"/>
                <a:gd name="T45" fmla="*/ 2147483647 h 145"/>
                <a:gd name="T46" fmla="*/ 2147483647 w 250"/>
                <a:gd name="T47" fmla="*/ 2147483647 h 145"/>
                <a:gd name="T48" fmla="*/ 2147483647 w 250"/>
                <a:gd name="T49" fmla="*/ 2147483647 h 1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0"/>
                <a:gd name="T76" fmla="*/ 0 h 145"/>
                <a:gd name="T77" fmla="*/ 250 w 250"/>
                <a:gd name="T78" fmla="*/ 145 h 1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0" h="145">
                  <a:moveTo>
                    <a:pt x="187" y="16"/>
                  </a:moveTo>
                  <a:lnTo>
                    <a:pt x="167" y="16"/>
                  </a:lnTo>
                  <a:lnTo>
                    <a:pt x="100" y="16"/>
                  </a:lnTo>
                  <a:lnTo>
                    <a:pt x="32" y="16"/>
                  </a:lnTo>
                  <a:lnTo>
                    <a:pt x="32" y="0"/>
                  </a:lnTo>
                  <a:lnTo>
                    <a:pt x="0" y="17"/>
                  </a:lnTo>
                  <a:lnTo>
                    <a:pt x="0" y="145"/>
                  </a:lnTo>
                  <a:lnTo>
                    <a:pt x="130" y="145"/>
                  </a:lnTo>
                  <a:lnTo>
                    <a:pt x="203" y="145"/>
                  </a:lnTo>
                  <a:lnTo>
                    <a:pt x="209" y="138"/>
                  </a:lnTo>
                  <a:lnTo>
                    <a:pt x="220" y="141"/>
                  </a:lnTo>
                  <a:lnTo>
                    <a:pt x="232" y="136"/>
                  </a:lnTo>
                  <a:lnTo>
                    <a:pt x="249" y="120"/>
                  </a:lnTo>
                  <a:lnTo>
                    <a:pt x="235" y="105"/>
                  </a:lnTo>
                  <a:lnTo>
                    <a:pt x="234" y="98"/>
                  </a:lnTo>
                  <a:lnTo>
                    <a:pt x="229" y="97"/>
                  </a:lnTo>
                  <a:lnTo>
                    <a:pt x="229" y="85"/>
                  </a:lnTo>
                  <a:lnTo>
                    <a:pt x="235" y="79"/>
                  </a:lnTo>
                  <a:lnTo>
                    <a:pt x="232" y="72"/>
                  </a:lnTo>
                  <a:lnTo>
                    <a:pt x="244" y="57"/>
                  </a:lnTo>
                  <a:lnTo>
                    <a:pt x="250" y="51"/>
                  </a:lnTo>
                  <a:lnTo>
                    <a:pt x="238" y="44"/>
                  </a:lnTo>
                  <a:lnTo>
                    <a:pt x="234" y="25"/>
                  </a:lnTo>
                  <a:lnTo>
                    <a:pt x="220" y="16"/>
                  </a:lnTo>
                  <a:lnTo>
                    <a:pt x="187" y="16"/>
                  </a:lnTo>
                  <a:close/>
                </a:path>
              </a:pathLst>
            </a:custGeom>
            <a:grpFill/>
            <a:ln w="6350">
              <a:solidFill>
                <a:schemeClr val="tx2"/>
              </a:solidFill>
              <a:round/>
              <a:headEnd/>
              <a:tailEnd/>
            </a:ln>
          </p:spPr>
          <p:txBody>
            <a:bodyPr/>
            <a:lstStyle/>
            <a:p>
              <a:endParaRPr lang="en-US"/>
            </a:p>
          </p:txBody>
        </p:sp>
        <p:sp>
          <p:nvSpPr>
            <p:cNvPr id="226" name="Freeform 1126"/>
            <p:cNvSpPr>
              <a:spLocks/>
            </p:cNvSpPr>
            <p:nvPr/>
          </p:nvSpPr>
          <p:spPr bwMode="auto">
            <a:xfrm>
              <a:off x="2511052" y="3573002"/>
              <a:ext cx="141091" cy="124403"/>
            </a:xfrm>
            <a:custGeom>
              <a:avLst/>
              <a:gdLst>
                <a:gd name="T0" fmla="*/ 2147483647 w 280"/>
                <a:gd name="T1" fmla="*/ 2147483647 h 250"/>
                <a:gd name="T2" fmla="*/ 2147483647 w 280"/>
                <a:gd name="T3" fmla="*/ 2147483647 h 250"/>
                <a:gd name="T4" fmla="*/ 2147483647 w 280"/>
                <a:gd name="T5" fmla="*/ 2147483647 h 250"/>
                <a:gd name="T6" fmla="*/ 0 w 280"/>
                <a:gd name="T7" fmla="*/ 2147483647 h 250"/>
                <a:gd name="T8" fmla="*/ 0 w 280"/>
                <a:gd name="T9" fmla="*/ 2147483647 h 250"/>
                <a:gd name="T10" fmla="*/ 2147483647 w 280"/>
                <a:gd name="T11" fmla="*/ 2147483647 h 250"/>
                <a:gd name="T12" fmla="*/ 2147483647 w 280"/>
                <a:gd name="T13" fmla="*/ 2147483647 h 250"/>
                <a:gd name="T14" fmla="*/ 2147483647 w 280"/>
                <a:gd name="T15" fmla="*/ 2147483647 h 250"/>
                <a:gd name="T16" fmla="*/ 2147483647 w 280"/>
                <a:gd name="T17" fmla="*/ 2147483647 h 250"/>
                <a:gd name="T18" fmla="*/ 2147483647 w 280"/>
                <a:gd name="T19" fmla="*/ 2147483647 h 250"/>
                <a:gd name="T20" fmla="*/ 2147483647 w 280"/>
                <a:gd name="T21" fmla="*/ 2147483647 h 250"/>
                <a:gd name="T22" fmla="*/ 2147483647 w 280"/>
                <a:gd name="T23" fmla="*/ 2147483647 h 250"/>
                <a:gd name="T24" fmla="*/ 2147483647 w 280"/>
                <a:gd name="T25" fmla="*/ 2147483647 h 250"/>
                <a:gd name="T26" fmla="*/ 2147483647 w 280"/>
                <a:gd name="T27" fmla="*/ 2147483647 h 250"/>
                <a:gd name="T28" fmla="*/ 2147483647 w 280"/>
                <a:gd name="T29" fmla="*/ 2147483647 h 250"/>
                <a:gd name="T30" fmla="*/ 2147483647 w 280"/>
                <a:gd name="T31" fmla="*/ 2147483647 h 250"/>
                <a:gd name="T32" fmla="*/ 2147483647 w 280"/>
                <a:gd name="T33" fmla="*/ 2147483647 h 250"/>
                <a:gd name="T34" fmla="*/ 2147483647 w 280"/>
                <a:gd name="T35" fmla="*/ 0 h 250"/>
                <a:gd name="T36" fmla="*/ 2147483647 w 280"/>
                <a:gd name="T37" fmla="*/ 0 h 250"/>
                <a:gd name="T38" fmla="*/ 2147483647 w 280"/>
                <a:gd name="T39" fmla="*/ 2147483647 h 250"/>
                <a:gd name="T40" fmla="*/ 2147483647 w 280"/>
                <a:gd name="T41" fmla="*/ 2147483647 h 250"/>
                <a:gd name="T42" fmla="*/ 2147483647 w 280"/>
                <a:gd name="T43" fmla="*/ 2147483647 h 250"/>
                <a:gd name="T44" fmla="*/ 2147483647 w 280"/>
                <a:gd name="T45" fmla="*/ 2147483647 h 250"/>
                <a:gd name="T46" fmla="*/ 2147483647 w 280"/>
                <a:gd name="T47" fmla="*/ 2147483647 h 250"/>
                <a:gd name="T48" fmla="*/ 2147483647 w 280"/>
                <a:gd name="T49" fmla="*/ 2147483647 h 250"/>
                <a:gd name="T50" fmla="*/ 2147483647 w 280"/>
                <a:gd name="T51" fmla="*/ 2147483647 h 250"/>
                <a:gd name="T52" fmla="*/ 2147483647 w 280"/>
                <a:gd name="T53" fmla="*/ 2147483647 h 250"/>
                <a:gd name="T54" fmla="*/ 2147483647 w 280"/>
                <a:gd name="T55" fmla="*/ 2147483647 h 250"/>
                <a:gd name="T56" fmla="*/ 2147483647 w 280"/>
                <a:gd name="T57" fmla="*/ 2147483647 h 250"/>
                <a:gd name="T58" fmla="*/ 2147483647 w 280"/>
                <a:gd name="T59" fmla="*/ 2147483647 h 250"/>
                <a:gd name="T60" fmla="*/ 2147483647 w 280"/>
                <a:gd name="T61" fmla="*/ 2147483647 h 250"/>
                <a:gd name="T62" fmla="*/ 2147483647 w 280"/>
                <a:gd name="T63" fmla="*/ 2147483647 h 250"/>
                <a:gd name="T64" fmla="*/ 2147483647 w 280"/>
                <a:gd name="T65" fmla="*/ 2147483647 h 250"/>
                <a:gd name="T66" fmla="*/ 2147483647 w 280"/>
                <a:gd name="T67" fmla="*/ 2147483647 h 250"/>
                <a:gd name="T68" fmla="*/ 2147483647 w 280"/>
                <a:gd name="T69" fmla="*/ 2147483647 h 250"/>
                <a:gd name="T70" fmla="*/ 2147483647 w 280"/>
                <a:gd name="T71" fmla="*/ 2147483647 h 250"/>
                <a:gd name="T72" fmla="*/ 2147483647 w 280"/>
                <a:gd name="T73" fmla="*/ 2147483647 h 2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0"/>
                <a:gd name="T112" fmla="*/ 0 h 250"/>
                <a:gd name="T113" fmla="*/ 280 w 280"/>
                <a:gd name="T114" fmla="*/ 250 h 2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0" h="250">
                  <a:moveTo>
                    <a:pt x="188" y="176"/>
                  </a:moveTo>
                  <a:lnTo>
                    <a:pt x="135" y="176"/>
                  </a:lnTo>
                  <a:lnTo>
                    <a:pt x="68" y="176"/>
                  </a:lnTo>
                  <a:lnTo>
                    <a:pt x="0" y="176"/>
                  </a:lnTo>
                  <a:lnTo>
                    <a:pt x="0" y="160"/>
                  </a:lnTo>
                  <a:lnTo>
                    <a:pt x="40" y="128"/>
                  </a:lnTo>
                  <a:lnTo>
                    <a:pt x="32" y="103"/>
                  </a:lnTo>
                  <a:lnTo>
                    <a:pt x="73" y="94"/>
                  </a:lnTo>
                  <a:lnTo>
                    <a:pt x="96" y="101"/>
                  </a:lnTo>
                  <a:lnTo>
                    <a:pt x="123" y="99"/>
                  </a:lnTo>
                  <a:lnTo>
                    <a:pt x="156" y="85"/>
                  </a:lnTo>
                  <a:lnTo>
                    <a:pt x="156" y="72"/>
                  </a:lnTo>
                  <a:lnTo>
                    <a:pt x="152" y="65"/>
                  </a:lnTo>
                  <a:lnTo>
                    <a:pt x="159" y="59"/>
                  </a:lnTo>
                  <a:lnTo>
                    <a:pt x="150" y="52"/>
                  </a:lnTo>
                  <a:lnTo>
                    <a:pt x="168" y="38"/>
                  </a:lnTo>
                  <a:lnTo>
                    <a:pt x="177" y="19"/>
                  </a:lnTo>
                  <a:lnTo>
                    <a:pt x="205" y="0"/>
                  </a:lnTo>
                  <a:lnTo>
                    <a:pt x="276" y="0"/>
                  </a:lnTo>
                  <a:lnTo>
                    <a:pt x="275" y="21"/>
                  </a:lnTo>
                  <a:lnTo>
                    <a:pt x="278" y="31"/>
                  </a:lnTo>
                  <a:lnTo>
                    <a:pt x="272" y="55"/>
                  </a:lnTo>
                  <a:lnTo>
                    <a:pt x="275" y="73"/>
                  </a:lnTo>
                  <a:lnTo>
                    <a:pt x="273" y="79"/>
                  </a:lnTo>
                  <a:lnTo>
                    <a:pt x="280" y="85"/>
                  </a:lnTo>
                  <a:lnTo>
                    <a:pt x="280" y="133"/>
                  </a:lnTo>
                  <a:lnTo>
                    <a:pt x="270" y="173"/>
                  </a:lnTo>
                  <a:lnTo>
                    <a:pt x="267" y="215"/>
                  </a:lnTo>
                  <a:lnTo>
                    <a:pt x="270" y="220"/>
                  </a:lnTo>
                  <a:lnTo>
                    <a:pt x="260" y="226"/>
                  </a:lnTo>
                  <a:lnTo>
                    <a:pt x="263" y="231"/>
                  </a:lnTo>
                  <a:lnTo>
                    <a:pt x="246" y="250"/>
                  </a:lnTo>
                  <a:lnTo>
                    <a:pt x="253" y="233"/>
                  </a:lnTo>
                  <a:lnTo>
                    <a:pt x="218" y="211"/>
                  </a:lnTo>
                  <a:lnTo>
                    <a:pt x="206" y="204"/>
                  </a:lnTo>
                  <a:lnTo>
                    <a:pt x="202" y="185"/>
                  </a:lnTo>
                  <a:lnTo>
                    <a:pt x="188" y="176"/>
                  </a:lnTo>
                  <a:close/>
                </a:path>
              </a:pathLst>
            </a:custGeom>
            <a:grpFill/>
            <a:ln w="6350">
              <a:solidFill>
                <a:schemeClr val="tx2"/>
              </a:solidFill>
              <a:round/>
              <a:headEnd/>
              <a:tailEnd/>
            </a:ln>
          </p:spPr>
          <p:txBody>
            <a:bodyPr/>
            <a:lstStyle/>
            <a:p>
              <a:endParaRPr lang="en-US"/>
            </a:p>
          </p:txBody>
        </p:sp>
        <p:sp>
          <p:nvSpPr>
            <p:cNvPr id="227" name="Freeform 1127"/>
            <p:cNvSpPr>
              <a:spLocks/>
            </p:cNvSpPr>
            <p:nvPr/>
          </p:nvSpPr>
          <p:spPr bwMode="auto">
            <a:xfrm>
              <a:off x="2511052" y="2923677"/>
              <a:ext cx="485476" cy="649324"/>
            </a:xfrm>
            <a:custGeom>
              <a:avLst/>
              <a:gdLst>
                <a:gd name="T0" fmla="*/ 2147483647 w 973"/>
                <a:gd name="T1" fmla="*/ 2147483647 h 1305"/>
                <a:gd name="T2" fmla="*/ 2147483647 w 973"/>
                <a:gd name="T3" fmla="*/ 2147483647 h 1305"/>
                <a:gd name="T4" fmla="*/ 2147483647 w 973"/>
                <a:gd name="T5" fmla="*/ 2147483647 h 1305"/>
                <a:gd name="T6" fmla="*/ 2147483647 w 973"/>
                <a:gd name="T7" fmla="*/ 2147483647 h 1305"/>
                <a:gd name="T8" fmla="*/ 2147483647 w 973"/>
                <a:gd name="T9" fmla="*/ 2147483647 h 1305"/>
                <a:gd name="T10" fmla="*/ 2147483647 w 973"/>
                <a:gd name="T11" fmla="*/ 2147483647 h 1305"/>
                <a:gd name="T12" fmla="*/ 2147483647 w 973"/>
                <a:gd name="T13" fmla="*/ 2147483647 h 1305"/>
                <a:gd name="T14" fmla="*/ 2147483647 w 973"/>
                <a:gd name="T15" fmla="*/ 2147483647 h 1305"/>
                <a:gd name="T16" fmla="*/ 2147483647 w 973"/>
                <a:gd name="T17" fmla="*/ 2147483647 h 1305"/>
                <a:gd name="T18" fmla="*/ 2147483647 w 973"/>
                <a:gd name="T19" fmla="*/ 2147483647 h 1305"/>
                <a:gd name="T20" fmla="*/ 2147483647 w 973"/>
                <a:gd name="T21" fmla="*/ 2147483647 h 1305"/>
                <a:gd name="T22" fmla="*/ 2147483647 w 973"/>
                <a:gd name="T23" fmla="*/ 2147483647 h 1305"/>
                <a:gd name="T24" fmla="*/ 2147483647 w 973"/>
                <a:gd name="T25" fmla="*/ 2147483647 h 1305"/>
                <a:gd name="T26" fmla="*/ 2147483647 w 973"/>
                <a:gd name="T27" fmla="*/ 2147483647 h 1305"/>
                <a:gd name="T28" fmla="*/ 2147483647 w 973"/>
                <a:gd name="T29" fmla="*/ 2147483647 h 1305"/>
                <a:gd name="T30" fmla="*/ 2147483647 w 973"/>
                <a:gd name="T31" fmla="*/ 2147483647 h 1305"/>
                <a:gd name="T32" fmla="*/ 2147483647 w 973"/>
                <a:gd name="T33" fmla="*/ 2147483647 h 1305"/>
                <a:gd name="T34" fmla="*/ 2147483647 w 973"/>
                <a:gd name="T35" fmla="*/ 2147483647 h 1305"/>
                <a:gd name="T36" fmla="*/ 2147483647 w 973"/>
                <a:gd name="T37" fmla="*/ 2147483647 h 1305"/>
                <a:gd name="T38" fmla="*/ 2147483647 w 973"/>
                <a:gd name="T39" fmla="*/ 2147483647 h 1305"/>
                <a:gd name="T40" fmla="*/ 2147483647 w 973"/>
                <a:gd name="T41" fmla="*/ 2147483647 h 1305"/>
                <a:gd name="T42" fmla="*/ 2147483647 w 973"/>
                <a:gd name="T43" fmla="*/ 2147483647 h 1305"/>
                <a:gd name="T44" fmla="*/ 2147483647 w 973"/>
                <a:gd name="T45" fmla="*/ 2147483647 h 1305"/>
                <a:gd name="T46" fmla="*/ 2147483647 w 973"/>
                <a:gd name="T47" fmla="*/ 2147483647 h 1305"/>
                <a:gd name="T48" fmla="*/ 2147483647 w 973"/>
                <a:gd name="T49" fmla="*/ 2147483647 h 1305"/>
                <a:gd name="T50" fmla="*/ 2147483647 w 973"/>
                <a:gd name="T51" fmla="*/ 2147483647 h 1305"/>
                <a:gd name="T52" fmla="*/ 2147483647 w 973"/>
                <a:gd name="T53" fmla="*/ 2147483647 h 1305"/>
                <a:gd name="T54" fmla="*/ 2147483647 w 973"/>
                <a:gd name="T55" fmla="*/ 2147483647 h 1305"/>
                <a:gd name="T56" fmla="*/ 2147483647 w 973"/>
                <a:gd name="T57" fmla="*/ 2147483647 h 1305"/>
                <a:gd name="T58" fmla="*/ 2147483647 w 973"/>
                <a:gd name="T59" fmla="*/ 2147483647 h 1305"/>
                <a:gd name="T60" fmla="*/ 2147483647 w 973"/>
                <a:gd name="T61" fmla="*/ 2147483647 h 1305"/>
                <a:gd name="T62" fmla="*/ 2147483647 w 973"/>
                <a:gd name="T63" fmla="*/ 2147483647 h 1305"/>
                <a:gd name="T64" fmla="*/ 2147483647 w 973"/>
                <a:gd name="T65" fmla="*/ 2147483647 h 1305"/>
                <a:gd name="T66" fmla="*/ 2147483647 w 973"/>
                <a:gd name="T67" fmla="*/ 2147483647 h 1305"/>
                <a:gd name="T68" fmla="*/ 2147483647 w 973"/>
                <a:gd name="T69" fmla="*/ 2147483647 h 1305"/>
                <a:gd name="T70" fmla="*/ 2147483647 w 973"/>
                <a:gd name="T71" fmla="*/ 2147483647 h 1305"/>
                <a:gd name="T72" fmla="*/ 2147483647 w 973"/>
                <a:gd name="T73" fmla="*/ 2147483647 h 1305"/>
                <a:gd name="T74" fmla="*/ 2147483647 w 973"/>
                <a:gd name="T75" fmla="*/ 2147483647 h 1305"/>
                <a:gd name="T76" fmla="*/ 2147483647 w 973"/>
                <a:gd name="T77" fmla="*/ 2147483647 h 1305"/>
                <a:gd name="T78" fmla="*/ 2147483647 w 973"/>
                <a:gd name="T79" fmla="*/ 2147483647 h 1305"/>
                <a:gd name="T80" fmla="*/ 2147483647 w 973"/>
                <a:gd name="T81" fmla="*/ 2147483647 h 1305"/>
                <a:gd name="T82" fmla="*/ 2147483647 w 973"/>
                <a:gd name="T83" fmla="*/ 2147483647 h 1305"/>
                <a:gd name="T84" fmla="*/ 2147483647 w 973"/>
                <a:gd name="T85" fmla="*/ 2147483647 h 1305"/>
                <a:gd name="T86" fmla="*/ 2147483647 w 973"/>
                <a:gd name="T87" fmla="*/ 2147483647 h 1305"/>
                <a:gd name="T88" fmla="*/ 2147483647 w 973"/>
                <a:gd name="T89" fmla="*/ 2147483647 h 1305"/>
                <a:gd name="T90" fmla="*/ 2147483647 w 973"/>
                <a:gd name="T91" fmla="*/ 2147483647 h 1305"/>
                <a:gd name="T92" fmla="*/ 2147483647 w 973"/>
                <a:gd name="T93" fmla="*/ 2147483647 h 1305"/>
                <a:gd name="T94" fmla="*/ 2147483647 w 973"/>
                <a:gd name="T95" fmla="*/ 2147483647 h 1305"/>
                <a:gd name="T96" fmla="*/ 2147483647 w 973"/>
                <a:gd name="T97" fmla="*/ 2147483647 h 1305"/>
                <a:gd name="T98" fmla="*/ 2147483647 w 973"/>
                <a:gd name="T99" fmla="*/ 2147483647 h 1305"/>
                <a:gd name="T100" fmla="*/ 2147483647 w 973"/>
                <a:gd name="T101" fmla="*/ 2147483647 h 1305"/>
                <a:gd name="T102" fmla="*/ 2147483647 w 973"/>
                <a:gd name="T103" fmla="*/ 2147483647 h 1305"/>
                <a:gd name="T104" fmla="*/ 2147483647 w 973"/>
                <a:gd name="T105" fmla="*/ 2147483647 h 1305"/>
                <a:gd name="T106" fmla="*/ 2147483647 w 973"/>
                <a:gd name="T107" fmla="*/ 2147483647 h 1305"/>
                <a:gd name="T108" fmla="*/ 2147483647 w 973"/>
                <a:gd name="T109" fmla="*/ 2147483647 h 1305"/>
                <a:gd name="T110" fmla="*/ 2147483647 w 973"/>
                <a:gd name="T111" fmla="*/ 2147483647 h 1305"/>
                <a:gd name="T112" fmla="*/ 2147483647 w 973"/>
                <a:gd name="T113" fmla="*/ 2147483647 h 1305"/>
                <a:gd name="T114" fmla="*/ 2147483647 w 973"/>
                <a:gd name="T115" fmla="*/ 2147483647 h 1305"/>
                <a:gd name="T116" fmla="*/ 2147483647 w 973"/>
                <a:gd name="T117" fmla="*/ 2147483647 h 1305"/>
                <a:gd name="T118" fmla="*/ 2147483647 w 973"/>
                <a:gd name="T119" fmla="*/ 2147483647 h 1305"/>
                <a:gd name="T120" fmla="*/ 2147483647 w 973"/>
                <a:gd name="T121" fmla="*/ 2147483647 h 1305"/>
                <a:gd name="T122" fmla="*/ 2147483647 w 973"/>
                <a:gd name="T123" fmla="*/ 2147483647 h 1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3"/>
                <a:gd name="T187" fmla="*/ 0 h 1305"/>
                <a:gd name="T188" fmla="*/ 973 w 973"/>
                <a:gd name="T189" fmla="*/ 1305 h 1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3" h="1305">
                  <a:moveTo>
                    <a:pt x="962" y="849"/>
                  </a:moveTo>
                  <a:lnTo>
                    <a:pt x="922" y="849"/>
                  </a:lnTo>
                  <a:lnTo>
                    <a:pt x="880" y="849"/>
                  </a:lnTo>
                  <a:lnTo>
                    <a:pt x="842" y="849"/>
                  </a:lnTo>
                  <a:lnTo>
                    <a:pt x="805" y="849"/>
                  </a:lnTo>
                  <a:lnTo>
                    <a:pt x="768" y="849"/>
                  </a:lnTo>
                  <a:lnTo>
                    <a:pt x="726" y="849"/>
                  </a:lnTo>
                  <a:lnTo>
                    <a:pt x="686" y="849"/>
                  </a:lnTo>
                  <a:lnTo>
                    <a:pt x="683" y="843"/>
                  </a:lnTo>
                  <a:lnTo>
                    <a:pt x="691" y="846"/>
                  </a:lnTo>
                  <a:lnTo>
                    <a:pt x="686" y="826"/>
                  </a:lnTo>
                  <a:lnTo>
                    <a:pt x="672" y="816"/>
                  </a:lnTo>
                  <a:lnTo>
                    <a:pt x="682" y="806"/>
                  </a:lnTo>
                  <a:lnTo>
                    <a:pt x="703" y="804"/>
                  </a:lnTo>
                  <a:lnTo>
                    <a:pt x="693" y="795"/>
                  </a:lnTo>
                  <a:lnTo>
                    <a:pt x="695" y="781"/>
                  </a:lnTo>
                  <a:lnTo>
                    <a:pt x="685" y="770"/>
                  </a:lnTo>
                  <a:lnTo>
                    <a:pt x="679" y="773"/>
                  </a:lnTo>
                  <a:lnTo>
                    <a:pt x="677" y="789"/>
                  </a:lnTo>
                  <a:lnTo>
                    <a:pt x="668" y="790"/>
                  </a:lnTo>
                  <a:lnTo>
                    <a:pt x="667" y="811"/>
                  </a:lnTo>
                  <a:lnTo>
                    <a:pt x="672" y="823"/>
                  </a:lnTo>
                  <a:lnTo>
                    <a:pt x="671" y="838"/>
                  </a:lnTo>
                  <a:lnTo>
                    <a:pt x="665" y="839"/>
                  </a:lnTo>
                  <a:lnTo>
                    <a:pt x="662" y="852"/>
                  </a:lnTo>
                  <a:lnTo>
                    <a:pt x="660" y="860"/>
                  </a:lnTo>
                  <a:lnTo>
                    <a:pt x="664" y="867"/>
                  </a:lnTo>
                  <a:lnTo>
                    <a:pt x="651" y="879"/>
                  </a:lnTo>
                  <a:lnTo>
                    <a:pt x="645" y="866"/>
                  </a:lnTo>
                  <a:lnTo>
                    <a:pt x="651" y="861"/>
                  </a:lnTo>
                  <a:lnTo>
                    <a:pt x="628" y="837"/>
                  </a:lnTo>
                  <a:lnTo>
                    <a:pt x="613" y="834"/>
                  </a:lnTo>
                  <a:lnTo>
                    <a:pt x="608" y="845"/>
                  </a:lnTo>
                  <a:lnTo>
                    <a:pt x="600" y="841"/>
                  </a:lnTo>
                  <a:lnTo>
                    <a:pt x="598" y="845"/>
                  </a:lnTo>
                  <a:lnTo>
                    <a:pt x="587" y="840"/>
                  </a:lnTo>
                  <a:lnTo>
                    <a:pt x="587" y="834"/>
                  </a:lnTo>
                  <a:lnTo>
                    <a:pt x="578" y="827"/>
                  </a:lnTo>
                  <a:lnTo>
                    <a:pt x="576" y="839"/>
                  </a:lnTo>
                  <a:lnTo>
                    <a:pt x="570" y="835"/>
                  </a:lnTo>
                  <a:lnTo>
                    <a:pt x="568" y="827"/>
                  </a:lnTo>
                  <a:lnTo>
                    <a:pt x="575" y="820"/>
                  </a:lnTo>
                  <a:lnTo>
                    <a:pt x="571" y="800"/>
                  </a:lnTo>
                  <a:lnTo>
                    <a:pt x="576" y="799"/>
                  </a:lnTo>
                  <a:lnTo>
                    <a:pt x="574" y="791"/>
                  </a:lnTo>
                  <a:lnTo>
                    <a:pt x="578" y="788"/>
                  </a:lnTo>
                  <a:lnTo>
                    <a:pt x="575" y="781"/>
                  </a:lnTo>
                  <a:lnTo>
                    <a:pt x="569" y="776"/>
                  </a:lnTo>
                  <a:lnTo>
                    <a:pt x="567" y="783"/>
                  </a:lnTo>
                  <a:lnTo>
                    <a:pt x="561" y="784"/>
                  </a:lnTo>
                  <a:lnTo>
                    <a:pt x="560" y="799"/>
                  </a:lnTo>
                  <a:lnTo>
                    <a:pt x="554" y="803"/>
                  </a:lnTo>
                  <a:lnTo>
                    <a:pt x="552" y="797"/>
                  </a:lnTo>
                  <a:lnTo>
                    <a:pt x="551" y="802"/>
                  </a:lnTo>
                  <a:lnTo>
                    <a:pt x="543" y="800"/>
                  </a:lnTo>
                  <a:lnTo>
                    <a:pt x="543" y="783"/>
                  </a:lnTo>
                  <a:lnTo>
                    <a:pt x="551" y="756"/>
                  </a:lnTo>
                  <a:lnTo>
                    <a:pt x="544" y="752"/>
                  </a:lnTo>
                  <a:lnTo>
                    <a:pt x="541" y="740"/>
                  </a:lnTo>
                  <a:lnTo>
                    <a:pt x="526" y="736"/>
                  </a:lnTo>
                  <a:lnTo>
                    <a:pt x="528" y="724"/>
                  </a:lnTo>
                  <a:lnTo>
                    <a:pt x="514" y="703"/>
                  </a:lnTo>
                  <a:lnTo>
                    <a:pt x="526" y="690"/>
                  </a:lnTo>
                  <a:lnTo>
                    <a:pt x="521" y="681"/>
                  </a:lnTo>
                  <a:lnTo>
                    <a:pt x="521" y="667"/>
                  </a:lnTo>
                  <a:lnTo>
                    <a:pt x="534" y="671"/>
                  </a:lnTo>
                  <a:lnTo>
                    <a:pt x="545" y="661"/>
                  </a:lnTo>
                  <a:lnTo>
                    <a:pt x="538" y="659"/>
                  </a:lnTo>
                  <a:lnTo>
                    <a:pt x="528" y="628"/>
                  </a:lnTo>
                  <a:lnTo>
                    <a:pt x="535" y="629"/>
                  </a:lnTo>
                  <a:lnTo>
                    <a:pt x="534" y="633"/>
                  </a:lnTo>
                  <a:lnTo>
                    <a:pt x="549" y="649"/>
                  </a:lnTo>
                  <a:lnTo>
                    <a:pt x="559" y="654"/>
                  </a:lnTo>
                  <a:lnTo>
                    <a:pt x="563" y="649"/>
                  </a:lnTo>
                  <a:lnTo>
                    <a:pt x="558" y="639"/>
                  </a:lnTo>
                  <a:lnTo>
                    <a:pt x="561" y="635"/>
                  </a:lnTo>
                  <a:lnTo>
                    <a:pt x="556" y="626"/>
                  </a:lnTo>
                  <a:lnTo>
                    <a:pt x="560" y="619"/>
                  </a:lnTo>
                  <a:lnTo>
                    <a:pt x="553" y="610"/>
                  </a:lnTo>
                  <a:lnTo>
                    <a:pt x="556" y="609"/>
                  </a:lnTo>
                  <a:lnTo>
                    <a:pt x="580" y="634"/>
                  </a:lnTo>
                  <a:lnTo>
                    <a:pt x="596" y="642"/>
                  </a:lnTo>
                  <a:lnTo>
                    <a:pt x="603" y="656"/>
                  </a:lnTo>
                  <a:lnTo>
                    <a:pt x="661" y="653"/>
                  </a:lnTo>
                  <a:lnTo>
                    <a:pt x="688" y="664"/>
                  </a:lnTo>
                  <a:lnTo>
                    <a:pt x="699" y="637"/>
                  </a:lnTo>
                  <a:lnTo>
                    <a:pt x="694" y="629"/>
                  </a:lnTo>
                  <a:lnTo>
                    <a:pt x="696" y="620"/>
                  </a:lnTo>
                  <a:lnTo>
                    <a:pt x="715" y="609"/>
                  </a:lnTo>
                  <a:lnTo>
                    <a:pt x="711" y="604"/>
                  </a:lnTo>
                  <a:lnTo>
                    <a:pt x="713" y="595"/>
                  </a:lnTo>
                  <a:lnTo>
                    <a:pt x="699" y="590"/>
                  </a:lnTo>
                  <a:lnTo>
                    <a:pt x="688" y="570"/>
                  </a:lnTo>
                  <a:lnTo>
                    <a:pt x="688" y="563"/>
                  </a:lnTo>
                  <a:lnTo>
                    <a:pt x="699" y="557"/>
                  </a:lnTo>
                  <a:lnTo>
                    <a:pt x="683" y="556"/>
                  </a:lnTo>
                  <a:lnTo>
                    <a:pt x="682" y="550"/>
                  </a:lnTo>
                  <a:lnTo>
                    <a:pt x="675" y="553"/>
                  </a:lnTo>
                  <a:lnTo>
                    <a:pt x="681" y="541"/>
                  </a:lnTo>
                  <a:lnTo>
                    <a:pt x="672" y="538"/>
                  </a:lnTo>
                  <a:lnTo>
                    <a:pt x="668" y="526"/>
                  </a:lnTo>
                  <a:lnTo>
                    <a:pt x="681" y="525"/>
                  </a:lnTo>
                  <a:lnTo>
                    <a:pt x="670" y="504"/>
                  </a:lnTo>
                  <a:lnTo>
                    <a:pt x="681" y="490"/>
                  </a:lnTo>
                  <a:lnTo>
                    <a:pt x="681" y="476"/>
                  </a:lnTo>
                  <a:lnTo>
                    <a:pt x="687" y="463"/>
                  </a:lnTo>
                  <a:lnTo>
                    <a:pt x="681" y="462"/>
                  </a:lnTo>
                  <a:lnTo>
                    <a:pt x="688" y="452"/>
                  </a:lnTo>
                  <a:lnTo>
                    <a:pt x="685" y="436"/>
                  </a:lnTo>
                  <a:lnTo>
                    <a:pt x="693" y="423"/>
                  </a:lnTo>
                  <a:lnTo>
                    <a:pt x="688" y="429"/>
                  </a:lnTo>
                  <a:lnTo>
                    <a:pt x="679" y="418"/>
                  </a:lnTo>
                  <a:lnTo>
                    <a:pt x="673" y="420"/>
                  </a:lnTo>
                  <a:lnTo>
                    <a:pt x="667" y="399"/>
                  </a:lnTo>
                  <a:lnTo>
                    <a:pt x="657" y="395"/>
                  </a:lnTo>
                  <a:lnTo>
                    <a:pt x="669" y="374"/>
                  </a:lnTo>
                  <a:lnTo>
                    <a:pt x="683" y="364"/>
                  </a:lnTo>
                  <a:lnTo>
                    <a:pt x="680" y="357"/>
                  </a:lnTo>
                  <a:lnTo>
                    <a:pt x="672" y="358"/>
                  </a:lnTo>
                  <a:lnTo>
                    <a:pt x="673" y="347"/>
                  </a:lnTo>
                  <a:lnTo>
                    <a:pt x="698" y="340"/>
                  </a:lnTo>
                  <a:lnTo>
                    <a:pt x="688" y="330"/>
                  </a:lnTo>
                  <a:lnTo>
                    <a:pt x="669" y="341"/>
                  </a:lnTo>
                  <a:lnTo>
                    <a:pt x="663" y="330"/>
                  </a:lnTo>
                  <a:lnTo>
                    <a:pt x="638" y="326"/>
                  </a:lnTo>
                  <a:lnTo>
                    <a:pt x="645" y="315"/>
                  </a:lnTo>
                  <a:lnTo>
                    <a:pt x="663" y="320"/>
                  </a:lnTo>
                  <a:lnTo>
                    <a:pt x="653" y="304"/>
                  </a:lnTo>
                  <a:lnTo>
                    <a:pt x="654" y="286"/>
                  </a:lnTo>
                  <a:lnTo>
                    <a:pt x="661" y="278"/>
                  </a:lnTo>
                  <a:lnTo>
                    <a:pt x="646" y="283"/>
                  </a:lnTo>
                  <a:lnTo>
                    <a:pt x="640" y="275"/>
                  </a:lnTo>
                  <a:lnTo>
                    <a:pt x="641" y="252"/>
                  </a:lnTo>
                  <a:lnTo>
                    <a:pt x="648" y="243"/>
                  </a:lnTo>
                  <a:lnTo>
                    <a:pt x="636" y="233"/>
                  </a:lnTo>
                  <a:lnTo>
                    <a:pt x="650" y="227"/>
                  </a:lnTo>
                  <a:lnTo>
                    <a:pt x="640" y="213"/>
                  </a:lnTo>
                  <a:lnTo>
                    <a:pt x="655" y="206"/>
                  </a:lnTo>
                  <a:lnTo>
                    <a:pt x="641" y="205"/>
                  </a:lnTo>
                  <a:lnTo>
                    <a:pt x="609" y="254"/>
                  </a:lnTo>
                  <a:lnTo>
                    <a:pt x="625" y="276"/>
                  </a:lnTo>
                  <a:lnTo>
                    <a:pt x="608" y="298"/>
                  </a:lnTo>
                  <a:lnTo>
                    <a:pt x="604" y="293"/>
                  </a:lnTo>
                  <a:lnTo>
                    <a:pt x="608" y="303"/>
                  </a:lnTo>
                  <a:lnTo>
                    <a:pt x="606" y="314"/>
                  </a:lnTo>
                  <a:lnTo>
                    <a:pt x="599" y="314"/>
                  </a:lnTo>
                  <a:lnTo>
                    <a:pt x="598" y="321"/>
                  </a:lnTo>
                  <a:lnTo>
                    <a:pt x="601" y="323"/>
                  </a:lnTo>
                  <a:lnTo>
                    <a:pt x="593" y="329"/>
                  </a:lnTo>
                  <a:lnTo>
                    <a:pt x="585" y="323"/>
                  </a:lnTo>
                  <a:lnTo>
                    <a:pt x="598" y="341"/>
                  </a:lnTo>
                  <a:lnTo>
                    <a:pt x="589" y="364"/>
                  </a:lnTo>
                  <a:lnTo>
                    <a:pt x="592" y="348"/>
                  </a:lnTo>
                  <a:lnTo>
                    <a:pt x="589" y="340"/>
                  </a:lnTo>
                  <a:lnTo>
                    <a:pt x="573" y="329"/>
                  </a:lnTo>
                  <a:lnTo>
                    <a:pt x="562" y="358"/>
                  </a:lnTo>
                  <a:lnTo>
                    <a:pt x="522" y="377"/>
                  </a:lnTo>
                  <a:lnTo>
                    <a:pt x="517" y="390"/>
                  </a:lnTo>
                  <a:lnTo>
                    <a:pt x="514" y="362"/>
                  </a:lnTo>
                  <a:lnTo>
                    <a:pt x="506" y="371"/>
                  </a:lnTo>
                  <a:lnTo>
                    <a:pt x="508" y="348"/>
                  </a:lnTo>
                  <a:lnTo>
                    <a:pt x="491" y="390"/>
                  </a:lnTo>
                  <a:lnTo>
                    <a:pt x="491" y="386"/>
                  </a:lnTo>
                  <a:lnTo>
                    <a:pt x="495" y="363"/>
                  </a:lnTo>
                  <a:lnTo>
                    <a:pt x="485" y="327"/>
                  </a:lnTo>
                  <a:lnTo>
                    <a:pt x="448" y="328"/>
                  </a:lnTo>
                  <a:lnTo>
                    <a:pt x="427" y="345"/>
                  </a:lnTo>
                  <a:lnTo>
                    <a:pt x="407" y="336"/>
                  </a:lnTo>
                  <a:lnTo>
                    <a:pt x="422" y="332"/>
                  </a:lnTo>
                  <a:lnTo>
                    <a:pt x="417" y="317"/>
                  </a:lnTo>
                  <a:lnTo>
                    <a:pt x="425" y="316"/>
                  </a:lnTo>
                  <a:lnTo>
                    <a:pt x="431" y="329"/>
                  </a:lnTo>
                  <a:lnTo>
                    <a:pt x="453" y="315"/>
                  </a:lnTo>
                  <a:lnTo>
                    <a:pt x="450" y="306"/>
                  </a:lnTo>
                  <a:lnTo>
                    <a:pt x="440" y="302"/>
                  </a:lnTo>
                  <a:lnTo>
                    <a:pt x="453" y="291"/>
                  </a:lnTo>
                  <a:lnTo>
                    <a:pt x="432" y="288"/>
                  </a:lnTo>
                  <a:lnTo>
                    <a:pt x="444" y="264"/>
                  </a:lnTo>
                  <a:lnTo>
                    <a:pt x="441" y="250"/>
                  </a:lnTo>
                  <a:lnTo>
                    <a:pt x="422" y="238"/>
                  </a:lnTo>
                  <a:lnTo>
                    <a:pt x="428" y="232"/>
                  </a:lnTo>
                  <a:lnTo>
                    <a:pt x="444" y="225"/>
                  </a:lnTo>
                  <a:lnTo>
                    <a:pt x="430" y="198"/>
                  </a:lnTo>
                  <a:lnTo>
                    <a:pt x="431" y="173"/>
                  </a:lnTo>
                  <a:lnTo>
                    <a:pt x="442" y="159"/>
                  </a:lnTo>
                  <a:lnTo>
                    <a:pt x="433" y="139"/>
                  </a:lnTo>
                  <a:lnTo>
                    <a:pt x="428" y="143"/>
                  </a:lnTo>
                  <a:lnTo>
                    <a:pt x="429" y="149"/>
                  </a:lnTo>
                  <a:lnTo>
                    <a:pt x="413" y="157"/>
                  </a:lnTo>
                  <a:lnTo>
                    <a:pt x="404" y="138"/>
                  </a:lnTo>
                  <a:lnTo>
                    <a:pt x="377" y="146"/>
                  </a:lnTo>
                  <a:lnTo>
                    <a:pt x="370" y="130"/>
                  </a:lnTo>
                  <a:lnTo>
                    <a:pt x="348" y="132"/>
                  </a:lnTo>
                  <a:lnTo>
                    <a:pt x="350" y="123"/>
                  </a:lnTo>
                  <a:lnTo>
                    <a:pt x="339" y="116"/>
                  </a:lnTo>
                  <a:lnTo>
                    <a:pt x="337" y="105"/>
                  </a:lnTo>
                  <a:lnTo>
                    <a:pt x="349" y="93"/>
                  </a:lnTo>
                  <a:lnTo>
                    <a:pt x="338" y="87"/>
                  </a:lnTo>
                  <a:lnTo>
                    <a:pt x="322" y="97"/>
                  </a:lnTo>
                  <a:lnTo>
                    <a:pt x="321" y="90"/>
                  </a:lnTo>
                  <a:lnTo>
                    <a:pt x="327" y="86"/>
                  </a:lnTo>
                  <a:lnTo>
                    <a:pt x="320" y="75"/>
                  </a:lnTo>
                  <a:lnTo>
                    <a:pt x="320" y="62"/>
                  </a:lnTo>
                  <a:lnTo>
                    <a:pt x="307" y="60"/>
                  </a:lnTo>
                  <a:lnTo>
                    <a:pt x="305" y="71"/>
                  </a:lnTo>
                  <a:lnTo>
                    <a:pt x="296" y="72"/>
                  </a:lnTo>
                  <a:lnTo>
                    <a:pt x="306" y="52"/>
                  </a:lnTo>
                  <a:lnTo>
                    <a:pt x="303" y="41"/>
                  </a:lnTo>
                  <a:lnTo>
                    <a:pt x="252" y="11"/>
                  </a:lnTo>
                  <a:lnTo>
                    <a:pt x="216" y="31"/>
                  </a:lnTo>
                  <a:lnTo>
                    <a:pt x="213" y="39"/>
                  </a:lnTo>
                  <a:lnTo>
                    <a:pt x="198" y="40"/>
                  </a:lnTo>
                  <a:lnTo>
                    <a:pt x="200" y="34"/>
                  </a:lnTo>
                  <a:lnTo>
                    <a:pt x="197" y="29"/>
                  </a:lnTo>
                  <a:lnTo>
                    <a:pt x="175" y="35"/>
                  </a:lnTo>
                  <a:lnTo>
                    <a:pt x="176" y="27"/>
                  </a:lnTo>
                  <a:lnTo>
                    <a:pt x="146" y="13"/>
                  </a:lnTo>
                  <a:lnTo>
                    <a:pt x="94" y="7"/>
                  </a:lnTo>
                  <a:lnTo>
                    <a:pt x="93" y="0"/>
                  </a:lnTo>
                  <a:lnTo>
                    <a:pt x="63" y="36"/>
                  </a:lnTo>
                  <a:lnTo>
                    <a:pt x="64" y="57"/>
                  </a:lnTo>
                  <a:lnTo>
                    <a:pt x="69" y="75"/>
                  </a:lnTo>
                  <a:lnTo>
                    <a:pt x="87" y="88"/>
                  </a:lnTo>
                  <a:lnTo>
                    <a:pt x="97" y="80"/>
                  </a:lnTo>
                  <a:lnTo>
                    <a:pt x="96" y="94"/>
                  </a:lnTo>
                  <a:lnTo>
                    <a:pt x="83" y="110"/>
                  </a:lnTo>
                  <a:lnTo>
                    <a:pt x="83" y="120"/>
                  </a:lnTo>
                  <a:lnTo>
                    <a:pt x="66" y="152"/>
                  </a:lnTo>
                  <a:lnTo>
                    <a:pt x="66" y="161"/>
                  </a:lnTo>
                  <a:lnTo>
                    <a:pt x="72" y="167"/>
                  </a:lnTo>
                  <a:lnTo>
                    <a:pt x="95" y="169"/>
                  </a:lnTo>
                  <a:lnTo>
                    <a:pt x="81" y="174"/>
                  </a:lnTo>
                  <a:lnTo>
                    <a:pt x="86" y="182"/>
                  </a:lnTo>
                  <a:lnTo>
                    <a:pt x="83" y="197"/>
                  </a:lnTo>
                  <a:lnTo>
                    <a:pt x="96" y="219"/>
                  </a:lnTo>
                  <a:lnTo>
                    <a:pt x="94" y="226"/>
                  </a:lnTo>
                  <a:lnTo>
                    <a:pt x="85" y="227"/>
                  </a:lnTo>
                  <a:lnTo>
                    <a:pt x="85" y="234"/>
                  </a:lnTo>
                  <a:lnTo>
                    <a:pt x="108" y="234"/>
                  </a:lnTo>
                  <a:lnTo>
                    <a:pt x="100" y="245"/>
                  </a:lnTo>
                  <a:lnTo>
                    <a:pt x="98" y="258"/>
                  </a:lnTo>
                  <a:lnTo>
                    <a:pt x="114" y="267"/>
                  </a:lnTo>
                  <a:lnTo>
                    <a:pt x="98" y="270"/>
                  </a:lnTo>
                  <a:lnTo>
                    <a:pt x="85" y="264"/>
                  </a:lnTo>
                  <a:lnTo>
                    <a:pt x="81" y="273"/>
                  </a:lnTo>
                  <a:lnTo>
                    <a:pt x="85" y="295"/>
                  </a:lnTo>
                  <a:lnTo>
                    <a:pt x="40" y="310"/>
                  </a:lnTo>
                  <a:lnTo>
                    <a:pt x="41" y="330"/>
                  </a:lnTo>
                  <a:lnTo>
                    <a:pt x="39" y="333"/>
                  </a:lnTo>
                  <a:lnTo>
                    <a:pt x="72" y="368"/>
                  </a:lnTo>
                  <a:lnTo>
                    <a:pt x="94" y="376"/>
                  </a:lnTo>
                  <a:lnTo>
                    <a:pt x="123" y="481"/>
                  </a:lnTo>
                  <a:lnTo>
                    <a:pt x="128" y="533"/>
                  </a:lnTo>
                  <a:lnTo>
                    <a:pt x="140" y="513"/>
                  </a:lnTo>
                  <a:lnTo>
                    <a:pt x="147" y="536"/>
                  </a:lnTo>
                  <a:lnTo>
                    <a:pt x="151" y="537"/>
                  </a:lnTo>
                  <a:lnTo>
                    <a:pt x="141" y="548"/>
                  </a:lnTo>
                  <a:lnTo>
                    <a:pt x="124" y="546"/>
                  </a:lnTo>
                  <a:lnTo>
                    <a:pt x="90" y="602"/>
                  </a:lnTo>
                  <a:lnTo>
                    <a:pt x="78" y="617"/>
                  </a:lnTo>
                  <a:lnTo>
                    <a:pt x="0" y="666"/>
                  </a:lnTo>
                  <a:lnTo>
                    <a:pt x="14" y="675"/>
                  </a:lnTo>
                  <a:lnTo>
                    <a:pt x="32" y="711"/>
                  </a:lnTo>
                  <a:lnTo>
                    <a:pt x="39" y="790"/>
                  </a:lnTo>
                  <a:lnTo>
                    <a:pt x="42" y="793"/>
                  </a:lnTo>
                  <a:lnTo>
                    <a:pt x="39" y="800"/>
                  </a:lnTo>
                  <a:lnTo>
                    <a:pt x="43" y="814"/>
                  </a:lnTo>
                  <a:lnTo>
                    <a:pt x="59" y="831"/>
                  </a:lnTo>
                  <a:lnTo>
                    <a:pt x="77" y="830"/>
                  </a:lnTo>
                  <a:lnTo>
                    <a:pt x="72" y="835"/>
                  </a:lnTo>
                  <a:lnTo>
                    <a:pt x="58" y="834"/>
                  </a:lnTo>
                  <a:lnTo>
                    <a:pt x="39" y="860"/>
                  </a:lnTo>
                  <a:lnTo>
                    <a:pt x="29" y="861"/>
                  </a:lnTo>
                  <a:lnTo>
                    <a:pt x="46" y="882"/>
                  </a:lnTo>
                  <a:lnTo>
                    <a:pt x="42" y="895"/>
                  </a:lnTo>
                  <a:lnTo>
                    <a:pt x="36" y="899"/>
                  </a:lnTo>
                  <a:lnTo>
                    <a:pt x="32" y="901"/>
                  </a:lnTo>
                  <a:lnTo>
                    <a:pt x="29" y="886"/>
                  </a:lnTo>
                  <a:lnTo>
                    <a:pt x="19" y="875"/>
                  </a:lnTo>
                  <a:lnTo>
                    <a:pt x="8" y="877"/>
                  </a:lnTo>
                  <a:lnTo>
                    <a:pt x="6" y="886"/>
                  </a:lnTo>
                  <a:lnTo>
                    <a:pt x="6" y="895"/>
                  </a:lnTo>
                  <a:lnTo>
                    <a:pt x="6" y="927"/>
                  </a:lnTo>
                  <a:lnTo>
                    <a:pt x="6" y="989"/>
                  </a:lnTo>
                  <a:lnTo>
                    <a:pt x="6" y="1052"/>
                  </a:lnTo>
                  <a:lnTo>
                    <a:pt x="6" y="1110"/>
                  </a:lnTo>
                  <a:lnTo>
                    <a:pt x="6" y="1152"/>
                  </a:lnTo>
                  <a:lnTo>
                    <a:pt x="11" y="1163"/>
                  </a:lnTo>
                  <a:lnTo>
                    <a:pt x="11" y="1173"/>
                  </a:lnTo>
                  <a:lnTo>
                    <a:pt x="23" y="1191"/>
                  </a:lnTo>
                  <a:lnTo>
                    <a:pt x="32" y="1211"/>
                  </a:lnTo>
                  <a:lnTo>
                    <a:pt x="42" y="1221"/>
                  </a:lnTo>
                  <a:lnTo>
                    <a:pt x="92" y="1232"/>
                  </a:lnTo>
                  <a:lnTo>
                    <a:pt x="105" y="1246"/>
                  </a:lnTo>
                  <a:lnTo>
                    <a:pt x="125" y="1249"/>
                  </a:lnTo>
                  <a:lnTo>
                    <a:pt x="132" y="1268"/>
                  </a:lnTo>
                  <a:lnTo>
                    <a:pt x="144" y="1275"/>
                  </a:lnTo>
                  <a:lnTo>
                    <a:pt x="155" y="1272"/>
                  </a:lnTo>
                  <a:lnTo>
                    <a:pt x="166" y="1280"/>
                  </a:lnTo>
                  <a:lnTo>
                    <a:pt x="191" y="1267"/>
                  </a:lnTo>
                  <a:lnTo>
                    <a:pt x="217" y="1263"/>
                  </a:lnTo>
                  <a:lnTo>
                    <a:pt x="227" y="1270"/>
                  </a:lnTo>
                  <a:lnTo>
                    <a:pt x="224" y="1284"/>
                  </a:lnTo>
                  <a:lnTo>
                    <a:pt x="231" y="1291"/>
                  </a:lnTo>
                  <a:lnTo>
                    <a:pt x="214" y="1305"/>
                  </a:lnTo>
                  <a:lnTo>
                    <a:pt x="308" y="1305"/>
                  </a:lnTo>
                  <a:lnTo>
                    <a:pt x="351" y="1305"/>
                  </a:lnTo>
                  <a:lnTo>
                    <a:pt x="358" y="1289"/>
                  </a:lnTo>
                  <a:lnTo>
                    <a:pt x="370" y="1287"/>
                  </a:lnTo>
                  <a:lnTo>
                    <a:pt x="392" y="1285"/>
                  </a:lnTo>
                  <a:lnTo>
                    <a:pt x="392" y="1274"/>
                  </a:lnTo>
                  <a:lnTo>
                    <a:pt x="401" y="1264"/>
                  </a:lnTo>
                  <a:lnTo>
                    <a:pt x="403" y="1237"/>
                  </a:lnTo>
                  <a:lnTo>
                    <a:pt x="415" y="1210"/>
                  </a:lnTo>
                  <a:lnTo>
                    <a:pt x="418" y="1191"/>
                  </a:lnTo>
                  <a:lnTo>
                    <a:pt x="439" y="1156"/>
                  </a:lnTo>
                  <a:lnTo>
                    <a:pt x="449" y="1153"/>
                  </a:lnTo>
                  <a:lnTo>
                    <a:pt x="458" y="1163"/>
                  </a:lnTo>
                  <a:lnTo>
                    <a:pt x="479" y="1153"/>
                  </a:lnTo>
                  <a:lnTo>
                    <a:pt x="487" y="1145"/>
                  </a:lnTo>
                  <a:lnTo>
                    <a:pt x="488" y="1121"/>
                  </a:lnTo>
                  <a:lnTo>
                    <a:pt x="498" y="1121"/>
                  </a:lnTo>
                  <a:lnTo>
                    <a:pt x="498" y="1116"/>
                  </a:lnTo>
                  <a:lnTo>
                    <a:pt x="521" y="1116"/>
                  </a:lnTo>
                  <a:lnTo>
                    <a:pt x="531" y="1126"/>
                  </a:lnTo>
                  <a:lnTo>
                    <a:pt x="549" y="1123"/>
                  </a:lnTo>
                  <a:lnTo>
                    <a:pt x="553" y="1116"/>
                  </a:lnTo>
                  <a:lnTo>
                    <a:pt x="580" y="1113"/>
                  </a:lnTo>
                  <a:lnTo>
                    <a:pt x="601" y="1120"/>
                  </a:lnTo>
                  <a:lnTo>
                    <a:pt x="600" y="1104"/>
                  </a:lnTo>
                  <a:lnTo>
                    <a:pt x="626" y="1111"/>
                  </a:lnTo>
                  <a:lnTo>
                    <a:pt x="667" y="1081"/>
                  </a:lnTo>
                  <a:lnTo>
                    <a:pt x="667" y="1069"/>
                  </a:lnTo>
                  <a:lnTo>
                    <a:pt x="663" y="1062"/>
                  </a:lnTo>
                  <a:lnTo>
                    <a:pt x="669" y="1064"/>
                  </a:lnTo>
                  <a:lnTo>
                    <a:pt x="664" y="1050"/>
                  </a:lnTo>
                  <a:lnTo>
                    <a:pt x="633" y="1034"/>
                  </a:lnTo>
                  <a:lnTo>
                    <a:pt x="610" y="1031"/>
                  </a:lnTo>
                  <a:lnTo>
                    <a:pt x="567" y="1038"/>
                  </a:lnTo>
                  <a:lnTo>
                    <a:pt x="469" y="1090"/>
                  </a:lnTo>
                  <a:lnTo>
                    <a:pt x="438" y="1117"/>
                  </a:lnTo>
                  <a:lnTo>
                    <a:pt x="428" y="1137"/>
                  </a:lnTo>
                  <a:lnTo>
                    <a:pt x="390" y="1181"/>
                  </a:lnTo>
                  <a:lnTo>
                    <a:pt x="370" y="1188"/>
                  </a:lnTo>
                  <a:lnTo>
                    <a:pt x="412" y="1149"/>
                  </a:lnTo>
                  <a:lnTo>
                    <a:pt x="429" y="1116"/>
                  </a:lnTo>
                  <a:lnTo>
                    <a:pt x="428" y="1104"/>
                  </a:lnTo>
                  <a:lnTo>
                    <a:pt x="446" y="1096"/>
                  </a:lnTo>
                  <a:lnTo>
                    <a:pt x="469" y="1061"/>
                  </a:lnTo>
                  <a:lnTo>
                    <a:pt x="491" y="1038"/>
                  </a:lnTo>
                  <a:lnTo>
                    <a:pt x="504" y="1030"/>
                  </a:lnTo>
                  <a:lnTo>
                    <a:pt x="537" y="1026"/>
                  </a:lnTo>
                  <a:lnTo>
                    <a:pt x="547" y="997"/>
                  </a:lnTo>
                  <a:lnTo>
                    <a:pt x="559" y="980"/>
                  </a:lnTo>
                  <a:lnTo>
                    <a:pt x="565" y="978"/>
                  </a:lnTo>
                  <a:lnTo>
                    <a:pt x="575" y="976"/>
                  </a:lnTo>
                  <a:lnTo>
                    <a:pt x="580" y="968"/>
                  </a:lnTo>
                  <a:lnTo>
                    <a:pt x="659" y="962"/>
                  </a:lnTo>
                  <a:lnTo>
                    <a:pt x="770" y="967"/>
                  </a:lnTo>
                  <a:lnTo>
                    <a:pt x="783" y="977"/>
                  </a:lnTo>
                  <a:lnTo>
                    <a:pt x="835" y="966"/>
                  </a:lnTo>
                  <a:lnTo>
                    <a:pt x="845" y="955"/>
                  </a:lnTo>
                  <a:lnTo>
                    <a:pt x="841" y="964"/>
                  </a:lnTo>
                  <a:lnTo>
                    <a:pt x="850" y="968"/>
                  </a:lnTo>
                  <a:lnTo>
                    <a:pt x="867" y="953"/>
                  </a:lnTo>
                  <a:lnTo>
                    <a:pt x="875" y="948"/>
                  </a:lnTo>
                  <a:lnTo>
                    <a:pt x="898" y="913"/>
                  </a:lnTo>
                  <a:lnTo>
                    <a:pt x="902" y="914"/>
                  </a:lnTo>
                  <a:lnTo>
                    <a:pt x="920" y="895"/>
                  </a:lnTo>
                  <a:lnTo>
                    <a:pt x="973" y="886"/>
                  </a:lnTo>
                  <a:lnTo>
                    <a:pt x="973" y="849"/>
                  </a:lnTo>
                  <a:lnTo>
                    <a:pt x="962" y="849"/>
                  </a:lnTo>
                  <a:close/>
                </a:path>
              </a:pathLst>
            </a:custGeom>
            <a:grpFill/>
            <a:ln w="6350">
              <a:solidFill>
                <a:schemeClr val="tx2"/>
              </a:solidFill>
              <a:round/>
              <a:headEnd/>
              <a:tailEnd/>
            </a:ln>
          </p:spPr>
          <p:txBody>
            <a:bodyPr/>
            <a:lstStyle/>
            <a:p>
              <a:endParaRPr lang="en-US"/>
            </a:p>
          </p:txBody>
        </p:sp>
        <p:sp>
          <p:nvSpPr>
            <p:cNvPr id="228" name="Freeform 1128"/>
            <p:cNvSpPr>
              <a:spLocks/>
            </p:cNvSpPr>
            <p:nvPr/>
          </p:nvSpPr>
          <p:spPr bwMode="auto">
            <a:xfrm>
              <a:off x="2665799" y="3563899"/>
              <a:ext cx="39445" cy="75856"/>
            </a:xfrm>
            <a:custGeom>
              <a:avLst/>
              <a:gdLst>
                <a:gd name="T0" fmla="*/ 2147483647 w 79"/>
                <a:gd name="T1" fmla="*/ 2147483647 h 151"/>
                <a:gd name="T2" fmla="*/ 2147483647 w 79"/>
                <a:gd name="T3" fmla="*/ 2147483647 h 151"/>
                <a:gd name="T4" fmla="*/ 2147483647 w 79"/>
                <a:gd name="T5" fmla="*/ 2147483647 h 151"/>
                <a:gd name="T6" fmla="*/ 2147483647 w 79"/>
                <a:gd name="T7" fmla="*/ 0 h 151"/>
                <a:gd name="T8" fmla="*/ 2147483647 w 79"/>
                <a:gd name="T9" fmla="*/ 2147483647 h 151"/>
                <a:gd name="T10" fmla="*/ 2147483647 w 79"/>
                <a:gd name="T11" fmla="*/ 2147483647 h 151"/>
                <a:gd name="T12" fmla="*/ 2147483647 w 79"/>
                <a:gd name="T13" fmla="*/ 2147483647 h 151"/>
                <a:gd name="T14" fmla="*/ 2147483647 w 79"/>
                <a:gd name="T15" fmla="*/ 2147483647 h 151"/>
                <a:gd name="T16" fmla="*/ 2147483647 w 79"/>
                <a:gd name="T17" fmla="*/ 2147483647 h 151"/>
                <a:gd name="T18" fmla="*/ 2147483647 w 79"/>
                <a:gd name="T19" fmla="*/ 2147483647 h 151"/>
                <a:gd name="T20" fmla="*/ 2147483647 w 79"/>
                <a:gd name="T21" fmla="*/ 2147483647 h 151"/>
                <a:gd name="T22" fmla="*/ 2147483647 w 79"/>
                <a:gd name="T23" fmla="*/ 2147483647 h 151"/>
                <a:gd name="T24" fmla="*/ 0 w 79"/>
                <a:gd name="T25" fmla="*/ 2147483647 h 151"/>
                <a:gd name="T26" fmla="*/ 2147483647 w 79"/>
                <a:gd name="T27" fmla="*/ 2147483647 h 151"/>
                <a:gd name="T28" fmla="*/ 2147483647 w 79"/>
                <a:gd name="T29" fmla="*/ 2147483647 h 151"/>
                <a:gd name="T30" fmla="*/ 2147483647 w 79"/>
                <a:gd name="T31" fmla="*/ 2147483647 h 151"/>
                <a:gd name="T32" fmla="*/ 2147483647 w 79"/>
                <a:gd name="T33" fmla="*/ 2147483647 h 151"/>
                <a:gd name="T34" fmla="*/ 2147483647 w 79"/>
                <a:gd name="T35" fmla="*/ 2147483647 h 1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9"/>
                <a:gd name="T55" fmla="*/ 0 h 151"/>
                <a:gd name="T56" fmla="*/ 79 w 79"/>
                <a:gd name="T57" fmla="*/ 151 h 1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9" h="151">
                  <a:moveTo>
                    <a:pt x="79" y="131"/>
                  </a:moveTo>
                  <a:lnTo>
                    <a:pt x="68" y="111"/>
                  </a:lnTo>
                  <a:lnTo>
                    <a:pt x="66" y="58"/>
                  </a:lnTo>
                  <a:lnTo>
                    <a:pt x="64" y="0"/>
                  </a:lnTo>
                  <a:lnTo>
                    <a:pt x="52" y="2"/>
                  </a:lnTo>
                  <a:lnTo>
                    <a:pt x="45" y="18"/>
                  </a:lnTo>
                  <a:lnTo>
                    <a:pt x="46" y="22"/>
                  </a:lnTo>
                  <a:lnTo>
                    <a:pt x="40" y="31"/>
                  </a:lnTo>
                  <a:lnTo>
                    <a:pt x="42" y="45"/>
                  </a:lnTo>
                  <a:lnTo>
                    <a:pt x="24" y="58"/>
                  </a:lnTo>
                  <a:lnTo>
                    <a:pt x="21" y="78"/>
                  </a:lnTo>
                  <a:lnTo>
                    <a:pt x="8" y="103"/>
                  </a:lnTo>
                  <a:lnTo>
                    <a:pt x="0" y="143"/>
                  </a:lnTo>
                  <a:lnTo>
                    <a:pt x="4" y="151"/>
                  </a:lnTo>
                  <a:lnTo>
                    <a:pt x="55" y="151"/>
                  </a:lnTo>
                  <a:lnTo>
                    <a:pt x="71" y="142"/>
                  </a:lnTo>
                  <a:lnTo>
                    <a:pt x="76" y="142"/>
                  </a:lnTo>
                  <a:lnTo>
                    <a:pt x="79" y="131"/>
                  </a:lnTo>
                  <a:close/>
                </a:path>
              </a:pathLst>
            </a:custGeom>
            <a:grpFill/>
            <a:ln w="6350">
              <a:solidFill>
                <a:schemeClr val="tx2"/>
              </a:solidFill>
              <a:round/>
              <a:headEnd/>
              <a:tailEnd/>
            </a:ln>
          </p:spPr>
          <p:txBody>
            <a:bodyPr/>
            <a:lstStyle/>
            <a:p>
              <a:endParaRPr lang="en-US"/>
            </a:p>
          </p:txBody>
        </p:sp>
        <p:sp>
          <p:nvSpPr>
            <p:cNvPr id="229" name="Freeform 1129"/>
            <p:cNvSpPr>
              <a:spLocks/>
            </p:cNvSpPr>
            <p:nvPr/>
          </p:nvSpPr>
          <p:spPr bwMode="auto">
            <a:xfrm>
              <a:off x="2697657" y="3498663"/>
              <a:ext cx="89510" cy="130472"/>
            </a:xfrm>
            <a:custGeom>
              <a:avLst/>
              <a:gdLst>
                <a:gd name="T0" fmla="*/ 2147483647 w 180"/>
                <a:gd name="T1" fmla="*/ 2147483647 h 265"/>
                <a:gd name="T2" fmla="*/ 0 w 180"/>
                <a:gd name="T3" fmla="*/ 2147483647 h 265"/>
                <a:gd name="T4" fmla="*/ 2147483647 w 180"/>
                <a:gd name="T5" fmla="*/ 2147483647 h 265"/>
                <a:gd name="T6" fmla="*/ 2147483647 w 180"/>
                <a:gd name="T7" fmla="*/ 2147483647 h 265"/>
                <a:gd name="T8" fmla="*/ 2147483647 w 180"/>
                <a:gd name="T9" fmla="*/ 2147483647 h 265"/>
                <a:gd name="T10" fmla="*/ 2147483647 w 180"/>
                <a:gd name="T11" fmla="*/ 2147483647 h 265"/>
                <a:gd name="T12" fmla="*/ 2147483647 w 180"/>
                <a:gd name="T13" fmla="*/ 2147483647 h 265"/>
                <a:gd name="T14" fmla="*/ 2147483647 w 180"/>
                <a:gd name="T15" fmla="*/ 2147483647 h 265"/>
                <a:gd name="T16" fmla="*/ 2147483647 w 180"/>
                <a:gd name="T17" fmla="*/ 2147483647 h 265"/>
                <a:gd name="T18" fmla="*/ 2147483647 w 180"/>
                <a:gd name="T19" fmla="*/ 0 h 265"/>
                <a:gd name="T20" fmla="*/ 2147483647 w 180"/>
                <a:gd name="T21" fmla="*/ 2147483647 h 265"/>
                <a:gd name="T22" fmla="*/ 2147483647 w 180"/>
                <a:gd name="T23" fmla="*/ 2147483647 h 265"/>
                <a:gd name="T24" fmla="*/ 2147483647 w 180"/>
                <a:gd name="T25" fmla="*/ 2147483647 h 265"/>
                <a:gd name="T26" fmla="*/ 2147483647 w 180"/>
                <a:gd name="T27" fmla="*/ 2147483647 h 265"/>
                <a:gd name="T28" fmla="*/ 2147483647 w 180"/>
                <a:gd name="T29" fmla="*/ 2147483647 h 265"/>
                <a:gd name="T30" fmla="*/ 2147483647 w 180"/>
                <a:gd name="T31" fmla="*/ 2147483647 h 265"/>
                <a:gd name="T32" fmla="*/ 2147483647 w 180"/>
                <a:gd name="T33" fmla="*/ 2147483647 h 265"/>
                <a:gd name="T34" fmla="*/ 2147483647 w 180"/>
                <a:gd name="T35" fmla="*/ 2147483647 h 265"/>
                <a:gd name="T36" fmla="*/ 2147483647 w 180"/>
                <a:gd name="T37" fmla="*/ 2147483647 h 265"/>
                <a:gd name="T38" fmla="*/ 2147483647 w 180"/>
                <a:gd name="T39" fmla="*/ 2147483647 h 265"/>
                <a:gd name="T40" fmla="*/ 2147483647 w 180"/>
                <a:gd name="T41" fmla="*/ 2147483647 h 265"/>
                <a:gd name="T42" fmla="*/ 2147483647 w 180"/>
                <a:gd name="T43" fmla="*/ 2147483647 h 265"/>
                <a:gd name="T44" fmla="*/ 2147483647 w 180"/>
                <a:gd name="T45" fmla="*/ 2147483647 h 265"/>
                <a:gd name="T46" fmla="*/ 2147483647 w 180"/>
                <a:gd name="T47" fmla="*/ 2147483647 h 265"/>
                <a:gd name="T48" fmla="*/ 2147483647 w 180"/>
                <a:gd name="T49" fmla="*/ 2147483647 h 265"/>
                <a:gd name="T50" fmla="*/ 2147483647 w 180"/>
                <a:gd name="T51" fmla="*/ 2147483647 h 265"/>
                <a:gd name="T52" fmla="*/ 2147483647 w 180"/>
                <a:gd name="T53" fmla="*/ 2147483647 h 265"/>
                <a:gd name="T54" fmla="*/ 2147483647 w 180"/>
                <a:gd name="T55" fmla="*/ 2147483647 h 265"/>
                <a:gd name="T56" fmla="*/ 2147483647 w 180"/>
                <a:gd name="T57" fmla="*/ 2147483647 h 265"/>
                <a:gd name="T58" fmla="*/ 2147483647 w 180"/>
                <a:gd name="T59" fmla="*/ 2147483647 h 265"/>
                <a:gd name="T60" fmla="*/ 2147483647 w 180"/>
                <a:gd name="T61" fmla="*/ 2147483647 h 265"/>
                <a:gd name="T62" fmla="*/ 2147483647 w 180"/>
                <a:gd name="T63" fmla="*/ 2147483647 h 265"/>
                <a:gd name="T64" fmla="*/ 2147483647 w 180"/>
                <a:gd name="T65" fmla="*/ 2147483647 h 265"/>
                <a:gd name="T66" fmla="*/ 2147483647 w 180"/>
                <a:gd name="T67" fmla="*/ 2147483647 h 265"/>
                <a:gd name="T68" fmla="*/ 2147483647 w 180"/>
                <a:gd name="T69" fmla="*/ 2147483647 h 265"/>
                <a:gd name="T70" fmla="*/ 2147483647 w 180"/>
                <a:gd name="T71" fmla="*/ 2147483647 h 265"/>
                <a:gd name="T72" fmla="*/ 2147483647 w 180"/>
                <a:gd name="T73" fmla="*/ 2147483647 h 265"/>
                <a:gd name="T74" fmla="*/ 2147483647 w 180"/>
                <a:gd name="T75" fmla="*/ 2147483647 h 265"/>
                <a:gd name="T76" fmla="*/ 2147483647 w 180"/>
                <a:gd name="T77" fmla="*/ 2147483647 h 265"/>
                <a:gd name="T78" fmla="*/ 2147483647 w 180"/>
                <a:gd name="T79" fmla="*/ 2147483647 h 265"/>
                <a:gd name="T80" fmla="*/ 2147483647 w 180"/>
                <a:gd name="T81" fmla="*/ 2147483647 h 265"/>
                <a:gd name="T82" fmla="*/ 2147483647 w 180"/>
                <a:gd name="T83" fmla="*/ 2147483647 h 2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0"/>
                <a:gd name="T127" fmla="*/ 0 h 265"/>
                <a:gd name="T128" fmla="*/ 180 w 180"/>
                <a:gd name="T129" fmla="*/ 265 h 2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0" h="265">
                  <a:moveTo>
                    <a:pt x="2" y="192"/>
                  </a:moveTo>
                  <a:lnTo>
                    <a:pt x="0" y="134"/>
                  </a:lnTo>
                  <a:lnTo>
                    <a:pt x="22" y="132"/>
                  </a:lnTo>
                  <a:lnTo>
                    <a:pt x="22" y="121"/>
                  </a:lnTo>
                  <a:lnTo>
                    <a:pt x="31" y="111"/>
                  </a:lnTo>
                  <a:lnTo>
                    <a:pt x="33" y="84"/>
                  </a:lnTo>
                  <a:lnTo>
                    <a:pt x="45" y="57"/>
                  </a:lnTo>
                  <a:lnTo>
                    <a:pt x="48" y="38"/>
                  </a:lnTo>
                  <a:lnTo>
                    <a:pt x="69" y="3"/>
                  </a:lnTo>
                  <a:lnTo>
                    <a:pt x="79" y="0"/>
                  </a:lnTo>
                  <a:lnTo>
                    <a:pt x="88" y="10"/>
                  </a:lnTo>
                  <a:lnTo>
                    <a:pt x="89" y="14"/>
                  </a:lnTo>
                  <a:lnTo>
                    <a:pt x="99" y="17"/>
                  </a:lnTo>
                  <a:lnTo>
                    <a:pt x="123" y="6"/>
                  </a:lnTo>
                  <a:lnTo>
                    <a:pt x="145" y="25"/>
                  </a:lnTo>
                  <a:lnTo>
                    <a:pt x="145" y="68"/>
                  </a:lnTo>
                  <a:lnTo>
                    <a:pt x="145" y="110"/>
                  </a:lnTo>
                  <a:lnTo>
                    <a:pt x="156" y="115"/>
                  </a:lnTo>
                  <a:lnTo>
                    <a:pt x="157" y="132"/>
                  </a:lnTo>
                  <a:lnTo>
                    <a:pt x="166" y="140"/>
                  </a:lnTo>
                  <a:lnTo>
                    <a:pt x="172" y="142"/>
                  </a:lnTo>
                  <a:lnTo>
                    <a:pt x="177" y="139"/>
                  </a:lnTo>
                  <a:lnTo>
                    <a:pt x="178" y="151"/>
                  </a:lnTo>
                  <a:lnTo>
                    <a:pt x="175" y="158"/>
                  </a:lnTo>
                  <a:lnTo>
                    <a:pt x="180" y="158"/>
                  </a:lnTo>
                  <a:lnTo>
                    <a:pt x="180" y="166"/>
                  </a:lnTo>
                  <a:lnTo>
                    <a:pt x="146" y="178"/>
                  </a:lnTo>
                  <a:lnTo>
                    <a:pt x="123" y="196"/>
                  </a:lnTo>
                  <a:lnTo>
                    <a:pt x="108" y="191"/>
                  </a:lnTo>
                  <a:lnTo>
                    <a:pt x="106" y="180"/>
                  </a:lnTo>
                  <a:lnTo>
                    <a:pt x="102" y="180"/>
                  </a:lnTo>
                  <a:lnTo>
                    <a:pt x="89" y="210"/>
                  </a:lnTo>
                  <a:lnTo>
                    <a:pt x="81" y="209"/>
                  </a:lnTo>
                  <a:lnTo>
                    <a:pt x="71" y="219"/>
                  </a:lnTo>
                  <a:lnTo>
                    <a:pt x="65" y="215"/>
                  </a:lnTo>
                  <a:lnTo>
                    <a:pt x="60" y="226"/>
                  </a:lnTo>
                  <a:lnTo>
                    <a:pt x="56" y="220"/>
                  </a:lnTo>
                  <a:lnTo>
                    <a:pt x="47" y="222"/>
                  </a:lnTo>
                  <a:lnTo>
                    <a:pt x="27" y="254"/>
                  </a:lnTo>
                  <a:lnTo>
                    <a:pt x="15" y="265"/>
                  </a:lnTo>
                  <a:lnTo>
                    <a:pt x="4" y="245"/>
                  </a:lnTo>
                  <a:lnTo>
                    <a:pt x="2" y="192"/>
                  </a:lnTo>
                  <a:close/>
                </a:path>
              </a:pathLst>
            </a:custGeom>
            <a:grpFill/>
            <a:ln w="6350">
              <a:solidFill>
                <a:schemeClr val="tx2"/>
              </a:solidFill>
              <a:round/>
              <a:headEnd/>
              <a:tailEnd/>
            </a:ln>
          </p:spPr>
          <p:txBody>
            <a:bodyPr/>
            <a:lstStyle/>
            <a:p>
              <a:endParaRPr lang="en-US"/>
            </a:p>
          </p:txBody>
        </p:sp>
        <p:sp>
          <p:nvSpPr>
            <p:cNvPr id="230" name="Freeform 1130"/>
            <p:cNvSpPr>
              <a:spLocks/>
            </p:cNvSpPr>
            <p:nvPr/>
          </p:nvSpPr>
          <p:spPr bwMode="auto">
            <a:xfrm>
              <a:off x="2741654" y="3477423"/>
              <a:ext cx="115300" cy="92543"/>
            </a:xfrm>
            <a:custGeom>
              <a:avLst/>
              <a:gdLst>
                <a:gd name="T0" fmla="*/ 2147483647 w 232"/>
                <a:gd name="T1" fmla="*/ 2147483647 h 184"/>
                <a:gd name="T2" fmla="*/ 2147483647 w 232"/>
                <a:gd name="T3" fmla="*/ 2147483647 h 184"/>
                <a:gd name="T4" fmla="*/ 2147483647 w 232"/>
                <a:gd name="T5" fmla="*/ 2147483647 h 184"/>
                <a:gd name="T6" fmla="*/ 2147483647 w 232"/>
                <a:gd name="T7" fmla="*/ 2147483647 h 184"/>
                <a:gd name="T8" fmla="*/ 2147483647 w 232"/>
                <a:gd name="T9" fmla="*/ 2147483647 h 184"/>
                <a:gd name="T10" fmla="*/ 2147483647 w 232"/>
                <a:gd name="T11" fmla="*/ 2147483647 h 184"/>
                <a:gd name="T12" fmla="*/ 2147483647 w 232"/>
                <a:gd name="T13" fmla="*/ 2147483647 h 184"/>
                <a:gd name="T14" fmla="*/ 2147483647 w 232"/>
                <a:gd name="T15" fmla="*/ 2147483647 h 184"/>
                <a:gd name="T16" fmla="*/ 2147483647 w 232"/>
                <a:gd name="T17" fmla="*/ 2147483647 h 184"/>
                <a:gd name="T18" fmla="*/ 2147483647 w 232"/>
                <a:gd name="T19" fmla="*/ 2147483647 h 184"/>
                <a:gd name="T20" fmla="*/ 2147483647 w 232"/>
                <a:gd name="T21" fmla="*/ 2147483647 h 184"/>
                <a:gd name="T22" fmla="*/ 2147483647 w 232"/>
                <a:gd name="T23" fmla="*/ 2147483647 h 184"/>
                <a:gd name="T24" fmla="*/ 2147483647 w 232"/>
                <a:gd name="T25" fmla="*/ 2147483647 h 184"/>
                <a:gd name="T26" fmla="*/ 2147483647 w 232"/>
                <a:gd name="T27" fmla="*/ 0 h 184"/>
                <a:gd name="T28" fmla="*/ 2147483647 w 232"/>
                <a:gd name="T29" fmla="*/ 2147483647 h 184"/>
                <a:gd name="T30" fmla="*/ 2147483647 w 232"/>
                <a:gd name="T31" fmla="*/ 2147483647 h 184"/>
                <a:gd name="T32" fmla="*/ 2147483647 w 232"/>
                <a:gd name="T33" fmla="*/ 2147483647 h 184"/>
                <a:gd name="T34" fmla="*/ 2147483647 w 232"/>
                <a:gd name="T35" fmla="*/ 2147483647 h 184"/>
                <a:gd name="T36" fmla="*/ 2147483647 w 232"/>
                <a:gd name="T37" fmla="*/ 2147483647 h 184"/>
                <a:gd name="T38" fmla="*/ 2147483647 w 232"/>
                <a:gd name="T39" fmla="*/ 2147483647 h 184"/>
                <a:gd name="T40" fmla="*/ 2147483647 w 232"/>
                <a:gd name="T41" fmla="*/ 2147483647 h 184"/>
                <a:gd name="T42" fmla="*/ 2147483647 w 232"/>
                <a:gd name="T43" fmla="*/ 2147483647 h 184"/>
                <a:gd name="T44" fmla="*/ 2147483647 w 232"/>
                <a:gd name="T45" fmla="*/ 2147483647 h 184"/>
                <a:gd name="T46" fmla="*/ 0 w 232"/>
                <a:gd name="T47" fmla="*/ 2147483647 h 184"/>
                <a:gd name="T48" fmla="*/ 2147483647 w 232"/>
                <a:gd name="T49" fmla="*/ 2147483647 h 184"/>
                <a:gd name="T50" fmla="*/ 2147483647 w 232"/>
                <a:gd name="T51" fmla="*/ 2147483647 h 184"/>
                <a:gd name="T52" fmla="*/ 2147483647 w 232"/>
                <a:gd name="T53" fmla="*/ 2147483647 h 184"/>
                <a:gd name="T54" fmla="*/ 2147483647 w 232"/>
                <a:gd name="T55" fmla="*/ 2147483647 h 184"/>
                <a:gd name="T56" fmla="*/ 2147483647 w 232"/>
                <a:gd name="T57" fmla="*/ 2147483647 h 184"/>
                <a:gd name="T58" fmla="*/ 2147483647 w 232"/>
                <a:gd name="T59" fmla="*/ 2147483647 h 184"/>
                <a:gd name="T60" fmla="*/ 2147483647 w 232"/>
                <a:gd name="T61" fmla="*/ 2147483647 h 184"/>
                <a:gd name="T62" fmla="*/ 2147483647 w 232"/>
                <a:gd name="T63" fmla="*/ 2147483647 h 184"/>
                <a:gd name="T64" fmla="*/ 2147483647 w 232"/>
                <a:gd name="T65" fmla="*/ 2147483647 h 184"/>
                <a:gd name="T66" fmla="*/ 2147483647 w 232"/>
                <a:gd name="T67" fmla="*/ 2147483647 h 184"/>
                <a:gd name="T68" fmla="*/ 2147483647 w 232"/>
                <a:gd name="T69" fmla="*/ 2147483647 h 184"/>
                <a:gd name="T70" fmla="*/ 2147483647 w 232"/>
                <a:gd name="T71" fmla="*/ 2147483647 h 184"/>
                <a:gd name="T72" fmla="*/ 2147483647 w 232"/>
                <a:gd name="T73" fmla="*/ 2147483647 h 184"/>
                <a:gd name="T74" fmla="*/ 2147483647 w 232"/>
                <a:gd name="T75" fmla="*/ 2147483647 h 184"/>
                <a:gd name="T76" fmla="*/ 2147483647 w 232"/>
                <a:gd name="T77" fmla="*/ 2147483647 h 184"/>
                <a:gd name="T78" fmla="*/ 2147483647 w 232"/>
                <a:gd name="T79" fmla="*/ 2147483647 h 184"/>
                <a:gd name="T80" fmla="*/ 2147483647 w 232"/>
                <a:gd name="T81" fmla="*/ 2147483647 h 184"/>
                <a:gd name="T82" fmla="*/ 2147483647 w 232"/>
                <a:gd name="T83" fmla="*/ 2147483647 h 184"/>
                <a:gd name="T84" fmla="*/ 2147483647 w 232"/>
                <a:gd name="T85" fmla="*/ 2147483647 h 184"/>
                <a:gd name="T86" fmla="*/ 2147483647 w 232"/>
                <a:gd name="T87" fmla="*/ 2147483647 h 184"/>
                <a:gd name="T88" fmla="*/ 2147483647 w 232"/>
                <a:gd name="T89" fmla="*/ 2147483647 h 184"/>
                <a:gd name="T90" fmla="*/ 2147483647 w 232"/>
                <a:gd name="T91" fmla="*/ 2147483647 h 1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2"/>
                <a:gd name="T139" fmla="*/ 0 h 184"/>
                <a:gd name="T140" fmla="*/ 232 w 232"/>
                <a:gd name="T141" fmla="*/ 184 h 1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2" h="184">
                  <a:moveTo>
                    <a:pt x="225" y="127"/>
                  </a:moveTo>
                  <a:lnTo>
                    <a:pt x="232" y="122"/>
                  </a:lnTo>
                  <a:lnTo>
                    <a:pt x="228" y="120"/>
                  </a:lnTo>
                  <a:lnTo>
                    <a:pt x="199" y="111"/>
                  </a:lnTo>
                  <a:lnTo>
                    <a:pt x="185" y="83"/>
                  </a:lnTo>
                  <a:lnTo>
                    <a:pt x="185" y="61"/>
                  </a:lnTo>
                  <a:lnTo>
                    <a:pt x="166" y="60"/>
                  </a:lnTo>
                  <a:lnTo>
                    <a:pt x="180" y="46"/>
                  </a:lnTo>
                  <a:lnTo>
                    <a:pt x="187" y="27"/>
                  </a:lnTo>
                  <a:lnTo>
                    <a:pt x="187" y="19"/>
                  </a:lnTo>
                  <a:lnTo>
                    <a:pt x="173" y="8"/>
                  </a:lnTo>
                  <a:lnTo>
                    <a:pt x="150" y="22"/>
                  </a:lnTo>
                  <a:lnTo>
                    <a:pt x="143" y="7"/>
                  </a:lnTo>
                  <a:lnTo>
                    <a:pt x="122" y="0"/>
                  </a:lnTo>
                  <a:lnTo>
                    <a:pt x="95" y="3"/>
                  </a:lnTo>
                  <a:lnTo>
                    <a:pt x="91" y="10"/>
                  </a:lnTo>
                  <a:lnTo>
                    <a:pt x="73" y="13"/>
                  </a:lnTo>
                  <a:lnTo>
                    <a:pt x="63" y="3"/>
                  </a:lnTo>
                  <a:lnTo>
                    <a:pt x="40" y="3"/>
                  </a:lnTo>
                  <a:lnTo>
                    <a:pt x="40" y="8"/>
                  </a:lnTo>
                  <a:lnTo>
                    <a:pt x="30" y="8"/>
                  </a:lnTo>
                  <a:lnTo>
                    <a:pt x="29" y="32"/>
                  </a:lnTo>
                  <a:lnTo>
                    <a:pt x="21" y="40"/>
                  </a:lnTo>
                  <a:lnTo>
                    <a:pt x="0" y="50"/>
                  </a:lnTo>
                  <a:lnTo>
                    <a:pt x="1" y="54"/>
                  </a:lnTo>
                  <a:lnTo>
                    <a:pt x="11" y="57"/>
                  </a:lnTo>
                  <a:lnTo>
                    <a:pt x="35" y="46"/>
                  </a:lnTo>
                  <a:lnTo>
                    <a:pt x="57" y="65"/>
                  </a:lnTo>
                  <a:lnTo>
                    <a:pt x="57" y="108"/>
                  </a:lnTo>
                  <a:lnTo>
                    <a:pt x="57" y="150"/>
                  </a:lnTo>
                  <a:lnTo>
                    <a:pt x="68" y="155"/>
                  </a:lnTo>
                  <a:lnTo>
                    <a:pt x="69" y="172"/>
                  </a:lnTo>
                  <a:lnTo>
                    <a:pt x="78" y="180"/>
                  </a:lnTo>
                  <a:lnTo>
                    <a:pt x="84" y="182"/>
                  </a:lnTo>
                  <a:lnTo>
                    <a:pt x="89" y="179"/>
                  </a:lnTo>
                  <a:lnTo>
                    <a:pt x="105" y="184"/>
                  </a:lnTo>
                  <a:lnTo>
                    <a:pt x="123" y="182"/>
                  </a:lnTo>
                  <a:lnTo>
                    <a:pt x="131" y="179"/>
                  </a:lnTo>
                  <a:lnTo>
                    <a:pt x="135" y="173"/>
                  </a:lnTo>
                  <a:lnTo>
                    <a:pt x="149" y="173"/>
                  </a:lnTo>
                  <a:lnTo>
                    <a:pt x="191" y="147"/>
                  </a:lnTo>
                  <a:lnTo>
                    <a:pt x="198" y="134"/>
                  </a:lnTo>
                  <a:lnTo>
                    <a:pt x="200" y="140"/>
                  </a:lnTo>
                  <a:lnTo>
                    <a:pt x="206" y="139"/>
                  </a:lnTo>
                  <a:lnTo>
                    <a:pt x="211" y="131"/>
                  </a:lnTo>
                  <a:lnTo>
                    <a:pt x="225" y="127"/>
                  </a:lnTo>
                  <a:close/>
                </a:path>
              </a:pathLst>
            </a:custGeom>
            <a:grpFill/>
            <a:ln w="6350">
              <a:solidFill>
                <a:schemeClr val="tx2"/>
              </a:solidFill>
              <a:round/>
              <a:headEnd/>
              <a:tailEnd/>
            </a:ln>
          </p:spPr>
          <p:txBody>
            <a:bodyPr/>
            <a:lstStyle/>
            <a:p>
              <a:endParaRPr lang="en-US"/>
            </a:p>
          </p:txBody>
        </p:sp>
        <p:sp>
          <p:nvSpPr>
            <p:cNvPr id="231" name="Freeform 1131"/>
            <p:cNvSpPr>
              <a:spLocks/>
            </p:cNvSpPr>
            <p:nvPr/>
          </p:nvSpPr>
          <p:spPr bwMode="auto">
            <a:xfrm>
              <a:off x="2805373" y="3541142"/>
              <a:ext cx="110749" cy="75856"/>
            </a:xfrm>
            <a:custGeom>
              <a:avLst/>
              <a:gdLst>
                <a:gd name="T0" fmla="*/ 2147483647 w 221"/>
                <a:gd name="T1" fmla="*/ 2147483647 h 153"/>
                <a:gd name="T2" fmla="*/ 2147483647 w 221"/>
                <a:gd name="T3" fmla="*/ 2147483647 h 153"/>
                <a:gd name="T4" fmla="*/ 2147483647 w 221"/>
                <a:gd name="T5" fmla="*/ 2147483647 h 153"/>
                <a:gd name="T6" fmla="*/ 2147483647 w 221"/>
                <a:gd name="T7" fmla="*/ 2147483647 h 153"/>
                <a:gd name="T8" fmla="*/ 2147483647 w 221"/>
                <a:gd name="T9" fmla="*/ 2147483647 h 153"/>
                <a:gd name="T10" fmla="*/ 2147483647 w 221"/>
                <a:gd name="T11" fmla="*/ 2147483647 h 153"/>
                <a:gd name="T12" fmla="*/ 2147483647 w 221"/>
                <a:gd name="T13" fmla="*/ 2147483647 h 153"/>
                <a:gd name="T14" fmla="*/ 2147483647 w 221"/>
                <a:gd name="T15" fmla="*/ 2147483647 h 153"/>
                <a:gd name="T16" fmla="*/ 2147483647 w 221"/>
                <a:gd name="T17" fmla="*/ 2147483647 h 153"/>
                <a:gd name="T18" fmla="*/ 2147483647 w 221"/>
                <a:gd name="T19" fmla="*/ 0 h 153"/>
                <a:gd name="T20" fmla="*/ 2147483647 w 221"/>
                <a:gd name="T21" fmla="*/ 2147483647 h 153"/>
                <a:gd name="T22" fmla="*/ 2147483647 w 221"/>
                <a:gd name="T23" fmla="*/ 2147483647 h 153"/>
                <a:gd name="T24" fmla="*/ 2147483647 w 221"/>
                <a:gd name="T25" fmla="*/ 2147483647 h 153"/>
                <a:gd name="T26" fmla="*/ 2147483647 w 221"/>
                <a:gd name="T27" fmla="*/ 2147483647 h 153"/>
                <a:gd name="T28" fmla="*/ 2147483647 w 221"/>
                <a:gd name="T29" fmla="*/ 2147483647 h 153"/>
                <a:gd name="T30" fmla="*/ 2147483647 w 221"/>
                <a:gd name="T31" fmla="*/ 2147483647 h 153"/>
                <a:gd name="T32" fmla="*/ 2147483647 w 221"/>
                <a:gd name="T33" fmla="*/ 2147483647 h 153"/>
                <a:gd name="T34" fmla="*/ 2147483647 w 221"/>
                <a:gd name="T35" fmla="*/ 2147483647 h 153"/>
                <a:gd name="T36" fmla="*/ 2147483647 w 221"/>
                <a:gd name="T37" fmla="*/ 2147483647 h 153"/>
                <a:gd name="T38" fmla="*/ 2147483647 w 221"/>
                <a:gd name="T39" fmla="*/ 2147483647 h 153"/>
                <a:gd name="T40" fmla="*/ 2147483647 w 221"/>
                <a:gd name="T41" fmla="*/ 2147483647 h 153"/>
                <a:gd name="T42" fmla="*/ 2147483647 w 221"/>
                <a:gd name="T43" fmla="*/ 2147483647 h 153"/>
                <a:gd name="T44" fmla="*/ 2147483647 w 221"/>
                <a:gd name="T45" fmla="*/ 2147483647 h 153"/>
                <a:gd name="T46" fmla="*/ 0 w 221"/>
                <a:gd name="T47" fmla="*/ 2147483647 h 153"/>
                <a:gd name="T48" fmla="*/ 2147483647 w 221"/>
                <a:gd name="T49" fmla="*/ 2147483647 h 153"/>
                <a:gd name="T50" fmla="*/ 2147483647 w 221"/>
                <a:gd name="T51" fmla="*/ 2147483647 h 153"/>
                <a:gd name="T52" fmla="*/ 2147483647 w 221"/>
                <a:gd name="T53" fmla="*/ 2147483647 h 153"/>
                <a:gd name="T54" fmla="*/ 2147483647 w 221"/>
                <a:gd name="T55" fmla="*/ 2147483647 h 153"/>
                <a:gd name="T56" fmla="*/ 2147483647 w 221"/>
                <a:gd name="T57" fmla="*/ 2147483647 h 153"/>
                <a:gd name="T58" fmla="*/ 2147483647 w 221"/>
                <a:gd name="T59" fmla="*/ 2147483647 h 153"/>
                <a:gd name="T60" fmla="*/ 2147483647 w 221"/>
                <a:gd name="T61" fmla="*/ 2147483647 h 153"/>
                <a:gd name="T62" fmla="*/ 2147483647 w 221"/>
                <a:gd name="T63" fmla="*/ 2147483647 h 153"/>
                <a:gd name="T64" fmla="*/ 2147483647 w 221"/>
                <a:gd name="T65" fmla="*/ 2147483647 h 153"/>
                <a:gd name="T66" fmla="*/ 2147483647 w 221"/>
                <a:gd name="T67" fmla="*/ 2147483647 h 153"/>
                <a:gd name="T68" fmla="*/ 2147483647 w 221"/>
                <a:gd name="T69" fmla="*/ 2147483647 h 153"/>
                <a:gd name="T70" fmla="*/ 2147483647 w 221"/>
                <a:gd name="T71" fmla="*/ 2147483647 h 153"/>
                <a:gd name="T72" fmla="*/ 2147483647 w 221"/>
                <a:gd name="T73" fmla="*/ 2147483647 h 153"/>
                <a:gd name="T74" fmla="*/ 2147483647 w 221"/>
                <a:gd name="T75" fmla="*/ 2147483647 h 153"/>
                <a:gd name="T76" fmla="*/ 2147483647 w 221"/>
                <a:gd name="T77" fmla="*/ 2147483647 h 153"/>
                <a:gd name="T78" fmla="*/ 2147483647 w 221"/>
                <a:gd name="T79" fmla="*/ 2147483647 h 153"/>
                <a:gd name="T80" fmla="*/ 2147483647 w 221"/>
                <a:gd name="T81" fmla="*/ 2147483647 h 153"/>
                <a:gd name="T82" fmla="*/ 2147483647 w 221"/>
                <a:gd name="T83" fmla="*/ 2147483647 h 153"/>
                <a:gd name="T84" fmla="*/ 2147483647 w 221"/>
                <a:gd name="T85" fmla="*/ 2147483647 h 153"/>
                <a:gd name="T86" fmla="*/ 2147483647 w 221"/>
                <a:gd name="T87" fmla="*/ 2147483647 h 153"/>
                <a:gd name="T88" fmla="*/ 2147483647 w 221"/>
                <a:gd name="T89" fmla="*/ 2147483647 h 153"/>
                <a:gd name="T90" fmla="*/ 2147483647 w 221"/>
                <a:gd name="T91" fmla="*/ 2147483647 h 153"/>
                <a:gd name="T92" fmla="*/ 2147483647 w 221"/>
                <a:gd name="T93" fmla="*/ 2147483647 h 153"/>
                <a:gd name="T94" fmla="*/ 2147483647 w 221"/>
                <a:gd name="T95" fmla="*/ 2147483647 h 153"/>
                <a:gd name="T96" fmla="*/ 2147483647 w 221"/>
                <a:gd name="T97" fmla="*/ 2147483647 h 1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1"/>
                <a:gd name="T148" fmla="*/ 0 h 153"/>
                <a:gd name="T149" fmla="*/ 221 w 221"/>
                <a:gd name="T150" fmla="*/ 153 h 1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1" h="153">
                  <a:moveTo>
                    <a:pt x="208" y="28"/>
                  </a:moveTo>
                  <a:lnTo>
                    <a:pt x="203" y="21"/>
                  </a:lnTo>
                  <a:lnTo>
                    <a:pt x="183" y="22"/>
                  </a:lnTo>
                  <a:lnTo>
                    <a:pt x="184" y="15"/>
                  </a:lnTo>
                  <a:lnTo>
                    <a:pt x="181" y="8"/>
                  </a:lnTo>
                  <a:lnTo>
                    <a:pt x="164" y="19"/>
                  </a:lnTo>
                  <a:lnTo>
                    <a:pt x="148" y="21"/>
                  </a:lnTo>
                  <a:lnTo>
                    <a:pt x="145" y="15"/>
                  </a:lnTo>
                  <a:lnTo>
                    <a:pt x="95" y="4"/>
                  </a:lnTo>
                  <a:lnTo>
                    <a:pt x="96" y="0"/>
                  </a:lnTo>
                  <a:lnTo>
                    <a:pt x="82" y="4"/>
                  </a:lnTo>
                  <a:lnTo>
                    <a:pt x="77" y="12"/>
                  </a:lnTo>
                  <a:lnTo>
                    <a:pt x="57" y="33"/>
                  </a:lnTo>
                  <a:lnTo>
                    <a:pt x="59" y="42"/>
                  </a:lnTo>
                  <a:lnTo>
                    <a:pt x="77" y="36"/>
                  </a:lnTo>
                  <a:lnTo>
                    <a:pt x="120" y="38"/>
                  </a:lnTo>
                  <a:lnTo>
                    <a:pt x="119" y="42"/>
                  </a:lnTo>
                  <a:lnTo>
                    <a:pt x="100" y="45"/>
                  </a:lnTo>
                  <a:lnTo>
                    <a:pt x="85" y="57"/>
                  </a:lnTo>
                  <a:lnTo>
                    <a:pt x="74" y="44"/>
                  </a:lnTo>
                  <a:lnTo>
                    <a:pt x="26" y="74"/>
                  </a:lnTo>
                  <a:lnTo>
                    <a:pt x="26" y="78"/>
                  </a:lnTo>
                  <a:lnTo>
                    <a:pt x="13" y="81"/>
                  </a:lnTo>
                  <a:lnTo>
                    <a:pt x="0" y="97"/>
                  </a:lnTo>
                  <a:lnTo>
                    <a:pt x="12" y="87"/>
                  </a:lnTo>
                  <a:lnTo>
                    <a:pt x="3" y="102"/>
                  </a:lnTo>
                  <a:lnTo>
                    <a:pt x="2" y="123"/>
                  </a:lnTo>
                  <a:lnTo>
                    <a:pt x="5" y="134"/>
                  </a:lnTo>
                  <a:lnTo>
                    <a:pt x="12" y="134"/>
                  </a:lnTo>
                  <a:lnTo>
                    <a:pt x="20" y="150"/>
                  </a:lnTo>
                  <a:lnTo>
                    <a:pt x="31" y="153"/>
                  </a:lnTo>
                  <a:lnTo>
                    <a:pt x="37" y="141"/>
                  </a:lnTo>
                  <a:lnTo>
                    <a:pt x="47" y="141"/>
                  </a:lnTo>
                  <a:lnTo>
                    <a:pt x="81" y="106"/>
                  </a:lnTo>
                  <a:lnTo>
                    <a:pt x="87" y="86"/>
                  </a:lnTo>
                  <a:lnTo>
                    <a:pt x="90" y="93"/>
                  </a:lnTo>
                  <a:lnTo>
                    <a:pt x="96" y="83"/>
                  </a:lnTo>
                  <a:lnTo>
                    <a:pt x="102" y="93"/>
                  </a:lnTo>
                  <a:lnTo>
                    <a:pt x="111" y="93"/>
                  </a:lnTo>
                  <a:lnTo>
                    <a:pt x="110" y="79"/>
                  </a:lnTo>
                  <a:lnTo>
                    <a:pt x="120" y="83"/>
                  </a:lnTo>
                  <a:lnTo>
                    <a:pt x="141" y="77"/>
                  </a:lnTo>
                  <a:lnTo>
                    <a:pt x="196" y="49"/>
                  </a:lnTo>
                  <a:lnTo>
                    <a:pt x="216" y="47"/>
                  </a:lnTo>
                  <a:lnTo>
                    <a:pt x="221" y="43"/>
                  </a:lnTo>
                  <a:lnTo>
                    <a:pt x="218" y="41"/>
                  </a:lnTo>
                  <a:lnTo>
                    <a:pt x="205" y="40"/>
                  </a:lnTo>
                  <a:lnTo>
                    <a:pt x="211" y="32"/>
                  </a:lnTo>
                  <a:lnTo>
                    <a:pt x="208" y="28"/>
                  </a:lnTo>
                  <a:close/>
                </a:path>
              </a:pathLst>
            </a:custGeom>
            <a:grpFill/>
            <a:ln w="6350">
              <a:solidFill>
                <a:schemeClr val="tx2"/>
              </a:solidFill>
              <a:round/>
              <a:headEnd/>
              <a:tailEnd/>
            </a:ln>
          </p:spPr>
          <p:txBody>
            <a:bodyPr/>
            <a:lstStyle/>
            <a:p>
              <a:endParaRPr lang="en-US"/>
            </a:p>
          </p:txBody>
        </p:sp>
        <p:sp>
          <p:nvSpPr>
            <p:cNvPr id="232" name="Freeform 1132"/>
            <p:cNvSpPr>
              <a:spLocks/>
            </p:cNvSpPr>
            <p:nvPr/>
          </p:nvSpPr>
          <p:spPr bwMode="auto">
            <a:xfrm>
              <a:off x="2647593" y="3573002"/>
              <a:ext cx="42479" cy="66753"/>
            </a:xfrm>
            <a:custGeom>
              <a:avLst/>
              <a:gdLst>
                <a:gd name="T0" fmla="*/ 2147483647 w 83"/>
                <a:gd name="T1" fmla="*/ 2147483647 h 133"/>
                <a:gd name="T2" fmla="*/ 2147483647 w 83"/>
                <a:gd name="T3" fmla="*/ 2147483647 h 133"/>
                <a:gd name="T4" fmla="*/ 2147483647 w 83"/>
                <a:gd name="T5" fmla="*/ 2147483647 h 133"/>
                <a:gd name="T6" fmla="*/ 2147483647 w 83"/>
                <a:gd name="T7" fmla="*/ 2147483647 h 133"/>
                <a:gd name="T8" fmla="*/ 2147483647 w 83"/>
                <a:gd name="T9" fmla="*/ 2147483647 h 133"/>
                <a:gd name="T10" fmla="*/ 2147483647 w 83"/>
                <a:gd name="T11" fmla="*/ 2147483647 h 133"/>
                <a:gd name="T12" fmla="*/ 2147483647 w 83"/>
                <a:gd name="T13" fmla="*/ 2147483647 h 133"/>
                <a:gd name="T14" fmla="*/ 2147483647 w 83"/>
                <a:gd name="T15" fmla="*/ 2147483647 h 133"/>
                <a:gd name="T16" fmla="*/ 2147483647 w 83"/>
                <a:gd name="T17" fmla="*/ 0 h 133"/>
                <a:gd name="T18" fmla="*/ 2147483647 w 83"/>
                <a:gd name="T19" fmla="*/ 0 h 133"/>
                <a:gd name="T20" fmla="*/ 2147483647 w 83"/>
                <a:gd name="T21" fmla="*/ 0 h 133"/>
                <a:gd name="T22" fmla="*/ 2147483647 w 83"/>
                <a:gd name="T23" fmla="*/ 2147483647 h 133"/>
                <a:gd name="T24" fmla="*/ 2147483647 w 83"/>
                <a:gd name="T25" fmla="*/ 2147483647 h 133"/>
                <a:gd name="T26" fmla="*/ 0 w 83"/>
                <a:gd name="T27" fmla="*/ 2147483647 h 133"/>
                <a:gd name="T28" fmla="*/ 2147483647 w 83"/>
                <a:gd name="T29" fmla="*/ 2147483647 h 133"/>
                <a:gd name="T30" fmla="*/ 2147483647 w 83"/>
                <a:gd name="T31" fmla="*/ 2147483647 h 133"/>
                <a:gd name="T32" fmla="*/ 2147483647 w 83"/>
                <a:gd name="T33" fmla="*/ 2147483647 h 133"/>
                <a:gd name="T34" fmla="*/ 2147483647 w 83"/>
                <a:gd name="T35" fmla="*/ 2147483647 h 133"/>
                <a:gd name="T36" fmla="*/ 2147483647 w 83"/>
                <a:gd name="T37" fmla="*/ 2147483647 h 1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133"/>
                <a:gd name="T59" fmla="*/ 83 w 83"/>
                <a:gd name="T60" fmla="*/ 133 h 1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133">
                  <a:moveTo>
                    <a:pt x="41" y="133"/>
                  </a:moveTo>
                  <a:lnTo>
                    <a:pt x="37" y="125"/>
                  </a:lnTo>
                  <a:lnTo>
                    <a:pt x="45" y="85"/>
                  </a:lnTo>
                  <a:lnTo>
                    <a:pt x="58" y="60"/>
                  </a:lnTo>
                  <a:lnTo>
                    <a:pt x="61" y="40"/>
                  </a:lnTo>
                  <a:lnTo>
                    <a:pt x="79" y="27"/>
                  </a:lnTo>
                  <a:lnTo>
                    <a:pt x="77" y="13"/>
                  </a:lnTo>
                  <a:lnTo>
                    <a:pt x="83" y="4"/>
                  </a:lnTo>
                  <a:lnTo>
                    <a:pt x="82" y="0"/>
                  </a:lnTo>
                  <a:lnTo>
                    <a:pt x="39" y="0"/>
                  </a:lnTo>
                  <a:lnTo>
                    <a:pt x="4" y="0"/>
                  </a:lnTo>
                  <a:lnTo>
                    <a:pt x="3" y="21"/>
                  </a:lnTo>
                  <a:lnTo>
                    <a:pt x="6" y="31"/>
                  </a:lnTo>
                  <a:lnTo>
                    <a:pt x="0" y="55"/>
                  </a:lnTo>
                  <a:lnTo>
                    <a:pt x="3" y="73"/>
                  </a:lnTo>
                  <a:lnTo>
                    <a:pt x="1" y="79"/>
                  </a:lnTo>
                  <a:lnTo>
                    <a:pt x="8" y="85"/>
                  </a:lnTo>
                  <a:lnTo>
                    <a:pt x="8" y="133"/>
                  </a:lnTo>
                  <a:lnTo>
                    <a:pt x="41" y="133"/>
                  </a:lnTo>
                  <a:close/>
                </a:path>
              </a:pathLst>
            </a:custGeom>
            <a:grpFill/>
            <a:ln w="6350">
              <a:solidFill>
                <a:schemeClr val="tx2"/>
              </a:solidFill>
              <a:round/>
              <a:headEnd/>
              <a:tailEnd/>
            </a:ln>
          </p:spPr>
          <p:txBody>
            <a:bodyPr/>
            <a:lstStyle/>
            <a:p>
              <a:endParaRPr lang="en-US"/>
            </a:p>
          </p:txBody>
        </p:sp>
        <p:sp>
          <p:nvSpPr>
            <p:cNvPr id="233" name="Freeform 1133"/>
            <p:cNvSpPr>
              <a:spLocks/>
            </p:cNvSpPr>
            <p:nvPr/>
          </p:nvSpPr>
          <p:spPr bwMode="auto">
            <a:xfrm>
              <a:off x="2599045" y="3679199"/>
              <a:ext cx="39445" cy="66753"/>
            </a:xfrm>
            <a:custGeom>
              <a:avLst/>
              <a:gdLst>
                <a:gd name="T0" fmla="*/ 2147483647 w 73"/>
                <a:gd name="T1" fmla="*/ 2147483647 h 135"/>
                <a:gd name="T2" fmla="*/ 2147483647 w 73"/>
                <a:gd name="T3" fmla="*/ 2147483647 h 135"/>
                <a:gd name="T4" fmla="*/ 2147483647 w 73"/>
                <a:gd name="T5" fmla="*/ 2147483647 h 135"/>
                <a:gd name="T6" fmla="*/ 2147483647 w 73"/>
                <a:gd name="T7" fmla="*/ 2147483647 h 135"/>
                <a:gd name="T8" fmla="*/ 2147483647 w 73"/>
                <a:gd name="T9" fmla="*/ 2147483647 h 135"/>
                <a:gd name="T10" fmla="*/ 2147483647 w 73"/>
                <a:gd name="T11" fmla="*/ 2147483647 h 135"/>
                <a:gd name="T12" fmla="*/ 2147483647 w 73"/>
                <a:gd name="T13" fmla="*/ 2147483647 h 135"/>
                <a:gd name="T14" fmla="*/ 2147483647 w 73"/>
                <a:gd name="T15" fmla="*/ 2147483647 h 135"/>
                <a:gd name="T16" fmla="*/ 2147483647 w 73"/>
                <a:gd name="T17" fmla="*/ 2147483647 h 135"/>
                <a:gd name="T18" fmla="*/ 2147483647 w 73"/>
                <a:gd name="T19" fmla="*/ 2147483647 h 135"/>
                <a:gd name="T20" fmla="*/ 2147483647 w 73"/>
                <a:gd name="T21" fmla="*/ 2147483647 h 135"/>
                <a:gd name="T22" fmla="*/ 2147483647 w 73"/>
                <a:gd name="T23" fmla="*/ 2147483647 h 135"/>
                <a:gd name="T24" fmla="*/ 2147483647 w 73"/>
                <a:gd name="T25" fmla="*/ 0 h 135"/>
                <a:gd name="T26" fmla="*/ 2147483647 w 73"/>
                <a:gd name="T27" fmla="*/ 2147483647 h 135"/>
                <a:gd name="T28" fmla="*/ 2147483647 w 73"/>
                <a:gd name="T29" fmla="*/ 2147483647 h 135"/>
                <a:gd name="T30" fmla="*/ 2147483647 w 73"/>
                <a:gd name="T31" fmla="*/ 2147483647 h 135"/>
                <a:gd name="T32" fmla="*/ 2147483647 w 73"/>
                <a:gd name="T33" fmla="*/ 2147483647 h 135"/>
                <a:gd name="T34" fmla="*/ 2147483647 w 73"/>
                <a:gd name="T35" fmla="*/ 2147483647 h 135"/>
                <a:gd name="T36" fmla="*/ 2147483647 w 73"/>
                <a:gd name="T37" fmla="*/ 2147483647 h 135"/>
                <a:gd name="T38" fmla="*/ 2147483647 w 73"/>
                <a:gd name="T39" fmla="*/ 2147483647 h 135"/>
                <a:gd name="T40" fmla="*/ 2147483647 w 73"/>
                <a:gd name="T41" fmla="*/ 2147483647 h 135"/>
                <a:gd name="T42" fmla="*/ 2147483647 w 73"/>
                <a:gd name="T43" fmla="*/ 2147483647 h 135"/>
                <a:gd name="T44" fmla="*/ 2147483647 w 73"/>
                <a:gd name="T45" fmla="*/ 2147483647 h 135"/>
                <a:gd name="T46" fmla="*/ 0 w 73"/>
                <a:gd name="T47" fmla="*/ 2147483647 h 135"/>
                <a:gd name="T48" fmla="*/ 2147483647 w 73"/>
                <a:gd name="T49" fmla="*/ 2147483647 h 1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135"/>
                <a:gd name="T77" fmla="*/ 73 w 73"/>
                <a:gd name="T78" fmla="*/ 135 h 1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135">
                  <a:moveTo>
                    <a:pt x="2" y="103"/>
                  </a:moveTo>
                  <a:lnTo>
                    <a:pt x="14" y="116"/>
                  </a:lnTo>
                  <a:lnTo>
                    <a:pt x="33" y="123"/>
                  </a:lnTo>
                  <a:lnTo>
                    <a:pt x="33" y="135"/>
                  </a:lnTo>
                  <a:lnTo>
                    <a:pt x="39" y="129"/>
                  </a:lnTo>
                  <a:lnTo>
                    <a:pt x="61" y="97"/>
                  </a:lnTo>
                  <a:lnTo>
                    <a:pt x="64" y="82"/>
                  </a:lnTo>
                  <a:lnTo>
                    <a:pt x="69" y="80"/>
                  </a:lnTo>
                  <a:lnTo>
                    <a:pt x="73" y="64"/>
                  </a:lnTo>
                  <a:lnTo>
                    <a:pt x="61" y="47"/>
                  </a:lnTo>
                  <a:lnTo>
                    <a:pt x="66" y="39"/>
                  </a:lnTo>
                  <a:lnTo>
                    <a:pt x="73" y="22"/>
                  </a:lnTo>
                  <a:lnTo>
                    <a:pt x="38" y="0"/>
                  </a:lnTo>
                  <a:lnTo>
                    <a:pt x="32" y="6"/>
                  </a:lnTo>
                  <a:lnTo>
                    <a:pt x="20" y="21"/>
                  </a:lnTo>
                  <a:lnTo>
                    <a:pt x="23" y="28"/>
                  </a:lnTo>
                  <a:lnTo>
                    <a:pt x="17" y="34"/>
                  </a:lnTo>
                  <a:lnTo>
                    <a:pt x="17" y="46"/>
                  </a:lnTo>
                  <a:lnTo>
                    <a:pt x="22" y="47"/>
                  </a:lnTo>
                  <a:lnTo>
                    <a:pt x="23" y="54"/>
                  </a:lnTo>
                  <a:lnTo>
                    <a:pt x="37" y="69"/>
                  </a:lnTo>
                  <a:lnTo>
                    <a:pt x="20" y="85"/>
                  </a:lnTo>
                  <a:lnTo>
                    <a:pt x="8" y="90"/>
                  </a:lnTo>
                  <a:lnTo>
                    <a:pt x="0" y="99"/>
                  </a:lnTo>
                  <a:lnTo>
                    <a:pt x="2" y="103"/>
                  </a:lnTo>
                  <a:close/>
                </a:path>
              </a:pathLst>
            </a:custGeom>
            <a:grpFill/>
            <a:ln w="6350">
              <a:solidFill>
                <a:schemeClr val="tx2"/>
              </a:solidFill>
              <a:round/>
              <a:headEnd/>
              <a:tailEnd/>
            </a:ln>
          </p:spPr>
          <p:txBody>
            <a:bodyPr/>
            <a:lstStyle/>
            <a:p>
              <a:endParaRPr lang="en-US"/>
            </a:p>
          </p:txBody>
        </p:sp>
        <p:sp>
          <p:nvSpPr>
            <p:cNvPr id="234" name="Freeform 1134"/>
            <p:cNvSpPr>
              <a:spLocks/>
            </p:cNvSpPr>
            <p:nvPr/>
          </p:nvSpPr>
          <p:spPr bwMode="auto">
            <a:xfrm>
              <a:off x="2644559" y="3635204"/>
              <a:ext cx="80407" cy="39445"/>
            </a:xfrm>
            <a:custGeom>
              <a:avLst/>
              <a:gdLst>
                <a:gd name="T0" fmla="*/ 0 w 157"/>
                <a:gd name="T1" fmla="*/ 2147483647 h 78"/>
                <a:gd name="T2" fmla="*/ 2147483647 w 157"/>
                <a:gd name="T3" fmla="*/ 2147483647 h 78"/>
                <a:gd name="T4" fmla="*/ 2147483647 w 157"/>
                <a:gd name="T5" fmla="*/ 2147483647 h 78"/>
                <a:gd name="T6" fmla="*/ 2147483647 w 157"/>
                <a:gd name="T7" fmla="*/ 0 h 78"/>
                <a:gd name="T8" fmla="*/ 2147483647 w 157"/>
                <a:gd name="T9" fmla="*/ 0 h 78"/>
                <a:gd name="T10" fmla="*/ 2147483647 w 157"/>
                <a:gd name="T11" fmla="*/ 2147483647 h 78"/>
                <a:gd name="T12" fmla="*/ 2147483647 w 157"/>
                <a:gd name="T13" fmla="*/ 2147483647 h 78"/>
                <a:gd name="T14" fmla="*/ 2147483647 w 157"/>
                <a:gd name="T15" fmla="*/ 2147483647 h 78"/>
                <a:gd name="T16" fmla="*/ 2147483647 w 157"/>
                <a:gd name="T17" fmla="*/ 2147483647 h 78"/>
                <a:gd name="T18" fmla="*/ 2147483647 w 157"/>
                <a:gd name="T19" fmla="*/ 2147483647 h 78"/>
                <a:gd name="T20" fmla="*/ 2147483647 w 157"/>
                <a:gd name="T21" fmla="*/ 2147483647 h 78"/>
                <a:gd name="T22" fmla="*/ 2147483647 w 157"/>
                <a:gd name="T23" fmla="*/ 2147483647 h 78"/>
                <a:gd name="T24" fmla="*/ 2147483647 w 157"/>
                <a:gd name="T25" fmla="*/ 2147483647 h 78"/>
                <a:gd name="T26" fmla="*/ 2147483647 w 157"/>
                <a:gd name="T27" fmla="*/ 2147483647 h 78"/>
                <a:gd name="T28" fmla="*/ 2147483647 w 157"/>
                <a:gd name="T29" fmla="*/ 2147483647 h 78"/>
                <a:gd name="T30" fmla="*/ 2147483647 w 157"/>
                <a:gd name="T31" fmla="*/ 2147483647 h 78"/>
                <a:gd name="T32" fmla="*/ 2147483647 w 157"/>
                <a:gd name="T33" fmla="*/ 2147483647 h 78"/>
                <a:gd name="T34" fmla="*/ 2147483647 w 157"/>
                <a:gd name="T35" fmla="*/ 2147483647 h 78"/>
                <a:gd name="T36" fmla="*/ 2147483647 w 157"/>
                <a:gd name="T37" fmla="*/ 2147483647 h 78"/>
                <a:gd name="T38" fmla="*/ 2147483647 w 157"/>
                <a:gd name="T39" fmla="*/ 2147483647 h 78"/>
                <a:gd name="T40" fmla="*/ 2147483647 w 157"/>
                <a:gd name="T41" fmla="*/ 2147483647 h 78"/>
                <a:gd name="T42" fmla="*/ 2147483647 w 157"/>
                <a:gd name="T43" fmla="*/ 2147483647 h 78"/>
                <a:gd name="T44" fmla="*/ 0 w 157"/>
                <a:gd name="T45" fmla="*/ 2147483647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78"/>
                <a:gd name="T71" fmla="*/ 157 w 157"/>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78">
                  <a:moveTo>
                    <a:pt x="0" y="49"/>
                  </a:moveTo>
                  <a:lnTo>
                    <a:pt x="10" y="9"/>
                  </a:lnTo>
                  <a:lnTo>
                    <a:pt x="94" y="9"/>
                  </a:lnTo>
                  <a:lnTo>
                    <a:pt x="110" y="0"/>
                  </a:lnTo>
                  <a:lnTo>
                    <a:pt x="115" y="0"/>
                  </a:lnTo>
                  <a:lnTo>
                    <a:pt x="123" y="17"/>
                  </a:lnTo>
                  <a:lnTo>
                    <a:pt x="112" y="33"/>
                  </a:lnTo>
                  <a:lnTo>
                    <a:pt x="123" y="42"/>
                  </a:lnTo>
                  <a:lnTo>
                    <a:pt x="131" y="62"/>
                  </a:lnTo>
                  <a:lnTo>
                    <a:pt x="137" y="67"/>
                  </a:lnTo>
                  <a:lnTo>
                    <a:pt x="152" y="67"/>
                  </a:lnTo>
                  <a:lnTo>
                    <a:pt x="153" y="59"/>
                  </a:lnTo>
                  <a:lnTo>
                    <a:pt x="151" y="55"/>
                  </a:lnTo>
                  <a:lnTo>
                    <a:pt x="155" y="54"/>
                  </a:lnTo>
                  <a:lnTo>
                    <a:pt x="157" y="66"/>
                  </a:lnTo>
                  <a:lnTo>
                    <a:pt x="147" y="74"/>
                  </a:lnTo>
                  <a:lnTo>
                    <a:pt x="133" y="77"/>
                  </a:lnTo>
                  <a:lnTo>
                    <a:pt x="124" y="70"/>
                  </a:lnTo>
                  <a:lnTo>
                    <a:pt x="106" y="78"/>
                  </a:lnTo>
                  <a:lnTo>
                    <a:pt x="99" y="68"/>
                  </a:lnTo>
                  <a:lnTo>
                    <a:pt x="92" y="63"/>
                  </a:lnTo>
                  <a:lnTo>
                    <a:pt x="90" y="49"/>
                  </a:lnTo>
                  <a:lnTo>
                    <a:pt x="0" y="49"/>
                  </a:lnTo>
                  <a:close/>
                </a:path>
              </a:pathLst>
            </a:custGeom>
            <a:grpFill/>
            <a:ln w="6350">
              <a:solidFill>
                <a:schemeClr val="tx2"/>
              </a:solidFill>
              <a:round/>
              <a:headEnd/>
              <a:tailEnd/>
            </a:ln>
          </p:spPr>
          <p:txBody>
            <a:bodyPr/>
            <a:lstStyle/>
            <a:p>
              <a:endParaRPr lang="en-US"/>
            </a:p>
          </p:txBody>
        </p:sp>
        <p:sp>
          <p:nvSpPr>
            <p:cNvPr id="235" name="Freeform 1135"/>
            <p:cNvSpPr>
              <a:spLocks/>
            </p:cNvSpPr>
            <p:nvPr/>
          </p:nvSpPr>
          <p:spPr bwMode="auto">
            <a:xfrm>
              <a:off x="2680969" y="3659477"/>
              <a:ext cx="12137" cy="21239"/>
            </a:xfrm>
            <a:custGeom>
              <a:avLst/>
              <a:gdLst>
                <a:gd name="T0" fmla="*/ 0 w 29"/>
                <a:gd name="T1" fmla="*/ 2147483647 h 41"/>
                <a:gd name="T2" fmla="*/ 2147483647 w 29"/>
                <a:gd name="T3" fmla="*/ 2147483647 h 41"/>
                <a:gd name="T4" fmla="*/ 2147483647 w 29"/>
                <a:gd name="T5" fmla="*/ 2147483647 h 41"/>
                <a:gd name="T6" fmla="*/ 2147483647 w 29"/>
                <a:gd name="T7" fmla="*/ 2147483647 h 41"/>
                <a:gd name="T8" fmla="*/ 2147483647 w 29"/>
                <a:gd name="T9" fmla="*/ 0 h 41"/>
                <a:gd name="T10" fmla="*/ 2147483647 w 29"/>
                <a:gd name="T11" fmla="*/ 0 h 41"/>
                <a:gd name="T12" fmla="*/ 0 w 29"/>
                <a:gd name="T13" fmla="*/ 2147483647 h 41"/>
                <a:gd name="T14" fmla="*/ 0 60000 65536"/>
                <a:gd name="T15" fmla="*/ 0 60000 65536"/>
                <a:gd name="T16" fmla="*/ 0 60000 65536"/>
                <a:gd name="T17" fmla="*/ 0 60000 65536"/>
                <a:gd name="T18" fmla="*/ 0 60000 65536"/>
                <a:gd name="T19" fmla="*/ 0 60000 65536"/>
                <a:gd name="T20" fmla="*/ 0 60000 65536"/>
                <a:gd name="T21" fmla="*/ 0 w 29"/>
                <a:gd name="T22" fmla="*/ 0 h 41"/>
                <a:gd name="T23" fmla="*/ 29 w 2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1">
                  <a:moveTo>
                    <a:pt x="0" y="41"/>
                  </a:moveTo>
                  <a:lnTo>
                    <a:pt x="22" y="33"/>
                  </a:lnTo>
                  <a:lnTo>
                    <a:pt x="29" y="19"/>
                  </a:lnTo>
                  <a:lnTo>
                    <a:pt x="22" y="14"/>
                  </a:lnTo>
                  <a:lnTo>
                    <a:pt x="20" y="0"/>
                  </a:lnTo>
                  <a:lnTo>
                    <a:pt x="3" y="0"/>
                  </a:lnTo>
                  <a:lnTo>
                    <a:pt x="0" y="41"/>
                  </a:lnTo>
                  <a:close/>
                </a:path>
              </a:pathLst>
            </a:custGeom>
            <a:grpFill/>
            <a:ln w="6350">
              <a:solidFill>
                <a:schemeClr val="tx2"/>
              </a:solidFill>
              <a:round/>
              <a:headEnd/>
              <a:tailEnd/>
            </a:ln>
          </p:spPr>
          <p:txBody>
            <a:bodyPr/>
            <a:lstStyle/>
            <a:p>
              <a:endParaRPr lang="en-US"/>
            </a:p>
          </p:txBody>
        </p:sp>
        <p:sp>
          <p:nvSpPr>
            <p:cNvPr id="236" name="Freeform 1136"/>
            <p:cNvSpPr>
              <a:spLocks/>
            </p:cNvSpPr>
            <p:nvPr/>
          </p:nvSpPr>
          <p:spPr bwMode="auto">
            <a:xfrm>
              <a:off x="2641524" y="3659477"/>
              <a:ext cx="42479" cy="27308"/>
            </a:xfrm>
            <a:custGeom>
              <a:avLst/>
              <a:gdLst>
                <a:gd name="T0" fmla="*/ 2147483647 w 83"/>
                <a:gd name="T1" fmla="*/ 2147483647 h 58"/>
                <a:gd name="T2" fmla="*/ 2147483647 w 83"/>
                <a:gd name="T3" fmla="*/ 2147483647 h 58"/>
                <a:gd name="T4" fmla="*/ 2147483647 w 83"/>
                <a:gd name="T5" fmla="*/ 2147483647 h 58"/>
                <a:gd name="T6" fmla="*/ 2147483647 w 83"/>
                <a:gd name="T7" fmla="*/ 2147483647 h 58"/>
                <a:gd name="T8" fmla="*/ 2147483647 w 83"/>
                <a:gd name="T9" fmla="*/ 2147483647 h 58"/>
                <a:gd name="T10" fmla="*/ 2147483647 w 83"/>
                <a:gd name="T11" fmla="*/ 0 h 58"/>
                <a:gd name="T12" fmla="*/ 2147483647 w 83"/>
                <a:gd name="T13" fmla="*/ 0 h 58"/>
                <a:gd name="T14" fmla="*/ 2147483647 w 83"/>
                <a:gd name="T15" fmla="*/ 2147483647 h 58"/>
                <a:gd name="T16" fmla="*/ 2147483647 w 83"/>
                <a:gd name="T17" fmla="*/ 2147483647 h 58"/>
                <a:gd name="T18" fmla="*/ 0 w 83"/>
                <a:gd name="T19" fmla="*/ 2147483647 h 58"/>
                <a:gd name="T20" fmla="*/ 2147483647 w 83"/>
                <a:gd name="T21" fmla="*/ 2147483647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3"/>
                <a:gd name="T34" fmla="*/ 0 h 58"/>
                <a:gd name="T35" fmla="*/ 83 w 83"/>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3" h="58">
                  <a:moveTo>
                    <a:pt x="3" y="58"/>
                  </a:moveTo>
                  <a:lnTo>
                    <a:pt x="30" y="50"/>
                  </a:lnTo>
                  <a:lnTo>
                    <a:pt x="39" y="42"/>
                  </a:lnTo>
                  <a:lnTo>
                    <a:pt x="60" y="42"/>
                  </a:lnTo>
                  <a:lnTo>
                    <a:pt x="80" y="41"/>
                  </a:lnTo>
                  <a:lnTo>
                    <a:pt x="83" y="0"/>
                  </a:lnTo>
                  <a:lnTo>
                    <a:pt x="10" y="0"/>
                  </a:lnTo>
                  <a:lnTo>
                    <a:pt x="7" y="42"/>
                  </a:lnTo>
                  <a:lnTo>
                    <a:pt x="10" y="47"/>
                  </a:lnTo>
                  <a:lnTo>
                    <a:pt x="0" y="53"/>
                  </a:lnTo>
                  <a:lnTo>
                    <a:pt x="3" y="58"/>
                  </a:lnTo>
                  <a:close/>
                </a:path>
              </a:pathLst>
            </a:custGeom>
            <a:grpFill/>
            <a:ln w="6350">
              <a:solidFill>
                <a:schemeClr val="tx2"/>
              </a:solidFill>
              <a:round/>
              <a:headEnd/>
              <a:tailEnd/>
            </a:ln>
          </p:spPr>
          <p:txBody>
            <a:bodyPr/>
            <a:lstStyle/>
            <a:p>
              <a:endParaRPr lang="en-US"/>
            </a:p>
          </p:txBody>
        </p:sp>
        <p:sp>
          <p:nvSpPr>
            <p:cNvPr id="237" name="Freeform 1137"/>
            <p:cNvSpPr>
              <a:spLocks/>
            </p:cNvSpPr>
            <p:nvPr/>
          </p:nvSpPr>
          <p:spPr bwMode="auto">
            <a:xfrm>
              <a:off x="2568703" y="3744436"/>
              <a:ext cx="6069" cy="6069"/>
            </a:xfrm>
            <a:custGeom>
              <a:avLst/>
              <a:gdLst>
                <a:gd name="T0" fmla="*/ 2147483647 w 11"/>
                <a:gd name="T1" fmla="*/ 2147483647 h 11"/>
                <a:gd name="T2" fmla="*/ 0 w 11"/>
                <a:gd name="T3" fmla="*/ 2147483647 h 11"/>
                <a:gd name="T4" fmla="*/ 2147483647 w 11"/>
                <a:gd name="T5" fmla="*/ 0 h 11"/>
                <a:gd name="T6" fmla="*/ 2147483647 w 11"/>
                <a:gd name="T7" fmla="*/ 2147483647 h 11"/>
                <a:gd name="T8" fmla="*/ 2147483647 w 11"/>
                <a:gd name="T9" fmla="*/ 2147483647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4" y="11"/>
                  </a:moveTo>
                  <a:lnTo>
                    <a:pt x="0" y="3"/>
                  </a:lnTo>
                  <a:lnTo>
                    <a:pt x="4" y="0"/>
                  </a:lnTo>
                  <a:lnTo>
                    <a:pt x="11" y="6"/>
                  </a:lnTo>
                  <a:lnTo>
                    <a:pt x="4" y="11"/>
                  </a:lnTo>
                  <a:close/>
                </a:path>
              </a:pathLst>
            </a:custGeom>
            <a:grpFill/>
            <a:ln w="6350">
              <a:solidFill>
                <a:schemeClr val="tx2"/>
              </a:solidFill>
              <a:round/>
              <a:headEnd/>
              <a:tailEnd/>
            </a:ln>
          </p:spPr>
          <p:txBody>
            <a:bodyPr/>
            <a:lstStyle/>
            <a:p>
              <a:endParaRPr lang="en-US"/>
            </a:p>
          </p:txBody>
        </p:sp>
        <p:sp>
          <p:nvSpPr>
            <p:cNvPr id="238" name="Freeform 1138"/>
            <p:cNvSpPr>
              <a:spLocks/>
            </p:cNvSpPr>
            <p:nvPr/>
          </p:nvSpPr>
          <p:spPr bwMode="auto">
            <a:xfrm>
              <a:off x="2450368" y="3698922"/>
              <a:ext cx="104680" cy="94061"/>
            </a:xfrm>
            <a:custGeom>
              <a:avLst/>
              <a:gdLst>
                <a:gd name="T0" fmla="*/ 2147483647 w 211"/>
                <a:gd name="T1" fmla="*/ 2147483647 h 189"/>
                <a:gd name="T2" fmla="*/ 2147483647 w 211"/>
                <a:gd name="T3" fmla="*/ 2147483647 h 189"/>
                <a:gd name="T4" fmla="*/ 2147483647 w 211"/>
                <a:gd name="T5" fmla="*/ 2147483647 h 189"/>
                <a:gd name="T6" fmla="*/ 2147483647 w 211"/>
                <a:gd name="T7" fmla="*/ 2147483647 h 189"/>
                <a:gd name="T8" fmla="*/ 2147483647 w 211"/>
                <a:gd name="T9" fmla="*/ 2147483647 h 189"/>
                <a:gd name="T10" fmla="*/ 2147483647 w 211"/>
                <a:gd name="T11" fmla="*/ 2147483647 h 189"/>
                <a:gd name="T12" fmla="*/ 2147483647 w 211"/>
                <a:gd name="T13" fmla="*/ 2147483647 h 189"/>
                <a:gd name="T14" fmla="*/ 2147483647 w 211"/>
                <a:gd name="T15" fmla="*/ 2147483647 h 189"/>
                <a:gd name="T16" fmla="*/ 2147483647 w 211"/>
                <a:gd name="T17" fmla="*/ 2147483647 h 189"/>
                <a:gd name="T18" fmla="*/ 2147483647 w 211"/>
                <a:gd name="T19" fmla="*/ 2147483647 h 189"/>
                <a:gd name="T20" fmla="*/ 2147483647 w 211"/>
                <a:gd name="T21" fmla="*/ 2147483647 h 189"/>
                <a:gd name="T22" fmla="*/ 2147483647 w 211"/>
                <a:gd name="T23" fmla="*/ 2147483647 h 189"/>
                <a:gd name="T24" fmla="*/ 2147483647 w 211"/>
                <a:gd name="T25" fmla="*/ 2147483647 h 189"/>
                <a:gd name="T26" fmla="*/ 2147483647 w 211"/>
                <a:gd name="T27" fmla="*/ 2147483647 h 189"/>
                <a:gd name="T28" fmla="*/ 2147483647 w 211"/>
                <a:gd name="T29" fmla="*/ 0 h 189"/>
                <a:gd name="T30" fmla="*/ 2147483647 w 211"/>
                <a:gd name="T31" fmla="*/ 2147483647 h 189"/>
                <a:gd name="T32" fmla="*/ 2147483647 w 211"/>
                <a:gd name="T33" fmla="*/ 2147483647 h 189"/>
                <a:gd name="T34" fmla="*/ 2147483647 w 211"/>
                <a:gd name="T35" fmla="*/ 2147483647 h 189"/>
                <a:gd name="T36" fmla="*/ 2147483647 w 211"/>
                <a:gd name="T37" fmla="*/ 2147483647 h 189"/>
                <a:gd name="T38" fmla="*/ 2147483647 w 211"/>
                <a:gd name="T39" fmla="*/ 2147483647 h 189"/>
                <a:gd name="T40" fmla="*/ 2147483647 w 211"/>
                <a:gd name="T41" fmla="*/ 2147483647 h 189"/>
                <a:gd name="T42" fmla="*/ 2147483647 w 211"/>
                <a:gd name="T43" fmla="*/ 2147483647 h 189"/>
                <a:gd name="T44" fmla="*/ 2147483647 w 211"/>
                <a:gd name="T45" fmla="*/ 2147483647 h 189"/>
                <a:gd name="T46" fmla="*/ 2147483647 w 211"/>
                <a:gd name="T47" fmla="*/ 2147483647 h 189"/>
                <a:gd name="T48" fmla="*/ 2147483647 w 211"/>
                <a:gd name="T49" fmla="*/ 2147483647 h 189"/>
                <a:gd name="T50" fmla="*/ 2147483647 w 211"/>
                <a:gd name="T51" fmla="*/ 2147483647 h 189"/>
                <a:gd name="T52" fmla="*/ 2147483647 w 211"/>
                <a:gd name="T53" fmla="*/ 2147483647 h 189"/>
                <a:gd name="T54" fmla="*/ 2147483647 w 211"/>
                <a:gd name="T55" fmla="*/ 2147483647 h 189"/>
                <a:gd name="T56" fmla="*/ 2147483647 w 211"/>
                <a:gd name="T57" fmla="*/ 2147483647 h 189"/>
                <a:gd name="T58" fmla="*/ 2147483647 w 211"/>
                <a:gd name="T59" fmla="*/ 2147483647 h 189"/>
                <a:gd name="T60" fmla="*/ 2147483647 w 211"/>
                <a:gd name="T61" fmla="*/ 2147483647 h 189"/>
                <a:gd name="T62" fmla="*/ 2147483647 w 211"/>
                <a:gd name="T63" fmla="*/ 2147483647 h 189"/>
                <a:gd name="T64" fmla="*/ 2147483647 w 211"/>
                <a:gd name="T65" fmla="*/ 2147483647 h 189"/>
                <a:gd name="T66" fmla="*/ 2147483647 w 211"/>
                <a:gd name="T67" fmla="*/ 2147483647 h 189"/>
                <a:gd name="T68" fmla="*/ 2147483647 w 211"/>
                <a:gd name="T69" fmla="*/ 2147483647 h 189"/>
                <a:gd name="T70" fmla="*/ 2147483647 w 211"/>
                <a:gd name="T71" fmla="*/ 2147483647 h 189"/>
                <a:gd name="T72" fmla="*/ 2147483647 w 211"/>
                <a:gd name="T73" fmla="*/ 2147483647 h 189"/>
                <a:gd name="T74" fmla="*/ 2147483647 w 211"/>
                <a:gd name="T75" fmla="*/ 2147483647 h 189"/>
                <a:gd name="T76" fmla="*/ 2147483647 w 211"/>
                <a:gd name="T77" fmla="*/ 2147483647 h 189"/>
                <a:gd name="T78" fmla="*/ 2147483647 w 211"/>
                <a:gd name="T79" fmla="*/ 2147483647 h 189"/>
                <a:gd name="T80" fmla="*/ 2147483647 w 211"/>
                <a:gd name="T81" fmla="*/ 2147483647 h 189"/>
                <a:gd name="T82" fmla="*/ 2147483647 w 211"/>
                <a:gd name="T83" fmla="*/ 2147483647 h 189"/>
                <a:gd name="T84" fmla="*/ 2147483647 w 211"/>
                <a:gd name="T85" fmla="*/ 2147483647 h 189"/>
                <a:gd name="T86" fmla="*/ 2147483647 w 211"/>
                <a:gd name="T87" fmla="*/ 2147483647 h 189"/>
                <a:gd name="T88" fmla="*/ 2147483647 w 211"/>
                <a:gd name="T89" fmla="*/ 2147483647 h 189"/>
                <a:gd name="T90" fmla="*/ 2147483647 w 211"/>
                <a:gd name="T91" fmla="*/ 2147483647 h 189"/>
                <a:gd name="T92" fmla="*/ 2147483647 w 211"/>
                <a:gd name="T93" fmla="*/ 2147483647 h 189"/>
                <a:gd name="T94" fmla="*/ 2147483647 w 211"/>
                <a:gd name="T95" fmla="*/ 2147483647 h 189"/>
                <a:gd name="T96" fmla="*/ 0 w 211"/>
                <a:gd name="T97" fmla="*/ 2147483647 h 189"/>
                <a:gd name="T98" fmla="*/ 2147483647 w 211"/>
                <a:gd name="T99" fmla="*/ 2147483647 h 1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189"/>
                <a:gd name="T152" fmla="*/ 211 w 211"/>
                <a:gd name="T153" fmla="*/ 189 h 1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189">
                  <a:moveTo>
                    <a:pt x="2" y="124"/>
                  </a:moveTo>
                  <a:lnTo>
                    <a:pt x="13" y="122"/>
                  </a:lnTo>
                  <a:lnTo>
                    <a:pt x="26" y="92"/>
                  </a:lnTo>
                  <a:lnTo>
                    <a:pt x="31" y="93"/>
                  </a:lnTo>
                  <a:lnTo>
                    <a:pt x="31" y="99"/>
                  </a:lnTo>
                  <a:lnTo>
                    <a:pt x="38" y="96"/>
                  </a:lnTo>
                  <a:lnTo>
                    <a:pt x="35" y="88"/>
                  </a:lnTo>
                  <a:lnTo>
                    <a:pt x="41" y="78"/>
                  </a:lnTo>
                  <a:lnTo>
                    <a:pt x="51" y="70"/>
                  </a:lnTo>
                  <a:lnTo>
                    <a:pt x="56" y="73"/>
                  </a:lnTo>
                  <a:lnTo>
                    <a:pt x="62" y="70"/>
                  </a:lnTo>
                  <a:lnTo>
                    <a:pt x="76" y="57"/>
                  </a:lnTo>
                  <a:lnTo>
                    <a:pt x="88" y="18"/>
                  </a:lnTo>
                  <a:lnTo>
                    <a:pt x="85" y="3"/>
                  </a:lnTo>
                  <a:lnTo>
                    <a:pt x="92" y="0"/>
                  </a:lnTo>
                  <a:lnTo>
                    <a:pt x="92" y="52"/>
                  </a:lnTo>
                  <a:lnTo>
                    <a:pt x="137" y="52"/>
                  </a:lnTo>
                  <a:lnTo>
                    <a:pt x="136" y="81"/>
                  </a:lnTo>
                  <a:lnTo>
                    <a:pt x="152" y="67"/>
                  </a:lnTo>
                  <a:lnTo>
                    <a:pt x="159" y="68"/>
                  </a:lnTo>
                  <a:lnTo>
                    <a:pt x="166" y="56"/>
                  </a:lnTo>
                  <a:lnTo>
                    <a:pt x="175" y="62"/>
                  </a:lnTo>
                  <a:lnTo>
                    <a:pt x="179" y="62"/>
                  </a:lnTo>
                  <a:lnTo>
                    <a:pt x="182" y="57"/>
                  </a:lnTo>
                  <a:lnTo>
                    <a:pt x="192" y="53"/>
                  </a:lnTo>
                  <a:lnTo>
                    <a:pt x="207" y="58"/>
                  </a:lnTo>
                  <a:lnTo>
                    <a:pt x="211" y="74"/>
                  </a:lnTo>
                  <a:lnTo>
                    <a:pt x="207" y="84"/>
                  </a:lnTo>
                  <a:lnTo>
                    <a:pt x="186" y="67"/>
                  </a:lnTo>
                  <a:lnTo>
                    <a:pt x="182" y="84"/>
                  </a:lnTo>
                  <a:lnTo>
                    <a:pt x="162" y="104"/>
                  </a:lnTo>
                  <a:lnTo>
                    <a:pt x="157" y="100"/>
                  </a:lnTo>
                  <a:lnTo>
                    <a:pt x="145" y="123"/>
                  </a:lnTo>
                  <a:lnTo>
                    <a:pt x="129" y="114"/>
                  </a:lnTo>
                  <a:lnTo>
                    <a:pt x="123" y="131"/>
                  </a:lnTo>
                  <a:lnTo>
                    <a:pt x="101" y="164"/>
                  </a:lnTo>
                  <a:lnTo>
                    <a:pt x="104" y="167"/>
                  </a:lnTo>
                  <a:lnTo>
                    <a:pt x="102" y="172"/>
                  </a:lnTo>
                  <a:lnTo>
                    <a:pt x="94" y="177"/>
                  </a:lnTo>
                  <a:lnTo>
                    <a:pt x="77" y="177"/>
                  </a:lnTo>
                  <a:lnTo>
                    <a:pt x="75" y="183"/>
                  </a:lnTo>
                  <a:lnTo>
                    <a:pt x="62" y="187"/>
                  </a:lnTo>
                  <a:lnTo>
                    <a:pt x="56" y="182"/>
                  </a:lnTo>
                  <a:lnTo>
                    <a:pt x="44" y="189"/>
                  </a:lnTo>
                  <a:lnTo>
                    <a:pt x="35" y="185"/>
                  </a:lnTo>
                  <a:lnTo>
                    <a:pt x="31" y="180"/>
                  </a:lnTo>
                  <a:lnTo>
                    <a:pt x="29" y="171"/>
                  </a:lnTo>
                  <a:lnTo>
                    <a:pt x="14" y="164"/>
                  </a:lnTo>
                  <a:lnTo>
                    <a:pt x="0" y="138"/>
                  </a:lnTo>
                  <a:lnTo>
                    <a:pt x="2" y="124"/>
                  </a:lnTo>
                  <a:close/>
                </a:path>
              </a:pathLst>
            </a:custGeom>
            <a:grpFill/>
            <a:ln w="6350">
              <a:solidFill>
                <a:schemeClr val="tx2"/>
              </a:solidFill>
              <a:round/>
              <a:headEnd/>
              <a:tailEnd/>
            </a:ln>
          </p:spPr>
          <p:txBody>
            <a:bodyPr/>
            <a:lstStyle/>
            <a:p>
              <a:endParaRPr lang="en-US"/>
            </a:p>
          </p:txBody>
        </p:sp>
        <p:sp>
          <p:nvSpPr>
            <p:cNvPr id="239" name="Freeform 1139"/>
            <p:cNvSpPr>
              <a:spLocks/>
            </p:cNvSpPr>
            <p:nvPr/>
          </p:nvSpPr>
          <p:spPr bwMode="auto">
            <a:xfrm>
              <a:off x="2401821" y="3660993"/>
              <a:ext cx="94061" cy="100130"/>
            </a:xfrm>
            <a:custGeom>
              <a:avLst/>
              <a:gdLst>
                <a:gd name="T0" fmla="*/ 2147483647 w 186"/>
                <a:gd name="T1" fmla="*/ 2147483647 h 200"/>
                <a:gd name="T2" fmla="*/ 0 w 186"/>
                <a:gd name="T3" fmla="*/ 2147483647 h 200"/>
                <a:gd name="T4" fmla="*/ 0 w 186"/>
                <a:gd name="T5" fmla="*/ 2147483647 h 200"/>
                <a:gd name="T6" fmla="*/ 0 w 186"/>
                <a:gd name="T7" fmla="*/ 2147483647 h 200"/>
                <a:gd name="T8" fmla="*/ 2147483647 w 186"/>
                <a:gd name="T9" fmla="*/ 2147483647 h 200"/>
                <a:gd name="T10" fmla="*/ 2147483647 w 186"/>
                <a:gd name="T11" fmla="*/ 2147483647 h 200"/>
                <a:gd name="T12" fmla="*/ 2147483647 w 186"/>
                <a:gd name="T13" fmla="*/ 2147483647 h 200"/>
                <a:gd name="T14" fmla="*/ 2147483647 w 186"/>
                <a:gd name="T15" fmla="*/ 2147483647 h 200"/>
                <a:gd name="T16" fmla="*/ 2147483647 w 186"/>
                <a:gd name="T17" fmla="*/ 0 h 200"/>
                <a:gd name="T18" fmla="*/ 2147483647 w 186"/>
                <a:gd name="T19" fmla="*/ 2147483647 h 200"/>
                <a:gd name="T20" fmla="*/ 2147483647 w 186"/>
                <a:gd name="T21" fmla="*/ 2147483647 h 200"/>
                <a:gd name="T22" fmla="*/ 2147483647 w 186"/>
                <a:gd name="T23" fmla="*/ 2147483647 h 200"/>
                <a:gd name="T24" fmla="*/ 2147483647 w 186"/>
                <a:gd name="T25" fmla="*/ 2147483647 h 200"/>
                <a:gd name="T26" fmla="*/ 2147483647 w 186"/>
                <a:gd name="T27" fmla="*/ 2147483647 h 200"/>
                <a:gd name="T28" fmla="*/ 2147483647 w 186"/>
                <a:gd name="T29" fmla="*/ 2147483647 h 200"/>
                <a:gd name="T30" fmla="*/ 2147483647 w 186"/>
                <a:gd name="T31" fmla="*/ 2147483647 h 200"/>
                <a:gd name="T32" fmla="*/ 2147483647 w 186"/>
                <a:gd name="T33" fmla="*/ 2147483647 h 200"/>
                <a:gd name="T34" fmla="*/ 2147483647 w 186"/>
                <a:gd name="T35" fmla="*/ 2147483647 h 200"/>
                <a:gd name="T36" fmla="*/ 2147483647 w 186"/>
                <a:gd name="T37" fmla="*/ 2147483647 h 200"/>
                <a:gd name="T38" fmla="*/ 2147483647 w 186"/>
                <a:gd name="T39" fmla="*/ 2147483647 h 200"/>
                <a:gd name="T40" fmla="*/ 2147483647 w 186"/>
                <a:gd name="T41" fmla="*/ 2147483647 h 200"/>
                <a:gd name="T42" fmla="*/ 2147483647 w 186"/>
                <a:gd name="T43" fmla="*/ 2147483647 h 200"/>
                <a:gd name="T44" fmla="*/ 2147483647 w 186"/>
                <a:gd name="T45" fmla="*/ 2147483647 h 200"/>
                <a:gd name="T46" fmla="*/ 2147483647 w 186"/>
                <a:gd name="T47" fmla="*/ 2147483647 h 200"/>
                <a:gd name="T48" fmla="*/ 2147483647 w 186"/>
                <a:gd name="T49" fmla="*/ 2147483647 h 200"/>
                <a:gd name="T50" fmla="*/ 2147483647 w 186"/>
                <a:gd name="T51" fmla="*/ 2147483647 h 200"/>
                <a:gd name="T52" fmla="*/ 2147483647 w 186"/>
                <a:gd name="T53" fmla="*/ 2147483647 h 200"/>
                <a:gd name="T54" fmla="*/ 2147483647 w 186"/>
                <a:gd name="T55" fmla="*/ 2147483647 h 200"/>
                <a:gd name="T56" fmla="*/ 2147483647 w 186"/>
                <a:gd name="T57" fmla="*/ 2147483647 h 200"/>
                <a:gd name="T58" fmla="*/ 2147483647 w 186"/>
                <a:gd name="T59" fmla="*/ 2147483647 h 200"/>
                <a:gd name="T60" fmla="*/ 2147483647 w 186"/>
                <a:gd name="T61" fmla="*/ 2147483647 h 200"/>
                <a:gd name="T62" fmla="*/ 2147483647 w 186"/>
                <a:gd name="T63" fmla="*/ 2147483647 h 200"/>
                <a:gd name="T64" fmla="*/ 2147483647 w 186"/>
                <a:gd name="T65" fmla="*/ 2147483647 h 200"/>
                <a:gd name="T66" fmla="*/ 2147483647 w 186"/>
                <a:gd name="T67" fmla="*/ 2147483647 h 200"/>
                <a:gd name="T68" fmla="*/ 2147483647 w 186"/>
                <a:gd name="T69" fmla="*/ 2147483647 h 2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00"/>
                <a:gd name="T107" fmla="*/ 186 w 186"/>
                <a:gd name="T108" fmla="*/ 200 h 2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00">
                  <a:moveTo>
                    <a:pt x="3" y="160"/>
                  </a:moveTo>
                  <a:lnTo>
                    <a:pt x="0" y="163"/>
                  </a:lnTo>
                  <a:lnTo>
                    <a:pt x="0" y="87"/>
                  </a:lnTo>
                  <a:lnTo>
                    <a:pt x="0" y="15"/>
                  </a:lnTo>
                  <a:lnTo>
                    <a:pt x="60" y="15"/>
                  </a:lnTo>
                  <a:lnTo>
                    <a:pt x="103" y="30"/>
                  </a:lnTo>
                  <a:lnTo>
                    <a:pt x="131" y="25"/>
                  </a:lnTo>
                  <a:lnTo>
                    <a:pt x="159" y="9"/>
                  </a:lnTo>
                  <a:lnTo>
                    <a:pt x="186" y="0"/>
                  </a:lnTo>
                  <a:lnTo>
                    <a:pt x="186" y="76"/>
                  </a:lnTo>
                  <a:lnTo>
                    <a:pt x="179" y="79"/>
                  </a:lnTo>
                  <a:lnTo>
                    <a:pt x="182" y="94"/>
                  </a:lnTo>
                  <a:lnTo>
                    <a:pt x="170" y="133"/>
                  </a:lnTo>
                  <a:lnTo>
                    <a:pt x="156" y="146"/>
                  </a:lnTo>
                  <a:lnTo>
                    <a:pt x="150" y="149"/>
                  </a:lnTo>
                  <a:lnTo>
                    <a:pt x="145" y="146"/>
                  </a:lnTo>
                  <a:lnTo>
                    <a:pt x="135" y="154"/>
                  </a:lnTo>
                  <a:lnTo>
                    <a:pt x="129" y="164"/>
                  </a:lnTo>
                  <a:lnTo>
                    <a:pt x="132" y="172"/>
                  </a:lnTo>
                  <a:lnTo>
                    <a:pt x="125" y="175"/>
                  </a:lnTo>
                  <a:lnTo>
                    <a:pt x="125" y="169"/>
                  </a:lnTo>
                  <a:lnTo>
                    <a:pt x="120" y="168"/>
                  </a:lnTo>
                  <a:lnTo>
                    <a:pt x="107" y="198"/>
                  </a:lnTo>
                  <a:lnTo>
                    <a:pt x="96" y="200"/>
                  </a:lnTo>
                  <a:lnTo>
                    <a:pt x="86" y="191"/>
                  </a:lnTo>
                  <a:lnTo>
                    <a:pt x="83" y="182"/>
                  </a:lnTo>
                  <a:lnTo>
                    <a:pt x="71" y="189"/>
                  </a:lnTo>
                  <a:lnTo>
                    <a:pt x="65" y="190"/>
                  </a:lnTo>
                  <a:lnTo>
                    <a:pt x="56" y="184"/>
                  </a:lnTo>
                  <a:lnTo>
                    <a:pt x="50" y="188"/>
                  </a:lnTo>
                  <a:lnTo>
                    <a:pt x="46" y="187"/>
                  </a:lnTo>
                  <a:lnTo>
                    <a:pt x="41" y="181"/>
                  </a:lnTo>
                  <a:lnTo>
                    <a:pt x="26" y="178"/>
                  </a:lnTo>
                  <a:lnTo>
                    <a:pt x="15" y="162"/>
                  </a:lnTo>
                  <a:lnTo>
                    <a:pt x="3" y="160"/>
                  </a:lnTo>
                  <a:close/>
                </a:path>
              </a:pathLst>
            </a:custGeom>
            <a:grpFill/>
            <a:ln w="6350">
              <a:solidFill>
                <a:schemeClr val="tx2"/>
              </a:solidFill>
              <a:round/>
              <a:headEnd/>
              <a:tailEnd/>
            </a:ln>
          </p:spPr>
          <p:txBody>
            <a:bodyPr/>
            <a:lstStyle/>
            <a:p>
              <a:endParaRPr lang="en-US"/>
            </a:p>
          </p:txBody>
        </p:sp>
        <p:sp>
          <p:nvSpPr>
            <p:cNvPr id="240" name="Freeform 1140"/>
            <p:cNvSpPr>
              <a:spLocks/>
            </p:cNvSpPr>
            <p:nvPr/>
          </p:nvSpPr>
          <p:spPr bwMode="auto">
            <a:xfrm>
              <a:off x="2285003" y="3497145"/>
              <a:ext cx="136541" cy="72821"/>
            </a:xfrm>
            <a:custGeom>
              <a:avLst/>
              <a:gdLst>
                <a:gd name="T0" fmla="*/ 0 w 277"/>
                <a:gd name="T1" fmla="*/ 2147483647 h 147"/>
                <a:gd name="T2" fmla="*/ 2147483647 w 277"/>
                <a:gd name="T3" fmla="*/ 2147483647 h 147"/>
                <a:gd name="T4" fmla="*/ 2147483647 w 277"/>
                <a:gd name="T5" fmla="*/ 2147483647 h 147"/>
                <a:gd name="T6" fmla="*/ 2147483647 w 277"/>
                <a:gd name="T7" fmla="*/ 0 h 147"/>
                <a:gd name="T8" fmla="*/ 2147483647 w 277"/>
                <a:gd name="T9" fmla="*/ 2147483647 h 147"/>
                <a:gd name="T10" fmla="*/ 2147483647 w 277"/>
                <a:gd name="T11" fmla="*/ 2147483647 h 147"/>
                <a:gd name="T12" fmla="*/ 2147483647 w 277"/>
                <a:gd name="T13" fmla="*/ 2147483647 h 147"/>
                <a:gd name="T14" fmla="*/ 2147483647 w 277"/>
                <a:gd name="T15" fmla="*/ 2147483647 h 147"/>
                <a:gd name="T16" fmla="*/ 2147483647 w 277"/>
                <a:gd name="T17" fmla="*/ 2147483647 h 147"/>
                <a:gd name="T18" fmla="*/ 2147483647 w 277"/>
                <a:gd name="T19" fmla="*/ 2147483647 h 147"/>
                <a:gd name="T20" fmla="*/ 2147483647 w 277"/>
                <a:gd name="T21" fmla="*/ 2147483647 h 147"/>
                <a:gd name="T22" fmla="*/ 2147483647 w 277"/>
                <a:gd name="T23" fmla="*/ 2147483647 h 147"/>
                <a:gd name="T24" fmla="*/ 2147483647 w 277"/>
                <a:gd name="T25" fmla="*/ 2147483647 h 147"/>
                <a:gd name="T26" fmla="*/ 2147483647 w 277"/>
                <a:gd name="T27" fmla="*/ 2147483647 h 147"/>
                <a:gd name="T28" fmla="*/ 2147483647 w 277"/>
                <a:gd name="T29" fmla="*/ 2147483647 h 147"/>
                <a:gd name="T30" fmla="*/ 2147483647 w 277"/>
                <a:gd name="T31" fmla="*/ 2147483647 h 147"/>
                <a:gd name="T32" fmla="*/ 2147483647 w 277"/>
                <a:gd name="T33" fmla="*/ 2147483647 h 147"/>
                <a:gd name="T34" fmla="*/ 2147483647 w 277"/>
                <a:gd name="T35" fmla="*/ 2147483647 h 147"/>
                <a:gd name="T36" fmla="*/ 2147483647 w 277"/>
                <a:gd name="T37" fmla="*/ 2147483647 h 147"/>
                <a:gd name="T38" fmla="*/ 2147483647 w 277"/>
                <a:gd name="T39" fmla="*/ 2147483647 h 147"/>
                <a:gd name="T40" fmla="*/ 2147483647 w 277"/>
                <a:gd name="T41" fmla="*/ 2147483647 h 147"/>
                <a:gd name="T42" fmla="*/ 2147483647 w 277"/>
                <a:gd name="T43" fmla="*/ 2147483647 h 147"/>
                <a:gd name="T44" fmla="*/ 2147483647 w 277"/>
                <a:gd name="T45" fmla="*/ 2147483647 h 147"/>
                <a:gd name="T46" fmla="*/ 2147483647 w 277"/>
                <a:gd name="T47" fmla="*/ 2147483647 h 147"/>
                <a:gd name="T48" fmla="*/ 2147483647 w 277"/>
                <a:gd name="T49" fmla="*/ 2147483647 h 147"/>
                <a:gd name="T50" fmla="*/ 2147483647 w 277"/>
                <a:gd name="T51" fmla="*/ 2147483647 h 147"/>
                <a:gd name="T52" fmla="*/ 2147483647 w 277"/>
                <a:gd name="T53" fmla="*/ 2147483647 h 147"/>
                <a:gd name="T54" fmla="*/ 2147483647 w 277"/>
                <a:gd name="T55" fmla="*/ 2147483647 h 147"/>
                <a:gd name="T56" fmla="*/ 2147483647 w 277"/>
                <a:gd name="T57" fmla="*/ 2147483647 h 147"/>
                <a:gd name="T58" fmla="*/ 2147483647 w 277"/>
                <a:gd name="T59" fmla="*/ 2147483647 h 147"/>
                <a:gd name="T60" fmla="*/ 2147483647 w 277"/>
                <a:gd name="T61" fmla="*/ 2147483647 h 147"/>
                <a:gd name="T62" fmla="*/ 2147483647 w 277"/>
                <a:gd name="T63" fmla="*/ 2147483647 h 147"/>
                <a:gd name="T64" fmla="*/ 2147483647 w 277"/>
                <a:gd name="T65" fmla="*/ 2147483647 h 147"/>
                <a:gd name="T66" fmla="*/ 2147483647 w 277"/>
                <a:gd name="T67" fmla="*/ 2147483647 h 147"/>
                <a:gd name="T68" fmla="*/ 2147483647 w 277"/>
                <a:gd name="T69" fmla="*/ 2147483647 h 147"/>
                <a:gd name="T70" fmla="*/ 2147483647 w 277"/>
                <a:gd name="T71" fmla="*/ 2147483647 h 147"/>
                <a:gd name="T72" fmla="*/ 2147483647 w 277"/>
                <a:gd name="T73" fmla="*/ 2147483647 h 147"/>
                <a:gd name="T74" fmla="*/ 2147483647 w 277"/>
                <a:gd name="T75" fmla="*/ 2147483647 h 147"/>
                <a:gd name="T76" fmla="*/ 0 w 277"/>
                <a:gd name="T77" fmla="*/ 2147483647 h 1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7"/>
                <a:gd name="T118" fmla="*/ 0 h 147"/>
                <a:gd name="T119" fmla="*/ 277 w 277"/>
                <a:gd name="T120" fmla="*/ 147 h 1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7" h="147">
                  <a:moveTo>
                    <a:pt x="0" y="56"/>
                  </a:moveTo>
                  <a:lnTo>
                    <a:pt x="46" y="38"/>
                  </a:lnTo>
                  <a:lnTo>
                    <a:pt x="84" y="8"/>
                  </a:lnTo>
                  <a:lnTo>
                    <a:pt x="110" y="0"/>
                  </a:lnTo>
                  <a:lnTo>
                    <a:pt x="112" y="5"/>
                  </a:lnTo>
                  <a:lnTo>
                    <a:pt x="83" y="33"/>
                  </a:lnTo>
                  <a:lnTo>
                    <a:pt x="83" y="45"/>
                  </a:lnTo>
                  <a:lnTo>
                    <a:pt x="89" y="39"/>
                  </a:lnTo>
                  <a:lnTo>
                    <a:pt x="104" y="38"/>
                  </a:lnTo>
                  <a:lnTo>
                    <a:pt x="118" y="46"/>
                  </a:lnTo>
                  <a:lnTo>
                    <a:pt x="133" y="63"/>
                  </a:lnTo>
                  <a:lnTo>
                    <a:pt x="159" y="65"/>
                  </a:lnTo>
                  <a:lnTo>
                    <a:pt x="182" y="51"/>
                  </a:lnTo>
                  <a:lnTo>
                    <a:pt x="228" y="45"/>
                  </a:lnTo>
                  <a:lnTo>
                    <a:pt x="230" y="59"/>
                  </a:lnTo>
                  <a:lnTo>
                    <a:pt x="237" y="63"/>
                  </a:lnTo>
                  <a:lnTo>
                    <a:pt x="253" y="63"/>
                  </a:lnTo>
                  <a:lnTo>
                    <a:pt x="260" y="63"/>
                  </a:lnTo>
                  <a:lnTo>
                    <a:pt x="265" y="82"/>
                  </a:lnTo>
                  <a:lnTo>
                    <a:pt x="277" y="93"/>
                  </a:lnTo>
                  <a:lnTo>
                    <a:pt x="258" y="98"/>
                  </a:lnTo>
                  <a:lnTo>
                    <a:pt x="250" y="91"/>
                  </a:lnTo>
                  <a:lnTo>
                    <a:pt x="247" y="100"/>
                  </a:lnTo>
                  <a:lnTo>
                    <a:pt x="241" y="100"/>
                  </a:lnTo>
                  <a:lnTo>
                    <a:pt x="218" y="88"/>
                  </a:lnTo>
                  <a:lnTo>
                    <a:pt x="180" y="101"/>
                  </a:lnTo>
                  <a:lnTo>
                    <a:pt x="162" y="116"/>
                  </a:lnTo>
                  <a:lnTo>
                    <a:pt x="162" y="101"/>
                  </a:lnTo>
                  <a:lnTo>
                    <a:pt x="148" y="108"/>
                  </a:lnTo>
                  <a:lnTo>
                    <a:pt x="120" y="147"/>
                  </a:lnTo>
                  <a:lnTo>
                    <a:pt x="114" y="142"/>
                  </a:lnTo>
                  <a:lnTo>
                    <a:pt x="117" y="130"/>
                  </a:lnTo>
                  <a:lnTo>
                    <a:pt x="108" y="131"/>
                  </a:lnTo>
                  <a:lnTo>
                    <a:pt x="111" y="111"/>
                  </a:lnTo>
                  <a:lnTo>
                    <a:pt x="98" y="104"/>
                  </a:lnTo>
                  <a:lnTo>
                    <a:pt x="98" y="96"/>
                  </a:lnTo>
                  <a:lnTo>
                    <a:pt x="12" y="71"/>
                  </a:lnTo>
                  <a:lnTo>
                    <a:pt x="8" y="61"/>
                  </a:lnTo>
                  <a:lnTo>
                    <a:pt x="0" y="56"/>
                  </a:lnTo>
                  <a:close/>
                </a:path>
              </a:pathLst>
            </a:custGeom>
            <a:grpFill/>
            <a:ln w="6350">
              <a:solidFill>
                <a:schemeClr val="tx2"/>
              </a:solidFill>
              <a:round/>
              <a:headEnd/>
              <a:tailEnd/>
            </a:ln>
          </p:spPr>
          <p:txBody>
            <a:bodyPr/>
            <a:lstStyle/>
            <a:p>
              <a:endParaRPr lang="en-US"/>
            </a:p>
          </p:txBody>
        </p:sp>
        <p:sp>
          <p:nvSpPr>
            <p:cNvPr id="241" name="Freeform 1141"/>
            <p:cNvSpPr>
              <a:spLocks/>
            </p:cNvSpPr>
            <p:nvPr/>
          </p:nvSpPr>
          <p:spPr bwMode="auto">
            <a:xfrm>
              <a:off x="2356307" y="3551761"/>
              <a:ext cx="97096" cy="116819"/>
            </a:xfrm>
            <a:custGeom>
              <a:avLst/>
              <a:gdLst>
                <a:gd name="T0" fmla="*/ 2147483647 w 195"/>
                <a:gd name="T1" fmla="*/ 2147483647 h 236"/>
                <a:gd name="T2" fmla="*/ 2147483647 w 195"/>
                <a:gd name="T3" fmla="*/ 2147483647 h 236"/>
                <a:gd name="T4" fmla="*/ 2147483647 w 195"/>
                <a:gd name="T5" fmla="*/ 2147483647 h 236"/>
                <a:gd name="T6" fmla="*/ 2147483647 w 195"/>
                <a:gd name="T7" fmla="*/ 2147483647 h 236"/>
                <a:gd name="T8" fmla="*/ 2147483647 w 195"/>
                <a:gd name="T9" fmla="*/ 2147483647 h 236"/>
                <a:gd name="T10" fmla="*/ 2147483647 w 195"/>
                <a:gd name="T11" fmla="*/ 2147483647 h 236"/>
                <a:gd name="T12" fmla="*/ 2147483647 w 195"/>
                <a:gd name="T13" fmla="*/ 2147483647 h 236"/>
                <a:gd name="T14" fmla="*/ 2147483647 w 195"/>
                <a:gd name="T15" fmla="*/ 2147483647 h 236"/>
                <a:gd name="T16" fmla="*/ 2147483647 w 195"/>
                <a:gd name="T17" fmla="*/ 2147483647 h 236"/>
                <a:gd name="T18" fmla="*/ 2147483647 w 195"/>
                <a:gd name="T19" fmla="*/ 2147483647 h 236"/>
                <a:gd name="T20" fmla="*/ 2147483647 w 195"/>
                <a:gd name="T21" fmla="*/ 2147483647 h 236"/>
                <a:gd name="T22" fmla="*/ 2147483647 w 195"/>
                <a:gd name="T23" fmla="*/ 2147483647 h 236"/>
                <a:gd name="T24" fmla="*/ 2147483647 w 195"/>
                <a:gd name="T25" fmla="*/ 2147483647 h 236"/>
                <a:gd name="T26" fmla="*/ 2147483647 w 195"/>
                <a:gd name="T27" fmla="*/ 2147483647 h 236"/>
                <a:gd name="T28" fmla="*/ 2147483647 w 195"/>
                <a:gd name="T29" fmla="*/ 2147483647 h 236"/>
                <a:gd name="T30" fmla="*/ 2147483647 w 195"/>
                <a:gd name="T31" fmla="*/ 0 h 236"/>
                <a:gd name="T32" fmla="*/ 2147483647 w 195"/>
                <a:gd name="T33" fmla="*/ 2147483647 h 236"/>
                <a:gd name="T34" fmla="*/ 2147483647 w 195"/>
                <a:gd name="T35" fmla="*/ 2147483647 h 236"/>
                <a:gd name="T36" fmla="*/ 2147483647 w 195"/>
                <a:gd name="T37" fmla="*/ 2147483647 h 236"/>
                <a:gd name="T38" fmla="*/ 2147483647 w 195"/>
                <a:gd name="T39" fmla="*/ 2147483647 h 236"/>
                <a:gd name="T40" fmla="*/ 2147483647 w 195"/>
                <a:gd name="T41" fmla="*/ 2147483647 h 236"/>
                <a:gd name="T42" fmla="*/ 2147483647 w 195"/>
                <a:gd name="T43" fmla="*/ 2147483647 h 236"/>
                <a:gd name="T44" fmla="*/ 2147483647 w 195"/>
                <a:gd name="T45" fmla="*/ 2147483647 h 236"/>
                <a:gd name="T46" fmla="*/ 2147483647 w 195"/>
                <a:gd name="T47" fmla="*/ 2147483647 h 236"/>
                <a:gd name="T48" fmla="*/ 2147483647 w 195"/>
                <a:gd name="T49" fmla="*/ 2147483647 h 236"/>
                <a:gd name="T50" fmla="*/ 2147483647 w 195"/>
                <a:gd name="T51" fmla="*/ 2147483647 h 236"/>
                <a:gd name="T52" fmla="*/ 2147483647 w 195"/>
                <a:gd name="T53" fmla="*/ 2147483647 h 236"/>
                <a:gd name="T54" fmla="*/ 2147483647 w 195"/>
                <a:gd name="T55" fmla="*/ 2147483647 h 236"/>
                <a:gd name="T56" fmla="*/ 2147483647 w 195"/>
                <a:gd name="T57" fmla="*/ 2147483647 h 236"/>
                <a:gd name="T58" fmla="*/ 2147483647 w 195"/>
                <a:gd name="T59" fmla="*/ 2147483647 h 236"/>
                <a:gd name="T60" fmla="*/ 2147483647 w 195"/>
                <a:gd name="T61" fmla="*/ 2147483647 h 236"/>
                <a:gd name="T62" fmla="*/ 0 w 195"/>
                <a:gd name="T63" fmla="*/ 2147483647 h 236"/>
                <a:gd name="T64" fmla="*/ 2147483647 w 195"/>
                <a:gd name="T65" fmla="*/ 2147483647 h 236"/>
                <a:gd name="T66" fmla="*/ 2147483647 w 195"/>
                <a:gd name="T67" fmla="*/ 2147483647 h 236"/>
                <a:gd name="T68" fmla="*/ 2147483647 w 195"/>
                <a:gd name="T69" fmla="*/ 2147483647 h 236"/>
                <a:gd name="T70" fmla="*/ 2147483647 w 195"/>
                <a:gd name="T71" fmla="*/ 2147483647 h 236"/>
                <a:gd name="T72" fmla="*/ 2147483647 w 195"/>
                <a:gd name="T73" fmla="*/ 2147483647 h 236"/>
                <a:gd name="T74" fmla="*/ 2147483647 w 195"/>
                <a:gd name="T75" fmla="*/ 2147483647 h 236"/>
                <a:gd name="T76" fmla="*/ 2147483647 w 195"/>
                <a:gd name="T77" fmla="*/ 2147483647 h 236"/>
                <a:gd name="T78" fmla="*/ 2147483647 w 195"/>
                <a:gd name="T79" fmla="*/ 2147483647 h 236"/>
                <a:gd name="T80" fmla="*/ 2147483647 w 195"/>
                <a:gd name="T81" fmla="*/ 2147483647 h 2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5"/>
                <a:gd name="T124" fmla="*/ 0 h 236"/>
                <a:gd name="T125" fmla="*/ 195 w 195"/>
                <a:gd name="T126" fmla="*/ 236 h 2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5" h="236">
                  <a:moveTo>
                    <a:pt x="195" y="157"/>
                  </a:moveTo>
                  <a:lnTo>
                    <a:pt x="189" y="147"/>
                  </a:lnTo>
                  <a:lnTo>
                    <a:pt x="183" y="113"/>
                  </a:lnTo>
                  <a:lnTo>
                    <a:pt x="174" y="98"/>
                  </a:lnTo>
                  <a:lnTo>
                    <a:pt x="153" y="104"/>
                  </a:lnTo>
                  <a:lnTo>
                    <a:pt x="141" y="121"/>
                  </a:lnTo>
                  <a:lnTo>
                    <a:pt x="133" y="122"/>
                  </a:lnTo>
                  <a:lnTo>
                    <a:pt x="130" y="118"/>
                  </a:lnTo>
                  <a:lnTo>
                    <a:pt x="135" y="103"/>
                  </a:lnTo>
                  <a:lnTo>
                    <a:pt x="146" y="95"/>
                  </a:lnTo>
                  <a:lnTo>
                    <a:pt x="156" y="76"/>
                  </a:lnTo>
                  <a:lnTo>
                    <a:pt x="150" y="41"/>
                  </a:lnTo>
                  <a:lnTo>
                    <a:pt x="153" y="37"/>
                  </a:lnTo>
                  <a:lnTo>
                    <a:pt x="148" y="27"/>
                  </a:lnTo>
                  <a:lnTo>
                    <a:pt x="113" y="4"/>
                  </a:lnTo>
                  <a:lnTo>
                    <a:pt x="84" y="0"/>
                  </a:lnTo>
                  <a:lnTo>
                    <a:pt x="80" y="10"/>
                  </a:lnTo>
                  <a:lnTo>
                    <a:pt x="84" y="19"/>
                  </a:lnTo>
                  <a:lnTo>
                    <a:pt x="66" y="27"/>
                  </a:lnTo>
                  <a:lnTo>
                    <a:pt x="64" y="46"/>
                  </a:lnTo>
                  <a:lnTo>
                    <a:pt x="57" y="52"/>
                  </a:lnTo>
                  <a:lnTo>
                    <a:pt x="53" y="36"/>
                  </a:lnTo>
                  <a:lnTo>
                    <a:pt x="34" y="49"/>
                  </a:lnTo>
                  <a:lnTo>
                    <a:pt x="29" y="61"/>
                  </a:lnTo>
                  <a:lnTo>
                    <a:pt x="27" y="88"/>
                  </a:lnTo>
                  <a:lnTo>
                    <a:pt x="23" y="91"/>
                  </a:lnTo>
                  <a:lnTo>
                    <a:pt x="17" y="122"/>
                  </a:lnTo>
                  <a:lnTo>
                    <a:pt x="28" y="147"/>
                  </a:lnTo>
                  <a:lnTo>
                    <a:pt x="30" y="156"/>
                  </a:lnTo>
                  <a:lnTo>
                    <a:pt x="28" y="182"/>
                  </a:lnTo>
                  <a:lnTo>
                    <a:pt x="11" y="226"/>
                  </a:lnTo>
                  <a:lnTo>
                    <a:pt x="0" y="233"/>
                  </a:lnTo>
                  <a:lnTo>
                    <a:pt x="91" y="233"/>
                  </a:lnTo>
                  <a:lnTo>
                    <a:pt x="91" y="236"/>
                  </a:lnTo>
                  <a:lnTo>
                    <a:pt x="151" y="236"/>
                  </a:lnTo>
                  <a:lnTo>
                    <a:pt x="164" y="220"/>
                  </a:lnTo>
                  <a:lnTo>
                    <a:pt x="165" y="210"/>
                  </a:lnTo>
                  <a:lnTo>
                    <a:pt x="174" y="197"/>
                  </a:lnTo>
                  <a:lnTo>
                    <a:pt x="175" y="188"/>
                  </a:lnTo>
                  <a:lnTo>
                    <a:pt x="189" y="183"/>
                  </a:lnTo>
                  <a:lnTo>
                    <a:pt x="195" y="157"/>
                  </a:lnTo>
                  <a:close/>
                </a:path>
              </a:pathLst>
            </a:custGeom>
            <a:grpFill/>
            <a:ln w="6350">
              <a:solidFill>
                <a:schemeClr val="tx2"/>
              </a:solidFill>
              <a:round/>
              <a:headEnd/>
              <a:tailEnd/>
            </a:ln>
          </p:spPr>
          <p:txBody>
            <a:bodyPr/>
            <a:lstStyle/>
            <a:p>
              <a:endParaRPr lang="en-US"/>
            </a:p>
          </p:txBody>
        </p:sp>
        <p:sp>
          <p:nvSpPr>
            <p:cNvPr id="242" name="Freeform 1142"/>
            <p:cNvSpPr>
              <a:spLocks/>
            </p:cNvSpPr>
            <p:nvPr/>
          </p:nvSpPr>
          <p:spPr bwMode="auto">
            <a:xfrm>
              <a:off x="2435197" y="3846082"/>
              <a:ext cx="106198" cy="80408"/>
            </a:xfrm>
            <a:custGeom>
              <a:avLst/>
              <a:gdLst>
                <a:gd name="T0" fmla="*/ 2147483647 w 208"/>
                <a:gd name="T1" fmla="*/ 2147483647 h 163"/>
                <a:gd name="T2" fmla="*/ 2147483647 w 208"/>
                <a:gd name="T3" fmla="*/ 2147483647 h 163"/>
                <a:gd name="T4" fmla="*/ 2147483647 w 208"/>
                <a:gd name="T5" fmla="*/ 2147483647 h 163"/>
                <a:gd name="T6" fmla="*/ 2147483647 w 208"/>
                <a:gd name="T7" fmla="*/ 2147483647 h 163"/>
                <a:gd name="T8" fmla="*/ 2147483647 w 208"/>
                <a:gd name="T9" fmla="*/ 2147483647 h 163"/>
                <a:gd name="T10" fmla="*/ 2147483647 w 208"/>
                <a:gd name="T11" fmla="*/ 2147483647 h 163"/>
                <a:gd name="T12" fmla="*/ 2147483647 w 208"/>
                <a:gd name="T13" fmla="*/ 2147483647 h 163"/>
                <a:gd name="T14" fmla="*/ 2147483647 w 208"/>
                <a:gd name="T15" fmla="*/ 2147483647 h 163"/>
                <a:gd name="T16" fmla="*/ 2147483647 w 208"/>
                <a:gd name="T17" fmla="*/ 2147483647 h 163"/>
                <a:gd name="T18" fmla="*/ 2147483647 w 208"/>
                <a:gd name="T19" fmla="*/ 2147483647 h 163"/>
                <a:gd name="T20" fmla="*/ 2147483647 w 208"/>
                <a:gd name="T21" fmla="*/ 2147483647 h 163"/>
                <a:gd name="T22" fmla="*/ 2147483647 w 208"/>
                <a:gd name="T23" fmla="*/ 2147483647 h 163"/>
                <a:gd name="T24" fmla="*/ 2147483647 w 208"/>
                <a:gd name="T25" fmla="*/ 2147483647 h 163"/>
                <a:gd name="T26" fmla="*/ 2147483647 w 208"/>
                <a:gd name="T27" fmla="*/ 2147483647 h 163"/>
                <a:gd name="T28" fmla="*/ 2147483647 w 208"/>
                <a:gd name="T29" fmla="*/ 0 h 163"/>
                <a:gd name="T30" fmla="*/ 2147483647 w 208"/>
                <a:gd name="T31" fmla="*/ 2147483647 h 163"/>
                <a:gd name="T32" fmla="*/ 0 w 208"/>
                <a:gd name="T33" fmla="*/ 2147483647 h 163"/>
                <a:gd name="T34" fmla="*/ 2147483647 w 208"/>
                <a:gd name="T35" fmla="*/ 2147483647 h 163"/>
                <a:gd name="T36" fmla="*/ 2147483647 w 208"/>
                <a:gd name="T37" fmla="*/ 2147483647 h 163"/>
                <a:gd name="T38" fmla="*/ 2147483647 w 208"/>
                <a:gd name="T39" fmla="*/ 2147483647 h 163"/>
                <a:gd name="T40" fmla="*/ 2147483647 w 208"/>
                <a:gd name="T41" fmla="*/ 2147483647 h 163"/>
                <a:gd name="T42" fmla="*/ 2147483647 w 208"/>
                <a:gd name="T43" fmla="*/ 2147483647 h 163"/>
                <a:gd name="T44" fmla="*/ 2147483647 w 208"/>
                <a:gd name="T45" fmla="*/ 2147483647 h 163"/>
                <a:gd name="T46" fmla="*/ 2147483647 w 208"/>
                <a:gd name="T47" fmla="*/ 2147483647 h 163"/>
                <a:gd name="T48" fmla="*/ 2147483647 w 208"/>
                <a:gd name="T49" fmla="*/ 2147483647 h 163"/>
                <a:gd name="T50" fmla="*/ 2147483647 w 208"/>
                <a:gd name="T51" fmla="*/ 2147483647 h 163"/>
                <a:gd name="T52" fmla="*/ 2147483647 w 208"/>
                <a:gd name="T53" fmla="*/ 2147483647 h 163"/>
                <a:gd name="T54" fmla="*/ 2147483647 w 208"/>
                <a:gd name="T55" fmla="*/ 2147483647 h 163"/>
                <a:gd name="T56" fmla="*/ 2147483647 w 208"/>
                <a:gd name="T57" fmla="*/ 2147483647 h 1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8"/>
                <a:gd name="T88" fmla="*/ 0 h 163"/>
                <a:gd name="T89" fmla="*/ 208 w 208"/>
                <a:gd name="T90" fmla="*/ 163 h 16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8" h="163">
                  <a:moveTo>
                    <a:pt x="108" y="163"/>
                  </a:moveTo>
                  <a:lnTo>
                    <a:pt x="108" y="158"/>
                  </a:lnTo>
                  <a:lnTo>
                    <a:pt x="121" y="150"/>
                  </a:lnTo>
                  <a:lnTo>
                    <a:pt x="116" y="137"/>
                  </a:lnTo>
                  <a:lnTo>
                    <a:pt x="144" y="136"/>
                  </a:lnTo>
                  <a:lnTo>
                    <a:pt x="181" y="107"/>
                  </a:lnTo>
                  <a:lnTo>
                    <a:pt x="181" y="97"/>
                  </a:lnTo>
                  <a:lnTo>
                    <a:pt x="208" y="70"/>
                  </a:lnTo>
                  <a:lnTo>
                    <a:pt x="160" y="21"/>
                  </a:lnTo>
                  <a:lnTo>
                    <a:pt x="112" y="21"/>
                  </a:lnTo>
                  <a:lnTo>
                    <a:pt x="112" y="13"/>
                  </a:lnTo>
                  <a:lnTo>
                    <a:pt x="106" y="5"/>
                  </a:lnTo>
                  <a:lnTo>
                    <a:pt x="102" y="8"/>
                  </a:lnTo>
                  <a:lnTo>
                    <a:pt x="101" y="3"/>
                  </a:lnTo>
                  <a:lnTo>
                    <a:pt x="42" y="0"/>
                  </a:lnTo>
                  <a:lnTo>
                    <a:pt x="11" y="10"/>
                  </a:lnTo>
                  <a:lnTo>
                    <a:pt x="0" y="26"/>
                  </a:lnTo>
                  <a:lnTo>
                    <a:pt x="14" y="38"/>
                  </a:lnTo>
                  <a:lnTo>
                    <a:pt x="22" y="38"/>
                  </a:lnTo>
                  <a:lnTo>
                    <a:pt x="35" y="66"/>
                  </a:lnTo>
                  <a:lnTo>
                    <a:pt x="63" y="90"/>
                  </a:lnTo>
                  <a:lnTo>
                    <a:pt x="62" y="96"/>
                  </a:lnTo>
                  <a:lnTo>
                    <a:pt x="70" y="106"/>
                  </a:lnTo>
                  <a:lnTo>
                    <a:pt x="81" y="113"/>
                  </a:lnTo>
                  <a:lnTo>
                    <a:pt x="86" y="134"/>
                  </a:lnTo>
                  <a:lnTo>
                    <a:pt x="93" y="138"/>
                  </a:lnTo>
                  <a:lnTo>
                    <a:pt x="98" y="149"/>
                  </a:lnTo>
                  <a:lnTo>
                    <a:pt x="97" y="158"/>
                  </a:lnTo>
                  <a:lnTo>
                    <a:pt x="108" y="163"/>
                  </a:lnTo>
                  <a:close/>
                </a:path>
              </a:pathLst>
            </a:custGeom>
            <a:grpFill/>
            <a:ln w="6350">
              <a:solidFill>
                <a:schemeClr val="tx2"/>
              </a:solidFill>
              <a:round/>
              <a:headEnd/>
              <a:tailEnd/>
            </a:ln>
          </p:spPr>
          <p:txBody>
            <a:bodyPr/>
            <a:lstStyle/>
            <a:p>
              <a:endParaRPr lang="en-US"/>
            </a:p>
          </p:txBody>
        </p:sp>
        <p:sp>
          <p:nvSpPr>
            <p:cNvPr id="243" name="Freeform 1143"/>
            <p:cNvSpPr>
              <a:spLocks/>
            </p:cNvSpPr>
            <p:nvPr/>
          </p:nvSpPr>
          <p:spPr bwMode="auto">
            <a:xfrm>
              <a:off x="2597528" y="3721678"/>
              <a:ext cx="16689" cy="37929"/>
            </a:xfrm>
            <a:custGeom>
              <a:avLst/>
              <a:gdLst>
                <a:gd name="T0" fmla="*/ 0 w 35"/>
                <a:gd name="T1" fmla="*/ 2147483647 h 77"/>
                <a:gd name="T2" fmla="*/ 2147483647 w 35"/>
                <a:gd name="T3" fmla="*/ 0 h 77"/>
                <a:gd name="T4" fmla="*/ 2147483647 w 35"/>
                <a:gd name="T5" fmla="*/ 2147483647 h 77"/>
                <a:gd name="T6" fmla="*/ 2147483647 w 35"/>
                <a:gd name="T7" fmla="*/ 2147483647 h 77"/>
                <a:gd name="T8" fmla="*/ 2147483647 w 35"/>
                <a:gd name="T9" fmla="*/ 2147483647 h 77"/>
                <a:gd name="T10" fmla="*/ 2147483647 w 35"/>
                <a:gd name="T11" fmla="*/ 2147483647 h 77"/>
                <a:gd name="T12" fmla="*/ 2147483647 w 35"/>
                <a:gd name="T13" fmla="*/ 2147483647 h 77"/>
                <a:gd name="T14" fmla="*/ 2147483647 w 35"/>
                <a:gd name="T15" fmla="*/ 2147483647 h 77"/>
                <a:gd name="T16" fmla="*/ 2147483647 w 35"/>
                <a:gd name="T17" fmla="*/ 2147483647 h 77"/>
                <a:gd name="T18" fmla="*/ 0 w 35"/>
                <a:gd name="T19" fmla="*/ 2147483647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77"/>
                <a:gd name="T32" fmla="*/ 35 w 35"/>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77">
                  <a:moveTo>
                    <a:pt x="0" y="7"/>
                  </a:moveTo>
                  <a:lnTo>
                    <a:pt x="6" y="0"/>
                  </a:lnTo>
                  <a:lnTo>
                    <a:pt x="17" y="3"/>
                  </a:lnTo>
                  <a:lnTo>
                    <a:pt x="9" y="12"/>
                  </a:lnTo>
                  <a:lnTo>
                    <a:pt x="10" y="22"/>
                  </a:lnTo>
                  <a:lnTo>
                    <a:pt x="31" y="59"/>
                  </a:lnTo>
                  <a:lnTo>
                    <a:pt x="35" y="72"/>
                  </a:lnTo>
                  <a:lnTo>
                    <a:pt x="32" y="77"/>
                  </a:lnTo>
                  <a:lnTo>
                    <a:pt x="3" y="76"/>
                  </a:lnTo>
                  <a:lnTo>
                    <a:pt x="0" y="7"/>
                  </a:lnTo>
                  <a:close/>
                </a:path>
              </a:pathLst>
            </a:custGeom>
            <a:grpFill/>
            <a:ln w="6350">
              <a:solidFill>
                <a:schemeClr val="tx2"/>
              </a:solidFill>
              <a:round/>
              <a:headEnd/>
              <a:tailEnd/>
            </a:ln>
          </p:spPr>
          <p:txBody>
            <a:bodyPr/>
            <a:lstStyle/>
            <a:p>
              <a:endParaRPr lang="en-US"/>
            </a:p>
          </p:txBody>
        </p:sp>
        <p:sp>
          <p:nvSpPr>
            <p:cNvPr id="244" name="Freeform 1144"/>
            <p:cNvSpPr>
              <a:spLocks/>
            </p:cNvSpPr>
            <p:nvPr/>
          </p:nvSpPr>
          <p:spPr bwMode="auto">
            <a:xfrm>
              <a:off x="2592978" y="3770226"/>
              <a:ext cx="15172" cy="24273"/>
            </a:xfrm>
            <a:custGeom>
              <a:avLst/>
              <a:gdLst>
                <a:gd name="T0" fmla="*/ 2147483647 w 31"/>
                <a:gd name="T1" fmla="*/ 2147483647 h 47"/>
                <a:gd name="T2" fmla="*/ 2147483647 w 31"/>
                <a:gd name="T3" fmla="*/ 2147483647 h 47"/>
                <a:gd name="T4" fmla="*/ 2147483647 w 31"/>
                <a:gd name="T5" fmla="*/ 2147483647 h 47"/>
                <a:gd name="T6" fmla="*/ 0 w 31"/>
                <a:gd name="T7" fmla="*/ 2147483647 h 47"/>
                <a:gd name="T8" fmla="*/ 2147483647 w 31"/>
                <a:gd name="T9" fmla="*/ 2147483647 h 47"/>
                <a:gd name="T10" fmla="*/ 2147483647 w 31"/>
                <a:gd name="T11" fmla="*/ 2147483647 h 47"/>
                <a:gd name="T12" fmla="*/ 2147483647 w 31"/>
                <a:gd name="T13" fmla="*/ 2147483647 h 47"/>
                <a:gd name="T14" fmla="*/ 2147483647 w 31"/>
                <a:gd name="T15" fmla="*/ 0 h 47"/>
                <a:gd name="T16" fmla="*/ 2147483647 w 31"/>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47"/>
                <a:gd name="T29" fmla="*/ 31 w 31"/>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47">
                  <a:moveTo>
                    <a:pt x="11" y="3"/>
                  </a:moveTo>
                  <a:lnTo>
                    <a:pt x="14" y="5"/>
                  </a:lnTo>
                  <a:lnTo>
                    <a:pt x="13" y="9"/>
                  </a:lnTo>
                  <a:lnTo>
                    <a:pt x="0" y="31"/>
                  </a:lnTo>
                  <a:lnTo>
                    <a:pt x="4" y="47"/>
                  </a:lnTo>
                  <a:lnTo>
                    <a:pt x="12" y="41"/>
                  </a:lnTo>
                  <a:lnTo>
                    <a:pt x="18" y="22"/>
                  </a:lnTo>
                  <a:lnTo>
                    <a:pt x="31" y="0"/>
                  </a:lnTo>
                  <a:lnTo>
                    <a:pt x="11" y="3"/>
                  </a:lnTo>
                  <a:close/>
                </a:path>
              </a:pathLst>
            </a:custGeom>
            <a:grpFill/>
            <a:ln w="6350">
              <a:solidFill>
                <a:schemeClr val="tx2"/>
              </a:solidFill>
              <a:round/>
              <a:headEnd/>
              <a:tailEnd/>
            </a:ln>
          </p:spPr>
          <p:txBody>
            <a:bodyPr/>
            <a:lstStyle/>
            <a:p>
              <a:endParaRPr lang="en-US"/>
            </a:p>
          </p:txBody>
        </p:sp>
        <p:sp>
          <p:nvSpPr>
            <p:cNvPr id="245" name="Freeform 1145"/>
            <p:cNvSpPr>
              <a:spLocks/>
            </p:cNvSpPr>
            <p:nvPr/>
          </p:nvSpPr>
          <p:spPr bwMode="auto">
            <a:xfrm>
              <a:off x="620730" y="2441234"/>
              <a:ext cx="638705" cy="802553"/>
            </a:xfrm>
            <a:custGeom>
              <a:avLst/>
              <a:gdLst>
                <a:gd name="T0" fmla="*/ 2147483647 w 1287"/>
                <a:gd name="T1" fmla="*/ 2147483647 h 1612"/>
                <a:gd name="T2" fmla="*/ 2147483647 w 1287"/>
                <a:gd name="T3" fmla="*/ 2147483647 h 1612"/>
                <a:gd name="T4" fmla="*/ 2147483647 w 1287"/>
                <a:gd name="T5" fmla="*/ 2147483647 h 1612"/>
                <a:gd name="T6" fmla="*/ 2147483647 w 1287"/>
                <a:gd name="T7" fmla="*/ 2147483647 h 1612"/>
                <a:gd name="T8" fmla="*/ 2147483647 w 1287"/>
                <a:gd name="T9" fmla="*/ 2147483647 h 1612"/>
                <a:gd name="T10" fmla="*/ 2147483647 w 1287"/>
                <a:gd name="T11" fmla="*/ 2147483647 h 1612"/>
                <a:gd name="T12" fmla="*/ 2147483647 w 1287"/>
                <a:gd name="T13" fmla="*/ 2147483647 h 1612"/>
                <a:gd name="T14" fmla="*/ 2147483647 w 1287"/>
                <a:gd name="T15" fmla="*/ 2147483647 h 1612"/>
                <a:gd name="T16" fmla="*/ 2147483647 w 1287"/>
                <a:gd name="T17" fmla="*/ 2147483647 h 1612"/>
                <a:gd name="T18" fmla="*/ 2147483647 w 1287"/>
                <a:gd name="T19" fmla="*/ 2147483647 h 1612"/>
                <a:gd name="T20" fmla="*/ 2147483647 w 1287"/>
                <a:gd name="T21" fmla="*/ 2147483647 h 1612"/>
                <a:gd name="T22" fmla="*/ 2147483647 w 1287"/>
                <a:gd name="T23" fmla="*/ 2147483647 h 1612"/>
                <a:gd name="T24" fmla="*/ 2147483647 w 1287"/>
                <a:gd name="T25" fmla="*/ 2147483647 h 1612"/>
                <a:gd name="T26" fmla="*/ 2147483647 w 1287"/>
                <a:gd name="T27" fmla="*/ 2147483647 h 1612"/>
                <a:gd name="T28" fmla="*/ 2147483647 w 1287"/>
                <a:gd name="T29" fmla="*/ 2147483647 h 1612"/>
                <a:gd name="T30" fmla="*/ 2147483647 w 1287"/>
                <a:gd name="T31" fmla="*/ 2147483647 h 1612"/>
                <a:gd name="T32" fmla="*/ 2147483647 w 1287"/>
                <a:gd name="T33" fmla="*/ 2147483647 h 1612"/>
                <a:gd name="T34" fmla="*/ 2147483647 w 1287"/>
                <a:gd name="T35" fmla="*/ 2147483647 h 1612"/>
                <a:gd name="T36" fmla="*/ 2147483647 w 1287"/>
                <a:gd name="T37" fmla="*/ 2147483647 h 1612"/>
                <a:gd name="T38" fmla="*/ 2147483647 w 1287"/>
                <a:gd name="T39" fmla="*/ 2147483647 h 1612"/>
                <a:gd name="T40" fmla="*/ 2147483647 w 1287"/>
                <a:gd name="T41" fmla="*/ 2147483647 h 1612"/>
                <a:gd name="T42" fmla="*/ 2147483647 w 1287"/>
                <a:gd name="T43" fmla="*/ 2147483647 h 1612"/>
                <a:gd name="T44" fmla="*/ 2147483647 w 1287"/>
                <a:gd name="T45" fmla="*/ 2147483647 h 1612"/>
                <a:gd name="T46" fmla="*/ 2147483647 w 1287"/>
                <a:gd name="T47" fmla="*/ 2147483647 h 1612"/>
                <a:gd name="T48" fmla="*/ 2147483647 w 1287"/>
                <a:gd name="T49" fmla="*/ 2147483647 h 1612"/>
                <a:gd name="T50" fmla="*/ 2147483647 w 1287"/>
                <a:gd name="T51" fmla="*/ 2147483647 h 1612"/>
                <a:gd name="T52" fmla="*/ 2147483647 w 1287"/>
                <a:gd name="T53" fmla="*/ 2147483647 h 1612"/>
                <a:gd name="T54" fmla="*/ 2147483647 w 1287"/>
                <a:gd name="T55" fmla="*/ 2147483647 h 1612"/>
                <a:gd name="T56" fmla="*/ 2147483647 w 1287"/>
                <a:gd name="T57" fmla="*/ 2147483647 h 1612"/>
                <a:gd name="T58" fmla="*/ 2147483647 w 1287"/>
                <a:gd name="T59" fmla="*/ 2147483647 h 1612"/>
                <a:gd name="T60" fmla="*/ 2147483647 w 1287"/>
                <a:gd name="T61" fmla="*/ 2147483647 h 1612"/>
                <a:gd name="T62" fmla="*/ 2147483647 w 1287"/>
                <a:gd name="T63" fmla="*/ 2147483647 h 1612"/>
                <a:gd name="T64" fmla="*/ 2147483647 w 1287"/>
                <a:gd name="T65" fmla="*/ 2147483647 h 1612"/>
                <a:gd name="T66" fmla="*/ 2147483647 w 1287"/>
                <a:gd name="T67" fmla="*/ 2147483647 h 1612"/>
                <a:gd name="T68" fmla="*/ 2147483647 w 1287"/>
                <a:gd name="T69" fmla="*/ 2147483647 h 1612"/>
                <a:gd name="T70" fmla="*/ 2147483647 w 1287"/>
                <a:gd name="T71" fmla="*/ 2147483647 h 1612"/>
                <a:gd name="T72" fmla="*/ 2147483647 w 1287"/>
                <a:gd name="T73" fmla="*/ 2147483647 h 1612"/>
                <a:gd name="T74" fmla="*/ 2147483647 w 1287"/>
                <a:gd name="T75" fmla="*/ 2147483647 h 1612"/>
                <a:gd name="T76" fmla="*/ 2147483647 w 1287"/>
                <a:gd name="T77" fmla="*/ 2147483647 h 1612"/>
                <a:gd name="T78" fmla="*/ 2147483647 w 1287"/>
                <a:gd name="T79" fmla="*/ 2147483647 h 1612"/>
                <a:gd name="T80" fmla="*/ 2147483647 w 1287"/>
                <a:gd name="T81" fmla="*/ 2147483647 h 1612"/>
                <a:gd name="T82" fmla="*/ 2147483647 w 1287"/>
                <a:gd name="T83" fmla="*/ 2147483647 h 1612"/>
                <a:gd name="T84" fmla="*/ 2147483647 w 1287"/>
                <a:gd name="T85" fmla="*/ 2147483647 h 1612"/>
                <a:gd name="T86" fmla="*/ 2147483647 w 1287"/>
                <a:gd name="T87" fmla="*/ 2147483647 h 1612"/>
                <a:gd name="T88" fmla="*/ 2147483647 w 1287"/>
                <a:gd name="T89" fmla="*/ 2147483647 h 1612"/>
                <a:gd name="T90" fmla="*/ 2147483647 w 1287"/>
                <a:gd name="T91" fmla="*/ 2147483647 h 1612"/>
                <a:gd name="T92" fmla="*/ 2147483647 w 1287"/>
                <a:gd name="T93" fmla="*/ 2147483647 h 1612"/>
                <a:gd name="T94" fmla="*/ 2147483647 w 1287"/>
                <a:gd name="T95" fmla="*/ 2147483647 h 1612"/>
                <a:gd name="T96" fmla="*/ 2147483647 w 1287"/>
                <a:gd name="T97" fmla="*/ 2147483647 h 1612"/>
                <a:gd name="T98" fmla="*/ 2147483647 w 1287"/>
                <a:gd name="T99" fmla="*/ 2147483647 h 1612"/>
                <a:gd name="T100" fmla="*/ 2147483647 w 1287"/>
                <a:gd name="T101" fmla="*/ 2147483647 h 1612"/>
                <a:gd name="T102" fmla="*/ 2147483647 w 1287"/>
                <a:gd name="T103" fmla="*/ 2147483647 h 1612"/>
                <a:gd name="T104" fmla="*/ 2147483647 w 1287"/>
                <a:gd name="T105" fmla="*/ 2147483647 h 1612"/>
                <a:gd name="T106" fmla="*/ 2147483647 w 1287"/>
                <a:gd name="T107" fmla="*/ 2147483647 h 1612"/>
                <a:gd name="T108" fmla="*/ 2147483647 w 1287"/>
                <a:gd name="T109" fmla="*/ 2147483647 h 1612"/>
                <a:gd name="T110" fmla="*/ 2147483647 w 1287"/>
                <a:gd name="T111" fmla="*/ 2147483647 h 1612"/>
                <a:gd name="T112" fmla="*/ 2147483647 w 1287"/>
                <a:gd name="T113" fmla="*/ 2147483647 h 1612"/>
                <a:gd name="T114" fmla="*/ 2147483647 w 1287"/>
                <a:gd name="T115" fmla="*/ 2147483647 h 161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87"/>
                <a:gd name="T175" fmla="*/ 0 h 1612"/>
                <a:gd name="T176" fmla="*/ 1287 w 1287"/>
                <a:gd name="T177" fmla="*/ 1612 h 161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87" h="1612">
                  <a:moveTo>
                    <a:pt x="1287" y="1251"/>
                  </a:moveTo>
                  <a:lnTo>
                    <a:pt x="1248" y="1204"/>
                  </a:lnTo>
                  <a:lnTo>
                    <a:pt x="1244" y="1200"/>
                  </a:lnTo>
                  <a:lnTo>
                    <a:pt x="1247" y="1177"/>
                  </a:lnTo>
                  <a:lnTo>
                    <a:pt x="1220" y="1177"/>
                  </a:lnTo>
                  <a:lnTo>
                    <a:pt x="1211" y="1190"/>
                  </a:lnTo>
                  <a:lnTo>
                    <a:pt x="1194" y="1179"/>
                  </a:lnTo>
                  <a:lnTo>
                    <a:pt x="1183" y="1189"/>
                  </a:lnTo>
                  <a:lnTo>
                    <a:pt x="1168" y="1178"/>
                  </a:lnTo>
                  <a:lnTo>
                    <a:pt x="1168" y="1127"/>
                  </a:lnTo>
                  <a:lnTo>
                    <a:pt x="1168" y="1075"/>
                  </a:lnTo>
                  <a:lnTo>
                    <a:pt x="1168" y="1021"/>
                  </a:lnTo>
                  <a:lnTo>
                    <a:pt x="1168" y="965"/>
                  </a:lnTo>
                  <a:lnTo>
                    <a:pt x="1168" y="911"/>
                  </a:lnTo>
                  <a:lnTo>
                    <a:pt x="1168" y="854"/>
                  </a:lnTo>
                  <a:lnTo>
                    <a:pt x="1168" y="796"/>
                  </a:lnTo>
                  <a:lnTo>
                    <a:pt x="1168" y="736"/>
                  </a:lnTo>
                  <a:lnTo>
                    <a:pt x="1168" y="676"/>
                  </a:lnTo>
                  <a:lnTo>
                    <a:pt x="1168" y="614"/>
                  </a:lnTo>
                  <a:lnTo>
                    <a:pt x="1168" y="550"/>
                  </a:lnTo>
                  <a:lnTo>
                    <a:pt x="1168" y="486"/>
                  </a:lnTo>
                  <a:lnTo>
                    <a:pt x="1168" y="419"/>
                  </a:lnTo>
                  <a:lnTo>
                    <a:pt x="1168" y="351"/>
                  </a:lnTo>
                  <a:lnTo>
                    <a:pt x="1168" y="281"/>
                  </a:lnTo>
                  <a:lnTo>
                    <a:pt x="1168" y="209"/>
                  </a:lnTo>
                  <a:lnTo>
                    <a:pt x="1160" y="207"/>
                  </a:lnTo>
                  <a:lnTo>
                    <a:pt x="1155" y="219"/>
                  </a:lnTo>
                  <a:lnTo>
                    <a:pt x="1072" y="158"/>
                  </a:lnTo>
                  <a:lnTo>
                    <a:pt x="1061" y="159"/>
                  </a:lnTo>
                  <a:lnTo>
                    <a:pt x="1059" y="172"/>
                  </a:lnTo>
                  <a:lnTo>
                    <a:pt x="1049" y="161"/>
                  </a:lnTo>
                  <a:lnTo>
                    <a:pt x="983" y="175"/>
                  </a:lnTo>
                  <a:lnTo>
                    <a:pt x="952" y="153"/>
                  </a:lnTo>
                  <a:lnTo>
                    <a:pt x="910" y="156"/>
                  </a:lnTo>
                  <a:lnTo>
                    <a:pt x="810" y="111"/>
                  </a:lnTo>
                  <a:lnTo>
                    <a:pt x="766" y="123"/>
                  </a:lnTo>
                  <a:lnTo>
                    <a:pt x="773" y="118"/>
                  </a:lnTo>
                  <a:lnTo>
                    <a:pt x="767" y="111"/>
                  </a:lnTo>
                  <a:lnTo>
                    <a:pt x="706" y="116"/>
                  </a:lnTo>
                  <a:lnTo>
                    <a:pt x="714" y="104"/>
                  </a:lnTo>
                  <a:lnTo>
                    <a:pt x="697" y="100"/>
                  </a:lnTo>
                  <a:lnTo>
                    <a:pt x="683" y="90"/>
                  </a:lnTo>
                  <a:lnTo>
                    <a:pt x="690" y="69"/>
                  </a:lnTo>
                  <a:lnTo>
                    <a:pt x="662" y="63"/>
                  </a:lnTo>
                  <a:lnTo>
                    <a:pt x="664" y="75"/>
                  </a:lnTo>
                  <a:lnTo>
                    <a:pt x="656" y="75"/>
                  </a:lnTo>
                  <a:lnTo>
                    <a:pt x="642" y="53"/>
                  </a:lnTo>
                  <a:lnTo>
                    <a:pt x="599" y="71"/>
                  </a:lnTo>
                  <a:lnTo>
                    <a:pt x="581" y="62"/>
                  </a:lnTo>
                  <a:lnTo>
                    <a:pt x="585" y="55"/>
                  </a:lnTo>
                  <a:lnTo>
                    <a:pt x="577" y="36"/>
                  </a:lnTo>
                  <a:lnTo>
                    <a:pt x="563" y="30"/>
                  </a:lnTo>
                  <a:lnTo>
                    <a:pt x="547" y="45"/>
                  </a:lnTo>
                  <a:lnTo>
                    <a:pt x="546" y="56"/>
                  </a:lnTo>
                  <a:lnTo>
                    <a:pt x="554" y="81"/>
                  </a:lnTo>
                  <a:lnTo>
                    <a:pt x="546" y="81"/>
                  </a:lnTo>
                  <a:lnTo>
                    <a:pt x="541" y="68"/>
                  </a:lnTo>
                  <a:lnTo>
                    <a:pt x="508" y="67"/>
                  </a:lnTo>
                  <a:lnTo>
                    <a:pt x="514" y="51"/>
                  </a:lnTo>
                  <a:lnTo>
                    <a:pt x="541" y="38"/>
                  </a:lnTo>
                  <a:lnTo>
                    <a:pt x="541" y="26"/>
                  </a:lnTo>
                  <a:lnTo>
                    <a:pt x="492" y="0"/>
                  </a:lnTo>
                  <a:lnTo>
                    <a:pt x="478" y="18"/>
                  </a:lnTo>
                  <a:lnTo>
                    <a:pt x="480" y="26"/>
                  </a:lnTo>
                  <a:lnTo>
                    <a:pt x="439" y="67"/>
                  </a:lnTo>
                  <a:lnTo>
                    <a:pt x="386" y="72"/>
                  </a:lnTo>
                  <a:lnTo>
                    <a:pt x="390" y="75"/>
                  </a:lnTo>
                  <a:lnTo>
                    <a:pt x="383" y="79"/>
                  </a:lnTo>
                  <a:lnTo>
                    <a:pt x="385" y="89"/>
                  </a:lnTo>
                  <a:lnTo>
                    <a:pt x="371" y="80"/>
                  </a:lnTo>
                  <a:lnTo>
                    <a:pt x="393" y="57"/>
                  </a:lnTo>
                  <a:lnTo>
                    <a:pt x="355" y="79"/>
                  </a:lnTo>
                  <a:lnTo>
                    <a:pt x="345" y="91"/>
                  </a:lnTo>
                  <a:lnTo>
                    <a:pt x="372" y="109"/>
                  </a:lnTo>
                  <a:lnTo>
                    <a:pt x="355" y="113"/>
                  </a:lnTo>
                  <a:lnTo>
                    <a:pt x="351" y="143"/>
                  </a:lnTo>
                  <a:lnTo>
                    <a:pt x="347" y="127"/>
                  </a:lnTo>
                  <a:lnTo>
                    <a:pt x="340" y="132"/>
                  </a:lnTo>
                  <a:lnTo>
                    <a:pt x="348" y="109"/>
                  </a:lnTo>
                  <a:lnTo>
                    <a:pt x="340" y="99"/>
                  </a:lnTo>
                  <a:lnTo>
                    <a:pt x="265" y="157"/>
                  </a:lnTo>
                  <a:lnTo>
                    <a:pt x="272" y="139"/>
                  </a:lnTo>
                  <a:lnTo>
                    <a:pt x="264" y="138"/>
                  </a:lnTo>
                  <a:lnTo>
                    <a:pt x="254" y="166"/>
                  </a:lnTo>
                  <a:lnTo>
                    <a:pt x="245" y="170"/>
                  </a:lnTo>
                  <a:lnTo>
                    <a:pt x="224" y="198"/>
                  </a:lnTo>
                  <a:lnTo>
                    <a:pt x="220" y="208"/>
                  </a:lnTo>
                  <a:lnTo>
                    <a:pt x="214" y="249"/>
                  </a:lnTo>
                  <a:lnTo>
                    <a:pt x="211" y="240"/>
                  </a:lnTo>
                  <a:lnTo>
                    <a:pt x="197" y="279"/>
                  </a:lnTo>
                  <a:lnTo>
                    <a:pt x="177" y="297"/>
                  </a:lnTo>
                  <a:lnTo>
                    <a:pt x="80" y="311"/>
                  </a:lnTo>
                  <a:lnTo>
                    <a:pt x="78" y="355"/>
                  </a:lnTo>
                  <a:lnTo>
                    <a:pt x="85" y="355"/>
                  </a:lnTo>
                  <a:lnTo>
                    <a:pt x="54" y="371"/>
                  </a:lnTo>
                  <a:lnTo>
                    <a:pt x="162" y="448"/>
                  </a:lnTo>
                  <a:lnTo>
                    <a:pt x="181" y="469"/>
                  </a:lnTo>
                  <a:lnTo>
                    <a:pt x="192" y="515"/>
                  </a:lnTo>
                  <a:lnTo>
                    <a:pt x="228" y="530"/>
                  </a:lnTo>
                  <a:lnTo>
                    <a:pt x="230" y="516"/>
                  </a:lnTo>
                  <a:lnTo>
                    <a:pt x="243" y="511"/>
                  </a:lnTo>
                  <a:lnTo>
                    <a:pt x="240" y="527"/>
                  </a:lnTo>
                  <a:lnTo>
                    <a:pt x="243" y="531"/>
                  </a:lnTo>
                  <a:lnTo>
                    <a:pt x="278" y="525"/>
                  </a:lnTo>
                  <a:lnTo>
                    <a:pt x="284" y="531"/>
                  </a:lnTo>
                  <a:lnTo>
                    <a:pt x="269" y="552"/>
                  </a:lnTo>
                  <a:lnTo>
                    <a:pt x="291" y="577"/>
                  </a:lnTo>
                  <a:lnTo>
                    <a:pt x="296" y="561"/>
                  </a:lnTo>
                  <a:lnTo>
                    <a:pt x="298" y="570"/>
                  </a:lnTo>
                  <a:lnTo>
                    <a:pt x="326" y="573"/>
                  </a:lnTo>
                  <a:lnTo>
                    <a:pt x="368" y="562"/>
                  </a:lnTo>
                  <a:lnTo>
                    <a:pt x="371" y="574"/>
                  </a:lnTo>
                  <a:lnTo>
                    <a:pt x="322" y="595"/>
                  </a:lnTo>
                  <a:lnTo>
                    <a:pt x="298" y="578"/>
                  </a:lnTo>
                  <a:lnTo>
                    <a:pt x="276" y="583"/>
                  </a:lnTo>
                  <a:lnTo>
                    <a:pt x="261" y="562"/>
                  </a:lnTo>
                  <a:lnTo>
                    <a:pt x="270" y="584"/>
                  </a:lnTo>
                  <a:lnTo>
                    <a:pt x="266" y="601"/>
                  </a:lnTo>
                  <a:lnTo>
                    <a:pt x="272" y="603"/>
                  </a:lnTo>
                  <a:lnTo>
                    <a:pt x="274" y="591"/>
                  </a:lnTo>
                  <a:lnTo>
                    <a:pt x="310" y="605"/>
                  </a:lnTo>
                  <a:lnTo>
                    <a:pt x="302" y="620"/>
                  </a:lnTo>
                  <a:lnTo>
                    <a:pt x="301" y="610"/>
                  </a:lnTo>
                  <a:lnTo>
                    <a:pt x="285" y="604"/>
                  </a:lnTo>
                  <a:lnTo>
                    <a:pt x="271" y="638"/>
                  </a:lnTo>
                  <a:lnTo>
                    <a:pt x="260" y="627"/>
                  </a:lnTo>
                  <a:lnTo>
                    <a:pt x="193" y="627"/>
                  </a:lnTo>
                  <a:lnTo>
                    <a:pt x="174" y="612"/>
                  </a:lnTo>
                  <a:lnTo>
                    <a:pt x="187" y="602"/>
                  </a:lnTo>
                  <a:lnTo>
                    <a:pt x="186" y="577"/>
                  </a:lnTo>
                  <a:lnTo>
                    <a:pt x="193" y="569"/>
                  </a:lnTo>
                  <a:lnTo>
                    <a:pt x="148" y="571"/>
                  </a:lnTo>
                  <a:lnTo>
                    <a:pt x="99" y="606"/>
                  </a:lnTo>
                  <a:lnTo>
                    <a:pt x="112" y="619"/>
                  </a:lnTo>
                  <a:lnTo>
                    <a:pt x="79" y="616"/>
                  </a:lnTo>
                  <a:lnTo>
                    <a:pt x="49" y="645"/>
                  </a:lnTo>
                  <a:lnTo>
                    <a:pt x="28" y="650"/>
                  </a:lnTo>
                  <a:lnTo>
                    <a:pt x="27" y="660"/>
                  </a:lnTo>
                  <a:lnTo>
                    <a:pt x="0" y="666"/>
                  </a:lnTo>
                  <a:lnTo>
                    <a:pt x="33" y="698"/>
                  </a:lnTo>
                  <a:lnTo>
                    <a:pt x="84" y="708"/>
                  </a:lnTo>
                  <a:lnTo>
                    <a:pt x="64" y="723"/>
                  </a:lnTo>
                  <a:lnTo>
                    <a:pt x="56" y="711"/>
                  </a:lnTo>
                  <a:lnTo>
                    <a:pt x="53" y="718"/>
                  </a:lnTo>
                  <a:lnTo>
                    <a:pt x="72" y="746"/>
                  </a:lnTo>
                  <a:lnTo>
                    <a:pt x="70" y="765"/>
                  </a:lnTo>
                  <a:lnTo>
                    <a:pt x="85" y="781"/>
                  </a:lnTo>
                  <a:lnTo>
                    <a:pt x="141" y="794"/>
                  </a:lnTo>
                  <a:lnTo>
                    <a:pt x="194" y="781"/>
                  </a:lnTo>
                  <a:lnTo>
                    <a:pt x="216" y="798"/>
                  </a:lnTo>
                  <a:lnTo>
                    <a:pt x="219" y="787"/>
                  </a:lnTo>
                  <a:lnTo>
                    <a:pt x="204" y="776"/>
                  </a:lnTo>
                  <a:lnTo>
                    <a:pt x="215" y="775"/>
                  </a:lnTo>
                  <a:lnTo>
                    <a:pt x="227" y="787"/>
                  </a:lnTo>
                  <a:lnTo>
                    <a:pt x="233" y="809"/>
                  </a:lnTo>
                  <a:lnTo>
                    <a:pt x="245" y="786"/>
                  </a:lnTo>
                  <a:lnTo>
                    <a:pt x="274" y="756"/>
                  </a:lnTo>
                  <a:lnTo>
                    <a:pt x="291" y="760"/>
                  </a:lnTo>
                  <a:lnTo>
                    <a:pt x="306" y="748"/>
                  </a:lnTo>
                  <a:lnTo>
                    <a:pt x="318" y="760"/>
                  </a:lnTo>
                  <a:lnTo>
                    <a:pt x="310" y="787"/>
                  </a:lnTo>
                  <a:lnTo>
                    <a:pt x="286" y="786"/>
                  </a:lnTo>
                  <a:lnTo>
                    <a:pt x="288" y="800"/>
                  </a:lnTo>
                  <a:lnTo>
                    <a:pt x="299" y="799"/>
                  </a:lnTo>
                  <a:lnTo>
                    <a:pt x="316" y="845"/>
                  </a:lnTo>
                  <a:lnTo>
                    <a:pt x="316" y="861"/>
                  </a:lnTo>
                  <a:lnTo>
                    <a:pt x="304" y="882"/>
                  </a:lnTo>
                  <a:lnTo>
                    <a:pt x="256" y="896"/>
                  </a:lnTo>
                  <a:lnTo>
                    <a:pt x="261" y="888"/>
                  </a:lnTo>
                  <a:lnTo>
                    <a:pt x="252" y="886"/>
                  </a:lnTo>
                  <a:lnTo>
                    <a:pt x="220" y="928"/>
                  </a:lnTo>
                  <a:lnTo>
                    <a:pt x="200" y="924"/>
                  </a:lnTo>
                  <a:lnTo>
                    <a:pt x="189" y="933"/>
                  </a:lnTo>
                  <a:lnTo>
                    <a:pt x="172" y="943"/>
                  </a:lnTo>
                  <a:lnTo>
                    <a:pt x="172" y="959"/>
                  </a:lnTo>
                  <a:lnTo>
                    <a:pt x="149" y="959"/>
                  </a:lnTo>
                  <a:lnTo>
                    <a:pt x="112" y="993"/>
                  </a:lnTo>
                  <a:lnTo>
                    <a:pt x="100" y="1019"/>
                  </a:lnTo>
                  <a:lnTo>
                    <a:pt x="100" y="1037"/>
                  </a:lnTo>
                  <a:lnTo>
                    <a:pt x="84" y="1044"/>
                  </a:lnTo>
                  <a:lnTo>
                    <a:pt x="92" y="1055"/>
                  </a:lnTo>
                  <a:lnTo>
                    <a:pt x="82" y="1060"/>
                  </a:lnTo>
                  <a:lnTo>
                    <a:pt x="79" y="1072"/>
                  </a:lnTo>
                  <a:lnTo>
                    <a:pt x="119" y="1063"/>
                  </a:lnTo>
                  <a:lnTo>
                    <a:pt x="122" y="1066"/>
                  </a:lnTo>
                  <a:lnTo>
                    <a:pt x="98" y="1071"/>
                  </a:lnTo>
                  <a:lnTo>
                    <a:pt x="93" y="1081"/>
                  </a:lnTo>
                  <a:lnTo>
                    <a:pt x="104" y="1088"/>
                  </a:lnTo>
                  <a:lnTo>
                    <a:pt x="119" y="1082"/>
                  </a:lnTo>
                  <a:lnTo>
                    <a:pt x="114" y="1093"/>
                  </a:lnTo>
                  <a:lnTo>
                    <a:pt x="123" y="1117"/>
                  </a:lnTo>
                  <a:lnTo>
                    <a:pt x="137" y="1107"/>
                  </a:lnTo>
                  <a:lnTo>
                    <a:pt x="141" y="1115"/>
                  </a:lnTo>
                  <a:lnTo>
                    <a:pt x="152" y="1114"/>
                  </a:lnTo>
                  <a:lnTo>
                    <a:pt x="145" y="1126"/>
                  </a:lnTo>
                  <a:lnTo>
                    <a:pt x="154" y="1130"/>
                  </a:lnTo>
                  <a:lnTo>
                    <a:pt x="188" y="1129"/>
                  </a:lnTo>
                  <a:lnTo>
                    <a:pt x="190" y="1138"/>
                  </a:lnTo>
                  <a:lnTo>
                    <a:pt x="173" y="1148"/>
                  </a:lnTo>
                  <a:lnTo>
                    <a:pt x="153" y="1180"/>
                  </a:lnTo>
                  <a:lnTo>
                    <a:pt x="160" y="1202"/>
                  </a:lnTo>
                  <a:lnTo>
                    <a:pt x="176" y="1198"/>
                  </a:lnTo>
                  <a:lnTo>
                    <a:pt x="176" y="1206"/>
                  </a:lnTo>
                  <a:lnTo>
                    <a:pt x="169" y="1213"/>
                  </a:lnTo>
                  <a:lnTo>
                    <a:pt x="183" y="1227"/>
                  </a:lnTo>
                  <a:lnTo>
                    <a:pt x="216" y="1232"/>
                  </a:lnTo>
                  <a:lnTo>
                    <a:pt x="246" y="1191"/>
                  </a:lnTo>
                  <a:lnTo>
                    <a:pt x="235" y="1173"/>
                  </a:lnTo>
                  <a:lnTo>
                    <a:pt x="250" y="1151"/>
                  </a:lnTo>
                  <a:lnTo>
                    <a:pt x="283" y="1130"/>
                  </a:lnTo>
                  <a:lnTo>
                    <a:pt x="244" y="1177"/>
                  </a:lnTo>
                  <a:lnTo>
                    <a:pt x="273" y="1242"/>
                  </a:lnTo>
                  <a:lnTo>
                    <a:pt x="261" y="1269"/>
                  </a:lnTo>
                  <a:lnTo>
                    <a:pt x="265" y="1280"/>
                  </a:lnTo>
                  <a:lnTo>
                    <a:pt x="279" y="1279"/>
                  </a:lnTo>
                  <a:lnTo>
                    <a:pt x="271" y="1287"/>
                  </a:lnTo>
                  <a:lnTo>
                    <a:pt x="272" y="1300"/>
                  </a:lnTo>
                  <a:lnTo>
                    <a:pt x="279" y="1303"/>
                  </a:lnTo>
                  <a:lnTo>
                    <a:pt x="256" y="1317"/>
                  </a:lnTo>
                  <a:lnTo>
                    <a:pt x="271" y="1319"/>
                  </a:lnTo>
                  <a:lnTo>
                    <a:pt x="314" y="1294"/>
                  </a:lnTo>
                  <a:lnTo>
                    <a:pt x="335" y="1264"/>
                  </a:lnTo>
                  <a:lnTo>
                    <a:pt x="334" y="1292"/>
                  </a:lnTo>
                  <a:lnTo>
                    <a:pt x="350" y="1303"/>
                  </a:lnTo>
                  <a:lnTo>
                    <a:pt x="366" y="1296"/>
                  </a:lnTo>
                  <a:lnTo>
                    <a:pt x="391" y="1337"/>
                  </a:lnTo>
                  <a:lnTo>
                    <a:pt x="400" y="1329"/>
                  </a:lnTo>
                  <a:lnTo>
                    <a:pt x="396" y="1308"/>
                  </a:lnTo>
                  <a:lnTo>
                    <a:pt x="410" y="1287"/>
                  </a:lnTo>
                  <a:lnTo>
                    <a:pt x="414" y="1291"/>
                  </a:lnTo>
                  <a:lnTo>
                    <a:pt x="410" y="1302"/>
                  </a:lnTo>
                  <a:lnTo>
                    <a:pt x="431" y="1316"/>
                  </a:lnTo>
                  <a:lnTo>
                    <a:pt x="488" y="1281"/>
                  </a:lnTo>
                  <a:lnTo>
                    <a:pt x="471" y="1304"/>
                  </a:lnTo>
                  <a:lnTo>
                    <a:pt x="474" y="1307"/>
                  </a:lnTo>
                  <a:lnTo>
                    <a:pt x="459" y="1322"/>
                  </a:lnTo>
                  <a:lnTo>
                    <a:pt x="455" y="1344"/>
                  </a:lnTo>
                  <a:lnTo>
                    <a:pt x="463" y="1345"/>
                  </a:lnTo>
                  <a:lnTo>
                    <a:pt x="453" y="1357"/>
                  </a:lnTo>
                  <a:lnTo>
                    <a:pt x="446" y="1399"/>
                  </a:lnTo>
                  <a:lnTo>
                    <a:pt x="432" y="1423"/>
                  </a:lnTo>
                  <a:lnTo>
                    <a:pt x="424" y="1421"/>
                  </a:lnTo>
                  <a:lnTo>
                    <a:pt x="410" y="1440"/>
                  </a:lnTo>
                  <a:lnTo>
                    <a:pt x="403" y="1462"/>
                  </a:lnTo>
                  <a:lnTo>
                    <a:pt x="392" y="1460"/>
                  </a:lnTo>
                  <a:lnTo>
                    <a:pt x="338" y="1498"/>
                  </a:lnTo>
                  <a:lnTo>
                    <a:pt x="322" y="1532"/>
                  </a:lnTo>
                  <a:lnTo>
                    <a:pt x="317" y="1533"/>
                  </a:lnTo>
                  <a:lnTo>
                    <a:pt x="314" y="1541"/>
                  </a:lnTo>
                  <a:lnTo>
                    <a:pt x="306" y="1532"/>
                  </a:lnTo>
                  <a:lnTo>
                    <a:pt x="309" y="1524"/>
                  </a:lnTo>
                  <a:lnTo>
                    <a:pt x="290" y="1524"/>
                  </a:lnTo>
                  <a:lnTo>
                    <a:pt x="256" y="1544"/>
                  </a:lnTo>
                  <a:lnTo>
                    <a:pt x="221" y="1586"/>
                  </a:lnTo>
                  <a:lnTo>
                    <a:pt x="202" y="1590"/>
                  </a:lnTo>
                  <a:lnTo>
                    <a:pt x="198" y="1593"/>
                  </a:lnTo>
                  <a:lnTo>
                    <a:pt x="206" y="1612"/>
                  </a:lnTo>
                  <a:lnTo>
                    <a:pt x="213" y="1603"/>
                  </a:lnTo>
                  <a:lnTo>
                    <a:pt x="211" y="1593"/>
                  </a:lnTo>
                  <a:lnTo>
                    <a:pt x="222" y="1604"/>
                  </a:lnTo>
                  <a:lnTo>
                    <a:pt x="235" y="1598"/>
                  </a:lnTo>
                  <a:lnTo>
                    <a:pt x="234" y="1582"/>
                  </a:lnTo>
                  <a:lnTo>
                    <a:pt x="241" y="1595"/>
                  </a:lnTo>
                  <a:lnTo>
                    <a:pt x="257" y="1593"/>
                  </a:lnTo>
                  <a:lnTo>
                    <a:pt x="279" y="1555"/>
                  </a:lnTo>
                  <a:lnTo>
                    <a:pt x="285" y="1555"/>
                  </a:lnTo>
                  <a:lnTo>
                    <a:pt x="282" y="1574"/>
                  </a:lnTo>
                  <a:lnTo>
                    <a:pt x="316" y="1566"/>
                  </a:lnTo>
                  <a:lnTo>
                    <a:pt x="319" y="1557"/>
                  </a:lnTo>
                  <a:lnTo>
                    <a:pt x="324" y="1562"/>
                  </a:lnTo>
                  <a:lnTo>
                    <a:pt x="353" y="1539"/>
                  </a:lnTo>
                  <a:lnTo>
                    <a:pt x="360" y="1544"/>
                  </a:lnTo>
                  <a:lnTo>
                    <a:pt x="360" y="1560"/>
                  </a:lnTo>
                  <a:lnTo>
                    <a:pt x="370" y="1533"/>
                  </a:lnTo>
                  <a:lnTo>
                    <a:pt x="389" y="1533"/>
                  </a:lnTo>
                  <a:lnTo>
                    <a:pt x="405" y="1522"/>
                  </a:lnTo>
                  <a:lnTo>
                    <a:pt x="405" y="1509"/>
                  </a:lnTo>
                  <a:lnTo>
                    <a:pt x="404" y="1503"/>
                  </a:lnTo>
                  <a:lnTo>
                    <a:pt x="415" y="1492"/>
                  </a:lnTo>
                  <a:lnTo>
                    <a:pt x="438" y="1489"/>
                  </a:lnTo>
                  <a:lnTo>
                    <a:pt x="440" y="1483"/>
                  </a:lnTo>
                  <a:lnTo>
                    <a:pt x="431" y="1483"/>
                  </a:lnTo>
                  <a:lnTo>
                    <a:pt x="444" y="1474"/>
                  </a:lnTo>
                  <a:lnTo>
                    <a:pt x="454" y="1478"/>
                  </a:lnTo>
                  <a:lnTo>
                    <a:pt x="454" y="1462"/>
                  </a:lnTo>
                  <a:lnTo>
                    <a:pt x="468" y="1463"/>
                  </a:lnTo>
                  <a:lnTo>
                    <a:pt x="498" y="1442"/>
                  </a:lnTo>
                  <a:lnTo>
                    <a:pt x="503" y="1425"/>
                  </a:lnTo>
                  <a:lnTo>
                    <a:pt x="515" y="1412"/>
                  </a:lnTo>
                  <a:lnTo>
                    <a:pt x="518" y="1402"/>
                  </a:lnTo>
                  <a:lnTo>
                    <a:pt x="528" y="1403"/>
                  </a:lnTo>
                  <a:lnTo>
                    <a:pt x="532" y="1387"/>
                  </a:lnTo>
                  <a:lnTo>
                    <a:pt x="544" y="1391"/>
                  </a:lnTo>
                  <a:lnTo>
                    <a:pt x="562" y="1369"/>
                  </a:lnTo>
                  <a:lnTo>
                    <a:pt x="599" y="1354"/>
                  </a:lnTo>
                  <a:lnTo>
                    <a:pt x="595" y="1343"/>
                  </a:lnTo>
                  <a:lnTo>
                    <a:pt x="602" y="1339"/>
                  </a:lnTo>
                  <a:lnTo>
                    <a:pt x="602" y="1328"/>
                  </a:lnTo>
                  <a:lnTo>
                    <a:pt x="626" y="1314"/>
                  </a:lnTo>
                  <a:lnTo>
                    <a:pt x="632" y="1302"/>
                  </a:lnTo>
                  <a:lnTo>
                    <a:pt x="616" y="1284"/>
                  </a:lnTo>
                  <a:lnTo>
                    <a:pt x="594" y="1284"/>
                  </a:lnTo>
                  <a:lnTo>
                    <a:pt x="601" y="1255"/>
                  </a:lnTo>
                  <a:lnTo>
                    <a:pt x="616" y="1248"/>
                  </a:lnTo>
                  <a:lnTo>
                    <a:pt x="621" y="1241"/>
                  </a:lnTo>
                  <a:lnTo>
                    <a:pt x="620" y="1228"/>
                  </a:lnTo>
                  <a:lnTo>
                    <a:pt x="641" y="1228"/>
                  </a:lnTo>
                  <a:lnTo>
                    <a:pt x="645" y="1218"/>
                  </a:lnTo>
                  <a:lnTo>
                    <a:pt x="638" y="1216"/>
                  </a:lnTo>
                  <a:lnTo>
                    <a:pt x="662" y="1203"/>
                  </a:lnTo>
                  <a:lnTo>
                    <a:pt x="660" y="1192"/>
                  </a:lnTo>
                  <a:lnTo>
                    <a:pt x="644" y="1178"/>
                  </a:lnTo>
                  <a:lnTo>
                    <a:pt x="664" y="1183"/>
                  </a:lnTo>
                  <a:lnTo>
                    <a:pt x="678" y="1169"/>
                  </a:lnTo>
                  <a:lnTo>
                    <a:pt x="700" y="1124"/>
                  </a:lnTo>
                  <a:lnTo>
                    <a:pt x="745" y="1091"/>
                  </a:lnTo>
                  <a:lnTo>
                    <a:pt x="745" y="1069"/>
                  </a:lnTo>
                  <a:lnTo>
                    <a:pt x="764" y="1024"/>
                  </a:lnTo>
                  <a:lnTo>
                    <a:pt x="767" y="1001"/>
                  </a:lnTo>
                  <a:lnTo>
                    <a:pt x="772" y="1010"/>
                  </a:lnTo>
                  <a:lnTo>
                    <a:pt x="768" y="1042"/>
                  </a:lnTo>
                  <a:lnTo>
                    <a:pt x="755" y="1071"/>
                  </a:lnTo>
                  <a:lnTo>
                    <a:pt x="751" y="1090"/>
                  </a:lnTo>
                  <a:lnTo>
                    <a:pt x="772" y="1094"/>
                  </a:lnTo>
                  <a:lnTo>
                    <a:pt x="806" y="1071"/>
                  </a:lnTo>
                  <a:lnTo>
                    <a:pt x="802" y="1081"/>
                  </a:lnTo>
                  <a:lnTo>
                    <a:pt x="775" y="1099"/>
                  </a:lnTo>
                  <a:lnTo>
                    <a:pt x="776" y="1107"/>
                  </a:lnTo>
                  <a:lnTo>
                    <a:pt x="819" y="1127"/>
                  </a:lnTo>
                  <a:lnTo>
                    <a:pt x="811" y="1136"/>
                  </a:lnTo>
                  <a:lnTo>
                    <a:pt x="772" y="1127"/>
                  </a:lnTo>
                  <a:lnTo>
                    <a:pt x="761" y="1115"/>
                  </a:lnTo>
                  <a:lnTo>
                    <a:pt x="721" y="1138"/>
                  </a:lnTo>
                  <a:lnTo>
                    <a:pt x="717" y="1144"/>
                  </a:lnTo>
                  <a:lnTo>
                    <a:pt x="718" y="1179"/>
                  </a:lnTo>
                  <a:lnTo>
                    <a:pt x="698" y="1224"/>
                  </a:lnTo>
                  <a:lnTo>
                    <a:pt x="711" y="1234"/>
                  </a:lnTo>
                  <a:lnTo>
                    <a:pt x="735" y="1223"/>
                  </a:lnTo>
                  <a:lnTo>
                    <a:pt x="727" y="1238"/>
                  </a:lnTo>
                  <a:lnTo>
                    <a:pt x="717" y="1243"/>
                  </a:lnTo>
                  <a:lnTo>
                    <a:pt x="720" y="1249"/>
                  </a:lnTo>
                  <a:lnTo>
                    <a:pt x="701" y="1248"/>
                  </a:lnTo>
                  <a:lnTo>
                    <a:pt x="694" y="1267"/>
                  </a:lnTo>
                  <a:lnTo>
                    <a:pt x="704" y="1273"/>
                  </a:lnTo>
                  <a:lnTo>
                    <a:pt x="725" y="1269"/>
                  </a:lnTo>
                  <a:lnTo>
                    <a:pt x="726" y="1260"/>
                  </a:lnTo>
                  <a:lnTo>
                    <a:pt x="736" y="1266"/>
                  </a:lnTo>
                  <a:lnTo>
                    <a:pt x="751" y="1242"/>
                  </a:lnTo>
                  <a:lnTo>
                    <a:pt x="763" y="1239"/>
                  </a:lnTo>
                  <a:lnTo>
                    <a:pt x="760" y="1258"/>
                  </a:lnTo>
                  <a:lnTo>
                    <a:pt x="770" y="1233"/>
                  </a:lnTo>
                  <a:lnTo>
                    <a:pt x="784" y="1230"/>
                  </a:lnTo>
                  <a:lnTo>
                    <a:pt x="789" y="1208"/>
                  </a:lnTo>
                  <a:lnTo>
                    <a:pt x="794" y="1228"/>
                  </a:lnTo>
                  <a:lnTo>
                    <a:pt x="800" y="1196"/>
                  </a:lnTo>
                  <a:lnTo>
                    <a:pt x="803" y="1206"/>
                  </a:lnTo>
                  <a:lnTo>
                    <a:pt x="839" y="1203"/>
                  </a:lnTo>
                  <a:lnTo>
                    <a:pt x="843" y="1192"/>
                  </a:lnTo>
                  <a:lnTo>
                    <a:pt x="854" y="1183"/>
                  </a:lnTo>
                  <a:lnTo>
                    <a:pt x="845" y="1181"/>
                  </a:lnTo>
                  <a:lnTo>
                    <a:pt x="860" y="1157"/>
                  </a:lnTo>
                  <a:lnTo>
                    <a:pt x="857" y="1152"/>
                  </a:lnTo>
                  <a:lnTo>
                    <a:pt x="836" y="1162"/>
                  </a:lnTo>
                  <a:lnTo>
                    <a:pt x="835" y="1156"/>
                  </a:lnTo>
                  <a:lnTo>
                    <a:pt x="850" y="1148"/>
                  </a:lnTo>
                  <a:lnTo>
                    <a:pt x="851" y="1140"/>
                  </a:lnTo>
                  <a:lnTo>
                    <a:pt x="834" y="1135"/>
                  </a:lnTo>
                  <a:lnTo>
                    <a:pt x="846" y="1127"/>
                  </a:lnTo>
                  <a:lnTo>
                    <a:pt x="851" y="1118"/>
                  </a:lnTo>
                  <a:lnTo>
                    <a:pt x="843" y="1117"/>
                  </a:lnTo>
                  <a:lnTo>
                    <a:pt x="850" y="1107"/>
                  </a:lnTo>
                  <a:lnTo>
                    <a:pt x="858" y="1111"/>
                  </a:lnTo>
                  <a:lnTo>
                    <a:pt x="870" y="1093"/>
                  </a:lnTo>
                  <a:lnTo>
                    <a:pt x="860" y="1123"/>
                  </a:lnTo>
                  <a:lnTo>
                    <a:pt x="865" y="1127"/>
                  </a:lnTo>
                  <a:lnTo>
                    <a:pt x="874" y="1123"/>
                  </a:lnTo>
                  <a:lnTo>
                    <a:pt x="875" y="1102"/>
                  </a:lnTo>
                  <a:lnTo>
                    <a:pt x="879" y="1119"/>
                  </a:lnTo>
                  <a:lnTo>
                    <a:pt x="886" y="1120"/>
                  </a:lnTo>
                  <a:lnTo>
                    <a:pt x="921" y="1110"/>
                  </a:lnTo>
                  <a:lnTo>
                    <a:pt x="919" y="1129"/>
                  </a:lnTo>
                  <a:lnTo>
                    <a:pt x="917" y="1141"/>
                  </a:lnTo>
                  <a:lnTo>
                    <a:pt x="946" y="1134"/>
                  </a:lnTo>
                  <a:lnTo>
                    <a:pt x="935" y="1147"/>
                  </a:lnTo>
                  <a:lnTo>
                    <a:pt x="960" y="1146"/>
                  </a:lnTo>
                  <a:lnTo>
                    <a:pt x="956" y="1157"/>
                  </a:lnTo>
                  <a:lnTo>
                    <a:pt x="978" y="1175"/>
                  </a:lnTo>
                  <a:lnTo>
                    <a:pt x="992" y="1162"/>
                  </a:lnTo>
                  <a:lnTo>
                    <a:pt x="997" y="1176"/>
                  </a:lnTo>
                  <a:lnTo>
                    <a:pt x="1027" y="1190"/>
                  </a:lnTo>
                  <a:lnTo>
                    <a:pt x="1034" y="1203"/>
                  </a:lnTo>
                  <a:lnTo>
                    <a:pt x="1079" y="1195"/>
                  </a:lnTo>
                  <a:lnTo>
                    <a:pt x="1128" y="1206"/>
                  </a:lnTo>
                  <a:lnTo>
                    <a:pt x="1147" y="1202"/>
                  </a:lnTo>
                  <a:lnTo>
                    <a:pt x="1152" y="1207"/>
                  </a:lnTo>
                  <a:lnTo>
                    <a:pt x="1146" y="1212"/>
                  </a:lnTo>
                  <a:lnTo>
                    <a:pt x="1149" y="1214"/>
                  </a:lnTo>
                  <a:lnTo>
                    <a:pt x="1181" y="1225"/>
                  </a:lnTo>
                  <a:lnTo>
                    <a:pt x="1210" y="1220"/>
                  </a:lnTo>
                  <a:lnTo>
                    <a:pt x="1228" y="1197"/>
                  </a:lnTo>
                  <a:lnTo>
                    <a:pt x="1249" y="1216"/>
                  </a:lnTo>
                  <a:lnTo>
                    <a:pt x="1240" y="1221"/>
                  </a:lnTo>
                  <a:lnTo>
                    <a:pt x="1240" y="1241"/>
                  </a:lnTo>
                  <a:lnTo>
                    <a:pt x="1231" y="1206"/>
                  </a:lnTo>
                  <a:lnTo>
                    <a:pt x="1226" y="1213"/>
                  </a:lnTo>
                  <a:lnTo>
                    <a:pt x="1227" y="1235"/>
                  </a:lnTo>
                  <a:lnTo>
                    <a:pt x="1216" y="1244"/>
                  </a:lnTo>
                  <a:lnTo>
                    <a:pt x="1266" y="1277"/>
                  </a:lnTo>
                  <a:lnTo>
                    <a:pt x="1280" y="1271"/>
                  </a:lnTo>
                  <a:lnTo>
                    <a:pt x="1279" y="1254"/>
                  </a:lnTo>
                  <a:lnTo>
                    <a:pt x="1287" y="1251"/>
                  </a:lnTo>
                  <a:close/>
                </a:path>
              </a:pathLst>
            </a:custGeom>
            <a:grpFill/>
            <a:ln w="6350">
              <a:solidFill>
                <a:schemeClr val="tx2"/>
              </a:solidFill>
              <a:round/>
              <a:headEnd/>
              <a:tailEnd/>
            </a:ln>
          </p:spPr>
          <p:txBody>
            <a:bodyPr/>
            <a:lstStyle/>
            <a:p>
              <a:endParaRPr lang="en-US"/>
            </a:p>
          </p:txBody>
        </p:sp>
        <p:sp>
          <p:nvSpPr>
            <p:cNvPr id="246" name="Freeform 1146"/>
            <p:cNvSpPr>
              <a:spLocks/>
            </p:cNvSpPr>
            <p:nvPr/>
          </p:nvSpPr>
          <p:spPr bwMode="auto">
            <a:xfrm>
              <a:off x="1257917" y="3049598"/>
              <a:ext cx="179020" cy="197225"/>
            </a:xfrm>
            <a:custGeom>
              <a:avLst/>
              <a:gdLst>
                <a:gd name="T0" fmla="*/ 2147483647 w 356"/>
                <a:gd name="T1" fmla="*/ 2147483647 h 397"/>
                <a:gd name="T2" fmla="*/ 2147483647 w 356"/>
                <a:gd name="T3" fmla="*/ 2147483647 h 397"/>
                <a:gd name="T4" fmla="*/ 2147483647 w 356"/>
                <a:gd name="T5" fmla="*/ 2147483647 h 397"/>
                <a:gd name="T6" fmla="*/ 2147483647 w 356"/>
                <a:gd name="T7" fmla="*/ 2147483647 h 397"/>
                <a:gd name="T8" fmla="*/ 2147483647 w 356"/>
                <a:gd name="T9" fmla="*/ 2147483647 h 397"/>
                <a:gd name="T10" fmla="*/ 2147483647 w 356"/>
                <a:gd name="T11" fmla="*/ 2147483647 h 397"/>
                <a:gd name="T12" fmla="*/ 2147483647 w 356"/>
                <a:gd name="T13" fmla="*/ 2147483647 h 397"/>
                <a:gd name="T14" fmla="*/ 2147483647 w 356"/>
                <a:gd name="T15" fmla="*/ 2147483647 h 397"/>
                <a:gd name="T16" fmla="*/ 2147483647 w 356"/>
                <a:gd name="T17" fmla="*/ 2147483647 h 397"/>
                <a:gd name="T18" fmla="*/ 2147483647 w 356"/>
                <a:gd name="T19" fmla="*/ 2147483647 h 397"/>
                <a:gd name="T20" fmla="*/ 2147483647 w 356"/>
                <a:gd name="T21" fmla="*/ 2147483647 h 397"/>
                <a:gd name="T22" fmla="*/ 2147483647 w 356"/>
                <a:gd name="T23" fmla="*/ 2147483647 h 397"/>
                <a:gd name="T24" fmla="*/ 2147483647 w 356"/>
                <a:gd name="T25" fmla="*/ 2147483647 h 397"/>
                <a:gd name="T26" fmla="*/ 2147483647 w 356"/>
                <a:gd name="T27" fmla="*/ 2147483647 h 397"/>
                <a:gd name="T28" fmla="*/ 2147483647 w 356"/>
                <a:gd name="T29" fmla="*/ 2147483647 h 397"/>
                <a:gd name="T30" fmla="*/ 2147483647 w 356"/>
                <a:gd name="T31" fmla="*/ 2147483647 h 397"/>
                <a:gd name="T32" fmla="*/ 2147483647 w 356"/>
                <a:gd name="T33" fmla="*/ 2147483647 h 397"/>
                <a:gd name="T34" fmla="*/ 2147483647 w 356"/>
                <a:gd name="T35" fmla="*/ 2147483647 h 397"/>
                <a:gd name="T36" fmla="*/ 2147483647 w 356"/>
                <a:gd name="T37" fmla="*/ 2147483647 h 397"/>
                <a:gd name="T38" fmla="*/ 2147483647 w 356"/>
                <a:gd name="T39" fmla="*/ 2147483647 h 397"/>
                <a:gd name="T40" fmla="*/ 2147483647 w 356"/>
                <a:gd name="T41" fmla="*/ 2147483647 h 397"/>
                <a:gd name="T42" fmla="*/ 2147483647 w 356"/>
                <a:gd name="T43" fmla="*/ 2147483647 h 397"/>
                <a:gd name="T44" fmla="*/ 2147483647 w 356"/>
                <a:gd name="T45" fmla="*/ 2147483647 h 397"/>
                <a:gd name="T46" fmla="*/ 2147483647 w 356"/>
                <a:gd name="T47" fmla="*/ 2147483647 h 397"/>
                <a:gd name="T48" fmla="*/ 2147483647 w 356"/>
                <a:gd name="T49" fmla="*/ 2147483647 h 397"/>
                <a:gd name="T50" fmla="*/ 2147483647 w 356"/>
                <a:gd name="T51" fmla="*/ 2147483647 h 397"/>
                <a:gd name="T52" fmla="*/ 2147483647 w 356"/>
                <a:gd name="T53" fmla="*/ 2147483647 h 397"/>
                <a:gd name="T54" fmla="*/ 2147483647 w 356"/>
                <a:gd name="T55" fmla="*/ 2147483647 h 397"/>
                <a:gd name="T56" fmla="*/ 2147483647 w 356"/>
                <a:gd name="T57" fmla="*/ 2147483647 h 397"/>
                <a:gd name="T58" fmla="*/ 2147483647 w 356"/>
                <a:gd name="T59" fmla="*/ 2147483647 h 397"/>
                <a:gd name="T60" fmla="*/ 2147483647 w 356"/>
                <a:gd name="T61" fmla="*/ 2147483647 h 397"/>
                <a:gd name="T62" fmla="*/ 2147483647 w 356"/>
                <a:gd name="T63" fmla="*/ 2147483647 h 397"/>
                <a:gd name="T64" fmla="*/ 2147483647 w 356"/>
                <a:gd name="T65" fmla="*/ 2147483647 h 397"/>
                <a:gd name="T66" fmla="*/ 2147483647 w 356"/>
                <a:gd name="T67" fmla="*/ 2147483647 h 397"/>
                <a:gd name="T68" fmla="*/ 2147483647 w 356"/>
                <a:gd name="T69" fmla="*/ 2147483647 h 397"/>
                <a:gd name="T70" fmla="*/ 2147483647 w 356"/>
                <a:gd name="T71" fmla="*/ 2147483647 h 397"/>
                <a:gd name="T72" fmla="*/ 2147483647 w 356"/>
                <a:gd name="T73" fmla="*/ 2147483647 h 397"/>
                <a:gd name="T74" fmla="*/ 2147483647 w 356"/>
                <a:gd name="T75" fmla="*/ 2147483647 h 397"/>
                <a:gd name="T76" fmla="*/ 2147483647 w 356"/>
                <a:gd name="T77" fmla="*/ 2147483647 h 397"/>
                <a:gd name="T78" fmla="*/ 2147483647 w 356"/>
                <a:gd name="T79" fmla="*/ 2147483647 h 397"/>
                <a:gd name="T80" fmla="*/ 2147483647 w 356"/>
                <a:gd name="T81" fmla="*/ 2147483647 h 397"/>
                <a:gd name="T82" fmla="*/ 2147483647 w 356"/>
                <a:gd name="T83" fmla="*/ 2147483647 h 397"/>
                <a:gd name="T84" fmla="*/ 2147483647 w 356"/>
                <a:gd name="T85" fmla="*/ 2147483647 h 397"/>
                <a:gd name="T86" fmla="*/ 2147483647 w 356"/>
                <a:gd name="T87" fmla="*/ 2147483647 h 397"/>
                <a:gd name="T88" fmla="*/ 2147483647 w 356"/>
                <a:gd name="T89" fmla="*/ 2147483647 h 397"/>
                <a:gd name="T90" fmla="*/ 2147483647 w 356"/>
                <a:gd name="T91" fmla="*/ 2147483647 h 397"/>
                <a:gd name="T92" fmla="*/ 2147483647 w 356"/>
                <a:gd name="T93" fmla="*/ 2147483647 h 397"/>
                <a:gd name="T94" fmla="*/ 2147483647 w 356"/>
                <a:gd name="T95" fmla="*/ 2147483647 h 3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6"/>
                <a:gd name="T145" fmla="*/ 0 h 397"/>
                <a:gd name="T146" fmla="*/ 356 w 356"/>
                <a:gd name="T147" fmla="*/ 397 h 3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6" h="397">
                  <a:moveTo>
                    <a:pt x="6" y="35"/>
                  </a:moveTo>
                  <a:lnTo>
                    <a:pt x="2" y="38"/>
                  </a:lnTo>
                  <a:lnTo>
                    <a:pt x="0" y="64"/>
                  </a:lnTo>
                  <a:lnTo>
                    <a:pt x="20" y="91"/>
                  </a:lnTo>
                  <a:lnTo>
                    <a:pt x="28" y="89"/>
                  </a:lnTo>
                  <a:lnTo>
                    <a:pt x="24" y="99"/>
                  </a:lnTo>
                  <a:lnTo>
                    <a:pt x="66" y="127"/>
                  </a:lnTo>
                  <a:lnTo>
                    <a:pt x="74" y="124"/>
                  </a:lnTo>
                  <a:lnTo>
                    <a:pt x="73" y="116"/>
                  </a:lnTo>
                  <a:lnTo>
                    <a:pt x="88" y="116"/>
                  </a:lnTo>
                  <a:lnTo>
                    <a:pt x="89" y="106"/>
                  </a:lnTo>
                  <a:lnTo>
                    <a:pt x="66" y="79"/>
                  </a:lnTo>
                  <a:lnTo>
                    <a:pt x="51" y="74"/>
                  </a:lnTo>
                  <a:lnTo>
                    <a:pt x="57" y="68"/>
                  </a:lnTo>
                  <a:lnTo>
                    <a:pt x="55" y="64"/>
                  </a:lnTo>
                  <a:lnTo>
                    <a:pt x="65" y="72"/>
                  </a:lnTo>
                  <a:lnTo>
                    <a:pt x="69" y="67"/>
                  </a:lnTo>
                  <a:lnTo>
                    <a:pt x="81" y="83"/>
                  </a:lnTo>
                  <a:lnTo>
                    <a:pt x="89" y="71"/>
                  </a:lnTo>
                  <a:lnTo>
                    <a:pt x="102" y="99"/>
                  </a:lnTo>
                  <a:lnTo>
                    <a:pt x="99" y="114"/>
                  </a:lnTo>
                  <a:lnTo>
                    <a:pt x="113" y="115"/>
                  </a:lnTo>
                  <a:lnTo>
                    <a:pt x="113" y="107"/>
                  </a:lnTo>
                  <a:lnTo>
                    <a:pt x="122" y="128"/>
                  </a:lnTo>
                  <a:lnTo>
                    <a:pt x="130" y="126"/>
                  </a:lnTo>
                  <a:lnTo>
                    <a:pt x="133" y="111"/>
                  </a:lnTo>
                  <a:lnTo>
                    <a:pt x="116" y="50"/>
                  </a:lnTo>
                  <a:lnTo>
                    <a:pt x="119" y="53"/>
                  </a:lnTo>
                  <a:lnTo>
                    <a:pt x="116" y="39"/>
                  </a:lnTo>
                  <a:lnTo>
                    <a:pt x="119" y="31"/>
                  </a:lnTo>
                  <a:lnTo>
                    <a:pt x="147" y="114"/>
                  </a:lnTo>
                  <a:lnTo>
                    <a:pt x="175" y="126"/>
                  </a:lnTo>
                  <a:lnTo>
                    <a:pt x="186" y="145"/>
                  </a:lnTo>
                  <a:lnTo>
                    <a:pt x="199" y="132"/>
                  </a:lnTo>
                  <a:lnTo>
                    <a:pt x="195" y="143"/>
                  </a:lnTo>
                  <a:lnTo>
                    <a:pt x="190" y="149"/>
                  </a:lnTo>
                  <a:lnTo>
                    <a:pt x="194" y="162"/>
                  </a:lnTo>
                  <a:lnTo>
                    <a:pt x="198" y="153"/>
                  </a:lnTo>
                  <a:lnTo>
                    <a:pt x="204" y="158"/>
                  </a:lnTo>
                  <a:lnTo>
                    <a:pt x="226" y="188"/>
                  </a:lnTo>
                  <a:lnTo>
                    <a:pt x="199" y="171"/>
                  </a:lnTo>
                  <a:lnTo>
                    <a:pt x="199" y="182"/>
                  </a:lnTo>
                  <a:lnTo>
                    <a:pt x="204" y="185"/>
                  </a:lnTo>
                  <a:lnTo>
                    <a:pt x="207" y="198"/>
                  </a:lnTo>
                  <a:lnTo>
                    <a:pt x="220" y="199"/>
                  </a:lnTo>
                  <a:lnTo>
                    <a:pt x="206" y="205"/>
                  </a:lnTo>
                  <a:lnTo>
                    <a:pt x="206" y="212"/>
                  </a:lnTo>
                  <a:lnTo>
                    <a:pt x="224" y="221"/>
                  </a:lnTo>
                  <a:lnTo>
                    <a:pt x="234" y="218"/>
                  </a:lnTo>
                  <a:lnTo>
                    <a:pt x="237" y="234"/>
                  </a:lnTo>
                  <a:lnTo>
                    <a:pt x="225" y="222"/>
                  </a:lnTo>
                  <a:lnTo>
                    <a:pt x="232" y="235"/>
                  </a:lnTo>
                  <a:lnTo>
                    <a:pt x="257" y="251"/>
                  </a:lnTo>
                  <a:lnTo>
                    <a:pt x="262" y="273"/>
                  </a:lnTo>
                  <a:lnTo>
                    <a:pt x="288" y="286"/>
                  </a:lnTo>
                  <a:lnTo>
                    <a:pt x="271" y="294"/>
                  </a:lnTo>
                  <a:lnTo>
                    <a:pt x="267" y="319"/>
                  </a:lnTo>
                  <a:lnTo>
                    <a:pt x="258" y="327"/>
                  </a:lnTo>
                  <a:lnTo>
                    <a:pt x="264" y="338"/>
                  </a:lnTo>
                  <a:lnTo>
                    <a:pt x="267" y="341"/>
                  </a:lnTo>
                  <a:lnTo>
                    <a:pt x="276" y="329"/>
                  </a:lnTo>
                  <a:lnTo>
                    <a:pt x="278" y="313"/>
                  </a:lnTo>
                  <a:lnTo>
                    <a:pt x="292" y="310"/>
                  </a:lnTo>
                  <a:lnTo>
                    <a:pt x="307" y="296"/>
                  </a:lnTo>
                  <a:lnTo>
                    <a:pt x="306" y="310"/>
                  </a:lnTo>
                  <a:lnTo>
                    <a:pt x="317" y="327"/>
                  </a:lnTo>
                  <a:lnTo>
                    <a:pt x="319" y="356"/>
                  </a:lnTo>
                  <a:lnTo>
                    <a:pt x="329" y="356"/>
                  </a:lnTo>
                  <a:lnTo>
                    <a:pt x="333" y="371"/>
                  </a:lnTo>
                  <a:lnTo>
                    <a:pt x="315" y="379"/>
                  </a:lnTo>
                  <a:lnTo>
                    <a:pt x="317" y="397"/>
                  </a:lnTo>
                  <a:lnTo>
                    <a:pt x="321" y="389"/>
                  </a:lnTo>
                  <a:lnTo>
                    <a:pt x="325" y="396"/>
                  </a:lnTo>
                  <a:lnTo>
                    <a:pt x="335" y="390"/>
                  </a:lnTo>
                  <a:lnTo>
                    <a:pt x="346" y="375"/>
                  </a:lnTo>
                  <a:lnTo>
                    <a:pt x="351" y="377"/>
                  </a:lnTo>
                  <a:lnTo>
                    <a:pt x="355" y="369"/>
                  </a:lnTo>
                  <a:lnTo>
                    <a:pt x="356" y="364"/>
                  </a:lnTo>
                  <a:lnTo>
                    <a:pt x="352" y="327"/>
                  </a:lnTo>
                  <a:lnTo>
                    <a:pt x="356" y="309"/>
                  </a:lnTo>
                  <a:lnTo>
                    <a:pt x="354" y="304"/>
                  </a:lnTo>
                  <a:lnTo>
                    <a:pt x="313" y="276"/>
                  </a:lnTo>
                  <a:lnTo>
                    <a:pt x="285" y="268"/>
                  </a:lnTo>
                  <a:lnTo>
                    <a:pt x="272" y="258"/>
                  </a:lnTo>
                  <a:lnTo>
                    <a:pt x="262" y="229"/>
                  </a:lnTo>
                  <a:lnTo>
                    <a:pt x="254" y="222"/>
                  </a:lnTo>
                  <a:lnTo>
                    <a:pt x="254" y="212"/>
                  </a:lnTo>
                  <a:lnTo>
                    <a:pt x="191" y="94"/>
                  </a:lnTo>
                  <a:lnTo>
                    <a:pt x="165" y="78"/>
                  </a:lnTo>
                  <a:lnTo>
                    <a:pt x="159" y="58"/>
                  </a:lnTo>
                  <a:lnTo>
                    <a:pt x="121" y="0"/>
                  </a:lnTo>
                  <a:lnTo>
                    <a:pt x="83" y="18"/>
                  </a:lnTo>
                  <a:lnTo>
                    <a:pt x="67" y="54"/>
                  </a:lnTo>
                  <a:lnTo>
                    <a:pt x="31" y="72"/>
                  </a:lnTo>
                  <a:lnTo>
                    <a:pt x="19" y="45"/>
                  </a:lnTo>
                  <a:lnTo>
                    <a:pt x="6" y="35"/>
                  </a:lnTo>
                  <a:close/>
                </a:path>
              </a:pathLst>
            </a:custGeom>
            <a:grpFill/>
            <a:ln w="6350">
              <a:solidFill>
                <a:schemeClr val="tx2"/>
              </a:solidFill>
              <a:round/>
              <a:headEnd/>
              <a:tailEnd/>
            </a:ln>
          </p:spPr>
          <p:txBody>
            <a:bodyPr/>
            <a:lstStyle/>
            <a:p>
              <a:endParaRPr lang="en-US"/>
            </a:p>
          </p:txBody>
        </p:sp>
        <p:sp>
          <p:nvSpPr>
            <p:cNvPr id="247" name="Freeform 1147"/>
            <p:cNvSpPr>
              <a:spLocks/>
            </p:cNvSpPr>
            <p:nvPr/>
          </p:nvSpPr>
          <p:spPr bwMode="auto">
            <a:xfrm>
              <a:off x="1200267" y="2545916"/>
              <a:ext cx="367141" cy="494579"/>
            </a:xfrm>
            <a:custGeom>
              <a:avLst/>
              <a:gdLst>
                <a:gd name="T0" fmla="*/ 2147483647 w 738"/>
                <a:gd name="T1" fmla="*/ 2147483647 h 995"/>
                <a:gd name="T2" fmla="*/ 2147483647 w 738"/>
                <a:gd name="T3" fmla="*/ 2147483647 h 995"/>
                <a:gd name="T4" fmla="*/ 2147483647 w 738"/>
                <a:gd name="T5" fmla="*/ 2147483647 h 995"/>
                <a:gd name="T6" fmla="*/ 2147483647 w 738"/>
                <a:gd name="T7" fmla="*/ 2147483647 h 995"/>
                <a:gd name="T8" fmla="*/ 2147483647 w 738"/>
                <a:gd name="T9" fmla="*/ 2147483647 h 995"/>
                <a:gd name="T10" fmla="*/ 2147483647 w 738"/>
                <a:gd name="T11" fmla="*/ 2147483647 h 995"/>
                <a:gd name="T12" fmla="*/ 2147483647 w 738"/>
                <a:gd name="T13" fmla="*/ 2147483647 h 995"/>
                <a:gd name="T14" fmla="*/ 2147483647 w 738"/>
                <a:gd name="T15" fmla="*/ 2147483647 h 995"/>
                <a:gd name="T16" fmla="*/ 2147483647 w 738"/>
                <a:gd name="T17" fmla="*/ 2147483647 h 995"/>
                <a:gd name="T18" fmla="*/ 2147483647 w 738"/>
                <a:gd name="T19" fmla="*/ 2147483647 h 995"/>
                <a:gd name="T20" fmla="*/ 2147483647 w 738"/>
                <a:gd name="T21" fmla="*/ 2147483647 h 995"/>
                <a:gd name="T22" fmla="*/ 2147483647 w 738"/>
                <a:gd name="T23" fmla="*/ 2147483647 h 995"/>
                <a:gd name="T24" fmla="*/ 2147483647 w 738"/>
                <a:gd name="T25" fmla="*/ 2147483647 h 995"/>
                <a:gd name="T26" fmla="*/ 2147483647 w 738"/>
                <a:gd name="T27" fmla="*/ 2147483647 h 995"/>
                <a:gd name="T28" fmla="*/ 2147483647 w 738"/>
                <a:gd name="T29" fmla="*/ 2147483647 h 995"/>
                <a:gd name="T30" fmla="*/ 2147483647 w 738"/>
                <a:gd name="T31" fmla="*/ 2147483647 h 995"/>
                <a:gd name="T32" fmla="*/ 2147483647 w 738"/>
                <a:gd name="T33" fmla="*/ 2147483647 h 995"/>
                <a:gd name="T34" fmla="*/ 2147483647 w 738"/>
                <a:gd name="T35" fmla="*/ 2147483647 h 995"/>
                <a:gd name="T36" fmla="*/ 2147483647 w 738"/>
                <a:gd name="T37" fmla="*/ 2147483647 h 995"/>
                <a:gd name="T38" fmla="*/ 2147483647 w 738"/>
                <a:gd name="T39" fmla="*/ 2147483647 h 995"/>
                <a:gd name="T40" fmla="*/ 2147483647 w 738"/>
                <a:gd name="T41" fmla="*/ 2147483647 h 995"/>
                <a:gd name="T42" fmla="*/ 2147483647 w 738"/>
                <a:gd name="T43" fmla="*/ 2147483647 h 995"/>
                <a:gd name="T44" fmla="*/ 2147483647 w 738"/>
                <a:gd name="T45" fmla="*/ 2147483647 h 995"/>
                <a:gd name="T46" fmla="*/ 2147483647 w 738"/>
                <a:gd name="T47" fmla="*/ 2147483647 h 995"/>
                <a:gd name="T48" fmla="*/ 2147483647 w 738"/>
                <a:gd name="T49" fmla="*/ 2147483647 h 995"/>
                <a:gd name="T50" fmla="*/ 2147483647 w 738"/>
                <a:gd name="T51" fmla="*/ 2147483647 h 995"/>
                <a:gd name="T52" fmla="*/ 2147483647 w 738"/>
                <a:gd name="T53" fmla="*/ 2147483647 h 995"/>
                <a:gd name="T54" fmla="*/ 2147483647 w 738"/>
                <a:gd name="T55" fmla="*/ 2147483647 h 995"/>
                <a:gd name="T56" fmla="*/ 2147483647 w 738"/>
                <a:gd name="T57" fmla="*/ 2147483647 h 995"/>
                <a:gd name="T58" fmla="*/ 2147483647 w 738"/>
                <a:gd name="T59" fmla="*/ 2147483647 h 995"/>
                <a:gd name="T60" fmla="*/ 2147483647 w 738"/>
                <a:gd name="T61" fmla="*/ 2147483647 h 995"/>
                <a:gd name="T62" fmla="*/ 2147483647 w 738"/>
                <a:gd name="T63" fmla="*/ 2147483647 h 995"/>
                <a:gd name="T64" fmla="*/ 2147483647 w 738"/>
                <a:gd name="T65" fmla="*/ 2147483647 h 995"/>
                <a:gd name="T66" fmla="*/ 2147483647 w 738"/>
                <a:gd name="T67" fmla="*/ 2147483647 h 995"/>
                <a:gd name="T68" fmla="*/ 0 w 738"/>
                <a:gd name="T69" fmla="*/ 2147483647 h 995"/>
                <a:gd name="T70" fmla="*/ 0 w 738"/>
                <a:gd name="T71" fmla="*/ 2147483647 h 995"/>
                <a:gd name="T72" fmla="*/ 0 w 738"/>
                <a:gd name="T73" fmla="*/ 2147483647 h 995"/>
                <a:gd name="T74" fmla="*/ 0 w 738"/>
                <a:gd name="T75" fmla="*/ 2147483647 h 995"/>
                <a:gd name="T76" fmla="*/ 0 w 738"/>
                <a:gd name="T77" fmla="*/ 2147483647 h 995"/>
                <a:gd name="T78" fmla="*/ 0 w 738"/>
                <a:gd name="T79" fmla="*/ 2147483647 h 995"/>
                <a:gd name="T80" fmla="*/ 2147483647 w 738"/>
                <a:gd name="T81" fmla="*/ 2147483647 h 995"/>
                <a:gd name="T82" fmla="*/ 2147483647 w 738"/>
                <a:gd name="T83" fmla="*/ 2147483647 h 9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995"/>
                <a:gd name="T128" fmla="*/ 738 w 738"/>
                <a:gd name="T129" fmla="*/ 995 h 9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995">
                  <a:moveTo>
                    <a:pt x="81" y="995"/>
                  </a:moveTo>
                  <a:lnTo>
                    <a:pt x="121" y="995"/>
                  </a:lnTo>
                  <a:lnTo>
                    <a:pt x="162" y="995"/>
                  </a:lnTo>
                  <a:lnTo>
                    <a:pt x="200" y="995"/>
                  </a:lnTo>
                  <a:lnTo>
                    <a:pt x="237" y="995"/>
                  </a:lnTo>
                  <a:lnTo>
                    <a:pt x="275" y="995"/>
                  </a:lnTo>
                  <a:lnTo>
                    <a:pt x="317" y="995"/>
                  </a:lnTo>
                  <a:lnTo>
                    <a:pt x="357" y="995"/>
                  </a:lnTo>
                  <a:lnTo>
                    <a:pt x="399" y="995"/>
                  </a:lnTo>
                  <a:lnTo>
                    <a:pt x="438" y="995"/>
                  </a:lnTo>
                  <a:lnTo>
                    <a:pt x="473" y="995"/>
                  </a:lnTo>
                  <a:lnTo>
                    <a:pt x="513" y="995"/>
                  </a:lnTo>
                  <a:lnTo>
                    <a:pt x="556" y="995"/>
                  </a:lnTo>
                  <a:lnTo>
                    <a:pt x="595" y="995"/>
                  </a:lnTo>
                  <a:lnTo>
                    <a:pt x="637" y="995"/>
                  </a:lnTo>
                  <a:lnTo>
                    <a:pt x="675" y="995"/>
                  </a:lnTo>
                  <a:lnTo>
                    <a:pt x="711" y="995"/>
                  </a:lnTo>
                  <a:lnTo>
                    <a:pt x="738" y="995"/>
                  </a:lnTo>
                  <a:lnTo>
                    <a:pt x="731" y="987"/>
                  </a:lnTo>
                  <a:lnTo>
                    <a:pt x="722" y="966"/>
                  </a:lnTo>
                  <a:lnTo>
                    <a:pt x="722" y="955"/>
                  </a:lnTo>
                  <a:lnTo>
                    <a:pt x="713" y="954"/>
                  </a:lnTo>
                  <a:lnTo>
                    <a:pt x="704" y="937"/>
                  </a:lnTo>
                  <a:lnTo>
                    <a:pt x="710" y="927"/>
                  </a:lnTo>
                  <a:lnTo>
                    <a:pt x="705" y="912"/>
                  </a:lnTo>
                  <a:lnTo>
                    <a:pt x="696" y="911"/>
                  </a:lnTo>
                  <a:lnTo>
                    <a:pt x="693" y="921"/>
                  </a:lnTo>
                  <a:lnTo>
                    <a:pt x="672" y="927"/>
                  </a:lnTo>
                  <a:lnTo>
                    <a:pt x="650" y="918"/>
                  </a:lnTo>
                  <a:lnTo>
                    <a:pt x="644" y="926"/>
                  </a:lnTo>
                  <a:lnTo>
                    <a:pt x="638" y="920"/>
                  </a:lnTo>
                  <a:lnTo>
                    <a:pt x="633" y="927"/>
                  </a:lnTo>
                  <a:lnTo>
                    <a:pt x="608" y="930"/>
                  </a:lnTo>
                  <a:lnTo>
                    <a:pt x="604" y="902"/>
                  </a:lnTo>
                  <a:lnTo>
                    <a:pt x="597" y="901"/>
                  </a:lnTo>
                  <a:lnTo>
                    <a:pt x="601" y="891"/>
                  </a:lnTo>
                  <a:lnTo>
                    <a:pt x="595" y="867"/>
                  </a:lnTo>
                  <a:lnTo>
                    <a:pt x="579" y="863"/>
                  </a:lnTo>
                  <a:lnTo>
                    <a:pt x="560" y="846"/>
                  </a:lnTo>
                  <a:lnTo>
                    <a:pt x="555" y="831"/>
                  </a:lnTo>
                  <a:lnTo>
                    <a:pt x="550" y="832"/>
                  </a:lnTo>
                  <a:lnTo>
                    <a:pt x="535" y="807"/>
                  </a:lnTo>
                  <a:lnTo>
                    <a:pt x="526" y="813"/>
                  </a:lnTo>
                  <a:lnTo>
                    <a:pt x="503" y="804"/>
                  </a:lnTo>
                  <a:lnTo>
                    <a:pt x="507" y="798"/>
                  </a:lnTo>
                  <a:lnTo>
                    <a:pt x="503" y="789"/>
                  </a:lnTo>
                  <a:lnTo>
                    <a:pt x="507" y="783"/>
                  </a:lnTo>
                  <a:lnTo>
                    <a:pt x="503" y="779"/>
                  </a:lnTo>
                  <a:lnTo>
                    <a:pt x="508" y="773"/>
                  </a:lnTo>
                  <a:lnTo>
                    <a:pt x="491" y="764"/>
                  </a:lnTo>
                  <a:lnTo>
                    <a:pt x="494" y="755"/>
                  </a:lnTo>
                  <a:lnTo>
                    <a:pt x="482" y="737"/>
                  </a:lnTo>
                  <a:lnTo>
                    <a:pt x="489" y="720"/>
                  </a:lnTo>
                  <a:lnTo>
                    <a:pt x="479" y="716"/>
                  </a:lnTo>
                  <a:lnTo>
                    <a:pt x="477" y="706"/>
                  </a:lnTo>
                  <a:lnTo>
                    <a:pt x="466" y="699"/>
                  </a:lnTo>
                  <a:lnTo>
                    <a:pt x="480" y="679"/>
                  </a:lnTo>
                  <a:lnTo>
                    <a:pt x="468" y="657"/>
                  </a:lnTo>
                  <a:lnTo>
                    <a:pt x="459" y="658"/>
                  </a:lnTo>
                  <a:lnTo>
                    <a:pt x="468" y="648"/>
                  </a:lnTo>
                  <a:lnTo>
                    <a:pt x="436" y="623"/>
                  </a:lnTo>
                  <a:lnTo>
                    <a:pt x="432" y="614"/>
                  </a:lnTo>
                  <a:lnTo>
                    <a:pt x="436" y="609"/>
                  </a:lnTo>
                  <a:lnTo>
                    <a:pt x="428" y="601"/>
                  </a:lnTo>
                  <a:lnTo>
                    <a:pt x="430" y="596"/>
                  </a:lnTo>
                  <a:lnTo>
                    <a:pt x="423" y="586"/>
                  </a:lnTo>
                  <a:lnTo>
                    <a:pt x="413" y="582"/>
                  </a:lnTo>
                  <a:lnTo>
                    <a:pt x="395" y="591"/>
                  </a:lnTo>
                  <a:lnTo>
                    <a:pt x="399" y="575"/>
                  </a:lnTo>
                  <a:lnTo>
                    <a:pt x="359" y="545"/>
                  </a:lnTo>
                  <a:lnTo>
                    <a:pt x="372" y="522"/>
                  </a:lnTo>
                  <a:lnTo>
                    <a:pt x="353" y="505"/>
                  </a:lnTo>
                  <a:lnTo>
                    <a:pt x="363" y="500"/>
                  </a:lnTo>
                  <a:lnTo>
                    <a:pt x="379" y="467"/>
                  </a:lnTo>
                  <a:lnTo>
                    <a:pt x="361" y="441"/>
                  </a:lnTo>
                  <a:lnTo>
                    <a:pt x="372" y="427"/>
                  </a:lnTo>
                  <a:lnTo>
                    <a:pt x="360" y="422"/>
                  </a:lnTo>
                  <a:lnTo>
                    <a:pt x="348" y="435"/>
                  </a:lnTo>
                  <a:lnTo>
                    <a:pt x="344" y="433"/>
                  </a:lnTo>
                  <a:lnTo>
                    <a:pt x="346" y="422"/>
                  </a:lnTo>
                  <a:lnTo>
                    <a:pt x="316" y="428"/>
                  </a:lnTo>
                  <a:lnTo>
                    <a:pt x="317" y="420"/>
                  </a:lnTo>
                  <a:lnTo>
                    <a:pt x="313" y="418"/>
                  </a:lnTo>
                  <a:lnTo>
                    <a:pt x="320" y="408"/>
                  </a:lnTo>
                  <a:lnTo>
                    <a:pt x="319" y="395"/>
                  </a:lnTo>
                  <a:lnTo>
                    <a:pt x="308" y="391"/>
                  </a:lnTo>
                  <a:lnTo>
                    <a:pt x="319" y="365"/>
                  </a:lnTo>
                  <a:lnTo>
                    <a:pt x="307" y="347"/>
                  </a:lnTo>
                  <a:lnTo>
                    <a:pt x="310" y="338"/>
                  </a:lnTo>
                  <a:lnTo>
                    <a:pt x="295" y="322"/>
                  </a:lnTo>
                  <a:lnTo>
                    <a:pt x="307" y="317"/>
                  </a:lnTo>
                  <a:lnTo>
                    <a:pt x="207" y="317"/>
                  </a:lnTo>
                  <a:lnTo>
                    <a:pt x="204" y="298"/>
                  </a:lnTo>
                  <a:lnTo>
                    <a:pt x="210" y="284"/>
                  </a:lnTo>
                  <a:lnTo>
                    <a:pt x="205" y="272"/>
                  </a:lnTo>
                  <a:lnTo>
                    <a:pt x="207" y="260"/>
                  </a:lnTo>
                  <a:lnTo>
                    <a:pt x="195" y="237"/>
                  </a:lnTo>
                  <a:lnTo>
                    <a:pt x="195" y="102"/>
                  </a:lnTo>
                  <a:lnTo>
                    <a:pt x="199" y="97"/>
                  </a:lnTo>
                  <a:lnTo>
                    <a:pt x="149" y="93"/>
                  </a:lnTo>
                  <a:lnTo>
                    <a:pt x="114" y="55"/>
                  </a:lnTo>
                  <a:lnTo>
                    <a:pt x="102" y="57"/>
                  </a:lnTo>
                  <a:lnTo>
                    <a:pt x="71" y="16"/>
                  </a:lnTo>
                  <a:lnTo>
                    <a:pt x="0" y="0"/>
                  </a:lnTo>
                  <a:lnTo>
                    <a:pt x="0" y="72"/>
                  </a:lnTo>
                  <a:lnTo>
                    <a:pt x="0" y="142"/>
                  </a:lnTo>
                  <a:lnTo>
                    <a:pt x="0" y="210"/>
                  </a:lnTo>
                  <a:lnTo>
                    <a:pt x="0" y="277"/>
                  </a:lnTo>
                  <a:lnTo>
                    <a:pt x="0" y="341"/>
                  </a:lnTo>
                  <a:lnTo>
                    <a:pt x="0" y="405"/>
                  </a:lnTo>
                  <a:lnTo>
                    <a:pt x="0" y="467"/>
                  </a:lnTo>
                  <a:lnTo>
                    <a:pt x="0" y="527"/>
                  </a:lnTo>
                  <a:lnTo>
                    <a:pt x="0" y="587"/>
                  </a:lnTo>
                  <a:lnTo>
                    <a:pt x="0" y="645"/>
                  </a:lnTo>
                  <a:lnTo>
                    <a:pt x="0" y="702"/>
                  </a:lnTo>
                  <a:lnTo>
                    <a:pt x="0" y="756"/>
                  </a:lnTo>
                  <a:lnTo>
                    <a:pt x="0" y="812"/>
                  </a:lnTo>
                  <a:lnTo>
                    <a:pt x="0" y="866"/>
                  </a:lnTo>
                  <a:lnTo>
                    <a:pt x="0" y="918"/>
                  </a:lnTo>
                  <a:lnTo>
                    <a:pt x="0" y="969"/>
                  </a:lnTo>
                  <a:lnTo>
                    <a:pt x="15" y="980"/>
                  </a:lnTo>
                  <a:lnTo>
                    <a:pt x="26" y="970"/>
                  </a:lnTo>
                  <a:lnTo>
                    <a:pt x="43" y="981"/>
                  </a:lnTo>
                  <a:lnTo>
                    <a:pt x="52" y="968"/>
                  </a:lnTo>
                  <a:lnTo>
                    <a:pt x="79" y="968"/>
                  </a:lnTo>
                  <a:lnTo>
                    <a:pt x="76" y="991"/>
                  </a:lnTo>
                  <a:lnTo>
                    <a:pt x="80" y="995"/>
                  </a:lnTo>
                  <a:lnTo>
                    <a:pt x="81" y="995"/>
                  </a:lnTo>
                  <a:close/>
                </a:path>
              </a:pathLst>
            </a:custGeom>
            <a:grpFill/>
            <a:ln w="6350">
              <a:solidFill>
                <a:schemeClr val="tx2"/>
              </a:solidFill>
              <a:round/>
              <a:headEnd/>
              <a:tailEnd/>
            </a:ln>
          </p:spPr>
          <p:txBody>
            <a:bodyPr/>
            <a:lstStyle/>
            <a:p>
              <a:endParaRPr lang="en-US"/>
            </a:p>
          </p:txBody>
        </p:sp>
        <p:sp>
          <p:nvSpPr>
            <p:cNvPr id="248" name="Freeform 1148"/>
            <p:cNvSpPr>
              <a:spLocks/>
            </p:cNvSpPr>
            <p:nvPr/>
          </p:nvSpPr>
          <p:spPr bwMode="auto">
            <a:xfrm>
              <a:off x="1298879" y="2401790"/>
              <a:ext cx="1181832" cy="638705"/>
            </a:xfrm>
            <a:custGeom>
              <a:avLst/>
              <a:gdLst>
                <a:gd name="T0" fmla="*/ 2147483647 w 2377"/>
                <a:gd name="T1" fmla="*/ 2147483647 h 1287"/>
                <a:gd name="T2" fmla="*/ 2147483647 w 2377"/>
                <a:gd name="T3" fmla="*/ 2147483647 h 1287"/>
                <a:gd name="T4" fmla="*/ 2147483647 w 2377"/>
                <a:gd name="T5" fmla="*/ 2147483647 h 1287"/>
                <a:gd name="T6" fmla="*/ 2147483647 w 2377"/>
                <a:gd name="T7" fmla="*/ 2147483647 h 1287"/>
                <a:gd name="T8" fmla="*/ 2147483647 w 2377"/>
                <a:gd name="T9" fmla="*/ 2147483647 h 1287"/>
                <a:gd name="T10" fmla="*/ 2147483647 w 2377"/>
                <a:gd name="T11" fmla="*/ 2147483647 h 1287"/>
                <a:gd name="T12" fmla="*/ 2147483647 w 2377"/>
                <a:gd name="T13" fmla="*/ 2147483647 h 1287"/>
                <a:gd name="T14" fmla="*/ 2147483647 w 2377"/>
                <a:gd name="T15" fmla="*/ 2147483647 h 1287"/>
                <a:gd name="T16" fmla="*/ 2147483647 w 2377"/>
                <a:gd name="T17" fmla="*/ 2147483647 h 1287"/>
                <a:gd name="T18" fmla="*/ 2147483647 w 2377"/>
                <a:gd name="T19" fmla="*/ 2147483647 h 1287"/>
                <a:gd name="T20" fmla="*/ 2147483647 w 2377"/>
                <a:gd name="T21" fmla="*/ 2147483647 h 1287"/>
                <a:gd name="T22" fmla="*/ 2147483647 w 2377"/>
                <a:gd name="T23" fmla="*/ 2147483647 h 1287"/>
                <a:gd name="T24" fmla="*/ 2147483647 w 2377"/>
                <a:gd name="T25" fmla="*/ 2147483647 h 1287"/>
                <a:gd name="T26" fmla="*/ 2147483647 w 2377"/>
                <a:gd name="T27" fmla="*/ 2147483647 h 1287"/>
                <a:gd name="T28" fmla="*/ 2147483647 w 2377"/>
                <a:gd name="T29" fmla="*/ 2147483647 h 1287"/>
                <a:gd name="T30" fmla="*/ 2147483647 w 2377"/>
                <a:gd name="T31" fmla="*/ 2147483647 h 1287"/>
                <a:gd name="T32" fmla="*/ 2147483647 w 2377"/>
                <a:gd name="T33" fmla="*/ 2147483647 h 1287"/>
                <a:gd name="T34" fmla="*/ 2147483647 w 2377"/>
                <a:gd name="T35" fmla="*/ 2147483647 h 1287"/>
                <a:gd name="T36" fmla="*/ 2147483647 w 2377"/>
                <a:gd name="T37" fmla="*/ 2147483647 h 1287"/>
                <a:gd name="T38" fmla="*/ 2147483647 w 2377"/>
                <a:gd name="T39" fmla="*/ 2147483647 h 1287"/>
                <a:gd name="T40" fmla="*/ 2147483647 w 2377"/>
                <a:gd name="T41" fmla="*/ 2147483647 h 1287"/>
                <a:gd name="T42" fmla="*/ 2147483647 w 2377"/>
                <a:gd name="T43" fmla="*/ 2147483647 h 1287"/>
                <a:gd name="T44" fmla="*/ 2147483647 w 2377"/>
                <a:gd name="T45" fmla="*/ 2147483647 h 1287"/>
                <a:gd name="T46" fmla="*/ 2147483647 w 2377"/>
                <a:gd name="T47" fmla="*/ 2147483647 h 1287"/>
                <a:gd name="T48" fmla="*/ 2147483647 w 2377"/>
                <a:gd name="T49" fmla="*/ 2147483647 h 1287"/>
                <a:gd name="T50" fmla="*/ 2147483647 w 2377"/>
                <a:gd name="T51" fmla="*/ 2147483647 h 1287"/>
                <a:gd name="T52" fmla="*/ 2147483647 w 2377"/>
                <a:gd name="T53" fmla="*/ 2147483647 h 1287"/>
                <a:gd name="T54" fmla="*/ 2147483647 w 2377"/>
                <a:gd name="T55" fmla="*/ 2147483647 h 1287"/>
                <a:gd name="T56" fmla="*/ 2147483647 w 2377"/>
                <a:gd name="T57" fmla="*/ 2147483647 h 1287"/>
                <a:gd name="T58" fmla="*/ 2147483647 w 2377"/>
                <a:gd name="T59" fmla="*/ 2147483647 h 1287"/>
                <a:gd name="T60" fmla="*/ 2147483647 w 2377"/>
                <a:gd name="T61" fmla="*/ 2147483647 h 1287"/>
                <a:gd name="T62" fmla="*/ 2147483647 w 2377"/>
                <a:gd name="T63" fmla="*/ 2147483647 h 1287"/>
                <a:gd name="T64" fmla="*/ 2147483647 w 2377"/>
                <a:gd name="T65" fmla="*/ 2147483647 h 1287"/>
                <a:gd name="T66" fmla="*/ 2147483647 w 2377"/>
                <a:gd name="T67" fmla="*/ 2147483647 h 1287"/>
                <a:gd name="T68" fmla="*/ 2147483647 w 2377"/>
                <a:gd name="T69" fmla="*/ 2147483647 h 1287"/>
                <a:gd name="T70" fmla="*/ 2147483647 w 2377"/>
                <a:gd name="T71" fmla="*/ 2147483647 h 1287"/>
                <a:gd name="T72" fmla="*/ 2147483647 w 2377"/>
                <a:gd name="T73" fmla="*/ 2147483647 h 1287"/>
                <a:gd name="T74" fmla="*/ 2147483647 w 2377"/>
                <a:gd name="T75" fmla="*/ 2147483647 h 1287"/>
                <a:gd name="T76" fmla="*/ 2147483647 w 2377"/>
                <a:gd name="T77" fmla="*/ 2147483647 h 1287"/>
                <a:gd name="T78" fmla="*/ 2147483647 w 2377"/>
                <a:gd name="T79" fmla="*/ 2147483647 h 1287"/>
                <a:gd name="T80" fmla="*/ 2147483647 w 2377"/>
                <a:gd name="T81" fmla="*/ 2147483647 h 1287"/>
                <a:gd name="T82" fmla="*/ 2147483647 w 2377"/>
                <a:gd name="T83" fmla="*/ 2147483647 h 1287"/>
                <a:gd name="T84" fmla="*/ 2147483647 w 2377"/>
                <a:gd name="T85" fmla="*/ 2147483647 h 1287"/>
                <a:gd name="T86" fmla="*/ 2147483647 w 2377"/>
                <a:gd name="T87" fmla="*/ 2147483647 h 1287"/>
                <a:gd name="T88" fmla="*/ 2147483647 w 2377"/>
                <a:gd name="T89" fmla="*/ 2147483647 h 1287"/>
                <a:gd name="T90" fmla="*/ 2147483647 w 2377"/>
                <a:gd name="T91" fmla="*/ 2147483647 h 1287"/>
                <a:gd name="T92" fmla="*/ 2147483647 w 2377"/>
                <a:gd name="T93" fmla="*/ 2147483647 h 1287"/>
                <a:gd name="T94" fmla="*/ 2147483647 w 2377"/>
                <a:gd name="T95" fmla="*/ 2147483647 h 1287"/>
                <a:gd name="T96" fmla="*/ 2147483647 w 2377"/>
                <a:gd name="T97" fmla="*/ 2147483647 h 1287"/>
                <a:gd name="T98" fmla="*/ 2147483647 w 2377"/>
                <a:gd name="T99" fmla="*/ 2147483647 h 1287"/>
                <a:gd name="T100" fmla="*/ 2147483647 w 2377"/>
                <a:gd name="T101" fmla="*/ 2147483647 h 1287"/>
                <a:gd name="T102" fmla="*/ 0 w 2377"/>
                <a:gd name="T103" fmla="*/ 2147483647 h 1287"/>
                <a:gd name="T104" fmla="*/ 2147483647 w 2377"/>
                <a:gd name="T105" fmla="*/ 2147483647 h 1287"/>
                <a:gd name="T106" fmla="*/ 2147483647 w 2377"/>
                <a:gd name="T107" fmla="*/ 2147483647 h 1287"/>
                <a:gd name="T108" fmla="*/ 2147483647 w 2377"/>
                <a:gd name="T109" fmla="*/ 2147483647 h 1287"/>
                <a:gd name="T110" fmla="*/ 2147483647 w 2377"/>
                <a:gd name="T111" fmla="*/ 2147483647 h 1287"/>
                <a:gd name="T112" fmla="*/ 2147483647 w 2377"/>
                <a:gd name="T113" fmla="*/ 2147483647 h 1287"/>
                <a:gd name="T114" fmla="*/ 2147483647 w 2377"/>
                <a:gd name="T115" fmla="*/ 2147483647 h 1287"/>
                <a:gd name="T116" fmla="*/ 2147483647 w 2377"/>
                <a:gd name="T117" fmla="*/ 2147483647 h 1287"/>
                <a:gd name="T118" fmla="*/ 2147483647 w 2377"/>
                <a:gd name="T119" fmla="*/ 2147483647 h 1287"/>
                <a:gd name="T120" fmla="*/ 2147483647 w 2377"/>
                <a:gd name="T121" fmla="*/ 2147483647 h 1287"/>
                <a:gd name="T122" fmla="*/ 2147483647 w 2377"/>
                <a:gd name="T123" fmla="*/ 2147483647 h 1287"/>
                <a:gd name="T124" fmla="*/ 2147483647 w 2377"/>
                <a:gd name="T125" fmla="*/ 2147483647 h 12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77"/>
                <a:gd name="T190" fmla="*/ 0 h 1287"/>
                <a:gd name="T191" fmla="*/ 2377 w 2377"/>
                <a:gd name="T192" fmla="*/ 1287 h 12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77" h="1287">
                  <a:moveTo>
                    <a:pt x="1483" y="1287"/>
                  </a:moveTo>
                  <a:lnTo>
                    <a:pt x="1522" y="1287"/>
                  </a:lnTo>
                  <a:lnTo>
                    <a:pt x="1564" y="1287"/>
                  </a:lnTo>
                  <a:lnTo>
                    <a:pt x="1603" y="1287"/>
                  </a:lnTo>
                  <a:lnTo>
                    <a:pt x="1638" y="1287"/>
                  </a:lnTo>
                  <a:lnTo>
                    <a:pt x="1678" y="1287"/>
                  </a:lnTo>
                  <a:lnTo>
                    <a:pt x="1719" y="1287"/>
                  </a:lnTo>
                  <a:lnTo>
                    <a:pt x="1759" y="1287"/>
                  </a:lnTo>
                  <a:lnTo>
                    <a:pt x="1797" y="1287"/>
                  </a:lnTo>
                  <a:lnTo>
                    <a:pt x="1797" y="1246"/>
                  </a:lnTo>
                  <a:lnTo>
                    <a:pt x="1805" y="1241"/>
                  </a:lnTo>
                  <a:lnTo>
                    <a:pt x="1807" y="1214"/>
                  </a:lnTo>
                  <a:lnTo>
                    <a:pt x="1815" y="1211"/>
                  </a:lnTo>
                  <a:lnTo>
                    <a:pt x="1821" y="1185"/>
                  </a:lnTo>
                  <a:lnTo>
                    <a:pt x="1804" y="1167"/>
                  </a:lnTo>
                  <a:lnTo>
                    <a:pt x="1827" y="1163"/>
                  </a:lnTo>
                  <a:lnTo>
                    <a:pt x="1848" y="1145"/>
                  </a:lnTo>
                  <a:lnTo>
                    <a:pt x="1857" y="1130"/>
                  </a:lnTo>
                  <a:lnTo>
                    <a:pt x="1850" y="1118"/>
                  </a:lnTo>
                  <a:lnTo>
                    <a:pt x="1863" y="1118"/>
                  </a:lnTo>
                  <a:lnTo>
                    <a:pt x="1872" y="1092"/>
                  </a:lnTo>
                  <a:lnTo>
                    <a:pt x="1877" y="1090"/>
                  </a:lnTo>
                  <a:lnTo>
                    <a:pt x="1890" y="1105"/>
                  </a:lnTo>
                  <a:lnTo>
                    <a:pt x="1886" y="1082"/>
                  </a:lnTo>
                  <a:lnTo>
                    <a:pt x="1889" y="1056"/>
                  </a:lnTo>
                  <a:lnTo>
                    <a:pt x="1916" y="1055"/>
                  </a:lnTo>
                  <a:lnTo>
                    <a:pt x="1901" y="1051"/>
                  </a:lnTo>
                  <a:lnTo>
                    <a:pt x="1894" y="1039"/>
                  </a:lnTo>
                  <a:lnTo>
                    <a:pt x="1897" y="1033"/>
                  </a:lnTo>
                  <a:lnTo>
                    <a:pt x="1940" y="1035"/>
                  </a:lnTo>
                  <a:lnTo>
                    <a:pt x="1968" y="1026"/>
                  </a:lnTo>
                  <a:lnTo>
                    <a:pt x="1974" y="1017"/>
                  </a:lnTo>
                  <a:lnTo>
                    <a:pt x="1971" y="991"/>
                  </a:lnTo>
                  <a:lnTo>
                    <a:pt x="1962" y="970"/>
                  </a:lnTo>
                  <a:lnTo>
                    <a:pt x="1955" y="972"/>
                  </a:lnTo>
                  <a:lnTo>
                    <a:pt x="1925" y="949"/>
                  </a:lnTo>
                  <a:lnTo>
                    <a:pt x="1903" y="961"/>
                  </a:lnTo>
                  <a:lnTo>
                    <a:pt x="1910" y="947"/>
                  </a:lnTo>
                  <a:lnTo>
                    <a:pt x="1895" y="942"/>
                  </a:lnTo>
                  <a:lnTo>
                    <a:pt x="1890" y="948"/>
                  </a:lnTo>
                  <a:lnTo>
                    <a:pt x="1888" y="940"/>
                  </a:lnTo>
                  <a:lnTo>
                    <a:pt x="1860" y="925"/>
                  </a:lnTo>
                  <a:lnTo>
                    <a:pt x="1861" y="933"/>
                  </a:lnTo>
                  <a:lnTo>
                    <a:pt x="1855" y="936"/>
                  </a:lnTo>
                  <a:lnTo>
                    <a:pt x="1846" y="926"/>
                  </a:lnTo>
                  <a:lnTo>
                    <a:pt x="1853" y="916"/>
                  </a:lnTo>
                  <a:lnTo>
                    <a:pt x="1908" y="943"/>
                  </a:lnTo>
                  <a:lnTo>
                    <a:pt x="1936" y="936"/>
                  </a:lnTo>
                  <a:lnTo>
                    <a:pt x="1938" y="947"/>
                  </a:lnTo>
                  <a:lnTo>
                    <a:pt x="1974" y="969"/>
                  </a:lnTo>
                  <a:lnTo>
                    <a:pt x="1997" y="951"/>
                  </a:lnTo>
                  <a:lnTo>
                    <a:pt x="2003" y="937"/>
                  </a:lnTo>
                  <a:lnTo>
                    <a:pt x="1999" y="932"/>
                  </a:lnTo>
                  <a:lnTo>
                    <a:pt x="2000" y="923"/>
                  </a:lnTo>
                  <a:lnTo>
                    <a:pt x="2010" y="926"/>
                  </a:lnTo>
                  <a:lnTo>
                    <a:pt x="2007" y="904"/>
                  </a:lnTo>
                  <a:lnTo>
                    <a:pt x="2039" y="922"/>
                  </a:lnTo>
                  <a:lnTo>
                    <a:pt x="2042" y="915"/>
                  </a:lnTo>
                  <a:lnTo>
                    <a:pt x="2059" y="920"/>
                  </a:lnTo>
                  <a:lnTo>
                    <a:pt x="2083" y="903"/>
                  </a:lnTo>
                  <a:lnTo>
                    <a:pt x="2095" y="881"/>
                  </a:lnTo>
                  <a:lnTo>
                    <a:pt x="2095" y="870"/>
                  </a:lnTo>
                  <a:lnTo>
                    <a:pt x="2105" y="865"/>
                  </a:lnTo>
                  <a:lnTo>
                    <a:pt x="2129" y="822"/>
                  </a:lnTo>
                  <a:lnTo>
                    <a:pt x="2135" y="799"/>
                  </a:lnTo>
                  <a:lnTo>
                    <a:pt x="2042" y="785"/>
                  </a:lnTo>
                  <a:lnTo>
                    <a:pt x="2009" y="745"/>
                  </a:lnTo>
                  <a:lnTo>
                    <a:pt x="1994" y="736"/>
                  </a:lnTo>
                  <a:lnTo>
                    <a:pt x="1998" y="727"/>
                  </a:lnTo>
                  <a:lnTo>
                    <a:pt x="2023" y="729"/>
                  </a:lnTo>
                  <a:lnTo>
                    <a:pt x="2057" y="748"/>
                  </a:lnTo>
                  <a:lnTo>
                    <a:pt x="2088" y="785"/>
                  </a:lnTo>
                  <a:lnTo>
                    <a:pt x="2125" y="781"/>
                  </a:lnTo>
                  <a:lnTo>
                    <a:pt x="2171" y="710"/>
                  </a:lnTo>
                  <a:lnTo>
                    <a:pt x="2173" y="694"/>
                  </a:lnTo>
                  <a:lnTo>
                    <a:pt x="2169" y="687"/>
                  </a:lnTo>
                  <a:lnTo>
                    <a:pt x="2144" y="677"/>
                  </a:lnTo>
                  <a:lnTo>
                    <a:pt x="2142" y="670"/>
                  </a:lnTo>
                  <a:lnTo>
                    <a:pt x="2152" y="656"/>
                  </a:lnTo>
                  <a:lnTo>
                    <a:pt x="2181" y="665"/>
                  </a:lnTo>
                  <a:lnTo>
                    <a:pt x="2202" y="656"/>
                  </a:lnTo>
                  <a:lnTo>
                    <a:pt x="2209" y="688"/>
                  </a:lnTo>
                  <a:lnTo>
                    <a:pt x="2237" y="694"/>
                  </a:lnTo>
                  <a:lnTo>
                    <a:pt x="2237" y="676"/>
                  </a:lnTo>
                  <a:lnTo>
                    <a:pt x="2242" y="676"/>
                  </a:lnTo>
                  <a:lnTo>
                    <a:pt x="2270" y="698"/>
                  </a:lnTo>
                  <a:lnTo>
                    <a:pt x="2264" y="669"/>
                  </a:lnTo>
                  <a:lnTo>
                    <a:pt x="2254" y="656"/>
                  </a:lnTo>
                  <a:lnTo>
                    <a:pt x="2253" y="648"/>
                  </a:lnTo>
                  <a:lnTo>
                    <a:pt x="2259" y="642"/>
                  </a:lnTo>
                  <a:lnTo>
                    <a:pt x="2292" y="676"/>
                  </a:lnTo>
                  <a:lnTo>
                    <a:pt x="2303" y="658"/>
                  </a:lnTo>
                  <a:lnTo>
                    <a:pt x="2318" y="655"/>
                  </a:lnTo>
                  <a:lnTo>
                    <a:pt x="2355" y="608"/>
                  </a:lnTo>
                  <a:lnTo>
                    <a:pt x="2372" y="598"/>
                  </a:lnTo>
                  <a:lnTo>
                    <a:pt x="2376" y="586"/>
                  </a:lnTo>
                  <a:lnTo>
                    <a:pt x="2373" y="567"/>
                  </a:lnTo>
                  <a:lnTo>
                    <a:pt x="2377" y="555"/>
                  </a:lnTo>
                  <a:lnTo>
                    <a:pt x="2342" y="509"/>
                  </a:lnTo>
                  <a:lnTo>
                    <a:pt x="2347" y="472"/>
                  </a:lnTo>
                  <a:lnTo>
                    <a:pt x="2332" y="479"/>
                  </a:lnTo>
                  <a:lnTo>
                    <a:pt x="2333" y="466"/>
                  </a:lnTo>
                  <a:lnTo>
                    <a:pt x="2328" y="466"/>
                  </a:lnTo>
                  <a:lnTo>
                    <a:pt x="2332" y="460"/>
                  </a:lnTo>
                  <a:lnTo>
                    <a:pt x="2322" y="445"/>
                  </a:lnTo>
                  <a:lnTo>
                    <a:pt x="2323" y="437"/>
                  </a:lnTo>
                  <a:lnTo>
                    <a:pt x="2343" y="436"/>
                  </a:lnTo>
                  <a:lnTo>
                    <a:pt x="2351" y="451"/>
                  </a:lnTo>
                  <a:lnTo>
                    <a:pt x="2377" y="422"/>
                  </a:lnTo>
                  <a:lnTo>
                    <a:pt x="2374" y="401"/>
                  </a:lnTo>
                  <a:lnTo>
                    <a:pt x="2348" y="397"/>
                  </a:lnTo>
                  <a:lnTo>
                    <a:pt x="2374" y="368"/>
                  </a:lnTo>
                  <a:lnTo>
                    <a:pt x="2357" y="352"/>
                  </a:lnTo>
                  <a:lnTo>
                    <a:pt x="2332" y="352"/>
                  </a:lnTo>
                  <a:lnTo>
                    <a:pt x="2335" y="347"/>
                  </a:lnTo>
                  <a:lnTo>
                    <a:pt x="2329" y="337"/>
                  </a:lnTo>
                  <a:lnTo>
                    <a:pt x="2315" y="324"/>
                  </a:lnTo>
                  <a:lnTo>
                    <a:pt x="2322" y="321"/>
                  </a:lnTo>
                  <a:lnTo>
                    <a:pt x="2317" y="295"/>
                  </a:lnTo>
                  <a:lnTo>
                    <a:pt x="2277" y="300"/>
                  </a:lnTo>
                  <a:lnTo>
                    <a:pt x="2235" y="277"/>
                  </a:lnTo>
                  <a:lnTo>
                    <a:pt x="2197" y="281"/>
                  </a:lnTo>
                  <a:lnTo>
                    <a:pt x="2194" y="302"/>
                  </a:lnTo>
                  <a:lnTo>
                    <a:pt x="2199" y="333"/>
                  </a:lnTo>
                  <a:lnTo>
                    <a:pt x="2197" y="345"/>
                  </a:lnTo>
                  <a:lnTo>
                    <a:pt x="2206" y="364"/>
                  </a:lnTo>
                  <a:lnTo>
                    <a:pt x="2228" y="375"/>
                  </a:lnTo>
                  <a:lnTo>
                    <a:pt x="2230" y="382"/>
                  </a:lnTo>
                  <a:lnTo>
                    <a:pt x="2217" y="382"/>
                  </a:lnTo>
                  <a:lnTo>
                    <a:pt x="2210" y="397"/>
                  </a:lnTo>
                  <a:lnTo>
                    <a:pt x="2228" y="407"/>
                  </a:lnTo>
                  <a:lnTo>
                    <a:pt x="2199" y="408"/>
                  </a:lnTo>
                  <a:lnTo>
                    <a:pt x="2183" y="420"/>
                  </a:lnTo>
                  <a:lnTo>
                    <a:pt x="2181" y="458"/>
                  </a:lnTo>
                  <a:lnTo>
                    <a:pt x="2166" y="500"/>
                  </a:lnTo>
                  <a:lnTo>
                    <a:pt x="2150" y="526"/>
                  </a:lnTo>
                  <a:lnTo>
                    <a:pt x="2146" y="564"/>
                  </a:lnTo>
                  <a:lnTo>
                    <a:pt x="2127" y="564"/>
                  </a:lnTo>
                  <a:lnTo>
                    <a:pt x="2124" y="580"/>
                  </a:lnTo>
                  <a:lnTo>
                    <a:pt x="2116" y="585"/>
                  </a:lnTo>
                  <a:lnTo>
                    <a:pt x="2069" y="502"/>
                  </a:lnTo>
                  <a:lnTo>
                    <a:pt x="2071" y="481"/>
                  </a:lnTo>
                  <a:lnTo>
                    <a:pt x="2069" y="467"/>
                  </a:lnTo>
                  <a:lnTo>
                    <a:pt x="2076" y="449"/>
                  </a:lnTo>
                  <a:lnTo>
                    <a:pt x="2079" y="466"/>
                  </a:lnTo>
                  <a:lnTo>
                    <a:pt x="2093" y="463"/>
                  </a:lnTo>
                  <a:lnTo>
                    <a:pt x="2078" y="395"/>
                  </a:lnTo>
                  <a:lnTo>
                    <a:pt x="2056" y="375"/>
                  </a:lnTo>
                  <a:lnTo>
                    <a:pt x="2042" y="346"/>
                  </a:lnTo>
                  <a:lnTo>
                    <a:pt x="2023" y="349"/>
                  </a:lnTo>
                  <a:lnTo>
                    <a:pt x="2008" y="375"/>
                  </a:lnTo>
                  <a:lnTo>
                    <a:pt x="2008" y="415"/>
                  </a:lnTo>
                  <a:lnTo>
                    <a:pt x="2003" y="415"/>
                  </a:lnTo>
                  <a:lnTo>
                    <a:pt x="2001" y="437"/>
                  </a:lnTo>
                  <a:lnTo>
                    <a:pt x="1994" y="455"/>
                  </a:lnTo>
                  <a:lnTo>
                    <a:pt x="1987" y="461"/>
                  </a:lnTo>
                  <a:lnTo>
                    <a:pt x="1976" y="436"/>
                  </a:lnTo>
                  <a:lnTo>
                    <a:pt x="1982" y="402"/>
                  </a:lnTo>
                  <a:lnTo>
                    <a:pt x="1967" y="367"/>
                  </a:lnTo>
                  <a:lnTo>
                    <a:pt x="1941" y="337"/>
                  </a:lnTo>
                  <a:lnTo>
                    <a:pt x="1959" y="343"/>
                  </a:lnTo>
                  <a:lnTo>
                    <a:pt x="1964" y="329"/>
                  </a:lnTo>
                  <a:lnTo>
                    <a:pt x="1962" y="317"/>
                  </a:lnTo>
                  <a:lnTo>
                    <a:pt x="1959" y="324"/>
                  </a:lnTo>
                  <a:lnTo>
                    <a:pt x="1939" y="316"/>
                  </a:lnTo>
                  <a:lnTo>
                    <a:pt x="1943" y="304"/>
                  </a:lnTo>
                  <a:lnTo>
                    <a:pt x="1919" y="319"/>
                  </a:lnTo>
                  <a:lnTo>
                    <a:pt x="1899" y="297"/>
                  </a:lnTo>
                  <a:lnTo>
                    <a:pt x="1884" y="298"/>
                  </a:lnTo>
                  <a:lnTo>
                    <a:pt x="1883" y="290"/>
                  </a:lnTo>
                  <a:lnTo>
                    <a:pt x="1891" y="279"/>
                  </a:lnTo>
                  <a:lnTo>
                    <a:pt x="1916" y="261"/>
                  </a:lnTo>
                  <a:lnTo>
                    <a:pt x="1894" y="248"/>
                  </a:lnTo>
                  <a:lnTo>
                    <a:pt x="1896" y="236"/>
                  </a:lnTo>
                  <a:lnTo>
                    <a:pt x="1935" y="240"/>
                  </a:lnTo>
                  <a:lnTo>
                    <a:pt x="1920" y="213"/>
                  </a:lnTo>
                  <a:lnTo>
                    <a:pt x="1912" y="222"/>
                  </a:lnTo>
                  <a:lnTo>
                    <a:pt x="1901" y="179"/>
                  </a:lnTo>
                  <a:lnTo>
                    <a:pt x="1884" y="173"/>
                  </a:lnTo>
                  <a:lnTo>
                    <a:pt x="1882" y="157"/>
                  </a:lnTo>
                  <a:lnTo>
                    <a:pt x="1873" y="155"/>
                  </a:lnTo>
                  <a:lnTo>
                    <a:pt x="1875" y="114"/>
                  </a:lnTo>
                  <a:lnTo>
                    <a:pt x="1871" y="90"/>
                  </a:lnTo>
                  <a:lnTo>
                    <a:pt x="1842" y="57"/>
                  </a:lnTo>
                  <a:lnTo>
                    <a:pt x="1838" y="48"/>
                  </a:lnTo>
                  <a:lnTo>
                    <a:pt x="1841" y="27"/>
                  </a:lnTo>
                  <a:lnTo>
                    <a:pt x="1828" y="33"/>
                  </a:lnTo>
                  <a:lnTo>
                    <a:pt x="1820" y="23"/>
                  </a:lnTo>
                  <a:lnTo>
                    <a:pt x="1811" y="37"/>
                  </a:lnTo>
                  <a:lnTo>
                    <a:pt x="1811" y="23"/>
                  </a:lnTo>
                  <a:lnTo>
                    <a:pt x="1803" y="23"/>
                  </a:lnTo>
                  <a:lnTo>
                    <a:pt x="1808" y="7"/>
                  </a:lnTo>
                  <a:lnTo>
                    <a:pt x="1777" y="0"/>
                  </a:lnTo>
                  <a:lnTo>
                    <a:pt x="1750" y="52"/>
                  </a:lnTo>
                  <a:lnTo>
                    <a:pt x="1761" y="66"/>
                  </a:lnTo>
                  <a:lnTo>
                    <a:pt x="1760" y="96"/>
                  </a:lnTo>
                  <a:lnTo>
                    <a:pt x="1743" y="78"/>
                  </a:lnTo>
                  <a:lnTo>
                    <a:pt x="1729" y="95"/>
                  </a:lnTo>
                  <a:lnTo>
                    <a:pt x="1729" y="121"/>
                  </a:lnTo>
                  <a:lnTo>
                    <a:pt x="1723" y="151"/>
                  </a:lnTo>
                  <a:lnTo>
                    <a:pt x="1737" y="177"/>
                  </a:lnTo>
                  <a:lnTo>
                    <a:pt x="1740" y="173"/>
                  </a:lnTo>
                  <a:lnTo>
                    <a:pt x="1736" y="188"/>
                  </a:lnTo>
                  <a:lnTo>
                    <a:pt x="1732" y="184"/>
                  </a:lnTo>
                  <a:lnTo>
                    <a:pt x="1716" y="207"/>
                  </a:lnTo>
                  <a:lnTo>
                    <a:pt x="1716" y="248"/>
                  </a:lnTo>
                  <a:lnTo>
                    <a:pt x="1740" y="269"/>
                  </a:lnTo>
                  <a:lnTo>
                    <a:pt x="1737" y="275"/>
                  </a:lnTo>
                  <a:lnTo>
                    <a:pt x="1740" y="280"/>
                  </a:lnTo>
                  <a:lnTo>
                    <a:pt x="1771" y="287"/>
                  </a:lnTo>
                  <a:lnTo>
                    <a:pt x="1773" y="297"/>
                  </a:lnTo>
                  <a:lnTo>
                    <a:pt x="1793" y="312"/>
                  </a:lnTo>
                  <a:lnTo>
                    <a:pt x="1797" y="301"/>
                  </a:lnTo>
                  <a:lnTo>
                    <a:pt x="1811" y="326"/>
                  </a:lnTo>
                  <a:lnTo>
                    <a:pt x="1841" y="318"/>
                  </a:lnTo>
                  <a:lnTo>
                    <a:pt x="1845" y="334"/>
                  </a:lnTo>
                  <a:lnTo>
                    <a:pt x="1842" y="347"/>
                  </a:lnTo>
                  <a:lnTo>
                    <a:pt x="1832" y="352"/>
                  </a:lnTo>
                  <a:lnTo>
                    <a:pt x="1837" y="329"/>
                  </a:lnTo>
                  <a:lnTo>
                    <a:pt x="1820" y="338"/>
                  </a:lnTo>
                  <a:lnTo>
                    <a:pt x="1812" y="362"/>
                  </a:lnTo>
                  <a:lnTo>
                    <a:pt x="1817" y="368"/>
                  </a:lnTo>
                  <a:lnTo>
                    <a:pt x="1811" y="385"/>
                  </a:lnTo>
                  <a:lnTo>
                    <a:pt x="1802" y="386"/>
                  </a:lnTo>
                  <a:lnTo>
                    <a:pt x="1798" y="410"/>
                  </a:lnTo>
                  <a:lnTo>
                    <a:pt x="1823" y="408"/>
                  </a:lnTo>
                  <a:lnTo>
                    <a:pt x="1833" y="389"/>
                  </a:lnTo>
                  <a:lnTo>
                    <a:pt x="1824" y="397"/>
                  </a:lnTo>
                  <a:lnTo>
                    <a:pt x="1827" y="378"/>
                  </a:lnTo>
                  <a:lnTo>
                    <a:pt x="1837" y="384"/>
                  </a:lnTo>
                  <a:lnTo>
                    <a:pt x="1839" y="422"/>
                  </a:lnTo>
                  <a:lnTo>
                    <a:pt x="1847" y="426"/>
                  </a:lnTo>
                  <a:lnTo>
                    <a:pt x="1822" y="449"/>
                  </a:lnTo>
                  <a:lnTo>
                    <a:pt x="1817" y="468"/>
                  </a:lnTo>
                  <a:lnTo>
                    <a:pt x="1799" y="488"/>
                  </a:lnTo>
                  <a:lnTo>
                    <a:pt x="1758" y="484"/>
                  </a:lnTo>
                  <a:lnTo>
                    <a:pt x="1763" y="497"/>
                  </a:lnTo>
                  <a:lnTo>
                    <a:pt x="1757" y="526"/>
                  </a:lnTo>
                  <a:lnTo>
                    <a:pt x="1771" y="543"/>
                  </a:lnTo>
                  <a:lnTo>
                    <a:pt x="1774" y="570"/>
                  </a:lnTo>
                  <a:lnTo>
                    <a:pt x="1770" y="583"/>
                  </a:lnTo>
                  <a:lnTo>
                    <a:pt x="1758" y="575"/>
                  </a:lnTo>
                  <a:lnTo>
                    <a:pt x="1763" y="562"/>
                  </a:lnTo>
                  <a:lnTo>
                    <a:pt x="1740" y="576"/>
                  </a:lnTo>
                  <a:lnTo>
                    <a:pt x="1740" y="555"/>
                  </a:lnTo>
                  <a:lnTo>
                    <a:pt x="1729" y="556"/>
                  </a:lnTo>
                  <a:lnTo>
                    <a:pt x="1725" y="543"/>
                  </a:lnTo>
                  <a:lnTo>
                    <a:pt x="1740" y="534"/>
                  </a:lnTo>
                  <a:lnTo>
                    <a:pt x="1734" y="522"/>
                  </a:lnTo>
                  <a:lnTo>
                    <a:pt x="1740" y="497"/>
                  </a:lnTo>
                  <a:lnTo>
                    <a:pt x="1742" y="467"/>
                  </a:lnTo>
                  <a:lnTo>
                    <a:pt x="1723" y="478"/>
                  </a:lnTo>
                  <a:lnTo>
                    <a:pt x="1723" y="493"/>
                  </a:lnTo>
                  <a:lnTo>
                    <a:pt x="1712" y="491"/>
                  </a:lnTo>
                  <a:lnTo>
                    <a:pt x="1709" y="486"/>
                  </a:lnTo>
                  <a:lnTo>
                    <a:pt x="1718" y="458"/>
                  </a:lnTo>
                  <a:lnTo>
                    <a:pt x="1699" y="461"/>
                  </a:lnTo>
                  <a:lnTo>
                    <a:pt x="1704" y="455"/>
                  </a:lnTo>
                  <a:lnTo>
                    <a:pt x="1687" y="438"/>
                  </a:lnTo>
                  <a:lnTo>
                    <a:pt x="1677" y="437"/>
                  </a:lnTo>
                  <a:lnTo>
                    <a:pt x="1680" y="449"/>
                  </a:lnTo>
                  <a:lnTo>
                    <a:pt x="1661" y="431"/>
                  </a:lnTo>
                  <a:lnTo>
                    <a:pt x="1655" y="434"/>
                  </a:lnTo>
                  <a:lnTo>
                    <a:pt x="1669" y="451"/>
                  </a:lnTo>
                  <a:lnTo>
                    <a:pt x="1640" y="449"/>
                  </a:lnTo>
                  <a:lnTo>
                    <a:pt x="1637" y="456"/>
                  </a:lnTo>
                  <a:lnTo>
                    <a:pt x="1626" y="449"/>
                  </a:lnTo>
                  <a:lnTo>
                    <a:pt x="1643" y="472"/>
                  </a:lnTo>
                  <a:lnTo>
                    <a:pt x="1643" y="483"/>
                  </a:lnTo>
                  <a:lnTo>
                    <a:pt x="1637" y="480"/>
                  </a:lnTo>
                  <a:lnTo>
                    <a:pt x="1652" y="513"/>
                  </a:lnTo>
                  <a:lnTo>
                    <a:pt x="1659" y="515"/>
                  </a:lnTo>
                  <a:lnTo>
                    <a:pt x="1656" y="506"/>
                  </a:lnTo>
                  <a:lnTo>
                    <a:pt x="1660" y="499"/>
                  </a:lnTo>
                  <a:lnTo>
                    <a:pt x="1677" y="497"/>
                  </a:lnTo>
                  <a:lnTo>
                    <a:pt x="1680" y="508"/>
                  </a:lnTo>
                  <a:lnTo>
                    <a:pt x="1691" y="502"/>
                  </a:lnTo>
                  <a:lnTo>
                    <a:pt x="1692" y="529"/>
                  </a:lnTo>
                  <a:lnTo>
                    <a:pt x="1685" y="537"/>
                  </a:lnTo>
                  <a:lnTo>
                    <a:pt x="1649" y="521"/>
                  </a:lnTo>
                  <a:lnTo>
                    <a:pt x="1632" y="486"/>
                  </a:lnTo>
                  <a:lnTo>
                    <a:pt x="1624" y="492"/>
                  </a:lnTo>
                  <a:lnTo>
                    <a:pt x="1639" y="521"/>
                  </a:lnTo>
                  <a:lnTo>
                    <a:pt x="1611" y="526"/>
                  </a:lnTo>
                  <a:lnTo>
                    <a:pt x="1591" y="514"/>
                  </a:lnTo>
                  <a:lnTo>
                    <a:pt x="1555" y="512"/>
                  </a:lnTo>
                  <a:lnTo>
                    <a:pt x="1535" y="526"/>
                  </a:lnTo>
                  <a:lnTo>
                    <a:pt x="1518" y="521"/>
                  </a:lnTo>
                  <a:lnTo>
                    <a:pt x="1503" y="529"/>
                  </a:lnTo>
                  <a:lnTo>
                    <a:pt x="1485" y="521"/>
                  </a:lnTo>
                  <a:lnTo>
                    <a:pt x="1470" y="530"/>
                  </a:lnTo>
                  <a:lnTo>
                    <a:pt x="1452" y="521"/>
                  </a:lnTo>
                  <a:lnTo>
                    <a:pt x="1428" y="492"/>
                  </a:lnTo>
                  <a:lnTo>
                    <a:pt x="1428" y="479"/>
                  </a:lnTo>
                  <a:lnTo>
                    <a:pt x="1415" y="472"/>
                  </a:lnTo>
                  <a:lnTo>
                    <a:pt x="1415" y="481"/>
                  </a:lnTo>
                  <a:lnTo>
                    <a:pt x="1405" y="483"/>
                  </a:lnTo>
                  <a:lnTo>
                    <a:pt x="1405" y="491"/>
                  </a:lnTo>
                  <a:lnTo>
                    <a:pt x="1400" y="488"/>
                  </a:lnTo>
                  <a:lnTo>
                    <a:pt x="1367" y="482"/>
                  </a:lnTo>
                  <a:lnTo>
                    <a:pt x="1367" y="467"/>
                  </a:lnTo>
                  <a:lnTo>
                    <a:pt x="1327" y="442"/>
                  </a:lnTo>
                  <a:lnTo>
                    <a:pt x="1339" y="436"/>
                  </a:lnTo>
                  <a:lnTo>
                    <a:pt x="1324" y="412"/>
                  </a:lnTo>
                  <a:lnTo>
                    <a:pt x="1330" y="408"/>
                  </a:lnTo>
                  <a:lnTo>
                    <a:pt x="1302" y="380"/>
                  </a:lnTo>
                  <a:lnTo>
                    <a:pt x="1236" y="416"/>
                  </a:lnTo>
                  <a:lnTo>
                    <a:pt x="1210" y="419"/>
                  </a:lnTo>
                  <a:lnTo>
                    <a:pt x="1189" y="452"/>
                  </a:lnTo>
                  <a:lnTo>
                    <a:pt x="1190" y="465"/>
                  </a:lnTo>
                  <a:lnTo>
                    <a:pt x="1198" y="467"/>
                  </a:lnTo>
                  <a:lnTo>
                    <a:pt x="1204" y="472"/>
                  </a:lnTo>
                  <a:lnTo>
                    <a:pt x="1224" y="478"/>
                  </a:lnTo>
                  <a:lnTo>
                    <a:pt x="1239" y="471"/>
                  </a:lnTo>
                  <a:lnTo>
                    <a:pt x="1226" y="458"/>
                  </a:lnTo>
                  <a:lnTo>
                    <a:pt x="1243" y="450"/>
                  </a:lnTo>
                  <a:lnTo>
                    <a:pt x="1258" y="460"/>
                  </a:lnTo>
                  <a:lnTo>
                    <a:pt x="1276" y="449"/>
                  </a:lnTo>
                  <a:lnTo>
                    <a:pt x="1282" y="461"/>
                  </a:lnTo>
                  <a:lnTo>
                    <a:pt x="1283" y="449"/>
                  </a:lnTo>
                  <a:lnTo>
                    <a:pt x="1277" y="436"/>
                  </a:lnTo>
                  <a:lnTo>
                    <a:pt x="1290" y="435"/>
                  </a:lnTo>
                  <a:lnTo>
                    <a:pt x="1284" y="427"/>
                  </a:lnTo>
                  <a:lnTo>
                    <a:pt x="1316" y="416"/>
                  </a:lnTo>
                  <a:lnTo>
                    <a:pt x="1310" y="430"/>
                  </a:lnTo>
                  <a:lnTo>
                    <a:pt x="1315" y="432"/>
                  </a:lnTo>
                  <a:lnTo>
                    <a:pt x="1304" y="437"/>
                  </a:lnTo>
                  <a:lnTo>
                    <a:pt x="1305" y="444"/>
                  </a:lnTo>
                  <a:lnTo>
                    <a:pt x="1297" y="462"/>
                  </a:lnTo>
                  <a:lnTo>
                    <a:pt x="1291" y="455"/>
                  </a:lnTo>
                  <a:lnTo>
                    <a:pt x="1292" y="468"/>
                  </a:lnTo>
                  <a:lnTo>
                    <a:pt x="1238" y="486"/>
                  </a:lnTo>
                  <a:lnTo>
                    <a:pt x="1234" y="499"/>
                  </a:lnTo>
                  <a:lnTo>
                    <a:pt x="1239" y="501"/>
                  </a:lnTo>
                  <a:lnTo>
                    <a:pt x="1221" y="521"/>
                  </a:lnTo>
                  <a:lnTo>
                    <a:pt x="1236" y="534"/>
                  </a:lnTo>
                  <a:lnTo>
                    <a:pt x="1239" y="543"/>
                  </a:lnTo>
                  <a:lnTo>
                    <a:pt x="1236" y="561"/>
                  </a:lnTo>
                  <a:lnTo>
                    <a:pt x="1250" y="591"/>
                  </a:lnTo>
                  <a:lnTo>
                    <a:pt x="1257" y="594"/>
                  </a:lnTo>
                  <a:lnTo>
                    <a:pt x="1250" y="600"/>
                  </a:lnTo>
                  <a:lnTo>
                    <a:pt x="1258" y="614"/>
                  </a:lnTo>
                  <a:lnTo>
                    <a:pt x="1235" y="618"/>
                  </a:lnTo>
                  <a:lnTo>
                    <a:pt x="1234" y="633"/>
                  </a:lnTo>
                  <a:lnTo>
                    <a:pt x="1220" y="620"/>
                  </a:lnTo>
                  <a:lnTo>
                    <a:pt x="1208" y="599"/>
                  </a:lnTo>
                  <a:lnTo>
                    <a:pt x="1230" y="591"/>
                  </a:lnTo>
                  <a:lnTo>
                    <a:pt x="1222" y="570"/>
                  </a:lnTo>
                  <a:lnTo>
                    <a:pt x="1215" y="570"/>
                  </a:lnTo>
                  <a:lnTo>
                    <a:pt x="1209" y="555"/>
                  </a:lnTo>
                  <a:lnTo>
                    <a:pt x="1198" y="560"/>
                  </a:lnTo>
                  <a:lnTo>
                    <a:pt x="1201" y="543"/>
                  </a:lnTo>
                  <a:lnTo>
                    <a:pt x="1194" y="534"/>
                  </a:lnTo>
                  <a:lnTo>
                    <a:pt x="1188" y="560"/>
                  </a:lnTo>
                  <a:lnTo>
                    <a:pt x="1183" y="553"/>
                  </a:lnTo>
                  <a:lnTo>
                    <a:pt x="1185" y="543"/>
                  </a:lnTo>
                  <a:lnTo>
                    <a:pt x="1182" y="536"/>
                  </a:lnTo>
                  <a:lnTo>
                    <a:pt x="1183" y="521"/>
                  </a:lnTo>
                  <a:lnTo>
                    <a:pt x="1149" y="521"/>
                  </a:lnTo>
                  <a:lnTo>
                    <a:pt x="1151" y="515"/>
                  </a:lnTo>
                  <a:lnTo>
                    <a:pt x="1146" y="504"/>
                  </a:lnTo>
                  <a:lnTo>
                    <a:pt x="1138" y="506"/>
                  </a:lnTo>
                  <a:lnTo>
                    <a:pt x="1142" y="500"/>
                  </a:lnTo>
                  <a:lnTo>
                    <a:pt x="1135" y="489"/>
                  </a:lnTo>
                  <a:lnTo>
                    <a:pt x="1098" y="521"/>
                  </a:lnTo>
                  <a:lnTo>
                    <a:pt x="1090" y="521"/>
                  </a:lnTo>
                  <a:lnTo>
                    <a:pt x="1091" y="507"/>
                  </a:lnTo>
                  <a:lnTo>
                    <a:pt x="1083" y="509"/>
                  </a:lnTo>
                  <a:lnTo>
                    <a:pt x="1079" y="522"/>
                  </a:lnTo>
                  <a:lnTo>
                    <a:pt x="1060" y="518"/>
                  </a:lnTo>
                  <a:lnTo>
                    <a:pt x="1059" y="527"/>
                  </a:lnTo>
                  <a:lnTo>
                    <a:pt x="935" y="521"/>
                  </a:lnTo>
                  <a:lnTo>
                    <a:pt x="921" y="513"/>
                  </a:lnTo>
                  <a:lnTo>
                    <a:pt x="899" y="500"/>
                  </a:lnTo>
                  <a:lnTo>
                    <a:pt x="911" y="492"/>
                  </a:lnTo>
                  <a:lnTo>
                    <a:pt x="911" y="471"/>
                  </a:lnTo>
                  <a:lnTo>
                    <a:pt x="922" y="462"/>
                  </a:lnTo>
                  <a:lnTo>
                    <a:pt x="966" y="462"/>
                  </a:lnTo>
                  <a:lnTo>
                    <a:pt x="965" y="441"/>
                  </a:lnTo>
                  <a:lnTo>
                    <a:pt x="959" y="449"/>
                  </a:lnTo>
                  <a:lnTo>
                    <a:pt x="959" y="432"/>
                  </a:lnTo>
                  <a:lnTo>
                    <a:pt x="930" y="397"/>
                  </a:lnTo>
                  <a:lnTo>
                    <a:pt x="922" y="401"/>
                  </a:lnTo>
                  <a:lnTo>
                    <a:pt x="914" y="384"/>
                  </a:lnTo>
                  <a:lnTo>
                    <a:pt x="869" y="382"/>
                  </a:lnTo>
                  <a:lnTo>
                    <a:pt x="883" y="394"/>
                  </a:lnTo>
                  <a:lnTo>
                    <a:pt x="881" y="401"/>
                  </a:lnTo>
                  <a:lnTo>
                    <a:pt x="872" y="391"/>
                  </a:lnTo>
                  <a:lnTo>
                    <a:pt x="811" y="384"/>
                  </a:lnTo>
                  <a:lnTo>
                    <a:pt x="766" y="351"/>
                  </a:lnTo>
                  <a:lnTo>
                    <a:pt x="690" y="327"/>
                  </a:lnTo>
                  <a:lnTo>
                    <a:pt x="673" y="306"/>
                  </a:lnTo>
                  <a:lnTo>
                    <a:pt x="632" y="281"/>
                  </a:lnTo>
                  <a:lnTo>
                    <a:pt x="576" y="281"/>
                  </a:lnTo>
                  <a:lnTo>
                    <a:pt x="569" y="317"/>
                  </a:lnTo>
                  <a:lnTo>
                    <a:pt x="560" y="331"/>
                  </a:lnTo>
                  <a:lnTo>
                    <a:pt x="542" y="336"/>
                  </a:lnTo>
                  <a:lnTo>
                    <a:pt x="514" y="335"/>
                  </a:lnTo>
                  <a:lnTo>
                    <a:pt x="515" y="323"/>
                  </a:lnTo>
                  <a:lnTo>
                    <a:pt x="534" y="293"/>
                  </a:lnTo>
                  <a:lnTo>
                    <a:pt x="516" y="292"/>
                  </a:lnTo>
                  <a:lnTo>
                    <a:pt x="520" y="250"/>
                  </a:lnTo>
                  <a:lnTo>
                    <a:pt x="517" y="241"/>
                  </a:lnTo>
                  <a:lnTo>
                    <a:pt x="506" y="242"/>
                  </a:lnTo>
                  <a:lnTo>
                    <a:pt x="516" y="253"/>
                  </a:lnTo>
                  <a:lnTo>
                    <a:pt x="507" y="261"/>
                  </a:lnTo>
                  <a:lnTo>
                    <a:pt x="501" y="251"/>
                  </a:lnTo>
                  <a:lnTo>
                    <a:pt x="485" y="256"/>
                  </a:lnTo>
                  <a:lnTo>
                    <a:pt x="489" y="266"/>
                  </a:lnTo>
                  <a:lnTo>
                    <a:pt x="484" y="283"/>
                  </a:lnTo>
                  <a:lnTo>
                    <a:pt x="488" y="294"/>
                  </a:lnTo>
                  <a:lnTo>
                    <a:pt x="473" y="303"/>
                  </a:lnTo>
                  <a:lnTo>
                    <a:pt x="485" y="315"/>
                  </a:lnTo>
                  <a:lnTo>
                    <a:pt x="464" y="328"/>
                  </a:lnTo>
                  <a:lnTo>
                    <a:pt x="457" y="335"/>
                  </a:lnTo>
                  <a:lnTo>
                    <a:pt x="422" y="304"/>
                  </a:lnTo>
                  <a:lnTo>
                    <a:pt x="394" y="220"/>
                  </a:lnTo>
                  <a:lnTo>
                    <a:pt x="361" y="188"/>
                  </a:lnTo>
                  <a:lnTo>
                    <a:pt x="353" y="206"/>
                  </a:lnTo>
                  <a:lnTo>
                    <a:pt x="361" y="220"/>
                  </a:lnTo>
                  <a:lnTo>
                    <a:pt x="378" y="228"/>
                  </a:lnTo>
                  <a:lnTo>
                    <a:pt x="352" y="242"/>
                  </a:lnTo>
                  <a:lnTo>
                    <a:pt x="347" y="263"/>
                  </a:lnTo>
                  <a:lnTo>
                    <a:pt x="314" y="294"/>
                  </a:lnTo>
                  <a:lnTo>
                    <a:pt x="323" y="275"/>
                  </a:lnTo>
                  <a:lnTo>
                    <a:pt x="325" y="261"/>
                  </a:lnTo>
                  <a:lnTo>
                    <a:pt x="262" y="296"/>
                  </a:lnTo>
                  <a:lnTo>
                    <a:pt x="233" y="356"/>
                  </a:lnTo>
                  <a:lnTo>
                    <a:pt x="236" y="326"/>
                  </a:lnTo>
                  <a:lnTo>
                    <a:pt x="231" y="321"/>
                  </a:lnTo>
                  <a:lnTo>
                    <a:pt x="217" y="337"/>
                  </a:lnTo>
                  <a:lnTo>
                    <a:pt x="216" y="329"/>
                  </a:lnTo>
                  <a:lnTo>
                    <a:pt x="210" y="339"/>
                  </a:lnTo>
                  <a:lnTo>
                    <a:pt x="211" y="328"/>
                  </a:lnTo>
                  <a:lnTo>
                    <a:pt x="201" y="330"/>
                  </a:lnTo>
                  <a:lnTo>
                    <a:pt x="200" y="339"/>
                  </a:lnTo>
                  <a:lnTo>
                    <a:pt x="185" y="358"/>
                  </a:lnTo>
                  <a:lnTo>
                    <a:pt x="157" y="372"/>
                  </a:lnTo>
                  <a:lnTo>
                    <a:pt x="151" y="373"/>
                  </a:lnTo>
                  <a:lnTo>
                    <a:pt x="151" y="366"/>
                  </a:lnTo>
                  <a:lnTo>
                    <a:pt x="161" y="351"/>
                  </a:lnTo>
                  <a:lnTo>
                    <a:pt x="165" y="360"/>
                  </a:lnTo>
                  <a:lnTo>
                    <a:pt x="197" y="316"/>
                  </a:lnTo>
                  <a:lnTo>
                    <a:pt x="235" y="311"/>
                  </a:lnTo>
                  <a:lnTo>
                    <a:pt x="292" y="259"/>
                  </a:lnTo>
                  <a:lnTo>
                    <a:pt x="302" y="248"/>
                  </a:lnTo>
                  <a:lnTo>
                    <a:pt x="291" y="227"/>
                  </a:lnTo>
                  <a:lnTo>
                    <a:pt x="273" y="248"/>
                  </a:lnTo>
                  <a:lnTo>
                    <a:pt x="256" y="237"/>
                  </a:lnTo>
                  <a:lnTo>
                    <a:pt x="241" y="246"/>
                  </a:lnTo>
                  <a:lnTo>
                    <a:pt x="229" y="268"/>
                  </a:lnTo>
                  <a:lnTo>
                    <a:pt x="215" y="263"/>
                  </a:lnTo>
                  <a:lnTo>
                    <a:pt x="185" y="294"/>
                  </a:lnTo>
                  <a:lnTo>
                    <a:pt x="169" y="290"/>
                  </a:lnTo>
                  <a:lnTo>
                    <a:pt x="150" y="305"/>
                  </a:lnTo>
                  <a:lnTo>
                    <a:pt x="149" y="322"/>
                  </a:lnTo>
                  <a:lnTo>
                    <a:pt x="143" y="328"/>
                  </a:lnTo>
                  <a:lnTo>
                    <a:pt x="111" y="339"/>
                  </a:lnTo>
                  <a:lnTo>
                    <a:pt x="78" y="372"/>
                  </a:lnTo>
                  <a:lnTo>
                    <a:pt x="98" y="412"/>
                  </a:lnTo>
                  <a:lnTo>
                    <a:pt x="101" y="424"/>
                  </a:lnTo>
                  <a:lnTo>
                    <a:pt x="96" y="432"/>
                  </a:lnTo>
                  <a:lnTo>
                    <a:pt x="71" y="394"/>
                  </a:lnTo>
                  <a:lnTo>
                    <a:pt x="40" y="392"/>
                  </a:lnTo>
                  <a:lnTo>
                    <a:pt x="57" y="419"/>
                  </a:lnTo>
                  <a:lnTo>
                    <a:pt x="47" y="419"/>
                  </a:lnTo>
                  <a:lnTo>
                    <a:pt x="21" y="396"/>
                  </a:lnTo>
                  <a:lnTo>
                    <a:pt x="0" y="394"/>
                  </a:lnTo>
                  <a:lnTo>
                    <a:pt x="0" y="529"/>
                  </a:lnTo>
                  <a:lnTo>
                    <a:pt x="12" y="552"/>
                  </a:lnTo>
                  <a:lnTo>
                    <a:pt x="10" y="564"/>
                  </a:lnTo>
                  <a:lnTo>
                    <a:pt x="15" y="576"/>
                  </a:lnTo>
                  <a:lnTo>
                    <a:pt x="9" y="590"/>
                  </a:lnTo>
                  <a:lnTo>
                    <a:pt x="12" y="609"/>
                  </a:lnTo>
                  <a:lnTo>
                    <a:pt x="112" y="609"/>
                  </a:lnTo>
                  <a:lnTo>
                    <a:pt x="100" y="614"/>
                  </a:lnTo>
                  <a:lnTo>
                    <a:pt x="115" y="630"/>
                  </a:lnTo>
                  <a:lnTo>
                    <a:pt x="112" y="639"/>
                  </a:lnTo>
                  <a:lnTo>
                    <a:pt x="124" y="657"/>
                  </a:lnTo>
                  <a:lnTo>
                    <a:pt x="113" y="683"/>
                  </a:lnTo>
                  <a:lnTo>
                    <a:pt x="124" y="687"/>
                  </a:lnTo>
                  <a:lnTo>
                    <a:pt x="125" y="700"/>
                  </a:lnTo>
                  <a:lnTo>
                    <a:pt x="118" y="710"/>
                  </a:lnTo>
                  <a:lnTo>
                    <a:pt x="122" y="712"/>
                  </a:lnTo>
                  <a:lnTo>
                    <a:pt x="121" y="720"/>
                  </a:lnTo>
                  <a:lnTo>
                    <a:pt x="151" y="714"/>
                  </a:lnTo>
                  <a:lnTo>
                    <a:pt x="149" y="725"/>
                  </a:lnTo>
                  <a:lnTo>
                    <a:pt x="153" y="727"/>
                  </a:lnTo>
                  <a:lnTo>
                    <a:pt x="165" y="714"/>
                  </a:lnTo>
                  <a:lnTo>
                    <a:pt x="177" y="719"/>
                  </a:lnTo>
                  <a:lnTo>
                    <a:pt x="166" y="733"/>
                  </a:lnTo>
                  <a:lnTo>
                    <a:pt x="184" y="759"/>
                  </a:lnTo>
                  <a:lnTo>
                    <a:pt x="168" y="792"/>
                  </a:lnTo>
                  <a:lnTo>
                    <a:pt x="158" y="797"/>
                  </a:lnTo>
                  <a:lnTo>
                    <a:pt x="177" y="814"/>
                  </a:lnTo>
                  <a:lnTo>
                    <a:pt x="164" y="837"/>
                  </a:lnTo>
                  <a:lnTo>
                    <a:pt x="204" y="867"/>
                  </a:lnTo>
                  <a:lnTo>
                    <a:pt x="200" y="883"/>
                  </a:lnTo>
                  <a:lnTo>
                    <a:pt x="218" y="874"/>
                  </a:lnTo>
                  <a:lnTo>
                    <a:pt x="228" y="878"/>
                  </a:lnTo>
                  <a:lnTo>
                    <a:pt x="235" y="888"/>
                  </a:lnTo>
                  <a:lnTo>
                    <a:pt x="233" y="893"/>
                  </a:lnTo>
                  <a:lnTo>
                    <a:pt x="241" y="901"/>
                  </a:lnTo>
                  <a:lnTo>
                    <a:pt x="237" y="906"/>
                  </a:lnTo>
                  <a:lnTo>
                    <a:pt x="241" y="915"/>
                  </a:lnTo>
                  <a:lnTo>
                    <a:pt x="273" y="940"/>
                  </a:lnTo>
                  <a:lnTo>
                    <a:pt x="264" y="950"/>
                  </a:lnTo>
                  <a:lnTo>
                    <a:pt x="273" y="949"/>
                  </a:lnTo>
                  <a:lnTo>
                    <a:pt x="285" y="971"/>
                  </a:lnTo>
                  <a:lnTo>
                    <a:pt x="271" y="991"/>
                  </a:lnTo>
                  <a:lnTo>
                    <a:pt x="282" y="998"/>
                  </a:lnTo>
                  <a:lnTo>
                    <a:pt x="284" y="1008"/>
                  </a:lnTo>
                  <a:lnTo>
                    <a:pt x="294" y="1012"/>
                  </a:lnTo>
                  <a:lnTo>
                    <a:pt x="287" y="1029"/>
                  </a:lnTo>
                  <a:lnTo>
                    <a:pt x="299" y="1047"/>
                  </a:lnTo>
                  <a:lnTo>
                    <a:pt x="296" y="1056"/>
                  </a:lnTo>
                  <a:lnTo>
                    <a:pt x="313" y="1065"/>
                  </a:lnTo>
                  <a:lnTo>
                    <a:pt x="308" y="1071"/>
                  </a:lnTo>
                  <a:lnTo>
                    <a:pt x="312" y="1075"/>
                  </a:lnTo>
                  <a:lnTo>
                    <a:pt x="308" y="1081"/>
                  </a:lnTo>
                  <a:lnTo>
                    <a:pt x="312" y="1090"/>
                  </a:lnTo>
                  <a:lnTo>
                    <a:pt x="308" y="1096"/>
                  </a:lnTo>
                  <a:lnTo>
                    <a:pt x="331" y="1105"/>
                  </a:lnTo>
                  <a:lnTo>
                    <a:pt x="340" y="1099"/>
                  </a:lnTo>
                  <a:lnTo>
                    <a:pt x="355" y="1124"/>
                  </a:lnTo>
                  <a:lnTo>
                    <a:pt x="360" y="1123"/>
                  </a:lnTo>
                  <a:lnTo>
                    <a:pt x="365" y="1138"/>
                  </a:lnTo>
                  <a:lnTo>
                    <a:pt x="384" y="1155"/>
                  </a:lnTo>
                  <a:lnTo>
                    <a:pt x="400" y="1159"/>
                  </a:lnTo>
                  <a:lnTo>
                    <a:pt x="406" y="1183"/>
                  </a:lnTo>
                  <a:lnTo>
                    <a:pt x="402" y="1193"/>
                  </a:lnTo>
                  <a:lnTo>
                    <a:pt x="409" y="1194"/>
                  </a:lnTo>
                  <a:lnTo>
                    <a:pt x="413" y="1222"/>
                  </a:lnTo>
                  <a:lnTo>
                    <a:pt x="438" y="1219"/>
                  </a:lnTo>
                  <a:lnTo>
                    <a:pt x="443" y="1212"/>
                  </a:lnTo>
                  <a:lnTo>
                    <a:pt x="449" y="1218"/>
                  </a:lnTo>
                  <a:lnTo>
                    <a:pt x="455" y="1210"/>
                  </a:lnTo>
                  <a:lnTo>
                    <a:pt x="477" y="1219"/>
                  </a:lnTo>
                  <a:lnTo>
                    <a:pt x="498" y="1213"/>
                  </a:lnTo>
                  <a:lnTo>
                    <a:pt x="501" y="1203"/>
                  </a:lnTo>
                  <a:lnTo>
                    <a:pt x="510" y="1204"/>
                  </a:lnTo>
                  <a:lnTo>
                    <a:pt x="515" y="1219"/>
                  </a:lnTo>
                  <a:lnTo>
                    <a:pt x="509" y="1229"/>
                  </a:lnTo>
                  <a:lnTo>
                    <a:pt x="518" y="1246"/>
                  </a:lnTo>
                  <a:lnTo>
                    <a:pt x="527" y="1247"/>
                  </a:lnTo>
                  <a:lnTo>
                    <a:pt x="527" y="1258"/>
                  </a:lnTo>
                  <a:lnTo>
                    <a:pt x="536" y="1279"/>
                  </a:lnTo>
                  <a:lnTo>
                    <a:pt x="543" y="1287"/>
                  </a:lnTo>
                  <a:lnTo>
                    <a:pt x="585" y="1287"/>
                  </a:lnTo>
                  <a:lnTo>
                    <a:pt x="622" y="1287"/>
                  </a:lnTo>
                  <a:lnTo>
                    <a:pt x="660" y="1287"/>
                  </a:lnTo>
                  <a:lnTo>
                    <a:pt x="709" y="1287"/>
                  </a:lnTo>
                  <a:lnTo>
                    <a:pt x="747" y="1287"/>
                  </a:lnTo>
                  <a:lnTo>
                    <a:pt x="789" y="1287"/>
                  </a:lnTo>
                  <a:lnTo>
                    <a:pt x="828" y="1287"/>
                  </a:lnTo>
                  <a:lnTo>
                    <a:pt x="863" y="1287"/>
                  </a:lnTo>
                  <a:lnTo>
                    <a:pt x="903" y="1287"/>
                  </a:lnTo>
                  <a:lnTo>
                    <a:pt x="945" y="1287"/>
                  </a:lnTo>
                  <a:lnTo>
                    <a:pt x="984" y="1287"/>
                  </a:lnTo>
                  <a:lnTo>
                    <a:pt x="1026" y="1287"/>
                  </a:lnTo>
                  <a:lnTo>
                    <a:pt x="1063" y="1287"/>
                  </a:lnTo>
                  <a:lnTo>
                    <a:pt x="1099" y="1287"/>
                  </a:lnTo>
                  <a:lnTo>
                    <a:pt x="1137" y="1287"/>
                  </a:lnTo>
                  <a:lnTo>
                    <a:pt x="1138" y="1287"/>
                  </a:lnTo>
                  <a:lnTo>
                    <a:pt x="1137" y="1287"/>
                  </a:lnTo>
                  <a:lnTo>
                    <a:pt x="1177" y="1287"/>
                  </a:lnTo>
                  <a:lnTo>
                    <a:pt x="1219" y="1287"/>
                  </a:lnTo>
                  <a:lnTo>
                    <a:pt x="1258" y="1287"/>
                  </a:lnTo>
                  <a:lnTo>
                    <a:pt x="1294" y="1287"/>
                  </a:lnTo>
                  <a:lnTo>
                    <a:pt x="1334" y="1287"/>
                  </a:lnTo>
                  <a:lnTo>
                    <a:pt x="1375" y="1287"/>
                  </a:lnTo>
                  <a:lnTo>
                    <a:pt x="1415" y="1287"/>
                  </a:lnTo>
                  <a:lnTo>
                    <a:pt x="1456" y="1287"/>
                  </a:lnTo>
                  <a:lnTo>
                    <a:pt x="1483" y="1287"/>
                  </a:lnTo>
                  <a:close/>
                </a:path>
              </a:pathLst>
            </a:custGeom>
            <a:grpFill/>
            <a:ln w="6350">
              <a:solidFill>
                <a:schemeClr val="tx2"/>
              </a:solidFill>
              <a:round/>
              <a:headEnd/>
              <a:tailEnd/>
            </a:ln>
          </p:spPr>
          <p:txBody>
            <a:bodyPr/>
            <a:lstStyle/>
            <a:p>
              <a:endParaRPr lang="en-US"/>
            </a:p>
          </p:txBody>
        </p:sp>
        <p:sp>
          <p:nvSpPr>
            <p:cNvPr id="249" name="Freeform 1149"/>
            <p:cNvSpPr>
              <a:spLocks/>
            </p:cNvSpPr>
            <p:nvPr/>
          </p:nvSpPr>
          <p:spPr bwMode="auto">
            <a:xfrm>
              <a:off x="2181839" y="3172483"/>
              <a:ext cx="446031" cy="490029"/>
            </a:xfrm>
            <a:custGeom>
              <a:avLst/>
              <a:gdLst>
                <a:gd name="T0" fmla="*/ 2147483647 w 897"/>
                <a:gd name="T1" fmla="*/ 2147483647 h 985"/>
                <a:gd name="T2" fmla="*/ 2147483647 w 897"/>
                <a:gd name="T3" fmla="*/ 2147483647 h 985"/>
                <a:gd name="T4" fmla="*/ 2147483647 w 897"/>
                <a:gd name="T5" fmla="*/ 2147483647 h 985"/>
                <a:gd name="T6" fmla="*/ 2147483647 w 897"/>
                <a:gd name="T7" fmla="*/ 2147483647 h 985"/>
                <a:gd name="T8" fmla="*/ 2147483647 w 897"/>
                <a:gd name="T9" fmla="*/ 2147483647 h 985"/>
                <a:gd name="T10" fmla="*/ 2147483647 w 897"/>
                <a:gd name="T11" fmla="*/ 2147483647 h 985"/>
                <a:gd name="T12" fmla="*/ 2147483647 w 897"/>
                <a:gd name="T13" fmla="*/ 2147483647 h 985"/>
                <a:gd name="T14" fmla="*/ 2147483647 w 897"/>
                <a:gd name="T15" fmla="*/ 2147483647 h 985"/>
                <a:gd name="T16" fmla="*/ 2147483647 w 897"/>
                <a:gd name="T17" fmla="*/ 2147483647 h 985"/>
                <a:gd name="T18" fmla="*/ 2147483647 w 897"/>
                <a:gd name="T19" fmla="*/ 2147483647 h 985"/>
                <a:gd name="T20" fmla="*/ 2147483647 w 897"/>
                <a:gd name="T21" fmla="*/ 2147483647 h 985"/>
                <a:gd name="T22" fmla="*/ 2147483647 w 897"/>
                <a:gd name="T23" fmla="*/ 2147483647 h 985"/>
                <a:gd name="T24" fmla="*/ 2147483647 w 897"/>
                <a:gd name="T25" fmla="*/ 2147483647 h 985"/>
                <a:gd name="T26" fmla="*/ 2147483647 w 897"/>
                <a:gd name="T27" fmla="*/ 2147483647 h 985"/>
                <a:gd name="T28" fmla="*/ 2147483647 w 897"/>
                <a:gd name="T29" fmla="*/ 2147483647 h 985"/>
                <a:gd name="T30" fmla="*/ 2147483647 w 897"/>
                <a:gd name="T31" fmla="*/ 2147483647 h 985"/>
                <a:gd name="T32" fmla="*/ 2147483647 w 897"/>
                <a:gd name="T33" fmla="*/ 2147483647 h 985"/>
                <a:gd name="T34" fmla="*/ 2147483647 w 897"/>
                <a:gd name="T35" fmla="*/ 2147483647 h 985"/>
                <a:gd name="T36" fmla="*/ 2147483647 w 897"/>
                <a:gd name="T37" fmla="*/ 2147483647 h 985"/>
                <a:gd name="T38" fmla="*/ 2147483647 w 897"/>
                <a:gd name="T39" fmla="*/ 2147483647 h 985"/>
                <a:gd name="T40" fmla="*/ 2147483647 w 897"/>
                <a:gd name="T41" fmla="*/ 2147483647 h 985"/>
                <a:gd name="T42" fmla="*/ 2147483647 w 897"/>
                <a:gd name="T43" fmla="*/ 2147483647 h 985"/>
                <a:gd name="T44" fmla="*/ 2147483647 w 897"/>
                <a:gd name="T45" fmla="*/ 2147483647 h 985"/>
                <a:gd name="T46" fmla="*/ 2147483647 w 897"/>
                <a:gd name="T47" fmla="*/ 2147483647 h 985"/>
                <a:gd name="T48" fmla="*/ 2147483647 w 897"/>
                <a:gd name="T49" fmla="*/ 2147483647 h 985"/>
                <a:gd name="T50" fmla="*/ 2147483647 w 897"/>
                <a:gd name="T51" fmla="*/ 2147483647 h 985"/>
                <a:gd name="T52" fmla="*/ 2147483647 w 897"/>
                <a:gd name="T53" fmla="*/ 2147483647 h 985"/>
                <a:gd name="T54" fmla="*/ 2147483647 w 897"/>
                <a:gd name="T55" fmla="*/ 2147483647 h 985"/>
                <a:gd name="T56" fmla="*/ 2147483647 w 897"/>
                <a:gd name="T57" fmla="*/ 2147483647 h 985"/>
                <a:gd name="T58" fmla="*/ 2147483647 w 897"/>
                <a:gd name="T59" fmla="*/ 2147483647 h 985"/>
                <a:gd name="T60" fmla="*/ 2147483647 w 897"/>
                <a:gd name="T61" fmla="*/ 2147483647 h 985"/>
                <a:gd name="T62" fmla="*/ 2147483647 w 897"/>
                <a:gd name="T63" fmla="*/ 2147483647 h 985"/>
                <a:gd name="T64" fmla="*/ 2147483647 w 897"/>
                <a:gd name="T65" fmla="*/ 2147483647 h 985"/>
                <a:gd name="T66" fmla="*/ 2147483647 w 897"/>
                <a:gd name="T67" fmla="*/ 2147483647 h 985"/>
                <a:gd name="T68" fmla="*/ 2147483647 w 897"/>
                <a:gd name="T69" fmla="*/ 2147483647 h 985"/>
                <a:gd name="T70" fmla="*/ 2147483647 w 897"/>
                <a:gd name="T71" fmla="*/ 2147483647 h 985"/>
                <a:gd name="T72" fmla="*/ 2147483647 w 897"/>
                <a:gd name="T73" fmla="*/ 2147483647 h 985"/>
                <a:gd name="T74" fmla="*/ 2147483647 w 897"/>
                <a:gd name="T75" fmla="*/ 2147483647 h 985"/>
                <a:gd name="T76" fmla="*/ 2147483647 w 897"/>
                <a:gd name="T77" fmla="*/ 2147483647 h 985"/>
                <a:gd name="T78" fmla="*/ 2147483647 w 897"/>
                <a:gd name="T79" fmla="*/ 2147483647 h 985"/>
                <a:gd name="T80" fmla="*/ 2147483647 w 897"/>
                <a:gd name="T81" fmla="*/ 2147483647 h 985"/>
                <a:gd name="T82" fmla="*/ 0 w 897"/>
                <a:gd name="T83" fmla="*/ 2147483647 h 985"/>
                <a:gd name="T84" fmla="*/ 2147483647 w 897"/>
                <a:gd name="T85" fmla="*/ 2147483647 h 985"/>
                <a:gd name="T86" fmla="*/ 2147483647 w 897"/>
                <a:gd name="T87" fmla="*/ 2147483647 h 985"/>
                <a:gd name="T88" fmla="*/ 2147483647 w 897"/>
                <a:gd name="T89" fmla="*/ 2147483647 h 985"/>
                <a:gd name="T90" fmla="*/ 2147483647 w 897"/>
                <a:gd name="T91" fmla="*/ 2147483647 h 985"/>
                <a:gd name="T92" fmla="*/ 2147483647 w 897"/>
                <a:gd name="T93" fmla="*/ 2147483647 h 985"/>
                <a:gd name="T94" fmla="*/ 2147483647 w 897"/>
                <a:gd name="T95" fmla="*/ 2147483647 h 985"/>
                <a:gd name="T96" fmla="*/ 2147483647 w 897"/>
                <a:gd name="T97" fmla="*/ 2147483647 h 985"/>
                <a:gd name="T98" fmla="*/ 2147483647 w 897"/>
                <a:gd name="T99" fmla="*/ 2147483647 h 985"/>
                <a:gd name="T100" fmla="*/ 2147483647 w 897"/>
                <a:gd name="T101" fmla="*/ 2147483647 h 985"/>
                <a:gd name="T102" fmla="*/ 2147483647 w 897"/>
                <a:gd name="T103" fmla="*/ 2147483647 h 985"/>
                <a:gd name="T104" fmla="*/ 2147483647 w 897"/>
                <a:gd name="T105" fmla="*/ 2147483647 h 985"/>
                <a:gd name="T106" fmla="*/ 2147483647 w 897"/>
                <a:gd name="T107" fmla="*/ 2147483647 h 985"/>
                <a:gd name="T108" fmla="*/ 2147483647 w 897"/>
                <a:gd name="T109" fmla="*/ 2147483647 h 9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97"/>
                <a:gd name="T166" fmla="*/ 0 h 985"/>
                <a:gd name="T167" fmla="*/ 897 w 897"/>
                <a:gd name="T168" fmla="*/ 985 h 9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97" h="985">
                  <a:moveTo>
                    <a:pt x="672" y="397"/>
                  </a:moveTo>
                  <a:lnTo>
                    <a:pt x="672" y="429"/>
                  </a:lnTo>
                  <a:lnTo>
                    <a:pt x="672" y="491"/>
                  </a:lnTo>
                  <a:lnTo>
                    <a:pt x="672" y="554"/>
                  </a:lnTo>
                  <a:lnTo>
                    <a:pt x="672" y="612"/>
                  </a:lnTo>
                  <a:lnTo>
                    <a:pt x="672" y="654"/>
                  </a:lnTo>
                  <a:lnTo>
                    <a:pt x="677" y="665"/>
                  </a:lnTo>
                  <a:lnTo>
                    <a:pt x="677" y="675"/>
                  </a:lnTo>
                  <a:lnTo>
                    <a:pt x="689" y="693"/>
                  </a:lnTo>
                  <a:lnTo>
                    <a:pt x="698" y="713"/>
                  </a:lnTo>
                  <a:lnTo>
                    <a:pt x="708" y="723"/>
                  </a:lnTo>
                  <a:lnTo>
                    <a:pt x="758" y="734"/>
                  </a:lnTo>
                  <a:lnTo>
                    <a:pt x="771" y="748"/>
                  </a:lnTo>
                  <a:lnTo>
                    <a:pt x="791" y="751"/>
                  </a:lnTo>
                  <a:lnTo>
                    <a:pt x="798" y="770"/>
                  </a:lnTo>
                  <a:lnTo>
                    <a:pt x="810" y="777"/>
                  </a:lnTo>
                  <a:lnTo>
                    <a:pt x="821" y="774"/>
                  </a:lnTo>
                  <a:lnTo>
                    <a:pt x="832" y="782"/>
                  </a:lnTo>
                  <a:lnTo>
                    <a:pt x="857" y="769"/>
                  </a:lnTo>
                  <a:lnTo>
                    <a:pt x="883" y="765"/>
                  </a:lnTo>
                  <a:lnTo>
                    <a:pt x="893" y="772"/>
                  </a:lnTo>
                  <a:lnTo>
                    <a:pt x="890" y="786"/>
                  </a:lnTo>
                  <a:lnTo>
                    <a:pt x="897" y="793"/>
                  </a:lnTo>
                  <a:lnTo>
                    <a:pt x="880" y="807"/>
                  </a:lnTo>
                  <a:lnTo>
                    <a:pt x="868" y="807"/>
                  </a:lnTo>
                  <a:lnTo>
                    <a:pt x="840" y="826"/>
                  </a:lnTo>
                  <a:lnTo>
                    <a:pt x="827" y="844"/>
                  </a:lnTo>
                  <a:lnTo>
                    <a:pt x="786" y="861"/>
                  </a:lnTo>
                  <a:lnTo>
                    <a:pt x="783" y="855"/>
                  </a:lnTo>
                  <a:lnTo>
                    <a:pt x="774" y="856"/>
                  </a:lnTo>
                  <a:lnTo>
                    <a:pt x="782" y="871"/>
                  </a:lnTo>
                  <a:lnTo>
                    <a:pt x="760" y="867"/>
                  </a:lnTo>
                  <a:lnTo>
                    <a:pt x="735" y="866"/>
                  </a:lnTo>
                  <a:lnTo>
                    <a:pt x="690" y="880"/>
                  </a:lnTo>
                  <a:lnTo>
                    <a:pt x="663" y="907"/>
                  </a:lnTo>
                  <a:lnTo>
                    <a:pt x="681" y="914"/>
                  </a:lnTo>
                  <a:lnTo>
                    <a:pt x="689" y="913"/>
                  </a:lnTo>
                  <a:lnTo>
                    <a:pt x="695" y="910"/>
                  </a:lnTo>
                  <a:lnTo>
                    <a:pt x="703" y="935"/>
                  </a:lnTo>
                  <a:lnTo>
                    <a:pt x="686" y="932"/>
                  </a:lnTo>
                  <a:lnTo>
                    <a:pt x="667" y="932"/>
                  </a:lnTo>
                  <a:lnTo>
                    <a:pt x="643" y="938"/>
                  </a:lnTo>
                  <a:lnTo>
                    <a:pt x="631" y="949"/>
                  </a:lnTo>
                  <a:lnTo>
                    <a:pt x="606" y="944"/>
                  </a:lnTo>
                  <a:lnTo>
                    <a:pt x="587" y="951"/>
                  </a:lnTo>
                  <a:lnTo>
                    <a:pt x="577" y="965"/>
                  </a:lnTo>
                  <a:lnTo>
                    <a:pt x="566" y="967"/>
                  </a:lnTo>
                  <a:lnTo>
                    <a:pt x="548" y="985"/>
                  </a:lnTo>
                  <a:lnTo>
                    <a:pt x="518" y="983"/>
                  </a:lnTo>
                  <a:lnTo>
                    <a:pt x="519" y="973"/>
                  </a:lnTo>
                  <a:lnTo>
                    <a:pt x="528" y="960"/>
                  </a:lnTo>
                  <a:lnTo>
                    <a:pt x="537" y="965"/>
                  </a:lnTo>
                  <a:lnTo>
                    <a:pt x="547" y="963"/>
                  </a:lnTo>
                  <a:lnTo>
                    <a:pt x="549" y="957"/>
                  </a:lnTo>
                  <a:lnTo>
                    <a:pt x="543" y="946"/>
                  </a:lnTo>
                  <a:lnTo>
                    <a:pt x="549" y="920"/>
                  </a:lnTo>
                  <a:lnTo>
                    <a:pt x="556" y="920"/>
                  </a:lnTo>
                  <a:lnTo>
                    <a:pt x="576" y="903"/>
                  </a:lnTo>
                  <a:lnTo>
                    <a:pt x="579" y="890"/>
                  </a:lnTo>
                  <a:lnTo>
                    <a:pt x="577" y="856"/>
                  </a:lnTo>
                  <a:lnTo>
                    <a:pt x="595" y="821"/>
                  </a:lnTo>
                  <a:lnTo>
                    <a:pt x="592" y="806"/>
                  </a:lnTo>
                  <a:lnTo>
                    <a:pt x="582" y="790"/>
                  </a:lnTo>
                  <a:lnTo>
                    <a:pt x="597" y="791"/>
                  </a:lnTo>
                  <a:lnTo>
                    <a:pt x="603" y="811"/>
                  </a:lnTo>
                  <a:lnTo>
                    <a:pt x="610" y="806"/>
                  </a:lnTo>
                  <a:lnTo>
                    <a:pt x="609" y="818"/>
                  </a:lnTo>
                  <a:lnTo>
                    <a:pt x="612" y="818"/>
                  </a:lnTo>
                  <a:lnTo>
                    <a:pt x="614" y="828"/>
                  </a:lnTo>
                  <a:lnTo>
                    <a:pt x="621" y="821"/>
                  </a:lnTo>
                  <a:lnTo>
                    <a:pt x="629" y="830"/>
                  </a:lnTo>
                  <a:lnTo>
                    <a:pt x="650" y="833"/>
                  </a:lnTo>
                  <a:lnTo>
                    <a:pt x="653" y="828"/>
                  </a:lnTo>
                  <a:lnTo>
                    <a:pt x="650" y="814"/>
                  </a:lnTo>
                  <a:lnTo>
                    <a:pt x="667" y="816"/>
                  </a:lnTo>
                  <a:lnTo>
                    <a:pt x="667" y="813"/>
                  </a:lnTo>
                  <a:lnTo>
                    <a:pt x="651" y="798"/>
                  </a:lnTo>
                  <a:lnTo>
                    <a:pt x="651" y="783"/>
                  </a:lnTo>
                  <a:lnTo>
                    <a:pt x="642" y="780"/>
                  </a:lnTo>
                  <a:lnTo>
                    <a:pt x="630" y="768"/>
                  </a:lnTo>
                  <a:lnTo>
                    <a:pt x="626" y="753"/>
                  </a:lnTo>
                  <a:lnTo>
                    <a:pt x="619" y="749"/>
                  </a:lnTo>
                  <a:lnTo>
                    <a:pt x="586" y="747"/>
                  </a:lnTo>
                  <a:lnTo>
                    <a:pt x="585" y="739"/>
                  </a:lnTo>
                  <a:lnTo>
                    <a:pt x="534" y="731"/>
                  </a:lnTo>
                  <a:lnTo>
                    <a:pt x="520" y="735"/>
                  </a:lnTo>
                  <a:lnTo>
                    <a:pt x="490" y="724"/>
                  </a:lnTo>
                  <a:lnTo>
                    <a:pt x="476" y="727"/>
                  </a:lnTo>
                  <a:lnTo>
                    <a:pt x="467" y="707"/>
                  </a:lnTo>
                  <a:lnTo>
                    <a:pt x="465" y="715"/>
                  </a:lnTo>
                  <a:lnTo>
                    <a:pt x="458" y="715"/>
                  </a:lnTo>
                  <a:lnTo>
                    <a:pt x="460" y="699"/>
                  </a:lnTo>
                  <a:lnTo>
                    <a:pt x="457" y="696"/>
                  </a:lnTo>
                  <a:lnTo>
                    <a:pt x="462" y="690"/>
                  </a:lnTo>
                  <a:lnTo>
                    <a:pt x="451" y="684"/>
                  </a:lnTo>
                  <a:lnTo>
                    <a:pt x="448" y="674"/>
                  </a:lnTo>
                  <a:lnTo>
                    <a:pt x="452" y="661"/>
                  </a:lnTo>
                  <a:lnTo>
                    <a:pt x="438" y="642"/>
                  </a:lnTo>
                  <a:lnTo>
                    <a:pt x="442" y="619"/>
                  </a:lnTo>
                  <a:lnTo>
                    <a:pt x="406" y="623"/>
                  </a:lnTo>
                  <a:lnTo>
                    <a:pt x="398" y="616"/>
                  </a:lnTo>
                  <a:lnTo>
                    <a:pt x="377" y="572"/>
                  </a:lnTo>
                  <a:lnTo>
                    <a:pt x="349" y="568"/>
                  </a:lnTo>
                  <a:lnTo>
                    <a:pt x="349" y="599"/>
                  </a:lnTo>
                  <a:lnTo>
                    <a:pt x="334" y="563"/>
                  </a:lnTo>
                  <a:lnTo>
                    <a:pt x="306" y="553"/>
                  </a:lnTo>
                  <a:lnTo>
                    <a:pt x="301" y="558"/>
                  </a:lnTo>
                  <a:lnTo>
                    <a:pt x="302" y="575"/>
                  </a:lnTo>
                  <a:lnTo>
                    <a:pt x="290" y="589"/>
                  </a:lnTo>
                  <a:lnTo>
                    <a:pt x="286" y="585"/>
                  </a:lnTo>
                  <a:lnTo>
                    <a:pt x="291" y="567"/>
                  </a:lnTo>
                  <a:lnTo>
                    <a:pt x="278" y="595"/>
                  </a:lnTo>
                  <a:lnTo>
                    <a:pt x="273" y="597"/>
                  </a:lnTo>
                  <a:lnTo>
                    <a:pt x="272" y="582"/>
                  </a:lnTo>
                  <a:lnTo>
                    <a:pt x="251" y="612"/>
                  </a:lnTo>
                  <a:lnTo>
                    <a:pt x="234" y="620"/>
                  </a:lnTo>
                  <a:lnTo>
                    <a:pt x="186" y="609"/>
                  </a:lnTo>
                  <a:lnTo>
                    <a:pt x="163" y="615"/>
                  </a:lnTo>
                  <a:lnTo>
                    <a:pt x="102" y="579"/>
                  </a:lnTo>
                  <a:lnTo>
                    <a:pt x="67" y="582"/>
                  </a:lnTo>
                  <a:lnTo>
                    <a:pt x="46" y="572"/>
                  </a:lnTo>
                  <a:lnTo>
                    <a:pt x="28" y="573"/>
                  </a:lnTo>
                  <a:lnTo>
                    <a:pt x="11" y="528"/>
                  </a:lnTo>
                  <a:lnTo>
                    <a:pt x="0" y="527"/>
                  </a:lnTo>
                  <a:lnTo>
                    <a:pt x="0" y="483"/>
                  </a:lnTo>
                  <a:lnTo>
                    <a:pt x="0" y="424"/>
                  </a:lnTo>
                  <a:lnTo>
                    <a:pt x="0" y="357"/>
                  </a:lnTo>
                  <a:lnTo>
                    <a:pt x="0" y="293"/>
                  </a:lnTo>
                  <a:lnTo>
                    <a:pt x="25" y="267"/>
                  </a:lnTo>
                  <a:lnTo>
                    <a:pt x="56" y="233"/>
                  </a:lnTo>
                  <a:lnTo>
                    <a:pt x="92" y="194"/>
                  </a:lnTo>
                  <a:lnTo>
                    <a:pt x="124" y="158"/>
                  </a:lnTo>
                  <a:lnTo>
                    <a:pt x="149" y="131"/>
                  </a:lnTo>
                  <a:lnTo>
                    <a:pt x="180" y="95"/>
                  </a:lnTo>
                  <a:lnTo>
                    <a:pt x="215" y="55"/>
                  </a:lnTo>
                  <a:lnTo>
                    <a:pt x="248" y="16"/>
                  </a:lnTo>
                  <a:lnTo>
                    <a:pt x="261" y="0"/>
                  </a:lnTo>
                  <a:lnTo>
                    <a:pt x="302" y="24"/>
                  </a:lnTo>
                  <a:lnTo>
                    <a:pt x="323" y="60"/>
                  </a:lnTo>
                  <a:lnTo>
                    <a:pt x="325" y="63"/>
                  </a:lnTo>
                  <a:lnTo>
                    <a:pt x="355" y="67"/>
                  </a:lnTo>
                  <a:lnTo>
                    <a:pt x="398" y="86"/>
                  </a:lnTo>
                  <a:lnTo>
                    <a:pt x="422" y="106"/>
                  </a:lnTo>
                  <a:lnTo>
                    <a:pt x="408" y="148"/>
                  </a:lnTo>
                  <a:lnTo>
                    <a:pt x="425" y="115"/>
                  </a:lnTo>
                  <a:lnTo>
                    <a:pt x="516" y="115"/>
                  </a:lnTo>
                  <a:lnTo>
                    <a:pt x="546" y="129"/>
                  </a:lnTo>
                  <a:lnTo>
                    <a:pt x="551" y="125"/>
                  </a:lnTo>
                  <a:lnTo>
                    <a:pt x="555" y="145"/>
                  </a:lnTo>
                  <a:lnTo>
                    <a:pt x="549" y="200"/>
                  </a:lnTo>
                  <a:lnTo>
                    <a:pt x="556" y="218"/>
                  </a:lnTo>
                  <a:lnTo>
                    <a:pt x="558" y="261"/>
                  </a:lnTo>
                  <a:lnTo>
                    <a:pt x="554" y="268"/>
                  </a:lnTo>
                  <a:lnTo>
                    <a:pt x="553" y="284"/>
                  </a:lnTo>
                  <a:lnTo>
                    <a:pt x="593" y="331"/>
                  </a:lnTo>
                  <a:lnTo>
                    <a:pt x="561" y="347"/>
                  </a:lnTo>
                  <a:lnTo>
                    <a:pt x="596" y="342"/>
                  </a:lnTo>
                  <a:lnTo>
                    <a:pt x="624" y="368"/>
                  </a:lnTo>
                  <a:lnTo>
                    <a:pt x="631" y="390"/>
                  </a:lnTo>
                  <a:lnTo>
                    <a:pt x="610" y="417"/>
                  </a:lnTo>
                  <a:lnTo>
                    <a:pt x="636" y="398"/>
                  </a:lnTo>
                  <a:lnTo>
                    <a:pt x="665" y="416"/>
                  </a:lnTo>
                  <a:lnTo>
                    <a:pt x="667" y="414"/>
                  </a:lnTo>
                  <a:lnTo>
                    <a:pt x="665" y="393"/>
                  </a:lnTo>
                  <a:lnTo>
                    <a:pt x="672" y="388"/>
                  </a:lnTo>
                  <a:lnTo>
                    <a:pt x="672" y="397"/>
                  </a:lnTo>
                  <a:close/>
                </a:path>
              </a:pathLst>
            </a:custGeom>
            <a:grpFill/>
            <a:ln w="6350">
              <a:solidFill>
                <a:schemeClr val="tx2"/>
              </a:solidFill>
              <a:round/>
              <a:headEnd/>
              <a:tailEnd/>
            </a:ln>
          </p:spPr>
          <p:txBody>
            <a:bodyPr/>
            <a:lstStyle/>
            <a:p>
              <a:endParaRPr lang="en-US"/>
            </a:p>
          </p:txBody>
        </p:sp>
        <p:sp>
          <p:nvSpPr>
            <p:cNvPr id="250" name="Freeform 1150"/>
            <p:cNvSpPr>
              <a:spLocks/>
            </p:cNvSpPr>
            <p:nvPr/>
          </p:nvSpPr>
          <p:spPr bwMode="auto">
            <a:xfrm>
              <a:off x="2770479" y="3026840"/>
              <a:ext cx="259427" cy="338316"/>
            </a:xfrm>
            <a:custGeom>
              <a:avLst/>
              <a:gdLst>
                <a:gd name="T0" fmla="*/ 2147483647 w 526"/>
                <a:gd name="T1" fmla="*/ 2147483647 h 680"/>
                <a:gd name="T2" fmla="*/ 2147483647 w 526"/>
                <a:gd name="T3" fmla="*/ 2147483647 h 680"/>
                <a:gd name="T4" fmla="*/ 2147483647 w 526"/>
                <a:gd name="T5" fmla="*/ 2147483647 h 680"/>
                <a:gd name="T6" fmla="*/ 2147483647 w 526"/>
                <a:gd name="T7" fmla="*/ 2147483647 h 680"/>
                <a:gd name="T8" fmla="*/ 2147483647 w 526"/>
                <a:gd name="T9" fmla="*/ 2147483647 h 680"/>
                <a:gd name="T10" fmla="*/ 2147483647 w 526"/>
                <a:gd name="T11" fmla="*/ 2147483647 h 680"/>
                <a:gd name="T12" fmla="*/ 2147483647 w 526"/>
                <a:gd name="T13" fmla="*/ 2147483647 h 680"/>
                <a:gd name="T14" fmla="*/ 2147483647 w 526"/>
                <a:gd name="T15" fmla="*/ 2147483647 h 680"/>
                <a:gd name="T16" fmla="*/ 2147483647 w 526"/>
                <a:gd name="T17" fmla="*/ 2147483647 h 680"/>
                <a:gd name="T18" fmla="*/ 2147483647 w 526"/>
                <a:gd name="T19" fmla="*/ 2147483647 h 680"/>
                <a:gd name="T20" fmla="*/ 2147483647 w 526"/>
                <a:gd name="T21" fmla="*/ 2147483647 h 680"/>
                <a:gd name="T22" fmla="*/ 2147483647 w 526"/>
                <a:gd name="T23" fmla="*/ 2147483647 h 680"/>
                <a:gd name="T24" fmla="*/ 2147483647 w 526"/>
                <a:gd name="T25" fmla="*/ 2147483647 h 680"/>
                <a:gd name="T26" fmla="*/ 2147483647 w 526"/>
                <a:gd name="T27" fmla="*/ 2147483647 h 680"/>
                <a:gd name="T28" fmla="*/ 2147483647 w 526"/>
                <a:gd name="T29" fmla="*/ 2147483647 h 680"/>
                <a:gd name="T30" fmla="*/ 2147483647 w 526"/>
                <a:gd name="T31" fmla="*/ 2147483647 h 680"/>
                <a:gd name="T32" fmla="*/ 2147483647 w 526"/>
                <a:gd name="T33" fmla="*/ 2147483647 h 680"/>
                <a:gd name="T34" fmla="*/ 2147483647 w 526"/>
                <a:gd name="T35" fmla="*/ 2147483647 h 680"/>
                <a:gd name="T36" fmla="*/ 2147483647 w 526"/>
                <a:gd name="T37" fmla="*/ 2147483647 h 680"/>
                <a:gd name="T38" fmla="*/ 2147483647 w 526"/>
                <a:gd name="T39" fmla="*/ 2147483647 h 680"/>
                <a:gd name="T40" fmla="*/ 2147483647 w 526"/>
                <a:gd name="T41" fmla="*/ 2147483647 h 680"/>
                <a:gd name="T42" fmla="*/ 2147483647 w 526"/>
                <a:gd name="T43" fmla="*/ 2147483647 h 680"/>
                <a:gd name="T44" fmla="*/ 2147483647 w 526"/>
                <a:gd name="T45" fmla="*/ 2147483647 h 680"/>
                <a:gd name="T46" fmla="*/ 2147483647 w 526"/>
                <a:gd name="T47" fmla="*/ 2147483647 h 680"/>
                <a:gd name="T48" fmla="*/ 2147483647 w 526"/>
                <a:gd name="T49" fmla="*/ 2147483647 h 680"/>
                <a:gd name="T50" fmla="*/ 2147483647 w 526"/>
                <a:gd name="T51" fmla="*/ 2147483647 h 680"/>
                <a:gd name="T52" fmla="*/ 2147483647 w 526"/>
                <a:gd name="T53" fmla="*/ 2147483647 h 680"/>
                <a:gd name="T54" fmla="*/ 2147483647 w 526"/>
                <a:gd name="T55" fmla="*/ 2147483647 h 680"/>
                <a:gd name="T56" fmla="*/ 2147483647 w 526"/>
                <a:gd name="T57" fmla="*/ 2147483647 h 680"/>
                <a:gd name="T58" fmla="*/ 2147483647 w 526"/>
                <a:gd name="T59" fmla="*/ 2147483647 h 680"/>
                <a:gd name="T60" fmla="*/ 2147483647 w 526"/>
                <a:gd name="T61" fmla="*/ 2147483647 h 680"/>
                <a:gd name="T62" fmla="*/ 2147483647 w 526"/>
                <a:gd name="T63" fmla="*/ 2147483647 h 680"/>
                <a:gd name="T64" fmla="*/ 2147483647 w 526"/>
                <a:gd name="T65" fmla="*/ 2147483647 h 680"/>
                <a:gd name="T66" fmla="*/ 2147483647 w 526"/>
                <a:gd name="T67" fmla="*/ 2147483647 h 680"/>
                <a:gd name="T68" fmla="*/ 2147483647 w 526"/>
                <a:gd name="T69" fmla="*/ 2147483647 h 680"/>
                <a:gd name="T70" fmla="*/ 2147483647 w 526"/>
                <a:gd name="T71" fmla="*/ 2147483647 h 680"/>
                <a:gd name="T72" fmla="*/ 2147483647 w 526"/>
                <a:gd name="T73" fmla="*/ 2147483647 h 680"/>
                <a:gd name="T74" fmla="*/ 2147483647 w 526"/>
                <a:gd name="T75" fmla="*/ 2147483647 h 680"/>
                <a:gd name="T76" fmla="*/ 2147483647 w 526"/>
                <a:gd name="T77" fmla="*/ 2147483647 h 680"/>
                <a:gd name="T78" fmla="*/ 2147483647 w 526"/>
                <a:gd name="T79" fmla="*/ 2147483647 h 680"/>
                <a:gd name="T80" fmla="*/ 2147483647 w 526"/>
                <a:gd name="T81" fmla="*/ 2147483647 h 680"/>
                <a:gd name="T82" fmla="*/ 2147483647 w 526"/>
                <a:gd name="T83" fmla="*/ 2147483647 h 680"/>
                <a:gd name="T84" fmla="*/ 2147483647 w 526"/>
                <a:gd name="T85" fmla="*/ 2147483647 h 680"/>
                <a:gd name="T86" fmla="*/ 2147483647 w 526"/>
                <a:gd name="T87" fmla="*/ 2147483647 h 680"/>
                <a:gd name="T88" fmla="*/ 2147483647 w 526"/>
                <a:gd name="T89" fmla="*/ 2147483647 h 680"/>
                <a:gd name="T90" fmla="*/ 2147483647 w 526"/>
                <a:gd name="T91" fmla="*/ 2147483647 h 680"/>
                <a:gd name="T92" fmla="*/ 2147483647 w 526"/>
                <a:gd name="T93" fmla="*/ 2147483647 h 680"/>
                <a:gd name="T94" fmla="*/ 2147483647 w 526"/>
                <a:gd name="T95" fmla="*/ 2147483647 h 680"/>
                <a:gd name="T96" fmla="*/ 2147483647 w 526"/>
                <a:gd name="T97" fmla="*/ 2147483647 h 680"/>
                <a:gd name="T98" fmla="*/ 2147483647 w 526"/>
                <a:gd name="T99" fmla="*/ 2147483647 h 680"/>
                <a:gd name="T100" fmla="*/ 2147483647 w 526"/>
                <a:gd name="T101" fmla="*/ 2147483647 h 68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6"/>
                <a:gd name="T154" fmla="*/ 0 h 680"/>
                <a:gd name="T155" fmla="*/ 526 w 526"/>
                <a:gd name="T156" fmla="*/ 680 h 68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6" h="680">
                  <a:moveTo>
                    <a:pt x="448" y="643"/>
                  </a:moveTo>
                  <a:lnTo>
                    <a:pt x="408" y="643"/>
                  </a:lnTo>
                  <a:lnTo>
                    <a:pt x="366" y="643"/>
                  </a:lnTo>
                  <a:lnTo>
                    <a:pt x="328" y="643"/>
                  </a:lnTo>
                  <a:lnTo>
                    <a:pt x="291" y="643"/>
                  </a:lnTo>
                  <a:lnTo>
                    <a:pt x="254" y="643"/>
                  </a:lnTo>
                  <a:lnTo>
                    <a:pt x="212" y="643"/>
                  </a:lnTo>
                  <a:lnTo>
                    <a:pt x="172" y="643"/>
                  </a:lnTo>
                  <a:lnTo>
                    <a:pt x="169" y="637"/>
                  </a:lnTo>
                  <a:lnTo>
                    <a:pt x="177" y="640"/>
                  </a:lnTo>
                  <a:lnTo>
                    <a:pt x="172" y="620"/>
                  </a:lnTo>
                  <a:lnTo>
                    <a:pt x="158" y="610"/>
                  </a:lnTo>
                  <a:lnTo>
                    <a:pt x="168" y="600"/>
                  </a:lnTo>
                  <a:lnTo>
                    <a:pt x="189" y="598"/>
                  </a:lnTo>
                  <a:lnTo>
                    <a:pt x="179" y="589"/>
                  </a:lnTo>
                  <a:lnTo>
                    <a:pt x="181" y="575"/>
                  </a:lnTo>
                  <a:lnTo>
                    <a:pt x="171" y="564"/>
                  </a:lnTo>
                  <a:lnTo>
                    <a:pt x="165" y="567"/>
                  </a:lnTo>
                  <a:lnTo>
                    <a:pt x="163" y="583"/>
                  </a:lnTo>
                  <a:lnTo>
                    <a:pt x="154" y="584"/>
                  </a:lnTo>
                  <a:lnTo>
                    <a:pt x="153" y="605"/>
                  </a:lnTo>
                  <a:lnTo>
                    <a:pt x="158" y="617"/>
                  </a:lnTo>
                  <a:lnTo>
                    <a:pt x="157" y="632"/>
                  </a:lnTo>
                  <a:lnTo>
                    <a:pt x="151" y="633"/>
                  </a:lnTo>
                  <a:lnTo>
                    <a:pt x="148" y="646"/>
                  </a:lnTo>
                  <a:lnTo>
                    <a:pt x="146" y="654"/>
                  </a:lnTo>
                  <a:lnTo>
                    <a:pt x="150" y="661"/>
                  </a:lnTo>
                  <a:lnTo>
                    <a:pt x="137" y="673"/>
                  </a:lnTo>
                  <a:lnTo>
                    <a:pt x="131" y="660"/>
                  </a:lnTo>
                  <a:lnTo>
                    <a:pt x="137" y="655"/>
                  </a:lnTo>
                  <a:lnTo>
                    <a:pt x="114" y="631"/>
                  </a:lnTo>
                  <a:lnTo>
                    <a:pt x="99" y="628"/>
                  </a:lnTo>
                  <a:lnTo>
                    <a:pt x="94" y="639"/>
                  </a:lnTo>
                  <a:lnTo>
                    <a:pt x="86" y="635"/>
                  </a:lnTo>
                  <a:lnTo>
                    <a:pt x="84" y="639"/>
                  </a:lnTo>
                  <a:lnTo>
                    <a:pt x="73" y="634"/>
                  </a:lnTo>
                  <a:lnTo>
                    <a:pt x="73" y="628"/>
                  </a:lnTo>
                  <a:lnTo>
                    <a:pt x="64" y="621"/>
                  </a:lnTo>
                  <a:lnTo>
                    <a:pt x="62" y="633"/>
                  </a:lnTo>
                  <a:lnTo>
                    <a:pt x="56" y="629"/>
                  </a:lnTo>
                  <a:lnTo>
                    <a:pt x="54" y="621"/>
                  </a:lnTo>
                  <a:lnTo>
                    <a:pt x="61" y="614"/>
                  </a:lnTo>
                  <a:lnTo>
                    <a:pt x="57" y="594"/>
                  </a:lnTo>
                  <a:lnTo>
                    <a:pt x="62" y="593"/>
                  </a:lnTo>
                  <a:lnTo>
                    <a:pt x="60" y="585"/>
                  </a:lnTo>
                  <a:lnTo>
                    <a:pt x="64" y="582"/>
                  </a:lnTo>
                  <a:lnTo>
                    <a:pt x="61" y="575"/>
                  </a:lnTo>
                  <a:lnTo>
                    <a:pt x="55" y="570"/>
                  </a:lnTo>
                  <a:lnTo>
                    <a:pt x="53" y="577"/>
                  </a:lnTo>
                  <a:lnTo>
                    <a:pt x="47" y="578"/>
                  </a:lnTo>
                  <a:lnTo>
                    <a:pt x="46" y="593"/>
                  </a:lnTo>
                  <a:lnTo>
                    <a:pt x="40" y="597"/>
                  </a:lnTo>
                  <a:lnTo>
                    <a:pt x="38" y="591"/>
                  </a:lnTo>
                  <a:lnTo>
                    <a:pt x="37" y="596"/>
                  </a:lnTo>
                  <a:lnTo>
                    <a:pt x="29" y="594"/>
                  </a:lnTo>
                  <a:lnTo>
                    <a:pt x="29" y="577"/>
                  </a:lnTo>
                  <a:lnTo>
                    <a:pt x="37" y="550"/>
                  </a:lnTo>
                  <a:lnTo>
                    <a:pt x="30" y="546"/>
                  </a:lnTo>
                  <a:lnTo>
                    <a:pt x="27" y="534"/>
                  </a:lnTo>
                  <a:lnTo>
                    <a:pt x="12" y="530"/>
                  </a:lnTo>
                  <a:lnTo>
                    <a:pt x="14" y="518"/>
                  </a:lnTo>
                  <a:lnTo>
                    <a:pt x="0" y="497"/>
                  </a:lnTo>
                  <a:lnTo>
                    <a:pt x="12" y="484"/>
                  </a:lnTo>
                  <a:lnTo>
                    <a:pt x="7" y="475"/>
                  </a:lnTo>
                  <a:lnTo>
                    <a:pt x="7" y="461"/>
                  </a:lnTo>
                  <a:lnTo>
                    <a:pt x="20" y="465"/>
                  </a:lnTo>
                  <a:lnTo>
                    <a:pt x="31" y="455"/>
                  </a:lnTo>
                  <a:lnTo>
                    <a:pt x="24" y="453"/>
                  </a:lnTo>
                  <a:lnTo>
                    <a:pt x="14" y="422"/>
                  </a:lnTo>
                  <a:lnTo>
                    <a:pt x="21" y="423"/>
                  </a:lnTo>
                  <a:lnTo>
                    <a:pt x="20" y="427"/>
                  </a:lnTo>
                  <a:lnTo>
                    <a:pt x="35" y="443"/>
                  </a:lnTo>
                  <a:lnTo>
                    <a:pt x="45" y="448"/>
                  </a:lnTo>
                  <a:lnTo>
                    <a:pt x="49" y="443"/>
                  </a:lnTo>
                  <a:lnTo>
                    <a:pt x="44" y="433"/>
                  </a:lnTo>
                  <a:lnTo>
                    <a:pt x="47" y="429"/>
                  </a:lnTo>
                  <a:lnTo>
                    <a:pt x="42" y="420"/>
                  </a:lnTo>
                  <a:lnTo>
                    <a:pt x="46" y="413"/>
                  </a:lnTo>
                  <a:lnTo>
                    <a:pt x="39" y="404"/>
                  </a:lnTo>
                  <a:lnTo>
                    <a:pt x="42" y="403"/>
                  </a:lnTo>
                  <a:lnTo>
                    <a:pt x="66" y="428"/>
                  </a:lnTo>
                  <a:lnTo>
                    <a:pt x="82" y="436"/>
                  </a:lnTo>
                  <a:lnTo>
                    <a:pt x="89" y="450"/>
                  </a:lnTo>
                  <a:lnTo>
                    <a:pt x="147" y="447"/>
                  </a:lnTo>
                  <a:lnTo>
                    <a:pt x="174" y="458"/>
                  </a:lnTo>
                  <a:lnTo>
                    <a:pt x="185" y="431"/>
                  </a:lnTo>
                  <a:lnTo>
                    <a:pt x="180" y="423"/>
                  </a:lnTo>
                  <a:lnTo>
                    <a:pt x="182" y="414"/>
                  </a:lnTo>
                  <a:lnTo>
                    <a:pt x="201" y="403"/>
                  </a:lnTo>
                  <a:lnTo>
                    <a:pt x="197" y="398"/>
                  </a:lnTo>
                  <a:lnTo>
                    <a:pt x="199" y="389"/>
                  </a:lnTo>
                  <a:lnTo>
                    <a:pt x="185" y="384"/>
                  </a:lnTo>
                  <a:lnTo>
                    <a:pt x="174" y="364"/>
                  </a:lnTo>
                  <a:lnTo>
                    <a:pt x="174" y="357"/>
                  </a:lnTo>
                  <a:lnTo>
                    <a:pt x="185" y="351"/>
                  </a:lnTo>
                  <a:lnTo>
                    <a:pt x="169" y="350"/>
                  </a:lnTo>
                  <a:lnTo>
                    <a:pt x="168" y="344"/>
                  </a:lnTo>
                  <a:lnTo>
                    <a:pt x="161" y="347"/>
                  </a:lnTo>
                  <a:lnTo>
                    <a:pt x="167" y="335"/>
                  </a:lnTo>
                  <a:lnTo>
                    <a:pt x="158" y="332"/>
                  </a:lnTo>
                  <a:lnTo>
                    <a:pt x="154" y="320"/>
                  </a:lnTo>
                  <a:lnTo>
                    <a:pt x="167" y="319"/>
                  </a:lnTo>
                  <a:lnTo>
                    <a:pt x="156" y="298"/>
                  </a:lnTo>
                  <a:lnTo>
                    <a:pt x="167" y="284"/>
                  </a:lnTo>
                  <a:lnTo>
                    <a:pt x="167" y="270"/>
                  </a:lnTo>
                  <a:lnTo>
                    <a:pt x="173" y="257"/>
                  </a:lnTo>
                  <a:lnTo>
                    <a:pt x="167" y="256"/>
                  </a:lnTo>
                  <a:lnTo>
                    <a:pt x="174" y="246"/>
                  </a:lnTo>
                  <a:lnTo>
                    <a:pt x="171" y="230"/>
                  </a:lnTo>
                  <a:lnTo>
                    <a:pt x="179" y="217"/>
                  </a:lnTo>
                  <a:lnTo>
                    <a:pt x="174" y="223"/>
                  </a:lnTo>
                  <a:lnTo>
                    <a:pt x="165" y="212"/>
                  </a:lnTo>
                  <a:lnTo>
                    <a:pt x="159" y="214"/>
                  </a:lnTo>
                  <a:lnTo>
                    <a:pt x="153" y="193"/>
                  </a:lnTo>
                  <a:lnTo>
                    <a:pt x="143" y="189"/>
                  </a:lnTo>
                  <a:lnTo>
                    <a:pt x="155" y="168"/>
                  </a:lnTo>
                  <a:lnTo>
                    <a:pt x="169" y="158"/>
                  </a:lnTo>
                  <a:lnTo>
                    <a:pt x="166" y="151"/>
                  </a:lnTo>
                  <a:lnTo>
                    <a:pt x="158" y="152"/>
                  </a:lnTo>
                  <a:lnTo>
                    <a:pt x="159" y="141"/>
                  </a:lnTo>
                  <a:lnTo>
                    <a:pt x="184" y="134"/>
                  </a:lnTo>
                  <a:lnTo>
                    <a:pt x="174" y="124"/>
                  </a:lnTo>
                  <a:lnTo>
                    <a:pt x="155" y="135"/>
                  </a:lnTo>
                  <a:lnTo>
                    <a:pt x="149" y="124"/>
                  </a:lnTo>
                  <a:lnTo>
                    <a:pt x="124" y="120"/>
                  </a:lnTo>
                  <a:lnTo>
                    <a:pt x="131" y="109"/>
                  </a:lnTo>
                  <a:lnTo>
                    <a:pt x="149" y="114"/>
                  </a:lnTo>
                  <a:lnTo>
                    <a:pt x="139" y="98"/>
                  </a:lnTo>
                  <a:lnTo>
                    <a:pt x="140" y="80"/>
                  </a:lnTo>
                  <a:lnTo>
                    <a:pt x="147" y="72"/>
                  </a:lnTo>
                  <a:lnTo>
                    <a:pt x="132" y="77"/>
                  </a:lnTo>
                  <a:lnTo>
                    <a:pt x="126" y="69"/>
                  </a:lnTo>
                  <a:lnTo>
                    <a:pt x="127" y="46"/>
                  </a:lnTo>
                  <a:lnTo>
                    <a:pt x="134" y="37"/>
                  </a:lnTo>
                  <a:lnTo>
                    <a:pt x="122" y="27"/>
                  </a:lnTo>
                  <a:lnTo>
                    <a:pt x="136" y="21"/>
                  </a:lnTo>
                  <a:lnTo>
                    <a:pt x="126" y="7"/>
                  </a:lnTo>
                  <a:lnTo>
                    <a:pt x="141" y="0"/>
                  </a:lnTo>
                  <a:lnTo>
                    <a:pt x="143" y="5"/>
                  </a:lnTo>
                  <a:lnTo>
                    <a:pt x="140" y="10"/>
                  </a:lnTo>
                  <a:lnTo>
                    <a:pt x="146" y="11"/>
                  </a:lnTo>
                  <a:lnTo>
                    <a:pt x="147" y="23"/>
                  </a:lnTo>
                  <a:lnTo>
                    <a:pt x="143" y="37"/>
                  </a:lnTo>
                  <a:lnTo>
                    <a:pt x="154" y="37"/>
                  </a:lnTo>
                  <a:lnTo>
                    <a:pt x="153" y="55"/>
                  </a:lnTo>
                  <a:lnTo>
                    <a:pt x="162" y="56"/>
                  </a:lnTo>
                  <a:lnTo>
                    <a:pt x="159" y="64"/>
                  </a:lnTo>
                  <a:lnTo>
                    <a:pt x="174" y="66"/>
                  </a:lnTo>
                  <a:lnTo>
                    <a:pt x="164" y="78"/>
                  </a:lnTo>
                  <a:lnTo>
                    <a:pt x="175" y="87"/>
                  </a:lnTo>
                  <a:lnTo>
                    <a:pt x="182" y="81"/>
                  </a:lnTo>
                  <a:lnTo>
                    <a:pt x="182" y="91"/>
                  </a:lnTo>
                  <a:lnTo>
                    <a:pt x="191" y="91"/>
                  </a:lnTo>
                  <a:lnTo>
                    <a:pt x="191" y="99"/>
                  </a:lnTo>
                  <a:lnTo>
                    <a:pt x="181" y="104"/>
                  </a:lnTo>
                  <a:lnTo>
                    <a:pt x="165" y="103"/>
                  </a:lnTo>
                  <a:lnTo>
                    <a:pt x="153" y="113"/>
                  </a:lnTo>
                  <a:lnTo>
                    <a:pt x="198" y="105"/>
                  </a:lnTo>
                  <a:lnTo>
                    <a:pt x="196" y="127"/>
                  </a:lnTo>
                  <a:lnTo>
                    <a:pt x="209" y="126"/>
                  </a:lnTo>
                  <a:lnTo>
                    <a:pt x="207" y="134"/>
                  </a:lnTo>
                  <a:lnTo>
                    <a:pt x="214" y="139"/>
                  </a:lnTo>
                  <a:lnTo>
                    <a:pt x="184" y="152"/>
                  </a:lnTo>
                  <a:lnTo>
                    <a:pt x="224" y="153"/>
                  </a:lnTo>
                  <a:lnTo>
                    <a:pt x="226" y="162"/>
                  </a:lnTo>
                  <a:lnTo>
                    <a:pt x="218" y="170"/>
                  </a:lnTo>
                  <a:lnTo>
                    <a:pt x="222" y="171"/>
                  </a:lnTo>
                  <a:lnTo>
                    <a:pt x="198" y="189"/>
                  </a:lnTo>
                  <a:lnTo>
                    <a:pt x="226" y="179"/>
                  </a:lnTo>
                  <a:lnTo>
                    <a:pt x="234" y="190"/>
                  </a:lnTo>
                  <a:lnTo>
                    <a:pt x="225" y="201"/>
                  </a:lnTo>
                  <a:lnTo>
                    <a:pt x="240" y="200"/>
                  </a:lnTo>
                  <a:lnTo>
                    <a:pt x="256" y="223"/>
                  </a:lnTo>
                  <a:lnTo>
                    <a:pt x="232" y="239"/>
                  </a:lnTo>
                  <a:lnTo>
                    <a:pt x="254" y="239"/>
                  </a:lnTo>
                  <a:lnTo>
                    <a:pt x="259" y="246"/>
                  </a:lnTo>
                  <a:lnTo>
                    <a:pt x="256" y="253"/>
                  </a:lnTo>
                  <a:lnTo>
                    <a:pt x="273" y="259"/>
                  </a:lnTo>
                  <a:lnTo>
                    <a:pt x="276" y="270"/>
                  </a:lnTo>
                  <a:lnTo>
                    <a:pt x="260" y="286"/>
                  </a:lnTo>
                  <a:lnTo>
                    <a:pt x="262" y="297"/>
                  </a:lnTo>
                  <a:lnTo>
                    <a:pt x="234" y="285"/>
                  </a:lnTo>
                  <a:lnTo>
                    <a:pt x="232" y="291"/>
                  </a:lnTo>
                  <a:lnTo>
                    <a:pt x="243" y="296"/>
                  </a:lnTo>
                  <a:lnTo>
                    <a:pt x="260" y="305"/>
                  </a:lnTo>
                  <a:lnTo>
                    <a:pt x="262" y="308"/>
                  </a:lnTo>
                  <a:lnTo>
                    <a:pt x="249" y="314"/>
                  </a:lnTo>
                  <a:lnTo>
                    <a:pt x="263" y="329"/>
                  </a:lnTo>
                  <a:lnTo>
                    <a:pt x="256" y="327"/>
                  </a:lnTo>
                  <a:lnTo>
                    <a:pt x="253" y="335"/>
                  </a:lnTo>
                  <a:lnTo>
                    <a:pt x="278" y="333"/>
                  </a:lnTo>
                  <a:lnTo>
                    <a:pt x="284" y="354"/>
                  </a:lnTo>
                  <a:lnTo>
                    <a:pt x="280" y="358"/>
                  </a:lnTo>
                  <a:lnTo>
                    <a:pt x="304" y="361"/>
                  </a:lnTo>
                  <a:lnTo>
                    <a:pt x="310" y="374"/>
                  </a:lnTo>
                  <a:lnTo>
                    <a:pt x="323" y="370"/>
                  </a:lnTo>
                  <a:lnTo>
                    <a:pt x="320" y="383"/>
                  </a:lnTo>
                  <a:lnTo>
                    <a:pt x="326" y="394"/>
                  </a:lnTo>
                  <a:lnTo>
                    <a:pt x="318" y="406"/>
                  </a:lnTo>
                  <a:lnTo>
                    <a:pt x="327" y="401"/>
                  </a:lnTo>
                  <a:lnTo>
                    <a:pt x="338" y="409"/>
                  </a:lnTo>
                  <a:lnTo>
                    <a:pt x="349" y="402"/>
                  </a:lnTo>
                  <a:lnTo>
                    <a:pt x="350" y="408"/>
                  </a:lnTo>
                  <a:lnTo>
                    <a:pt x="358" y="411"/>
                  </a:lnTo>
                  <a:lnTo>
                    <a:pt x="349" y="435"/>
                  </a:lnTo>
                  <a:lnTo>
                    <a:pt x="372" y="410"/>
                  </a:lnTo>
                  <a:lnTo>
                    <a:pt x="371" y="420"/>
                  </a:lnTo>
                  <a:lnTo>
                    <a:pt x="378" y="415"/>
                  </a:lnTo>
                  <a:lnTo>
                    <a:pt x="383" y="432"/>
                  </a:lnTo>
                  <a:lnTo>
                    <a:pt x="388" y="436"/>
                  </a:lnTo>
                  <a:lnTo>
                    <a:pt x="408" y="444"/>
                  </a:lnTo>
                  <a:lnTo>
                    <a:pt x="420" y="429"/>
                  </a:lnTo>
                  <a:lnTo>
                    <a:pt x="426" y="438"/>
                  </a:lnTo>
                  <a:lnTo>
                    <a:pt x="424" y="444"/>
                  </a:lnTo>
                  <a:lnTo>
                    <a:pt x="443" y="451"/>
                  </a:lnTo>
                  <a:lnTo>
                    <a:pt x="448" y="458"/>
                  </a:lnTo>
                  <a:lnTo>
                    <a:pt x="442" y="469"/>
                  </a:lnTo>
                  <a:lnTo>
                    <a:pt x="424" y="470"/>
                  </a:lnTo>
                  <a:lnTo>
                    <a:pt x="398" y="485"/>
                  </a:lnTo>
                  <a:lnTo>
                    <a:pt x="362" y="494"/>
                  </a:lnTo>
                  <a:lnTo>
                    <a:pt x="355" y="500"/>
                  </a:lnTo>
                  <a:lnTo>
                    <a:pt x="342" y="509"/>
                  </a:lnTo>
                  <a:lnTo>
                    <a:pt x="330" y="527"/>
                  </a:lnTo>
                  <a:lnTo>
                    <a:pt x="301" y="515"/>
                  </a:lnTo>
                  <a:lnTo>
                    <a:pt x="290" y="515"/>
                  </a:lnTo>
                  <a:lnTo>
                    <a:pt x="291" y="522"/>
                  </a:lnTo>
                  <a:lnTo>
                    <a:pt x="325" y="534"/>
                  </a:lnTo>
                  <a:lnTo>
                    <a:pt x="322" y="553"/>
                  </a:lnTo>
                  <a:lnTo>
                    <a:pt x="394" y="498"/>
                  </a:lnTo>
                  <a:lnTo>
                    <a:pt x="403" y="491"/>
                  </a:lnTo>
                  <a:lnTo>
                    <a:pt x="423" y="484"/>
                  </a:lnTo>
                  <a:lnTo>
                    <a:pt x="453" y="485"/>
                  </a:lnTo>
                  <a:lnTo>
                    <a:pt x="457" y="515"/>
                  </a:lnTo>
                  <a:lnTo>
                    <a:pt x="451" y="523"/>
                  </a:lnTo>
                  <a:lnTo>
                    <a:pt x="453" y="543"/>
                  </a:lnTo>
                  <a:lnTo>
                    <a:pt x="470" y="517"/>
                  </a:lnTo>
                  <a:lnTo>
                    <a:pt x="486" y="518"/>
                  </a:lnTo>
                  <a:lnTo>
                    <a:pt x="484" y="522"/>
                  </a:lnTo>
                  <a:lnTo>
                    <a:pt x="514" y="532"/>
                  </a:lnTo>
                  <a:lnTo>
                    <a:pt x="507" y="538"/>
                  </a:lnTo>
                  <a:lnTo>
                    <a:pt x="522" y="554"/>
                  </a:lnTo>
                  <a:lnTo>
                    <a:pt x="522" y="560"/>
                  </a:lnTo>
                  <a:lnTo>
                    <a:pt x="514" y="566"/>
                  </a:lnTo>
                  <a:lnTo>
                    <a:pt x="496" y="559"/>
                  </a:lnTo>
                  <a:lnTo>
                    <a:pt x="502" y="568"/>
                  </a:lnTo>
                  <a:lnTo>
                    <a:pt x="513" y="570"/>
                  </a:lnTo>
                  <a:lnTo>
                    <a:pt x="516" y="581"/>
                  </a:lnTo>
                  <a:lnTo>
                    <a:pt x="513" y="587"/>
                  </a:lnTo>
                  <a:lnTo>
                    <a:pt x="520" y="600"/>
                  </a:lnTo>
                  <a:lnTo>
                    <a:pt x="509" y="603"/>
                  </a:lnTo>
                  <a:lnTo>
                    <a:pt x="522" y="608"/>
                  </a:lnTo>
                  <a:lnTo>
                    <a:pt x="526" y="617"/>
                  </a:lnTo>
                  <a:lnTo>
                    <a:pt x="508" y="614"/>
                  </a:lnTo>
                  <a:lnTo>
                    <a:pt x="525" y="630"/>
                  </a:lnTo>
                  <a:lnTo>
                    <a:pt x="482" y="675"/>
                  </a:lnTo>
                  <a:lnTo>
                    <a:pt x="470" y="680"/>
                  </a:lnTo>
                  <a:lnTo>
                    <a:pt x="459" y="680"/>
                  </a:lnTo>
                  <a:lnTo>
                    <a:pt x="459" y="643"/>
                  </a:lnTo>
                  <a:lnTo>
                    <a:pt x="448" y="643"/>
                  </a:lnTo>
                  <a:close/>
                </a:path>
              </a:pathLst>
            </a:custGeom>
            <a:grpFill/>
            <a:ln w="6350">
              <a:solidFill>
                <a:schemeClr val="tx2"/>
              </a:solidFill>
              <a:round/>
              <a:headEnd/>
              <a:tailEnd/>
            </a:ln>
          </p:spPr>
          <p:txBody>
            <a:bodyPr/>
            <a:lstStyle/>
            <a:p>
              <a:endParaRPr lang="en-US"/>
            </a:p>
          </p:txBody>
        </p:sp>
        <p:sp>
          <p:nvSpPr>
            <p:cNvPr id="251" name="Freeform 1207"/>
            <p:cNvSpPr>
              <a:spLocks/>
            </p:cNvSpPr>
            <p:nvPr/>
          </p:nvSpPr>
          <p:spPr bwMode="auto">
            <a:xfrm>
              <a:off x="1682709" y="3902215"/>
              <a:ext cx="6069" cy="6069"/>
            </a:xfrm>
            <a:custGeom>
              <a:avLst/>
              <a:gdLst>
                <a:gd name="T0" fmla="*/ 0 w 11"/>
                <a:gd name="T1" fmla="*/ 0 h 14"/>
                <a:gd name="T2" fmla="*/ 2147483647 w 11"/>
                <a:gd name="T3" fmla="*/ 2147483647 h 14"/>
                <a:gd name="T4" fmla="*/ 2147483647 w 11"/>
                <a:gd name="T5" fmla="*/ 2147483647 h 14"/>
                <a:gd name="T6" fmla="*/ 0 w 11"/>
                <a:gd name="T7" fmla="*/ 0 h 14"/>
                <a:gd name="T8" fmla="*/ 0 60000 65536"/>
                <a:gd name="T9" fmla="*/ 0 60000 65536"/>
                <a:gd name="T10" fmla="*/ 0 60000 65536"/>
                <a:gd name="T11" fmla="*/ 0 60000 65536"/>
                <a:gd name="T12" fmla="*/ 0 w 11"/>
                <a:gd name="T13" fmla="*/ 0 h 14"/>
                <a:gd name="T14" fmla="*/ 11 w 11"/>
                <a:gd name="T15" fmla="*/ 14 h 14"/>
              </a:gdLst>
              <a:ahLst/>
              <a:cxnLst>
                <a:cxn ang="T8">
                  <a:pos x="T0" y="T1"/>
                </a:cxn>
                <a:cxn ang="T9">
                  <a:pos x="T2" y="T3"/>
                </a:cxn>
                <a:cxn ang="T10">
                  <a:pos x="T4" y="T5"/>
                </a:cxn>
                <a:cxn ang="T11">
                  <a:pos x="T6" y="T7"/>
                </a:cxn>
              </a:cxnLst>
              <a:rect l="T12" t="T13" r="T14" b="T15"/>
              <a:pathLst>
                <a:path w="11" h="14">
                  <a:moveTo>
                    <a:pt x="0" y="0"/>
                  </a:moveTo>
                  <a:lnTo>
                    <a:pt x="11" y="13"/>
                  </a:lnTo>
                  <a:lnTo>
                    <a:pt x="6" y="14"/>
                  </a:lnTo>
                  <a:lnTo>
                    <a:pt x="0" y="0"/>
                  </a:lnTo>
                  <a:close/>
                </a:path>
              </a:pathLst>
            </a:custGeom>
            <a:grpFill/>
            <a:ln w="6350">
              <a:solidFill>
                <a:schemeClr val="tx2"/>
              </a:solidFill>
              <a:round/>
              <a:headEnd/>
              <a:tailEnd/>
            </a:ln>
          </p:spPr>
          <p:txBody>
            <a:bodyPr/>
            <a:lstStyle/>
            <a:p>
              <a:endParaRPr lang="en-US"/>
            </a:p>
          </p:txBody>
        </p:sp>
        <p:sp>
          <p:nvSpPr>
            <p:cNvPr id="252" name="Freeform 1208"/>
            <p:cNvSpPr>
              <a:spLocks/>
            </p:cNvSpPr>
            <p:nvPr/>
          </p:nvSpPr>
          <p:spPr bwMode="auto">
            <a:xfrm>
              <a:off x="801266" y="4164675"/>
              <a:ext cx="9103" cy="9103"/>
            </a:xfrm>
            <a:custGeom>
              <a:avLst/>
              <a:gdLst>
                <a:gd name="T0" fmla="*/ 2147483647 w 21"/>
                <a:gd name="T1" fmla="*/ 0 h 17"/>
                <a:gd name="T2" fmla="*/ 2147483647 w 21"/>
                <a:gd name="T3" fmla="*/ 0 h 17"/>
                <a:gd name="T4" fmla="*/ 2147483647 w 21"/>
                <a:gd name="T5" fmla="*/ 2147483647 h 17"/>
                <a:gd name="T6" fmla="*/ 2147483647 w 21"/>
                <a:gd name="T7" fmla="*/ 2147483647 h 17"/>
                <a:gd name="T8" fmla="*/ 0 w 21"/>
                <a:gd name="T9" fmla="*/ 2147483647 h 17"/>
                <a:gd name="T10" fmla="*/ 2147483647 w 21"/>
                <a:gd name="T11" fmla="*/ 0 h 17"/>
                <a:gd name="T12" fmla="*/ 0 60000 65536"/>
                <a:gd name="T13" fmla="*/ 0 60000 65536"/>
                <a:gd name="T14" fmla="*/ 0 60000 65536"/>
                <a:gd name="T15" fmla="*/ 0 60000 65536"/>
                <a:gd name="T16" fmla="*/ 0 60000 65536"/>
                <a:gd name="T17" fmla="*/ 0 60000 65536"/>
                <a:gd name="T18" fmla="*/ 0 w 21"/>
                <a:gd name="T19" fmla="*/ 0 h 17"/>
                <a:gd name="T20" fmla="*/ 21 w 2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1" h="17">
                  <a:moveTo>
                    <a:pt x="6" y="0"/>
                  </a:moveTo>
                  <a:lnTo>
                    <a:pt x="18" y="0"/>
                  </a:lnTo>
                  <a:lnTo>
                    <a:pt x="21" y="6"/>
                  </a:lnTo>
                  <a:lnTo>
                    <a:pt x="12" y="17"/>
                  </a:lnTo>
                  <a:lnTo>
                    <a:pt x="0" y="9"/>
                  </a:lnTo>
                  <a:lnTo>
                    <a:pt x="6" y="0"/>
                  </a:lnTo>
                  <a:close/>
                </a:path>
              </a:pathLst>
            </a:custGeom>
            <a:grpFill/>
            <a:ln w="6350">
              <a:solidFill>
                <a:schemeClr val="tx2"/>
              </a:solidFill>
              <a:round/>
              <a:headEnd/>
              <a:tailEnd/>
            </a:ln>
          </p:spPr>
          <p:txBody>
            <a:bodyPr/>
            <a:lstStyle/>
            <a:p>
              <a:endParaRPr lang="en-US"/>
            </a:p>
          </p:txBody>
        </p:sp>
        <p:sp>
          <p:nvSpPr>
            <p:cNvPr id="253" name="Freeform 1209"/>
            <p:cNvSpPr>
              <a:spLocks/>
            </p:cNvSpPr>
            <p:nvPr/>
          </p:nvSpPr>
          <p:spPr bwMode="auto">
            <a:xfrm>
              <a:off x="834642" y="4178330"/>
              <a:ext cx="9103" cy="7585"/>
            </a:xfrm>
            <a:custGeom>
              <a:avLst/>
              <a:gdLst>
                <a:gd name="T0" fmla="*/ 0 w 18"/>
                <a:gd name="T1" fmla="*/ 2147483647 h 16"/>
                <a:gd name="T2" fmla="*/ 2147483647 w 18"/>
                <a:gd name="T3" fmla="*/ 0 h 16"/>
                <a:gd name="T4" fmla="*/ 2147483647 w 18"/>
                <a:gd name="T5" fmla="*/ 2147483647 h 16"/>
                <a:gd name="T6" fmla="*/ 2147483647 w 18"/>
                <a:gd name="T7" fmla="*/ 2147483647 h 16"/>
                <a:gd name="T8" fmla="*/ 0 w 18"/>
                <a:gd name="T9" fmla="*/ 2147483647 h 16"/>
                <a:gd name="T10" fmla="*/ 0 60000 65536"/>
                <a:gd name="T11" fmla="*/ 0 60000 65536"/>
                <a:gd name="T12" fmla="*/ 0 60000 65536"/>
                <a:gd name="T13" fmla="*/ 0 60000 65536"/>
                <a:gd name="T14" fmla="*/ 0 60000 65536"/>
                <a:gd name="T15" fmla="*/ 0 w 18"/>
                <a:gd name="T16" fmla="*/ 0 h 16"/>
                <a:gd name="T17" fmla="*/ 18 w 18"/>
                <a:gd name="T18" fmla="*/ 16 h 16"/>
              </a:gdLst>
              <a:ahLst/>
              <a:cxnLst>
                <a:cxn ang="T10">
                  <a:pos x="T0" y="T1"/>
                </a:cxn>
                <a:cxn ang="T11">
                  <a:pos x="T2" y="T3"/>
                </a:cxn>
                <a:cxn ang="T12">
                  <a:pos x="T4" y="T5"/>
                </a:cxn>
                <a:cxn ang="T13">
                  <a:pos x="T6" y="T7"/>
                </a:cxn>
                <a:cxn ang="T14">
                  <a:pos x="T8" y="T9"/>
                </a:cxn>
              </a:cxnLst>
              <a:rect l="T15" t="T16" r="T17" b="T18"/>
              <a:pathLst>
                <a:path w="18" h="16">
                  <a:moveTo>
                    <a:pt x="0" y="5"/>
                  </a:moveTo>
                  <a:lnTo>
                    <a:pt x="4" y="0"/>
                  </a:lnTo>
                  <a:lnTo>
                    <a:pt x="18" y="14"/>
                  </a:lnTo>
                  <a:lnTo>
                    <a:pt x="7" y="16"/>
                  </a:lnTo>
                  <a:lnTo>
                    <a:pt x="0" y="5"/>
                  </a:lnTo>
                  <a:close/>
                </a:path>
              </a:pathLst>
            </a:custGeom>
            <a:grpFill/>
            <a:ln w="6350">
              <a:solidFill>
                <a:schemeClr val="tx2"/>
              </a:solidFill>
              <a:round/>
              <a:headEnd/>
              <a:tailEnd/>
            </a:ln>
          </p:spPr>
          <p:txBody>
            <a:bodyPr/>
            <a:lstStyle/>
            <a:p>
              <a:endParaRPr lang="en-US"/>
            </a:p>
          </p:txBody>
        </p:sp>
        <p:sp>
          <p:nvSpPr>
            <p:cNvPr id="254" name="Freeform 1210"/>
            <p:cNvSpPr>
              <a:spLocks/>
            </p:cNvSpPr>
            <p:nvPr/>
          </p:nvSpPr>
          <p:spPr bwMode="auto">
            <a:xfrm>
              <a:off x="851330" y="4187432"/>
              <a:ext cx="12137" cy="3034"/>
            </a:xfrm>
            <a:custGeom>
              <a:avLst/>
              <a:gdLst>
                <a:gd name="T0" fmla="*/ 2147483647 w 23"/>
                <a:gd name="T1" fmla="*/ 0 h 7"/>
                <a:gd name="T2" fmla="*/ 0 w 23"/>
                <a:gd name="T3" fmla="*/ 2147483647 h 7"/>
                <a:gd name="T4" fmla="*/ 2147483647 w 23"/>
                <a:gd name="T5" fmla="*/ 2147483647 h 7"/>
                <a:gd name="T6" fmla="*/ 2147483647 w 23"/>
                <a:gd name="T7" fmla="*/ 2147483647 h 7"/>
                <a:gd name="T8" fmla="*/ 2147483647 w 23"/>
                <a:gd name="T9" fmla="*/ 2147483647 h 7"/>
                <a:gd name="T10" fmla="*/ 2147483647 w 23"/>
                <a:gd name="T11" fmla="*/ 0 h 7"/>
                <a:gd name="T12" fmla="*/ 0 60000 65536"/>
                <a:gd name="T13" fmla="*/ 0 60000 65536"/>
                <a:gd name="T14" fmla="*/ 0 60000 65536"/>
                <a:gd name="T15" fmla="*/ 0 60000 65536"/>
                <a:gd name="T16" fmla="*/ 0 60000 65536"/>
                <a:gd name="T17" fmla="*/ 0 60000 65536"/>
                <a:gd name="T18" fmla="*/ 0 w 23"/>
                <a:gd name="T19" fmla="*/ 0 h 7"/>
                <a:gd name="T20" fmla="*/ 23 w 23"/>
                <a:gd name="T21" fmla="*/ 7 h 7"/>
              </a:gdLst>
              <a:ahLst/>
              <a:cxnLst>
                <a:cxn ang="T12">
                  <a:pos x="T0" y="T1"/>
                </a:cxn>
                <a:cxn ang="T13">
                  <a:pos x="T2" y="T3"/>
                </a:cxn>
                <a:cxn ang="T14">
                  <a:pos x="T4" y="T5"/>
                </a:cxn>
                <a:cxn ang="T15">
                  <a:pos x="T6" y="T7"/>
                </a:cxn>
                <a:cxn ang="T16">
                  <a:pos x="T8" y="T9"/>
                </a:cxn>
                <a:cxn ang="T17">
                  <a:pos x="T10" y="T11"/>
                </a:cxn>
              </a:cxnLst>
              <a:rect l="T18" t="T19" r="T20" b="T21"/>
              <a:pathLst>
                <a:path w="23" h="7">
                  <a:moveTo>
                    <a:pt x="1" y="0"/>
                  </a:moveTo>
                  <a:lnTo>
                    <a:pt x="0" y="4"/>
                  </a:lnTo>
                  <a:lnTo>
                    <a:pt x="22" y="1"/>
                  </a:lnTo>
                  <a:lnTo>
                    <a:pt x="23" y="6"/>
                  </a:lnTo>
                  <a:lnTo>
                    <a:pt x="2" y="7"/>
                  </a:lnTo>
                  <a:lnTo>
                    <a:pt x="1" y="0"/>
                  </a:lnTo>
                  <a:close/>
                </a:path>
              </a:pathLst>
            </a:custGeom>
            <a:grpFill/>
            <a:ln w="6350">
              <a:solidFill>
                <a:schemeClr val="tx2"/>
              </a:solidFill>
              <a:round/>
              <a:headEnd/>
              <a:tailEnd/>
            </a:ln>
          </p:spPr>
          <p:txBody>
            <a:bodyPr/>
            <a:lstStyle/>
            <a:p>
              <a:endParaRPr lang="en-US"/>
            </a:p>
          </p:txBody>
        </p:sp>
        <p:sp>
          <p:nvSpPr>
            <p:cNvPr id="255" name="Freeform 1211"/>
            <p:cNvSpPr>
              <a:spLocks/>
            </p:cNvSpPr>
            <p:nvPr/>
          </p:nvSpPr>
          <p:spPr bwMode="auto">
            <a:xfrm>
              <a:off x="866502" y="4193501"/>
              <a:ext cx="12137" cy="7585"/>
            </a:xfrm>
            <a:custGeom>
              <a:avLst/>
              <a:gdLst>
                <a:gd name="T0" fmla="*/ 2147483647 w 27"/>
                <a:gd name="T1" fmla="*/ 2147483647 h 16"/>
                <a:gd name="T2" fmla="*/ 2147483647 w 27"/>
                <a:gd name="T3" fmla="*/ 0 h 16"/>
                <a:gd name="T4" fmla="*/ 2147483647 w 27"/>
                <a:gd name="T5" fmla="*/ 2147483647 h 16"/>
                <a:gd name="T6" fmla="*/ 2147483647 w 27"/>
                <a:gd name="T7" fmla="*/ 2147483647 h 16"/>
                <a:gd name="T8" fmla="*/ 0 w 27"/>
                <a:gd name="T9" fmla="*/ 0 h 16"/>
                <a:gd name="T10" fmla="*/ 2147483647 w 27"/>
                <a:gd name="T11" fmla="*/ 2147483647 h 16"/>
                <a:gd name="T12" fmla="*/ 0 60000 65536"/>
                <a:gd name="T13" fmla="*/ 0 60000 65536"/>
                <a:gd name="T14" fmla="*/ 0 60000 65536"/>
                <a:gd name="T15" fmla="*/ 0 60000 65536"/>
                <a:gd name="T16" fmla="*/ 0 60000 65536"/>
                <a:gd name="T17" fmla="*/ 0 60000 65536"/>
                <a:gd name="T18" fmla="*/ 0 w 27"/>
                <a:gd name="T19" fmla="*/ 0 h 16"/>
                <a:gd name="T20" fmla="*/ 27 w 27"/>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7" h="16">
                  <a:moveTo>
                    <a:pt x="11" y="1"/>
                  </a:moveTo>
                  <a:lnTo>
                    <a:pt x="14" y="0"/>
                  </a:lnTo>
                  <a:lnTo>
                    <a:pt x="27" y="12"/>
                  </a:lnTo>
                  <a:lnTo>
                    <a:pt x="13" y="16"/>
                  </a:lnTo>
                  <a:lnTo>
                    <a:pt x="0" y="0"/>
                  </a:lnTo>
                  <a:lnTo>
                    <a:pt x="11" y="1"/>
                  </a:lnTo>
                  <a:close/>
                </a:path>
              </a:pathLst>
            </a:custGeom>
            <a:grpFill/>
            <a:ln w="6350">
              <a:solidFill>
                <a:schemeClr val="tx2"/>
              </a:solidFill>
              <a:round/>
              <a:headEnd/>
              <a:tailEnd/>
            </a:ln>
          </p:spPr>
          <p:txBody>
            <a:bodyPr/>
            <a:lstStyle/>
            <a:p>
              <a:endParaRPr lang="en-US"/>
            </a:p>
          </p:txBody>
        </p:sp>
        <p:sp>
          <p:nvSpPr>
            <p:cNvPr id="256" name="Freeform 1212"/>
            <p:cNvSpPr>
              <a:spLocks/>
            </p:cNvSpPr>
            <p:nvPr/>
          </p:nvSpPr>
          <p:spPr bwMode="auto">
            <a:xfrm>
              <a:off x="878638" y="4210189"/>
              <a:ext cx="27308" cy="30342"/>
            </a:xfrm>
            <a:custGeom>
              <a:avLst/>
              <a:gdLst>
                <a:gd name="T0" fmla="*/ 2147483647 w 49"/>
                <a:gd name="T1" fmla="*/ 0 h 58"/>
                <a:gd name="T2" fmla="*/ 2147483647 w 49"/>
                <a:gd name="T3" fmla="*/ 2147483647 h 58"/>
                <a:gd name="T4" fmla="*/ 2147483647 w 49"/>
                <a:gd name="T5" fmla="*/ 2147483647 h 58"/>
                <a:gd name="T6" fmla="*/ 2147483647 w 49"/>
                <a:gd name="T7" fmla="*/ 2147483647 h 58"/>
                <a:gd name="T8" fmla="*/ 2147483647 w 49"/>
                <a:gd name="T9" fmla="*/ 2147483647 h 58"/>
                <a:gd name="T10" fmla="*/ 2147483647 w 49"/>
                <a:gd name="T11" fmla="*/ 2147483647 h 58"/>
                <a:gd name="T12" fmla="*/ 2147483647 w 49"/>
                <a:gd name="T13" fmla="*/ 2147483647 h 58"/>
                <a:gd name="T14" fmla="*/ 0 w 49"/>
                <a:gd name="T15" fmla="*/ 2147483647 h 58"/>
                <a:gd name="T16" fmla="*/ 2147483647 w 49"/>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8"/>
                <a:gd name="T29" fmla="*/ 49 w 4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8">
                  <a:moveTo>
                    <a:pt x="3" y="0"/>
                  </a:moveTo>
                  <a:lnTo>
                    <a:pt x="32" y="9"/>
                  </a:lnTo>
                  <a:lnTo>
                    <a:pt x="49" y="28"/>
                  </a:lnTo>
                  <a:lnTo>
                    <a:pt x="47" y="42"/>
                  </a:lnTo>
                  <a:lnTo>
                    <a:pt x="29" y="42"/>
                  </a:lnTo>
                  <a:lnTo>
                    <a:pt x="14" y="58"/>
                  </a:lnTo>
                  <a:lnTo>
                    <a:pt x="9" y="55"/>
                  </a:lnTo>
                  <a:lnTo>
                    <a:pt x="0" y="25"/>
                  </a:lnTo>
                  <a:lnTo>
                    <a:pt x="3" y="0"/>
                  </a:lnTo>
                  <a:close/>
                </a:path>
              </a:pathLst>
            </a:custGeom>
            <a:grpFill/>
            <a:ln w="6350">
              <a:solidFill>
                <a:schemeClr val="tx2"/>
              </a:solidFill>
              <a:round/>
              <a:headEnd/>
              <a:tailEnd/>
            </a:ln>
          </p:spPr>
          <p:txBody>
            <a:bodyPr/>
            <a:lstStyle/>
            <a:p>
              <a:endParaRPr lang="en-US"/>
            </a:p>
          </p:txBody>
        </p:sp>
        <p:sp>
          <p:nvSpPr>
            <p:cNvPr id="257" name="Freeform 1213"/>
            <p:cNvSpPr>
              <a:spLocks/>
            </p:cNvSpPr>
            <p:nvPr/>
          </p:nvSpPr>
          <p:spPr bwMode="auto">
            <a:xfrm>
              <a:off x="858915" y="4195017"/>
              <a:ext cx="4551" cy="3034"/>
            </a:xfrm>
            <a:custGeom>
              <a:avLst/>
              <a:gdLst>
                <a:gd name="T0" fmla="*/ 0 w 8"/>
                <a:gd name="T1" fmla="*/ 0 h 6"/>
                <a:gd name="T2" fmla="*/ 2147483647 w 8"/>
                <a:gd name="T3" fmla="*/ 2147483647 h 6"/>
                <a:gd name="T4" fmla="*/ 2147483647 w 8"/>
                <a:gd name="T5" fmla="*/ 2147483647 h 6"/>
                <a:gd name="T6" fmla="*/ 0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0"/>
                  </a:moveTo>
                  <a:lnTo>
                    <a:pt x="8" y="3"/>
                  </a:lnTo>
                  <a:lnTo>
                    <a:pt x="4" y="6"/>
                  </a:lnTo>
                  <a:lnTo>
                    <a:pt x="0" y="0"/>
                  </a:lnTo>
                  <a:close/>
                </a:path>
              </a:pathLst>
            </a:custGeom>
            <a:grpFill/>
            <a:ln w="6350">
              <a:solidFill>
                <a:schemeClr val="tx2"/>
              </a:solidFill>
              <a:round/>
              <a:headEnd/>
              <a:tailEnd/>
            </a:ln>
          </p:spPr>
          <p:txBody>
            <a:bodyPr/>
            <a:lstStyle/>
            <a:p>
              <a:endParaRPr lang="en-US"/>
            </a:p>
          </p:txBody>
        </p:sp>
        <p:sp>
          <p:nvSpPr>
            <p:cNvPr id="258" name="Freeform 1214"/>
            <p:cNvSpPr>
              <a:spLocks/>
            </p:cNvSpPr>
            <p:nvPr/>
          </p:nvSpPr>
          <p:spPr bwMode="auto">
            <a:xfrm>
              <a:off x="1688778" y="3999311"/>
              <a:ext cx="3034" cy="7585"/>
            </a:xfrm>
            <a:custGeom>
              <a:avLst/>
              <a:gdLst>
                <a:gd name="T0" fmla="*/ 0 w 4"/>
                <a:gd name="T1" fmla="*/ 2147483647 h 14"/>
                <a:gd name="T2" fmla="*/ 2147483647 w 4"/>
                <a:gd name="T3" fmla="*/ 0 h 14"/>
                <a:gd name="T4" fmla="*/ 2147483647 w 4"/>
                <a:gd name="T5" fmla="*/ 2147483647 h 14"/>
                <a:gd name="T6" fmla="*/ 0 w 4"/>
                <a:gd name="T7" fmla="*/ 2147483647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7"/>
                  </a:moveTo>
                  <a:lnTo>
                    <a:pt x="2" y="0"/>
                  </a:lnTo>
                  <a:lnTo>
                    <a:pt x="4" y="14"/>
                  </a:lnTo>
                  <a:lnTo>
                    <a:pt x="0" y="7"/>
                  </a:lnTo>
                  <a:close/>
                </a:path>
              </a:pathLst>
            </a:custGeom>
            <a:grpFill/>
            <a:ln w="6350">
              <a:solidFill>
                <a:schemeClr val="tx2"/>
              </a:solidFill>
              <a:round/>
              <a:headEnd/>
              <a:tailEnd/>
            </a:ln>
          </p:spPr>
          <p:txBody>
            <a:bodyPr/>
            <a:lstStyle/>
            <a:p>
              <a:endParaRPr lang="en-US"/>
            </a:p>
          </p:txBody>
        </p:sp>
        <p:sp>
          <p:nvSpPr>
            <p:cNvPr id="259" name="Freeform 1215"/>
            <p:cNvSpPr>
              <a:spLocks/>
            </p:cNvSpPr>
            <p:nvPr/>
          </p:nvSpPr>
          <p:spPr bwMode="auto">
            <a:xfrm>
              <a:off x="2835716" y="3918903"/>
              <a:ext cx="1516" cy="3034"/>
            </a:xfrm>
            <a:custGeom>
              <a:avLst/>
              <a:gdLst>
                <a:gd name="T0" fmla="*/ 2147483647 w 5"/>
                <a:gd name="T1" fmla="*/ 0 h 6"/>
                <a:gd name="T2" fmla="*/ 0 w 5"/>
                <a:gd name="T3" fmla="*/ 2147483647 h 6"/>
                <a:gd name="T4" fmla="*/ 2147483647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5" y="0"/>
                  </a:moveTo>
                  <a:lnTo>
                    <a:pt x="0" y="6"/>
                  </a:lnTo>
                  <a:lnTo>
                    <a:pt x="5" y="0"/>
                  </a:lnTo>
                  <a:close/>
                </a:path>
              </a:pathLst>
            </a:custGeom>
            <a:grpFill/>
            <a:ln w="6350">
              <a:solidFill>
                <a:schemeClr val="tx2"/>
              </a:solidFill>
              <a:round/>
              <a:headEnd/>
              <a:tailEnd/>
            </a:ln>
          </p:spPr>
          <p:txBody>
            <a:bodyPr/>
            <a:lstStyle/>
            <a:p>
              <a:endParaRPr lang="en-US"/>
            </a:p>
          </p:txBody>
        </p:sp>
        <p:sp>
          <p:nvSpPr>
            <p:cNvPr id="260" name="Freeform 1216"/>
            <p:cNvSpPr>
              <a:spLocks/>
            </p:cNvSpPr>
            <p:nvPr/>
          </p:nvSpPr>
          <p:spPr bwMode="auto">
            <a:xfrm>
              <a:off x="1754012" y="4017516"/>
              <a:ext cx="3034" cy="9103"/>
            </a:xfrm>
            <a:custGeom>
              <a:avLst/>
              <a:gdLst>
                <a:gd name="T0" fmla="*/ 2147483647 w 6"/>
                <a:gd name="T1" fmla="*/ 2147483647 h 16"/>
                <a:gd name="T2" fmla="*/ 0 w 6"/>
                <a:gd name="T3" fmla="*/ 2147483647 h 16"/>
                <a:gd name="T4" fmla="*/ 2147483647 w 6"/>
                <a:gd name="T5" fmla="*/ 0 h 16"/>
                <a:gd name="T6" fmla="*/ 2147483647 w 6"/>
                <a:gd name="T7" fmla="*/ 2147483647 h 16"/>
                <a:gd name="T8" fmla="*/ 0 60000 65536"/>
                <a:gd name="T9" fmla="*/ 0 60000 65536"/>
                <a:gd name="T10" fmla="*/ 0 60000 65536"/>
                <a:gd name="T11" fmla="*/ 0 60000 65536"/>
                <a:gd name="T12" fmla="*/ 0 w 6"/>
                <a:gd name="T13" fmla="*/ 0 h 16"/>
                <a:gd name="T14" fmla="*/ 6 w 6"/>
                <a:gd name="T15" fmla="*/ 16 h 16"/>
              </a:gdLst>
              <a:ahLst/>
              <a:cxnLst>
                <a:cxn ang="T8">
                  <a:pos x="T0" y="T1"/>
                </a:cxn>
                <a:cxn ang="T9">
                  <a:pos x="T2" y="T3"/>
                </a:cxn>
                <a:cxn ang="T10">
                  <a:pos x="T4" y="T5"/>
                </a:cxn>
                <a:cxn ang="T11">
                  <a:pos x="T6" y="T7"/>
                </a:cxn>
              </a:cxnLst>
              <a:rect l="T12" t="T13" r="T14" b="T15"/>
              <a:pathLst>
                <a:path w="6" h="16">
                  <a:moveTo>
                    <a:pt x="5" y="16"/>
                  </a:moveTo>
                  <a:lnTo>
                    <a:pt x="0" y="11"/>
                  </a:lnTo>
                  <a:lnTo>
                    <a:pt x="6" y="0"/>
                  </a:lnTo>
                  <a:lnTo>
                    <a:pt x="5" y="16"/>
                  </a:lnTo>
                  <a:close/>
                </a:path>
              </a:pathLst>
            </a:custGeom>
            <a:grpFill/>
            <a:ln w="6350">
              <a:solidFill>
                <a:schemeClr val="tx2"/>
              </a:solidFill>
              <a:round/>
              <a:headEnd/>
              <a:tailEnd/>
            </a:ln>
          </p:spPr>
          <p:txBody>
            <a:bodyPr/>
            <a:lstStyle/>
            <a:p>
              <a:endParaRPr lang="en-US"/>
            </a:p>
          </p:txBody>
        </p:sp>
        <p:sp>
          <p:nvSpPr>
            <p:cNvPr id="261" name="Freeform 1217"/>
            <p:cNvSpPr>
              <a:spLocks/>
            </p:cNvSpPr>
            <p:nvPr/>
          </p:nvSpPr>
          <p:spPr bwMode="auto">
            <a:xfrm>
              <a:off x="1816214" y="3999311"/>
              <a:ext cx="3034" cy="9103"/>
            </a:xfrm>
            <a:custGeom>
              <a:avLst/>
              <a:gdLst>
                <a:gd name="T0" fmla="*/ 0 w 10"/>
                <a:gd name="T1" fmla="*/ 2147483647 h 19"/>
                <a:gd name="T2" fmla="*/ 2147483647 w 10"/>
                <a:gd name="T3" fmla="*/ 0 h 19"/>
                <a:gd name="T4" fmla="*/ 2147483647 w 10"/>
                <a:gd name="T5" fmla="*/ 2147483647 h 19"/>
                <a:gd name="T6" fmla="*/ 2147483647 w 10"/>
                <a:gd name="T7" fmla="*/ 2147483647 h 19"/>
                <a:gd name="T8" fmla="*/ 0 w 10"/>
                <a:gd name="T9" fmla="*/ 2147483647 h 19"/>
                <a:gd name="T10" fmla="*/ 0 w 10"/>
                <a:gd name="T11" fmla="*/ 2147483647 h 19"/>
                <a:gd name="T12" fmla="*/ 0 60000 65536"/>
                <a:gd name="T13" fmla="*/ 0 60000 65536"/>
                <a:gd name="T14" fmla="*/ 0 60000 65536"/>
                <a:gd name="T15" fmla="*/ 0 60000 65536"/>
                <a:gd name="T16" fmla="*/ 0 60000 65536"/>
                <a:gd name="T17" fmla="*/ 0 60000 65536"/>
                <a:gd name="T18" fmla="*/ 0 w 10"/>
                <a:gd name="T19" fmla="*/ 0 h 19"/>
                <a:gd name="T20" fmla="*/ 10 w 1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0" h="19">
                  <a:moveTo>
                    <a:pt x="0" y="8"/>
                  </a:moveTo>
                  <a:lnTo>
                    <a:pt x="1" y="0"/>
                  </a:lnTo>
                  <a:lnTo>
                    <a:pt x="6" y="1"/>
                  </a:lnTo>
                  <a:lnTo>
                    <a:pt x="10" y="19"/>
                  </a:lnTo>
                  <a:lnTo>
                    <a:pt x="0" y="18"/>
                  </a:lnTo>
                  <a:lnTo>
                    <a:pt x="0" y="8"/>
                  </a:lnTo>
                  <a:close/>
                </a:path>
              </a:pathLst>
            </a:custGeom>
            <a:grpFill/>
            <a:ln w="6350">
              <a:solidFill>
                <a:schemeClr val="tx2"/>
              </a:solidFill>
              <a:round/>
              <a:headEnd/>
              <a:tailEnd/>
            </a:ln>
          </p:spPr>
          <p:txBody>
            <a:bodyPr/>
            <a:lstStyle/>
            <a:p>
              <a:endParaRPr lang="en-US"/>
            </a:p>
          </p:txBody>
        </p:sp>
        <p:sp>
          <p:nvSpPr>
            <p:cNvPr id="262" name="Freeform 1218"/>
            <p:cNvSpPr>
              <a:spLocks/>
            </p:cNvSpPr>
            <p:nvPr/>
          </p:nvSpPr>
          <p:spPr bwMode="auto">
            <a:xfrm>
              <a:off x="2133291" y="4091854"/>
              <a:ext cx="3034" cy="6069"/>
            </a:xfrm>
            <a:custGeom>
              <a:avLst/>
              <a:gdLst>
                <a:gd name="T0" fmla="*/ 2147483647 w 6"/>
                <a:gd name="T1" fmla="*/ 0 h 12"/>
                <a:gd name="T2" fmla="*/ 2147483647 w 6"/>
                <a:gd name="T3" fmla="*/ 2147483647 h 12"/>
                <a:gd name="T4" fmla="*/ 2147483647 w 6"/>
                <a:gd name="T5" fmla="*/ 2147483647 h 12"/>
                <a:gd name="T6" fmla="*/ 0 w 6"/>
                <a:gd name="T7" fmla="*/ 2147483647 h 12"/>
                <a:gd name="T8" fmla="*/ 2147483647 w 6"/>
                <a:gd name="T9" fmla="*/ 0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4" y="0"/>
                  </a:moveTo>
                  <a:lnTo>
                    <a:pt x="6" y="7"/>
                  </a:lnTo>
                  <a:lnTo>
                    <a:pt x="3" y="12"/>
                  </a:lnTo>
                  <a:lnTo>
                    <a:pt x="0" y="6"/>
                  </a:lnTo>
                  <a:lnTo>
                    <a:pt x="4" y="0"/>
                  </a:lnTo>
                  <a:close/>
                </a:path>
              </a:pathLst>
            </a:custGeom>
            <a:grpFill/>
            <a:ln w="6350">
              <a:solidFill>
                <a:schemeClr val="tx2"/>
              </a:solidFill>
              <a:round/>
              <a:headEnd/>
              <a:tailEnd/>
            </a:ln>
          </p:spPr>
          <p:txBody>
            <a:bodyPr/>
            <a:lstStyle/>
            <a:p>
              <a:endParaRPr lang="en-US"/>
            </a:p>
          </p:txBody>
        </p:sp>
        <p:sp>
          <p:nvSpPr>
            <p:cNvPr id="263" name="Freeform 1219"/>
            <p:cNvSpPr>
              <a:spLocks/>
            </p:cNvSpPr>
            <p:nvPr/>
          </p:nvSpPr>
          <p:spPr bwMode="auto">
            <a:xfrm>
              <a:off x="2356307" y="4198052"/>
              <a:ext cx="6069" cy="6069"/>
            </a:xfrm>
            <a:custGeom>
              <a:avLst/>
              <a:gdLst>
                <a:gd name="T0" fmla="*/ 2147483647 w 10"/>
                <a:gd name="T1" fmla="*/ 0 h 13"/>
                <a:gd name="T2" fmla="*/ 2147483647 w 10"/>
                <a:gd name="T3" fmla="*/ 2147483647 h 13"/>
                <a:gd name="T4" fmla="*/ 0 w 10"/>
                <a:gd name="T5" fmla="*/ 2147483647 h 13"/>
                <a:gd name="T6" fmla="*/ 2147483647 w 10"/>
                <a:gd name="T7" fmla="*/ 0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10" y="0"/>
                  </a:moveTo>
                  <a:lnTo>
                    <a:pt x="5" y="1"/>
                  </a:lnTo>
                  <a:lnTo>
                    <a:pt x="0" y="13"/>
                  </a:lnTo>
                  <a:lnTo>
                    <a:pt x="10" y="0"/>
                  </a:lnTo>
                  <a:close/>
                </a:path>
              </a:pathLst>
            </a:custGeom>
            <a:grpFill/>
            <a:ln w="6350">
              <a:solidFill>
                <a:schemeClr val="tx2"/>
              </a:solidFill>
              <a:round/>
              <a:headEnd/>
              <a:tailEnd/>
            </a:ln>
          </p:spPr>
          <p:txBody>
            <a:bodyPr/>
            <a:lstStyle/>
            <a:p>
              <a:endParaRPr lang="en-US"/>
            </a:p>
          </p:txBody>
        </p:sp>
        <p:sp>
          <p:nvSpPr>
            <p:cNvPr id="264" name="Freeform 1250"/>
            <p:cNvSpPr>
              <a:spLocks/>
            </p:cNvSpPr>
            <p:nvPr/>
          </p:nvSpPr>
          <p:spPr bwMode="auto">
            <a:xfrm>
              <a:off x="2635456" y="3682233"/>
              <a:ext cx="45514" cy="18206"/>
            </a:xfrm>
            <a:custGeom>
              <a:avLst/>
              <a:gdLst>
                <a:gd name="T0" fmla="*/ 2147483647 w 86"/>
                <a:gd name="T1" fmla="*/ 2147483647 h 35"/>
                <a:gd name="T2" fmla="*/ 2147483647 w 86"/>
                <a:gd name="T3" fmla="*/ 0 h 35"/>
                <a:gd name="T4" fmla="*/ 2147483647 w 86"/>
                <a:gd name="T5" fmla="*/ 2147483647 h 35"/>
                <a:gd name="T6" fmla="*/ 2147483647 w 86"/>
                <a:gd name="T7" fmla="*/ 2147483647 h 35"/>
                <a:gd name="T8" fmla="*/ 2147483647 w 86"/>
                <a:gd name="T9" fmla="*/ 2147483647 h 35"/>
                <a:gd name="T10" fmla="*/ 0 w 86"/>
                <a:gd name="T11" fmla="*/ 2147483647 h 35"/>
                <a:gd name="T12" fmla="*/ 2147483647 w 86"/>
                <a:gd name="T13" fmla="*/ 2147483647 h 35"/>
                <a:gd name="T14" fmla="*/ 2147483647 w 86"/>
                <a:gd name="T15" fmla="*/ 2147483647 h 35"/>
                <a:gd name="T16" fmla="*/ 2147483647 w 86"/>
                <a:gd name="T17" fmla="*/ 2147483647 h 35"/>
                <a:gd name="T18" fmla="*/ 2147483647 w 86"/>
                <a:gd name="T19" fmla="*/ 2147483647 h 35"/>
                <a:gd name="T20" fmla="*/ 2147483647 w 86"/>
                <a:gd name="T21" fmla="*/ 2147483647 h 35"/>
                <a:gd name="T22" fmla="*/ 2147483647 w 86"/>
                <a:gd name="T23" fmla="*/ 2147483647 h 35"/>
                <a:gd name="T24" fmla="*/ 2147483647 w 86"/>
                <a:gd name="T25" fmla="*/ 214748364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35"/>
                <a:gd name="T41" fmla="*/ 86 w 86"/>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35">
                  <a:moveTo>
                    <a:pt x="75" y="3"/>
                  </a:moveTo>
                  <a:lnTo>
                    <a:pt x="75" y="0"/>
                  </a:lnTo>
                  <a:lnTo>
                    <a:pt x="58" y="12"/>
                  </a:lnTo>
                  <a:lnTo>
                    <a:pt x="12" y="20"/>
                  </a:lnTo>
                  <a:lnTo>
                    <a:pt x="1" y="28"/>
                  </a:lnTo>
                  <a:lnTo>
                    <a:pt x="0" y="34"/>
                  </a:lnTo>
                  <a:lnTo>
                    <a:pt x="8" y="35"/>
                  </a:lnTo>
                  <a:lnTo>
                    <a:pt x="76" y="14"/>
                  </a:lnTo>
                  <a:lnTo>
                    <a:pt x="86" y="9"/>
                  </a:lnTo>
                  <a:lnTo>
                    <a:pt x="85" y="6"/>
                  </a:lnTo>
                  <a:lnTo>
                    <a:pt x="77" y="8"/>
                  </a:lnTo>
                  <a:lnTo>
                    <a:pt x="66" y="12"/>
                  </a:lnTo>
                  <a:lnTo>
                    <a:pt x="75" y="3"/>
                  </a:lnTo>
                  <a:close/>
                </a:path>
              </a:pathLst>
            </a:custGeom>
            <a:grpFill/>
            <a:ln w="6350">
              <a:solidFill>
                <a:schemeClr val="tx2"/>
              </a:solidFill>
              <a:round/>
              <a:headEnd/>
              <a:tailEnd/>
            </a:ln>
          </p:spPr>
          <p:txBody>
            <a:bodyPr/>
            <a:lstStyle/>
            <a:p>
              <a:endParaRPr lang="en-US"/>
            </a:p>
          </p:txBody>
        </p:sp>
        <p:sp>
          <p:nvSpPr>
            <p:cNvPr id="265" name="Freeform 1251"/>
            <p:cNvSpPr>
              <a:spLocks/>
            </p:cNvSpPr>
            <p:nvPr/>
          </p:nvSpPr>
          <p:spPr bwMode="auto">
            <a:xfrm>
              <a:off x="2471607" y="3299921"/>
              <a:ext cx="27308" cy="16689"/>
            </a:xfrm>
            <a:custGeom>
              <a:avLst/>
              <a:gdLst>
                <a:gd name="T0" fmla="*/ 2147483647 w 59"/>
                <a:gd name="T1" fmla="*/ 2147483647 h 35"/>
                <a:gd name="T2" fmla="*/ 2147483647 w 59"/>
                <a:gd name="T3" fmla="*/ 0 h 35"/>
                <a:gd name="T4" fmla="*/ 2147483647 w 59"/>
                <a:gd name="T5" fmla="*/ 2147483647 h 35"/>
                <a:gd name="T6" fmla="*/ 2147483647 w 59"/>
                <a:gd name="T7" fmla="*/ 2147483647 h 35"/>
                <a:gd name="T8" fmla="*/ 2147483647 w 59"/>
                <a:gd name="T9" fmla="*/ 2147483647 h 35"/>
                <a:gd name="T10" fmla="*/ 2147483647 w 59"/>
                <a:gd name="T11" fmla="*/ 2147483647 h 35"/>
                <a:gd name="T12" fmla="*/ 0 w 59"/>
                <a:gd name="T13" fmla="*/ 2147483647 h 35"/>
                <a:gd name="T14" fmla="*/ 2147483647 w 59"/>
                <a:gd name="T15" fmla="*/ 2147483647 h 35"/>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5"/>
                <a:gd name="T26" fmla="*/ 59 w 5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5">
                  <a:moveTo>
                    <a:pt x="5" y="5"/>
                  </a:moveTo>
                  <a:lnTo>
                    <a:pt x="26" y="0"/>
                  </a:lnTo>
                  <a:lnTo>
                    <a:pt x="45" y="5"/>
                  </a:lnTo>
                  <a:lnTo>
                    <a:pt x="59" y="35"/>
                  </a:lnTo>
                  <a:lnTo>
                    <a:pt x="44" y="33"/>
                  </a:lnTo>
                  <a:lnTo>
                    <a:pt x="26" y="21"/>
                  </a:lnTo>
                  <a:lnTo>
                    <a:pt x="0" y="14"/>
                  </a:lnTo>
                  <a:lnTo>
                    <a:pt x="5" y="5"/>
                  </a:lnTo>
                  <a:close/>
                </a:path>
              </a:pathLst>
            </a:custGeom>
            <a:grpFill/>
            <a:ln w="6350">
              <a:solidFill>
                <a:schemeClr val="tx2"/>
              </a:solidFill>
              <a:round/>
              <a:headEnd/>
              <a:tailEnd/>
            </a:ln>
          </p:spPr>
          <p:txBody>
            <a:bodyPr/>
            <a:lstStyle/>
            <a:p>
              <a:endParaRPr lang="en-US"/>
            </a:p>
          </p:txBody>
        </p:sp>
        <p:sp>
          <p:nvSpPr>
            <p:cNvPr id="266" name="Freeform 1252"/>
            <p:cNvSpPr>
              <a:spLocks/>
            </p:cNvSpPr>
            <p:nvPr/>
          </p:nvSpPr>
          <p:spPr bwMode="auto">
            <a:xfrm>
              <a:off x="2849369" y="3409153"/>
              <a:ext cx="59168" cy="27308"/>
            </a:xfrm>
            <a:custGeom>
              <a:avLst/>
              <a:gdLst>
                <a:gd name="T0" fmla="*/ 2147483647 w 117"/>
                <a:gd name="T1" fmla="*/ 0 h 57"/>
                <a:gd name="T2" fmla="*/ 2147483647 w 117"/>
                <a:gd name="T3" fmla="*/ 2147483647 h 57"/>
                <a:gd name="T4" fmla="*/ 2147483647 w 117"/>
                <a:gd name="T5" fmla="*/ 2147483647 h 57"/>
                <a:gd name="T6" fmla="*/ 2147483647 w 117"/>
                <a:gd name="T7" fmla="*/ 2147483647 h 57"/>
                <a:gd name="T8" fmla="*/ 2147483647 w 117"/>
                <a:gd name="T9" fmla="*/ 2147483647 h 57"/>
                <a:gd name="T10" fmla="*/ 2147483647 w 117"/>
                <a:gd name="T11" fmla="*/ 2147483647 h 57"/>
                <a:gd name="T12" fmla="*/ 2147483647 w 117"/>
                <a:gd name="T13" fmla="*/ 2147483647 h 57"/>
                <a:gd name="T14" fmla="*/ 2147483647 w 117"/>
                <a:gd name="T15" fmla="*/ 2147483647 h 57"/>
                <a:gd name="T16" fmla="*/ 0 w 117"/>
                <a:gd name="T17" fmla="*/ 2147483647 h 57"/>
                <a:gd name="T18" fmla="*/ 0 w 117"/>
                <a:gd name="T19" fmla="*/ 2147483647 h 57"/>
                <a:gd name="T20" fmla="*/ 2147483647 w 117"/>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7"/>
                <a:gd name="T34" fmla="*/ 0 h 57"/>
                <a:gd name="T35" fmla="*/ 117 w 117"/>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7" h="57">
                  <a:moveTo>
                    <a:pt x="19" y="0"/>
                  </a:moveTo>
                  <a:lnTo>
                    <a:pt x="80" y="23"/>
                  </a:lnTo>
                  <a:lnTo>
                    <a:pt x="94" y="35"/>
                  </a:lnTo>
                  <a:lnTo>
                    <a:pt x="110" y="38"/>
                  </a:lnTo>
                  <a:lnTo>
                    <a:pt x="117" y="53"/>
                  </a:lnTo>
                  <a:lnTo>
                    <a:pt x="92" y="57"/>
                  </a:lnTo>
                  <a:lnTo>
                    <a:pt x="45" y="41"/>
                  </a:lnTo>
                  <a:lnTo>
                    <a:pt x="34" y="25"/>
                  </a:lnTo>
                  <a:lnTo>
                    <a:pt x="0" y="7"/>
                  </a:lnTo>
                  <a:lnTo>
                    <a:pt x="0" y="2"/>
                  </a:lnTo>
                  <a:lnTo>
                    <a:pt x="19" y="0"/>
                  </a:lnTo>
                  <a:close/>
                </a:path>
              </a:pathLst>
            </a:custGeom>
            <a:grpFill/>
            <a:ln w="6350">
              <a:solidFill>
                <a:schemeClr val="tx2"/>
              </a:solidFill>
              <a:round/>
              <a:headEnd/>
              <a:tailEnd/>
            </a:ln>
          </p:spPr>
          <p:txBody>
            <a:bodyPr/>
            <a:lstStyle/>
            <a:p>
              <a:endParaRPr lang="en-US"/>
            </a:p>
          </p:txBody>
        </p:sp>
        <p:sp>
          <p:nvSpPr>
            <p:cNvPr id="267" name="Freeform 1253"/>
            <p:cNvSpPr>
              <a:spLocks/>
            </p:cNvSpPr>
            <p:nvPr/>
          </p:nvSpPr>
          <p:spPr bwMode="auto">
            <a:xfrm>
              <a:off x="2850886" y="3503214"/>
              <a:ext cx="48548" cy="31860"/>
            </a:xfrm>
            <a:custGeom>
              <a:avLst/>
              <a:gdLst>
                <a:gd name="T0" fmla="*/ 2147483647 w 98"/>
                <a:gd name="T1" fmla="*/ 2147483647 h 68"/>
                <a:gd name="T2" fmla="*/ 2147483647 w 98"/>
                <a:gd name="T3" fmla="*/ 2147483647 h 68"/>
                <a:gd name="T4" fmla="*/ 2147483647 w 98"/>
                <a:gd name="T5" fmla="*/ 2147483647 h 68"/>
                <a:gd name="T6" fmla="*/ 2147483647 w 98"/>
                <a:gd name="T7" fmla="*/ 2147483647 h 68"/>
                <a:gd name="T8" fmla="*/ 2147483647 w 98"/>
                <a:gd name="T9" fmla="*/ 2147483647 h 68"/>
                <a:gd name="T10" fmla="*/ 2147483647 w 98"/>
                <a:gd name="T11" fmla="*/ 2147483647 h 68"/>
                <a:gd name="T12" fmla="*/ 2147483647 w 98"/>
                <a:gd name="T13" fmla="*/ 2147483647 h 68"/>
                <a:gd name="T14" fmla="*/ 2147483647 w 98"/>
                <a:gd name="T15" fmla="*/ 2147483647 h 68"/>
                <a:gd name="T16" fmla="*/ 2147483647 w 98"/>
                <a:gd name="T17" fmla="*/ 2147483647 h 68"/>
                <a:gd name="T18" fmla="*/ 2147483647 w 98"/>
                <a:gd name="T19" fmla="*/ 2147483647 h 68"/>
                <a:gd name="T20" fmla="*/ 2147483647 w 98"/>
                <a:gd name="T21" fmla="*/ 2147483647 h 68"/>
                <a:gd name="T22" fmla="*/ 2147483647 w 98"/>
                <a:gd name="T23" fmla="*/ 2147483647 h 68"/>
                <a:gd name="T24" fmla="*/ 2147483647 w 98"/>
                <a:gd name="T25" fmla="*/ 2147483647 h 68"/>
                <a:gd name="T26" fmla="*/ 2147483647 w 98"/>
                <a:gd name="T27" fmla="*/ 2147483647 h 68"/>
                <a:gd name="T28" fmla="*/ 2147483647 w 98"/>
                <a:gd name="T29" fmla="*/ 2147483647 h 68"/>
                <a:gd name="T30" fmla="*/ 2147483647 w 98"/>
                <a:gd name="T31" fmla="*/ 2147483647 h 68"/>
                <a:gd name="T32" fmla="*/ 2147483647 w 98"/>
                <a:gd name="T33" fmla="*/ 2147483647 h 68"/>
                <a:gd name="T34" fmla="*/ 0 w 98"/>
                <a:gd name="T35" fmla="*/ 2147483647 h 68"/>
                <a:gd name="T36" fmla="*/ 2147483647 w 98"/>
                <a:gd name="T37" fmla="*/ 0 h 68"/>
                <a:gd name="T38" fmla="*/ 2147483647 w 98"/>
                <a:gd name="T39" fmla="*/ 2147483647 h 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8"/>
                <a:gd name="T61" fmla="*/ 0 h 68"/>
                <a:gd name="T62" fmla="*/ 98 w 98"/>
                <a:gd name="T63" fmla="*/ 68 h 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8" h="68">
                  <a:moveTo>
                    <a:pt x="16" y="10"/>
                  </a:moveTo>
                  <a:lnTo>
                    <a:pt x="12" y="18"/>
                  </a:lnTo>
                  <a:lnTo>
                    <a:pt x="25" y="36"/>
                  </a:lnTo>
                  <a:lnTo>
                    <a:pt x="39" y="35"/>
                  </a:lnTo>
                  <a:lnTo>
                    <a:pt x="60" y="43"/>
                  </a:lnTo>
                  <a:lnTo>
                    <a:pt x="98" y="39"/>
                  </a:lnTo>
                  <a:lnTo>
                    <a:pt x="98" y="43"/>
                  </a:lnTo>
                  <a:lnTo>
                    <a:pt x="81" y="53"/>
                  </a:lnTo>
                  <a:lnTo>
                    <a:pt x="82" y="66"/>
                  </a:lnTo>
                  <a:lnTo>
                    <a:pt x="73" y="68"/>
                  </a:lnTo>
                  <a:lnTo>
                    <a:pt x="64" y="64"/>
                  </a:lnTo>
                  <a:lnTo>
                    <a:pt x="56" y="51"/>
                  </a:lnTo>
                  <a:lnTo>
                    <a:pt x="45" y="56"/>
                  </a:lnTo>
                  <a:lnTo>
                    <a:pt x="16" y="42"/>
                  </a:lnTo>
                  <a:lnTo>
                    <a:pt x="11" y="35"/>
                  </a:lnTo>
                  <a:lnTo>
                    <a:pt x="12" y="31"/>
                  </a:lnTo>
                  <a:lnTo>
                    <a:pt x="1" y="26"/>
                  </a:lnTo>
                  <a:lnTo>
                    <a:pt x="0" y="17"/>
                  </a:lnTo>
                  <a:lnTo>
                    <a:pt x="16" y="0"/>
                  </a:lnTo>
                  <a:lnTo>
                    <a:pt x="16" y="10"/>
                  </a:lnTo>
                  <a:close/>
                </a:path>
              </a:pathLst>
            </a:custGeom>
            <a:grpFill/>
            <a:ln w="6350">
              <a:solidFill>
                <a:schemeClr val="tx2"/>
              </a:solidFill>
              <a:round/>
              <a:headEnd/>
              <a:tailEnd/>
            </a:ln>
          </p:spPr>
          <p:txBody>
            <a:bodyPr/>
            <a:lstStyle/>
            <a:p>
              <a:endParaRPr lang="en-US"/>
            </a:p>
          </p:txBody>
        </p:sp>
        <p:sp>
          <p:nvSpPr>
            <p:cNvPr id="268" name="Freeform 1254"/>
            <p:cNvSpPr>
              <a:spLocks/>
            </p:cNvSpPr>
            <p:nvPr/>
          </p:nvSpPr>
          <p:spPr bwMode="auto">
            <a:xfrm>
              <a:off x="2914605" y="3504732"/>
              <a:ext cx="36411" cy="42479"/>
            </a:xfrm>
            <a:custGeom>
              <a:avLst/>
              <a:gdLst>
                <a:gd name="T0" fmla="*/ 2147483647 w 70"/>
                <a:gd name="T1" fmla="*/ 2147483647 h 86"/>
                <a:gd name="T2" fmla="*/ 2147483647 w 70"/>
                <a:gd name="T3" fmla="*/ 0 h 86"/>
                <a:gd name="T4" fmla="*/ 2147483647 w 70"/>
                <a:gd name="T5" fmla="*/ 2147483647 h 86"/>
                <a:gd name="T6" fmla="*/ 2147483647 w 70"/>
                <a:gd name="T7" fmla="*/ 2147483647 h 86"/>
                <a:gd name="T8" fmla="*/ 0 w 70"/>
                <a:gd name="T9" fmla="*/ 2147483647 h 86"/>
                <a:gd name="T10" fmla="*/ 2147483647 w 70"/>
                <a:gd name="T11" fmla="*/ 2147483647 h 86"/>
                <a:gd name="T12" fmla="*/ 2147483647 w 70"/>
                <a:gd name="T13" fmla="*/ 2147483647 h 86"/>
                <a:gd name="T14" fmla="*/ 2147483647 w 70"/>
                <a:gd name="T15" fmla="*/ 2147483647 h 86"/>
                <a:gd name="T16" fmla="*/ 2147483647 w 70"/>
                <a:gd name="T17" fmla="*/ 2147483647 h 86"/>
                <a:gd name="T18" fmla="*/ 2147483647 w 70"/>
                <a:gd name="T19" fmla="*/ 2147483647 h 86"/>
                <a:gd name="T20" fmla="*/ 2147483647 w 70"/>
                <a:gd name="T21" fmla="*/ 2147483647 h 86"/>
                <a:gd name="T22" fmla="*/ 2147483647 w 70"/>
                <a:gd name="T23" fmla="*/ 2147483647 h 86"/>
                <a:gd name="T24" fmla="*/ 2147483647 w 70"/>
                <a:gd name="T25" fmla="*/ 2147483647 h 86"/>
                <a:gd name="T26" fmla="*/ 2147483647 w 70"/>
                <a:gd name="T27" fmla="*/ 2147483647 h 86"/>
                <a:gd name="T28" fmla="*/ 2147483647 w 70"/>
                <a:gd name="T29" fmla="*/ 2147483647 h 86"/>
                <a:gd name="T30" fmla="*/ 2147483647 w 70"/>
                <a:gd name="T31" fmla="*/ 2147483647 h 86"/>
                <a:gd name="T32" fmla="*/ 2147483647 w 70"/>
                <a:gd name="T33" fmla="*/ 2147483647 h 86"/>
                <a:gd name="T34" fmla="*/ 2147483647 w 70"/>
                <a:gd name="T35" fmla="*/ 2147483647 h 86"/>
                <a:gd name="T36" fmla="*/ 2147483647 w 70"/>
                <a:gd name="T37" fmla="*/ 2147483647 h 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0"/>
                <a:gd name="T58" fmla="*/ 0 h 86"/>
                <a:gd name="T59" fmla="*/ 70 w 70"/>
                <a:gd name="T60" fmla="*/ 86 h 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0" h="86">
                  <a:moveTo>
                    <a:pt x="36" y="2"/>
                  </a:moveTo>
                  <a:lnTo>
                    <a:pt x="34" y="0"/>
                  </a:lnTo>
                  <a:lnTo>
                    <a:pt x="33" y="7"/>
                  </a:lnTo>
                  <a:lnTo>
                    <a:pt x="3" y="54"/>
                  </a:lnTo>
                  <a:lnTo>
                    <a:pt x="0" y="76"/>
                  </a:lnTo>
                  <a:lnTo>
                    <a:pt x="6" y="86"/>
                  </a:lnTo>
                  <a:lnTo>
                    <a:pt x="39" y="85"/>
                  </a:lnTo>
                  <a:lnTo>
                    <a:pt x="70" y="64"/>
                  </a:lnTo>
                  <a:lnTo>
                    <a:pt x="66" y="60"/>
                  </a:lnTo>
                  <a:lnTo>
                    <a:pt x="67" y="51"/>
                  </a:lnTo>
                  <a:lnTo>
                    <a:pt x="60" y="46"/>
                  </a:lnTo>
                  <a:lnTo>
                    <a:pt x="54" y="56"/>
                  </a:lnTo>
                  <a:lnTo>
                    <a:pt x="53" y="49"/>
                  </a:lnTo>
                  <a:lnTo>
                    <a:pt x="34" y="55"/>
                  </a:lnTo>
                  <a:lnTo>
                    <a:pt x="43" y="44"/>
                  </a:lnTo>
                  <a:lnTo>
                    <a:pt x="37" y="43"/>
                  </a:lnTo>
                  <a:lnTo>
                    <a:pt x="47" y="11"/>
                  </a:lnTo>
                  <a:lnTo>
                    <a:pt x="43" y="1"/>
                  </a:lnTo>
                  <a:lnTo>
                    <a:pt x="36" y="2"/>
                  </a:lnTo>
                  <a:close/>
                </a:path>
              </a:pathLst>
            </a:custGeom>
            <a:grpFill/>
            <a:ln w="6350">
              <a:solidFill>
                <a:schemeClr val="tx2"/>
              </a:solidFill>
              <a:round/>
              <a:headEnd/>
              <a:tailEnd/>
            </a:ln>
          </p:spPr>
          <p:txBody>
            <a:bodyPr/>
            <a:lstStyle/>
            <a:p>
              <a:endParaRPr lang="en-US"/>
            </a:p>
          </p:txBody>
        </p:sp>
        <p:sp>
          <p:nvSpPr>
            <p:cNvPr id="269" name="Freeform 1255"/>
            <p:cNvSpPr>
              <a:spLocks/>
            </p:cNvSpPr>
            <p:nvPr/>
          </p:nvSpPr>
          <p:spPr bwMode="auto">
            <a:xfrm>
              <a:off x="2958601" y="3353021"/>
              <a:ext cx="142609" cy="163848"/>
            </a:xfrm>
            <a:custGeom>
              <a:avLst/>
              <a:gdLst>
                <a:gd name="T0" fmla="*/ 2147483647 w 286"/>
                <a:gd name="T1" fmla="*/ 2147483647 h 331"/>
                <a:gd name="T2" fmla="*/ 2147483647 w 286"/>
                <a:gd name="T3" fmla="*/ 2147483647 h 331"/>
                <a:gd name="T4" fmla="*/ 2147483647 w 286"/>
                <a:gd name="T5" fmla="*/ 2147483647 h 331"/>
                <a:gd name="T6" fmla="*/ 2147483647 w 286"/>
                <a:gd name="T7" fmla="*/ 2147483647 h 331"/>
                <a:gd name="T8" fmla="*/ 2147483647 w 286"/>
                <a:gd name="T9" fmla="*/ 2147483647 h 331"/>
                <a:gd name="T10" fmla="*/ 2147483647 w 286"/>
                <a:gd name="T11" fmla="*/ 2147483647 h 331"/>
                <a:gd name="T12" fmla="*/ 2147483647 w 286"/>
                <a:gd name="T13" fmla="*/ 2147483647 h 331"/>
                <a:gd name="T14" fmla="*/ 2147483647 w 286"/>
                <a:gd name="T15" fmla="*/ 2147483647 h 331"/>
                <a:gd name="T16" fmla="*/ 2147483647 w 286"/>
                <a:gd name="T17" fmla="*/ 2147483647 h 331"/>
                <a:gd name="T18" fmla="*/ 2147483647 w 286"/>
                <a:gd name="T19" fmla="*/ 2147483647 h 331"/>
                <a:gd name="T20" fmla="*/ 2147483647 w 286"/>
                <a:gd name="T21" fmla="*/ 2147483647 h 331"/>
                <a:gd name="T22" fmla="*/ 2147483647 w 286"/>
                <a:gd name="T23" fmla="*/ 2147483647 h 331"/>
                <a:gd name="T24" fmla="*/ 2147483647 w 286"/>
                <a:gd name="T25" fmla="*/ 2147483647 h 331"/>
                <a:gd name="T26" fmla="*/ 2147483647 w 286"/>
                <a:gd name="T27" fmla="*/ 0 h 331"/>
                <a:gd name="T28" fmla="*/ 2147483647 w 286"/>
                <a:gd name="T29" fmla="*/ 2147483647 h 331"/>
                <a:gd name="T30" fmla="*/ 2147483647 w 286"/>
                <a:gd name="T31" fmla="*/ 2147483647 h 331"/>
                <a:gd name="T32" fmla="*/ 2147483647 w 286"/>
                <a:gd name="T33" fmla="*/ 2147483647 h 331"/>
                <a:gd name="T34" fmla="*/ 2147483647 w 286"/>
                <a:gd name="T35" fmla="*/ 2147483647 h 331"/>
                <a:gd name="T36" fmla="*/ 2147483647 w 286"/>
                <a:gd name="T37" fmla="*/ 2147483647 h 331"/>
                <a:gd name="T38" fmla="*/ 2147483647 w 286"/>
                <a:gd name="T39" fmla="*/ 2147483647 h 331"/>
                <a:gd name="T40" fmla="*/ 2147483647 w 286"/>
                <a:gd name="T41" fmla="*/ 2147483647 h 331"/>
                <a:gd name="T42" fmla="*/ 2147483647 w 286"/>
                <a:gd name="T43" fmla="*/ 2147483647 h 331"/>
                <a:gd name="T44" fmla="*/ 2147483647 w 286"/>
                <a:gd name="T45" fmla="*/ 2147483647 h 331"/>
                <a:gd name="T46" fmla="*/ 2147483647 w 286"/>
                <a:gd name="T47" fmla="*/ 2147483647 h 331"/>
                <a:gd name="T48" fmla="*/ 2147483647 w 286"/>
                <a:gd name="T49" fmla="*/ 2147483647 h 331"/>
                <a:gd name="T50" fmla="*/ 2147483647 w 286"/>
                <a:gd name="T51" fmla="*/ 2147483647 h 331"/>
                <a:gd name="T52" fmla="*/ 2147483647 w 286"/>
                <a:gd name="T53" fmla="*/ 2147483647 h 331"/>
                <a:gd name="T54" fmla="*/ 2147483647 w 286"/>
                <a:gd name="T55" fmla="*/ 2147483647 h 331"/>
                <a:gd name="T56" fmla="*/ 2147483647 w 286"/>
                <a:gd name="T57" fmla="*/ 2147483647 h 331"/>
                <a:gd name="T58" fmla="*/ 2147483647 w 286"/>
                <a:gd name="T59" fmla="*/ 2147483647 h 331"/>
                <a:gd name="T60" fmla="*/ 2147483647 w 286"/>
                <a:gd name="T61" fmla="*/ 2147483647 h 331"/>
                <a:gd name="T62" fmla="*/ 2147483647 w 286"/>
                <a:gd name="T63" fmla="*/ 2147483647 h 331"/>
                <a:gd name="T64" fmla="*/ 2147483647 w 286"/>
                <a:gd name="T65" fmla="*/ 2147483647 h 331"/>
                <a:gd name="T66" fmla="*/ 2147483647 w 286"/>
                <a:gd name="T67" fmla="*/ 2147483647 h 331"/>
                <a:gd name="T68" fmla="*/ 2147483647 w 286"/>
                <a:gd name="T69" fmla="*/ 2147483647 h 331"/>
                <a:gd name="T70" fmla="*/ 2147483647 w 286"/>
                <a:gd name="T71" fmla="*/ 2147483647 h 331"/>
                <a:gd name="T72" fmla="*/ 2147483647 w 286"/>
                <a:gd name="T73" fmla="*/ 2147483647 h 331"/>
                <a:gd name="T74" fmla="*/ 2147483647 w 286"/>
                <a:gd name="T75" fmla="*/ 2147483647 h 331"/>
                <a:gd name="T76" fmla="*/ 2147483647 w 286"/>
                <a:gd name="T77" fmla="*/ 2147483647 h 331"/>
                <a:gd name="T78" fmla="*/ 2147483647 w 286"/>
                <a:gd name="T79" fmla="*/ 2147483647 h 331"/>
                <a:gd name="T80" fmla="*/ 2147483647 w 286"/>
                <a:gd name="T81" fmla="*/ 2147483647 h 331"/>
                <a:gd name="T82" fmla="*/ 2147483647 w 286"/>
                <a:gd name="T83" fmla="*/ 2147483647 h 331"/>
                <a:gd name="T84" fmla="*/ 2147483647 w 286"/>
                <a:gd name="T85" fmla="*/ 2147483647 h 331"/>
                <a:gd name="T86" fmla="*/ 2147483647 w 286"/>
                <a:gd name="T87" fmla="*/ 2147483647 h 331"/>
                <a:gd name="T88" fmla="*/ 2147483647 w 286"/>
                <a:gd name="T89" fmla="*/ 2147483647 h 331"/>
                <a:gd name="T90" fmla="*/ 2147483647 w 286"/>
                <a:gd name="T91" fmla="*/ 2147483647 h 331"/>
                <a:gd name="T92" fmla="*/ 2147483647 w 286"/>
                <a:gd name="T93" fmla="*/ 2147483647 h 331"/>
                <a:gd name="T94" fmla="*/ 2147483647 w 286"/>
                <a:gd name="T95" fmla="*/ 2147483647 h 331"/>
                <a:gd name="T96" fmla="*/ 2147483647 w 286"/>
                <a:gd name="T97" fmla="*/ 2147483647 h 331"/>
                <a:gd name="T98" fmla="*/ 2147483647 w 286"/>
                <a:gd name="T99" fmla="*/ 2147483647 h 331"/>
                <a:gd name="T100" fmla="*/ 2147483647 w 286"/>
                <a:gd name="T101" fmla="*/ 2147483647 h 3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86"/>
                <a:gd name="T154" fmla="*/ 0 h 331"/>
                <a:gd name="T155" fmla="*/ 286 w 286"/>
                <a:gd name="T156" fmla="*/ 331 h 3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86" h="331">
                  <a:moveTo>
                    <a:pt x="254" y="159"/>
                  </a:moveTo>
                  <a:lnTo>
                    <a:pt x="251" y="154"/>
                  </a:lnTo>
                  <a:lnTo>
                    <a:pt x="231" y="149"/>
                  </a:lnTo>
                  <a:lnTo>
                    <a:pt x="217" y="150"/>
                  </a:lnTo>
                  <a:lnTo>
                    <a:pt x="210" y="144"/>
                  </a:lnTo>
                  <a:lnTo>
                    <a:pt x="173" y="159"/>
                  </a:lnTo>
                  <a:lnTo>
                    <a:pt x="181" y="140"/>
                  </a:lnTo>
                  <a:lnTo>
                    <a:pt x="171" y="149"/>
                  </a:lnTo>
                  <a:lnTo>
                    <a:pt x="150" y="144"/>
                  </a:lnTo>
                  <a:lnTo>
                    <a:pt x="151" y="135"/>
                  </a:lnTo>
                  <a:lnTo>
                    <a:pt x="142" y="132"/>
                  </a:lnTo>
                  <a:lnTo>
                    <a:pt x="166" y="117"/>
                  </a:lnTo>
                  <a:lnTo>
                    <a:pt x="140" y="112"/>
                  </a:lnTo>
                  <a:lnTo>
                    <a:pt x="142" y="103"/>
                  </a:lnTo>
                  <a:lnTo>
                    <a:pt x="136" y="102"/>
                  </a:lnTo>
                  <a:lnTo>
                    <a:pt x="112" y="136"/>
                  </a:lnTo>
                  <a:lnTo>
                    <a:pt x="109" y="126"/>
                  </a:lnTo>
                  <a:lnTo>
                    <a:pt x="112" y="107"/>
                  </a:lnTo>
                  <a:lnTo>
                    <a:pt x="135" y="71"/>
                  </a:lnTo>
                  <a:lnTo>
                    <a:pt x="136" y="50"/>
                  </a:lnTo>
                  <a:lnTo>
                    <a:pt x="139" y="56"/>
                  </a:lnTo>
                  <a:lnTo>
                    <a:pt x="149" y="51"/>
                  </a:lnTo>
                  <a:lnTo>
                    <a:pt x="155" y="32"/>
                  </a:lnTo>
                  <a:lnTo>
                    <a:pt x="148" y="26"/>
                  </a:lnTo>
                  <a:lnTo>
                    <a:pt x="148" y="20"/>
                  </a:lnTo>
                  <a:lnTo>
                    <a:pt x="158" y="19"/>
                  </a:lnTo>
                  <a:lnTo>
                    <a:pt x="165" y="6"/>
                  </a:lnTo>
                  <a:lnTo>
                    <a:pt x="164" y="0"/>
                  </a:lnTo>
                  <a:lnTo>
                    <a:pt x="135" y="9"/>
                  </a:lnTo>
                  <a:lnTo>
                    <a:pt x="116" y="19"/>
                  </a:lnTo>
                  <a:lnTo>
                    <a:pt x="109" y="34"/>
                  </a:lnTo>
                  <a:lnTo>
                    <a:pt x="101" y="40"/>
                  </a:lnTo>
                  <a:lnTo>
                    <a:pt x="99" y="53"/>
                  </a:lnTo>
                  <a:lnTo>
                    <a:pt x="85" y="64"/>
                  </a:lnTo>
                  <a:lnTo>
                    <a:pt x="91" y="69"/>
                  </a:lnTo>
                  <a:lnTo>
                    <a:pt x="81" y="93"/>
                  </a:lnTo>
                  <a:lnTo>
                    <a:pt x="88" y="100"/>
                  </a:lnTo>
                  <a:lnTo>
                    <a:pt x="73" y="104"/>
                  </a:lnTo>
                  <a:lnTo>
                    <a:pt x="63" y="128"/>
                  </a:lnTo>
                  <a:lnTo>
                    <a:pt x="64" y="143"/>
                  </a:lnTo>
                  <a:lnTo>
                    <a:pt x="51" y="151"/>
                  </a:lnTo>
                  <a:lnTo>
                    <a:pt x="48" y="158"/>
                  </a:lnTo>
                  <a:lnTo>
                    <a:pt x="56" y="162"/>
                  </a:lnTo>
                  <a:lnTo>
                    <a:pt x="56" y="173"/>
                  </a:lnTo>
                  <a:lnTo>
                    <a:pt x="42" y="171"/>
                  </a:lnTo>
                  <a:lnTo>
                    <a:pt x="31" y="200"/>
                  </a:lnTo>
                  <a:lnTo>
                    <a:pt x="26" y="204"/>
                  </a:lnTo>
                  <a:lnTo>
                    <a:pt x="22" y="199"/>
                  </a:lnTo>
                  <a:lnTo>
                    <a:pt x="8" y="207"/>
                  </a:lnTo>
                  <a:lnTo>
                    <a:pt x="35" y="210"/>
                  </a:lnTo>
                  <a:lnTo>
                    <a:pt x="38" y="215"/>
                  </a:lnTo>
                  <a:lnTo>
                    <a:pt x="1" y="249"/>
                  </a:lnTo>
                  <a:lnTo>
                    <a:pt x="0" y="262"/>
                  </a:lnTo>
                  <a:lnTo>
                    <a:pt x="4" y="269"/>
                  </a:lnTo>
                  <a:lnTo>
                    <a:pt x="14" y="271"/>
                  </a:lnTo>
                  <a:lnTo>
                    <a:pt x="54" y="263"/>
                  </a:lnTo>
                  <a:lnTo>
                    <a:pt x="111" y="270"/>
                  </a:lnTo>
                  <a:lnTo>
                    <a:pt x="137" y="265"/>
                  </a:lnTo>
                  <a:lnTo>
                    <a:pt x="155" y="252"/>
                  </a:lnTo>
                  <a:lnTo>
                    <a:pt x="154" y="267"/>
                  </a:lnTo>
                  <a:lnTo>
                    <a:pt x="139" y="275"/>
                  </a:lnTo>
                  <a:lnTo>
                    <a:pt x="167" y="276"/>
                  </a:lnTo>
                  <a:lnTo>
                    <a:pt x="175" y="264"/>
                  </a:lnTo>
                  <a:lnTo>
                    <a:pt x="196" y="270"/>
                  </a:lnTo>
                  <a:lnTo>
                    <a:pt x="178" y="284"/>
                  </a:lnTo>
                  <a:lnTo>
                    <a:pt x="168" y="298"/>
                  </a:lnTo>
                  <a:lnTo>
                    <a:pt x="152" y="304"/>
                  </a:lnTo>
                  <a:lnTo>
                    <a:pt x="150" y="311"/>
                  </a:lnTo>
                  <a:lnTo>
                    <a:pt x="159" y="313"/>
                  </a:lnTo>
                  <a:lnTo>
                    <a:pt x="177" y="308"/>
                  </a:lnTo>
                  <a:lnTo>
                    <a:pt x="196" y="283"/>
                  </a:lnTo>
                  <a:lnTo>
                    <a:pt x="210" y="280"/>
                  </a:lnTo>
                  <a:lnTo>
                    <a:pt x="222" y="247"/>
                  </a:lnTo>
                  <a:lnTo>
                    <a:pt x="229" y="247"/>
                  </a:lnTo>
                  <a:lnTo>
                    <a:pt x="235" y="284"/>
                  </a:lnTo>
                  <a:lnTo>
                    <a:pt x="226" y="314"/>
                  </a:lnTo>
                  <a:lnTo>
                    <a:pt x="232" y="316"/>
                  </a:lnTo>
                  <a:lnTo>
                    <a:pt x="247" y="295"/>
                  </a:lnTo>
                  <a:lnTo>
                    <a:pt x="251" y="298"/>
                  </a:lnTo>
                  <a:lnTo>
                    <a:pt x="248" y="323"/>
                  </a:lnTo>
                  <a:lnTo>
                    <a:pt x="252" y="331"/>
                  </a:lnTo>
                  <a:lnTo>
                    <a:pt x="260" y="323"/>
                  </a:lnTo>
                  <a:lnTo>
                    <a:pt x="270" y="326"/>
                  </a:lnTo>
                  <a:lnTo>
                    <a:pt x="286" y="278"/>
                  </a:lnTo>
                  <a:lnTo>
                    <a:pt x="286" y="262"/>
                  </a:lnTo>
                  <a:lnTo>
                    <a:pt x="282" y="259"/>
                  </a:lnTo>
                  <a:lnTo>
                    <a:pt x="271" y="277"/>
                  </a:lnTo>
                  <a:lnTo>
                    <a:pt x="267" y="273"/>
                  </a:lnTo>
                  <a:lnTo>
                    <a:pt x="267" y="261"/>
                  </a:lnTo>
                  <a:lnTo>
                    <a:pt x="279" y="230"/>
                  </a:lnTo>
                  <a:lnTo>
                    <a:pt x="262" y="241"/>
                  </a:lnTo>
                  <a:lnTo>
                    <a:pt x="251" y="265"/>
                  </a:lnTo>
                  <a:lnTo>
                    <a:pt x="246" y="265"/>
                  </a:lnTo>
                  <a:lnTo>
                    <a:pt x="240" y="257"/>
                  </a:lnTo>
                  <a:lnTo>
                    <a:pt x="245" y="240"/>
                  </a:lnTo>
                  <a:lnTo>
                    <a:pt x="236" y="229"/>
                  </a:lnTo>
                  <a:lnTo>
                    <a:pt x="265" y="213"/>
                  </a:lnTo>
                  <a:lnTo>
                    <a:pt x="268" y="200"/>
                  </a:lnTo>
                  <a:lnTo>
                    <a:pt x="247" y="210"/>
                  </a:lnTo>
                  <a:lnTo>
                    <a:pt x="230" y="211"/>
                  </a:lnTo>
                  <a:lnTo>
                    <a:pt x="240" y="195"/>
                  </a:lnTo>
                  <a:lnTo>
                    <a:pt x="232" y="190"/>
                  </a:lnTo>
                  <a:lnTo>
                    <a:pt x="254" y="159"/>
                  </a:lnTo>
                  <a:close/>
                </a:path>
              </a:pathLst>
            </a:custGeom>
            <a:grpFill/>
            <a:ln w="6350">
              <a:solidFill>
                <a:schemeClr val="tx2"/>
              </a:solidFill>
              <a:round/>
              <a:headEnd/>
              <a:tailEnd/>
            </a:ln>
          </p:spPr>
          <p:txBody>
            <a:bodyPr/>
            <a:lstStyle/>
            <a:p>
              <a:endParaRPr lang="en-US"/>
            </a:p>
          </p:txBody>
        </p:sp>
        <p:sp>
          <p:nvSpPr>
            <p:cNvPr id="270" name="Freeform 1256"/>
            <p:cNvSpPr>
              <a:spLocks/>
            </p:cNvSpPr>
            <p:nvPr/>
          </p:nvSpPr>
          <p:spPr bwMode="auto">
            <a:xfrm>
              <a:off x="2605114" y="3817257"/>
              <a:ext cx="6069" cy="22756"/>
            </a:xfrm>
            <a:custGeom>
              <a:avLst/>
              <a:gdLst>
                <a:gd name="T0" fmla="*/ 0 w 13"/>
                <a:gd name="T1" fmla="*/ 2147483647 h 45"/>
                <a:gd name="T2" fmla="*/ 2147483647 w 13"/>
                <a:gd name="T3" fmla="*/ 2147483647 h 45"/>
                <a:gd name="T4" fmla="*/ 2147483647 w 13"/>
                <a:gd name="T5" fmla="*/ 2147483647 h 45"/>
                <a:gd name="T6" fmla="*/ 2147483647 w 13"/>
                <a:gd name="T7" fmla="*/ 0 h 45"/>
                <a:gd name="T8" fmla="*/ 2147483647 w 13"/>
                <a:gd name="T9" fmla="*/ 2147483647 h 45"/>
                <a:gd name="T10" fmla="*/ 2147483647 w 13"/>
                <a:gd name="T11" fmla="*/ 2147483647 h 45"/>
                <a:gd name="T12" fmla="*/ 0 w 13"/>
                <a:gd name="T13" fmla="*/ 2147483647 h 45"/>
                <a:gd name="T14" fmla="*/ 0 60000 65536"/>
                <a:gd name="T15" fmla="*/ 0 60000 65536"/>
                <a:gd name="T16" fmla="*/ 0 60000 65536"/>
                <a:gd name="T17" fmla="*/ 0 60000 65536"/>
                <a:gd name="T18" fmla="*/ 0 60000 65536"/>
                <a:gd name="T19" fmla="*/ 0 60000 65536"/>
                <a:gd name="T20" fmla="*/ 0 60000 65536"/>
                <a:gd name="T21" fmla="*/ 0 w 13"/>
                <a:gd name="T22" fmla="*/ 0 h 45"/>
                <a:gd name="T23" fmla="*/ 13 w 13"/>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45">
                  <a:moveTo>
                    <a:pt x="0" y="45"/>
                  </a:moveTo>
                  <a:lnTo>
                    <a:pt x="9" y="44"/>
                  </a:lnTo>
                  <a:lnTo>
                    <a:pt x="13" y="22"/>
                  </a:lnTo>
                  <a:lnTo>
                    <a:pt x="2" y="0"/>
                  </a:lnTo>
                  <a:lnTo>
                    <a:pt x="10" y="22"/>
                  </a:lnTo>
                  <a:lnTo>
                    <a:pt x="8" y="41"/>
                  </a:lnTo>
                  <a:lnTo>
                    <a:pt x="0" y="45"/>
                  </a:lnTo>
                  <a:close/>
                </a:path>
              </a:pathLst>
            </a:custGeom>
            <a:grpFill/>
            <a:ln w="6350">
              <a:solidFill>
                <a:schemeClr val="tx2"/>
              </a:solidFill>
              <a:round/>
              <a:headEnd/>
              <a:tailEnd/>
            </a:ln>
          </p:spPr>
          <p:txBody>
            <a:bodyPr/>
            <a:lstStyle/>
            <a:p>
              <a:endParaRPr lang="en-US"/>
            </a:p>
          </p:txBody>
        </p:sp>
        <p:sp>
          <p:nvSpPr>
            <p:cNvPr id="271" name="Freeform 1257"/>
            <p:cNvSpPr>
              <a:spLocks/>
            </p:cNvSpPr>
            <p:nvPr/>
          </p:nvSpPr>
          <p:spPr bwMode="auto">
            <a:xfrm>
              <a:off x="2504985" y="4087304"/>
              <a:ext cx="3034" cy="6069"/>
            </a:xfrm>
            <a:custGeom>
              <a:avLst/>
              <a:gdLst>
                <a:gd name="T0" fmla="*/ 2147483647 w 9"/>
                <a:gd name="T1" fmla="*/ 0 h 12"/>
                <a:gd name="T2" fmla="*/ 0 w 9"/>
                <a:gd name="T3" fmla="*/ 2147483647 h 12"/>
                <a:gd name="T4" fmla="*/ 2147483647 w 9"/>
                <a:gd name="T5" fmla="*/ 0 h 12"/>
                <a:gd name="T6" fmla="*/ 0 60000 65536"/>
                <a:gd name="T7" fmla="*/ 0 60000 65536"/>
                <a:gd name="T8" fmla="*/ 0 60000 65536"/>
                <a:gd name="T9" fmla="*/ 0 w 9"/>
                <a:gd name="T10" fmla="*/ 0 h 12"/>
                <a:gd name="T11" fmla="*/ 9 w 9"/>
                <a:gd name="T12" fmla="*/ 12 h 12"/>
              </a:gdLst>
              <a:ahLst/>
              <a:cxnLst>
                <a:cxn ang="T6">
                  <a:pos x="T0" y="T1"/>
                </a:cxn>
                <a:cxn ang="T7">
                  <a:pos x="T2" y="T3"/>
                </a:cxn>
                <a:cxn ang="T8">
                  <a:pos x="T4" y="T5"/>
                </a:cxn>
              </a:cxnLst>
              <a:rect l="T9" t="T10" r="T11" b="T12"/>
              <a:pathLst>
                <a:path w="9" h="12">
                  <a:moveTo>
                    <a:pt x="9" y="0"/>
                  </a:moveTo>
                  <a:lnTo>
                    <a:pt x="0" y="12"/>
                  </a:lnTo>
                  <a:lnTo>
                    <a:pt x="9" y="0"/>
                  </a:lnTo>
                  <a:close/>
                </a:path>
              </a:pathLst>
            </a:custGeom>
            <a:grpFill/>
            <a:ln w="6350">
              <a:solidFill>
                <a:schemeClr val="tx2"/>
              </a:solidFill>
              <a:round/>
              <a:headEnd/>
              <a:tailEnd/>
            </a:ln>
          </p:spPr>
          <p:txBody>
            <a:bodyPr/>
            <a:lstStyle/>
            <a:p>
              <a:endParaRPr lang="en-US"/>
            </a:p>
          </p:txBody>
        </p:sp>
        <p:sp>
          <p:nvSpPr>
            <p:cNvPr id="272" name="Freeform 1258"/>
            <p:cNvSpPr>
              <a:spLocks/>
            </p:cNvSpPr>
            <p:nvPr/>
          </p:nvSpPr>
          <p:spPr bwMode="auto">
            <a:xfrm>
              <a:off x="2498916" y="4094888"/>
              <a:ext cx="3034" cy="1517"/>
            </a:xfrm>
            <a:custGeom>
              <a:avLst/>
              <a:gdLst>
                <a:gd name="T0" fmla="*/ 2147483647 w 7"/>
                <a:gd name="T1" fmla="*/ 0 h 5"/>
                <a:gd name="T2" fmla="*/ 0 w 7"/>
                <a:gd name="T3" fmla="*/ 2147483647 h 5"/>
                <a:gd name="T4" fmla="*/ 2147483647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7" y="0"/>
                  </a:moveTo>
                  <a:lnTo>
                    <a:pt x="0" y="5"/>
                  </a:lnTo>
                  <a:lnTo>
                    <a:pt x="7" y="0"/>
                  </a:lnTo>
                  <a:close/>
                </a:path>
              </a:pathLst>
            </a:custGeom>
            <a:grpFill/>
            <a:ln w="6350">
              <a:solidFill>
                <a:schemeClr val="tx2"/>
              </a:solidFill>
              <a:round/>
              <a:headEnd/>
              <a:tailEnd/>
            </a:ln>
          </p:spPr>
          <p:txBody>
            <a:bodyPr/>
            <a:lstStyle/>
            <a:p>
              <a:endParaRPr lang="en-US"/>
            </a:p>
          </p:txBody>
        </p:sp>
        <p:sp>
          <p:nvSpPr>
            <p:cNvPr id="273" name="Freeform 1259"/>
            <p:cNvSpPr>
              <a:spLocks/>
            </p:cNvSpPr>
            <p:nvPr/>
          </p:nvSpPr>
          <p:spPr bwMode="auto">
            <a:xfrm>
              <a:off x="2477676" y="4096405"/>
              <a:ext cx="9103" cy="6069"/>
            </a:xfrm>
            <a:custGeom>
              <a:avLst/>
              <a:gdLst>
                <a:gd name="T0" fmla="*/ 2147483647 w 22"/>
                <a:gd name="T1" fmla="*/ 2147483647 h 10"/>
                <a:gd name="T2" fmla="*/ 0 w 22"/>
                <a:gd name="T3" fmla="*/ 2147483647 h 10"/>
                <a:gd name="T4" fmla="*/ 2147483647 w 22"/>
                <a:gd name="T5" fmla="*/ 0 h 10"/>
                <a:gd name="T6" fmla="*/ 2147483647 w 22"/>
                <a:gd name="T7" fmla="*/ 2147483647 h 10"/>
                <a:gd name="T8" fmla="*/ 2147483647 w 22"/>
                <a:gd name="T9" fmla="*/ 2147483647 h 10"/>
                <a:gd name="T10" fmla="*/ 0 60000 65536"/>
                <a:gd name="T11" fmla="*/ 0 60000 65536"/>
                <a:gd name="T12" fmla="*/ 0 60000 65536"/>
                <a:gd name="T13" fmla="*/ 0 60000 65536"/>
                <a:gd name="T14" fmla="*/ 0 60000 65536"/>
                <a:gd name="T15" fmla="*/ 0 w 22"/>
                <a:gd name="T16" fmla="*/ 0 h 10"/>
                <a:gd name="T17" fmla="*/ 22 w 22"/>
                <a:gd name="T18" fmla="*/ 10 h 10"/>
              </a:gdLst>
              <a:ahLst/>
              <a:cxnLst>
                <a:cxn ang="T10">
                  <a:pos x="T0" y="T1"/>
                </a:cxn>
                <a:cxn ang="T11">
                  <a:pos x="T2" y="T3"/>
                </a:cxn>
                <a:cxn ang="T12">
                  <a:pos x="T4" y="T5"/>
                </a:cxn>
                <a:cxn ang="T13">
                  <a:pos x="T6" y="T7"/>
                </a:cxn>
                <a:cxn ang="T14">
                  <a:pos x="T8" y="T9"/>
                </a:cxn>
              </a:cxnLst>
              <a:rect l="T15" t="T16" r="T17" b="T18"/>
              <a:pathLst>
                <a:path w="22" h="10">
                  <a:moveTo>
                    <a:pt x="21" y="6"/>
                  </a:moveTo>
                  <a:lnTo>
                    <a:pt x="0" y="10"/>
                  </a:lnTo>
                  <a:lnTo>
                    <a:pt x="17" y="0"/>
                  </a:lnTo>
                  <a:lnTo>
                    <a:pt x="22" y="2"/>
                  </a:lnTo>
                  <a:lnTo>
                    <a:pt x="21" y="6"/>
                  </a:lnTo>
                  <a:close/>
                </a:path>
              </a:pathLst>
            </a:custGeom>
            <a:grpFill/>
            <a:ln w="6350">
              <a:solidFill>
                <a:schemeClr val="tx2"/>
              </a:solidFill>
              <a:round/>
              <a:headEnd/>
              <a:tailEnd/>
            </a:ln>
          </p:spPr>
          <p:txBody>
            <a:bodyPr/>
            <a:lstStyle/>
            <a:p>
              <a:endParaRPr lang="en-US"/>
            </a:p>
          </p:txBody>
        </p:sp>
        <p:sp>
          <p:nvSpPr>
            <p:cNvPr id="274" name="Freeform 1260"/>
            <p:cNvSpPr>
              <a:spLocks/>
            </p:cNvSpPr>
            <p:nvPr/>
          </p:nvSpPr>
          <p:spPr bwMode="auto">
            <a:xfrm>
              <a:off x="1664503" y="3868839"/>
              <a:ext cx="7585" cy="4550"/>
            </a:xfrm>
            <a:custGeom>
              <a:avLst/>
              <a:gdLst>
                <a:gd name="T0" fmla="*/ 0 w 15"/>
                <a:gd name="T1" fmla="*/ 0 h 8"/>
                <a:gd name="T2" fmla="*/ 2147483647 w 15"/>
                <a:gd name="T3" fmla="*/ 2147483647 h 8"/>
                <a:gd name="T4" fmla="*/ 2147483647 w 15"/>
                <a:gd name="T5" fmla="*/ 2147483647 h 8"/>
                <a:gd name="T6" fmla="*/ 0 w 15"/>
                <a:gd name="T7" fmla="*/ 0 h 8"/>
                <a:gd name="T8" fmla="*/ 0 60000 65536"/>
                <a:gd name="T9" fmla="*/ 0 60000 65536"/>
                <a:gd name="T10" fmla="*/ 0 60000 65536"/>
                <a:gd name="T11" fmla="*/ 0 60000 65536"/>
                <a:gd name="T12" fmla="*/ 0 w 15"/>
                <a:gd name="T13" fmla="*/ 0 h 8"/>
                <a:gd name="T14" fmla="*/ 15 w 15"/>
                <a:gd name="T15" fmla="*/ 8 h 8"/>
              </a:gdLst>
              <a:ahLst/>
              <a:cxnLst>
                <a:cxn ang="T8">
                  <a:pos x="T0" y="T1"/>
                </a:cxn>
                <a:cxn ang="T9">
                  <a:pos x="T2" y="T3"/>
                </a:cxn>
                <a:cxn ang="T10">
                  <a:pos x="T4" y="T5"/>
                </a:cxn>
                <a:cxn ang="T11">
                  <a:pos x="T6" y="T7"/>
                </a:cxn>
              </a:cxnLst>
              <a:rect l="T12" t="T13" r="T14" b="T15"/>
              <a:pathLst>
                <a:path w="15" h="8">
                  <a:moveTo>
                    <a:pt x="0" y="0"/>
                  </a:moveTo>
                  <a:lnTo>
                    <a:pt x="15" y="5"/>
                  </a:lnTo>
                  <a:lnTo>
                    <a:pt x="6" y="8"/>
                  </a:lnTo>
                  <a:lnTo>
                    <a:pt x="0" y="0"/>
                  </a:lnTo>
                  <a:close/>
                </a:path>
              </a:pathLst>
            </a:custGeom>
            <a:grpFill/>
            <a:ln w="6350">
              <a:solidFill>
                <a:schemeClr val="tx2"/>
              </a:solidFill>
              <a:round/>
              <a:headEnd/>
              <a:tailEnd/>
            </a:ln>
          </p:spPr>
          <p:txBody>
            <a:bodyPr/>
            <a:lstStyle/>
            <a:p>
              <a:endParaRPr lang="en-US"/>
            </a:p>
          </p:txBody>
        </p:sp>
        <p:sp>
          <p:nvSpPr>
            <p:cNvPr id="275" name="Freeform 1261"/>
            <p:cNvSpPr>
              <a:spLocks/>
            </p:cNvSpPr>
            <p:nvPr/>
          </p:nvSpPr>
          <p:spPr bwMode="auto">
            <a:xfrm>
              <a:off x="2711312" y="3670096"/>
              <a:ext cx="9103" cy="4551"/>
            </a:xfrm>
            <a:custGeom>
              <a:avLst/>
              <a:gdLst>
                <a:gd name="T0" fmla="*/ 0 w 16"/>
                <a:gd name="T1" fmla="*/ 2147483647 h 9"/>
                <a:gd name="T2" fmla="*/ 2147483647 w 16"/>
                <a:gd name="T3" fmla="*/ 2147483647 h 9"/>
                <a:gd name="T4" fmla="*/ 2147483647 w 16"/>
                <a:gd name="T5" fmla="*/ 2147483647 h 9"/>
                <a:gd name="T6" fmla="*/ 2147483647 w 16"/>
                <a:gd name="T7" fmla="*/ 0 h 9"/>
                <a:gd name="T8" fmla="*/ 0 w 16"/>
                <a:gd name="T9" fmla="*/ 2147483647 h 9"/>
                <a:gd name="T10" fmla="*/ 0 60000 65536"/>
                <a:gd name="T11" fmla="*/ 0 60000 65536"/>
                <a:gd name="T12" fmla="*/ 0 60000 65536"/>
                <a:gd name="T13" fmla="*/ 0 60000 65536"/>
                <a:gd name="T14" fmla="*/ 0 60000 65536"/>
                <a:gd name="T15" fmla="*/ 0 w 16"/>
                <a:gd name="T16" fmla="*/ 0 h 9"/>
                <a:gd name="T17" fmla="*/ 16 w 16"/>
                <a:gd name="T18" fmla="*/ 9 h 9"/>
              </a:gdLst>
              <a:ahLst/>
              <a:cxnLst>
                <a:cxn ang="T10">
                  <a:pos x="T0" y="T1"/>
                </a:cxn>
                <a:cxn ang="T11">
                  <a:pos x="T2" y="T3"/>
                </a:cxn>
                <a:cxn ang="T12">
                  <a:pos x="T4" y="T5"/>
                </a:cxn>
                <a:cxn ang="T13">
                  <a:pos x="T6" y="T7"/>
                </a:cxn>
                <a:cxn ang="T14">
                  <a:pos x="T8" y="T9"/>
                </a:cxn>
              </a:cxnLst>
              <a:rect l="T15" t="T16" r="T17" b="T18"/>
              <a:pathLst>
                <a:path w="16" h="9">
                  <a:moveTo>
                    <a:pt x="0" y="7"/>
                  </a:moveTo>
                  <a:lnTo>
                    <a:pt x="16" y="9"/>
                  </a:lnTo>
                  <a:lnTo>
                    <a:pt x="16" y="3"/>
                  </a:lnTo>
                  <a:lnTo>
                    <a:pt x="11" y="0"/>
                  </a:lnTo>
                  <a:lnTo>
                    <a:pt x="0" y="7"/>
                  </a:lnTo>
                  <a:close/>
                </a:path>
              </a:pathLst>
            </a:custGeom>
            <a:grpFill/>
            <a:ln w="6350">
              <a:solidFill>
                <a:schemeClr val="tx2"/>
              </a:solidFill>
              <a:round/>
              <a:headEnd/>
              <a:tailEnd/>
            </a:ln>
          </p:spPr>
          <p:txBody>
            <a:bodyPr/>
            <a:lstStyle/>
            <a:p>
              <a:endParaRPr lang="en-US"/>
            </a:p>
          </p:txBody>
        </p:sp>
        <p:sp>
          <p:nvSpPr>
            <p:cNvPr id="276" name="Freeform 1262"/>
            <p:cNvSpPr>
              <a:spLocks/>
            </p:cNvSpPr>
            <p:nvPr/>
          </p:nvSpPr>
          <p:spPr bwMode="auto">
            <a:xfrm>
              <a:off x="2723448" y="3671614"/>
              <a:ext cx="6069" cy="4550"/>
            </a:xfrm>
            <a:custGeom>
              <a:avLst/>
              <a:gdLst>
                <a:gd name="T0" fmla="*/ 0 w 12"/>
                <a:gd name="T1" fmla="*/ 2147483647 h 10"/>
                <a:gd name="T2" fmla="*/ 2147483647 w 12"/>
                <a:gd name="T3" fmla="*/ 2147483647 h 10"/>
                <a:gd name="T4" fmla="*/ 2147483647 w 12"/>
                <a:gd name="T5" fmla="*/ 2147483647 h 10"/>
                <a:gd name="T6" fmla="*/ 2147483647 w 12"/>
                <a:gd name="T7" fmla="*/ 0 h 10"/>
                <a:gd name="T8" fmla="*/ 2147483647 w 12"/>
                <a:gd name="T9" fmla="*/ 2147483647 h 10"/>
                <a:gd name="T10" fmla="*/ 0 w 12"/>
                <a:gd name="T11" fmla="*/ 2147483647 h 10"/>
                <a:gd name="T12" fmla="*/ 0 60000 65536"/>
                <a:gd name="T13" fmla="*/ 0 60000 65536"/>
                <a:gd name="T14" fmla="*/ 0 60000 65536"/>
                <a:gd name="T15" fmla="*/ 0 60000 65536"/>
                <a:gd name="T16" fmla="*/ 0 60000 65536"/>
                <a:gd name="T17" fmla="*/ 0 60000 65536"/>
                <a:gd name="T18" fmla="*/ 0 w 12"/>
                <a:gd name="T19" fmla="*/ 0 h 10"/>
                <a:gd name="T20" fmla="*/ 12 w 1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2" h="10">
                  <a:moveTo>
                    <a:pt x="0" y="7"/>
                  </a:moveTo>
                  <a:lnTo>
                    <a:pt x="11" y="10"/>
                  </a:lnTo>
                  <a:lnTo>
                    <a:pt x="12" y="6"/>
                  </a:lnTo>
                  <a:lnTo>
                    <a:pt x="9" y="0"/>
                  </a:lnTo>
                  <a:lnTo>
                    <a:pt x="7" y="6"/>
                  </a:lnTo>
                  <a:lnTo>
                    <a:pt x="0" y="7"/>
                  </a:lnTo>
                  <a:close/>
                </a:path>
              </a:pathLst>
            </a:custGeom>
            <a:grpFill/>
            <a:ln w="6350">
              <a:solidFill>
                <a:schemeClr val="tx2"/>
              </a:solidFill>
              <a:round/>
              <a:headEnd/>
              <a:tailEnd/>
            </a:ln>
          </p:spPr>
          <p:txBody>
            <a:bodyPr/>
            <a:lstStyle/>
            <a:p>
              <a:endParaRPr lang="en-US"/>
            </a:p>
          </p:txBody>
        </p:sp>
        <p:sp>
          <p:nvSpPr>
            <p:cNvPr id="277" name="Freeform 1263"/>
            <p:cNvSpPr>
              <a:spLocks/>
            </p:cNvSpPr>
            <p:nvPr/>
          </p:nvSpPr>
          <p:spPr bwMode="auto">
            <a:xfrm>
              <a:off x="2753792" y="3591206"/>
              <a:ext cx="3034" cy="4551"/>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5"/>
                  </a:moveTo>
                  <a:lnTo>
                    <a:pt x="2" y="9"/>
                  </a:lnTo>
                  <a:lnTo>
                    <a:pt x="7" y="7"/>
                  </a:lnTo>
                  <a:lnTo>
                    <a:pt x="5" y="0"/>
                  </a:lnTo>
                  <a:lnTo>
                    <a:pt x="0" y="5"/>
                  </a:lnTo>
                  <a:close/>
                </a:path>
              </a:pathLst>
            </a:custGeom>
            <a:grpFill/>
            <a:ln w="6350">
              <a:solidFill>
                <a:schemeClr val="tx2"/>
              </a:solidFill>
              <a:round/>
              <a:headEnd/>
              <a:tailEnd/>
            </a:ln>
          </p:spPr>
          <p:txBody>
            <a:bodyPr/>
            <a:lstStyle/>
            <a:p>
              <a:endParaRPr lang="en-US"/>
            </a:p>
          </p:txBody>
        </p:sp>
        <p:sp>
          <p:nvSpPr>
            <p:cNvPr id="278" name="Freeform 1264"/>
            <p:cNvSpPr>
              <a:spLocks/>
            </p:cNvSpPr>
            <p:nvPr/>
          </p:nvSpPr>
          <p:spPr bwMode="auto">
            <a:xfrm>
              <a:off x="2756826" y="3588172"/>
              <a:ext cx="1516" cy="3034"/>
            </a:xfrm>
            <a:custGeom>
              <a:avLst/>
              <a:gdLst>
                <a:gd name="T0" fmla="*/ 0 w 4"/>
                <a:gd name="T1" fmla="*/ 2147483647 h 6"/>
                <a:gd name="T2" fmla="*/ 2147483647 w 4"/>
                <a:gd name="T3" fmla="*/ 2147483647 h 6"/>
                <a:gd name="T4" fmla="*/ 2147483647 w 4"/>
                <a:gd name="T5" fmla="*/ 0 h 6"/>
                <a:gd name="T6" fmla="*/ 0 w 4"/>
                <a:gd name="T7" fmla="*/ 2147483647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0" y="5"/>
                  </a:moveTo>
                  <a:lnTo>
                    <a:pt x="3" y="6"/>
                  </a:lnTo>
                  <a:lnTo>
                    <a:pt x="4" y="0"/>
                  </a:lnTo>
                  <a:lnTo>
                    <a:pt x="0" y="5"/>
                  </a:lnTo>
                  <a:close/>
                </a:path>
              </a:pathLst>
            </a:custGeom>
            <a:grpFill/>
            <a:ln w="6350">
              <a:solidFill>
                <a:schemeClr val="tx2"/>
              </a:solidFill>
              <a:round/>
              <a:headEnd/>
              <a:tailEnd/>
            </a:ln>
          </p:spPr>
          <p:txBody>
            <a:bodyPr/>
            <a:lstStyle/>
            <a:p>
              <a:endParaRPr lang="en-US"/>
            </a:p>
          </p:txBody>
        </p:sp>
        <p:sp>
          <p:nvSpPr>
            <p:cNvPr id="279" name="Freeform 1265"/>
            <p:cNvSpPr>
              <a:spLocks/>
            </p:cNvSpPr>
            <p:nvPr/>
          </p:nvSpPr>
          <p:spPr bwMode="auto">
            <a:xfrm>
              <a:off x="2756826" y="3594241"/>
              <a:ext cx="3034" cy="3034"/>
            </a:xfrm>
            <a:custGeom>
              <a:avLst/>
              <a:gdLst>
                <a:gd name="T0" fmla="*/ 0 w 3"/>
                <a:gd name="T1" fmla="*/ 0 h 4"/>
                <a:gd name="T2" fmla="*/ 2147483647 w 3"/>
                <a:gd name="T3" fmla="*/ 2147483647 h 4"/>
                <a:gd name="T4" fmla="*/ 2147483647 w 3"/>
                <a:gd name="T5" fmla="*/ 0 h 4"/>
                <a:gd name="T6" fmla="*/ 0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0"/>
                  </a:moveTo>
                  <a:lnTo>
                    <a:pt x="2" y="4"/>
                  </a:lnTo>
                  <a:lnTo>
                    <a:pt x="3" y="0"/>
                  </a:lnTo>
                  <a:lnTo>
                    <a:pt x="0" y="0"/>
                  </a:lnTo>
                  <a:close/>
                </a:path>
              </a:pathLst>
            </a:custGeom>
            <a:grpFill/>
            <a:ln w="6350">
              <a:solidFill>
                <a:schemeClr val="tx2"/>
              </a:solidFill>
              <a:round/>
              <a:headEnd/>
              <a:tailEnd/>
            </a:ln>
          </p:spPr>
          <p:txBody>
            <a:bodyPr/>
            <a:lstStyle/>
            <a:p>
              <a:endParaRPr lang="en-US"/>
            </a:p>
          </p:txBody>
        </p:sp>
        <p:sp>
          <p:nvSpPr>
            <p:cNvPr id="280" name="Freeform 1266"/>
            <p:cNvSpPr>
              <a:spLocks/>
            </p:cNvSpPr>
            <p:nvPr/>
          </p:nvSpPr>
          <p:spPr bwMode="auto">
            <a:xfrm>
              <a:off x="2797787" y="3573002"/>
              <a:ext cx="3034" cy="6069"/>
            </a:xfrm>
            <a:custGeom>
              <a:avLst/>
              <a:gdLst>
                <a:gd name="T0" fmla="*/ 2147483647 w 7"/>
                <a:gd name="T1" fmla="*/ 0 h 12"/>
                <a:gd name="T2" fmla="*/ 0 w 7"/>
                <a:gd name="T3" fmla="*/ 2147483647 h 12"/>
                <a:gd name="T4" fmla="*/ 2147483647 w 7"/>
                <a:gd name="T5" fmla="*/ 2147483647 h 12"/>
                <a:gd name="T6" fmla="*/ 2147483647 w 7"/>
                <a:gd name="T7" fmla="*/ 2147483647 h 12"/>
                <a:gd name="T8" fmla="*/ 2147483647 w 7"/>
                <a:gd name="T9" fmla="*/ 0 h 12"/>
                <a:gd name="T10" fmla="*/ 0 60000 65536"/>
                <a:gd name="T11" fmla="*/ 0 60000 65536"/>
                <a:gd name="T12" fmla="*/ 0 60000 65536"/>
                <a:gd name="T13" fmla="*/ 0 60000 65536"/>
                <a:gd name="T14" fmla="*/ 0 60000 65536"/>
                <a:gd name="T15" fmla="*/ 0 w 7"/>
                <a:gd name="T16" fmla="*/ 0 h 12"/>
                <a:gd name="T17" fmla="*/ 7 w 7"/>
                <a:gd name="T18" fmla="*/ 12 h 12"/>
              </a:gdLst>
              <a:ahLst/>
              <a:cxnLst>
                <a:cxn ang="T10">
                  <a:pos x="T0" y="T1"/>
                </a:cxn>
                <a:cxn ang="T11">
                  <a:pos x="T2" y="T3"/>
                </a:cxn>
                <a:cxn ang="T12">
                  <a:pos x="T4" y="T5"/>
                </a:cxn>
                <a:cxn ang="T13">
                  <a:pos x="T6" y="T7"/>
                </a:cxn>
                <a:cxn ang="T14">
                  <a:pos x="T8" y="T9"/>
                </a:cxn>
              </a:cxnLst>
              <a:rect l="T15" t="T16" r="T17" b="T18"/>
              <a:pathLst>
                <a:path w="7" h="12">
                  <a:moveTo>
                    <a:pt x="4" y="0"/>
                  </a:moveTo>
                  <a:lnTo>
                    <a:pt x="0" y="12"/>
                  </a:lnTo>
                  <a:lnTo>
                    <a:pt x="6" y="8"/>
                  </a:lnTo>
                  <a:lnTo>
                    <a:pt x="7" y="1"/>
                  </a:lnTo>
                  <a:lnTo>
                    <a:pt x="4" y="0"/>
                  </a:lnTo>
                  <a:close/>
                </a:path>
              </a:pathLst>
            </a:custGeom>
            <a:grpFill/>
            <a:ln w="6350">
              <a:solidFill>
                <a:schemeClr val="tx2"/>
              </a:solidFill>
              <a:round/>
              <a:headEnd/>
              <a:tailEnd/>
            </a:ln>
          </p:spPr>
          <p:txBody>
            <a:bodyPr/>
            <a:lstStyle/>
            <a:p>
              <a:endParaRPr lang="en-US"/>
            </a:p>
          </p:txBody>
        </p:sp>
        <p:sp>
          <p:nvSpPr>
            <p:cNvPr id="281" name="Freeform 1267"/>
            <p:cNvSpPr>
              <a:spLocks/>
            </p:cNvSpPr>
            <p:nvPr/>
          </p:nvSpPr>
          <p:spPr bwMode="auto">
            <a:xfrm>
              <a:off x="2153014" y="4014481"/>
              <a:ext cx="12137" cy="12137"/>
            </a:xfrm>
            <a:custGeom>
              <a:avLst/>
              <a:gdLst>
                <a:gd name="T0" fmla="*/ 2147483647 w 27"/>
                <a:gd name="T1" fmla="*/ 2147483647 h 27"/>
                <a:gd name="T2" fmla="*/ 2147483647 w 27"/>
                <a:gd name="T3" fmla="*/ 0 h 27"/>
                <a:gd name="T4" fmla="*/ 2147483647 w 27"/>
                <a:gd name="T5" fmla="*/ 2147483647 h 27"/>
                <a:gd name="T6" fmla="*/ 0 w 27"/>
                <a:gd name="T7" fmla="*/ 2147483647 h 27"/>
                <a:gd name="T8" fmla="*/ 2147483647 w 27"/>
                <a:gd name="T9" fmla="*/ 2147483647 h 27"/>
                <a:gd name="T10" fmla="*/ 0 60000 65536"/>
                <a:gd name="T11" fmla="*/ 0 60000 65536"/>
                <a:gd name="T12" fmla="*/ 0 60000 65536"/>
                <a:gd name="T13" fmla="*/ 0 60000 65536"/>
                <a:gd name="T14" fmla="*/ 0 60000 65536"/>
                <a:gd name="T15" fmla="*/ 0 w 27"/>
                <a:gd name="T16" fmla="*/ 0 h 27"/>
                <a:gd name="T17" fmla="*/ 27 w 27"/>
                <a:gd name="T18" fmla="*/ 27 h 27"/>
              </a:gdLst>
              <a:ahLst/>
              <a:cxnLst>
                <a:cxn ang="T10">
                  <a:pos x="T0" y="T1"/>
                </a:cxn>
                <a:cxn ang="T11">
                  <a:pos x="T2" y="T3"/>
                </a:cxn>
                <a:cxn ang="T12">
                  <a:pos x="T4" y="T5"/>
                </a:cxn>
                <a:cxn ang="T13">
                  <a:pos x="T6" y="T7"/>
                </a:cxn>
                <a:cxn ang="T14">
                  <a:pos x="T8" y="T9"/>
                </a:cxn>
              </a:cxnLst>
              <a:rect l="T15" t="T16" r="T17" b="T18"/>
              <a:pathLst>
                <a:path w="27" h="27">
                  <a:moveTo>
                    <a:pt x="6" y="15"/>
                  </a:moveTo>
                  <a:lnTo>
                    <a:pt x="27" y="0"/>
                  </a:lnTo>
                  <a:lnTo>
                    <a:pt x="3" y="27"/>
                  </a:lnTo>
                  <a:lnTo>
                    <a:pt x="0" y="26"/>
                  </a:lnTo>
                  <a:lnTo>
                    <a:pt x="6" y="15"/>
                  </a:lnTo>
                  <a:close/>
                </a:path>
              </a:pathLst>
            </a:custGeom>
            <a:grpFill/>
            <a:ln w="6350">
              <a:solidFill>
                <a:schemeClr val="tx2"/>
              </a:solidFill>
              <a:round/>
              <a:headEnd/>
              <a:tailEnd/>
            </a:ln>
          </p:spPr>
          <p:txBody>
            <a:bodyPr/>
            <a:lstStyle/>
            <a:p>
              <a:endParaRPr lang="en-US"/>
            </a:p>
          </p:txBody>
        </p:sp>
        <p:sp>
          <p:nvSpPr>
            <p:cNvPr id="282" name="Freeform 1270"/>
            <p:cNvSpPr>
              <a:spLocks/>
            </p:cNvSpPr>
            <p:nvPr/>
          </p:nvSpPr>
          <p:spPr bwMode="auto">
            <a:xfrm>
              <a:off x="1658435" y="3870355"/>
              <a:ext cx="3034" cy="3034"/>
            </a:xfrm>
            <a:custGeom>
              <a:avLst/>
              <a:gdLst>
                <a:gd name="T0" fmla="*/ 0 w 10"/>
                <a:gd name="T1" fmla="*/ 2147483647 h 5"/>
                <a:gd name="T2" fmla="*/ 2147483647 w 10"/>
                <a:gd name="T3" fmla="*/ 0 h 5"/>
                <a:gd name="T4" fmla="*/ 2147483647 w 10"/>
                <a:gd name="T5" fmla="*/ 2147483647 h 5"/>
                <a:gd name="T6" fmla="*/ 0 w 10"/>
                <a:gd name="T7" fmla="*/ 2147483647 h 5"/>
                <a:gd name="T8" fmla="*/ 0 60000 65536"/>
                <a:gd name="T9" fmla="*/ 0 60000 65536"/>
                <a:gd name="T10" fmla="*/ 0 60000 65536"/>
                <a:gd name="T11" fmla="*/ 0 60000 65536"/>
                <a:gd name="T12" fmla="*/ 0 w 10"/>
                <a:gd name="T13" fmla="*/ 0 h 5"/>
                <a:gd name="T14" fmla="*/ 10 w 10"/>
                <a:gd name="T15" fmla="*/ 5 h 5"/>
              </a:gdLst>
              <a:ahLst/>
              <a:cxnLst>
                <a:cxn ang="T8">
                  <a:pos x="T0" y="T1"/>
                </a:cxn>
                <a:cxn ang="T9">
                  <a:pos x="T2" y="T3"/>
                </a:cxn>
                <a:cxn ang="T10">
                  <a:pos x="T4" y="T5"/>
                </a:cxn>
                <a:cxn ang="T11">
                  <a:pos x="T6" y="T7"/>
                </a:cxn>
              </a:cxnLst>
              <a:rect l="T12" t="T13" r="T14" b="T15"/>
              <a:pathLst>
                <a:path w="10" h="5">
                  <a:moveTo>
                    <a:pt x="0" y="2"/>
                  </a:moveTo>
                  <a:lnTo>
                    <a:pt x="5" y="0"/>
                  </a:lnTo>
                  <a:lnTo>
                    <a:pt x="10" y="5"/>
                  </a:lnTo>
                  <a:lnTo>
                    <a:pt x="0" y="2"/>
                  </a:lnTo>
                  <a:close/>
                </a:path>
              </a:pathLst>
            </a:custGeom>
            <a:grpFill/>
            <a:ln w="6350">
              <a:solidFill>
                <a:schemeClr val="tx2"/>
              </a:solidFill>
              <a:round/>
              <a:headEnd/>
              <a:tailEnd/>
            </a:ln>
          </p:spPr>
          <p:txBody>
            <a:bodyPr/>
            <a:lstStyle/>
            <a:p>
              <a:endParaRPr lang="en-US"/>
            </a:p>
          </p:txBody>
        </p:sp>
        <p:sp>
          <p:nvSpPr>
            <p:cNvPr id="283" name="Freeform 1271"/>
            <p:cNvSpPr>
              <a:spLocks/>
            </p:cNvSpPr>
            <p:nvPr/>
          </p:nvSpPr>
          <p:spPr bwMode="auto">
            <a:xfrm>
              <a:off x="1694845" y="3885527"/>
              <a:ext cx="3034" cy="3034"/>
            </a:xfrm>
            <a:custGeom>
              <a:avLst/>
              <a:gdLst>
                <a:gd name="T0" fmla="*/ 0 w 6"/>
                <a:gd name="T1" fmla="*/ 0 h 7"/>
                <a:gd name="T2" fmla="*/ 2147483647 w 6"/>
                <a:gd name="T3" fmla="*/ 2147483647 h 7"/>
                <a:gd name="T4" fmla="*/ 0 w 6"/>
                <a:gd name="T5" fmla="*/ 0 h 7"/>
                <a:gd name="T6" fmla="*/ 0 60000 65536"/>
                <a:gd name="T7" fmla="*/ 0 60000 65536"/>
                <a:gd name="T8" fmla="*/ 0 60000 65536"/>
                <a:gd name="T9" fmla="*/ 0 w 6"/>
                <a:gd name="T10" fmla="*/ 0 h 7"/>
                <a:gd name="T11" fmla="*/ 6 w 6"/>
                <a:gd name="T12" fmla="*/ 7 h 7"/>
              </a:gdLst>
              <a:ahLst/>
              <a:cxnLst>
                <a:cxn ang="T6">
                  <a:pos x="T0" y="T1"/>
                </a:cxn>
                <a:cxn ang="T7">
                  <a:pos x="T2" y="T3"/>
                </a:cxn>
                <a:cxn ang="T8">
                  <a:pos x="T4" y="T5"/>
                </a:cxn>
              </a:cxnLst>
              <a:rect l="T9" t="T10" r="T11" b="T12"/>
              <a:pathLst>
                <a:path w="6" h="7">
                  <a:moveTo>
                    <a:pt x="0" y="0"/>
                  </a:moveTo>
                  <a:lnTo>
                    <a:pt x="6" y="7"/>
                  </a:lnTo>
                  <a:lnTo>
                    <a:pt x="0" y="0"/>
                  </a:lnTo>
                  <a:close/>
                </a:path>
              </a:pathLst>
            </a:custGeom>
            <a:grpFill/>
            <a:ln w="6350">
              <a:solidFill>
                <a:schemeClr val="tx2"/>
              </a:solidFill>
              <a:round/>
              <a:headEnd/>
              <a:tailEnd/>
            </a:ln>
          </p:spPr>
          <p:txBody>
            <a:bodyPr/>
            <a:lstStyle/>
            <a:p>
              <a:endParaRPr lang="en-US"/>
            </a:p>
          </p:txBody>
        </p:sp>
        <p:sp>
          <p:nvSpPr>
            <p:cNvPr id="284" name="Freeform 1272"/>
            <p:cNvSpPr>
              <a:spLocks/>
            </p:cNvSpPr>
            <p:nvPr/>
          </p:nvSpPr>
          <p:spPr bwMode="auto">
            <a:xfrm>
              <a:off x="2143911" y="4085785"/>
              <a:ext cx="3034" cy="6069"/>
            </a:xfrm>
            <a:custGeom>
              <a:avLst/>
              <a:gdLst>
                <a:gd name="T0" fmla="*/ 2147483647 w 6"/>
                <a:gd name="T1" fmla="*/ 0 h 12"/>
                <a:gd name="T2" fmla="*/ 2147483647 w 6"/>
                <a:gd name="T3" fmla="*/ 2147483647 h 12"/>
                <a:gd name="T4" fmla="*/ 2147483647 w 6"/>
                <a:gd name="T5" fmla="*/ 2147483647 h 12"/>
                <a:gd name="T6" fmla="*/ 0 w 6"/>
                <a:gd name="T7" fmla="*/ 2147483647 h 12"/>
                <a:gd name="T8" fmla="*/ 2147483647 w 6"/>
                <a:gd name="T9" fmla="*/ 0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4" y="0"/>
                  </a:moveTo>
                  <a:lnTo>
                    <a:pt x="6" y="7"/>
                  </a:lnTo>
                  <a:lnTo>
                    <a:pt x="3" y="12"/>
                  </a:lnTo>
                  <a:lnTo>
                    <a:pt x="0" y="6"/>
                  </a:lnTo>
                  <a:lnTo>
                    <a:pt x="4" y="0"/>
                  </a:lnTo>
                  <a:close/>
                </a:path>
              </a:pathLst>
            </a:custGeom>
            <a:grpFill/>
            <a:ln w="6350">
              <a:solidFill>
                <a:schemeClr val="tx2"/>
              </a:solidFill>
              <a:round/>
              <a:headEnd/>
              <a:tailEnd/>
            </a:ln>
          </p:spPr>
          <p:txBody>
            <a:bodyPr/>
            <a:lstStyle/>
            <a:p>
              <a:endParaRPr lang="en-US"/>
            </a:p>
          </p:txBody>
        </p:sp>
        <p:sp>
          <p:nvSpPr>
            <p:cNvPr id="285" name="Freeform 1273"/>
            <p:cNvSpPr>
              <a:spLocks/>
            </p:cNvSpPr>
            <p:nvPr/>
          </p:nvSpPr>
          <p:spPr bwMode="auto">
            <a:xfrm>
              <a:off x="1430868" y="3265028"/>
              <a:ext cx="9103" cy="9103"/>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grpFill/>
            <a:ln w="6350">
              <a:solidFill>
                <a:schemeClr val="tx2"/>
              </a:solidFill>
              <a:round/>
              <a:headEnd/>
              <a:tailEnd/>
            </a:ln>
          </p:spPr>
          <p:txBody>
            <a:bodyPr/>
            <a:lstStyle/>
            <a:p>
              <a:endParaRPr lang="en-US"/>
            </a:p>
          </p:txBody>
        </p:sp>
        <p:sp>
          <p:nvSpPr>
            <p:cNvPr id="286" name="Freeform 1274"/>
            <p:cNvSpPr>
              <a:spLocks/>
            </p:cNvSpPr>
            <p:nvPr/>
          </p:nvSpPr>
          <p:spPr bwMode="auto">
            <a:xfrm>
              <a:off x="1433902" y="3281716"/>
              <a:ext cx="15172" cy="16689"/>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grpFill/>
            <a:ln w="6350">
              <a:solidFill>
                <a:schemeClr val="tx2"/>
              </a:solidFill>
              <a:round/>
              <a:headEnd/>
              <a:tailEnd/>
            </a:ln>
          </p:spPr>
          <p:txBody>
            <a:bodyPr/>
            <a:lstStyle/>
            <a:p>
              <a:endParaRPr lang="en-US"/>
            </a:p>
          </p:txBody>
        </p:sp>
        <p:sp>
          <p:nvSpPr>
            <p:cNvPr id="287" name="Freeform 1275"/>
            <p:cNvSpPr>
              <a:spLocks/>
            </p:cNvSpPr>
            <p:nvPr/>
          </p:nvSpPr>
          <p:spPr bwMode="auto">
            <a:xfrm>
              <a:off x="1439971" y="3272613"/>
              <a:ext cx="18206" cy="25792"/>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grpFill/>
            <a:ln w="6350">
              <a:solidFill>
                <a:schemeClr val="tx2"/>
              </a:solidFill>
              <a:round/>
              <a:headEnd/>
              <a:tailEnd/>
            </a:ln>
          </p:spPr>
          <p:txBody>
            <a:bodyPr/>
            <a:lstStyle/>
            <a:p>
              <a:endParaRPr lang="en-US"/>
            </a:p>
          </p:txBody>
        </p:sp>
        <p:sp>
          <p:nvSpPr>
            <p:cNvPr id="288" name="Freeform 1276"/>
            <p:cNvSpPr>
              <a:spLocks/>
            </p:cNvSpPr>
            <p:nvPr/>
          </p:nvSpPr>
          <p:spPr bwMode="auto">
            <a:xfrm>
              <a:off x="1462727" y="3310542"/>
              <a:ext cx="4551" cy="10619"/>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grpFill/>
            <a:ln w="6350">
              <a:solidFill>
                <a:schemeClr val="tx2"/>
              </a:solidFill>
              <a:round/>
              <a:headEnd/>
              <a:tailEnd/>
            </a:ln>
          </p:spPr>
          <p:txBody>
            <a:bodyPr/>
            <a:lstStyle/>
            <a:p>
              <a:endParaRPr lang="en-US"/>
            </a:p>
          </p:txBody>
        </p:sp>
        <p:sp>
          <p:nvSpPr>
            <p:cNvPr id="289" name="Freeform 1277"/>
            <p:cNvSpPr>
              <a:spLocks/>
            </p:cNvSpPr>
            <p:nvPr/>
          </p:nvSpPr>
          <p:spPr bwMode="auto">
            <a:xfrm>
              <a:off x="1482450" y="3378810"/>
              <a:ext cx="106198" cy="83441"/>
            </a:xfrm>
            <a:custGeom>
              <a:avLst/>
              <a:gdLst>
                <a:gd name="T0" fmla="*/ 2147483647 w 216"/>
                <a:gd name="T1" fmla="*/ 2147483647 h 167"/>
                <a:gd name="T2" fmla="*/ 2147483647 w 216"/>
                <a:gd name="T3" fmla="*/ 2147483647 h 167"/>
                <a:gd name="T4" fmla="*/ 2147483647 w 216"/>
                <a:gd name="T5" fmla="*/ 2147483647 h 167"/>
                <a:gd name="T6" fmla="*/ 2147483647 w 216"/>
                <a:gd name="T7" fmla="*/ 2147483647 h 167"/>
                <a:gd name="T8" fmla="*/ 0 w 216"/>
                <a:gd name="T9" fmla="*/ 2147483647 h 167"/>
                <a:gd name="T10" fmla="*/ 2147483647 w 216"/>
                <a:gd name="T11" fmla="*/ 2147483647 h 167"/>
                <a:gd name="T12" fmla="*/ 2147483647 w 216"/>
                <a:gd name="T13" fmla="*/ 0 h 167"/>
                <a:gd name="T14" fmla="*/ 2147483647 w 216"/>
                <a:gd name="T15" fmla="*/ 2147483647 h 167"/>
                <a:gd name="T16" fmla="*/ 2147483647 w 216"/>
                <a:gd name="T17" fmla="*/ 2147483647 h 167"/>
                <a:gd name="T18" fmla="*/ 2147483647 w 216"/>
                <a:gd name="T19" fmla="*/ 2147483647 h 167"/>
                <a:gd name="T20" fmla="*/ 2147483647 w 216"/>
                <a:gd name="T21" fmla="*/ 2147483647 h 167"/>
                <a:gd name="T22" fmla="*/ 2147483647 w 216"/>
                <a:gd name="T23" fmla="*/ 2147483647 h 167"/>
                <a:gd name="T24" fmla="*/ 2147483647 w 216"/>
                <a:gd name="T25" fmla="*/ 2147483647 h 167"/>
                <a:gd name="T26" fmla="*/ 2147483647 w 216"/>
                <a:gd name="T27" fmla="*/ 2147483647 h 167"/>
                <a:gd name="T28" fmla="*/ 2147483647 w 216"/>
                <a:gd name="T29" fmla="*/ 2147483647 h 167"/>
                <a:gd name="T30" fmla="*/ 2147483647 w 216"/>
                <a:gd name="T31" fmla="*/ 2147483647 h 167"/>
                <a:gd name="T32" fmla="*/ 2147483647 w 216"/>
                <a:gd name="T33" fmla="*/ 2147483647 h 167"/>
                <a:gd name="T34" fmla="*/ 2147483647 w 216"/>
                <a:gd name="T35" fmla="*/ 2147483647 h 167"/>
                <a:gd name="T36" fmla="*/ 2147483647 w 216"/>
                <a:gd name="T37" fmla="*/ 2147483647 h 167"/>
                <a:gd name="T38" fmla="*/ 2147483647 w 216"/>
                <a:gd name="T39" fmla="*/ 2147483647 h 167"/>
                <a:gd name="T40" fmla="*/ 2147483647 w 216"/>
                <a:gd name="T41" fmla="*/ 2147483647 h 167"/>
                <a:gd name="T42" fmla="*/ 2147483647 w 216"/>
                <a:gd name="T43" fmla="*/ 2147483647 h 167"/>
                <a:gd name="T44" fmla="*/ 2147483647 w 216"/>
                <a:gd name="T45" fmla="*/ 2147483647 h 167"/>
                <a:gd name="T46" fmla="*/ 2147483647 w 216"/>
                <a:gd name="T47" fmla="*/ 2147483647 h 167"/>
                <a:gd name="T48" fmla="*/ 2147483647 w 216"/>
                <a:gd name="T49" fmla="*/ 2147483647 h 167"/>
                <a:gd name="T50" fmla="*/ 2147483647 w 216"/>
                <a:gd name="T51" fmla="*/ 2147483647 h 167"/>
                <a:gd name="T52" fmla="*/ 2147483647 w 216"/>
                <a:gd name="T53" fmla="*/ 2147483647 h 167"/>
                <a:gd name="T54" fmla="*/ 2147483647 w 216"/>
                <a:gd name="T55" fmla="*/ 2147483647 h 167"/>
                <a:gd name="T56" fmla="*/ 2147483647 w 216"/>
                <a:gd name="T57" fmla="*/ 2147483647 h 167"/>
                <a:gd name="T58" fmla="*/ 2147483647 w 216"/>
                <a:gd name="T59" fmla="*/ 2147483647 h 167"/>
                <a:gd name="T60" fmla="*/ 2147483647 w 216"/>
                <a:gd name="T61" fmla="*/ 2147483647 h 167"/>
                <a:gd name="T62" fmla="*/ 2147483647 w 216"/>
                <a:gd name="T63" fmla="*/ 2147483647 h 167"/>
                <a:gd name="T64" fmla="*/ 2147483647 w 216"/>
                <a:gd name="T65" fmla="*/ 2147483647 h 167"/>
                <a:gd name="T66" fmla="*/ 2147483647 w 216"/>
                <a:gd name="T67" fmla="*/ 2147483647 h 167"/>
                <a:gd name="T68" fmla="*/ 2147483647 w 216"/>
                <a:gd name="T69" fmla="*/ 2147483647 h 167"/>
                <a:gd name="T70" fmla="*/ 2147483647 w 216"/>
                <a:gd name="T71" fmla="*/ 2147483647 h 167"/>
                <a:gd name="T72" fmla="*/ 2147483647 w 216"/>
                <a:gd name="T73" fmla="*/ 2147483647 h 167"/>
                <a:gd name="T74" fmla="*/ 2147483647 w 216"/>
                <a:gd name="T75" fmla="*/ 2147483647 h 167"/>
                <a:gd name="T76" fmla="*/ 2147483647 w 216"/>
                <a:gd name="T77" fmla="*/ 2147483647 h 167"/>
                <a:gd name="T78" fmla="*/ 2147483647 w 216"/>
                <a:gd name="T79" fmla="*/ 2147483647 h 167"/>
                <a:gd name="T80" fmla="*/ 2147483647 w 216"/>
                <a:gd name="T81" fmla="*/ 2147483647 h 1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
                <a:gd name="T124" fmla="*/ 0 h 167"/>
                <a:gd name="T125" fmla="*/ 216 w 216"/>
                <a:gd name="T126" fmla="*/ 167 h 1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 h="167">
                  <a:moveTo>
                    <a:pt x="36" y="31"/>
                  </a:moveTo>
                  <a:lnTo>
                    <a:pt x="36" y="16"/>
                  </a:lnTo>
                  <a:lnTo>
                    <a:pt x="15" y="10"/>
                  </a:lnTo>
                  <a:lnTo>
                    <a:pt x="10" y="20"/>
                  </a:lnTo>
                  <a:lnTo>
                    <a:pt x="0" y="13"/>
                  </a:lnTo>
                  <a:lnTo>
                    <a:pt x="1" y="4"/>
                  </a:lnTo>
                  <a:lnTo>
                    <a:pt x="14" y="0"/>
                  </a:lnTo>
                  <a:lnTo>
                    <a:pt x="116" y="35"/>
                  </a:lnTo>
                  <a:lnTo>
                    <a:pt x="148" y="76"/>
                  </a:lnTo>
                  <a:lnTo>
                    <a:pt x="152" y="89"/>
                  </a:lnTo>
                  <a:lnTo>
                    <a:pt x="195" y="117"/>
                  </a:lnTo>
                  <a:lnTo>
                    <a:pt x="207" y="148"/>
                  </a:lnTo>
                  <a:lnTo>
                    <a:pt x="211" y="147"/>
                  </a:lnTo>
                  <a:lnTo>
                    <a:pt x="216" y="157"/>
                  </a:lnTo>
                  <a:lnTo>
                    <a:pt x="201" y="167"/>
                  </a:lnTo>
                  <a:lnTo>
                    <a:pt x="154" y="148"/>
                  </a:lnTo>
                  <a:lnTo>
                    <a:pt x="159" y="136"/>
                  </a:lnTo>
                  <a:lnTo>
                    <a:pt x="150" y="144"/>
                  </a:lnTo>
                  <a:lnTo>
                    <a:pt x="141" y="134"/>
                  </a:lnTo>
                  <a:lnTo>
                    <a:pt x="149" y="123"/>
                  </a:lnTo>
                  <a:lnTo>
                    <a:pt x="120" y="125"/>
                  </a:lnTo>
                  <a:lnTo>
                    <a:pt x="112" y="119"/>
                  </a:lnTo>
                  <a:lnTo>
                    <a:pt x="123" y="118"/>
                  </a:lnTo>
                  <a:lnTo>
                    <a:pt x="112" y="105"/>
                  </a:lnTo>
                  <a:lnTo>
                    <a:pt x="82" y="96"/>
                  </a:lnTo>
                  <a:lnTo>
                    <a:pt x="79" y="87"/>
                  </a:lnTo>
                  <a:lnTo>
                    <a:pt x="101" y="81"/>
                  </a:lnTo>
                  <a:lnTo>
                    <a:pt x="86" y="79"/>
                  </a:lnTo>
                  <a:lnTo>
                    <a:pt x="83" y="72"/>
                  </a:lnTo>
                  <a:lnTo>
                    <a:pt x="78" y="76"/>
                  </a:lnTo>
                  <a:lnTo>
                    <a:pt x="62" y="61"/>
                  </a:lnTo>
                  <a:lnTo>
                    <a:pt x="56" y="66"/>
                  </a:lnTo>
                  <a:lnTo>
                    <a:pt x="51" y="61"/>
                  </a:lnTo>
                  <a:lnTo>
                    <a:pt x="54" y="49"/>
                  </a:lnTo>
                  <a:lnTo>
                    <a:pt x="46" y="46"/>
                  </a:lnTo>
                  <a:lnTo>
                    <a:pt x="44" y="54"/>
                  </a:lnTo>
                  <a:lnTo>
                    <a:pt x="38" y="45"/>
                  </a:lnTo>
                  <a:lnTo>
                    <a:pt x="23" y="49"/>
                  </a:lnTo>
                  <a:lnTo>
                    <a:pt x="24" y="36"/>
                  </a:lnTo>
                  <a:lnTo>
                    <a:pt x="19" y="28"/>
                  </a:lnTo>
                  <a:lnTo>
                    <a:pt x="36" y="31"/>
                  </a:lnTo>
                  <a:close/>
                </a:path>
              </a:pathLst>
            </a:custGeom>
            <a:grpFill/>
            <a:ln w="6350">
              <a:solidFill>
                <a:schemeClr val="tx2"/>
              </a:solidFill>
              <a:round/>
              <a:headEnd/>
              <a:tailEnd/>
            </a:ln>
          </p:spPr>
          <p:txBody>
            <a:bodyPr/>
            <a:lstStyle/>
            <a:p>
              <a:endParaRPr lang="en-US"/>
            </a:p>
          </p:txBody>
        </p:sp>
        <p:sp>
          <p:nvSpPr>
            <p:cNvPr id="290" name="Freeform 1278"/>
            <p:cNvSpPr>
              <a:spLocks/>
            </p:cNvSpPr>
            <p:nvPr/>
          </p:nvSpPr>
          <p:spPr bwMode="auto">
            <a:xfrm>
              <a:off x="749683" y="2699144"/>
              <a:ext cx="10620" cy="12137"/>
            </a:xfrm>
            <a:custGeom>
              <a:avLst/>
              <a:gdLst>
                <a:gd name="T0" fmla="*/ 2147483647 w 22"/>
                <a:gd name="T1" fmla="*/ 2147483647 h 24"/>
                <a:gd name="T2" fmla="*/ 2147483647 w 22"/>
                <a:gd name="T3" fmla="*/ 0 h 24"/>
                <a:gd name="T4" fmla="*/ 2147483647 w 22"/>
                <a:gd name="T5" fmla="*/ 2147483647 h 24"/>
                <a:gd name="T6" fmla="*/ 2147483647 w 22"/>
                <a:gd name="T7" fmla="*/ 2147483647 h 24"/>
                <a:gd name="T8" fmla="*/ 0 w 22"/>
                <a:gd name="T9" fmla="*/ 2147483647 h 24"/>
                <a:gd name="T10" fmla="*/ 2147483647 w 22"/>
                <a:gd name="T11" fmla="*/ 2147483647 h 24"/>
                <a:gd name="T12" fmla="*/ 0 60000 65536"/>
                <a:gd name="T13" fmla="*/ 0 60000 65536"/>
                <a:gd name="T14" fmla="*/ 0 60000 65536"/>
                <a:gd name="T15" fmla="*/ 0 60000 65536"/>
                <a:gd name="T16" fmla="*/ 0 60000 65536"/>
                <a:gd name="T17" fmla="*/ 0 60000 65536"/>
                <a:gd name="T18" fmla="*/ 0 w 22"/>
                <a:gd name="T19" fmla="*/ 0 h 24"/>
                <a:gd name="T20" fmla="*/ 22 w 2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2" h="24">
                  <a:moveTo>
                    <a:pt x="2" y="3"/>
                  </a:moveTo>
                  <a:lnTo>
                    <a:pt x="11" y="0"/>
                  </a:lnTo>
                  <a:lnTo>
                    <a:pt x="22" y="23"/>
                  </a:lnTo>
                  <a:lnTo>
                    <a:pt x="8" y="24"/>
                  </a:lnTo>
                  <a:lnTo>
                    <a:pt x="0" y="10"/>
                  </a:lnTo>
                  <a:lnTo>
                    <a:pt x="2" y="3"/>
                  </a:lnTo>
                  <a:close/>
                </a:path>
              </a:pathLst>
            </a:custGeom>
            <a:grpFill/>
            <a:ln w="6350">
              <a:solidFill>
                <a:schemeClr val="tx2"/>
              </a:solidFill>
              <a:round/>
              <a:headEnd/>
              <a:tailEnd/>
            </a:ln>
          </p:spPr>
          <p:txBody>
            <a:bodyPr/>
            <a:lstStyle/>
            <a:p>
              <a:endParaRPr lang="en-US"/>
            </a:p>
          </p:txBody>
        </p:sp>
        <p:sp>
          <p:nvSpPr>
            <p:cNvPr id="291" name="Freeform 1279"/>
            <p:cNvSpPr>
              <a:spLocks/>
            </p:cNvSpPr>
            <p:nvPr/>
          </p:nvSpPr>
          <p:spPr bwMode="auto">
            <a:xfrm>
              <a:off x="547907" y="2862992"/>
              <a:ext cx="66753" cy="34894"/>
            </a:xfrm>
            <a:custGeom>
              <a:avLst/>
              <a:gdLst>
                <a:gd name="T0" fmla="*/ 2147483647 w 135"/>
                <a:gd name="T1" fmla="*/ 2147483647 h 71"/>
                <a:gd name="T2" fmla="*/ 2147483647 w 135"/>
                <a:gd name="T3" fmla="*/ 2147483647 h 71"/>
                <a:gd name="T4" fmla="*/ 2147483647 w 135"/>
                <a:gd name="T5" fmla="*/ 2147483647 h 71"/>
                <a:gd name="T6" fmla="*/ 0 w 135"/>
                <a:gd name="T7" fmla="*/ 2147483647 h 71"/>
                <a:gd name="T8" fmla="*/ 2147483647 w 135"/>
                <a:gd name="T9" fmla="*/ 0 h 71"/>
                <a:gd name="T10" fmla="*/ 2147483647 w 135"/>
                <a:gd name="T11" fmla="*/ 2147483647 h 71"/>
                <a:gd name="T12" fmla="*/ 2147483647 w 135"/>
                <a:gd name="T13" fmla="*/ 2147483647 h 71"/>
                <a:gd name="T14" fmla="*/ 2147483647 w 135"/>
                <a:gd name="T15" fmla="*/ 2147483647 h 71"/>
                <a:gd name="T16" fmla="*/ 2147483647 w 135"/>
                <a:gd name="T17" fmla="*/ 2147483647 h 71"/>
                <a:gd name="T18" fmla="*/ 2147483647 w 135"/>
                <a:gd name="T19" fmla="*/ 2147483647 h 71"/>
                <a:gd name="T20" fmla="*/ 2147483647 w 135"/>
                <a:gd name="T21" fmla="*/ 2147483647 h 71"/>
                <a:gd name="T22" fmla="*/ 2147483647 w 135"/>
                <a:gd name="T23" fmla="*/ 2147483647 h 71"/>
                <a:gd name="T24" fmla="*/ 2147483647 w 135"/>
                <a:gd name="T25" fmla="*/ 2147483647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5"/>
                <a:gd name="T40" fmla="*/ 0 h 71"/>
                <a:gd name="T41" fmla="*/ 135 w 135"/>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5" h="71">
                  <a:moveTo>
                    <a:pt x="91" y="71"/>
                  </a:moveTo>
                  <a:lnTo>
                    <a:pt x="48" y="40"/>
                  </a:lnTo>
                  <a:lnTo>
                    <a:pt x="12" y="42"/>
                  </a:lnTo>
                  <a:lnTo>
                    <a:pt x="0" y="26"/>
                  </a:lnTo>
                  <a:lnTo>
                    <a:pt x="4" y="0"/>
                  </a:lnTo>
                  <a:lnTo>
                    <a:pt x="40" y="18"/>
                  </a:lnTo>
                  <a:lnTo>
                    <a:pt x="69" y="10"/>
                  </a:lnTo>
                  <a:lnTo>
                    <a:pt x="102" y="41"/>
                  </a:lnTo>
                  <a:lnTo>
                    <a:pt x="135" y="45"/>
                  </a:lnTo>
                  <a:lnTo>
                    <a:pt x="133" y="58"/>
                  </a:lnTo>
                  <a:lnTo>
                    <a:pt x="110" y="57"/>
                  </a:lnTo>
                  <a:lnTo>
                    <a:pt x="102" y="70"/>
                  </a:lnTo>
                  <a:lnTo>
                    <a:pt x="91" y="71"/>
                  </a:lnTo>
                  <a:close/>
                </a:path>
              </a:pathLst>
            </a:custGeom>
            <a:grpFill/>
            <a:ln w="6350">
              <a:solidFill>
                <a:schemeClr val="tx2"/>
              </a:solidFill>
              <a:round/>
              <a:headEnd/>
              <a:tailEnd/>
            </a:ln>
          </p:spPr>
          <p:txBody>
            <a:bodyPr/>
            <a:lstStyle/>
            <a:p>
              <a:endParaRPr lang="en-US"/>
            </a:p>
          </p:txBody>
        </p:sp>
        <p:sp>
          <p:nvSpPr>
            <p:cNvPr id="292" name="Freeform 1280"/>
            <p:cNvSpPr>
              <a:spLocks/>
            </p:cNvSpPr>
            <p:nvPr/>
          </p:nvSpPr>
          <p:spPr bwMode="auto">
            <a:xfrm>
              <a:off x="1324671" y="3136072"/>
              <a:ext cx="21239" cy="50065"/>
            </a:xfrm>
            <a:custGeom>
              <a:avLst/>
              <a:gdLst>
                <a:gd name="T0" fmla="*/ 2147483647 w 41"/>
                <a:gd name="T1" fmla="*/ 2147483647 h 103"/>
                <a:gd name="T2" fmla="*/ 2147483647 w 41"/>
                <a:gd name="T3" fmla="*/ 2147483647 h 103"/>
                <a:gd name="T4" fmla="*/ 2147483647 w 41"/>
                <a:gd name="T5" fmla="*/ 2147483647 h 103"/>
                <a:gd name="T6" fmla="*/ 2147483647 w 41"/>
                <a:gd name="T7" fmla="*/ 2147483647 h 103"/>
                <a:gd name="T8" fmla="*/ 2147483647 w 41"/>
                <a:gd name="T9" fmla="*/ 2147483647 h 103"/>
                <a:gd name="T10" fmla="*/ 2147483647 w 41"/>
                <a:gd name="T11" fmla="*/ 2147483647 h 103"/>
                <a:gd name="T12" fmla="*/ 2147483647 w 41"/>
                <a:gd name="T13" fmla="*/ 2147483647 h 103"/>
                <a:gd name="T14" fmla="*/ 2147483647 w 41"/>
                <a:gd name="T15" fmla="*/ 2147483647 h 103"/>
                <a:gd name="T16" fmla="*/ 2147483647 w 41"/>
                <a:gd name="T17" fmla="*/ 2147483647 h 103"/>
                <a:gd name="T18" fmla="*/ 0 w 41"/>
                <a:gd name="T19" fmla="*/ 2147483647 h 103"/>
                <a:gd name="T20" fmla="*/ 2147483647 w 41"/>
                <a:gd name="T21" fmla="*/ 0 h 103"/>
                <a:gd name="T22" fmla="*/ 2147483647 w 41"/>
                <a:gd name="T23" fmla="*/ 2147483647 h 10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103"/>
                <a:gd name="T38" fmla="*/ 41 w 41"/>
                <a:gd name="T39" fmla="*/ 103 h 10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103">
                  <a:moveTo>
                    <a:pt x="31" y="20"/>
                  </a:moveTo>
                  <a:lnTo>
                    <a:pt x="41" y="74"/>
                  </a:lnTo>
                  <a:lnTo>
                    <a:pt x="38" y="103"/>
                  </a:lnTo>
                  <a:lnTo>
                    <a:pt x="34" y="103"/>
                  </a:lnTo>
                  <a:lnTo>
                    <a:pt x="26" y="75"/>
                  </a:lnTo>
                  <a:lnTo>
                    <a:pt x="32" y="54"/>
                  </a:lnTo>
                  <a:lnTo>
                    <a:pt x="24" y="65"/>
                  </a:lnTo>
                  <a:lnTo>
                    <a:pt x="12" y="50"/>
                  </a:lnTo>
                  <a:lnTo>
                    <a:pt x="17" y="35"/>
                  </a:lnTo>
                  <a:lnTo>
                    <a:pt x="0" y="14"/>
                  </a:lnTo>
                  <a:lnTo>
                    <a:pt x="7" y="0"/>
                  </a:lnTo>
                  <a:lnTo>
                    <a:pt x="31" y="20"/>
                  </a:lnTo>
                  <a:close/>
                </a:path>
              </a:pathLst>
            </a:custGeom>
            <a:grpFill/>
            <a:ln w="6350">
              <a:solidFill>
                <a:schemeClr val="tx2"/>
              </a:solidFill>
              <a:round/>
              <a:headEnd/>
              <a:tailEnd/>
            </a:ln>
          </p:spPr>
          <p:txBody>
            <a:bodyPr/>
            <a:lstStyle/>
            <a:p>
              <a:endParaRPr lang="en-US"/>
            </a:p>
          </p:txBody>
        </p:sp>
        <p:sp>
          <p:nvSpPr>
            <p:cNvPr id="293" name="Freeform 1281"/>
            <p:cNvSpPr>
              <a:spLocks/>
            </p:cNvSpPr>
            <p:nvPr/>
          </p:nvSpPr>
          <p:spPr bwMode="auto">
            <a:xfrm>
              <a:off x="1342875" y="3108765"/>
              <a:ext cx="19722" cy="45514"/>
            </a:xfrm>
            <a:custGeom>
              <a:avLst/>
              <a:gdLst>
                <a:gd name="T0" fmla="*/ 2147483647 w 42"/>
                <a:gd name="T1" fmla="*/ 2147483647 h 88"/>
                <a:gd name="T2" fmla="*/ 0 w 42"/>
                <a:gd name="T3" fmla="*/ 2147483647 h 88"/>
                <a:gd name="T4" fmla="*/ 2147483647 w 42"/>
                <a:gd name="T5" fmla="*/ 2147483647 h 88"/>
                <a:gd name="T6" fmla="*/ 2147483647 w 42"/>
                <a:gd name="T7" fmla="*/ 0 h 88"/>
                <a:gd name="T8" fmla="*/ 2147483647 w 42"/>
                <a:gd name="T9" fmla="*/ 2147483647 h 88"/>
                <a:gd name="T10" fmla="*/ 2147483647 w 42"/>
                <a:gd name="T11" fmla="*/ 2147483647 h 88"/>
                <a:gd name="T12" fmla="*/ 2147483647 w 42"/>
                <a:gd name="T13" fmla="*/ 2147483647 h 88"/>
                <a:gd name="T14" fmla="*/ 2147483647 w 42"/>
                <a:gd name="T15" fmla="*/ 2147483647 h 88"/>
                <a:gd name="T16" fmla="*/ 2147483647 w 42"/>
                <a:gd name="T17" fmla="*/ 2147483647 h 88"/>
                <a:gd name="T18" fmla="*/ 2147483647 w 42"/>
                <a:gd name="T19" fmla="*/ 2147483647 h 88"/>
                <a:gd name="T20" fmla="*/ 2147483647 w 42"/>
                <a:gd name="T21" fmla="*/ 2147483647 h 88"/>
                <a:gd name="T22" fmla="*/ 2147483647 w 42"/>
                <a:gd name="T23" fmla="*/ 2147483647 h 88"/>
                <a:gd name="T24" fmla="*/ 2147483647 w 42"/>
                <a:gd name="T25" fmla="*/ 2147483647 h 88"/>
                <a:gd name="T26" fmla="*/ 2147483647 w 42"/>
                <a:gd name="T27" fmla="*/ 2147483647 h 88"/>
                <a:gd name="T28" fmla="*/ 2147483647 w 42"/>
                <a:gd name="T29" fmla="*/ 2147483647 h 88"/>
                <a:gd name="T30" fmla="*/ 2147483647 w 42"/>
                <a:gd name="T31" fmla="*/ 2147483647 h 88"/>
                <a:gd name="T32" fmla="*/ 2147483647 w 42"/>
                <a:gd name="T33" fmla="*/ 2147483647 h 88"/>
                <a:gd name="T34" fmla="*/ 2147483647 w 42"/>
                <a:gd name="T35" fmla="*/ 2147483647 h 88"/>
                <a:gd name="T36" fmla="*/ 2147483647 w 42"/>
                <a:gd name="T37" fmla="*/ 2147483647 h 88"/>
                <a:gd name="T38" fmla="*/ 2147483647 w 42"/>
                <a:gd name="T39" fmla="*/ 2147483647 h 88"/>
                <a:gd name="T40" fmla="*/ 2147483647 w 42"/>
                <a:gd name="T41" fmla="*/ 2147483647 h 88"/>
                <a:gd name="T42" fmla="*/ 2147483647 w 42"/>
                <a:gd name="T43" fmla="*/ 2147483647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88"/>
                <a:gd name="T68" fmla="*/ 42 w 42"/>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88">
                  <a:moveTo>
                    <a:pt x="8" y="46"/>
                  </a:moveTo>
                  <a:lnTo>
                    <a:pt x="0" y="10"/>
                  </a:lnTo>
                  <a:lnTo>
                    <a:pt x="3" y="1"/>
                  </a:lnTo>
                  <a:lnTo>
                    <a:pt x="17" y="0"/>
                  </a:lnTo>
                  <a:lnTo>
                    <a:pt x="23" y="2"/>
                  </a:lnTo>
                  <a:lnTo>
                    <a:pt x="36" y="23"/>
                  </a:lnTo>
                  <a:lnTo>
                    <a:pt x="42" y="48"/>
                  </a:lnTo>
                  <a:lnTo>
                    <a:pt x="22" y="9"/>
                  </a:lnTo>
                  <a:lnTo>
                    <a:pt x="22" y="26"/>
                  </a:lnTo>
                  <a:lnTo>
                    <a:pt x="38" y="53"/>
                  </a:lnTo>
                  <a:lnTo>
                    <a:pt x="31" y="56"/>
                  </a:lnTo>
                  <a:lnTo>
                    <a:pt x="37" y="66"/>
                  </a:lnTo>
                  <a:lnTo>
                    <a:pt x="27" y="63"/>
                  </a:lnTo>
                  <a:lnTo>
                    <a:pt x="26" y="77"/>
                  </a:lnTo>
                  <a:lnTo>
                    <a:pt x="22" y="72"/>
                  </a:lnTo>
                  <a:lnTo>
                    <a:pt x="11" y="88"/>
                  </a:lnTo>
                  <a:lnTo>
                    <a:pt x="7" y="84"/>
                  </a:lnTo>
                  <a:lnTo>
                    <a:pt x="9" y="66"/>
                  </a:lnTo>
                  <a:lnTo>
                    <a:pt x="18" y="62"/>
                  </a:lnTo>
                  <a:lnTo>
                    <a:pt x="11" y="55"/>
                  </a:lnTo>
                  <a:lnTo>
                    <a:pt x="19" y="48"/>
                  </a:lnTo>
                  <a:lnTo>
                    <a:pt x="8" y="46"/>
                  </a:lnTo>
                  <a:close/>
                </a:path>
              </a:pathLst>
            </a:custGeom>
            <a:grpFill/>
            <a:ln w="6350">
              <a:solidFill>
                <a:schemeClr val="tx2"/>
              </a:solidFill>
              <a:round/>
              <a:headEnd/>
              <a:tailEnd/>
            </a:ln>
          </p:spPr>
          <p:txBody>
            <a:bodyPr/>
            <a:lstStyle/>
            <a:p>
              <a:endParaRPr lang="en-US"/>
            </a:p>
          </p:txBody>
        </p:sp>
        <p:sp>
          <p:nvSpPr>
            <p:cNvPr id="294" name="Freeform 1282"/>
            <p:cNvSpPr>
              <a:spLocks/>
            </p:cNvSpPr>
            <p:nvPr/>
          </p:nvSpPr>
          <p:spPr bwMode="auto">
            <a:xfrm>
              <a:off x="1350460" y="3160347"/>
              <a:ext cx="15172" cy="28826"/>
            </a:xfrm>
            <a:custGeom>
              <a:avLst/>
              <a:gdLst>
                <a:gd name="T0" fmla="*/ 2147483647 w 27"/>
                <a:gd name="T1" fmla="*/ 2147483647 h 62"/>
                <a:gd name="T2" fmla="*/ 0 w 27"/>
                <a:gd name="T3" fmla="*/ 2147483647 h 62"/>
                <a:gd name="T4" fmla="*/ 2147483647 w 27"/>
                <a:gd name="T5" fmla="*/ 2147483647 h 62"/>
                <a:gd name="T6" fmla="*/ 2147483647 w 27"/>
                <a:gd name="T7" fmla="*/ 0 h 62"/>
                <a:gd name="T8" fmla="*/ 2147483647 w 27"/>
                <a:gd name="T9" fmla="*/ 2147483647 h 62"/>
                <a:gd name="T10" fmla="*/ 2147483647 w 27"/>
                <a:gd name="T11" fmla="*/ 2147483647 h 62"/>
                <a:gd name="T12" fmla="*/ 2147483647 w 27"/>
                <a:gd name="T13" fmla="*/ 2147483647 h 62"/>
                <a:gd name="T14" fmla="*/ 2147483647 w 27"/>
                <a:gd name="T15" fmla="*/ 2147483647 h 62"/>
                <a:gd name="T16" fmla="*/ 2147483647 w 27"/>
                <a:gd name="T17" fmla="*/ 2147483647 h 62"/>
                <a:gd name="T18" fmla="*/ 2147483647 w 27"/>
                <a:gd name="T19" fmla="*/ 2147483647 h 62"/>
                <a:gd name="T20" fmla="*/ 2147483647 w 27"/>
                <a:gd name="T21" fmla="*/ 2147483647 h 62"/>
                <a:gd name="T22" fmla="*/ 2147483647 w 27"/>
                <a:gd name="T23" fmla="*/ 2147483647 h 62"/>
                <a:gd name="T24" fmla="*/ 2147483647 w 27"/>
                <a:gd name="T25" fmla="*/ 2147483647 h 62"/>
                <a:gd name="T26" fmla="*/ 2147483647 w 27"/>
                <a:gd name="T27" fmla="*/ 2147483647 h 62"/>
                <a:gd name="T28" fmla="*/ 2147483647 w 27"/>
                <a:gd name="T29" fmla="*/ 2147483647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62"/>
                <a:gd name="T47" fmla="*/ 27 w 27"/>
                <a:gd name="T48" fmla="*/ 62 h 6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62">
                  <a:moveTo>
                    <a:pt x="10" y="22"/>
                  </a:moveTo>
                  <a:lnTo>
                    <a:pt x="0" y="14"/>
                  </a:lnTo>
                  <a:lnTo>
                    <a:pt x="1" y="4"/>
                  </a:lnTo>
                  <a:lnTo>
                    <a:pt x="9" y="0"/>
                  </a:lnTo>
                  <a:lnTo>
                    <a:pt x="18" y="11"/>
                  </a:lnTo>
                  <a:lnTo>
                    <a:pt x="25" y="9"/>
                  </a:lnTo>
                  <a:lnTo>
                    <a:pt x="27" y="22"/>
                  </a:lnTo>
                  <a:lnTo>
                    <a:pt x="19" y="22"/>
                  </a:lnTo>
                  <a:lnTo>
                    <a:pt x="20" y="62"/>
                  </a:lnTo>
                  <a:lnTo>
                    <a:pt x="17" y="51"/>
                  </a:lnTo>
                  <a:lnTo>
                    <a:pt x="9" y="50"/>
                  </a:lnTo>
                  <a:lnTo>
                    <a:pt x="7" y="37"/>
                  </a:lnTo>
                  <a:lnTo>
                    <a:pt x="17" y="30"/>
                  </a:lnTo>
                  <a:lnTo>
                    <a:pt x="7" y="25"/>
                  </a:lnTo>
                  <a:lnTo>
                    <a:pt x="10" y="22"/>
                  </a:lnTo>
                  <a:close/>
                </a:path>
              </a:pathLst>
            </a:custGeom>
            <a:grpFill/>
            <a:ln w="6350">
              <a:solidFill>
                <a:schemeClr val="tx2"/>
              </a:solidFill>
              <a:round/>
              <a:headEnd/>
              <a:tailEnd/>
            </a:ln>
          </p:spPr>
          <p:txBody>
            <a:bodyPr/>
            <a:lstStyle/>
            <a:p>
              <a:endParaRPr lang="en-US"/>
            </a:p>
          </p:txBody>
        </p:sp>
        <p:sp>
          <p:nvSpPr>
            <p:cNvPr id="295" name="Freeform 1283"/>
            <p:cNvSpPr>
              <a:spLocks/>
            </p:cNvSpPr>
            <p:nvPr/>
          </p:nvSpPr>
          <p:spPr bwMode="auto">
            <a:xfrm>
              <a:off x="1359563" y="3152761"/>
              <a:ext cx="21239" cy="24273"/>
            </a:xfrm>
            <a:custGeom>
              <a:avLst/>
              <a:gdLst>
                <a:gd name="T0" fmla="*/ 0 w 42"/>
                <a:gd name="T1" fmla="*/ 2147483647 h 51"/>
                <a:gd name="T2" fmla="*/ 2147483647 w 42"/>
                <a:gd name="T3" fmla="*/ 0 h 51"/>
                <a:gd name="T4" fmla="*/ 2147483647 w 42"/>
                <a:gd name="T5" fmla="*/ 2147483647 h 51"/>
                <a:gd name="T6" fmla="*/ 2147483647 w 42"/>
                <a:gd name="T7" fmla="*/ 2147483647 h 51"/>
                <a:gd name="T8" fmla="*/ 2147483647 w 42"/>
                <a:gd name="T9" fmla="*/ 2147483647 h 51"/>
                <a:gd name="T10" fmla="*/ 2147483647 w 42"/>
                <a:gd name="T11" fmla="*/ 2147483647 h 51"/>
                <a:gd name="T12" fmla="*/ 2147483647 w 42"/>
                <a:gd name="T13" fmla="*/ 2147483647 h 51"/>
                <a:gd name="T14" fmla="*/ 2147483647 w 42"/>
                <a:gd name="T15" fmla="*/ 2147483647 h 51"/>
                <a:gd name="T16" fmla="*/ 2147483647 w 42"/>
                <a:gd name="T17" fmla="*/ 2147483647 h 51"/>
                <a:gd name="T18" fmla="*/ 0 w 42"/>
                <a:gd name="T19" fmla="*/ 2147483647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51"/>
                <a:gd name="T32" fmla="*/ 42 w 42"/>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51">
                  <a:moveTo>
                    <a:pt x="0" y="4"/>
                  </a:moveTo>
                  <a:lnTo>
                    <a:pt x="3" y="0"/>
                  </a:lnTo>
                  <a:lnTo>
                    <a:pt x="38" y="9"/>
                  </a:lnTo>
                  <a:lnTo>
                    <a:pt x="42" y="36"/>
                  </a:lnTo>
                  <a:lnTo>
                    <a:pt x="28" y="21"/>
                  </a:lnTo>
                  <a:lnTo>
                    <a:pt x="36" y="49"/>
                  </a:lnTo>
                  <a:lnTo>
                    <a:pt x="19" y="51"/>
                  </a:lnTo>
                  <a:lnTo>
                    <a:pt x="13" y="18"/>
                  </a:lnTo>
                  <a:lnTo>
                    <a:pt x="6" y="16"/>
                  </a:lnTo>
                  <a:lnTo>
                    <a:pt x="0" y="4"/>
                  </a:lnTo>
                  <a:close/>
                </a:path>
              </a:pathLst>
            </a:custGeom>
            <a:grpFill/>
            <a:ln w="6350">
              <a:solidFill>
                <a:schemeClr val="tx2"/>
              </a:solidFill>
              <a:round/>
              <a:headEnd/>
              <a:tailEnd/>
            </a:ln>
          </p:spPr>
          <p:txBody>
            <a:bodyPr/>
            <a:lstStyle/>
            <a:p>
              <a:endParaRPr lang="en-US"/>
            </a:p>
          </p:txBody>
        </p:sp>
        <p:sp>
          <p:nvSpPr>
            <p:cNvPr id="296" name="Freeform 1284"/>
            <p:cNvSpPr>
              <a:spLocks/>
            </p:cNvSpPr>
            <p:nvPr/>
          </p:nvSpPr>
          <p:spPr bwMode="auto">
            <a:xfrm>
              <a:off x="1382320" y="3163381"/>
              <a:ext cx="6069" cy="10620"/>
            </a:xfrm>
            <a:custGeom>
              <a:avLst/>
              <a:gdLst>
                <a:gd name="T0" fmla="*/ 2147483647 w 12"/>
                <a:gd name="T1" fmla="*/ 2147483647 h 20"/>
                <a:gd name="T2" fmla="*/ 2147483647 w 12"/>
                <a:gd name="T3" fmla="*/ 2147483647 h 20"/>
                <a:gd name="T4" fmla="*/ 2147483647 w 12"/>
                <a:gd name="T5" fmla="*/ 2147483647 h 20"/>
                <a:gd name="T6" fmla="*/ 0 w 12"/>
                <a:gd name="T7" fmla="*/ 0 h 20"/>
                <a:gd name="T8" fmla="*/ 2147483647 w 12"/>
                <a:gd name="T9" fmla="*/ 2147483647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3" y="2"/>
                  </a:moveTo>
                  <a:lnTo>
                    <a:pt x="12" y="20"/>
                  </a:lnTo>
                  <a:lnTo>
                    <a:pt x="1" y="19"/>
                  </a:lnTo>
                  <a:lnTo>
                    <a:pt x="0" y="0"/>
                  </a:lnTo>
                  <a:lnTo>
                    <a:pt x="3" y="2"/>
                  </a:lnTo>
                  <a:close/>
                </a:path>
              </a:pathLst>
            </a:custGeom>
            <a:grpFill/>
            <a:ln w="6350">
              <a:solidFill>
                <a:schemeClr val="tx2"/>
              </a:solidFill>
              <a:round/>
              <a:headEnd/>
              <a:tailEnd/>
            </a:ln>
          </p:spPr>
          <p:txBody>
            <a:bodyPr/>
            <a:lstStyle/>
            <a:p>
              <a:endParaRPr lang="en-US"/>
            </a:p>
          </p:txBody>
        </p:sp>
        <p:sp>
          <p:nvSpPr>
            <p:cNvPr id="297" name="Freeform 1285"/>
            <p:cNvSpPr>
              <a:spLocks/>
            </p:cNvSpPr>
            <p:nvPr/>
          </p:nvSpPr>
          <p:spPr bwMode="auto">
            <a:xfrm>
              <a:off x="1379286" y="3178551"/>
              <a:ext cx="9103" cy="4551"/>
            </a:xfrm>
            <a:custGeom>
              <a:avLst/>
              <a:gdLst>
                <a:gd name="T0" fmla="*/ 2147483647 w 15"/>
                <a:gd name="T1" fmla="*/ 0 h 11"/>
                <a:gd name="T2" fmla="*/ 2147483647 w 15"/>
                <a:gd name="T3" fmla="*/ 2147483647 h 11"/>
                <a:gd name="T4" fmla="*/ 2147483647 w 15"/>
                <a:gd name="T5" fmla="*/ 2147483647 h 11"/>
                <a:gd name="T6" fmla="*/ 0 w 15"/>
                <a:gd name="T7" fmla="*/ 2147483647 h 11"/>
                <a:gd name="T8" fmla="*/ 2147483647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13" y="0"/>
                  </a:moveTo>
                  <a:lnTo>
                    <a:pt x="15" y="9"/>
                  </a:lnTo>
                  <a:lnTo>
                    <a:pt x="12" y="11"/>
                  </a:lnTo>
                  <a:lnTo>
                    <a:pt x="0" y="3"/>
                  </a:lnTo>
                  <a:lnTo>
                    <a:pt x="13" y="0"/>
                  </a:lnTo>
                  <a:close/>
                </a:path>
              </a:pathLst>
            </a:custGeom>
            <a:grpFill/>
            <a:ln w="6350">
              <a:solidFill>
                <a:schemeClr val="tx2"/>
              </a:solidFill>
              <a:round/>
              <a:headEnd/>
              <a:tailEnd/>
            </a:ln>
          </p:spPr>
          <p:txBody>
            <a:bodyPr/>
            <a:lstStyle/>
            <a:p>
              <a:endParaRPr lang="en-US"/>
            </a:p>
          </p:txBody>
        </p:sp>
        <p:sp>
          <p:nvSpPr>
            <p:cNvPr id="298" name="Freeform 1287"/>
            <p:cNvSpPr>
              <a:spLocks/>
            </p:cNvSpPr>
            <p:nvPr/>
          </p:nvSpPr>
          <p:spPr bwMode="auto">
            <a:xfrm>
              <a:off x="1364114" y="3180070"/>
              <a:ext cx="39445" cy="63718"/>
            </a:xfrm>
            <a:custGeom>
              <a:avLst/>
              <a:gdLst>
                <a:gd name="T0" fmla="*/ 2147483647 w 76"/>
                <a:gd name="T1" fmla="*/ 2147483647 h 125"/>
                <a:gd name="T2" fmla="*/ 2147483647 w 76"/>
                <a:gd name="T3" fmla="*/ 2147483647 h 125"/>
                <a:gd name="T4" fmla="*/ 2147483647 w 76"/>
                <a:gd name="T5" fmla="*/ 2147483647 h 125"/>
                <a:gd name="T6" fmla="*/ 2147483647 w 76"/>
                <a:gd name="T7" fmla="*/ 2147483647 h 125"/>
                <a:gd name="T8" fmla="*/ 2147483647 w 76"/>
                <a:gd name="T9" fmla="*/ 2147483647 h 125"/>
                <a:gd name="T10" fmla="*/ 2147483647 w 76"/>
                <a:gd name="T11" fmla="*/ 2147483647 h 125"/>
                <a:gd name="T12" fmla="*/ 2147483647 w 76"/>
                <a:gd name="T13" fmla="*/ 2147483647 h 125"/>
                <a:gd name="T14" fmla="*/ 2147483647 w 76"/>
                <a:gd name="T15" fmla="*/ 2147483647 h 125"/>
                <a:gd name="T16" fmla="*/ 2147483647 w 76"/>
                <a:gd name="T17" fmla="*/ 2147483647 h 125"/>
                <a:gd name="T18" fmla="*/ 2147483647 w 76"/>
                <a:gd name="T19" fmla="*/ 2147483647 h 125"/>
                <a:gd name="T20" fmla="*/ 2147483647 w 76"/>
                <a:gd name="T21" fmla="*/ 2147483647 h 125"/>
                <a:gd name="T22" fmla="*/ 2147483647 w 76"/>
                <a:gd name="T23" fmla="*/ 2147483647 h 125"/>
                <a:gd name="T24" fmla="*/ 2147483647 w 76"/>
                <a:gd name="T25" fmla="*/ 2147483647 h 125"/>
                <a:gd name="T26" fmla="*/ 2147483647 w 76"/>
                <a:gd name="T27" fmla="*/ 2147483647 h 125"/>
                <a:gd name="T28" fmla="*/ 2147483647 w 76"/>
                <a:gd name="T29" fmla="*/ 2147483647 h 125"/>
                <a:gd name="T30" fmla="*/ 2147483647 w 76"/>
                <a:gd name="T31" fmla="*/ 2147483647 h 125"/>
                <a:gd name="T32" fmla="*/ 2147483647 w 76"/>
                <a:gd name="T33" fmla="*/ 2147483647 h 125"/>
                <a:gd name="T34" fmla="*/ 2147483647 w 76"/>
                <a:gd name="T35" fmla="*/ 2147483647 h 125"/>
                <a:gd name="T36" fmla="*/ 2147483647 w 76"/>
                <a:gd name="T37" fmla="*/ 2147483647 h 125"/>
                <a:gd name="T38" fmla="*/ 2147483647 w 76"/>
                <a:gd name="T39" fmla="*/ 2147483647 h 125"/>
                <a:gd name="T40" fmla="*/ 2147483647 w 76"/>
                <a:gd name="T41" fmla="*/ 2147483647 h 125"/>
                <a:gd name="T42" fmla="*/ 0 w 76"/>
                <a:gd name="T43" fmla="*/ 2147483647 h 125"/>
                <a:gd name="T44" fmla="*/ 2147483647 w 76"/>
                <a:gd name="T45" fmla="*/ 2147483647 h 125"/>
                <a:gd name="T46" fmla="*/ 2147483647 w 76"/>
                <a:gd name="T47" fmla="*/ 0 h 125"/>
                <a:gd name="T48" fmla="*/ 2147483647 w 76"/>
                <a:gd name="T49" fmla="*/ 2147483647 h 125"/>
                <a:gd name="T50" fmla="*/ 2147483647 w 76"/>
                <a:gd name="T51" fmla="*/ 2147483647 h 125"/>
                <a:gd name="T52" fmla="*/ 2147483647 w 76"/>
                <a:gd name="T53" fmla="*/ 2147483647 h 125"/>
                <a:gd name="T54" fmla="*/ 2147483647 w 76"/>
                <a:gd name="T55" fmla="*/ 2147483647 h 1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6"/>
                <a:gd name="T85" fmla="*/ 0 h 125"/>
                <a:gd name="T86" fmla="*/ 76 w 76"/>
                <a:gd name="T87" fmla="*/ 125 h 1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6" h="125">
                  <a:moveTo>
                    <a:pt x="42" y="26"/>
                  </a:moveTo>
                  <a:lnTo>
                    <a:pt x="56" y="45"/>
                  </a:lnTo>
                  <a:lnTo>
                    <a:pt x="53" y="53"/>
                  </a:lnTo>
                  <a:lnTo>
                    <a:pt x="68" y="69"/>
                  </a:lnTo>
                  <a:lnTo>
                    <a:pt x="54" y="59"/>
                  </a:lnTo>
                  <a:lnTo>
                    <a:pt x="59" y="74"/>
                  </a:lnTo>
                  <a:lnTo>
                    <a:pt x="76" y="88"/>
                  </a:lnTo>
                  <a:lnTo>
                    <a:pt x="70" y="105"/>
                  </a:lnTo>
                  <a:lnTo>
                    <a:pt x="76" y="105"/>
                  </a:lnTo>
                  <a:lnTo>
                    <a:pt x="75" y="124"/>
                  </a:lnTo>
                  <a:lnTo>
                    <a:pt x="65" y="125"/>
                  </a:lnTo>
                  <a:lnTo>
                    <a:pt x="61" y="103"/>
                  </a:lnTo>
                  <a:lnTo>
                    <a:pt x="55" y="104"/>
                  </a:lnTo>
                  <a:lnTo>
                    <a:pt x="48" y="89"/>
                  </a:lnTo>
                  <a:lnTo>
                    <a:pt x="24" y="77"/>
                  </a:lnTo>
                  <a:lnTo>
                    <a:pt x="34" y="74"/>
                  </a:lnTo>
                  <a:lnTo>
                    <a:pt x="32" y="64"/>
                  </a:lnTo>
                  <a:lnTo>
                    <a:pt x="35" y="61"/>
                  </a:lnTo>
                  <a:lnTo>
                    <a:pt x="17" y="54"/>
                  </a:lnTo>
                  <a:lnTo>
                    <a:pt x="23" y="42"/>
                  </a:lnTo>
                  <a:lnTo>
                    <a:pt x="23" y="17"/>
                  </a:lnTo>
                  <a:lnTo>
                    <a:pt x="0" y="32"/>
                  </a:lnTo>
                  <a:lnTo>
                    <a:pt x="11" y="11"/>
                  </a:lnTo>
                  <a:lnTo>
                    <a:pt x="6" y="0"/>
                  </a:lnTo>
                  <a:lnTo>
                    <a:pt x="24" y="2"/>
                  </a:lnTo>
                  <a:lnTo>
                    <a:pt x="30" y="7"/>
                  </a:lnTo>
                  <a:lnTo>
                    <a:pt x="29" y="22"/>
                  </a:lnTo>
                  <a:lnTo>
                    <a:pt x="42" y="26"/>
                  </a:lnTo>
                  <a:close/>
                </a:path>
              </a:pathLst>
            </a:custGeom>
            <a:grpFill/>
            <a:ln w="6350">
              <a:solidFill>
                <a:schemeClr val="tx2"/>
              </a:solidFill>
              <a:round/>
              <a:headEnd/>
              <a:tailEnd/>
            </a:ln>
          </p:spPr>
          <p:txBody>
            <a:bodyPr/>
            <a:lstStyle/>
            <a:p>
              <a:endParaRPr lang="en-US"/>
            </a:p>
          </p:txBody>
        </p:sp>
        <p:sp>
          <p:nvSpPr>
            <p:cNvPr id="299" name="Freeform 1288"/>
            <p:cNvSpPr>
              <a:spLocks/>
            </p:cNvSpPr>
            <p:nvPr/>
          </p:nvSpPr>
          <p:spPr bwMode="auto">
            <a:xfrm>
              <a:off x="1406595" y="3196757"/>
              <a:ext cx="18206" cy="30342"/>
            </a:xfrm>
            <a:custGeom>
              <a:avLst/>
              <a:gdLst>
                <a:gd name="T0" fmla="*/ 2147483647 w 37"/>
                <a:gd name="T1" fmla="*/ 2147483647 h 58"/>
                <a:gd name="T2" fmla="*/ 2147483647 w 37"/>
                <a:gd name="T3" fmla="*/ 2147483647 h 58"/>
                <a:gd name="T4" fmla="*/ 2147483647 w 37"/>
                <a:gd name="T5" fmla="*/ 2147483647 h 58"/>
                <a:gd name="T6" fmla="*/ 2147483647 w 37"/>
                <a:gd name="T7" fmla="*/ 2147483647 h 58"/>
                <a:gd name="T8" fmla="*/ 2147483647 w 37"/>
                <a:gd name="T9" fmla="*/ 2147483647 h 58"/>
                <a:gd name="T10" fmla="*/ 2147483647 w 37"/>
                <a:gd name="T11" fmla="*/ 2147483647 h 58"/>
                <a:gd name="T12" fmla="*/ 2147483647 w 37"/>
                <a:gd name="T13" fmla="*/ 0 h 58"/>
                <a:gd name="T14" fmla="*/ 2147483647 w 37"/>
                <a:gd name="T15" fmla="*/ 2147483647 h 58"/>
                <a:gd name="T16" fmla="*/ 2147483647 w 37"/>
                <a:gd name="T17" fmla="*/ 2147483647 h 58"/>
                <a:gd name="T18" fmla="*/ 0 w 37"/>
                <a:gd name="T19" fmla="*/ 2147483647 h 58"/>
                <a:gd name="T20" fmla="*/ 2147483647 w 37"/>
                <a:gd name="T21" fmla="*/ 2147483647 h 58"/>
                <a:gd name="T22" fmla="*/ 2147483647 w 37"/>
                <a:gd name="T23" fmla="*/ 2147483647 h 58"/>
                <a:gd name="T24" fmla="*/ 2147483647 w 37"/>
                <a:gd name="T25" fmla="*/ 2147483647 h 58"/>
                <a:gd name="T26" fmla="*/ 2147483647 w 37"/>
                <a:gd name="T27" fmla="*/ 2147483647 h 58"/>
                <a:gd name="T28" fmla="*/ 2147483647 w 37"/>
                <a:gd name="T29" fmla="*/ 2147483647 h 58"/>
                <a:gd name="T30" fmla="*/ 2147483647 w 37"/>
                <a:gd name="T31" fmla="*/ 2147483647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58"/>
                <a:gd name="T50" fmla="*/ 37 w 37"/>
                <a:gd name="T51" fmla="*/ 58 h 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58">
                  <a:moveTo>
                    <a:pt x="16" y="48"/>
                  </a:moveTo>
                  <a:lnTo>
                    <a:pt x="21" y="42"/>
                  </a:lnTo>
                  <a:lnTo>
                    <a:pt x="25" y="55"/>
                  </a:lnTo>
                  <a:lnTo>
                    <a:pt x="37" y="58"/>
                  </a:lnTo>
                  <a:lnTo>
                    <a:pt x="33" y="42"/>
                  </a:lnTo>
                  <a:lnTo>
                    <a:pt x="35" y="25"/>
                  </a:lnTo>
                  <a:lnTo>
                    <a:pt x="25" y="0"/>
                  </a:lnTo>
                  <a:lnTo>
                    <a:pt x="5" y="9"/>
                  </a:lnTo>
                  <a:lnTo>
                    <a:pt x="8" y="16"/>
                  </a:lnTo>
                  <a:lnTo>
                    <a:pt x="0" y="37"/>
                  </a:lnTo>
                  <a:lnTo>
                    <a:pt x="8" y="46"/>
                  </a:lnTo>
                  <a:lnTo>
                    <a:pt x="11" y="33"/>
                  </a:lnTo>
                  <a:lnTo>
                    <a:pt x="17" y="37"/>
                  </a:lnTo>
                  <a:lnTo>
                    <a:pt x="18" y="24"/>
                  </a:lnTo>
                  <a:lnTo>
                    <a:pt x="20" y="37"/>
                  </a:lnTo>
                  <a:lnTo>
                    <a:pt x="16" y="48"/>
                  </a:lnTo>
                  <a:close/>
                </a:path>
              </a:pathLst>
            </a:custGeom>
            <a:grpFill/>
            <a:ln w="6350">
              <a:solidFill>
                <a:schemeClr val="tx2"/>
              </a:solidFill>
              <a:round/>
              <a:headEnd/>
              <a:tailEnd/>
            </a:ln>
          </p:spPr>
          <p:txBody>
            <a:bodyPr/>
            <a:lstStyle/>
            <a:p>
              <a:endParaRPr lang="en-US"/>
            </a:p>
          </p:txBody>
        </p:sp>
        <p:sp>
          <p:nvSpPr>
            <p:cNvPr id="300" name="Freeform 1289"/>
            <p:cNvSpPr>
              <a:spLocks/>
            </p:cNvSpPr>
            <p:nvPr/>
          </p:nvSpPr>
          <p:spPr bwMode="auto">
            <a:xfrm>
              <a:off x="1376252" y="3224065"/>
              <a:ext cx="9103" cy="18206"/>
            </a:xfrm>
            <a:custGeom>
              <a:avLst/>
              <a:gdLst>
                <a:gd name="T0" fmla="*/ 2147483647 w 19"/>
                <a:gd name="T1" fmla="*/ 2147483647 h 37"/>
                <a:gd name="T2" fmla="*/ 2147483647 w 19"/>
                <a:gd name="T3" fmla="*/ 2147483647 h 37"/>
                <a:gd name="T4" fmla="*/ 2147483647 w 19"/>
                <a:gd name="T5" fmla="*/ 2147483647 h 37"/>
                <a:gd name="T6" fmla="*/ 2147483647 w 19"/>
                <a:gd name="T7" fmla="*/ 2147483647 h 37"/>
                <a:gd name="T8" fmla="*/ 0 w 19"/>
                <a:gd name="T9" fmla="*/ 0 h 37"/>
                <a:gd name="T10" fmla="*/ 2147483647 w 19"/>
                <a:gd name="T11" fmla="*/ 2147483647 h 37"/>
                <a:gd name="T12" fmla="*/ 0 60000 65536"/>
                <a:gd name="T13" fmla="*/ 0 60000 65536"/>
                <a:gd name="T14" fmla="*/ 0 60000 65536"/>
                <a:gd name="T15" fmla="*/ 0 60000 65536"/>
                <a:gd name="T16" fmla="*/ 0 60000 65536"/>
                <a:gd name="T17" fmla="*/ 0 60000 65536"/>
                <a:gd name="T18" fmla="*/ 0 w 19"/>
                <a:gd name="T19" fmla="*/ 0 h 37"/>
                <a:gd name="T20" fmla="*/ 19 w 19"/>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9" h="37">
                  <a:moveTo>
                    <a:pt x="8" y="17"/>
                  </a:moveTo>
                  <a:lnTo>
                    <a:pt x="19" y="37"/>
                  </a:lnTo>
                  <a:lnTo>
                    <a:pt x="11" y="35"/>
                  </a:lnTo>
                  <a:lnTo>
                    <a:pt x="1" y="18"/>
                  </a:lnTo>
                  <a:lnTo>
                    <a:pt x="0" y="0"/>
                  </a:lnTo>
                  <a:lnTo>
                    <a:pt x="8" y="17"/>
                  </a:lnTo>
                  <a:close/>
                </a:path>
              </a:pathLst>
            </a:custGeom>
            <a:grpFill/>
            <a:ln w="6350">
              <a:solidFill>
                <a:schemeClr val="tx2"/>
              </a:solidFill>
              <a:round/>
              <a:headEnd/>
              <a:tailEnd/>
            </a:ln>
          </p:spPr>
          <p:txBody>
            <a:bodyPr/>
            <a:lstStyle/>
            <a:p>
              <a:endParaRPr lang="en-US"/>
            </a:p>
          </p:txBody>
        </p:sp>
        <p:sp>
          <p:nvSpPr>
            <p:cNvPr id="301" name="Freeform 1290"/>
            <p:cNvSpPr>
              <a:spLocks/>
            </p:cNvSpPr>
            <p:nvPr/>
          </p:nvSpPr>
          <p:spPr bwMode="auto">
            <a:xfrm>
              <a:off x="1411145" y="3221031"/>
              <a:ext cx="4551" cy="10620"/>
            </a:xfrm>
            <a:custGeom>
              <a:avLst/>
              <a:gdLst>
                <a:gd name="T0" fmla="*/ 0 w 10"/>
                <a:gd name="T1" fmla="*/ 0 h 19"/>
                <a:gd name="T2" fmla="*/ 2147483647 w 10"/>
                <a:gd name="T3" fmla="*/ 2147483647 h 19"/>
                <a:gd name="T4" fmla="*/ 2147483647 w 10"/>
                <a:gd name="T5" fmla="*/ 2147483647 h 19"/>
                <a:gd name="T6" fmla="*/ 0 w 10"/>
                <a:gd name="T7" fmla="*/ 0 h 19"/>
                <a:gd name="T8" fmla="*/ 0 60000 65536"/>
                <a:gd name="T9" fmla="*/ 0 60000 65536"/>
                <a:gd name="T10" fmla="*/ 0 60000 65536"/>
                <a:gd name="T11" fmla="*/ 0 60000 65536"/>
                <a:gd name="T12" fmla="*/ 0 w 10"/>
                <a:gd name="T13" fmla="*/ 0 h 19"/>
                <a:gd name="T14" fmla="*/ 10 w 10"/>
                <a:gd name="T15" fmla="*/ 19 h 19"/>
              </a:gdLst>
              <a:ahLst/>
              <a:cxnLst>
                <a:cxn ang="T8">
                  <a:pos x="T0" y="T1"/>
                </a:cxn>
                <a:cxn ang="T9">
                  <a:pos x="T2" y="T3"/>
                </a:cxn>
                <a:cxn ang="T10">
                  <a:pos x="T4" y="T5"/>
                </a:cxn>
                <a:cxn ang="T11">
                  <a:pos x="T6" y="T7"/>
                </a:cxn>
              </a:cxnLst>
              <a:rect l="T12" t="T13" r="T14" b="T15"/>
              <a:pathLst>
                <a:path w="10" h="19">
                  <a:moveTo>
                    <a:pt x="0" y="0"/>
                  </a:moveTo>
                  <a:lnTo>
                    <a:pt x="10" y="19"/>
                  </a:lnTo>
                  <a:lnTo>
                    <a:pt x="2" y="12"/>
                  </a:lnTo>
                  <a:lnTo>
                    <a:pt x="0" y="0"/>
                  </a:lnTo>
                  <a:close/>
                </a:path>
              </a:pathLst>
            </a:custGeom>
            <a:grpFill/>
            <a:ln w="6350">
              <a:solidFill>
                <a:schemeClr val="tx2"/>
              </a:solidFill>
              <a:round/>
              <a:headEnd/>
              <a:tailEnd/>
            </a:ln>
          </p:spPr>
          <p:txBody>
            <a:bodyPr/>
            <a:lstStyle/>
            <a:p>
              <a:endParaRPr lang="en-US"/>
            </a:p>
          </p:txBody>
        </p:sp>
        <p:sp>
          <p:nvSpPr>
            <p:cNvPr id="302" name="Freeform 1291"/>
            <p:cNvSpPr>
              <a:spLocks/>
            </p:cNvSpPr>
            <p:nvPr/>
          </p:nvSpPr>
          <p:spPr bwMode="auto">
            <a:xfrm>
              <a:off x="1379286" y="3261994"/>
              <a:ext cx="30342" cy="37928"/>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0 w 60"/>
                <a:gd name="T23" fmla="*/ 2147483647 h 74"/>
                <a:gd name="T24" fmla="*/ 2147483647 w 60"/>
                <a:gd name="T25" fmla="*/ 0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4"/>
                <a:gd name="T62" fmla="*/ 60 w 60"/>
                <a:gd name="T63" fmla="*/ 74 h 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4">
                  <a:moveTo>
                    <a:pt x="46" y="9"/>
                  </a:moveTo>
                  <a:lnTo>
                    <a:pt x="56" y="2"/>
                  </a:lnTo>
                  <a:lnTo>
                    <a:pt x="60" y="13"/>
                  </a:lnTo>
                  <a:lnTo>
                    <a:pt x="51" y="58"/>
                  </a:lnTo>
                  <a:lnTo>
                    <a:pt x="46" y="69"/>
                  </a:lnTo>
                  <a:lnTo>
                    <a:pt x="37" y="64"/>
                  </a:lnTo>
                  <a:lnTo>
                    <a:pt x="32" y="74"/>
                  </a:lnTo>
                  <a:lnTo>
                    <a:pt x="25" y="57"/>
                  </a:lnTo>
                  <a:lnTo>
                    <a:pt x="31" y="56"/>
                  </a:lnTo>
                  <a:lnTo>
                    <a:pt x="30" y="50"/>
                  </a:lnTo>
                  <a:lnTo>
                    <a:pt x="11" y="41"/>
                  </a:lnTo>
                  <a:lnTo>
                    <a:pt x="0" y="16"/>
                  </a:lnTo>
                  <a:lnTo>
                    <a:pt x="1" y="0"/>
                  </a:lnTo>
                  <a:lnTo>
                    <a:pt x="21" y="2"/>
                  </a:lnTo>
                  <a:lnTo>
                    <a:pt x="19" y="16"/>
                  </a:lnTo>
                  <a:lnTo>
                    <a:pt x="33" y="3"/>
                  </a:lnTo>
                  <a:lnTo>
                    <a:pt x="38" y="25"/>
                  </a:lnTo>
                  <a:lnTo>
                    <a:pt x="20" y="36"/>
                  </a:lnTo>
                  <a:lnTo>
                    <a:pt x="33" y="41"/>
                  </a:lnTo>
                  <a:lnTo>
                    <a:pt x="46" y="9"/>
                  </a:lnTo>
                  <a:close/>
                </a:path>
              </a:pathLst>
            </a:custGeom>
            <a:grpFill/>
            <a:ln w="6350">
              <a:solidFill>
                <a:schemeClr val="tx2"/>
              </a:solidFill>
              <a:round/>
              <a:headEnd/>
              <a:tailEnd/>
            </a:ln>
          </p:spPr>
          <p:txBody>
            <a:bodyPr/>
            <a:lstStyle/>
            <a:p>
              <a:endParaRPr lang="en-US"/>
            </a:p>
          </p:txBody>
        </p:sp>
        <p:sp>
          <p:nvSpPr>
            <p:cNvPr id="303" name="Freeform 1292"/>
            <p:cNvSpPr>
              <a:spLocks/>
            </p:cNvSpPr>
            <p:nvPr/>
          </p:nvSpPr>
          <p:spPr bwMode="auto">
            <a:xfrm>
              <a:off x="1394457" y="3295370"/>
              <a:ext cx="24273" cy="39445"/>
            </a:xfrm>
            <a:custGeom>
              <a:avLst/>
              <a:gdLst>
                <a:gd name="T0" fmla="*/ 2147483647 w 49"/>
                <a:gd name="T1" fmla="*/ 2147483647 h 78"/>
                <a:gd name="T2" fmla="*/ 2147483647 w 49"/>
                <a:gd name="T3" fmla="*/ 2147483647 h 78"/>
                <a:gd name="T4" fmla="*/ 2147483647 w 49"/>
                <a:gd name="T5" fmla="*/ 2147483647 h 78"/>
                <a:gd name="T6" fmla="*/ 2147483647 w 49"/>
                <a:gd name="T7" fmla="*/ 2147483647 h 78"/>
                <a:gd name="T8" fmla="*/ 2147483647 w 49"/>
                <a:gd name="T9" fmla="*/ 2147483647 h 78"/>
                <a:gd name="T10" fmla="*/ 0 w 49"/>
                <a:gd name="T11" fmla="*/ 2147483647 h 78"/>
                <a:gd name="T12" fmla="*/ 2147483647 w 49"/>
                <a:gd name="T13" fmla="*/ 0 h 78"/>
                <a:gd name="T14" fmla="*/ 2147483647 w 49"/>
                <a:gd name="T15" fmla="*/ 2147483647 h 78"/>
                <a:gd name="T16" fmla="*/ 2147483647 w 49"/>
                <a:gd name="T17" fmla="*/ 2147483647 h 78"/>
                <a:gd name="T18" fmla="*/ 2147483647 w 49"/>
                <a:gd name="T19" fmla="*/ 2147483647 h 78"/>
                <a:gd name="T20" fmla="*/ 2147483647 w 49"/>
                <a:gd name="T21" fmla="*/ 2147483647 h 78"/>
                <a:gd name="T22" fmla="*/ 2147483647 w 49"/>
                <a:gd name="T23" fmla="*/ 2147483647 h 78"/>
                <a:gd name="T24" fmla="*/ 2147483647 w 49"/>
                <a:gd name="T25" fmla="*/ 2147483647 h 78"/>
                <a:gd name="T26" fmla="*/ 2147483647 w 49"/>
                <a:gd name="T27" fmla="*/ 2147483647 h 78"/>
                <a:gd name="T28" fmla="*/ 2147483647 w 49"/>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78"/>
                <a:gd name="T47" fmla="*/ 49 w 49"/>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78">
                  <a:moveTo>
                    <a:pt x="11" y="38"/>
                  </a:moveTo>
                  <a:lnTo>
                    <a:pt x="11" y="22"/>
                  </a:lnTo>
                  <a:lnTo>
                    <a:pt x="7" y="27"/>
                  </a:lnTo>
                  <a:lnTo>
                    <a:pt x="4" y="25"/>
                  </a:lnTo>
                  <a:lnTo>
                    <a:pt x="8" y="15"/>
                  </a:lnTo>
                  <a:lnTo>
                    <a:pt x="0" y="13"/>
                  </a:lnTo>
                  <a:lnTo>
                    <a:pt x="24" y="0"/>
                  </a:lnTo>
                  <a:lnTo>
                    <a:pt x="30" y="11"/>
                  </a:lnTo>
                  <a:lnTo>
                    <a:pt x="20" y="14"/>
                  </a:lnTo>
                  <a:lnTo>
                    <a:pt x="31" y="23"/>
                  </a:lnTo>
                  <a:lnTo>
                    <a:pt x="21" y="27"/>
                  </a:lnTo>
                  <a:lnTo>
                    <a:pt x="20" y="40"/>
                  </a:lnTo>
                  <a:lnTo>
                    <a:pt x="39" y="56"/>
                  </a:lnTo>
                  <a:lnTo>
                    <a:pt x="49" y="78"/>
                  </a:lnTo>
                  <a:lnTo>
                    <a:pt x="11" y="38"/>
                  </a:lnTo>
                  <a:close/>
                </a:path>
              </a:pathLst>
            </a:custGeom>
            <a:grpFill/>
            <a:ln w="6350">
              <a:solidFill>
                <a:schemeClr val="tx2"/>
              </a:solidFill>
              <a:round/>
              <a:headEnd/>
              <a:tailEnd/>
            </a:ln>
          </p:spPr>
          <p:txBody>
            <a:bodyPr/>
            <a:lstStyle/>
            <a:p>
              <a:endParaRPr lang="en-US"/>
            </a:p>
          </p:txBody>
        </p:sp>
        <p:sp>
          <p:nvSpPr>
            <p:cNvPr id="304" name="Freeform 1293"/>
            <p:cNvSpPr>
              <a:spLocks/>
            </p:cNvSpPr>
            <p:nvPr/>
          </p:nvSpPr>
          <p:spPr bwMode="auto">
            <a:xfrm>
              <a:off x="1430868" y="3265028"/>
              <a:ext cx="9103" cy="9103"/>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grpFill/>
            <a:ln w="6350">
              <a:solidFill>
                <a:schemeClr val="tx2"/>
              </a:solidFill>
              <a:round/>
              <a:headEnd/>
              <a:tailEnd/>
            </a:ln>
          </p:spPr>
          <p:txBody>
            <a:bodyPr/>
            <a:lstStyle/>
            <a:p>
              <a:endParaRPr lang="en-US"/>
            </a:p>
          </p:txBody>
        </p:sp>
        <p:sp>
          <p:nvSpPr>
            <p:cNvPr id="305" name="Freeform 1294"/>
            <p:cNvSpPr>
              <a:spLocks/>
            </p:cNvSpPr>
            <p:nvPr/>
          </p:nvSpPr>
          <p:spPr bwMode="auto">
            <a:xfrm>
              <a:off x="1433902" y="3281716"/>
              <a:ext cx="15172" cy="16689"/>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grpFill/>
            <a:ln w="6350">
              <a:solidFill>
                <a:schemeClr val="tx2"/>
              </a:solidFill>
              <a:round/>
              <a:headEnd/>
              <a:tailEnd/>
            </a:ln>
          </p:spPr>
          <p:txBody>
            <a:bodyPr/>
            <a:lstStyle/>
            <a:p>
              <a:endParaRPr lang="en-US"/>
            </a:p>
          </p:txBody>
        </p:sp>
        <p:sp>
          <p:nvSpPr>
            <p:cNvPr id="306" name="Freeform 1295"/>
            <p:cNvSpPr>
              <a:spLocks/>
            </p:cNvSpPr>
            <p:nvPr/>
          </p:nvSpPr>
          <p:spPr bwMode="auto">
            <a:xfrm>
              <a:off x="1439971" y="3272613"/>
              <a:ext cx="18206" cy="25792"/>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grpFill/>
            <a:ln w="6350">
              <a:solidFill>
                <a:schemeClr val="tx2"/>
              </a:solidFill>
              <a:round/>
              <a:headEnd/>
              <a:tailEnd/>
            </a:ln>
          </p:spPr>
          <p:txBody>
            <a:bodyPr/>
            <a:lstStyle/>
            <a:p>
              <a:endParaRPr lang="en-US"/>
            </a:p>
          </p:txBody>
        </p:sp>
        <p:sp>
          <p:nvSpPr>
            <p:cNvPr id="307" name="Freeform 1296"/>
            <p:cNvSpPr>
              <a:spLocks/>
            </p:cNvSpPr>
            <p:nvPr/>
          </p:nvSpPr>
          <p:spPr bwMode="auto">
            <a:xfrm>
              <a:off x="1462727" y="3310542"/>
              <a:ext cx="4551" cy="10619"/>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grpFill/>
            <a:ln w="6350">
              <a:solidFill>
                <a:schemeClr val="tx2"/>
              </a:solidFill>
              <a:round/>
              <a:headEnd/>
              <a:tailEnd/>
            </a:ln>
          </p:spPr>
          <p:txBody>
            <a:bodyPr/>
            <a:lstStyle/>
            <a:p>
              <a:endParaRPr lang="en-US"/>
            </a:p>
          </p:txBody>
        </p:sp>
        <p:sp>
          <p:nvSpPr>
            <p:cNvPr id="308" name="Freeform 1297"/>
            <p:cNvSpPr>
              <a:spLocks/>
            </p:cNvSpPr>
            <p:nvPr/>
          </p:nvSpPr>
          <p:spPr bwMode="auto">
            <a:xfrm>
              <a:off x="484189" y="3327229"/>
              <a:ext cx="15172" cy="10620"/>
            </a:xfrm>
            <a:custGeom>
              <a:avLst/>
              <a:gdLst>
                <a:gd name="T0" fmla="*/ 2147483647 w 27"/>
                <a:gd name="T1" fmla="*/ 0 h 20"/>
                <a:gd name="T2" fmla="*/ 2147483647 w 27"/>
                <a:gd name="T3" fmla="*/ 0 h 20"/>
                <a:gd name="T4" fmla="*/ 2147483647 w 27"/>
                <a:gd name="T5" fmla="*/ 2147483647 h 20"/>
                <a:gd name="T6" fmla="*/ 2147483647 w 27"/>
                <a:gd name="T7" fmla="*/ 2147483647 h 20"/>
                <a:gd name="T8" fmla="*/ 0 w 27"/>
                <a:gd name="T9" fmla="*/ 2147483647 h 20"/>
                <a:gd name="T10" fmla="*/ 2147483647 w 27"/>
                <a:gd name="T11" fmla="*/ 2147483647 h 20"/>
                <a:gd name="T12" fmla="*/ 2147483647 w 27"/>
                <a:gd name="T13" fmla="*/ 0 h 20"/>
                <a:gd name="T14" fmla="*/ 0 60000 65536"/>
                <a:gd name="T15" fmla="*/ 0 60000 65536"/>
                <a:gd name="T16" fmla="*/ 0 60000 65536"/>
                <a:gd name="T17" fmla="*/ 0 60000 65536"/>
                <a:gd name="T18" fmla="*/ 0 60000 65536"/>
                <a:gd name="T19" fmla="*/ 0 60000 65536"/>
                <a:gd name="T20" fmla="*/ 0 60000 65536"/>
                <a:gd name="T21" fmla="*/ 0 w 27"/>
                <a:gd name="T22" fmla="*/ 0 h 20"/>
                <a:gd name="T23" fmla="*/ 27 w 27"/>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20">
                  <a:moveTo>
                    <a:pt x="16" y="0"/>
                  </a:moveTo>
                  <a:lnTo>
                    <a:pt x="25" y="0"/>
                  </a:lnTo>
                  <a:lnTo>
                    <a:pt x="27" y="8"/>
                  </a:lnTo>
                  <a:lnTo>
                    <a:pt x="17" y="20"/>
                  </a:lnTo>
                  <a:lnTo>
                    <a:pt x="0" y="20"/>
                  </a:lnTo>
                  <a:lnTo>
                    <a:pt x="15" y="9"/>
                  </a:lnTo>
                  <a:lnTo>
                    <a:pt x="16" y="0"/>
                  </a:lnTo>
                  <a:close/>
                </a:path>
              </a:pathLst>
            </a:custGeom>
            <a:grpFill/>
            <a:ln w="6350">
              <a:solidFill>
                <a:schemeClr val="tx2"/>
              </a:solidFill>
              <a:round/>
              <a:headEnd/>
              <a:tailEnd/>
            </a:ln>
          </p:spPr>
          <p:txBody>
            <a:bodyPr/>
            <a:lstStyle/>
            <a:p>
              <a:endParaRPr lang="en-US"/>
            </a:p>
          </p:txBody>
        </p:sp>
        <p:sp>
          <p:nvSpPr>
            <p:cNvPr id="309" name="Freeform 1298"/>
            <p:cNvSpPr>
              <a:spLocks/>
            </p:cNvSpPr>
            <p:nvPr/>
          </p:nvSpPr>
          <p:spPr bwMode="auto">
            <a:xfrm>
              <a:off x="499361" y="3336331"/>
              <a:ext cx="21239" cy="3034"/>
            </a:xfrm>
            <a:custGeom>
              <a:avLst/>
              <a:gdLst>
                <a:gd name="T0" fmla="*/ 0 w 39"/>
                <a:gd name="T1" fmla="*/ 0 h 7"/>
                <a:gd name="T2" fmla="*/ 2147483647 w 39"/>
                <a:gd name="T3" fmla="*/ 2147483647 h 7"/>
                <a:gd name="T4" fmla="*/ 2147483647 w 39"/>
                <a:gd name="T5" fmla="*/ 2147483647 h 7"/>
                <a:gd name="T6" fmla="*/ 0 w 39"/>
                <a:gd name="T7" fmla="*/ 0 h 7"/>
                <a:gd name="T8" fmla="*/ 0 60000 65536"/>
                <a:gd name="T9" fmla="*/ 0 60000 65536"/>
                <a:gd name="T10" fmla="*/ 0 60000 65536"/>
                <a:gd name="T11" fmla="*/ 0 60000 65536"/>
                <a:gd name="T12" fmla="*/ 0 w 39"/>
                <a:gd name="T13" fmla="*/ 0 h 7"/>
                <a:gd name="T14" fmla="*/ 39 w 39"/>
                <a:gd name="T15" fmla="*/ 7 h 7"/>
              </a:gdLst>
              <a:ahLst/>
              <a:cxnLst>
                <a:cxn ang="T8">
                  <a:pos x="T0" y="T1"/>
                </a:cxn>
                <a:cxn ang="T9">
                  <a:pos x="T2" y="T3"/>
                </a:cxn>
                <a:cxn ang="T10">
                  <a:pos x="T4" y="T5"/>
                </a:cxn>
                <a:cxn ang="T11">
                  <a:pos x="T6" y="T7"/>
                </a:cxn>
              </a:cxnLst>
              <a:rect l="T12" t="T13" r="T14" b="T15"/>
              <a:pathLst>
                <a:path w="39" h="7">
                  <a:moveTo>
                    <a:pt x="0" y="0"/>
                  </a:moveTo>
                  <a:lnTo>
                    <a:pt x="39" y="5"/>
                  </a:lnTo>
                  <a:lnTo>
                    <a:pt x="16" y="7"/>
                  </a:lnTo>
                  <a:lnTo>
                    <a:pt x="0" y="0"/>
                  </a:lnTo>
                  <a:close/>
                </a:path>
              </a:pathLst>
            </a:custGeom>
            <a:grpFill/>
            <a:ln w="6350">
              <a:solidFill>
                <a:schemeClr val="tx2"/>
              </a:solidFill>
              <a:round/>
              <a:headEnd/>
              <a:tailEnd/>
            </a:ln>
          </p:spPr>
          <p:txBody>
            <a:bodyPr/>
            <a:lstStyle/>
            <a:p>
              <a:endParaRPr lang="en-US"/>
            </a:p>
          </p:txBody>
        </p:sp>
        <p:sp>
          <p:nvSpPr>
            <p:cNvPr id="310" name="Freeform 1299"/>
            <p:cNvSpPr>
              <a:spLocks/>
            </p:cNvSpPr>
            <p:nvPr/>
          </p:nvSpPr>
          <p:spPr bwMode="auto">
            <a:xfrm>
              <a:off x="529703" y="3327229"/>
              <a:ext cx="6069" cy="4551"/>
            </a:xfrm>
            <a:custGeom>
              <a:avLst/>
              <a:gdLst>
                <a:gd name="T0" fmla="*/ 2147483647 w 12"/>
                <a:gd name="T1" fmla="*/ 0 h 9"/>
                <a:gd name="T2" fmla="*/ 2147483647 w 12"/>
                <a:gd name="T3" fmla="*/ 2147483647 h 9"/>
                <a:gd name="T4" fmla="*/ 0 w 12"/>
                <a:gd name="T5" fmla="*/ 2147483647 h 9"/>
                <a:gd name="T6" fmla="*/ 2147483647 w 12"/>
                <a:gd name="T7" fmla="*/ 0 h 9"/>
                <a:gd name="T8" fmla="*/ 0 60000 65536"/>
                <a:gd name="T9" fmla="*/ 0 60000 65536"/>
                <a:gd name="T10" fmla="*/ 0 60000 65536"/>
                <a:gd name="T11" fmla="*/ 0 60000 65536"/>
                <a:gd name="T12" fmla="*/ 0 w 12"/>
                <a:gd name="T13" fmla="*/ 0 h 9"/>
                <a:gd name="T14" fmla="*/ 12 w 12"/>
                <a:gd name="T15" fmla="*/ 9 h 9"/>
              </a:gdLst>
              <a:ahLst/>
              <a:cxnLst>
                <a:cxn ang="T8">
                  <a:pos x="T0" y="T1"/>
                </a:cxn>
                <a:cxn ang="T9">
                  <a:pos x="T2" y="T3"/>
                </a:cxn>
                <a:cxn ang="T10">
                  <a:pos x="T4" y="T5"/>
                </a:cxn>
                <a:cxn ang="T11">
                  <a:pos x="T6" y="T7"/>
                </a:cxn>
              </a:cxnLst>
              <a:rect l="T12" t="T13" r="T14" b="T15"/>
              <a:pathLst>
                <a:path w="12" h="9">
                  <a:moveTo>
                    <a:pt x="2" y="0"/>
                  </a:moveTo>
                  <a:lnTo>
                    <a:pt x="12" y="5"/>
                  </a:lnTo>
                  <a:lnTo>
                    <a:pt x="0" y="9"/>
                  </a:lnTo>
                  <a:lnTo>
                    <a:pt x="2" y="0"/>
                  </a:lnTo>
                  <a:close/>
                </a:path>
              </a:pathLst>
            </a:custGeom>
            <a:grpFill/>
            <a:ln w="6350">
              <a:solidFill>
                <a:schemeClr val="tx2"/>
              </a:solidFill>
              <a:round/>
              <a:headEnd/>
              <a:tailEnd/>
            </a:ln>
          </p:spPr>
          <p:txBody>
            <a:bodyPr/>
            <a:lstStyle/>
            <a:p>
              <a:endParaRPr lang="en-US"/>
            </a:p>
          </p:txBody>
        </p:sp>
        <p:sp>
          <p:nvSpPr>
            <p:cNvPr id="311" name="Freeform 1300"/>
            <p:cNvSpPr>
              <a:spLocks/>
            </p:cNvSpPr>
            <p:nvPr/>
          </p:nvSpPr>
          <p:spPr bwMode="auto">
            <a:xfrm>
              <a:off x="604041" y="3286267"/>
              <a:ext cx="27308" cy="27308"/>
            </a:xfrm>
            <a:custGeom>
              <a:avLst/>
              <a:gdLst>
                <a:gd name="T0" fmla="*/ 0 w 53"/>
                <a:gd name="T1" fmla="*/ 2147483647 h 53"/>
                <a:gd name="T2" fmla="*/ 2147483647 w 53"/>
                <a:gd name="T3" fmla="*/ 2147483647 h 53"/>
                <a:gd name="T4" fmla="*/ 2147483647 w 53"/>
                <a:gd name="T5" fmla="*/ 2147483647 h 53"/>
                <a:gd name="T6" fmla="*/ 2147483647 w 53"/>
                <a:gd name="T7" fmla="*/ 2147483647 h 53"/>
                <a:gd name="T8" fmla="*/ 2147483647 w 53"/>
                <a:gd name="T9" fmla="*/ 0 h 53"/>
                <a:gd name="T10" fmla="*/ 2147483647 w 53"/>
                <a:gd name="T11" fmla="*/ 2147483647 h 53"/>
                <a:gd name="T12" fmla="*/ 0 w 53"/>
                <a:gd name="T13" fmla="*/ 2147483647 h 53"/>
                <a:gd name="T14" fmla="*/ 0 60000 65536"/>
                <a:gd name="T15" fmla="*/ 0 60000 65536"/>
                <a:gd name="T16" fmla="*/ 0 60000 65536"/>
                <a:gd name="T17" fmla="*/ 0 60000 65536"/>
                <a:gd name="T18" fmla="*/ 0 60000 65536"/>
                <a:gd name="T19" fmla="*/ 0 60000 65536"/>
                <a:gd name="T20" fmla="*/ 0 60000 65536"/>
                <a:gd name="T21" fmla="*/ 0 w 53"/>
                <a:gd name="T22" fmla="*/ 0 h 53"/>
                <a:gd name="T23" fmla="*/ 53 w 53"/>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3">
                  <a:moveTo>
                    <a:pt x="0" y="53"/>
                  </a:moveTo>
                  <a:lnTo>
                    <a:pt x="18" y="18"/>
                  </a:lnTo>
                  <a:lnTo>
                    <a:pt x="32" y="14"/>
                  </a:lnTo>
                  <a:lnTo>
                    <a:pt x="34" y="4"/>
                  </a:lnTo>
                  <a:lnTo>
                    <a:pt x="53" y="0"/>
                  </a:lnTo>
                  <a:lnTo>
                    <a:pt x="52" y="11"/>
                  </a:lnTo>
                  <a:lnTo>
                    <a:pt x="0" y="53"/>
                  </a:lnTo>
                  <a:close/>
                </a:path>
              </a:pathLst>
            </a:custGeom>
            <a:grpFill/>
            <a:ln w="6350">
              <a:solidFill>
                <a:schemeClr val="tx2"/>
              </a:solidFill>
              <a:round/>
              <a:headEnd/>
              <a:tailEnd/>
            </a:ln>
          </p:spPr>
          <p:txBody>
            <a:bodyPr/>
            <a:lstStyle/>
            <a:p>
              <a:endParaRPr lang="en-US"/>
            </a:p>
          </p:txBody>
        </p:sp>
        <p:sp>
          <p:nvSpPr>
            <p:cNvPr id="312" name="Freeform 1301"/>
            <p:cNvSpPr>
              <a:spLocks/>
            </p:cNvSpPr>
            <p:nvPr/>
          </p:nvSpPr>
          <p:spPr bwMode="auto">
            <a:xfrm>
              <a:off x="632866" y="3268062"/>
              <a:ext cx="30342" cy="25791"/>
            </a:xfrm>
            <a:custGeom>
              <a:avLst/>
              <a:gdLst>
                <a:gd name="T0" fmla="*/ 2147483647 w 61"/>
                <a:gd name="T1" fmla="*/ 2147483647 h 52"/>
                <a:gd name="T2" fmla="*/ 0 w 61"/>
                <a:gd name="T3" fmla="*/ 2147483647 h 52"/>
                <a:gd name="T4" fmla="*/ 2147483647 w 61"/>
                <a:gd name="T5" fmla="*/ 2147483647 h 52"/>
                <a:gd name="T6" fmla="*/ 2147483647 w 61"/>
                <a:gd name="T7" fmla="*/ 2147483647 h 52"/>
                <a:gd name="T8" fmla="*/ 2147483647 w 61"/>
                <a:gd name="T9" fmla="*/ 2147483647 h 52"/>
                <a:gd name="T10" fmla="*/ 2147483647 w 61"/>
                <a:gd name="T11" fmla="*/ 2147483647 h 52"/>
                <a:gd name="T12" fmla="*/ 2147483647 w 61"/>
                <a:gd name="T13" fmla="*/ 2147483647 h 52"/>
                <a:gd name="T14" fmla="*/ 2147483647 w 61"/>
                <a:gd name="T15" fmla="*/ 2147483647 h 52"/>
                <a:gd name="T16" fmla="*/ 2147483647 w 61"/>
                <a:gd name="T17" fmla="*/ 2147483647 h 52"/>
                <a:gd name="T18" fmla="*/ 2147483647 w 61"/>
                <a:gd name="T19" fmla="*/ 0 h 52"/>
                <a:gd name="T20" fmla="*/ 2147483647 w 61"/>
                <a:gd name="T21" fmla="*/ 2147483647 h 52"/>
                <a:gd name="T22" fmla="*/ 2147483647 w 61"/>
                <a:gd name="T23" fmla="*/ 2147483647 h 52"/>
                <a:gd name="T24" fmla="*/ 2147483647 w 61"/>
                <a:gd name="T25" fmla="*/ 2147483647 h 52"/>
                <a:gd name="T26" fmla="*/ 2147483647 w 61"/>
                <a:gd name="T27" fmla="*/ 2147483647 h 52"/>
                <a:gd name="T28" fmla="*/ 2147483647 w 61"/>
                <a:gd name="T29" fmla="*/ 21474836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1"/>
                <a:gd name="T46" fmla="*/ 0 h 52"/>
                <a:gd name="T47" fmla="*/ 61 w 61"/>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1" h="52">
                  <a:moveTo>
                    <a:pt x="3" y="52"/>
                  </a:moveTo>
                  <a:lnTo>
                    <a:pt x="0" y="47"/>
                  </a:lnTo>
                  <a:lnTo>
                    <a:pt x="18" y="42"/>
                  </a:lnTo>
                  <a:lnTo>
                    <a:pt x="29" y="22"/>
                  </a:lnTo>
                  <a:lnTo>
                    <a:pt x="39" y="22"/>
                  </a:lnTo>
                  <a:lnTo>
                    <a:pt x="32" y="19"/>
                  </a:lnTo>
                  <a:lnTo>
                    <a:pt x="28" y="7"/>
                  </a:lnTo>
                  <a:lnTo>
                    <a:pt x="41" y="2"/>
                  </a:lnTo>
                  <a:lnTo>
                    <a:pt x="48" y="11"/>
                  </a:lnTo>
                  <a:lnTo>
                    <a:pt x="56" y="0"/>
                  </a:lnTo>
                  <a:lnTo>
                    <a:pt x="61" y="5"/>
                  </a:lnTo>
                  <a:lnTo>
                    <a:pt x="52" y="22"/>
                  </a:lnTo>
                  <a:lnTo>
                    <a:pt x="57" y="25"/>
                  </a:lnTo>
                  <a:lnTo>
                    <a:pt x="40" y="40"/>
                  </a:lnTo>
                  <a:lnTo>
                    <a:pt x="3" y="52"/>
                  </a:lnTo>
                  <a:close/>
                </a:path>
              </a:pathLst>
            </a:custGeom>
            <a:grpFill/>
            <a:ln w="6350">
              <a:solidFill>
                <a:schemeClr val="tx2"/>
              </a:solidFill>
              <a:round/>
              <a:headEnd/>
              <a:tailEnd/>
            </a:ln>
          </p:spPr>
          <p:txBody>
            <a:bodyPr/>
            <a:lstStyle/>
            <a:p>
              <a:endParaRPr lang="en-US"/>
            </a:p>
          </p:txBody>
        </p:sp>
        <p:sp>
          <p:nvSpPr>
            <p:cNvPr id="313" name="Freeform 1302"/>
            <p:cNvSpPr>
              <a:spLocks/>
            </p:cNvSpPr>
            <p:nvPr/>
          </p:nvSpPr>
          <p:spPr bwMode="auto">
            <a:xfrm>
              <a:off x="669276" y="3260476"/>
              <a:ext cx="6069" cy="6069"/>
            </a:xfrm>
            <a:custGeom>
              <a:avLst/>
              <a:gdLst>
                <a:gd name="T0" fmla="*/ 2147483647 w 14"/>
                <a:gd name="T1" fmla="*/ 0 h 14"/>
                <a:gd name="T2" fmla="*/ 2147483647 w 14"/>
                <a:gd name="T3" fmla="*/ 2147483647 h 14"/>
                <a:gd name="T4" fmla="*/ 2147483647 w 14"/>
                <a:gd name="T5" fmla="*/ 2147483647 h 14"/>
                <a:gd name="T6" fmla="*/ 0 w 14"/>
                <a:gd name="T7" fmla="*/ 2147483647 h 14"/>
                <a:gd name="T8" fmla="*/ 2147483647 w 14"/>
                <a:gd name="T9" fmla="*/ 0 h 14"/>
                <a:gd name="T10" fmla="*/ 0 60000 65536"/>
                <a:gd name="T11" fmla="*/ 0 60000 65536"/>
                <a:gd name="T12" fmla="*/ 0 60000 65536"/>
                <a:gd name="T13" fmla="*/ 0 60000 65536"/>
                <a:gd name="T14" fmla="*/ 0 60000 65536"/>
                <a:gd name="T15" fmla="*/ 0 w 14"/>
                <a:gd name="T16" fmla="*/ 0 h 14"/>
                <a:gd name="T17" fmla="*/ 14 w 14"/>
                <a:gd name="T18" fmla="*/ 14 h 14"/>
              </a:gdLst>
              <a:ahLst/>
              <a:cxnLst>
                <a:cxn ang="T10">
                  <a:pos x="T0" y="T1"/>
                </a:cxn>
                <a:cxn ang="T11">
                  <a:pos x="T2" y="T3"/>
                </a:cxn>
                <a:cxn ang="T12">
                  <a:pos x="T4" y="T5"/>
                </a:cxn>
                <a:cxn ang="T13">
                  <a:pos x="T6" y="T7"/>
                </a:cxn>
                <a:cxn ang="T14">
                  <a:pos x="T8" y="T9"/>
                </a:cxn>
              </a:cxnLst>
              <a:rect l="T15" t="T16" r="T17" b="T18"/>
              <a:pathLst>
                <a:path w="14" h="14">
                  <a:moveTo>
                    <a:pt x="4" y="0"/>
                  </a:moveTo>
                  <a:lnTo>
                    <a:pt x="14" y="10"/>
                  </a:lnTo>
                  <a:lnTo>
                    <a:pt x="1" y="14"/>
                  </a:lnTo>
                  <a:lnTo>
                    <a:pt x="0" y="3"/>
                  </a:lnTo>
                  <a:lnTo>
                    <a:pt x="4" y="0"/>
                  </a:lnTo>
                  <a:close/>
                </a:path>
              </a:pathLst>
            </a:custGeom>
            <a:grpFill/>
            <a:ln w="6350">
              <a:solidFill>
                <a:schemeClr val="tx2"/>
              </a:solidFill>
              <a:round/>
              <a:headEnd/>
              <a:tailEnd/>
            </a:ln>
          </p:spPr>
          <p:txBody>
            <a:bodyPr/>
            <a:lstStyle/>
            <a:p>
              <a:endParaRPr lang="en-US"/>
            </a:p>
          </p:txBody>
        </p:sp>
        <p:sp>
          <p:nvSpPr>
            <p:cNvPr id="314" name="Freeform 1303"/>
            <p:cNvSpPr>
              <a:spLocks/>
            </p:cNvSpPr>
            <p:nvPr/>
          </p:nvSpPr>
          <p:spPr bwMode="auto">
            <a:xfrm>
              <a:off x="742099" y="3252891"/>
              <a:ext cx="3034" cy="1516"/>
            </a:xfrm>
            <a:custGeom>
              <a:avLst/>
              <a:gdLst>
                <a:gd name="T0" fmla="*/ 0 w 9"/>
                <a:gd name="T1" fmla="*/ 0 h 3"/>
                <a:gd name="T2" fmla="*/ 2147483647 w 9"/>
                <a:gd name="T3" fmla="*/ 2147483647 h 3"/>
                <a:gd name="T4" fmla="*/ 0 w 9"/>
                <a:gd name="T5" fmla="*/ 0 h 3"/>
                <a:gd name="T6" fmla="*/ 0 60000 65536"/>
                <a:gd name="T7" fmla="*/ 0 60000 65536"/>
                <a:gd name="T8" fmla="*/ 0 60000 65536"/>
                <a:gd name="T9" fmla="*/ 0 w 9"/>
                <a:gd name="T10" fmla="*/ 0 h 3"/>
                <a:gd name="T11" fmla="*/ 9 w 9"/>
                <a:gd name="T12" fmla="*/ 3 h 3"/>
              </a:gdLst>
              <a:ahLst/>
              <a:cxnLst>
                <a:cxn ang="T6">
                  <a:pos x="T0" y="T1"/>
                </a:cxn>
                <a:cxn ang="T7">
                  <a:pos x="T2" y="T3"/>
                </a:cxn>
                <a:cxn ang="T8">
                  <a:pos x="T4" y="T5"/>
                </a:cxn>
              </a:cxnLst>
              <a:rect l="T9" t="T10" r="T11" b="T12"/>
              <a:pathLst>
                <a:path w="9" h="3">
                  <a:moveTo>
                    <a:pt x="0" y="0"/>
                  </a:moveTo>
                  <a:lnTo>
                    <a:pt x="9" y="3"/>
                  </a:lnTo>
                  <a:lnTo>
                    <a:pt x="0" y="0"/>
                  </a:lnTo>
                  <a:close/>
                </a:path>
              </a:pathLst>
            </a:custGeom>
            <a:grpFill/>
            <a:ln w="6350">
              <a:solidFill>
                <a:schemeClr val="tx2"/>
              </a:solidFill>
              <a:round/>
              <a:headEnd/>
              <a:tailEnd/>
            </a:ln>
          </p:spPr>
          <p:txBody>
            <a:bodyPr/>
            <a:lstStyle/>
            <a:p>
              <a:endParaRPr lang="en-US"/>
            </a:p>
          </p:txBody>
        </p:sp>
        <p:sp>
          <p:nvSpPr>
            <p:cNvPr id="315" name="Freeform 1304"/>
            <p:cNvSpPr>
              <a:spLocks/>
            </p:cNvSpPr>
            <p:nvPr/>
          </p:nvSpPr>
          <p:spPr bwMode="auto">
            <a:xfrm>
              <a:off x="784578" y="3216480"/>
              <a:ext cx="3034" cy="9103"/>
            </a:xfrm>
            <a:custGeom>
              <a:avLst/>
              <a:gdLst>
                <a:gd name="T0" fmla="*/ 2147483647 w 12"/>
                <a:gd name="T1" fmla="*/ 2147483647 h 17"/>
                <a:gd name="T2" fmla="*/ 2147483647 w 12"/>
                <a:gd name="T3" fmla="*/ 0 h 17"/>
                <a:gd name="T4" fmla="*/ 2147483647 w 12"/>
                <a:gd name="T5" fmla="*/ 2147483647 h 17"/>
                <a:gd name="T6" fmla="*/ 2147483647 w 12"/>
                <a:gd name="T7" fmla="*/ 2147483647 h 17"/>
                <a:gd name="T8" fmla="*/ 2147483647 w 12"/>
                <a:gd name="T9" fmla="*/ 2147483647 h 17"/>
                <a:gd name="T10" fmla="*/ 0 w 12"/>
                <a:gd name="T11" fmla="*/ 2147483647 h 17"/>
                <a:gd name="T12" fmla="*/ 2147483647 w 12"/>
                <a:gd name="T13" fmla="*/ 2147483647 h 17"/>
                <a:gd name="T14" fmla="*/ 0 60000 65536"/>
                <a:gd name="T15" fmla="*/ 0 60000 65536"/>
                <a:gd name="T16" fmla="*/ 0 60000 65536"/>
                <a:gd name="T17" fmla="*/ 0 60000 65536"/>
                <a:gd name="T18" fmla="*/ 0 60000 65536"/>
                <a:gd name="T19" fmla="*/ 0 60000 65536"/>
                <a:gd name="T20" fmla="*/ 0 60000 65536"/>
                <a:gd name="T21" fmla="*/ 0 w 12"/>
                <a:gd name="T22" fmla="*/ 0 h 17"/>
                <a:gd name="T23" fmla="*/ 12 w 1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7">
                  <a:moveTo>
                    <a:pt x="8" y="5"/>
                  </a:moveTo>
                  <a:lnTo>
                    <a:pt x="4" y="0"/>
                  </a:lnTo>
                  <a:lnTo>
                    <a:pt x="11" y="3"/>
                  </a:lnTo>
                  <a:lnTo>
                    <a:pt x="12" y="17"/>
                  </a:lnTo>
                  <a:lnTo>
                    <a:pt x="2" y="17"/>
                  </a:lnTo>
                  <a:lnTo>
                    <a:pt x="0" y="2"/>
                  </a:lnTo>
                  <a:lnTo>
                    <a:pt x="8" y="5"/>
                  </a:lnTo>
                  <a:close/>
                </a:path>
              </a:pathLst>
            </a:custGeom>
            <a:grpFill/>
            <a:ln w="6350">
              <a:solidFill>
                <a:schemeClr val="tx2"/>
              </a:solidFill>
              <a:round/>
              <a:headEnd/>
              <a:tailEnd/>
            </a:ln>
          </p:spPr>
          <p:txBody>
            <a:bodyPr/>
            <a:lstStyle/>
            <a:p>
              <a:endParaRPr lang="en-US"/>
            </a:p>
          </p:txBody>
        </p:sp>
        <p:sp>
          <p:nvSpPr>
            <p:cNvPr id="316" name="Freeform 1305"/>
            <p:cNvSpPr>
              <a:spLocks/>
            </p:cNvSpPr>
            <p:nvPr/>
          </p:nvSpPr>
          <p:spPr bwMode="auto">
            <a:xfrm>
              <a:off x="916566" y="3172483"/>
              <a:ext cx="4551" cy="6069"/>
            </a:xfrm>
            <a:custGeom>
              <a:avLst/>
              <a:gdLst>
                <a:gd name="T0" fmla="*/ 0 w 7"/>
                <a:gd name="T1" fmla="*/ 2147483647 h 14"/>
                <a:gd name="T2" fmla="*/ 2147483647 w 7"/>
                <a:gd name="T3" fmla="*/ 0 h 14"/>
                <a:gd name="T4" fmla="*/ 2147483647 w 7"/>
                <a:gd name="T5" fmla="*/ 2147483647 h 14"/>
                <a:gd name="T6" fmla="*/ 0 w 7"/>
                <a:gd name="T7" fmla="*/ 2147483647 h 14"/>
                <a:gd name="T8" fmla="*/ 0 w 7"/>
                <a:gd name="T9" fmla="*/ 2147483647 h 14"/>
                <a:gd name="T10" fmla="*/ 0 60000 65536"/>
                <a:gd name="T11" fmla="*/ 0 60000 65536"/>
                <a:gd name="T12" fmla="*/ 0 60000 65536"/>
                <a:gd name="T13" fmla="*/ 0 60000 65536"/>
                <a:gd name="T14" fmla="*/ 0 60000 65536"/>
                <a:gd name="T15" fmla="*/ 0 w 7"/>
                <a:gd name="T16" fmla="*/ 0 h 14"/>
                <a:gd name="T17" fmla="*/ 7 w 7"/>
                <a:gd name="T18" fmla="*/ 14 h 14"/>
              </a:gdLst>
              <a:ahLst/>
              <a:cxnLst>
                <a:cxn ang="T10">
                  <a:pos x="T0" y="T1"/>
                </a:cxn>
                <a:cxn ang="T11">
                  <a:pos x="T2" y="T3"/>
                </a:cxn>
                <a:cxn ang="T12">
                  <a:pos x="T4" y="T5"/>
                </a:cxn>
                <a:cxn ang="T13">
                  <a:pos x="T6" y="T7"/>
                </a:cxn>
                <a:cxn ang="T14">
                  <a:pos x="T8" y="T9"/>
                </a:cxn>
              </a:cxnLst>
              <a:rect l="T15" t="T16" r="T17" b="T18"/>
              <a:pathLst>
                <a:path w="7" h="14">
                  <a:moveTo>
                    <a:pt x="0" y="4"/>
                  </a:moveTo>
                  <a:lnTo>
                    <a:pt x="6" y="0"/>
                  </a:lnTo>
                  <a:lnTo>
                    <a:pt x="7" y="6"/>
                  </a:lnTo>
                  <a:lnTo>
                    <a:pt x="0" y="14"/>
                  </a:lnTo>
                  <a:lnTo>
                    <a:pt x="0" y="4"/>
                  </a:lnTo>
                  <a:close/>
                </a:path>
              </a:pathLst>
            </a:custGeom>
            <a:grpFill/>
            <a:ln w="6350">
              <a:solidFill>
                <a:schemeClr val="tx2"/>
              </a:solidFill>
              <a:round/>
              <a:headEnd/>
              <a:tailEnd/>
            </a:ln>
          </p:spPr>
          <p:txBody>
            <a:bodyPr/>
            <a:lstStyle/>
            <a:p>
              <a:endParaRPr lang="en-US"/>
            </a:p>
          </p:txBody>
        </p:sp>
        <p:sp>
          <p:nvSpPr>
            <p:cNvPr id="317" name="Freeform 1306"/>
            <p:cNvSpPr>
              <a:spLocks/>
            </p:cNvSpPr>
            <p:nvPr/>
          </p:nvSpPr>
          <p:spPr bwMode="auto">
            <a:xfrm>
              <a:off x="924152" y="3172483"/>
              <a:ext cx="3034" cy="3034"/>
            </a:xfrm>
            <a:custGeom>
              <a:avLst/>
              <a:gdLst>
                <a:gd name="T0" fmla="*/ 2147483647 w 5"/>
                <a:gd name="T1" fmla="*/ 2147483647 h 6"/>
                <a:gd name="T2" fmla="*/ 0 w 5"/>
                <a:gd name="T3" fmla="*/ 2147483647 h 6"/>
                <a:gd name="T4" fmla="*/ 2147483647 w 5"/>
                <a:gd name="T5" fmla="*/ 0 h 6"/>
                <a:gd name="T6" fmla="*/ 2147483647 w 5"/>
                <a:gd name="T7" fmla="*/ 2147483647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5" y="6"/>
                  </a:moveTo>
                  <a:lnTo>
                    <a:pt x="0" y="6"/>
                  </a:lnTo>
                  <a:lnTo>
                    <a:pt x="5" y="0"/>
                  </a:lnTo>
                  <a:lnTo>
                    <a:pt x="5" y="6"/>
                  </a:lnTo>
                  <a:close/>
                </a:path>
              </a:pathLst>
            </a:custGeom>
            <a:grpFill/>
            <a:ln w="6350">
              <a:solidFill>
                <a:schemeClr val="tx2"/>
              </a:solidFill>
              <a:round/>
              <a:headEnd/>
              <a:tailEnd/>
            </a:ln>
          </p:spPr>
          <p:txBody>
            <a:bodyPr/>
            <a:lstStyle/>
            <a:p>
              <a:endParaRPr lang="en-US"/>
            </a:p>
          </p:txBody>
        </p:sp>
        <p:sp>
          <p:nvSpPr>
            <p:cNvPr id="318" name="Freeform 1307"/>
            <p:cNvSpPr>
              <a:spLocks/>
            </p:cNvSpPr>
            <p:nvPr/>
          </p:nvSpPr>
          <p:spPr bwMode="auto">
            <a:xfrm>
              <a:off x="912016" y="3117867"/>
              <a:ext cx="54616" cy="47031"/>
            </a:xfrm>
            <a:custGeom>
              <a:avLst/>
              <a:gdLst>
                <a:gd name="T0" fmla="*/ 0 w 111"/>
                <a:gd name="T1" fmla="*/ 2147483647 h 92"/>
                <a:gd name="T2" fmla="*/ 2147483647 w 111"/>
                <a:gd name="T3" fmla="*/ 2147483647 h 92"/>
                <a:gd name="T4" fmla="*/ 2147483647 w 111"/>
                <a:gd name="T5" fmla="*/ 2147483647 h 92"/>
                <a:gd name="T6" fmla="*/ 2147483647 w 111"/>
                <a:gd name="T7" fmla="*/ 2147483647 h 92"/>
                <a:gd name="T8" fmla="*/ 2147483647 w 111"/>
                <a:gd name="T9" fmla="*/ 2147483647 h 92"/>
                <a:gd name="T10" fmla="*/ 2147483647 w 111"/>
                <a:gd name="T11" fmla="*/ 2147483647 h 92"/>
                <a:gd name="T12" fmla="*/ 2147483647 w 111"/>
                <a:gd name="T13" fmla="*/ 2147483647 h 92"/>
                <a:gd name="T14" fmla="*/ 2147483647 w 111"/>
                <a:gd name="T15" fmla="*/ 2147483647 h 92"/>
                <a:gd name="T16" fmla="*/ 2147483647 w 111"/>
                <a:gd name="T17" fmla="*/ 2147483647 h 92"/>
                <a:gd name="T18" fmla="*/ 2147483647 w 111"/>
                <a:gd name="T19" fmla="*/ 2147483647 h 92"/>
                <a:gd name="T20" fmla="*/ 2147483647 w 111"/>
                <a:gd name="T21" fmla="*/ 2147483647 h 92"/>
                <a:gd name="T22" fmla="*/ 2147483647 w 111"/>
                <a:gd name="T23" fmla="*/ 2147483647 h 92"/>
                <a:gd name="T24" fmla="*/ 2147483647 w 111"/>
                <a:gd name="T25" fmla="*/ 2147483647 h 92"/>
                <a:gd name="T26" fmla="*/ 2147483647 w 111"/>
                <a:gd name="T27" fmla="*/ 2147483647 h 92"/>
                <a:gd name="T28" fmla="*/ 2147483647 w 111"/>
                <a:gd name="T29" fmla="*/ 0 h 92"/>
                <a:gd name="T30" fmla="*/ 2147483647 w 111"/>
                <a:gd name="T31" fmla="*/ 2147483647 h 92"/>
                <a:gd name="T32" fmla="*/ 2147483647 w 111"/>
                <a:gd name="T33" fmla="*/ 2147483647 h 92"/>
                <a:gd name="T34" fmla="*/ 2147483647 w 111"/>
                <a:gd name="T35" fmla="*/ 2147483647 h 92"/>
                <a:gd name="T36" fmla="*/ 2147483647 w 111"/>
                <a:gd name="T37" fmla="*/ 2147483647 h 92"/>
                <a:gd name="T38" fmla="*/ 2147483647 w 111"/>
                <a:gd name="T39" fmla="*/ 2147483647 h 92"/>
                <a:gd name="T40" fmla="*/ 2147483647 w 111"/>
                <a:gd name="T41" fmla="*/ 2147483647 h 92"/>
                <a:gd name="T42" fmla="*/ 2147483647 w 111"/>
                <a:gd name="T43" fmla="*/ 2147483647 h 92"/>
                <a:gd name="T44" fmla="*/ 2147483647 w 111"/>
                <a:gd name="T45" fmla="*/ 2147483647 h 92"/>
                <a:gd name="T46" fmla="*/ 2147483647 w 111"/>
                <a:gd name="T47" fmla="*/ 2147483647 h 92"/>
                <a:gd name="T48" fmla="*/ 2147483647 w 111"/>
                <a:gd name="T49" fmla="*/ 2147483647 h 92"/>
                <a:gd name="T50" fmla="*/ 2147483647 w 111"/>
                <a:gd name="T51" fmla="*/ 2147483647 h 92"/>
                <a:gd name="T52" fmla="*/ 2147483647 w 111"/>
                <a:gd name="T53" fmla="*/ 2147483647 h 92"/>
                <a:gd name="T54" fmla="*/ 2147483647 w 111"/>
                <a:gd name="T55" fmla="*/ 2147483647 h 92"/>
                <a:gd name="T56" fmla="*/ 2147483647 w 111"/>
                <a:gd name="T57" fmla="*/ 2147483647 h 92"/>
                <a:gd name="T58" fmla="*/ 2147483647 w 111"/>
                <a:gd name="T59" fmla="*/ 2147483647 h 92"/>
                <a:gd name="T60" fmla="*/ 2147483647 w 111"/>
                <a:gd name="T61" fmla="*/ 2147483647 h 92"/>
                <a:gd name="T62" fmla="*/ 2147483647 w 111"/>
                <a:gd name="T63" fmla="*/ 2147483647 h 92"/>
                <a:gd name="T64" fmla="*/ 2147483647 w 111"/>
                <a:gd name="T65" fmla="*/ 2147483647 h 92"/>
                <a:gd name="T66" fmla="*/ 2147483647 w 111"/>
                <a:gd name="T67" fmla="*/ 2147483647 h 92"/>
                <a:gd name="T68" fmla="*/ 2147483647 w 111"/>
                <a:gd name="T69" fmla="*/ 2147483647 h 92"/>
                <a:gd name="T70" fmla="*/ 2147483647 w 111"/>
                <a:gd name="T71" fmla="*/ 2147483647 h 92"/>
                <a:gd name="T72" fmla="*/ 2147483647 w 111"/>
                <a:gd name="T73" fmla="*/ 2147483647 h 92"/>
                <a:gd name="T74" fmla="*/ 0 w 111"/>
                <a:gd name="T75" fmla="*/ 214748364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1"/>
                <a:gd name="T115" fmla="*/ 0 h 92"/>
                <a:gd name="T116" fmla="*/ 111 w 111"/>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1" h="92">
                  <a:moveTo>
                    <a:pt x="0" y="47"/>
                  </a:moveTo>
                  <a:lnTo>
                    <a:pt x="14" y="27"/>
                  </a:lnTo>
                  <a:lnTo>
                    <a:pt x="28" y="24"/>
                  </a:lnTo>
                  <a:lnTo>
                    <a:pt x="32" y="24"/>
                  </a:lnTo>
                  <a:lnTo>
                    <a:pt x="28" y="31"/>
                  </a:lnTo>
                  <a:lnTo>
                    <a:pt x="35" y="41"/>
                  </a:lnTo>
                  <a:lnTo>
                    <a:pt x="41" y="43"/>
                  </a:lnTo>
                  <a:lnTo>
                    <a:pt x="42" y="28"/>
                  </a:lnTo>
                  <a:lnTo>
                    <a:pt x="46" y="26"/>
                  </a:lnTo>
                  <a:lnTo>
                    <a:pt x="37" y="13"/>
                  </a:lnTo>
                  <a:lnTo>
                    <a:pt x="39" y="5"/>
                  </a:lnTo>
                  <a:lnTo>
                    <a:pt x="45" y="4"/>
                  </a:lnTo>
                  <a:lnTo>
                    <a:pt x="53" y="20"/>
                  </a:lnTo>
                  <a:lnTo>
                    <a:pt x="71" y="8"/>
                  </a:lnTo>
                  <a:lnTo>
                    <a:pt x="68" y="0"/>
                  </a:lnTo>
                  <a:lnTo>
                    <a:pt x="80" y="2"/>
                  </a:lnTo>
                  <a:lnTo>
                    <a:pt x="83" y="14"/>
                  </a:lnTo>
                  <a:lnTo>
                    <a:pt x="96" y="3"/>
                  </a:lnTo>
                  <a:lnTo>
                    <a:pt x="97" y="28"/>
                  </a:lnTo>
                  <a:lnTo>
                    <a:pt x="111" y="28"/>
                  </a:lnTo>
                  <a:lnTo>
                    <a:pt x="105" y="39"/>
                  </a:lnTo>
                  <a:lnTo>
                    <a:pt x="79" y="33"/>
                  </a:lnTo>
                  <a:lnTo>
                    <a:pt x="77" y="39"/>
                  </a:lnTo>
                  <a:lnTo>
                    <a:pt x="90" y="42"/>
                  </a:lnTo>
                  <a:lnTo>
                    <a:pt x="92" y="52"/>
                  </a:lnTo>
                  <a:lnTo>
                    <a:pt x="85" y="45"/>
                  </a:lnTo>
                  <a:lnTo>
                    <a:pt x="71" y="51"/>
                  </a:lnTo>
                  <a:lnTo>
                    <a:pt x="76" y="54"/>
                  </a:lnTo>
                  <a:lnTo>
                    <a:pt x="49" y="68"/>
                  </a:lnTo>
                  <a:lnTo>
                    <a:pt x="46" y="86"/>
                  </a:lnTo>
                  <a:lnTo>
                    <a:pt x="31" y="92"/>
                  </a:lnTo>
                  <a:lnTo>
                    <a:pt x="39" y="79"/>
                  </a:lnTo>
                  <a:lnTo>
                    <a:pt x="32" y="74"/>
                  </a:lnTo>
                  <a:lnTo>
                    <a:pt x="32" y="65"/>
                  </a:lnTo>
                  <a:lnTo>
                    <a:pt x="25" y="66"/>
                  </a:lnTo>
                  <a:lnTo>
                    <a:pt x="26" y="80"/>
                  </a:lnTo>
                  <a:lnTo>
                    <a:pt x="21" y="83"/>
                  </a:lnTo>
                  <a:lnTo>
                    <a:pt x="0" y="47"/>
                  </a:lnTo>
                  <a:close/>
                </a:path>
              </a:pathLst>
            </a:custGeom>
            <a:grpFill/>
            <a:ln w="6350">
              <a:solidFill>
                <a:schemeClr val="tx2"/>
              </a:solidFill>
              <a:round/>
              <a:headEnd/>
              <a:tailEnd/>
            </a:ln>
          </p:spPr>
          <p:txBody>
            <a:bodyPr/>
            <a:lstStyle/>
            <a:p>
              <a:endParaRPr lang="en-US"/>
            </a:p>
          </p:txBody>
        </p:sp>
        <p:sp>
          <p:nvSpPr>
            <p:cNvPr id="319" name="Freeform 1308"/>
            <p:cNvSpPr>
              <a:spLocks/>
            </p:cNvSpPr>
            <p:nvPr/>
          </p:nvSpPr>
          <p:spPr bwMode="auto">
            <a:xfrm>
              <a:off x="948426" y="3098145"/>
              <a:ext cx="21239" cy="15172"/>
            </a:xfrm>
            <a:custGeom>
              <a:avLst/>
              <a:gdLst>
                <a:gd name="T0" fmla="*/ 2147483647 w 46"/>
                <a:gd name="T1" fmla="*/ 2147483647 h 32"/>
                <a:gd name="T2" fmla="*/ 2147483647 w 46"/>
                <a:gd name="T3" fmla="*/ 2147483647 h 32"/>
                <a:gd name="T4" fmla="*/ 2147483647 w 46"/>
                <a:gd name="T5" fmla="*/ 2147483647 h 32"/>
                <a:gd name="T6" fmla="*/ 2147483647 w 46"/>
                <a:gd name="T7" fmla="*/ 0 h 32"/>
                <a:gd name="T8" fmla="*/ 2147483647 w 46"/>
                <a:gd name="T9" fmla="*/ 2147483647 h 32"/>
                <a:gd name="T10" fmla="*/ 2147483647 w 46"/>
                <a:gd name="T11" fmla="*/ 2147483647 h 32"/>
                <a:gd name="T12" fmla="*/ 2147483647 w 46"/>
                <a:gd name="T13" fmla="*/ 2147483647 h 32"/>
                <a:gd name="T14" fmla="*/ 2147483647 w 46"/>
                <a:gd name="T15" fmla="*/ 2147483647 h 32"/>
                <a:gd name="T16" fmla="*/ 0 w 46"/>
                <a:gd name="T17" fmla="*/ 2147483647 h 32"/>
                <a:gd name="T18" fmla="*/ 2147483647 w 46"/>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2"/>
                <a:gd name="T32" fmla="*/ 46 w 46"/>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2">
                  <a:moveTo>
                    <a:pt x="19" y="14"/>
                  </a:moveTo>
                  <a:lnTo>
                    <a:pt x="11" y="9"/>
                  </a:lnTo>
                  <a:lnTo>
                    <a:pt x="17" y="2"/>
                  </a:lnTo>
                  <a:lnTo>
                    <a:pt x="36" y="0"/>
                  </a:lnTo>
                  <a:lnTo>
                    <a:pt x="33" y="9"/>
                  </a:lnTo>
                  <a:lnTo>
                    <a:pt x="42" y="5"/>
                  </a:lnTo>
                  <a:lnTo>
                    <a:pt x="46" y="20"/>
                  </a:lnTo>
                  <a:lnTo>
                    <a:pt x="11" y="32"/>
                  </a:lnTo>
                  <a:lnTo>
                    <a:pt x="0" y="21"/>
                  </a:lnTo>
                  <a:lnTo>
                    <a:pt x="19" y="14"/>
                  </a:lnTo>
                  <a:close/>
                </a:path>
              </a:pathLst>
            </a:custGeom>
            <a:grpFill/>
            <a:ln w="6350">
              <a:solidFill>
                <a:schemeClr val="tx2"/>
              </a:solidFill>
              <a:round/>
              <a:headEnd/>
              <a:tailEnd/>
            </a:ln>
          </p:spPr>
          <p:txBody>
            <a:bodyPr/>
            <a:lstStyle/>
            <a:p>
              <a:endParaRPr lang="en-US"/>
            </a:p>
          </p:txBody>
        </p:sp>
        <p:sp>
          <p:nvSpPr>
            <p:cNvPr id="320" name="Freeform 1309"/>
            <p:cNvSpPr>
              <a:spLocks/>
            </p:cNvSpPr>
            <p:nvPr/>
          </p:nvSpPr>
          <p:spPr bwMode="auto">
            <a:xfrm>
              <a:off x="960562" y="3090559"/>
              <a:ext cx="3034" cy="3034"/>
            </a:xfrm>
            <a:custGeom>
              <a:avLst/>
              <a:gdLst>
                <a:gd name="T0" fmla="*/ 0 w 10"/>
                <a:gd name="T1" fmla="*/ 0 h 8"/>
                <a:gd name="T2" fmla="*/ 2147483647 w 10"/>
                <a:gd name="T3" fmla="*/ 2147483647 h 8"/>
                <a:gd name="T4" fmla="*/ 2147483647 w 10"/>
                <a:gd name="T5" fmla="*/ 2147483647 h 8"/>
                <a:gd name="T6" fmla="*/ 0 w 10"/>
                <a:gd name="T7" fmla="*/ 0 h 8"/>
                <a:gd name="T8" fmla="*/ 0 60000 65536"/>
                <a:gd name="T9" fmla="*/ 0 60000 65536"/>
                <a:gd name="T10" fmla="*/ 0 60000 65536"/>
                <a:gd name="T11" fmla="*/ 0 60000 65536"/>
                <a:gd name="T12" fmla="*/ 0 w 10"/>
                <a:gd name="T13" fmla="*/ 0 h 8"/>
                <a:gd name="T14" fmla="*/ 10 w 10"/>
                <a:gd name="T15" fmla="*/ 8 h 8"/>
              </a:gdLst>
              <a:ahLst/>
              <a:cxnLst>
                <a:cxn ang="T8">
                  <a:pos x="T0" y="T1"/>
                </a:cxn>
                <a:cxn ang="T9">
                  <a:pos x="T2" y="T3"/>
                </a:cxn>
                <a:cxn ang="T10">
                  <a:pos x="T4" y="T5"/>
                </a:cxn>
                <a:cxn ang="T11">
                  <a:pos x="T6" y="T7"/>
                </a:cxn>
              </a:cxnLst>
              <a:rect l="T12" t="T13" r="T14" b="T15"/>
              <a:pathLst>
                <a:path w="10" h="8">
                  <a:moveTo>
                    <a:pt x="0" y="0"/>
                  </a:moveTo>
                  <a:lnTo>
                    <a:pt x="10" y="8"/>
                  </a:lnTo>
                  <a:lnTo>
                    <a:pt x="1" y="7"/>
                  </a:lnTo>
                  <a:lnTo>
                    <a:pt x="0" y="0"/>
                  </a:lnTo>
                  <a:close/>
                </a:path>
              </a:pathLst>
            </a:custGeom>
            <a:grpFill/>
            <a:ln w="6350">
              <a:solidFill>
                <a:schemeClr val="tx2"/>
              </a:solidFill>
              <a:round/>
              <a:headEnd/>
              <a:tailEnd/>
            </a:ln>
          </p:spPr>
          <p:txBody>
            <a:bodyPr/>
            <a:lstStyle/>
            <a:p>
              <a:endParaRPr lang="en-US"/>
            </a:p>
          </p:txBody>
        </p:sp>
        <p:sp>
          <p:nvSpPr>
            <p:cNvPr id="321" name="Freeform 1310"/>
            <p:cNvSpPr>
              <a:spLocks/>
            </p:cNvSpPr>
            <p:nvPr/>
          </p:nvSpPr>
          <p:spPr bwMode="auto">
            <a:xfrm>
              <a:off x="1059174" y="3016221"/>
              <a:ext cx="21239" cy="25791"/>
            </a:xfrm>
            <a:custGeom>
              <a:avLst/>
              <a:gdLst>
                <a:gd name="T0" fmla="*/ 2147483647 w 40"/>
                <a:gd name="T1" fmla="*/ 2147483647 h 50"/>
                <a:gd name="T2" fmla="*/ 2147483647 w 40"/>
                <a:gd name="T3" fmla="*/ 0 h 50"/>
                <a:gd name="T4" fmla="*/ 2147483647 w 40"/>
                <a:gd name="T5" fmla="*/ 2147483647 h 50"/>
                <a:gd name="T6" fmla="*/ 2147483647 w 40"/>
                <a:gd name="T7" fmla="*/ 2147483647 h 50"/>
                <a:gd name="T8" fmla="*/ 0 w 40"/>
                <a:gd name="T9" fmla="*/ 2147483647 h 50"/>
                <a:gd name="T10" fmla="*/ 2147483647 w 40"/>
                <a:gd name="T11" fmla="*/ 2147483647 h 50"/>
                <a:gd name="T12" fmla="*/ 0 60000 65536"/>
                <a:gd name="T13" fmla="*/ 0 60000 65536"/>
                <a:gd name="T14" fmla="*/ 0 60000 65536"/>
                <a:gd name="T15" fmla="*/ 0 60000 65536"/>
                <a:gd name="T16" fmla="*/ 0 60000 65536"/>
                <a:gd name="T17" fmla="*/ 0 60000 65536"/>
                <a:gd name="T18" fmla="*/ 0 w 40"/>
                <a:gd name="T19" fmla="*/ 0 h 50"/>
                <a:gd name="T20" fmla="*/ 40 w 40"/>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40" h="50">
                  <a:moveTo>
                    <a:pt x="7" y="33"/>
                  </a:moveTo>
                  <a:lnTo>
                    <a:pt x="32" y="0"/>
                  </a:lnTo>
                  <a:lnTo>
                    <a:pt x="40" y="9"/>
                  </a:lnTo>
                  <a:lnTo>
                    <a:pt x="17" y="44"/>
                  </a:lnTo>
                  <a:lnTo>
                    <a:pt x="0" y="50"/>
                  </a:lnTo>
                  <a:lnTo>
                    <a:pt x="7" y="33"/>
                  </a:lnTo>
                  <a:close/>
                </a:path>
              </a:pathLst>
            </a:custGeom>
            <a:grpFill/>
            <a:ln w="6350">
              <a:solidFill>
                <a:schemeClr val="tx2"/>
              </a:solidFill>
              <a:round/>
              <a:headEnd/>
              <a:tailEnd/>
            </a:ln>
          </p:spPr>
          <p:txBody>
            <a:bodyPr/>
            <a:lstStyle/>
            <a:p>
              <a:endParaRPr lang="en-US"/>
            </a:p>
          </p:txBody>
        </p:sp>
        <p:sp>
          <p:nvSpPr>
            <p:cNvPr id="322" name="Freeform 1311"/>
            <p:cNvSpPr>
              <a:spLocks/>
            </p:cNvSpPr>
            <p:nvPr/>
          </p:nvSpPr>
          <p:spPr bwMode="auto">
            <a:xfrm>
              <a:off x="1084966" y="3011669"/>
              <a:ext cx="13653" cy="9103"/>
            </a:xfrm>
            <a:custGeom>
              <a:avLst/>
              <a:gdLst>
                <a:gd name="T0" fmla="*/ 0 w 24"/>
                <a:gd name="T1" fmla="*/ 2147483647 h 17"/>
                <a:gd name="T2" fmla="*/ 2147483647 w 24"/>
                <a:gd name="T3" fmla="*/ 0 h 17"/>
                <a:gd name="T4" fmla="*/ 2147483647 w 24"/>
                <a:gd name="T5" fmla="*/ 2147483647 h 17"/>
                <a:gd name="T6" fmla="*/ 2147483647 w 24"/>
                <a:gd name="T7" fmla="*/ 2147483647 h 17"/>
                <a:gd name="T8" fmla="*/ 0 w 24"/>
                <a:gd name="T9" fmla="*/ 214748364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10"/>
                  </a:moveTo>
                  <a:lnTo>
                    <a:pt x="5" y="0"/>
                  </a:lnTo>
                  <a:lnTo>
                    <a:pt x="24" y="7"/>
                  </a:lnTo>
                  <a:lnTo>
                    <a:pt x="6" y="17"/>
                  </a:lnTo>
                  <a:lnTo>
                    <a:pt x="0" y="10"/>
                  </a:lnTo>
                  <a:close/>
                </a:path>
              </a:pathLst>
            </a:custGeom>
            <a:grpFill/>
            <a:ln w="6350">
              <a:solidFill>
                <a:schemeClr val="tx2"/>
              </a:solidFill>
              <a:round/>
              <a:headEnd/>
              <a:tailEnd/>
            </a:ln>
          </p:spPr>
          <p:txBody>
            <a:bodyPr/>
            <a:lstStyle/>
            <a:p>
              <a:endParaRPr lang="en-US"/>
            </a:p>
          </p:txBody>
        </p:sp>
        <p:sp>
          <p:nvSpPr>
            <p:cNvPr id="323" name="Freeform 1312"/>
            <p:cNvSpPr>
              <a:spLocks/>
            </p:cNvSpPr>
            <p:nvPr/>
          </p:nvSpPr>
          <p:spPr bwMode="auto">
            <a:xfrm>
              <a:off x="778509" y="3082974"/>
              <a:ext cx="7585" cy="9103"/>
            </a:xfrm>
            <a:custGeom>
              <a:avLst/>
              <a:gdLst>
                <a:gd name="T0" fmla="*/ 2147483647 w 15"/>
                <a:gd name="T1" fmla="*/ 0 h 19"/>
                <a:gd name="T2" fmla="*/ 2147483647 w 15"/>
                <a:gd name="T3" fmla="*/ 2147483647 h 19"/>
                <a:gd name="T4" fmla="*/ 0 w 15"/>
                <a:gd name="T5" fmla="*/ 2147483647 h 19"/>
                <a:gd name="T6" fmla="*/ 2147483647 w 15"/>
                <a:gd name="T7" fmla="*/ 2147483647 h 19"/>
                <a:gd name="T8" fmla="*/ 2147483647 w 15"/>
                <a:gd name="T9" fmla="*/ 0 h 19"/>
                <a:gd name="T10" fmla="*/ 0 60000 65536"/>
                <a:gd name="T11" fmla="*/ 0 60000 65536"/>
                <a:gd name="T12" fmla="*/ 0 60000 65536"/>
                <a:gd name="T13" fmla="*/ 0 60000 65536"/>
                <a:gd name="T14" fmla="*/ 0 60000 65536"/>
                <a:gd name="T15" fmla="*/ 0 w 15"/>
                <a:gd name="T16" fmla="*/ 0 h 19"/>
                <a:gd name="T17" fmla="*/ 15 w 15"/>
                <a:gd name="T18" fmla="*/ 19 h 19"/>
              </a:gdLst>
              <a:ahLst/>
              <a:cxnLst>
                <a:cxn ang="T10">
                  <a:pos x="T0" y="T1"/>
                </a:cxn>
                <a:cxn ang="T11">
                  <a:pos x="T2" y="T3"/>
                </a:cxn>
                <a:cxn ang="T12">
                  <a:pos x="T4" y="T5"/>
                </a:cxn>
                <a:cxn ang="T13">
                  <a:pos x="T6" y="T7"/>
                </a:cxn>
                <a:cxn ang="T14">
                  <a:pos x="T8" y="T9"/>
                </a:cxn>
              </a:cxnLst>
              <a:rect l="T15" t="T16" r="T17" b="T18"/>
              <a:pathLst>
                <a:path w="15" h="19">
                  <a:moveTo>
                    <a:pt x="15" y="0"/>
                  </a:moveTo>
                  <a:lnTo>
                    <a:pt x="9" y="19"/>
                  </a:lnTo>
                  <a:lnTo>
                    <a:pt x="0" y="19"/>
                  </a:lnTo>
                  <a:lnTo>
                    <a:pt x="2" y="9"/>
                  </a:lnTo>
                  <a:lnTo>
                    <a:pt x="15" y="0"/>
                  </a:lnTo>
                  <a:close/>
                </a:path>
              </a:pathLst>
            </a:custGeom>
            <a:grpFill/>
            <a:ln w="6350">
              <a:solidFill>
                <a:schemeClr val="tx2"/>
              </a:solidFill>
              <a:round/>
              <a:headEnd/>
              <a:tailEnd/>
            </a:ln>
          </p:spPr>
          <p:txBody>
            <a:bodyPr/>
            <a:lstStyle/>
            <a:p>
              <a:endParaRPr lang="en-US"/>
            </a:p>
          </p:txBody>
        </p:sp>
        <p:sp>
          <p:nvSpPr>
            <p:cNvPr id="324" name="Freeform 1313"/>
            <p:cNvSpPr>
              <a:spLocks/>
            </p:cNvSpPr>
            <p:nvPr/>
          </p:nvSpPr>
          <p:spPr bwMode="auto">
            <a:xfrm>
              <a:off x="641969" y="3016221"/>
              <a:ext cx="39445" cy="25791"/>
            </a:xfrm>
            <a:custGeom>
              <a:avLst/>
              <a:gdLst>
                <a:gd name="T0" fmla="*/ 0 w 82"/>
                <a:gd name="T1" fmla="*/ 2147483647 h 51"/>
                <a:gd name="T2" fmla="*/ 2147483647 w 82"/>
                <a:gd name="T3" fmla="*/ 0 h 51"/>
                <a:gd name="T4" fmla="*/ 2147483647 w 82"/>
                <a:gd name="T5" fmla="*/ 2147483647 h 51"/>
                <a:gd name="T6" fmla="*/ 2147483647 w 82"/>
                <a:gd name="T7" fmla="*/ 2147483647 h 51"/>
                <a:gd name="T8" fmla="*/ 2147483647 w 82"/>
                <a:gd name="T9" fmla="*/ 2147483647 h 51"/>
                <a:gd name="T10" fmla="*/ 2147483647 w 82"/>
                <a:gd name="T11" fmla="*/ 2147483647 h 51"/>
                <a:gd name="T12" fmla="*/ 2147483647 w 82"/>
                <a:gd name="T13" fmla="*/ 2147483647 h 51"/>
                <a:gd name="T14" fmla="*/ 0 w 82"/>
                <a:gd name="T15" fmla="*/ 2147483647 h 51"/>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51"/>
                <a:gd name="T26" fmla="*/ 82 w 8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51">
                  <a:moveTo>
                    <a:pt x="0" y="11"/>
                  </a:moveTo>
                  <a:lnTo>
                    <a:pt x="55" y="0"/>
                  </a:lnTo>
                  <a:lnTo>
                    <a:pt x="79" y="7"/>
                  </a:lnTo>
                  <a:lnTo>
                    <a:pt x="78" y="27"/>
                  </a:lnTo>
                  <a:lnTo>
                    <a:pt x="82" y="31"/>
                  </a:lnTo>
                  <a:lnTo>
                    <a:pt x="57" y="51"/>
                  </a:lnTo>
                  <a:lnTo>
                    <a:pt x="14" y="35"/>
                  </a:lnTo>
                  <a:lnTo>
                    <a:pt x="0" y="11"/>
                  </a:lnTo>
                  <a:close/>
                </a:path>
              </a:pathLst>
            </a:custGeom>
            <a:grpFill/>
            <a:ln w="6350">
              <a:solidFill>
                <a:schemeClr val="tx2"/>
              </a:solidFill>
              <a:round/>
              <a:headEnd/>
              <a:tailEnd/>
            </a:ln>
          </p:spPr>
          <p:txBody>
            <a:bodyPr/>
            <a:lstStyle/>
            <a:p>
              <a:endParaRPr lang="en-US"/>
            </a:p>
          </p:txBody>
        </p:sp>
        <p:sp>
          <p:nvSpPr>
            <p:cNvPr id="325" name="Freeform 1314"/>
            <p:cNvSpPr>
              <a:spLocks/>
            </p:cNvSpPr>
            <p:nvPr/>
          </p:nvSpPr>
          <p:spPr bwMode="auto">
            <a:xfrm>
              <a:off x="688998" y="2998016"/>
              <a:ext cx="22757" cy="19722"/>
            </a:xfrm>
            <a:custGeom>
              <a:avLst/>
              <a:gdLst>
                <a:gd name="T0" fmla="*/ 0 w 45"/>
                <a:gd name="T1" fmla="*/ 2147483647 h 41"/>
                <a:gd name="T2" fmla="*/ 2147483647 w 45"/>
                <a:gd name="T3" fmla="*/ 0 h 41"/>
                <a:gd name="T4" fmla="*/ 2147483647 w 45"/>
                <a:gd name="T5" fmla="*/ 2147483647 h 41"/>
                <a:gd name="T6" fmla="*/ 2147483647 w 45"/>
                <a:gd name="T7" fmla="*/ 2147483647 h 41"/>
                <a:gd name="T8" fmla="*/ 2147483647 w 45"/>
                <a:gd name="T9" fmla="*/ 2147483647 h 41"/>
                <a:gd name="T10" fmla="*/ 2147483647 w 45"/>
                <a:gd name="T11" fmla="*/ 2147483647 h 41"/>
                <a:gd name="T12" fmla="*/ 0 w 45"/>
                <a:gd name="T13" fmla="*/ 2147483647 h 41"/>
                <a:gd name="T14" fmla="*/ 0 60000 65536"/>
                <a:gd name="T15" fmla="*/ 0 60000 65536"/>
                <a:gd name="T16" fmla="*/ 0 60000 65536"/>
                <a:gd name="T17" fmla="*/ 0 60000 65536"/>
                <a:gd name="T18" fmla="*/ 0 60000 65536"/>
                <a:gd name="T19" fmla="*/ 0 60000 65536"/>
                <a:gd name="T20" fmla="*/ 0 60000 65536"/>
                <a:gd name="T21" fmla="*/ 0 w 45"/>
                <a:gd name="T22" fmla="*/ 0 h 41"/>
                <a:gd name="T23" fmla="*/ 45 w 45"/>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41">
                  <a:moveTo>
                    <a:pt x="0" y="16"/>
                  </a:moveTo>
                  <a:lnTo>
                    <a:pt x="16" y="0"/>
                  </a:lnTo>
                  <a:lnTo>
                    <a:pt x="41" y="8"/>
                  </a:lnTo>
                  <a:lnTo>
                    <a:pt x="45" y="21"/>
                  </a:lnTo>
                  <a:lnTo>
                    <a:pt x="27" y="41"/>
                  </a:lnTo>
                  <a:lnTo>
                    <a:pt x="19" y="23"/>
                  </a:lnTo>
                  <a:lnTo>
                    <a:pt x="0" y="16"/>
                  </a:lnTo>
                  <a:close/>
                </a:path>
              </a:pathLst>
            </a:custGeom>
            <a:grpFill/>
            <a:ln w="6350">
              <a:solidFill>
                <a:schemeClr val="tx2"/>
              </a:solidFill>
              <a:round/>
              <a:headEnd/>
              <a:tailEnd/>
            </a:ln>
          </p:spPr>
          <p:txBody>
            <a:bodyPr/>
            <a:lstStyle/>
            <a:p>
              <a:endParaRPr lang="en-US"/>
            </a:p>
          </p:txBody>
        </p:sp>
        <p:sp>
          <p:nvSpPr>
            <p:cNvPr id="326" name="Freeform 1315"/>
            <p:cNvSpPr>
              <a:spLocks/>
            </p:cNvSpPr>
            <p:nvPr/>
          </p:nvSpPr>
          <p:spPr bwMode="auto">
            <a:xfrm>
              <a:off x="2448850" y="3538108"/>
              <a:ext cx="33376" cy="12137"/>
            </a:xfrm>
            <a:custGeom>
              <a:avLst/>
              <a:gdLst>
                <a:gd name="T0" fmla="*/ 2147483647 w 66"/>
                <a:gd name="T1" fmla="*/ 2147483647 h 25"/>
                <a:gd name="T2" fmla="*/ 0 w 66"/>
                <a:gd name="T3" fmla="*/ 2147483647 h 25"/>
                <a:gd name="T4" fmla="*/ 2147483647 w 66"/>
                <a:gd name="T5" fmla="*/ 2147483647 h 25"/>
                <a:gd name="T6" fmla="*/ 2147483647 w 66"/>
                <a:gd name="T7" fmla="*/ 2147483647 h 25"/>
                <a:gd name="T8" fmla="*/ 2147483647 w 66"/>
                <a:gd name="T9" fmla="*/ 2147483647 h 25"/>
                <a:gd name="T10" fmla="*/ 2147483647 w 66"/>
                <a:gd name="T11" fmla="*/ 2147483647 h 25"/>
                <a:gd name="T12" fmla="*/ 2147483647 w 66"/>
                <a:gd name="T13" fmla="*/ 2147483647 h 25"/>
                <a:gd name="T14" fmla="*/ 2147483647 w 66"/>
                <a:gd name="T15" fmla="*/ 2147483647 h 25"/>
                <a:gd name="T16" fmla="*/ 2147483647 w 66"/>
                <a:gd name="T17" fmla="*/ 0 h 25"/>
                <a:gd name="T18" fmla="*/ 2147483647 w 66"/>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5"/>
                <a:gd name="T32" fmla="*/ 66 w 6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5">
                  <a:moveTo>
                    <a:pt x="46" y="3"/>
                  </a:moveTo>
                  <a:lnTo>
                    <a:pt x="0" y="3"/>
                  </a:lnTo>
                  <a:lnTo>
                    <a:pt x="26" y="17"/>
                  </a:lnTo>
                  <a:lnTo>
                    <a:pt x="54" y="25"/>
                  </a:lnTo>
                  <a:lnTo>
                    <a:pt x="62" y="18"/>
                  </a:lnTo>
                  <a:lnTo>
                    <a:pt x="66" y="5"/>
                  </a:lnTo>
                  <a:lnTo>
                    <a:pt x="62" y="6"/>
                  </a:lnTo>
                  <a:lnTo>
                    <a:pt x="58" y="20"/>
                  </a:lnTo>
                  <a:lnTo>
                    <a:pt x="55" y="0"/>
                  </a:lnTo>
                  <a:lnTo>
                    <a:pt x="46" y="3"/>
                  </a:lnTo>
                  <a:close/>
                </a:path>
              </a:pathLst>
            </a:custGeom>
            <a:grpFill/>
            <a:ln w="6350">
              <a:solidFill>
                <a:schemeClr val="tx2"/>
              </a:solidFill>
              <a:round/>
              <a:headEnd/>
              <a:tailEnd/>
            </a:ln>
          </p:spPr>
          <p:txBody>
            <a:bodyPr/>
            <a:lstStyle/>
            <a:p>
              <a:endParaRPr lang="en-US"/>
            </a:p>
          </p:txBody>
        </p:sp>
        <p:sp>
          <p:nvSpPr>
            <p:cNvPr id="327" name="Freeform 1316"/>
            <p:cNvSpPr>
              <a:spLocks/>
            </p:cNvSpPr>
            <p:nvPr/>
          </p:nvSpPr>
          <p:spPr bwMode="auto">
            <a:xfrm>
              <a:off x="2752273" y="3354537"/>
              <a:ext cx="15172" cy="15172"/>
            </a:xfrm>
            <a:custGeom>
              <a:avLst/>
              <a:gdLst>
                <a:gd name="T0" fmla="*/ 2147483647 w 31"/>
                <a:gd name="T1" fmla="*/ 2147483647 h 32"/>
                <a:gd name="T2" fmla="*/ 2147483647 w 31"/>
                <a:gd name="T3" fmla="*/ 2147483647 h 32"/>
                <a:gd name="T4" fmla="*/ 2147483647 w 31"/>
                <a:gd name="T5" fmla="*/ 2147483647 h 32"/>
                <a:gd name="T6" fmla="*/ 2147483647 w 31"/>
                <a:gd name="T7" fmla="*/ 2147483647 h 32"/>
                <a:gd name="T8" fmla="*/ 2147483647 w 31"/>
                <a:gd name="T9" fmla="*/ 2147483647 h 32"/>
                <a:gd name="T10" fmla="*/ 2147483647 w 31"/>
                <a:gd name="T11" fmla="*/ 2147483647 h 32"/>
                <a:gd name="T12" fmla="*/ 2147483647 w 31"/>
                <a:gd name="T13" fmla="*/ 2147483647 h 32"/>
                <a:gd name="T14" fmla="*/ 2147483647 w 31"/>
                <a:gd name="T15" fmla="*/ 2147483647 h 32"/>
                <a:gd name="T16" fmla="*/ 2147483647 w 31"/>
                <a:gd name="T17" fmla="*/ 0 h 32"/>
                <a:gd name="T18" fmla="*/ 2147483647 w 31"/>
                <a:gd name="T19" fmla="*/ 2147483647 h 32"/>
                <a:gd name="T20" fmla="*/ 0 w 31"/>
                <a:gd name="T21" fmla="*/ 2147483647 h 32"/>
                <a:gd name="T22" fmla="*/ 2147483647 w 31"/>
                <a:gd name="T23" fmla="*/ 2147483647 h 32"/>
                <a:gd name="T24" fmla="*/ 2147483647 w 31"/>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32"/>
                <a:gd name="T41" fmla="*/ 31 w 31"/>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32">
                  <a:moveTo>
                    <a:pt x="20" y="32"/>
                  </a:moveTo>
                  <a:lnTo>
                    <a:pt x="31" y="22"/>
                  </a:lnTo>
                  <a:lnTo>
                    <a:pt x="25" y="19"/>
                  </a:lnTo>
                  <a:lnTo>
                    <a:pt x="23" y="9"/>
                  </a:lnTo>
                  <a:lnTo>
                    <a:pt x="29" y="12"/>
                  </a:lnTo>
                  <a:lnTo>
                    <a:pt x="28" y="18"/>
                  </a:lnTo>
                  <a:lnTo>
                    <a:pt x="31" y="17"/>
                  </a:lnTo>
                  <a:lnTo>
                    <a:pt x="30" y="6"/>
                  </a:lnTo>
                  <a:lnTo>
                    <a:pt x="23" y="0"/>
                  </a:lnTo>
                  <a:lnTo>
                    <a:pt x="7" y="3"/>
                  </a:lnTo>
                  <a:lnTo>
                    <a:pt x="0" y="15"/>
                  </a:lnTo>
                  <a:lnTo>
                    <a:pt x="3" y="24"/>
                  </a:lnTo>
                  <a:lnTo>
                    <a:pt x="20" y="32"/>
                  </a:lnTo>
                  <a:close/>
                </a:path>
              </a:pathLst>
            </a:custGeom>
            <a:grpFill/>
            <a:ln w="6350">
              <a:solidFill>
                <a:schemeClr val="tx2"/>
              </a:solidFill>
              <a:round/>
              <a:headEnd/>
              <a:tailEnd/>
            </a:ln>
          </p:spPr>
          <p:txBody>
            <a:bodyPr/>
            <a:lstStyle/>
            <a:p>
              <a:endParaRPr lang="en-US"/>
            </a:p>
          </p:txBody>
        </p:sp>
        <p:sp>
          <p:nvSpPr>
            <p:cNvPr id="328" name="Freeform 1319"/>
            <p:cNvSpPr>
              <a:spLocks/>
            </p:cNvSpPr>
            <p:nvPr/>
          </p:nvSpPr>
          <p:spPr bwMode="auto">
            <a:xfrm>
              <a:off x="2013440" y="3797534"/>
              <a:ext cx="182054" cy="87993"/>
            </a:xfrm>
            <a:custGeom>
              <a:avLst/>
              <a:gdLst>
                <a:gd name="T0" fmla="*/ 2147483647 w 368"/>
                <a:gd name="T1" fmla="*/ 2147483647 h 176"/>
                <a:gd name="T2" fmla="*/ 2147483647 w 368"/>
                <a:gd name="T3" fmla="*/ 2147483647 h 176"/>
                <a:gd name="T4" fmla="*/ 2147483647 w 368"/>
                <a:gd name="T5" fmla="*/ 2147483647 h 176"/>
                <a:gd name="T6" fmla="*/ 2147483647 w 368"/>
                <a:gd name="T7" fmla="*/ 2147483647 h 176"/>
                <a:gd name="T8" fmla="*/ 2147483647 w 368"/>
                <a:gd name="T9" fmla="*/ 2147483647 h 176"/>
                <a:gd name="T10" fmla="*/ 2147483647 w 368"/>
                <a:gd name="T11" fmla="*/ 2147483647 h 176"/>
                <a:gd name="T12" fmla="*/ 2147483647 w 368"/>
                <a:gd name="T13" fmla="*/ 2147483647 h 176"/>
                <a:gd name="T14" fmla="*/ 2147483647 w 368"/>
                <a:gd name="T15" fmla="*/ 2147483647 h 176"/>
                <a:gd name="T16" fmla="*/ 2147483647 w 368"/>
                <a:gd name="T17" fmla="*/ 2147483647 h 176"/>
                <a:gd name="T18" fmla="*/ 2147483647 w 368"/>
                <a:gd name="T19" fmla="*/ 2147483647 h 176"/>
                <a:gd name="T20" fmla="*/ 2147483647 w 368"/>
                <a:gd name="T21" fmla="*/ 2147483647 h 176"/>
                <a:gd name="T22" fmla="*/ 2147483647 w 368"/>
                <a:gd name="T23" fmla="*/ 2147483647 h 176"/>
                <a:gd name="T24" fmla="*/ 2147483647 w 368"/>
                <a:gd name="T25" fmla="*/ 2147483647 h 176"/>
                <a:gd name="T26" fmla="*/ 2147483647 w 368"/>
                <a:gd name="T27" fmla="*/ 2147483647 h 176"/>
                <a:gd name="T28" fmla="*/ 2147483647 w 368"/>
                <a:gd name="T29" fmla="*/ 2147483647 h 176"/>
                <a:gd name="T30" fmla="*/ 2147483647 w 368"/>
                <a:gd name="T31" fmla="*/ 2147483647 h 176"/>
                <a:gd name="T32" fmla="*/ 2147483647 w 368"/>
                <a:gd name="T33" fmla="*/ 2147483647 h 176"/>
                <a:gd name="T34" fmla="*/ 2147483647 w 368"/>
                <a:gd name="T35" fmla="*/ 2147483647 h 176"/>
                <a:gd name="T36" fmla="*/ 2147483647 w 368"/>
                <a:gd name="T37" fmla="*/ 2147483647 h 176"/>
                <a:gd name="T38" fmla="*/ 2147483647 w 368"/>
                <a:gd name="T39" fmla="*/ 2147483647 h 176"/>
                <a:gd name="T40" fmla="*/ 2147483647 w 368"/>
                <a:gd name="T41" fmla="*/ 2147483647 h 176"/>
                <a:gd name="T42" fmla="*/ 2147483647 w 368"/>
                <a:gd name="T43" fmla="*/ 2147483647 h 176"/>
                <a:gd name="T44" fmla="*/ 2147483647 w 368"/>
                <a:gd name="T45" fmla="*/ 2147483647 h 176"/>
                <a:gd name="T46" fmla="*/ 2147483647 w 368"/>
                <a:gd name="T47" fmla="*/ 2147483647 h 176"/>
                <a:gd name="T48" fmla="*/ 2147483647 w 368"/>
                <a:gd name="T49" fmla="*/ 2147483647 h 176"/>
                <a:gd name="T50" fmla="*/ 2147483647 w 368"/>
                <a:gd name="T51" fmla="*/ 2147483647 h 176"/>
                <a:gd name="T52" fmla="*/ 2147483647 w 368"/>
                <a:gd name="T53" fmla="*/ 2147483647 h 176"/>
                <a:gd name="T54" fmla="*/ 2147483647 w 368"/>
                <a:gd name="T55" fmla="*/ 2147483647 h 176"/>
                <a:gd name="T56" fmla="*/ 2147483647 w 368"/>
                <a:gd name="T57" fmla="*/ 0 h 176"/>
                <a:gd name="T58" fmla="*/ 2147483647 w 368"/>
                <a:gd name="T59" fmla="*/ 0 h 176"/>
                <a:gd name="T60" fmla="*/ 2147483647 w 368"/>
                <a:gd name="T61" fmla="*/ 0 h 176"/>
                <a:gd name="T62" fmla="*/ 2147483647 w 368"/>
                <a:gd name="T63" fmla="*/ 0 h 176"/>
                <a:gd name="T64" fmla="*/ 2147483647 w 368"/>
                <a:gd name="T65" fmla="*/ 0 h 176"/>
                <a:gd name="T66" fmla="*/ 0 w 368"/>
                <a:gd name="T67" fmla="*/ 0 h 176"/>
                <a:gd name="T68" fmla="*/ 0 w 368"/>
                <a:gd name="T69" fmla="*/ 2147483647 h 176"/>
                <a:gd name="T70" fmla="*/ 2147483647 w 368"/>
                <a:gd name="T71" fmla="*/ 2147483647 h 17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8"/>
                <a:gd name="T109" fmla="*/ 0 h 176"/>
                <a:gd name="T110" fmla="*/ 368 w 368"/>
                <a:gd name="T111" fmla="*/ 176 h 17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8" h="176">
                  <a:moveTo>
                    <a:pt x="44" y="27"/>
                  </a:moveTo>
                  <a:lnTo>
                    <a:pt x="82" y="27"/>
                  </a:lnTo>
                  <a:lnTo>
                    <a:pt x="129" y="27"/>
                  </a:lnTo>
                  <a:lnTo>
                    <a:pt x="129" y="128"/>
                  </a:lnTo>
                  <a:lnTo>
                    <a:pt x="144" y="138"/>
                  </a:lnTo>
                  <a:lnTo>
                    <a:pt x="155" y="138"/>
                  </a:lnTo>
                  <a:lnTo>
                    <a:pt x="157" y="134"/>
                  </a:lnTo>
                  <a:lnTo>
                    <a:pt x="165" y="147"/>
                  </a:lnTo>
                  <a:lnTo>
                    <a:pt x="189" y="150"/>
                  </a:lnTo>
                  <a:lnTo>
                    <a:pt x="195" y="155"/>
                  </a:lnTo>
                  <a:lnTo>
                    <a:pt x="210" y="151"/>
                  </a:lnTo>
                  <a:lnTo>
                    <a:pt x="216" y="164"/>
                  </a:lnTo>
                  <a:lnTo>
                    <a:pt x="221" y="165"/>
                  </a:lnTo>
                  <a:lnTo>
                    <a:pt x="231" y="159"/>
                  </a:lnTo>
                  <a:lnTo>
                    <a:pt x="240" y="167"/>
                  </a:lnTo>
                  <a:lnTo>
                    <a:pt x="250" y="163"/>
                  </a:lnTo>
                  <a:lnTo>
                    <a:pt x="252" y="172"/>
                  </a:lnTo>
                  <a:lnTo>
                    <a:pt x="255" y="166"/>
                  </a:lnTo>
                  <a:lnTo>
                    <a:pt x="267" y="162"/>
                  </a:lnTo>
                  <a:lnTo>
                    <a:pt x="288" y="174"/>
                  </a:lnTo>
                  <a:lnTo>
                    <a:pt x="304" y="164"/>
                  </a:lnTo>
                  <a:lnTo>
                    <a:pt x="311" y="166"/>
                  </a:lnTo>
                  <a:lnTo>
                    <a:pt x="319" y="161"/>
                  </a:lnTo>
                  <a:lnTo>
                    <a:pt x="329" y="165"/>
                  </a:lnTo>
                  <a:lnTo>
                    <a:pt x="334" y="160"/>
                  </a:lnTo>
                  <a:lnTo>
                    <a:pt x="368" y="176"/>
                  </a:lnTo>
                  <a:lnTo>
                    <a:pt x="368" y="86"/>
                  </a:lnTo>
                  <a:lnTo>
                    <a:pt x="362" y="27"/>
                  </a:lnTo>
                  <a:lnTo>
                    <a:pt x="362" y="0"/>
                  </a:lnTo>
                  <a:lnTo>
                    <a:pt x="296" y="0"/>
                  </a:lnTo>
                  <a:lnTo>
                    <a:pt x="219" y="0"/>
                  </a:lnTo>
                  <a:lnTo>
                    <a:pt x="147" y="0"/>
                  </a:lnTo>
                  <a:lnTo>
                    <a:pt x="84" y="0"/>
                  </a:lnTo>
                  <a:lnTo>
                    <a:pt x="0" y="0"/>
                  </a:lnTo>
                  <a:lnTo>
                    <a:pt x="0" y="27"/>
                  </a:lnTo>
                  <a:lnTo>
                    <a:pt x="44" y="27"/>
                  </a:lnTo>
                  <a:close/>
                </a:path>
              </a:pathLst>
            </a:custGeom>
            <a:grpFill/>
            <a:ln w="6350">
              <a:solidFill>
                <a:schemeClr val="tx2"/>
              </a:solidFill>
              <a:round/>
              <a:headEnd/>
              <a:tailEnd/>
            </a:ln>
          </p:spPr>
          <p:txBody>
            <a:bodyPr/>
            <a:lstStyle/>
            <a:p>
              <a:endParaRPr lang="en-US"/>
            </a:p>
          </p:txBody>
        </p:sp>
        <p:sp>
          <p:nvSpPr>
            <p:cNvPr id="329" name="Line 347"/>
            <p:cNvSpPr>
              <a:spLocks noChangeShapeType="1"/>
            </p:cNvSpPr>
            <p:nvPr/>
          </p:nvSpPr>
          <p:spPr bwMode="auto">
            <a:xfrm flipV="1">
              <a:off x="2599045" y="3331781"/>
              <a:ext cx="151711" cy="203293"/>
            </a:xfrm>
            <a:prstGeom prst="line">
              <a:avLst/>
            </a:prstGeom>
            <a:grpFill/>
            <a:ln w="12700">
              <a:solidFill>
                <a:schemeClr val="tx2"/>
              </a:solidFill>
              <a:round/>
              <a:headEnd type="none" w="sm" len="sm"/>
              <a:tailEnd type="none" w="sm" len="sm"/>
            </a:ln>
          </p:spPr>
          <p:txBody>
            <a:bodyPr>
              <a:spAutoFit/>
            </a:bodyPr>
            <a:lstStyle/>
            <a:p>
              <a:endParaRPr lang="en-US"/>
            </a:p>
          </p:txBody>
        </p:sp>
        <p:sp>
          <p:nvSpPr>
            <p:cNvPr id="330" name="Line 386"/>
            <p:cNvSpPr>
              <a:spLocks noChangeShapeType="1"/>
            </p:cNvSpPr>
            <p:nvPr/>
          </p:nvSpPr>
          <p:spPr bwMode="auto">
            <a:xfrm flipH="1" flipV="1">
              <a:off x="2416992" y="3302955"/>
              <a:ext cx="63718" cy="270046"/>
            </a:xfrm>
            <a:prstGeom prst="line">
              <a:avLst/>
            </a:prstGeom>
            <a:grpFill/>
            <a:ln w="12700">
              <a:solidFill>
                <a:schemeClr val="tx2"/>
              </a:solidFill>
              <a:round/>
              <a:headEnd type="none" w="sm" len="sm"/>
              <a:tailEnd type="none" w="sm" len="sm"/>
            </a:ln>
          </p:spPr>
          <p:txBody>
            <a:bodyPr>
              <a:spAutoFit/>
            </a:bodyPr>
            <a:lstStyle/>
            <a:p>
              <a:endParaRPr lang="en-US"/>
            </a:p>
          </p:txBody>
        </p:sp>
        <p:sp>
          <p:nvSpPr>
            <p:cNvPr id="331" name="Freeform 1426"/>
            <p:cNvSpPr>
              <a:spLocks/>
            </p:cNvSpPr>
            <p:nvPr/>
          </p:nvSpPr>
          <p:spPr bwMode="auto">
            <a:xfrm>
              <a:off x="5560451" y="3459218"/>
              <a:ext cx="409621" cy="373210"/>
            </a:xfrm>
            <a:custGeom>
              <a:avLst/>
              <a:gdLst>
                <a:gd name="T0" fmla="*/ 2147483647 w 824"/>
                <a:gd name="T1" fmla="*/ 2147483647 h 751"/>
                <a:gd name="T2" fmla="*/ 2147483647 w 824"/>
                <a:gd name="T3" fmla="*/ 2147483647 h 751"/>
                <a:gd name="T4" fmla="*/ 2147483647 w 824"/>
                <a:gd name="T5" fmla="*/ 2147483647 h 751"/>
                <a:gd name="T6" fmla="*/ 2147483647 w 824"/>
                <a:gd name="T7" fmla="*/ 2147483647 h 751"/>
                <a:gd name="T8" fmla="*/ 2147483647 w 824"/>
                <a:gd name="T9" fmla="*/ 2147483647 h 751"/>
                <a:gd name="T10" fmla="*/ 2147483647 w 824"/>
                <a:gd name="T11" fmla="*/ 2147483647 h 751"/>
                <a:gd name="T12" fmla="*/ 2147483647 w 824"/>
                <a:gd name="T13" fmla="*/ 2147483647 h 751"/>
                <a:gd name="T14" fmla="*/ 2147483647 w 824"/>
                <a:gd name="T15" fmla="*/ 2147483647 h 751"/>
                <a:gd name="T16" fmla="*/ 2147483647 w 824"/>
                <a:gd name="T17" fmla="*/ 2147483647 h 751"/>
                <a:gd name="T18" fmla="*/ 2147483647 w 824"/>
                <a:gd name="T19" fmla="*/ 2147483647 h 751"/>
                <a:gd name="T20" fmla="*/ 2147483647 w 824"/>
                <a:gd name="T21" fmla="*/ 2147483647 h 751"/>
                <a:gd name="T22" fmla="*/ 2147483647 w 824"/>
                <a:gd name="T23" fmla="*/ 2147483647 h 751"/>
                <a:gd name="T24" fmla="*/ 2147483647 w 824"/>
                <a:gd name="T25" fmla="*/ 2147483647 h 751"/>
                <a:gd name="T26" fmla="*/ 2147483647 w 824"/>
                <a:gd name="T27" fmla="*/ 2147483647 h 751"/>
                <a:gd name="T28" fmla="*/ 2147483647 w 824"/>
                <a:gd name="T29" fmla="*/ 2147483647 h 751"/>
                <a:gd name="T30" fmla="*/ 2147483647 w 824"/>
                <a:gd name="T31" fmla="*/ 2147483647 h 751"/>
                <a:gd name="T32" fmla="*/ 2147483647 w 824"/>
                <a:gd name="T33" fmla="*/ 2147483647 h 751"/>
                <a:gd name="T34" fmla="*/ 2147483647 w 824"/>
                <a:gd name="T35" fmla="*/ 2147483647 h 751"/>
                <a:gd name="T36" fmla="*/ 2147483647 w 824"/>
                <a:gd name="T37" fmla="*/ 2147483647 h 751"/>
                <a:gd name="T38" fmla="*/ 2147483647 w 824"/>
                <a:gd name="T39" fmla="*/ 2147483647 h 751"/>
                <a:gd name="T40" fmla="*/ 2147483647 w 824"/>
                <a:gd name="T41" fmla="*/ 2147483647 h 751"/>
                <a:gd name="T42" fmla="*/ 2147483647 w 824"/>
                <a:gd name="T43" fmla="*/ 2147483647 h 751"/>
                <a:gd name="T44" fmla="*/ 2147483647 w 824"/>
                <a:gd name="T45" fmla="*/ 2147483647 h 751"/>
                <a:gd name="T46" fmla="*/ 2147483647 w 824"/>
                <a:gd name="T47" fmla="*/ 2147483647 h 751"/>
                <a:gd name="T48" fmla="*/ 2147483647 w 824"/>
                <a:gd name="T49" fmla="*/ 2147483647 h 751"/>
                <a:gd name="T50" fmla="*/ 2147483647 w 824"/>
                <a:gd name="T51" fmla="*/ 2147483647 h 751"/>
                <a:gd name="T52" fmla="*/ 2147483647 w 824"/>
                <a:gd name="T53" fmla="*/ 2147483647 h 751"/>
                <a:gd name="T54" fmla="*/ 2147483647 w 824"/>
                <a:gd name="T55" fmla="*/ 2147483647 h 751"/>
                <a:gd name="T56" fmla="*/ 2147483647 w 824"/>
                <a:gd name="T57" fmla="*/ 2147483647 h 751"/>
                <a:gd name="T58" fmla="*/ 2147483647 w 824"/>
                <a:gd name="T59" fmla="*/ 2147483647 h 751"/>
                <a:gd name="T60" fmla="*/ 2147483647 w 824"/>
                <a:gd name="T61" fmla="*/ 2147483647 h 751"/>
                <a:gd name="T62" fmla="*/ 2147483647 w 824"/>
                <a:gd name="T63" fmla="*/ 2147483647 h 751"/>
                <a:gd name="T64" fmla="*/ 2147483647 w 824"/>
                <a:gd name="T65" fmla="*/ 2147483647 h 751"/>
                <a:gd name="T66" fmla="*/ 2147483647 w 824"/>
                <a:gd name="T67" fmla="*/ 2147483647 h 751"/>
                <a:gd name="T68" fmla="*/ 2147483647 w 824"/>
                <a:gd name="T69" fmla="*/ 2147483647 h 751"/>
                <a:gd name="T70" fmla="*/ 2147483647 w 824"/>
                <a:gd name="T71" fmla="*/ 2147483647 h 751"/>
                <a:gd name="T72" fmla="*/ 2147483647 w 824"/>
                <a:gd name="T73" fmla="*/ 2147483647 h 751"/>
                <a:gd name="T74" fmla="*/ 2147483647 w 824"/>
                <a:gd name="T75" fmla="*/ 2147483647 h 751"/>
                <a:gd name="T76" fmla="*/ 2147483647 w 824"/>
                <a:gd name="T77" fmla="*/ 2147483647 h 751"/>
                <a:gd name="T78" fmla="*/ 2147483647 w 824"/>
                <a:gd name="T79" fmla="*/ 2147483647 h 751"/>
                <a:gd name="T80" fmla="*/ 2147483647 w 824"/>
                <a:gd name="T81" fmla="*/ 2147483647 h 751"/>
                <a:gd name="T82" fmla="*/ 2147483647 w 824"/>
                <a:gd name="T83" fmla="*/ 2147483647 h 751"/>
                <a:gd name="T84" fmla="*/ 2147483647 w 824"/>
                <a:gd name="T85" fmla="*/ 2147483647 h 751"/>
                <a:gd name="T86" fmla="*/ 2147483647 w 824"/>
                <a:gd name="T87" fmla="*/ 2147483647 h 751"/>
                <a:gd name="T88" fmla="*/ 2147483647 w 824"/>
                <a:gd name="T89" fmla="*/ 2147483647 h 751"/>
                <a:gd name="T90" fmla="*/ 2147483647 w 824"/>
                <a:gd name="T91" fmla="*/ 2147483647 h 751"/>
                <a:gd name="T92" fmla="*/ 2147483647 w 824"/>
                <a:gd name="T93" fmla="*/ 2147483647 h 751"/>
                <a:gd name="T94" fmla="*/ 2147483647 w 824"/>
                <a:gd name="T95" fmla="*/ 2147483647 h 751"/>
                <a:gd name="T96" fmla="*/ 2147483647 w 824"/>
                <a:gd name="T97" fmla="*/ 2147483647 h 751"/>
                <a:gd name="T98" fmla="*/ 2147483647 w 824"/>
                <a:gd name="T99" fmla="*/ 2147483647 h 751"/>
                <a:gd name="T100" fmla="*/ 2147483647 w 824"/>
                <a:gd name="T101" fmla="*/ 2147483647 h 751"/>
                <a:gd name="T102" fmla="*/ 2147483647 w 824"/>
                <a:gd name="T103" fmla="*/ 2147483647 h 751"/>
                <a:gd name="T104" fmla="*/ 2147483647 w 824"/>
                <a:gd name="T105" fmla="*/ 2147483647 h 751"/>
                <a:gd name="T106" fmla="*/ 2147483647 w 824"/>
                <a:gd name="T107" fmla="*/ 2147483647 h 751"/>
                <a:gd name="T108" fmla="*/ 2147483647 w 824"/>
                <a:gd name="T109" fmla="*/ 2147483647 h 751"/>
                <a:gd name="T110" fmla="*/ 2147483647 w 824"/>
                <a:gd name="T111" fmla="*/ 2147483647 h 751"/>
                <a:gd name="T112" fmla="*/ 2147483647 w 824"/>
                <a:gd name="T113" fmla="*/ 2147483647 h 751"/>
                <a:gd name="T114" fmla="*/ 2147483647 w 824"/>
                <a:gd name="T115" fmla="*/ 2147483647 h 751"/>
                <a:gd name="T116" fmla="*/ 2147483647 w 824"/>
                <a:gd name="T117" fmla="*/ 2147483647 h 751"/>
                <a:gd name="T118" fmla="*/ 2147483647 w 824"/>
                <a:gd name="T119" fmla="*/ 2147483647 h 751"/>
                <a:gd name="T120" fmla="*/ 2147483647 w 824"/>
                <a:gd name="T121" fmla="*/ 2147483647 h 751"/>
                <a:gd name="T122" fmla="*/ 2147483647 w 824"/>
                <a:gd name="T123" fmla="*/ 2147483647 h 7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24"/>
                <a:gd name="T187" fmla="*/ 0 h 751"/>
                <a:gd name="T188" fmla="*/ 824 w 824"/>
                <a:gd name="T189" fmla="*/ 751 h 75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24" h="751">
                  <a:moveTo>
                    <a:pt x="753" y="751"/>
                  </a:moveTo>
                  <a:lnTo>
                    <a:pt x="764" y="707"/>
                  </a:lnTo>
                  <a:lnTo>
                    <a:pt x="780" y="689"/>
                  </a:lnTo>
                  <a:lnTo>
                    <a:pt x="813" y="680"/>
                  </a:lnTo>
                  <a:lnTo>
                    <a:pt x="823" y="669"/>
                  </a:lnTo>
                  <a:lnTo>
                    <a:pt x="824" y="657"/>
                  </a:lnTo>
                  <a:lnTo>
                    <a:pt x="805" y="650"/>
                  </a:lnTo>
                  <a:lnTo>
                    <a:pt x="801" y="607"/>
                  </a:lnTo>
                  <a:lnTo>
                    <a:pt x="754" y="580"/>
                  </a:lnTo>
                  <a:lnTo>
                    <a:pt x="736" y="547"/>
                  </a:lnTo>
                  <a:lnTo>
                    <a:pt x="720" y="530"/>
                  </a:lnTo>
                  <a:lnTo>
                    <a:pt x="722" y="527"/>
                  </a:lnTo>
                  <a:lnTo>
                    <a:pt x="732" y="506"/>
                  </a:lnTo>
                  <a:lnTo>
                    <a:pt x="751" y="484"/>
                  </a:lnTo>
                  <a:lnTo>
                    <a:pt x="756" y="460"/>
                  </a:lnTo>
                  <a:lnTo>
                    <a:pt x="743" y="439"/>
                  </a:lnTo>
                  <a:lnTo>
                    <a:pt x="722" y="435"/>
                  </a:lnTo>
                  <a:lnTo>
                    <a:pt x="715" y="427"/>
                  </a:lnTo>
                  <a:lnTo>
                    <a:pt x="714" y="390"/>
                  </a:lnTo>
                  <a:lnTo>
                    <a:pt x="707" y="367"/>
                  </a:lnTo>
                  <a:lnTo>
                    <a:pt x="716" y="339"/>
                  </a:lnTo>
                  <a:lnTo>
                    <a:pt x="715" y="331"/>
                  </a:lnTo>
                  <a:lnTo>
                    <a:pt x="704" y="328"/>
                  </a:lnTo>
                  <a:lnTo>
                    <a:pt x="704" y="312"/>
                  </a:lnTo>
                  <a:lnTo>
                    <a:pt x="704" y="305"/>
                  </a:lnTo>
                  <a:lnTo>
                    <a:pt x="721" y="297"/>
                  </a:lnTo>
                  <a:lnTo>
                    <a:pt x="721" y="285"/>
                  </a:lnTo>
                  <a:lnTo>
                    <a:pt x="731" y="269"/>
                  </a:lnTo>
                  <a:lnTo>
                    <a:pt x="736" y="228"/>
                  </a:lnTo>
                  <a:lnTo>
                    <a:pt x="738" y="217"/>
                  </a:lnTo>
                  <a:lnTo>
                    <a:pt x="732" y="176"/>
                  </a:lnTo>
                  <a:lnTo>
                    <a:pt x="713" y="176"/>
                  </a:lnTo>
                  <a:lnTo>
                    <a:pt x="661" y="144"/>
                  </a:lnTo>
                  <a:lnTo>
                    <a:pt x="651" y="124"/>
                  </a:lnTo>
                  <a:lnTo>
                    <a:pt x="615" y="118"/>
                  </a:lnTo>
                  <a:lnTo>
                    <a:pt x="574" y="102"/>
                  </a:lnTo>
                  <a:lnTo>
                    <a:pt x="557" y="83"/>
                  </a:lnTo>
                  <a:lnTo>
                    <a:pt x="528" y="84"/>
                  </a:lnTo>
                  <a:lnTo>
                    <a:pt x="522" y="95"/>
                  </a:lnTo>
                  <a:lnTo>
                    <a:pt x="485" y="95"/>
                  </a:lnTo>
                  <a:lnTo>
                    <a:pt x="446" y="127"/>
                  </a:lnTo>
                  <a:lnTo>
                    <a:pt x="421" y="130"/>
                  </a:lnTo>
                  <a:lnTo>
                    <a:pt x="428" y="162"/>
                  </a:lnTo>
                  <a:lnTo>
                    <a:pt x="395" y="164"/>
                  </a:lnTo>
                  <a:lnTo>
                    <a:pt x="324" y="177"/>
                  </a:lnTo>
                  <a:lnTo>
                    <a:pt x="282" y="158"/>
                  </a:lnTo>
                  <a:lnTo>
                    <a:pt x="260" y="133"/>
                  </a:lnTo>
                  <a:lnTo>
                    <a:pt x="240" y="134"/>
                  </a:lnTo>
                  <a:lnTo>
                    <a:pt x="213" y="122"/>
                  </a:lnTo>
                  <a:lnTo>
                    <a:pt x="204" y="73"/>
                  </a:lnTo>
                  <a:lnTo>
                    <a:pt x="190" y="72"/>
                  </a:lnTo>
                  <a:lnTo>
                    <a:pt x="165" y="55"/>
                  </a:lnTo>
                  <a:lnTo>
                    <a:pt x="180" y="44"/>
                  </a:lnTo>
                  <a:lnTo>
                    <a:pt x="175" y="17"/>
                  </a:lnTo>
                  <a:lnTo>
                    <a:pt x="161" y="10"/>
                  </a:lnTo>
                  <a:lnTo>
                    <a:pt x="131" y="22"/>
                  </a:lnTo>
                  <a:lnTo>
                    <a:pt x="111" y="52"/>
                  </a:lnTo>
                  <a:lnTo>
                    <a:pt x="99" y="51"/>
                  </a:lnTo>
                  <a:lnTo>
                    <a:pt x="82" y="53"/>
                  </a:lnTo>
                  <a:lnTo>
                    <a:pt x="77" y="51"/>
                  </a:lnTo>
                  <a:lnTo>
                    <a:pt x="55" y="49"/>
                  </a:lnTo>
                  <a:lnTo>
                    <a:pt x="25" y="7"/>
                  </a:lnTo>
                  <a:lnTo>
                    <a:pt x="20" y="0"/>
                  </a:lnTo>
                  <a:lnTo>
                    <a:pt x="11" y="19"/>
                  </a:lnTo>
                  <a:lnTo>
                    <a:pt x="0" y="26"/>
                  </a:lnTo>
                  <a:lnTo>
                    <a:pt x="7" y="46"/>
                  </a:lnTo>
                  <a:lnTo>
                    <a:pt x="7" y="109"/>
                  </a:lnTo>
                  <a:lnTo>
                    <a:pt x="27" y="128"/>
                  </a:lnTo>
                  <a:lnTo>
                    <a:pt x="28" y="141"/>
                  </a:lnTo>
                  <a:lnTo>
                    <a:pt x="33" y="167"/>
                  </a:lnTo>
                  <a:lnTo>
                    <a:pt x="50" y="187"/>
                  </a:lnTo>
                  <a:lnTo>
                    <a:pt x="55" y="205"/>
                  </a:lnTo>
                  <a:lnTo>
                    <a:pt x="63" y="213"/>
                  </a:lnTo>
                  <a:lnTo>
                    <a:pt x="92" y="217"/>
                  </a:lnTo>
                  <a:lnTo>
                    <a:pt x="82" y="235"/>
                  </a:lnTo>
                  <a:lnTo>
                    <a:pt x="86" y="249"/>
                  </a:lnTo>
                  <a:lnTo>
                    <a:pt x="69" y="274"/>
                  </a:lnTo>
                  <a:lnTo>
                    <a:pt x="69" y="280"/>
                  </a:lnTo>
                  <a:lnTo>
                    <a:pt x="60" y="287"/>
                  </a:lnTo>
                  <a:lnTo>
                    <a:pt x="52" y="315"/>
                  </a:lnTo>
                  <a:lnTo>
                    <a:pt x="54" y="326"/>
                  </a:lnTo>
                  <a:lnTo>
                    <a:pt x="65" y="330"/>
                  </a:lnTo>
                  <a:lnTo>
                    <a:pt x="78" y="351"/>
                  </a:lnTo>
                  <a:lnTo>
                    <a:pt x="79" y="360"/>
                  </a:lnTo>
                  <a:lnTo>
                    <a:pt x="136" y="396"/>
                  </a:lnTo>
                  <a:lnTo>
                    <a:pt x="152" y="428"/>
                  </a:lnTo>
                  <a:lnTo>
                    <a:pt x="149" y="466"/>
                  </a:lnTo>
                  <a:lnTo>
                    <a:pt x="160" y="471"/>
                  </a:lnTo>
                  <a:lnTo>
                    <a:pt x="167" y="493"/>
                  </a:lnTo>
                  <a:lnTo>
                    <a:pt x="192" y="515"/>
                  </a:lnTo>
                  <a:lnTo>
                    <a:pt x="193" y="507"/>
                  </a:lnTo>
                  <a:lnTo>
                    <a:pt x="199" y="507"/>
                  </a:lnTo>
                  <a:lnTo>
                    <a:pt x="199" y="491"/>
                  </a:lnTo>
                  <a:lnTo>
                    <a:pt x="202" y="489"/>
                  </a:lnTo>
                  <a:lnTo>
                    <a:pt x="213" y="494"/>
                  </a:lnTo>
                  <a:lnTo>
                    <a:pt x="217" y="509"/>
                  </a:lnTo>
                  <a:lnTo>
                    <a:pt x="232" y="521"/>
                  </a:lnTo>
                  <a:lnTo>
                    <a:pt x="247" y="510"/>
                  </a:lnTo>
                  <a:lnTo>
                    <a:pt x="252" y="514"/>
                  </a:lnTo>
                  <a:lnTo>
                    <a:pt x="264" y="537"/>
                  </a:lnTo>
                  <a:lnTo>
                    <a:pt x="270" y="541"/>
                  </a:lnTo>
                  <a:lnTo>
                    <a:pt x="277" y="559"/>
                  </a:lnTo>
                  <a:lnTo>
                    <a:pt x="293" y="572"/>
                  </a:lnTo>
                  <a:lnTo>
                    <a:pt x="315" y="623"/>
                  </a:lnTo>
                  <a:lnTo>
                    <a:pt x="357" y="637"/>
                  </a:lnTo>
                  <a:lnTo>
                    <a:pt x="371" y="658"/>
                  </a:lnTo>
                  <a:lnTo>
                    <a:pt x="401" y="669"/>
                  </a:lnTo>
                  <a:lnTo>
                    <a:pt x="399" y="672"/>
                  </a:lnTo>
                  <a:lnTo>
                    <a:pt x="406" y="680"/>
                  </a:lnTo>
                  <a:lnTo>
                    <a:pt x="423" y="678"/>
                  </a:lnTo>
                  <a:lnTo>
                    <a:pt x="451" y="688"/>
                  </a:lnTo>
                  <a:lnTo>
                    <a:pt x="480" y="678"/>
                  </a:lnTo>
                  <a:lnTo>
                    <a:pt x="492" y="669"/>
                  </a:lnTo>
                  <a:lnTo>
                    <a:pt x="529" y="658"/>
                  </a:lnTo>
                  <a:lnTo>
                    <a:pt x="549" y="669"/>
                  </a:lnTo>
                  <a:lnTo>
                    <a:pt x="571" y="726"/>
                  </a:lnTo>
                  <a:lnTo>
                    <a:pt x="623" y="732"/>
                  </a:lnTo>
                  <a:lnTo>
                    <a:pt x="643" y="741"/>
                  </a:lnTo>
                  <a:lnTo>
                    <a:pt x="648" y="737"/>
                  </a:lnTo>
                  <a:lnTo>
                    <a:pt x="672" y="743"/>
                  </a:lnTo>
                  <a:lnTo>
                    <a:pt x="700" y="744"/>
                  </a:lnTo>
                  <a:lnTo>
                    <a:pt x="705" y="740"/>
                  </a:lnTo>
                  <a:lnTo>
                    <a:pt x="723" y="750"/>
                  </a:lnTo>
                  <a:lnTo>
                    <a:pt x="753" y="751"/>
                  </a:lnTo>
                  <a:close/>
                </a:path>
              </a:pathLst>
            </a:custGeom>
            <a:grpFill/>
            <a:ln w="6350">
              <a:solidFill>
                <a:schemeClr val="tx2"/>
              </a:solidFill>
              <a:round/>
              <a:headEnd/>
              <a:tailEnd/>
            </a:ln>
          </p:spPr>
          <p:txBody>
            <a:bodyPr/>
            <a:lstStyle/>
            <a:p>
              <a:endParaRPr lang="en-US"/>
            </a:p>
          </p:txBody>
        </p:sp>
        <p:sp>
          <p:nvSpPr>
            <p:cNvPr id="332" name="Freeform 1703"/>
            <p:cNvSpPr>
              <a:spLocks/>
            </p:cNvSpPr>
            <p:nvPr/>
          </p:nvSpPr>
          <p:spPr bwMode="auto">
            <a:xfrm>
              <a:off x="6306872" y="2055888"/>
              <a:ext cx="19722" cy="21239"/>
            </a:xfrm>
            <a:custGeom>
              <a:avLst/>
              <a:gdLst>
                <a:gd name="T0" fmla="*/ 2147483647 w 36"/>
                <a:gd name="T1" fmla="*/ 0 h 46"/>
                <a:gd name="T2" fmla="*/ 2147483647 w 36"/>
                <a:gd name="T3" fmla="*/ 2147483647 h 46"/>
                <a:gd name="T4" fmla="*/ 2147483647 w 36"/>
                <a:gd name="T5" fmla="*/ 2147483647 h 46"/>
                <a:gd name="T6" fmla="*/ 0 w 36"/>
                <a:gd name="T7" fmla="*/ 2147483647 h 46"/>
                <a:gd name="T8" fmla="*/ 2147483647 w 36"/>
                <a:gd name="T9" fmla="*/ 0 h 46"/>
                <a:gd name="T10" fmla="*/ 0 60000 65536"/>
                <a:gd name="T11" fmla="*/ 0 60000 65536"/>
                <a:gd name="T12" fmla="*/ 0 60000 65536"/>
                <a:gd name="T13" fmla="*/ 0 60000 65536"/>
                <a:gd name="T14" fmla="*/ 0 60000 65536"/>
                <a:gd name="T15" fmla="*/ 0 w 36"/>
                <a:gd name="T16" fmla="*/ 0 h 46"/>
                <a:gd name="T17" fmla="*/ 36 w 36"/>
                <a:gd name="T18" fmla="*/ 46 h 46"/>
              </a:gdLst>
              <a:ahLst/>
              <a:cxnLst>
                <a:cxn ang="T10">
                  <a:pos x="T0" y="T1"/>
                </a:cxn>
                <a:cxn ang="T11">
                  <a:pos x="T2" y="T3"/>
                </a:cxn>
                <a:cxn ang="T12">
                  <a:pos x="T4" y="T5"/>
                </a:cxn>
                <a:cxn ang="T13">
                  <a:pos x="T6" y="T7"/>
                </a:cxn>
                <a:cxn ang="T14">
                  <a:pos x="T8" y="T9"/>
                </a:cxn>
              </a:cxnLst>
              <a:rect l="T15" t="T16" r="T17" b="T18"/>
              <a:pathLst>
                <a:path w="36" h="46">
                  <a:moveTo>
                    <a:pt x="24" y="0"/>
                  </a:moveTo>
                  <a:lnTo>
                    <a:pt x="35" y="18"/>
                  </a:lnTo>
                  <a:lnTo>
                    <a:pt x="36" y="46"/>
                  </a:lnTo>
                  <a:lnTo>
                    <a:pt x="0" y="30"/>
                  </a:lnTo>
                  <a:lnTo>
                    <a:pt x="24" y="0"/>
                  </a:lnTo>
                  <a:close/>
                </a:path>
              </a:pathLst>
            </a:custGeom>
            <a:grpFill/>
            <a:ln w="6350">
              <a:solidFill>
                <a:schemeClr val="tx2"/>
              </a:solidFill>
              <a:round/>
              <a:headEnd/>
              <a:tailEnd/>
            </a:ln>
          </p:spPr>
          <p:txBody>
            <a:bodyPr/>
            <a:lstStyle/>
            <a:p>
              <a:endParaRPr lang="en-US"/>
            </a:p>
          </p:txBody>
        </p:sp>
        <p:sp>
          <p:nvSpPr>
            <p:cNvPr id="333" name="Freeform 1704"/>
            <p:cNvSpPr>
              <a:spLocks/>
            </p:cNvSpPr>
            <p:nvPr/>
          </p:nvSpPr>
          <p:spPr bwMode="auto">
            <a:xfrm>
              <a:off x="6271977" y="2086230"/>
              <a:ext cx="28826" cy="24273"/>
            </a:xfrm>
            <a:custGeom>
              <a:avLst/>
              <a:gdLst>
                <a:gd name="T0" fmla="*/ 2147483647 w 58"/>
                <a:gd name="T1" fmla="*/ 2147483647 h 49"/>
                <a:gd name="T2" fmla="*/ 2147483647 w 58"/>
                <a:gd name="T3" fmla="*/ 0 h 49"/>
                <a:gd name="T4" fmla="*/ 2147483647 w 58"/>
                <a:gd name="T5" fmla="*/ 2147483647 h 49"/>
                <a:gd name="T6" fmla="*/ 2147483647 w 58"/>
                <a:gd name="T7" fmla="*/ 2147483647 h 49"/>
                <a:gd name="T8" fmla="*/ 2147483647 w 58"/>
                <a:gd name="T9" fmla="*/ 2147483647 h 49"/>
                <a:gd name="T10" fmla="*/ 0 w 58"/>
                <a:gd name="T11" fmla="*/ 2147483647 h 49"/>
                <a:gd name="T12" fmla="*/ 2147483647 w 58"/>
                <a:gd name="T13" fmla="*/ 2147483647 h 49"/>
                <a:gd name="T14" fmla="*/ 2147483647 w 58"/>
                <a:gd name="T15" fmla="*/ 2147483647 h 49"/>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49"/>
                <a:gd name="T26" fmla="*/ 58 w 58"/>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49">
                  <a:moveTo>
                    <a:pt x="17" y="11"/>
                  </a:moveTo>
                  <a:lnTo>
                    <a:pt x="26" y="0"/>
                  </a:lnTo>
                  <a:lnTo>
                    <a:pt x="58" y="15"/>
                  </a:lnTo>
                  <a:lnTo>
                    <a:pt x="38" y="42"/>
                  </a:lnTo>
                  <a:lnTo>
                    <a:pt x="2" y="49"/>
                  </a:lnTo>
                  <a:lnTo>
                    <a:pt x="0" y="41"/>
                  </a:lnTo>
                  <a:lnTo>
                    <a:pt x="4" y="29"/>
                  </a:lnTo>
                  <a:lnTo>
                    <a:pt x="17" y="11"/>
                  </a:lnTo>
                  <a:close/>
                </a:path>
              </a:pathLst>
            </a:custGeom>
            <a:grpFill/>
            <a:ln w="6350">
              <a:solidFill>
                <a:schemeClr val="tx2"/>
              </a:solidFill>
              <a:round/>
              <a:headEnd/>
              <a:tailEnd/>
            </a:ln>
          </p:spPr>
          <p:txBody>
            <a:bodyPr/>
            <a:lstStyle/>
            <a:p>
              <a:endParaRPr lang="en-US"/>
            </a:p>
          </p:txBody>
        </p:sp>
        <p:sp>
          <p:nvSpPr>
            <p:cNvPr id="334" name="Freeform 1705"/>
            <p:cNvSpPr>
              <a:spLocks/>
            </p:cNvSpPr>
            <p:nvPr/>
          </p:nvSpPr>
          <p:spPr bwMode="auto">
            <a:xfrm>
              <a:off x="6367556" y="1858664"/>
              <a:ext cx="15172" cy="27308"/>
            </a:xfrm>
            <a:custGeom>
              <a:avLst/>
              <a:gdLst>
                <a:gd name="T0" fmla="*/ 2147483647 w 33"/>
                <a:gd name="T1" fmla="*/ 2147483647 h 53"/>
                <a:gd name="T2" fmla="*/ 2147483647 w 33"/>
                <a:gd name="T3" fmla="*/ 2147483647 h 53"/>
                <a:gd name="T4" fmla="*/ 2147483647 w 33"/>
                <a:gd name="T5" fmla="*/ 2147483647 h 53"/>
                <a:gd name="T6" fmla="*/ 2147483647 w 33"/>
                <a:gd name="T7" fmla="*/ 2147483647 h 53"/>
                <a:gd name="T8" fmla="*/ 2147483647 w 33"/>
                <a:gd name="T9" fmla="*/ 2147483647 h 53"/>
                <a:gd name="T10" fmla="*/ 2147483647 w 33"/>
                <a:gd name="T11" fmla="*/ 2147483647 h 53"/>
                <a:gd name="T12" fmla="*/ 2147483647 w 33"/>
                <a:gd name="T13" fmla="*/ 2147483647 h 53"/>
                <a:gd name="T14" fmla="*/ 0 w 33"/>
                <a:gd name="T15" fmla="*/ 2147483647 h 53"/>
                <a:gd name="T16" fmla="*/ 2147483647 w 33"/>
                <a:gd name="T17" fmla="*/ 2147483647 h 53"/>
                <a:gd name="T18" fmla="*/ 2147483647 w 33"/>
                <a:gd name="T19" fmla="*/ 0 h 53"/>
                <a:gd name="T20" fmla="*/ 2147483647 w 33"/>
                <a:gd name="T21" fmla="*/ 2147483647 h 53"/>
                <a:gd name="T22" fmla="*/ 2147483647 w 33"/>
                <a:gd name="T23" fmla="*/ 2147483647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53"/>
                <a:gd name="T38" fmla="*/ 33 w 33"/>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53">
                  <a:moveTo>
                    <a:pt x="29" y="16"/>
                  </a:moveTo>
                  <a:lnTo>
                    <a:pt x="33" y="28"/>
                  </a:lnTo>
                  <a:lnTo>
                    <a:pt x="26" y="26"/>
                  </a:lnTo>
                  <a:lnTo>
                    <a:pt x="23" y="53"/>
                  </a:lnTo>
                  <a:lnTo>
                    <a:pt x="18" y="27"/>
                  </a:lnTo>
                  <a:lnTo>
                    <a:pt x="5" y="21"/>
                  </a:lnTo>
                  <a:lnTo>
                    <a:pt x="8" y="52"/>
                  </a:lnTo>
                  <a:lnTo>
                    <a:pt x="0" y="23"/>
                  </a:lnTo>
                  <a:lnTo>
                    <a:pt x="15" y="12"/>
                  </a:lnTo>
                  <a:lnTo>
                    <a:pt x="15" y="0"/>
                  </a:lnTo>
                  <a:lnTo>
                    <a:pt x="32" y="4"/>
                  </a:lnTo>
                  <a:lnTo>
                    <a:pt x="29" y="16"/>
                  </a:lnTo>
                  <a:close/>
                </a:path>
              </a:pathLst>
            </a:custGeom>
            <a:grpFill/>
            <a:ln w="6350">
              <a:solidFill>
                <a:schemeClr val="tx2"/>
              </a:solidFill>
              <a:round/>
              <a:headEnd/>
              <a:tailEnd/>
            </a:ln>
          </p:spPr>
          <p:txBody>
            <a:bodyPr/>
            <a:lstStyle/>
            <a:p>
              <a:endParaRPr lang="en-US"/>
            </a:p>
          </p:txBody>
        </p:sp>
        <p:sp>
          <p:nvSpPr>
            <p:cNvPr id="335" name="Freeform 1706"/>
            <p:cNvSpPr>
              <a:spLocks/>
            </p:cNvSpPr>
            <p:nvPr/>
          </p:nvSpPr>
          <p:spPr bwMode="auto">
            <a:xfrm>
              <a:off x="6385761" y="2227322"/>
              <a:ext cx="9103" cy="19722"/>
            </a:xfrm>
            <a:custGeom>
              <a:avLst/>
              <a:gdLst>
                <a:gd name="T0" fmla="*/ 0 w 22"/>
                <a:gd name="T1" fmla="*/ 2147483647 h 42"/>
                <a:gd name="T2" fmla="*/ 2147483647 w 22"/>
                <a:gd name="T3" fmla="*/ 0 h 42"/>
                <a:gd name="T4" fmla="*/ 2147483647 w 22"/>
                <a:gd name="T5" fmla="*/ 2147483647 h 42"/>
                <a:gd name="T6" fmla="*/ 2147483647 w 22"/>
                <a:gd name="T7" fmla="*/ 2147483647 h 42"/>
                <a:gd name="T8" fmla="*/ 0 w 22"/>
                <a:gd name="T9" fmla="*/ 2147483647 h 42"/>
                <a:gd name="T10" fmla="*/ 0 60000 65536"/>
                <a:gd name="T11" fmla="*/ 0 60000 65536"/>
                <a:gd name="T12" fmla="*/ 0 60000 65536"/>
                <a:gd name="T13" fmla="*/ 0 60000 65536"/>
                <a:gd name="T14" fmla="*/ 0 60000 65536"/>
                <a:gd name="T15" fmla="*/ 0 w 22"/>
                <a:gd name="T16" fmla="*/ 0 h 42"/>
                <a:gd name="T17" fmla="*/ 22 w 22"/>
                <a:gd name="T18" fmla="*/ 42 h 42"/>
              </a:gdLst>
              <a:ahLst/>
              <a:cxnLst>
                <a:cxn ang="T10">
                  <a:pos x="T0" y="T1"/>
                </a:cxn>
                <a:cxn ang="T11">
                  <a:pos x="T2" y="T3"/>
                </a:cxn>
                <a:cxn ang="T12">
                  <a:pos x="T4" y="T5"/>
                </a:cxn>
                <a:cxn ang="T13">
                  <a:pos x="T6" y="T7"/>
                </a:cxn>
                <a:cxn ang="T14">
                  <a:pos x="T8" y="T9"/>
                </a:cxn>
              </a:cxnLst>
              <a:rect l="T15" t="T16" r="T17" b="T18"/>
              <a:pathLst>
                <a:path w="22" h="42">
                  <a:moveTo>
                    <a:pt x="0" y="15"/>
                  </a:moveTo>
                  <a:lnTo>
                    <a:pt x="11" y="0"/>
                  </a:lnTo>
                  <a:lnTo>
                    <a:pt x="22" y="36"/>
                  </a:lnTo>
                  <a:lnTo>
                    <a:pt x="9" y="42"/>
                  </a:lnTo>
                  <a:lnTo>
                    <a:pt x="0" y="15"/>
                  </a:lnTo>
                  <a:close/>
                </a:path>
              </a:pathLst>
            </a:custGeom>
            <a:grpFill/>
            <a:ln w="6350">
              <a:solidFill>
                <a:schemeClr val="tx2"/>
              </a:solidFill>
              <a:round/>
              <a:headEnd/>
              <a:tailEnd/>
            </a:ln>
          </p:spPr>
          <p:txBody>
            <a:bodyPr/>
            <a:lstStyle/>
            <a:p>
              <a:endParaRPr lang="en-US"/>
            </a:p>
          </p:txBody>
        </p:sp>
        <p:sp>
          <p:nvSpPr>
            <p:cNvPr id="336" name="Freeform 1370"/>
            <p:cNvSpPr>
              <a:spLocks/>
            </p:cNvSpPr>
            <p:nvPr/>
          </p:nvSpPr>
          <p:spPr bwMode="auto">
            <a:xfrm>
              <a:off x="8474826" y="2333521"/>
              <a:ext cx="221499" cy="250323"/>
            </a:xfrm>
            <a:custGeom>
              <a:avLst/>
              <a:gdLst>
                <a:gd name="T0" fmla="*/ 2147483647 w 445"/>
                <a:gd name="T1" fmla="*/ 2147483647 h 505"/>
                <a:gd name="T2" fmla="*/ 2147483647 w 445"/>
                <a:gd name="T3" fmla="*/ 2147483647 h 505"/>
                <a:gd name="T4" fmla="*/ 2147483647 w 445"/>
                <a:gd name="T5" fmla="*/ 2147483647 h 505"/>
                <a:gd name="T6" fmla="*/ 2147483647 w 445"/>
                <a:gd name="T7" fmla="*/ 2147483647 h 505"/>
                <a:gd name="T8" fmla="*/ 2147483647 w 445"/>
                <a:gd name="T9" fmla="*/ 2147483647 h 505"/>
                <a:gd name="T10" fmla="*/ 2147483647 w 445"/>
                <a:gd name="T11" fmla="*/ 2147483647 h 505"/>
                <a:gd name="T12" fmla="*/ 2147483647 w 445"/>
                <a:gd name="T13" fmla="*/ 2147483647 h 505"/>
                <a:gd name="T14" fmla="*/ 2147483647 w 445"/>
                <a:gd name="T15" fmla="*/ 2147483647 h 505"/>
                <a:gd name="T16" fmla="*/ 2147483647 w 445"/>
                <a:gd name="T17" fmla="*/ 2147483647 h 505"/>
                <a:gd name="T18" fmla="*/ 2147483647 w 445"/>
                <a:gd name="T19" fmla="*/ 2147483647 h 505"/>
                <a:gd name="T20" fmla="*/ 2147483647 w 445"/>
                <a:gd name="T21" fmla="*/ 2147483647 h 505"/>
                <a:gd name="T22" fmla="*/ 2147483647 w 445"/>
                <a:gd name="T23" fmla="*/ 2147483647 h 505"/>
                <a:gd name="T24" fmla="*/ 2147483647 w 445"/>
                <a:gd name="T25" fmla="*/ 2147483647 h 505"/>
                <a:gd name="T26" fmla="*/ 2147483647 w 445"/>
                <a:gd name="T27" fmla="*/ 2147483647 h 505"/>
                <a:gd name="T28" fmla="*/ 2147483647 w 445"/>
                <a:gd name="T29" fmla="*/ 2147483647 h 505"/>
                <a:gd name="T30" fmla="*/ 2147483647 w 445"/>
                <a:gd name="T31" fmla="*/ 2147483647 h 505"/>
                <a:gd name="T32" fmla="*/ 2147483647 w 445"/>
                <a:gd name="T33" fmla="*/ 2147483647 h 505"/>
                <a:gd name="T34" fmla="*/ 2147483647 w 445"/>
                <a:gd name="T35" fmla="*/ 2147483647 h 505"/>
                <a:gd name="T36" fmla="*/ 2147483647 w 445"/>
                <a:gd name="T37" fmla="*/ 2147483647 h 505"/>
                <a:gd name="T38" fmla="*/ 2147483647 w 445"/>
                <a:gd name="T39" fmla="*/ 2147483647 h 505"/>
                <a:gd name="T40" fmla="*/ 2147483647 w 445"/>
                <a:gd name="T41" fmla="*/ 2147483647 h 505"/>
                <a:gd name="T42" fmla="*/ 2147483647 w 445"/>
                <a:gd name="T43" fmla="*/ 2147483647 h 505"/>
                <a:gd name="T44" fmla="*/ 2147483647 w 445"/>
                <a:gd name="T45" fmla="*/ 2147483647 h 505"/>
                <a:gd name="T46" fmla="*/ 2147483647 w 445"/>
                <a:gd name="T47" fmla="*/ 2147483647 h 505"/>
                <a:gd name="T48" fmla="*/ 2147483647 w 445"/>
                <a:gd name="T49" fmla="*/ 2147483647 h 505"/>
                <a:gd name="T50" fmla="*/ 2147483647 w 445"/>
                <a:gd name="T51" fmla="*/ 2147483647 h 505"/>
                <a:gd name="T52" fmla="*/ 2147483647 w 445"/>
                <a:gd name="T53" fmla="*/ 2147483647 h 505"/>
                <a:gd name="T54" fmla="*/ 2147483647 w 445"/>
                <a:gd name="T55" fmla="*/ 2147483647 h 505"/>
                <a:gd name="T56" fmla="*/ 2147483647 w 445"/>
                <a:gd name="T57" fmla="*/ 2147483647 h 505"/>
                <a:gd name="T58" fmla="*/ 2147483647 w 445"/>
                <a:gd name="T59" fmla="*/ 2147483647 h 505"/>
                <a:gd name="T60" fmla="*/ 2147483647 w 445"/>
                <a:gd name="T61" fmla="*/ 2147483647 h 505"/>
                <a:gd name="T62" fmla="*/ 2147483647 w 445"/>
                <a:gd name="T63" fmla="*/ 2147483647 h 505"/>
                <a:gd name="T64" fmla="*/ 2147483647 w 445"/>
                <a:gd name="T65" fmla="*/ 2147483647 h 505"/>
                <a:gd name="T66" fmla="*/ 2147483647 w 445"/>
                <a:gd name="T67" fmla="*/ 2147483647 h 505"/>
                <a:gd name="T68" fmla="*/ 2147483647 w 445"/>
                <a:gd name="T69" fmla="*/ 2147483647 h 505"/>
                <a:gd name="T70" fmla="*/ 2147483647 w 445"/>
                <a:gd name="T71" fmla="*/ 2147483647 h 505"/>
                <a:gd name="T72" fmla="*/ 2147483647 w 445"/>
                <a:gd name="T73" fmla="*/ 2147483647 h 505"/>
                <a:gd name="T74" fmla="*/ 2147483647 w 445"/>
                <a:gd name="T75" fmla="*/ 2147483647 h 505"/>
                <a:gd name="T76" fmla="*/ 2147483647 w 445"/>
                <a:gd name="T77" fmla="*/ 2147483647 h 505"/>
                <a:gd name="T78" fmla="*/ 2147483647 w 445"/>
                <a:gd name="T79" fmla="*/ 2147483647 h 505"/>
                <a:gd name="T80" fmla="*/ 2147483647 w 445"/>
                <a:gd name="T81" fmla="*/ 2147483647 h 505"/>
                <a:gd name="T82" fmla="*/ 2147483647 w 445"/>
                <a:gd name="T83" fmla="*/ 2147483647 h 505"/>
                <a:gd name="T84" fmla="*/ 2147483647 w 445"/>
                <a:gd name="T85" fmla="*/ 2147483647 h 505"/>
                <a:gd name="T86" fmla="*/ 2147483647 w 445"/>
                <a:gd name="T87" fmla="*/ 2147483647 h 505"/>
                <a:gd name="T88" fmla="*/ 2147483647 w 445"/>
                <a:gd name="T89" fmla="*/ 2147483647 h 505"/>
                <a:gd name="T90" fmla="*/ 2147483647 w 445"/>
                <a:gd name="T91" fmla="*/ 2147483647 h 505"/>
                <a:gd name="T92" fmla="*/ 2147483647 w 445"/>
                <a:gd name="T93" fmla="*/ 2147483647 h 505"/>
                <a:gd name="T94" fmla="*/ 2147483647 w 445"/>
                <a:gd name="T95" fmla="*/ 2147483647 h 505"/>
                <a:gd name="T96" fmla="*/ 2147483647 w 445"/>
                <a:gd name="T97" fmla="*/ 2147483647 h 505"/>
                <a:gd name="T98" fmla="*/ 2147483647 w 445"/>
                <a:gd name="T99" fmla="*/ 2147483647 h 505"/>
                <a:gd name="T100" fmla="*/ 2147483647 w 445"/>
                <a:gd name="T101" fmla="*/ 2147483647 h 505"/>
                <a:gd name="T102" fmla="*/ 2147483647 w 445"/>
                <a:gd name="T103" fmla="*/ 2147483647 h 505"/>
                <a:gd name="T104" fmla="*/ 2147483647 w 445"/>
                <a:gd name="T105" fmla="*/ 2147483647 h 505"/>
                <a:gd name="T106" fmla="*/ 2147483647 w 445"/>
                <a:gd name="T107" fmla="*/ 2147483647 h 505"/>
                <a:gd name="T108" fmla="*/ 0 w 445"/>
                <a:gd name="T109" fmla="*/ 0 h 50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5"/>
                <a:gd name="T166" fmla="*/ 0 h 505"/>
                <a:gd name="T167" fmla="*/ 445 w 445"/>
                <a:gd name="T168" fmla="*/ 505 h 50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5" h="505">
                  <a:moveTo>
                    <a:pt x="0" y="0"/>
                  </a:moveTo>
                  <a:lnTo>
                    <a:pt x="47" y="20"/>
                  </a:lnTo>
                  <a:lnTo>
                    <a:pt x="54" y="46"/>
                  </a:lnTo>
                  <a:lnTo>
                    <a:pt x="78" y="56"/>
                  </a:lnTo>
                  <a:lnTo>
                    <a:pt x="82" y="78"/>
                  </a:lnTo>
                  <a:lnTo>
                    <a:pt x="97" y="72"/>
                  </a:lnTo>
                  <a:lnTo>
                    <a:pt x="113" y="80"/>
                  </a:lnTo>
                  <a:lnTo>
                    <a:pt x="118" y="94"/>
                  </a:lnTo>
                  <a:lnTo>
                    <a:pt x="130" y="94"/>
                  </a:lnTo>
                  <a:lnTo>
                    <a:pt x="134" y="106"/>
                  </a:lnTo>
                  <a:lnTo>
                    <a:pt x="126" y="113"/>
                  </a:lnTo>
                  <a:lnTo>
                    <a:pt x="166" y="124"/>
                  </a:lnTo>
                  <a:lnTo>
                    <a:pt x="163" y="136"/>
                  </a:lnTo>
                  <a:lnTo>
                    <a:pt x="151" y="142"/>
                  </a:lnTo>
                  <a:lnTo>
                    <a:pt x="196" y="171"/>
                  </a:lnTo>
                  <a:lnTo>
                    <a:pt x="175" y="134"/>
                  </a:lnTo>
                  <a:lnTo>
                    <a:pt x="198" y="142"/>
                  </a:lnTo>
                  <a:lnTo>
                    <a:pt x="202" y="159"/>
                  </a:lnTo>
                  <a:lnTo>
                    <a:pt x="221" y="175"/>
                  </a:lnTo>
                  <a:lnTo>
                    <a:pt x="222" y="186"/>
                  </a:lnTo>
                  <a:lnTo>
                    <a:pt x="213" y="178"/>
                  </a:lnTo>
                  <a:lnTo>
                    <a:pt x="228" y="225"/>
                  </a:lnTo>
                  <a:lnTo>
                    <a:pt x="226" y="244"/>
                  </a:lnTo>
                  <a:lnTo>
                    <a:pt x="241" y="257"/>
                  </a:lnTo>
                  <a:lnTo>
                    <a:pt x="242" y="269"/>
                  </a:lnTo>
                  <a:lnTo>
                    <a:pt x="259" y="272"/>
                  </a:lnTo>
                  <a:lnTo>
                    <a:pt x="257" y="292"/>
                  </a:lnTo>
                  <a:lnTo>
                    <a:pt x="266" y="286"/>
                  </a:lnTo>
                  <a:lnTo>
                    <a:pt x="267" y="271"/>
                  </a:lnTo>
                  <a:lnTo>
                    <a:pt x="251" y="261"/>
                  </a:lnTo>
                  <a:lnTo>
                    <a:pt x="255" y="222"/>
                  </a:lnTo>
                  <a:lnTo>
                    <a:pt x="244" y="222"/>
                  </a:lnTo>
                  <a:lnTo>
                    <a:pt x="234" y="214"/>
                  </a:lnTo>
                  <a:lnTo>
                    <a:pt x="249" y="212"/>
                  </a:lnTo>
                  <a:lnTo>
                    <a:pt x="266" y="219"/>
                  </a:lnTo>
                  <a:lnTo>
                    <a:pt x="268" y="204"/>
                  </a:lnTo>
                  <a:lnTo>
                    <a:pt x="289" y="215"/>
                  </a:lnTo>
                  <a:lnTo>
                    <a:pt x="280" y="225"/>
                  </a:lnTo>
                  <a:lnTo>
                    <a:pt x="287" y="238"/>
                  </a:lnTo>
                  <a:lnTo>
                    <a:pt x="294" y="232"/>
                  </a:lnTo>
                  <a:lnTo>
                    <a:pt x="290" y="221"/>
                  </a:lnTo>
                  <a:lnTo>
                    <a:pt x="315" y="232"/>
                  </a:lnTo>
                  <a:lnTo>
                    <a:pt x="316" y="218"/>
                  </a:lnTo>
                  <a:lnTo>
                    <a:pt x="355" y="225"/>
                  </a:lnTo>
                  <a:lnTo>
                    <a:pt x="374" y="261"/>
                  </a:lnTo>
                  <a:lnTo>
                    <a:pt x="409" y="293"/>
                  </a:lnTo>
                  <a:lnTo>
                    <a:pt x="403" y="301"/>
                  </a:lnTo>
                  <a:lnTo>
                    <a:pt x="407" y="305"/>
                  </a:lnTo>
                  <a:lnTo>
                    <a:pt x="416" y="296"/>
                  </a:lnTo>
                  <a:lnTo>
                    <a:pt x="421" y="309"/>
                  </a:lnTo>
                  <a:lnTo>
                    <a:pt x="445" y="314"/>
                  </a:lnTo>
                  <a:lnTo>
                    <a:pt x="408" y="335"/>
                  </a:lnTo>
                  <a:lnTo>
                    <a:pt x="404" y="368"/>
                  </a:lnTo>
                  <a:lnTo>
                    <a:pt x="373" y="344"/>
                  </a:lnTo>
                  <a:lnTo>
                    <a:pt x="370" y="350"/>
                  </a:lnTo>
                  <a:lnTo>
                    <a:pt x="372" y="362"/>
                  </a:lnTo>
                  <a:lnTo>
                    <a:pt x="384" y="369"/>
                  </a:lnTo>
                  <a:lnTo>
                    <a:pt x="387" y="376"/>
                  </a:lnTo>
                  <a:lnTo>
                    <a:pt x="384" y="381"/>
                  </a:lnTo>
                  <a:lnTo>
                    <a:pt x="350" y="378"/>
                  </a:lnTo>
                  <a:lnTo>
                    <a:pt x="338" y="388"/>
                  </a:lnTo>
                  <a:lnTo>
                    <a:pt x="337" y="405"/>
                  </a:lnTo>
                  <a:lnTo>
                    <a:pt x="334" y="409"/>
                  </a:lnTo>
                  <a:lnTo>
                    <a:pt x="342" y="425"/>
                  </a:lnTo>
                  <a:lnTo>
                    <a:pt x="298" y="451"/>
                  </a:lnTo>
                  <a:lnTo>
                    <a:pt x="313" y="453"/>
                  </a:lnTo>
                  <a:lnTo>
                    <a:pt x="303" y="464"/>
                  </a:lnTo>
                  <a:lnTo>
                    <a:pt x="318" y="466"/>
                  </a:lnTo>
                  <a:lnTo>
                    <a:pt x="329" y="488"/>
                  </a:lnTo>
                  <a:lnTo>
                    <a:pt x="307" y="486"/>
                  </a:lnTo>
                  <a:lnTo>
                    <a:pt x="307" y="499"/>
                  </a:lnTo>
                  <a:lnTo>
                    <a:pt x="302" y="505"/>
                  </a:lnTo>
                  <a:lnTo>
                    <a:pt x="284" y="498"/>
                  </a:lnTo>
                  <a:lnTo>
                    <a:pt x="291" y="478"/>
                  </a:lnTo>
                  <a:lnTo>
                    <a:pt x="287" y="473"/>
                  </a:lnTo>
                  <a:lnTo>
                    <a:pt x="283" y="492"/>
                  </a:lnTo>
                  <a:lnTo>
                    <a:pt x="276" y="496"/>
                  </a:lnTo>
                  <a:lnTo>
                    <a:pt x="268" y="493"/>
                  </a:lnTo>
                  <a:lnTo>
                    <a:pt x="269" y="482"/>
                  </a:lnTo>
                  <a:lnTo>
                    <a:pt x="257" y="490"/>
                  </a:lnTo>
                  <a:lnTo>
                    <a:pt x="248" y="474"/>
                  </a:lnTo>
                  <a:lnTo>
                    <a:pt x="250" y="469"/>
                  </a:lnTo>
                  <a:lnTo>
                    <a:pt x="224" y="455"/>
                  </a:lnTo>
                  <a:lnTo>
                    <a:pt x="231" y="447"/>
                  </a:lnTo>
                  <a:lnTo>
                    <a:pt x="233" y="435"/>
                  </a:lnTo>
                  <a:lnTo>
                    <a:pt x="227" y="437"/>
                  </a:lnTo>
                  <a:lnTo>
                    <a:pt x="228" y="450"/>
                  </a:lnTo>
                  <a:lnTo>
                    <a:pt x="218" y="443"/>
                  </a:lnTo>
                  <a:lnTo>
                    <a:pt x="218" y="456"/>
                  </a:lnTo>
                  <a:lnTo>
                    <a:pt x="199" y="453"/>
                  </a:lnTo>
                  <a:lnTo>
                    <a:pt x="176" y="426"/>
                  </a:lnTo>
                  <a:lnTo>
                    <a:pt x="176" y="384"/>
                  </a:lnTo>
                  <a:lnTo>
                    <a:pt x="150" y="369"/>
                  </a:lnTo>
                  <a:lnTo>
                    <a:pt x="98" y="380"/>
                  </a:lnTo>
                  <a:lnTo>
                    <a:pt x="65" y="372"/>
                  </a:lnTo>
                  <a:lnTo>
                    <a:pt x="62" y="348"/>
                  </a:lnTo>
                  <a:lnTo>
                    <a:pt x="56" y="348"/>
                  </a:lnTo>
                  <a:lnTo>
                    <a:pt x="45" y="321"/>
                  </a:lnTo>
                  <a:lnTo>
                    <a:pt x="62" y="318"/>
                  </a:lnTo>
                  <a:lnTo>
                    <a:pt x="63" y="289"/>
                  </a:lnTo>
                  <a:lnTo>
                    <a:pt x="46" y="310"/>
                  </a:lnTo>
                  <a:lnTo>
                    <a:pt x="36" y="291"/>
                  </a:lnTo>
                  <a:lnTo>
                    <a:pt x="26" y="292"/>
                  </a:lnTo>
                  <a:lnTo>
                    <a:pt x="28" y="311"/>
                  </a:lnTo>
                  <a:lnTo>
                    <a:pt x="0" y="314"/>
                  </a:lnTo>
                  <a:lnTo>
                    <a:pt x="6" y="341"/>
                  </a:lnTo>
                  <a:lnTo>
                    <a:pt x="29" y="363"/>
                  </a:lnTo>
                  <a:lnTo>
                    <a:pt x="30" y="376"/>
                  </a:lnTo>
                  <a:lnTo>
                    <a:pt x="0" y="423"/>
                  </a:lnTo>
                  <a:lnTo>
                    <a:pt x="0" y="0"/>
                  </a:lnTo>
                  <a:close/>
                </a:path>
              </a:pathLst>
            </a:custGeom>
            <a:grpFill/>
            <a:ln w="6350">
              <a:solidFill>
                <a:schemeClr val="tx2"/>
              </a:solidFill>
              <a:round/>
              <a:headEnd/>
              <a:tailEnd/>
            </a:ln>
          </p:spPr>
          <p:txBody>
            <a:bodyPr/>
            <a:lstStyle/>
            <a:p>
              <a:endParaRPr lang="en-US"/>
            </a:p>
          </p:txBody>
        </p:sp>
        <p:sp>
          <p:nvSpPr>
            <p:cNvPr id="337" name="Freeform 1381"/>
            <p:cNvSpPr>
              <a:spLocks/>
            </p:cNvSpPr>
            <p:nvPr/>
          </p:nvSpPr>
          <p:spPr bwMode="auto">
            <a:xfrm>
              <a:off x="5211516" y="1667507"/>
              <a:ext cx="3273931" cy="1750749"/>
            </a:xfrm>
            <a:custGeom>
              <a:avLst/>
              <a:gdLst>
                <a:gd name="T0" fmla="*/ 2147483647 w 6589"/>
                <a:gd name="T1" fmla="*/ 2147483647 h 3529"/>
                <a:gd name="T2" fmla="*/ 2147483647 w 6589"/>
                <a:gd name="T3" fmla="*/ 2147483647 h 3529"/>
                <a:gd name="T4" fmla="*/ 2147483647 w 6589"/>
                <a:gd name="T5" fmla="*/ 2147483647 h 3529"/>
                <a:gd name="T6" fmla="*/ 2147483647 w 6589"/>
                <a:gd name="T7" fmla="*/ 2147483647 h 3529"/>
                <a:gd name="T8" fmla="*/ 2147483647 w 6589"/>
                <a:gd name="T9" fmla="*/ 2147483647 h 3529"/>
                <a:gd name="T10" fmla="*/ 2147483647 w 6589"/>
                <a:gd name="T11" fmla="*/ 2147483647 h 3529"/>
                <a:gd name="T12" fmla="*/ 2147483647 w 6589"/>
                <a:gd name="T13" fmla="*/ 2147483647 h 3529"/>
                <a:gd name="T14" fmla="*/ 2147483647 w 6589"/>
                <a:gd name="T15" fmla="*/ 2147483647 h 3529"/>
                <a:gd name="T16" fmla="*/ 2147483647 w 6589"/>
                <a:gd name="T17" fmla="*/ 2147483647 h 3529"/>
                <a:gd name="T18" fmla="*/ 2147483647 w 6589"/>
                <a:gd name="T19" fmla="*/ 2147483647 h 3529"/>
                <a:gd name="T20" fmla="*/ 2147483647 w 6589"/>
                <a:gd name="T21" fmla="*/ 2147483647 h 3529"/>
                <a:gd name="T22" fmla="*/ 2147483647 w 6589"/>
                <a:gd name="T23" fmla="*/ 2147483647 h 3529"/>
                <a:gd name="T24" fmla="*/ 2147483647 w 6589"/>
                <a:gd name="T25" fmla="*/ 2147483647 h 3529"/>
                <a:gd name="T26" fmla="*/ 2147483647 w 6589"/>
                <a:gd name="T27" fmla="*/ 2147483647 h 3529"/>
                <a:gd name="T28" fmla="*/ 2147483647 w 6589"/>
                <a:gd name="T29" fmla="*/ 2147483647 h 3529"/>
                <a:gd name="T30" fmla="*/ 2147483647 w 6589"/>
                <a:gd name="T31" fmla="*/ 2147483647 h 3529"/>
                <a:gd name="T32" fmla="*/ 2147483647 w 6589"/>
                <a:gd name="T33" fmla="*/ 2147483647 h 3529"/>
                <a:gd name="T34" fmla="*/ 2147483647 w 6589"/>
                <a:gd name="T35" fmla="*/ 2147483647 h 3529"/>
                <a:gd name="T36" fmla="*/ 2147483647 w 6589"/>
                <a:gd name="T37" fmla="*/ 2147483647 h 3529"/>
                <a:gd name="T38" fmla="*/ 2147483647 w 6589"/>
                <a:gd name="T39" fmla="*/ 2147483647 h 3529"/>
                <a:gd name="T40" fmla="*/ 2147483647 w 6589"/>
                <a:gd name="T41" fmla="*/ 2147483647 h 3529"/>
                <a:gd name="T42" fmla="*/ 2147483647 w 6589"/>
                <a:gd name="T43" fmla="*/ 2147483647 h 3529"/>
                <a:gd name="T44" fmla="*/ 2147483647 w 6589"/>
                <a:gd name="T45" fmla="*/ 2147483647 h 3529"/>
                <a:gd name="T46" fmla="*/ 2147483647 w 6589"/>
                <a:gd name="T47" fmla="*/ 2147483647 h 3529"/>
                <a:gd name="T48" fmla="*/ 2147483647 w 6589"/>
                <a:gd name="T49" fmla="*/ 2147483647 h 3529"/>
                <a:gd name="T50" fmla="*/ 2147483647 w 6589"/>
                <a:gd name="T51" fmla="*/ 2147483647 h 3529"/>
                <a:gd name="T52" fmla="*/ 2147483647 w 6589"/>
                <a:gd name="T53" fmla="*/ 2147483647 h 3529"/>
                <a:gd name="T54" fmla="*/ 2147483647 w 6589"/>
                <a:gd name="T55" fmla="*/ 2147483647 h 3529"/>
                <a:gd name="T56" fmla="*/ 2147483647 w 6589"/>
                <a:gd name="T57" fmla="*/ 2147483647 h 3529"/>
                <a:gd name="T58" fmla="*/ 2147483647 w 6589"/>
                <a:gd name="T59" fmla="*/ 2147483647 h 3529"/>
                <a:gd name="T60" fmla="*/ 2147483647 w 6589"/>
                <a:gd name="T61" fmla="*/ 2147483647 h 3529"/>
                <a:gd name="T62" fmla="*/ 2147483647 w 6589"/>
                <a:gd name="T63" fmla="*/ 2147483647 h 3529"/>
                <a:gd name="T64" fmla="*/ 2147483647 w 6589"/>
                <a:gd name="T65" fmla="*/ 2147483647 h 3529"/>
                <a:gd name="T66" fmla="*/ 2147483647 w 6589"/>
                <a:gd name="T67" fmla="*/ 2147483647 h 3529"/>
                <a:gd name="T68" fmla="*/ 2147483647 w 6589"/>
                <a:gd name="T69" fmla="*/ 2147483647 h 3529"/>
                <a:gd name="T70" fmla="*/ 2147483647 w 6589"/>
                <a:gd name="T71" fmla="*/ 2147483647 h 3529"/>
                <a:gd name="T72" fmla="*/ 2147483647 w 6589"/>
                <a:gd name="T73" fmla="*/ 2147483647 h 3529"/>
                <a:gd name="T74" fmla="*/ 2147483647 w 6589"/>
                <a:gd name="T75" fmla="*/ 2147483647 h 3529"/>
                <a:gd name="T76" fmla="*/ 2147483647 w 6589"/>
                <a:gd name="T77" fmla="*/ 2147483647 h 3529"/>
                <a:gd name="T78" fmla="*/ 2147483647 w 6589"/>
                <a:gd name="T79" fmla="*/ 2147483647 h 3529"/>
                <a:gd name="T80" fmla="*/ 2147483647 w 6589"/>
                <a:gd name="T81" fmla="*/ 2147483647 h 3529"/>
                <a:gd name="T82" fmla="*/ 2147483647 w 6589"/>
                <a:gd name="T83" fmla="*/ 2147483647 h 3529"/>
                <a:gd name="T84" fmla="*/ 2147483647 w 6589"/>
                <a:gd name="T85" fmla="*/ 2147483647 h 3529"/>
                <a:gd name="T86" fmla="*/ 2147483647 w 6589"/>
                <a:gd name="T87" fmla="*/ 2147483647 h 3529"/>
                <a:gd name="T88" fmla="*/ 2147483647 w 6589"/>
                <a:gd name="T89" fmla="*/ 2147483647 h 3529"/>
                <a:gd name="T90" fmla="*/ 2147483647 w 6589"/>
                <a:gd name="T91" fmla="*/ 2147483647 h 3529"/>
                <a:gd name="T92" fmla="*/ 2147483647 w 6589"/>
                <a:gd name="T93" fmla="*/ 2147483647 h 3529"/>
                <a:gd name="T94" fmla="*/ 2147483647 w 6589"/>
                <a:gd name="T95" fmla="*/ 2147483647 h 3529"/>
                <a:gd name="T96" fmla="*/ 2147483647 w 6589"/>
                <a:gd name="T97" fmla="*/ 2147483647 h 3529"/>
                <a:gd name="T98" fmla="*/ 2147483647 w 6589"/>
                <a:gd name="T99" fmla="*/ 2147483647 h 3529"/>
                <a:gd name="T100" fmla="*/ 2147483647 w 6589"/>
                <a:gd name="T101" fmla="*/ 2147483647 h 3529"/>
                <a:gd name="T102" fmla="*/ 2147483647 w 6589"/>
                <a:gd name="T103" fmla="*/ 2147483647 h 3529"/>
                <a:gd name="T104" fmla="*/ 2147483647 w 6589"/>
                <a:gd name="T105" fmla="*/ 2147483647 h 3529"/>
                <a:gd name="T106" fmla="*/ 2147483647 w 6589"/>
                <a:gd name="T107" fmla="*/ 2147483647 h 3529"/>
                <a:gd name="T108" fmla="*/ 2147483647 w 6589"/>
                <a:gd name="T109" fmla="*/ 2147483647 h 3529"/>
                <a:gd name="T110" fmla="*/ 2147483647 w 6589"/>
                <a:gd name="T111" fmla="*/ 2147483647 h 3529"/>
                <a:gd name="T112" fmla="*/ 2147483647 w 6589"/>
                <a:gd name="T113" fmla="*/ 2147483647 h 3529"/>
                <a:gd name="T114" fmla="*/ 2147483647 w 6589"/>
                <a:gd name="T115" fmla="*/ 2147483647 h 3529"/>
                <a:gd name="T116" fmla="*/ 2147483647 w 6589"/>
                <a:gd name="T117" fmla="*/ 2147483647 h 3529"/>
                <a:gd name="T118" fmla="*/ 2147483647 w 6589"/>
                <a:gd name="T119" fmla="*/ 2147483647 h 35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589"/>
                <a:gd name="T181" fmla="*/ 0 h 3529"/>
                <a:gd name="T182" fmla="*/ 6589 w 6589"/>
                <a:gd name="T183" fmla="*/ 3529 h 35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589" h="3529">
                  <a:moveTo>
                    <a:pt x="6589" y="1345"/>
                  </a:moveTo>
                  <a:lnTo>
                    <a:pt x="6520" y="1284"/>
                  </a:lnTo>
                  <a:lnTo>
                    <a:pt x="6412" y="1228"/>
                  </a:lnTo>
                  <a:lnTo>
                    <a:pt x="6184" y="1206"/>
                  </a:lnTo>
                  <a:lnTo>
                    <a:pt x="6177" y="1211"/>
                  </a:lnTo>
                  <a:lnTo>
                    <a:pt x="6178" y="1246"/>
                  </a:lnTo>
                  <a:lnTo>
                    <a:pt x="6161" y="1260"/>
                  </a:lnTo>
                  <a:lnTo>
                    <a:pt x="6184" y="1266"/>
                  </a:lnTo>
                  <a:lnTo>
                    <a:pt x="6201" y="1323"/>
                  </a:lnTo>
                  <a:lnTo>
                    <a:pt x="6162" y="1363"/>
                  </a:lnTo>
                  <a:lnTo>
                    <a:pt x="6084" y="1308"/>
                  </a:lnTo>
                  <a:lnTo>
                    <a:pt x="6080" y="1265"/>
                  </a:lnTo>
                  <a:lnTo>
                    <a:pt x="6062" y="1241"/>
                  </a:lnTo>
                  <a:lnTo>
                    <a:pt x="6022" y="1277"/>
                  </a:lnTo>
                  <a:lnTo>
                    <a:pt x="5913" y="1260"/>
                  </a:lnTo>
                  <a:lnTo>
                    <a:pt x="5902" y="1240"/>
                  </a:lnTo>
                  <a:lnTo>
                    <a:pt x="5783" y="1288"/>
                  </a:lnTo>
                  <a:lnTo>
                    <a:pt x="5781" y="1267"/>
                  </a:lnTo>
                  <a:lnTo>
                    <a:pt x="5740" y="1247"/>
                  </a:lnTo>
                  <a:lnTo>
                    <a:pt x="5714" y="1236"/>
                  </a:lnTo>
                  <a:lnTo>
                    <a:pt x="5727" y="1160"/>
                  </a:lnTo>
                  <a:lnTo>
                    <a:pt x="5677" y="1091"/>
                  </a:lnTo>
                  <a:lnTo>
                    <a:pt x="5502" y="1086"/>
                  </a:lnTo>
                  <a:lnTo>
                    <a:pt x="5409" y="1111"/>
                  </a:lnTo>
                  <a:lnTo>
                    <a:pt x="5375" y="1087"/>
                  </a:lnTo>
                  <a:lnTo>
                    <a:pt x="5399" y="1062"/>
                  </a:lnTo>
                  <a:lnTo>
                    <a:pt x="5368" y="1024"/>
                  </a:lnTo>
                  <a:lnTo>
                    <a:pt x="5329" y="1032"/>
                  </a:lnTo>
                  <a:lnTo>
                    <a:pt x="5308" y="1000"/>
                  </a:lnTo>
                  <a:lnTo>
                    <a:pt x="5254" y="992"/>
                  </a:lnTo>
                  <a:lnTo>
                    <a:pt x="5274" y="961"/>
                  </a:lnTo>
                  <a:lnTo>
                    <a:pt x="5299" y="969"/>
                  </a:lnTo>
                  <a:lnTo>
                    <a:pt x="5288" y="926"/>
                  </a:lnTo>
                  <a:lnTo>
                    <a:pt x="4915" y="830"/>
                  </a:lnTo>
                  <a:lnTo>
                    <a:pt x="4901" y="842"/>
                  </a:lnTo>
                  <a:lnTo>
                    <a:pt x="4917" y="865"/>
                  </a:lnTo>
                  <a:lnTo>
                    <a:pt x="4857" y="944"/>
                  </a:lnTo>
                  <a:lnTo>
                    <a:pt x="4862" y="967"/>
                  </a:lnTo>
                  <a:lnTo>
                    <a:pt x="4856" y="983"/>
                  </a:lnTo>
                  <a:lnTo>
                    <a:pt x="4866" y="1024"/>
                  </a:lnTo>
                  <a:lnTo>
                    <a:pt x="4843" y="1015"/>
                  </a:lnTo>
                  <a:lnTo>
                    <a:pt x="4779" y="1064"/>
                  </a:lnTo>
                  <a:lnTo>
                    <a:pt x="4709" y="1015"/>
                  </a:lnTo>
                  <a:lnTo>
                    <a:pt x="4676" y="997"/>
                  </a:lnTo>
                  <a:lnTo>
                    <a:pt x="4594" y="1029"/>
                  </a:lnTo>
                  <a:lnTo>
                    <a:pt x="4553" y="951"/>
                  </a:lnTo>
                  <a:lnTo>
                    <a:pt x="4493" y="1123"/>
                  </a:lnTo>
                  <a:lnTo>
                    <a:pt x="4477" y="1093"/>
                  </a:lnTo>
                  <a:lnTo>
                    <a:pt x="4434" y="1078"/>
                  </a:lnTo>
                  <a:lnTo>
                    <a:pt x="4399" y="995"/>
                  </a:lnTo>
                  <a:lnTo>
                    <a:pt x="4386" y="997"/>
                  </a:lnTo>
                  <a:lnTo>
                    <a:pt x="4380" y="963"/>
                  </a:lnTo>
                  <a:lnTo>
                    <a:pt x="4416" y="925"/>
                  </a:lnTo>
                  <a:lnTo>
                    <a:pt x="4420" y="894"/>
                  </a:lnTo>
                  <a:lnTo>
                    <a:pt x="4403" y="864"/>
                  </a:lnTo>
                  <a:lnTo>
                    <a:pt x="4416" y="808"/>
                  </a:lnTo>
                  <a:lnTo>
                    <a:pt x="4356" y="736"/>
                  </a:lnTo>
                  <a:lnTo>
                    <a:pt x="4291" y="744"/>
                  </a:lnTo>
                  <a:lnTo>
                    <a:pt x="4171" y="679"/>
                  </a:lnTo>
                  <a:lnTo>
                    <a:pt x="4169" y="701"/>
                  </a:lnTo>
                  <a:lnTo>
                    <a:pt x="4148" y="692"/>
                  </a:lnTo>
                  <a:lnTo>
                    <a:pt x="4141" y="738"/>
                  </a:lnTo>
                  <a:lnTo>
                    <a:pt x="4154" y="786"/>
                  </a:lnTo>
                  <a:lnTo>
                    <a:pt x="4145" y="799"/>
                  </a:lnTo>
                  <a:lnTo>
                    <a:pt x="4002" y="810"/>
                  </a:lnTo>
                  <a:lnTo>
                    <a:pt x="3943" y="779"/>
                  </a:lnTo>
                  <a:lnTo>
                    <a:pt x="3959" y="735"/>
                  </a:lnTo>
                  <a:lnTo>
                    <a:pt x="3819" y="701"/>
                  </a:lnTo>
                  <a:lnTo>
                    <a:pt x="3728" y="730"/>
                  </a:lnTo>
                  <a:lnTo>
                    <a:pt x="3774" y="782"/>
                  </a:lnTo>
                  <a:lnTo>
                    <a:pt x="3738" y="763"/>
                  </a:lnTo>
                  <a:lnTo>
                    <a:pt x="3712" y="741"/>
                  </a:lnTo>
                  <a:lnTo>
                    <a:pt x="3720" y="711"/>
                  </a:lnTo>
                  <a:lnTo>
                    <a:pt x="3695" y="652"/>
                  </a:lnTo>
                  <a:lnTo>
                    <a:pt x="3697" y="688"/>
                  </a:lnTo>
                  <a:lnTo>
                    <a:pt x="3678" y="702"/>
                  </a:lnTo>
                  <a:lnTo>
                    <a:pt x="3630" y="685"/>
                  </a:lnTo>
                  <a:lnTo>
                    <a:pt x="3640" y="647"/>
                  </a:lnTo>
                  <a:lnTo>
                    <a:pt x="3608" y="669"/>
                  </a:lnTo>
                  <a:lnTo>
                    <a:pt x="3575" y="653"/>
                  </a:lnTo>
                  <a:lnTo>
                    <a:pt x="3550" y="686"/>
                  </a:lnTo>
                  <a:lnTo>
                    <a:pt x="3560" y="714"/>
                  </a:lnTo>
                  <a:lnTo>
                    <a:pt x="3610" y="706"/>
                  </a:lnTo>
                  <a:lnTo>
                    <a:pt x="3559" y="742"/>
                  </a:lnTo>
                  <a:lnTo>
                    <a:pt x="3536" y="725"/>
                  </a:lnTo>
                  <a:lnTo>
                    <a:pt x="3537" y="753"/>
                  </a:lnTo>
                  <a:lnTo>
                    <a:pt x="3471" y="784"/>
                  </a:lnTo>
                  <a:lnTo>
                    <a:pt x="3417" y="780"/>
                  </a:lnTo>
                  <a:lnTo>
                    <a:pt x="3408" y="787"/>
                  </a:lnTo>
                  <a:lnTo>
                    <a:pt x="3415" y="811"/>
                  </a:lnTo>
                  <a:lnTo>
                    <a:pt x="3379" y="827"/>
                  </a:lnTo>
                  <a:lnTo>
                    <a:pt x="3401" y="771"/>
                  </a:lnTo>
                  <a:lnTo>
                    <a:pt x="3451" y="714"/>
                  </a:lnTo>
                  <a:lnTo>
                    <a:pt x="3495" y="716"/>
                  </a:lnTo>
                  <a:lnTo>
                    <a:pt x="3592" y="576"/>
                  </a:lnTo>
                  <a:lnTo>
                    <a:pt x="3710" y="488"/>
                  </a:lnTo>
                  <a:lnTo>
                    <a:pt x="3733" y="443"/>
                  </a:lnTo>
                  <a:lnTo>
                    <a:pt x="3734" y="405"/>
                  </a:lnTo>
                  <a:lnTo>
                    <a:pt x="3725" y="383"/>
                  </a:lnTo>
                  <a:lnTo>
                    <a:pt x="3739" y="356"/>
                  </a:lnTo>
                  <a:lnTo>
                    <a:pt x="3710" y="281"/>
                  </a:lnTo>
                  <a:lnTo>
                    <a:pt x="3696" y="308"/>
                  </a:lnTo>
                  <a:lnTo>
                    <a:pt x="3681" y="283"/>
                  </a:lnTo>
                  <a:lnTo>
                    <a:pt x="3691" y="267"/>
                  </a:lnTo>
                  <a:lnTo>
                    <a:pt x="3621" y="190"/>
                  </a:lnTo>
                  <a:lnTo>
                    <a:pt x="3494" y="186"/>
                  </a:lnTo>
                  <a:lnTo>
                    <a:pt x="3459" y="239"/>
                  </a:lnTo>
                  <a:lnTo>
                    <a:pt x="3408" y="239"/>
                  </a:lnTo>
                  <a:lnTo>
                    <a:pt x="3450" y="186"/>
                  </a:lnTo>
                  <a:lnTo>
                    <a:pt x="3455" y="143"/>
                  </a:lnTo>
                  <a:lnTo>
                    <a:pt x="3388" y="135"/>
                  </a:lnTo>
                  <a:lnTo>
                    <a:pt x="3391" y="111"/>
                  </a:lnTo>
                  <a:lnTo>
                    <a:pt x="3328" y="147"/>
                  </a:lnTo>
                  <a:lnTo>
                    <a:pt x="3404" y="74"/>
                  </a:lnTo>
                  <a:lnTo>
                    <a:pt x="3389" y="33"/>
                  </a:lnTo>
                  <a:lnTo>
                    <a:pt x="3321" y="0"/>
                  </a:lnTo>
                  <a:lnTo>
                    <a:pt x="3273" y="17"/>
                  </a:lnTo>
                  <a:lnTo>
                    <a:pt x="3200" y="123"/>
                  </a:lnTo>
                  <a:lnTo>
                    <a:pt x="3180" y="171"/>
                  </a:lnTo>
                  <a:lnTo>
                    <a:pt x="3202" y="205"/>
                  </a:lnTo>
                  <a:lnTo>
                    <a:pt x="3193" y="224"/>
                  </a:lnTo>
                  <a:lnTo>
                    <a:pt x="3093" y="236"/>
                  </a:lnTo>
                  <a:lnTo>
                    <a:pt x="3135" y="278"/>
                  </a:lnTo>
                  <a:lnTo>
                    <a:pt x="3130" y="318"/>
                  </a:lnTo>
                  <a:lnTo>
                    <a:pt x="3084" y="276"/>
                  </a:lnTo>
                  <a:lnTo>
                    <a:pt x="2991" y="345"/>
                  </a:lnTo>
                  <a:lnTo>
                    <a:pt x="2997" y="327"/>
                  </a:lnTo>
                  <a:lnTo>
                    <a:pt x="2988" y="321"/>
                  </a:lnTo>
                  <a:lnTo>
                    <a:pt x="2956" y="345"/>
                  </a:lnTo>
                  <a:lnTo>
                    <a:pt x="2974" y="306"/>
                  </a:lnTo>
                  <a:lnTo>
                    <a:pt x="2960" y="298"/>
                  </a:lnTo>
                  <a:lnTo>
                    <a:pt x="2832" y="316"/>
                  </a:lnTo>
                  <a:lnTo>
                    <a:pt x="2859" y="348"/>
                  </a:lnTo>
                  <a:lnTo>
                    <a:pt x="2679" y="412"/>
                  </a:lnTo>
                  <a:lnTo>
                    <a:pt x="2627" y="477"/>
                  </a:lnTo>
                  <a:lnTo>
                    <a:pt x="2580" y="476"/>
                  </a:lnTo>
                  <a:lnTo>
                    <a:pt x="2590" y="501"/>
                  </a:lnTo>
                  <a:lnTo>
                    <a:pt x="2574" y="551"/>
                  </a:lnTo>
                  <a:lnTo>
                    <a:pt x="2537" y="522"/>
                  </a:lnTo>
                  <a:lnTo>
                    <a:pt x="2528" y="550"/>
                  </a:lnTo>
                  <a:lnTo>
                    <a:pt x="2567" y="568"/>
                  </a:lnTo>
                  <a:lnTo>
                    <a:pt x="2535" y="596"/>
                  </a:lnTo>
                  <a:lnTo>
                    <a:pt x="2569" y="618"/>
                  </a:lnTo>
                  <a:lnTo>
                    <a:pt x="2580" y="647"/>
                  </a:lnTo>
                  <a:lnTo>
                    <a:pt x="2567" y="648"/>
                  </a:lnTo>
                  <a:lnTo>
                    <a:pt x="2570" y="670"/>
                  </a:lnTo>
                  <a:lnTo>
                    <a:pt x="2306" y="725"/>
                  </a:lnTo>
                  <a:lnTo>
                    <a:pt x="2318" y="736"/>
                  </a:lnTo>
                  <a:lnTo>
                    <a:pt x="2297" y="758"/>
                  </a:lnTo>
                  <a:lnTo>
                    <a:pt x="2308" y="766"/>
                  </a:lnTo>
                  <a:lnTo>
                    <a:pt x="2297" y="780"/>
                  </a:lnTo>
                  <a:lnTo>
                    <a:pt x="2327" y="820"/>
                  </a:lnTo>
                  <a:lnTo>
                    <a:pt x="2316" y="848"/>
                  </a:lnTo>
                  <a:lnTo>
                    <a:pt x="2325" y="888"/>
                  </a:lnTo>
                  <a:lnTo>
                    <a:pt x="2382" y="915"/>
                  </a:lnTo>
                  <a:lnTo>
                    <a:pt x="2388" y="927"/>
                  </a:lnTo>
                  <a:lnTo>
                    <a:pt x="2380" y="940"/>
                  </a:lnTo>
                  <a:lnTo>
                    <a:pt x="2432" y="970"/>
                  </a:lnTo>
                  <a:lnTo>
                    <a:pt x="2441" y="1005"/>
                  </a:lnTo>
                  <a:lnTo>
                    <a:pt x="2423" y="1053"/>
                  </a:lnTo>
                  <a:lnTo>
                    <a:pt x="2444" y="1129"/>
                  </a:lnTo>
                  <a:lnTo>
                    <a:pt x="2442" y="1166"/>
                  </a:lnTo>
                  <a:lnTo>
                    <a:pt x="2419" y="1177"/>
                  </a:lnTo>
                  <a:lnTo>
                    <a:pt x="2422" y="1206"/>
                  </a:lnTo>
                  <a:lnTo>
                    <a:pt x="2390" y="1197"/>
                  </a:lnTo>
                  <a:lnTo>
                    <a:pt x="2379" y="1180"/>
                  </a:lnTo>
                  <a:lnTo>
                    <a:pt x="2379" y="1142"/>
                  </a:lnTo>
                  <a:lnTo>
                    <a:pt x="2385" y="1120"/>
                  </a:lnTo>
                  <a:lnTo>
                    <a:pt x="2381" y="1060"/>
                  </a:lnTo>
                  <a:lnTo>
                    <a:pt x="2413" y="1035"/>
                  </a:lnTo>
                  <a:lnTo>
                    <a:pt x="2425" y="995"/>
                  </a:lnTo>
                  <a:lnTo>
                    <a:pt x="2349" y="986"/>
                  </a:lnTo>
                  <a:lnTo>
                    <a:pt x="2253" y="901"/>
                  </a:lnTo>
                  <a:lnTo>
                    <a:pt x="2201" y="902"/>
                  </a:lnTo>
                  <a:lnTo>
                    <a:pt x="2170" y="941"/>
                  </a:lnTo>
                  <a:lnTo>
                    <a:pt x="2202" y="950"/>
                  </a:lnTo>
                  <a:lnTo>
                    <a:pt x="2189" y="972"/>
                  </a:lnTo>
                  <a:lnTo>
                    <a:pt x="2147" y="991"/>
                  </a:lnTo>
                  <a:lnTo>
                    <a:pt x="2126" y="953"/>
                  </a:lnTo>
                  <a:lnTo>
                    <a:pt x="2111" y="965"/>
                  </a:lnTo>
                  <a:lnTo>
                    <a:pt x="2125" y="1009"/>
                  </a:lnTo>
                  <a:lnTo>
                    <a:pt x="2204" y="1048"/>
                  </a:lnTo>
                  <a:lnTo>
                    <a:pt x="2205" y="1072"/>
                  </a:lnTo>
                  <a:lnTo>
                    <a:pt x="2084" y="1039"/>
                  </a:lnTo>
                  <a:lnTo>
                    <a:pt x="2076" y="1028"/>
                  </a:lnTo>
                  <a:lnTo>
                    <a:pt x="2088" y="1002"/>
                  </a:lnTo>
                  <a:lnTo>
                    <a:pt x="2077" y="948"/>
                  </a:lnTo>
                  <a:lnTo>
                    <a:pt x="2094" y="912"/>
                  </a:lnTo>
                  <a:lnTo>
                    <a:pt x="2093" y="873"/>
                  </a:lnTo>
                  <a:lnTo>
                    <a:pt x="2057" y="833"/>
                  </a:lnTo>
                  <a:lnTo>
                    <a:pt x="2068" y="910"/>
                  </a:lnTo>
                  <a:lnTo>
                    <a:pt x="1996" y="970"/>
                  </a:lnTo>
                  <a:lnTo>
                    <a:pt x="1982" y="1011"/>
                  </a:lnTo>
                  <a:lnTo>
                    <a:pt x="2038" y="1127"/>
                  </a:lnTo>
                  <a:lnTo>
                    <a:pt x="2006" y="1245"/>
                  </a:lnTo>
                  <a:lnTo>
                    <a:pt x="2022" y="1279"/>
                  </a:lnTo>
                  <a:lnTo>
                    <a:pt x="2015" y="1311"/>
                  </a:lnTo>
                  <a:lnTo>
                    <a:pt x="2074" y="1328"/>
                  </a:lnTo>
                  <a:lnTo>
                    <a:pt x="2112" y="1310"/>
                  </a:lnTo>
                  <a:lnTo>
                    <a:pt x="2182" y="1351"/>
                  </a:lnTo>
                  <a:lnTo>
                    <a:pt x="2204" y="1421"/>
                  </a:lnTo>
                  <a:lnTo>
                    <a:pt x="2179" y="1435"/>
                  </a:lnTo>
                  <a:lnTo>
                    <a:pt x="2177" y="1479"/>
                  </a:lnTo>
                  <a:lnTo>
                    <a:pt x="2234" y="1500"/>
                  </a:lnTo>
                  <a:lnTo>
                    <a:pt x="2183" y="1505"/>
                  </a:lnTo>
                  <a:lnTo>
                    <a:pt x="2162" y="1484"/>
                  </a:lnTo>
                  <a:lnTo>
                    <a:pt x="2171" y="1430"/>
                  </a:lnTo>
                  <a:lnTo>
                    <a:pt x="2163" y="1421"/>
                  </a:lnTo>
                  <a:lnTo>
                    <a:pt x="2168" y="1397"/>
                  </a:lnTo>
                  <a:lnTo>
                    <a:pt x="2136" y="1340"/>
                  </a:lnTo>
                  <a:lnTo>
                    <a:pt x="2049" y="1366"/>
                  </a:lnTo>
                  <a:lnTo>
                    <a:pt x="2037" y="1406"/>
                  </a:lnTo>
                  <a:lnTo>
                    <a:pt x="2057" y="1453"/>
                  </a:lnTo>
                  <a:lnTo>
                    <a:pt x="2054" y="1488"/>
                  </a:lnTo>
                  <a:lnTo>
                    <a:pt x="2021" y="1527"/>
                  </a:lnTo>
                  <a:lnTo>
                    <a:pt x="2004" y="1578"/>
                  </a:lnTo>
                  <a:lnTo>
                    <a:pt x="1953" y="1610"/>
                  </a:lnTo>
                  <a:lnTo>
                    <a:pt x="1950" y="1644"/>
                  </a:lnTo>
                  <a:lnTo>
                    <a:pt x="1940" y="1648"/>
                  </a:lnTo>
                  <a:lnTo>
                    <a:pt x="1853" y="1630"/>
                  </a:lnTo>
                  <a:lnTo>
                    <a:pt x="1840" y="1593"/>
                  </a:lnTo>
                  <a:lnTo>
                    <a:pt x="1935" y="1568"/>
                  </a:lnTo>
                  <a:lnTo>
                    <a:pt x="1966" y="1499"/>
                  </a:lnTo>
                  <a:lnTo>
                    <a:pt x="1986" y="1485"/>
                  </a:lnTo>
                  <a:lnTo>
                    <a:pt x="1985" y="1435"/>
                  </a:lnTo>
                  <a:lnTo>
                    <a:pt x="2001" y="1404"/>
                  </a:lnTo>
                  <a:lnTo>
                    <a:pt x="2000" y="1382"/>
                  </a:lnTo>
                  <a:lnTo>
                    <a:pt x="1958" y="1334"/>
                  </a:lnTo>
                  <a:lnTo>
                    <a:pt x="1968" y="1231"/>
                  </a:lnTo>
                  <a:lnTo>
                    <a:pt x="1956" y="1180"/>
                  </a:lnTo>
                  <a:lnTo>
                    <a:pt x="1970" y="1161"/>
                  </a:lnTo>
                  <a:lnTo>
                    <a:pt x="1972" y="1103"/>
                  </a:lnTo>
                  <a:lnTo>
                    <a:pt x="1963" y="1058"/>
                  </a:lnTo>
                  <a:lnTo>
                    <a:pt x="1927" y="1016"/>
                  </a:lnTo>
                  <a:lnTo>
                    <a:pt x="1966" y="919"/>
                  </a:lnTo>
                  <a:lnTo>
                    <a:pt x="1964" y="844"/>
                  </a:lnTo>
                  <a:lnTo>
                    <a:pt x="1919" y="820"/>
                  </a:lnTo>
                  <a:lnTo>
                    <a:pt x="1825" y="814"/>
                  </a:lnTo>
                  <a:lnTo>
                    <a:pt x="1805" y="863"/>
                  </a:lnTo>
                  <a:lnTo>
                    <a:pt x="1782" y="977"/>
                  </a:lnTo>
                  <a:lnTo>
                    <a:pt x="1715" y="1048"/>
                  </a:lnTo>
                  <a:lnTo>
                    <a:pt x="1710" y="1077"/>
                  </a:lnTo>
                  <a:lnTo>
                    <a:pt x="1724" y="1078"/>
                  </a:lnTo>
                  <a:lnTo>
                    <a:pt x="1703" y="1110"/>
                  </a:lnTo>
                  <a:lnTo>
                    <a:pt x="1742" y="1123"/>
                  </a:lnTo>
                  <a:lnTo>
                    <a:pt x="1730" y="1176"/>
                  </a:lnTo>
                  <a:lnTo>
                    <a:pt x="1737" y="1202"/>
                  </a:lnTo>
                  <a:lnTo>
                    <a:pt x="1719" y="1207"/>
                  </a:lnTo>
                  <a:lnTo>
                    <a:pt x="1717" y="1259"/>
                  </a:lnTo>
                  <a:lnTo>
                    <a:pt x="1771" y="1274"/>
                  </a:lnTo>
                  <a:lnTo>
                    <a:pt x="1787" y="1337"/>
                  </a:lnTo>
                  <a:lnTo>
                    <a:pt x="1814" y="1353"/>
                  </a:lnTo>
                  <a:lnTo>
                    <a:pt x="1778" y="1427"/>
                  </a:lnTo>
                  <a:lnTo>
                    <a:pt x="1726" y="1358"/>
                  </a:lnTo>
                  <a:lnTo>
                    <a:pt x="1599" y="1272"/>
                  </a:lnTo>
                  <a:lnTo>
                    <a:pt x="1457" y="1235"/>
                  </a:lnTo>
                  <a:lnTo>
                    <a:pt x="1437" y="1260"/>
                  </a:lnTo>
                  <a:lnTo>
                    <a:pt x="1459" y="1325"/>
                  </a:lnTo>
                  <a:lnTo>
                    <a:pt x="1458" y="1347"/>
                  </a:lnTo>
                  <a:lnTo>
                    <a:pt x="1418" y="1371"/>
                  </a:lnTo>
                  <a:lnTo>
                    <a:pt x="1422" y="1397"/>
                  </a:lnTo>
                  <a:lnTo>
                    <a:pt x="1402" y="1414"/>
                  </a:lnTo>
                  <a:lnTo>
                    <a:pt x="1383" y="1401"/>
                  </a:lnTo>
                  <a:lnTo>
                    <a:pt x="1398" y="1367"/>
                  </a:lnTo>
                  <a:lnTo>
                    <a:pt x="1382" y="1336"/>
                  </a:lnTo>
                  <a:lnTo>
                    <a:pt x="1343" y="1348"/>
                  </a:lnTo>
                  <a:lnTo>
                    <a:pt x="1308" y="1390"/>
                  </a:lnTo>
                  <a:lnTo>
                    <a:pt x="1226" y="1389"/>
                  </a:lnTo>
                  <a:lnTo>
                    <a:pt x="1207" y="1404"/>
                  </a:lnTo>
                  <a:lnTo>
                    <a:pt x="1201" y="1434"/>
                  </a:lnTo>
                  <a:lnTo>
                    <a:pt x="1173" y="1427"/>
                  </a:lnTo>
                  <a:lnTo>
                    <a:pt x="1164" y="1415"/>
                  </a:lnTo>
                  <a:lnTo>
                    <a:pt x="1159" y="1385"/>
                  </a:lnTo>
                  <a:lnTo>
                    <a:pt x="1166" y="1360"/>
                  </a:lnTo>
                  <a:lnTo>
                    <a:pt x="1186" y="1338"/>
                  </a:lnTo>
                  <a:lnTo>
                    <a:pt x="1137" y="1350"/>
                  </a:lnTo>
                  <a:lnTo>
                    <a:pt x="1130" y="1362"/>
                  </a:lnTo>
                  <a:lnTo>
                    <a:pt x="1133" y="1378"/>
                  </a:lnTo>
                  <a:lnTo>
                    <a:pt x="1113" y="1366"/>
                  </a:lnTo>
                  <a:lnTo>
                    <a:pt x="1095" y="1386"/>
                  </a:lnTo>
                  <a:lnTo>
                    <a:pt x="1105" y="1391"/>
                  </a:lnTo>
                  <a:lnTo>
                    <a:pt x="1097" y="1411"/>
                  </a:lnTo>
                  <a:lnTo>
                    <a:pt x="1062" y="1399"/>
                  </a:lnTo>
                  <a:lnTo>
                    <a:pt x="907" y="1499"/>
                  </a:lnTo>
                  <a:lnTo>
                    <a:pt x="894" y="1564"/>
                  </a:lnTo>
                  <a:lnTo>
                    <a:pt x="847" y="1603"/>
                  </a:lnTo>
                  <a:lnTo>
                    <a:pt x="842" y="1580"/>
                  </a:lnTo>
                  <a:lnTo>
                    <a:pt x="817" y="1581"/>
                  </a:lnTo>
                  <a:lnTo>
                    <a:pt x="776" y="1505"/>
                  </a:lnTo>
                  <a:lnTo>
                    <a:pt x="848" y="1473"/>
                  </a:lnTo>
                  <a:lnTo>
                    <a:pt x="837" y="1431"/>
                  </a:lnTo>
                  <a:lnTo>
                    <a:pt x="807" y="1398"/>
                  </a:lnTo>
                  <a:lnTo>
                    <a:pt x="701" y="1374"/>
                  </a:lnTo>
                  <a:lnTo>
                    <a:pt x="740" y="1414"/>
                  </a:lnTo>
                  <a:lnTo>
                    <a:pt x="738" y="1481"/>
                  </a:lnTo>
                  <a:lnTo>
                    <a:pt x="727" y="1532"/>
                  </a:lnTo>
                  <a:lnTo>
                    <a:pt x="756" y="1569"/>
                  </a:lnTo>
                  <a:lnTo>
                    <a:pt x="738" y="1643"/>
                  </a:lnTo>
                  <a:lnTo>
                    <a:pt x="741" y="1685"/>
                  </a:lnTo>
                  <a:lnTo>
                    <a:pt x="725" y="1656"/>
                  </a:lnTo>
                  <a:lnTo>
                    <a:pt x="709" y="1667"/>
                  </a:lnTo>
                  <a:lnTo>
                    <a:pt x="716" y="1645"/>
                  </a:lnTo>
                  <a:lnTo>
                    <a:pt x="661" y="1617"/>
                  </a:lnTo>
                  <a:lnTo>
                    <a:pt x="623" y="1667"/>
                  </a:lnTo>
                  <a:lnTo>
                    <a:pt x="554" y="1712"/>
                  </a:lnTo>
                  <a:lnTo>
                    <a:pt x="557" y="1743"/>
                  </a:lnTo>
                  <a:lnTo>
                    <a:pt x="600" y="1831"/>
                  </a:lnTo>
                  <a:lnTo>
                    <a:pt x="429" y="1759"/>
                  </a:lnTo>
                  <a:lnTo>
                    <a:pt x="412" y="1787"/>
                  </a:lnTo>
                  <a:lnTo>
                    <a:pt x="419" y="1807"/>
                  </a:lnTo>
                  <a:lnTo>
                    <a:pt x="447" y="1841"/>
                  </a:lnTo>
                  <a:lnTo>
                    <a:pt x="471" y="1831"/>
                  </a:lnTo>
                  <a:lnTo>
                    <a:pt x="486" y="1887"/>
                  </a:lnTo>
                  <a:lnTo>
                    <a:pt x="458" y="1898"/>
                  </a:lnTo>
                  <a:lnTo>
                    <a:pt x="342" y="1826"/>
                  </a:lnTo>
                  <a:lnTo>
                    <a:pt x="341" y="1788"/>
                  </a:lnTo>
                  <a:lnTo>
                    <a:pt x="319" y="1742"/>
                  </a:lnTo>
                  <a:lnTo>
                    <a:pt x="333" y="1733"/>
                  </a:lnTo>
                  <a:lnTo>
                    <a:pt x="337" y="1686"/>
                  </a:lnTo>
                  <a:lnTo>
                    <a:pt x="243" y="1600"/>
                  </a:lnTo>
                  <a:lnTo>
                    <a:pt x="227" y="1562"/>
                  </a:lnTo>
                  <a:lnTo>
                    <a:pt x="236" y="1549"/>
                  </a:lnTo>
                  <a:lnTo>
                    <a:pt x="282" y="1594"/>
                  </a:lnTo>
                  <a:lnTo>
                    <a:pt x="320" y="1595"/>
                  </a:lnTo>
                  <a:lnTo>
                    <a:pt x="325" y="1615"/>
                  </a:lnTo>
                  <a:lnTo>
                    <a:pt x="511" y="1665"/>
                  </a:lnTo>
                  <a:lnTo>
                    <a:pt x="564" y="1642"/>
                  </a:lnTo>
                  <a:lnTo>
                    <a:pt x="611" y="1585"/>
                  </a:lnTo>
                  <a:lnTo>
                    <a:pt x="620" y="1548"/>
                  </a:lnTo>
                  <a:lnTo>
                    <a:pt x="610" y="1542"/>
                  </a:lnTo>
                  <a:lnTo>
                    <a:pt x="605" y="1494"/>
                  </a:lnTo>
                  <a:lnTo>
                    <a:pt x="383" y="1315"/>
                  </a:lnTo>
                  <a:lnTo>
                    <a:pt x="254" y="1298"/>
                  </a:lnTo>
                  <a:lnTo>
                    <a:pt x="258" y="1283"/>
                  </a:lnTo>
                  <a:lnTo>
                    <a:pt x="217" y="1269"/>
                  </a:lnTo>
                  <a:lnTo>
                    <a:pt x="222" y="1247"/>
                  </a:lnTo>
                  <a:lnTo>
                    <a:pt x="254" y="1267"/>
                  </a:lnTo>
                  <a:lnTo>
                    <a:pt x="262" y="1247"/>
                  </a:lnTo>
                  <a:lnTo>
                    <a:pt x="210" y="1222"/>
                  </a:lnTo>
                  <a:lnTo>
                    <a:pt x="214" y="1241"/>
                  </a:lnTo>
                  <a:lnTo>
                    <a:pt x="201" y="1257"/>
                  </a:lnTo>
                  <a:lnTo>
                    <a:pt x="168" y="1242"/>
                  </a:lnTo>
                  <a:lnTo>
                    <a:pt x="164" y="1268"/>
                  </a:lnTo>
                  <a:lnTo>
                    <a:pt x="138" y="1260"/>
                  </a:lnTo>
                  <a:lnTo>
                    <a:pt x="133" y="1284"/>
                  </a:lnTo>
                  <a:lnTo>
                    <a:pt x="102" y="1304"/>
                  </a:lnTo>
                  <a:lnTo>
                    <a:pt x="90" y="1327"/>
                  </a:lnTo>
                  <a:lnTo>
                    <a:pt x="66" y="1378"/>
                  </a:lnTo>
                  <a:lnTo>
                    <a:pt x="75" y="1426"/>
                  </a:lnTo>
                  <a:lnTo>
                    <a:pt x="104" y="1439"/>
                  </a:lnTo>
                  <a:lnTo>
                    <a:pt x="128" y="1481"/>
                  </a:lnTo>
                  <a:lnTo>
                    <a:pt x="130" y="1498"/>
                  </a:lnTo>
                  <a:lnTo>
                    <a:pt x="96" y="1571"/>
                  </a:lnTo>
                  <a:lnTo>
                    <a:pt x="136" y="1693"/>
                  </a:lnTo>
                  <a:lnTo>
                    <a:pt x="119" y="1745"/>
                  </a:lnTo>
                  <a:lnTo>
                    <a:pt x="119" y="1791"/>
                  </a:lnTo>
                  <a:lnTo>
                    <a:pt x="132" y="1794"/>
                  </a:lnTo>
                  <a:lnTo>
                    <a:pt x="137" y="1824"/>
                  </a:lnTo>
                  <a:lnTo>
                    <a:pt x="155" y="1849"/>
                  </a:lnTo>
                  <a:lnTo>
                    <a:pt x="140" y="1902"/>
                  </a:lnTo>
                  <a:lnTo>
                    <a:pt x="190" y="1967"/>
                  </a:lnTo>
                  <a:lnTo>
                    <a:pt x="190" y="1997"/>
                  </a:lnTo>
                  <a:lnTo>
                    <a:pt x="126" y="2098"/>
                  </a:lnTo>
                  <a:lnTo>
                    <a:pt x="27" y="2191"/>
                  </a:lnTo>
                  <a:lnTo>
                    <a:pt x="70" y="2177"/>
                  </a:lnTo>
                  <a:lnTo>
                    <a:pt x="69" y="2199"/>
                  </a:lnTo>
                  <a:lnTo>
                    <a:pt x="63" y="2193"/>
                  </a:lnTo>
                  <a:lnTo>
                    <a:pt x="66" y="2211"/>
                  </a:lnTo>
                  <a:lnTo>
                    <a:pt x="120" y="2225"/>
                  </a:lnTo>
                  <a:lnTo>
                    <a:pt x="139" y="2245"/>
                  </a:lnTo>
                  <a:lnTo>
                    <a:pt x="44" y="2260"/>
                  </a:lnTo>
                  <a:lnTo>
                    <a:pt x="41" y="2276"/>
                  </a:lnTo>
                  <a:lnTo>
                    <a:pt x="52" y="2288"/>
                  </a:lnTo>
                  <a:lnTo>
                    <a:pt x="35" y="2315"/>
                  </a:lnTo>
                  <a:lnTo>
                    <a:pt x="0" y="2328"/>
                  </a:lnTo>
                  <a:lnTo>
                    <a:pt x="33" y="2412"/>
                  </a:lnTo>
                  <a:lnTo>
                    <a:pt x="19" y="2437"/>
                  </a:lnTo>
                  <a:lnTo>
                    <a:pt x="35" y="2457"/>
                  </a:lnTo>
                  <a:lnTo>
                    <a:pt x="29" y="2487"/>
                  </a:lnTo>
                  <a:lnTo>
                    <a:pt x="51" y="2516"/>
                  </a:lnTo>
                  <a:lnTo>
                    <a:pt x="54" y="2547"/>
                  </a:lnTo>
                  <a:lnTo>
                    <a:pt x="97" y="2559"/>
                  </a:lnTo>
                  <a:lnTo>
                    <a:pt x="107" y="2566"/>
                  </a:lnTo>
                  <a:lnTo>
                    <a:pt x="105" y="2582"/>
                  </a:lnTo>
                  <a:lnTo>
                    <a:pt x="146" y="2570"/>
                  </a:lnTo>
                  <a:lnTo>
                    <a:pt x="169" y="2590"/>
                  </a:lnTo>
                  <a:lnTo>
                    <a:pt x="174" y="2622"/>
                  </a:lnTo>
                  <a:lnTo>
                    <a:pt x="167" y="2651"/>
                  </a:lnTo>
                  <a:lnTo>
                    <a:pt x="207" y="2706"/>
                  </a:lnTo>
                  <a:lnTo>
                    <a:pt x="210" y="2725"/>
                  </a:lnTo>
                  <a:lnTo>
                    <a:pt x="228" y="2722"/>
                  </a:lnTo>
                  <a:lnTo>
                    <a:pt x="248" y="2740"/>
                  </a:lnTo>
                  <a:lnTo>
                    <a:pt x="249" y="2750"/>
                  </a:lnTo>
                  <a:lnTo>
                    <a:pt x="225" y="2771"/>
                  </a:lnTo>
                  <a:lnTo>
                    <a:pt x="197" y="2761"/>
                  </a:lnTo>
                  <a:lnTo>
                    <a:pt x="184" y="2772"/>
                  </a:lnTo>
                  <a:lnTo>
                    <a:pt x="207" y="2843"/>
                  </a:lnTo>
                  <a:lnTo>
                    <a:pt x="292" y="2828"/>
                  </a:lnTo>
                  <a:lnTo>
                    <a:pt x="320" y="2862"/>
                  </a:lnTo>
                  <a:lnTo>
                    <a:pt x="307" y="2873"/>
                  </a:lnTo>
                  <a:lnTo>
                    <a:pt x="313" y="2897"/>
                  </a:lnTo>
                  <a:lnTo>
                    <a:pt x="349" y="2904"/>
                  </a:lnTo>
                  <a:lnTo>
                    <a:pt x="371" y="2957"/>
                  </a:lnTo>
                  <a:lnTo>
                    <a:pt x="416" y="2967"/>
                  </a:lnTo>
                  <a:lnTo>
                    <a:pt x="447" y="2956"/>
                  </a:lnTo>
                  <a:lnTo>
                    <a:pt x="474" y="2990"/>
                  </a:lnTo>
                  <a:lnTo>
                    <a:pt x="489" y="2984"/>
                  </a:lnTo>
                  <a:lnTo>
                    <a:pt x="566" y="3016"/>
                  </a:lnTo>
                  <a:lnTo>
                    <a:pt x="561" y="3019"/>
                  </a:lnTo>
                  <a:lnTo>
                    <a:pt x="567" y="3038"/>
                  </a:lnTo>
                  <a:lnTo>
                    <a:pt x="548" y="3052"/>
                  </a:lnTo>
                  <a:lnTo>
                    <a:pt x="562" y="3063"/>
                  </a:lnTo>
                  <a:lnTo>
                    <a:pt x="547" y="3074"/>
                  </a:lnTo>
                  <a:lnTo>
                    <a:pt x="552" y="3088"/>
                  </a:lnTo>
                  <a:lnTo>
                    <a:pt x="556" y="3100"/>
                  </a:lnTo>
                  <a:lnTo>
                    <a:pt x="548" y="3131"/>
                  </a:lnTo>
                  <a:lnTo>
                    <a:pt x="513" y="3126"/>
                  </a:lnTo>
                  <a:lnTo>
                    <a:pt x="483" y="3157"/>
                  </a:lnTo>
                  <a:lnTo>
                    <a:pt x="484" y="3175"/>
                  </a:lnTo>
                  <a:lnTo>
                    <a:pt x="526" y="3171"/>
                  </a:lnTo>
                  <a:lnTo>
                    <a:pt x="533" y="3182"/>
                  </a:lnTo>
                  <a:lnTo>
                    <a:pt x="495" y="3196"/>
                  </a:lnTo>
                  <a:lnTo>
                    <a:pt x="498" y="3204"/>
                  </a:lnTo>
                  <a:lnTo>
                    <a:pt x="467" y="3206"/>
                  </a:lnTo>
                  <a:lnTo>
                    <a:pt x="465" y="3215"/>
                  </a:lnTo>
                  <a:lnTo>
                    <a:pt x="497" y="3242"/>
                  </a:lnTo>
                  <a:lnTo>
                    <a:pt x="475" y="3248"/>
                  </a:lnTo>
                  <a:lnTo>
                    <a:pt x="451" y="3287"/>
                  </a:lnTo>
                  <a:lnTo>
                    <a:pt x="428" y="3286"/>
                  </a:lnTo>
                  <a:lnTo>
                    <a:pt x="418" y="3298"/>
                  </a:lnTo>
                  <a:lnTo>
                    <a:pt x="449" y="3329"/>
                  </a:lnTo>
                  <a:lnTo>
                    <a:pt x="510" y="3357"/>
                  </a:lnTo>
                  <a:lnTo>
                    <a:pt x="554" y="3397"/>
                  </a:lnTo>
                  <a:lnTo>
                    <a:pt x="586" y="3394"/>
                  </a:lnTo>
                  <a:lnTo>
                    <a:pt x="632" y="3412"/>
                  </a:lnTo>
                  <a:lnTo>
                    <a:pt x="683" y="3414"/>
                  </a:lnTo>
                  <a:lnTo>
                    <a:pt x="729" y="3449"/>
                  </a:lnTo>
                  <a:lnTo>
                    <a:pt x="783" y="3443"/>
                  </a:lnTo>
                  <a:lnTo>
                    <a:pt x="804" y="3454"/>
                  </a:lnTo>
                  <a:lnTo>
                    <a:pt x="803" y="3472"/>
                  </a:lnTo>
                  <a:lnTo>
                    <a:pt x="834" y="3491"/>
                  </a:lnTo>
                  <a:lnTo>
                    <a:pt x="866" y="3509"/>
                  </a:lnTo>
                  <a:lnTo>
                    <a:pt x="872" y="3527"/>
                  </a:lnTo>
                  <a:lnTo>
                    <a:pt x="891" y="3529"/>
                  </a:lnTo>
                  <a:lnTo>
                    <a:pt x="923" y="3496"/>
                  </a:lnTo>
                  <a:lnTo>
                    <a:pt x="885" y="3424"/>
                  </a:lnTo>
                  <a:lnTo>
                    <a:pt x="888" y="3375"/>
                  </a:lnTo>
                  <a:lnTo>
                    <a:pt x="881" y="3392"/>
                  </a:lnTo>
                  <a:lnTo>
                    <a:pt x="848" y="3335"/>
                  </a:lnTo>
                  <a:lnTo>
                    <a:pt x="875" y="3292"/>
                  </a:lnTo>
                  <a:lnTo>
                    <a:pt x="879" y="3263"/>
                  </a:lnTo>
                  <a:lnTo>
                    <a:pt x="886" y="3265"/>
                  </a:lnTo>
                  <a:lnTo>
                    <a:pt x="890" y="3240"/>
                  </a:lnTo>
                  <a:lnTo>
                    <a:pt x="882" y="3228"/>
                  </a:lnTo>
                  <a:lnTo>
                    <a:pt x="901" y="3232"/>
                  </a:lnTo>
                  <a:lnTo>
                    <a:pt x="908" y="3257"/>
                  </a:lnTo>
                  <a:lnTo>
                    <a:pt x="921" y="3256"/>
                  </a:lnTo>
                  <a:lnTo>
                    <a:pt x="937" y="3231"/>
                  </a:lnTo>
                  <a:lnTo>
                    <a:pt x="906" y="3212"/>
                  </a:lnTo>
                  <a:lnTo>
                    <a:pt x="912" y="3200"/>
                  </a:lnTo>
                  <a:lnTo>
                    <a:pt x="934" y="3200"/>
                  </a:lnTo>
                  <a:lnTo>
                    <a:pt x="928" y="3156"/>
                  </a:lnTo>
                  <a:lnTo>
                    <a:pt x="909" y="3133"/>
                  </a:lnTo>
                  <a:lnTo>
                    <a:pt x="878" y="3140"/>
                  </a:lnTo>
                  <a:lnTo>
                    <a:pt x="864" y="3101"/>
                  </a:lnTo>
                  <a:lnTo>
                    <a:pt x="840" y="3094"/>
                  </a:lnTo>
                  <a:lnTo>
                    <a:pt x="850" y="3058"/>
                  </a:lnTo>
                  <a:lnTo>
                    <a:pt x="864" y="3046"/>
                  </a:lnTo>
                  <a:lnTo>
                    <a:pt x="853" y="3032"/>
                  </a:lnTo>
                  <a:lnTo>
                    <a:pt x="861" y="2996"/>
                  </a:lnTo>
                  <a:lnTo>
                    <a:pt x="875" y="2984"/>
                  </a:lnTo>
                  <a:lnTo>
                    <a:pt x="883" y="2955"/>
                  </a:lnTo>
                  <a:lnTo>
                    <a:pt x="921" y="3004"/>
                  </a:lnTo>
                  <a:lnTo>
                    <a:pt x="941" y="2989"/>
                  </a:lnTo>
                  <a:lnTo>
                    <a:pt x="928" y="2947"/>
                  </a:lnTo>
                  <a:lnTo>
                    <a:pt x="961" y="2932"/>
                  </a:lnTo>
                  <a:lnTo>
                    <a:pt x="965" y="2914"/>
                  </a:lnTo>
                  <a:lnTo>
                    <a:pt x="999" y="2901"/>
                  </a:lnTo>
                  <a:lnTo>
                    <a:pt x="1018" y="2878"/>
                  </a:lnTo>
                  <a:lnTo>
                    <a:pt x="1043" y="2874"/>
                  </a:lnTo>
                  <a:lnTo>
                    <a:pt x="1064" y="2888"/>
                  </a:lnTo>
                  <a:lnTo>
                    <a:pt x="1073" y="2871"/>
                  </a:lnTo>
                  <a:lnTo>
                    <a:pt x="1090" y="2870"/>
                  </a:lnTo>
                  <a:lnTo>
                    <a:pt x="1100" y="2886"/>
                  </a:lnTo>
                  <a:lnTo>
                    <a:pt x="1142" y="2887"/>
                  </a:lnTo>
                  <a:lnTo>
                    <a:pt x="1171" y="2917"/>
                  </a:lnTo>
                  <a:lnTo>
                    <a:pt x="1186" y="2951"/>
                  </a:lnTo>
                  <a:lnTo>
                    <a:pt x="1191" y="2949"/>
                  </a:lnTo>
                  <a:lnTo>
                    <a:pt x="1188" y="2925"/>
                  </a:lnTo>
                  <a:lnTo>
                    <a:pt x="1198" y="2919"/>
                  </a:lnTo>
                  <a:lnTo>
                    <a:pt x="1235" y="2951"/>
                  </a:lnTo>
                  <a:lnTo>
                    <a:pt x="1279" y="2919"/>
                  </a:lnTo>
                  <a:lnTo>
                    <a:pt x="1312" y="2930"/>
                  </a:lnTo>
                  <a:lnTo>
                    <a:pt x="1322" y="2920"/>
                  </a:lnTo>
                  <a:lnTo>
                    <a:pt x="1344" y="2913"/>
                  </a:lnTo>
                  <a:lnTo>
                    <a:pt x="1369" y="2945"/>
                  </a:lnTo>
                  <a:lnTo>
                    <a:pt x="1396" y="2955"/>
                  </a:lnTo>
                  <a:lnTo>
                    <a:pt x="1425" y="2934"/>
                  </a:lnTo>
                  <a:lnTo>
                    <a:pt x="1463" y="2944"/>
                  </a:lnTo>
                  <a:lnTo>
                    <a:pt x="1481" y="2936"/>
                  </a:lnTo>
                  <a:lnTo>
                    <a:pt x="1493" y="2900"/>
                  </a:lnTo>
                  <a:lnTo>
                    <a:pt x="1489" y="2895"/>
                  </a:lnTo>
                  <a:lnTo>
                    <a:pt x="1466" y="2893"/>
                  </a:lnTo>
                  <a:lnTo>
                    <a:pt x="1438" y="2876"/>
                  </a:lnTo>
                  <a:lnTo>
                    <a:pt x="1423" y="2854"/>
                  </a:lnTo>
                  <a:lnTo>
                    <a:pt x="1461" y="2834"/>
                  </a:lnTo>
                  <a:lnTo>
                    <a:pt x="1465" y="2822"/>
                  </a:lnTo>
                  <a:lnTo>
                    <a:pt x="1451" y="2801"/>
                  </a:lnTo>
                  <a:lnTo>
                    <a:pt x="1468" y="2783"/>
                  </a:lnTo>
                  <a:lnTo>
                    <a:pt x="1515" y="2776"/>
                  </a:lnTo>
                  <a:lnTo>
                    <a:pt x="1474" y="2761"/>
                  </a:lnTo>
                  <a:lnTo>
                    <a:pt x="1472" y="2749"/>
                  </a:lnTo>
                  <a:lnTo>
                    <a:pt x="1488" y="2742"/>
                  </a:lnTo>
                  <a:lnTo>
                    <a:pt x="1465" y="2741"/>
                  </a:lnTo>
                  <a:lnTo>
                    <a:pt x="1471" y="2724"/>
                  </a:lnTo>
                  <a:lnTo>
                    <a:pt x="1462" y="2713"/>
                  </a:lnTo>
                  <a:lnTo>
                    <a:pt x="1530" y="2718"/>
                  </a:lnTo>
                  <a:lnTo>
                    <a:pt x="1578" y="2692"/>
                  </a:lnTo>
                  <a:lnTo>
                    <a:pt x="1595" y="2698"/>
                  </a:lnTo>
                  <a:lnTo>
                    <a:pt x="1628" y="2678"/>
                  </a:lnTo>
                  <a:lnTo>
                    <a:pt x="1652" y="2664"/>
                  </a:lnTo>
                  <a:lnTo>
                    <a:pt x="1773" y="2638"/>
                  </a:lnTo>
                  <a:lnTo>
                    <a:pt x="1776" y="2621"/>
                  </a:lnTo>
                  <a:lnTo>
                    <a:pt x="1808" y="2606"/>
                  </a:lnTo>
                  <a:lnTo>
                    <a:pt x="1891" y="2622"/>
                  </a:lnTo>
                  <a:lnTo>
                    <a:pt x="1896" y="2653"/>
                  </a:lnTo>
                  <a:lnTo>
                    <a:pt x="1905" y="2661"/>
                  </a:lnTo>
                  <a:lnTo>
                    <a:pt x="1895" y="2689"/>
                  </a:lnTo>
                  <a:lnTo>
                    <a:pt x="1901" y="2701"/>
                  </a:lnTo>
                  <a:lnTo>
                    <a:pt x="1939" y="2696"/>
                  </a:lnTo>
                  <a:lnTo>
                    <a:pt x="1941" y="2683"/>
                  </a:lnTo>
                  <a:lnTo>
                    <a:pt x="1956" y="2701"/>
                  </a:lnTo>
                  <a:lnTo>
                    <a:pt x="1953" y="2713"/>
                  </a:lnTo>
                  <a:lnTo>
                    <a:pt x="1966" y="2714"/>
                  </a:lnTo>
                  <a:lnTo>
                    <a:pt x="1960" y="2704"/>
                  </a:lnTo>
                  <a:lnTo>
                    <a:pt x="1966" y="2701"/>
                  </a:lnTo>
                  <a:lnTo>
                    <a:pt x="1994" y="2715"/>
                  </a:lnTo>
                  <a:lnTo>
                    <a:pt x="2010" y="2707"/>
                  </a:lnTo>
                  <a:lnTo>
                    <a:pt x="2011" y="2720"/>
                  </a:lnTo>
                  <a:lnTo>
                    <a:pt x="1993" y="2737"/>
                  </a:lnTo>
                  <a:lnTo>
                    <a:pt x="1999" y="2749"/>
                  </a:lnTo>
                  <a:lnTo>
                    <a:pt x="2043" y="2745"/>
                  </a:lnTo>
                  <a:lnTo>
                    <a:pt x="2091" y="2698"/>
                  </a:lnTo>
                  <a:lnTo>
                    <a:pt x="2143" y="2680"/>
                  </a:lnTo>
                  <a:lnTo>
                    <a:pt x="2146" y="2692"/>
                  </a:lnTo>
                  <a:lnTo>
                    <a:pt x="2131" y="2700"/>
                  </a:lnTo>
                  <a:lnTo>
                    <a:pt x="2132" y="2711"/>
                  </a:lnTo>
                  <a:lnTo>
                    <a:pt x="2191" y="2765"/>
                  </a:lnTo>
                  <a:lnTo>
                    <a:pt x="2286" y="2937"/>
                  </a:lnTo>
                  <a:lnTo>
                    <a:pt x="2313" y="2905"/>
                  </a:lnTo>
                  <a:lnTo>
                    <a:pt x="2335" y="2918"/>
                  </a:lnTo>
                  <a:lnTo>
                    <a:pt x="2343" y="2941"/>
                  </a:lnTo>
                  <a:lnTo>
                    <a:pt x="2395" y="2941"/>
                  </a:lnTo>
                  <a:lnTo>
                    <a:pt x="2433" y="2924"/>
                  </a:lnTo>
                  <a:lnTo>
                    <a:pt x="2506" y="3013"/>
                  </a:lnTo>
                  <a:lnTo>
                    <a:pt x="2550" y="3025"/>
                  </a:lnTo>
                  <a:lnTo>
                    <a:pt x="2568" y="3009"/>
                  </a:lnTo>
                  <a:lnTo>
                    <a:pt x="2592" y="3045"/>
                  </a:lnTo>
                  <a:lnTo>
                    <a:pt x="2585" y="3069"/>
                  </a:lnTo>
                  <a:lnTo>
                    <a:pt x="2603" y="3075"/>
                  </a:lnTo>
                  <a:lnTo>
                    <a:pt x="2620" y="3061"/>
                  </a:lnTo>
                  <a:lnTo>
                    <a:pt x="2641" y="3031"/>
                  </a:lnTo>
                  <a:lnTo>
                    <a:pt x="2792" y="2953"/>
                  </a:lnTo>
                  <a:lnTo>
                    <a:pt x="2895" y="2965"/>
                  </a:lnTo>
                  <a:lnTo>
                    <a:pt x="2923" y="2994"/>
                  </a:lnTo>
                  <a:lnTo>
                    <a:pt x="3049" y="2992"/>
                  </a:lnTo>
                  <a:lnTo>
                    <a:pt x="3056" y="2988"/>
                  </a:lnTo>
                  <a:lnTo>
                    <a:pt x="3055" y="2962"/>
                  </a:lnTo>
                  <a:lnTo>
                    <a:pt x="3063" y="2949"/>
                  </a:lnTo>
                  <a:lnTo>
                    <a:pt x="3053" y="2896"/>
                  </a:lnTo>
                  <a:lnTo>
                    <a:pt x="3111" y="2846"/>
                  </a:lnTo>
                  <a:lnTo>
                    <a:pt x="3226" y="2892"/>
                  </a:lnTo>
                  <a:lnTo>
                    <a:pt x="3238" y="2944"/>
                  </a:lnTo>
                  <a:lnTo>
                    <a:pt x="3272" y="2968"/>
                  </a:lnTo>
                  <a:lnTo>
                    <a:pt x="3298" y="2976"/>
                  </a:lnTo>
                  <a:lnTo>
                    <a:pt x="3362" y="2951"/>
                  </a:lnTo>
                  <a:lnTo>
                    <a:pt x="3385" y="2957"/>
                  </a:lnTo>
                  <a:lnTo>
                    <a:pt x="3486" y="3005"/>
                  </a:lnTo>
                  <a:lnTo>
                    <a:pt x="3518" y="3032"/>
                  </a:lnTo>
                  <a:lnTo>
                    <a:pt x="3609" y="3048"/>
                  </a:lnTo>
                  <a:lnTo>
                    <a:pt x="3703" y="3023"/>
                  </a:lnTo>
                  <a:lnTo>
                    <a:pt x="3770" y="2980"/>
                  </a:lnTo>
                  <a:lnTo>
                    <a:pt x="3820" y="3003"/>
                  </a:lnTo>
                  <a:lnTo>
                    <a:pt x="3848" y="2996"/>
                  </a:lnTo>
                  <a:lnTo>
                    <a:pt x="3912" y="3023"/>
                  </a:lnTo>
                  <a:lnTo>
                    <a:pt x="3972" y="2988"/>
                  </a:lnTo>
                  <a:lnTo>
                    <a:pt x="4002" y="2890"/>
                  </a:lnTo>
                  <a:lnTo>
                    <a:pt x="4036" y="2862"/>
                  </a:lnTo>
                  <a:lnTo>
                    <a:pt x="4033" y="2827"/>
                  </a:lnTo>
                  <a:lnTo>
                    <a:pt x="4006" y="2829"/>
                  </a:lnTo>
                  <a:lnTo>
                    <a:pt x="4007" y="2814"/>
                  </a:lnTo>
                  <a:lnTo>
                    <a:pt x="4043" y="2777"/>
                  </a:lnTo>
                  <a:lnTo>
                    <a:pt x="4072" y="2772"/>
                  </a:lnTo>
                  <a:lnTo>
                    <a:pt x="4160" y="2756"/>
                  </a:lnTo>
                  <a:lnTo>
                    <a:pt x="4197" y="2782"/>
                  </a:lnTo>
                  <a:lnTo>
                    <a:pt x="4248" y="2792"/>
                  </a:lnTo>
                  <a:lnTo>
                    <a:pt x="4280" y="2839"/>
                  </a:lnTo>
                  <a:lnTo>
                    <a:pt x="4314" y="2936"/>
                  </a:lnTo>
                  <a:lnTo>
                    <a:pt x="4328" y="3002"/>
                  </a:lnTo>
                  <a:lnTo>
                    <a:pt x="4328" y="3019"/>
                  </a:lnTo>
                  <a:lnTo>
                    <a:pt x="4400" y="3031"/>
                  </a:lnTo>
                  <a:lnTo>
                    <a:pt x="4414" y="3037"/>
                  </a:lnTo>
                  <a:lnTo>
                    <a:pt x="4460" y="3065"/>
                  </a:lnTo>
                  <a:lnTo>
                    <a:pt x="4485" y="3145"/>
                  </a:lnTo>
                  <a:lnTo>
                    <a:pt x="4528" y="3147"/>
                  </a:lnTo>
                  <a:lnTo>
                    <a:pt x="4543" y="3141"/>
                  </a:lnTo>
                  <a:lnTo>
                    <a:pt x="4644" y="3096"/>
                  </a:lnTo>
                  <a:lnTo>
                    <a:pt x="4640" y="3152"/>
                  </a:lnTo>
                  <a:lnTo>
                    <a:pt x="4620" y="3170"/>
                  </a:lnTo>
                  <a:lnTo>
                    <a:pt x="4601" y="3244"/>
                  </a:lnTo>
                  <a:lnTo>
                    <a:pt x="4571" y="3305"/>
                  </a:lnTo>
                  <a:lnTo>
                    <a:pt x="4562" y="3312"/>
                  </a:lnTo>
                  <a:lnTo>
                    <a:pt x="4558" y="3310"/>
                  </a:lnTo>
                  <a:lnTo>
                    <a:pt x="4518" y="3299"/>
                  </a:lnTo>
                  <a:lnTo>
                    <a:pt x="4480" y="3332"/>
                  </a:lnTo>
                  <a:lnTo>
                    <a:pt x="4491" y="3365"/>
                  </a:lnTo>
                  <a:lnTo>
                    <a:pt x="4491" y="3410"/>
                  </a:lnTo>
                  <a:lnTo>
                    <a:pt x="4463" y="3443"/>
                  </a:lnTo>
                  <a:lnTo>
                    <a:pt x="4463" y="3457"/>
                  </a:lnTo>
                  <a:lnTo>
                    <a:pt x="4466" y="3468"/>
                  </a:lnTo>
                  <a:lnTo>
                    <a:pt x="4472" y="3465"/>
                  </a:lnTo>
                  <a:lnTo>
                    <a:pt x="4469" y="3455"/>
                  </a:lnTo>
                  <a:lnTo>
                    <a:pt x="4491" y="3454"/>
                  </a:lnTo>
                  <a:lnTo>
                    <a:pt x="4518" y="3407"/>
                  </a:lnTo>
                  <a:lnTo>
                    <a:pt x="4525" y="3427"/>
                  </a:lnTo>
                  <a:lnTo>
                    <a:pt x="4539" y="3417"/>
                  </a:lnTo>
                  <a:lnTo>
                    <a:pt x="4540" y="3441"/>
                  </a:lnTo>
                  <a:lnTo>
                    <a:pt x="4579" y="3451"/>
                  </a:lnTo>
                  <a:lnTo>
                    <a:pt x="4655" y="3407"/>
                  </a:lnTo>
                  <a:lnTo>
                    <a:pt x="4771" y="3262"/>
                  </a:lnTo>
                  <a:lnTo>
                    <a:pt x="4806" y="3192"/>
                  </a:lnTo>
                  <a:lnTo>
                    <a:pt x="4880" y="3096"/>
                  </a:lnTo>
                  <a:lnTo>
                    <a:pt x="4897" y="2992"/>
                  </a:lnTo>
                  <a:lnTo>
                    <a:pt x="4888" y="2946"/>
                  </a:lnTo>
                  <a:lnTo>
                    <a:pt x="4902" y="2898"/>
                  </a:lnTo>
                  <a:lnTo>
                    <a:pt x="4931" y="2846"/>
                  </a:lnTo>
                  <a:lnTo>
                    <a:pt x="4916" y="2830"/>
                  </a:lnTo>
                  <a:lnTo>
                    <a:pt x="4922" y="2816"/>
                  </a:lnTo>
                  <a:lnTo>
                    <a:pt x="4917" y="2797"/>
                  </a:lnTo>
                  <a:lnTo>
                    <a:pt x="4864" y="2774"/>
                  </a:lnTo>
                  <a:lnTo>
                    <a:pt x="4919" y="2787"/>
                  </a:lnTo>
                  <a:lnTo>
                    <a:pt x="4928" y="2767"/>
                  </a:lnTo>
                  <a:lnTo>
                    <a:pt x="4883" y="2735"/>
                  </a:lnTo>
                  <a:lnTo>
                    <a:pt x="4859" y="2697"/>
                  </a:lnTo>
                  <a:lnTo>
                    <a:pt x="4813" y="2695"/>
                  </a:lnTo>
                  <a:lnTo>
                    <a:pt x="4812" y="2732"/>
                  </a:lnTo>
                  <a:lnTo>
                    <a:pt x="4798" y="2752"/>
                  </a:lnTo>
                  <a:lnTo>
                    <a:pt x="4803" y="2722"/>
                  </a:lnTo>
                  <a:lnTo>
                    <a:pt x="4789" y="2740"/>
                  </a:lnTo>
                  <a:lnTo>
                    <a:pt x="4751" y="2747"/>
                  </a:lnTo>
                  <a:lnTo>
                    <a:pt x="4768" y="2727"/>
                  </a:lnTo>
                  <a:lnTo>
                    <a:pt x="4754" y="2709"/>
                  </a:lnTo>
                  <a:lnTo>
                    <a:pt x="4767" y="2695"/>
                  </a:lnTo>
                  <a:lnTo>
                    <a:pt x="4748" y="2701"/>
                  </a:lnTo>
                  <a:lnTo>
                    <a:pt x="4747" y="2721"/>
                  </a:lnTo>
                  <a:lnTo>
                    <a:pt x="4729" y="2735"/>
                  </a:lnTo>
                  <a:lnTo>
                    <a:pt x="4728" y="2673"/>
                  </a:lnTo>
                  <a:lnTo>
                    <a:pt x="4683" y="2677"/>
                  </a:lnTo>
                  <a:lnTo>
                    <a:pt x="4661" y="2663"/>
                  </a:lnTo>
                  <a:lnTo>
                    <a:pt x="4665" y="2648"/>
                  </a:lnTo>
                  <a:lnTo>
                    <a:pt x="4769" y="2556"/>
                  </a:lnTo>
                  <a:lnTo>
                    <a:pt x="4801" y="2503"/>
                  </a:lnTo>
                  <a:lnTo>
                    <a:pt x="4883" y="2426"/>
                  </a:lnTo>
                  <a:lnTo>
                    <a:pt x="4904" y="2386"/>
                  </a:lnTo>
                  <a:lnTo>
                    <a:pt x="4966" y="2321"/>
                  </a:lnTo>
                  <a:lnTo>
                    <a:pt x="5003" y="2299"/>
                  </a:lnTo>
                  <a:lnTo>
                    <a:pt x="5105" y="2293"/>
                  </a:lnTo>
                  <a:lnTo>
                    <a:pt x="5130" y="2315"/>
                  </a:lnTo>
                  <a:lnTo>
                    <a:pt x="5146" y="2289"/>
                  </a:lnTo>
                  <a:lnTo>
                    <a:pt x="5191" y="2307"/>
                  </a:lnTo>
                  <a:lnTo>
                    <a:pt x="5226" y="2296"/>
                  </a:lnTo>
                  <a:lnTo>
                    <a:pt x="5240" y="2309"/>
                  </a:lnTo>
                  <a:lnTo>
                    <a:pt x="5250" y="2307"/>
                  </a:lnTo>
                  <a:lnTo>
                    <a:pt x="5243" y="2292"/>
                  </a:lnTo>
                  <a:lnTo>
                    <a:pt x="5260" y="2287"/>
                  </a:lnTo>
                  <a:lnTo>
                    <a:pt x="5256" y="2273"/>
                  </a:lnTo>
                  <a:lnTo>
                    <a:pt x="5265" y="2267"/>
                  </a:lnTo>
                  <a:lnTo>
                    <a:pt x="5338" y="2290"/>
                  </a:lnTo>
                  <a:lnTo>
                    <a:pt x="5359" y="2281"/>
                  </a:lnTo>
                  <a:lnTo>
                    <a:pt x="5393" y="2306"/>
                  </a:lnTo>
                  <a:lnTo>
                    <a:pt x="5348" y="2320"/>
                  </a:lnTo>
                  <a:lnTo>
                    <a:pt x="5360" y="2340"/>
                  </a:lnTo>
                  <a:lnTo>
                    <a:pt x="5407" y="2325"/>
                  </a:lnTo>
                  <a:lnTo>
                    <a:pt x="5421" y="2335"/>
                  </a:lnTo>
                  <a:lnTo>
                    <a:pt x="5454" y="2310"/>
                  </a:lnTo>
                  <a:lnTo>
                    <a:pt x="5508" y="2317"/>
                  </a:lnTo>
                  <a:lnTo>
                    <a:pt x="5519" y="2314"/>
                  </a:lnTo>
                  <a:lnTo>
                    <a:pt x="5517" y="2300"/>
                  </a:lnTo>
                  <a:lnTo>
                    <a:pt x="5479" y="2287"/>
                  </a:lnTo>
                  <a:lnTo>
                    <a:pt x="5485" y="2275"/>
                  </a:lnTo>
                  <a:lnTo>
                    <a:pt x="5478" y="2258"/>
                  </a:lnTo>
                  <a:lnTo>
                    <a:pt x="5609" y="2095"/>
                  </a:lnTo>
                  <a:lnTo>
                    <a:pt x="5685" y="2071"/>
                  </a:lnTo>
                  <a:lnTo>
                    <a:pt x="5721" y="2093"/>
                  </a:lnTo>
                  <a:lnTo>
                    <a:pt x="5744" y="2069"/>
                  </a:lnTo>
                  <a:lnTo>
                    <a:pt x="5724" y="2126"/>
                  </a:lnTo>
                  <a:lnTo>
                    <a:pt x="5728" y="2142"/>
                  </a:lnTo>
                  <a:lnTo>
                    <a:pt x="5722" y="2158"/>
                  </a:lnTo>
                  <a:lnTo>
                    <a:pt x="5746" y="2154"/>
                  </a:lnTo>
                  <a:lnTo>
                    <a:pt x="5736" y="2193"/>
                  </a:lnTo>
                  <a:lnTo>
                    <a:pt x="5831" y="2101"/>
                  </a:lnTo>
                  <a:lnTo>
                    <a:pt x="5850" y="2091"/>
                  </a:lnTo>
                  <a:lnTo>
                    <a:pt x="5862" y="2107"/>
                  </a:lnTo>
                  <a:lnTo>
                    <a:pt x="5869" y="2093"/>
                  </a:lnTo>
                  <a:lnTo>
                    <a:pt x="5858" y="2084"/>
                  </a:lnTo>
                  <a:lnTo>
                    <a:pt x="5872" y="2024"/>
                  </a:lnTo>
                  <a:lnTo>
                    <a:pt x="5919" y="2000"/>
                  </a:lnTo>
                  <a:lnTo>
                    <a:pt x="5942" y="2017"/>
                  </a:lnTo>
                  <a:lnTo>
                    <a:pt x="5908" y="2044"/>
                  </a:lnTo>
                  <a:lnTo>
                    <a:pt x="5895" y="2131"/>
                  </a:lnTo>
                  <a:lnTo>
                    <a:pt x="5882" y="2146"/>
                  </a:lnTo>
                  <a:lnTo>
                    <a:pt x="5888" y="2166"/>
                  </a:lnTo>
                  <a:lnTo>
                    <a:pt x="5811" y="2203"/>
                  </a:lnTo>
                  <a:lnTo>
                    <a:pt x="5805" y="2226"/>
                  </a:lnTo>
                  <a:lnTo>
                    <a:pt x="5747" y="2282"/>
                  </a:lnTo>
                  <a:lnTo>
                    <a:pt x="5660" y="2403"/>
                  </a:lnTo>
                  <a:lnTo>
                    <a:pt x="5618" y="2427"/>
                  </a:lnTo>
                  <a:lnTo>
                    <a:pt x="5594" y="2424"/>
                  </a:lnTo>
                  <a:lnTo>
                    <a:pt x="5600" y="2450"/>
                  </a:lnTo>
                  <a:lnTo>
                    <a:pt x="5590" y="2481"/>
                  </a:lnTo>
                  <a:lnTo>
                    <a:pt x="5552" y="2513"/>
                  </a:lnTo>
                  <a:lnTo>
                    <a:pt x="5539" y="2572"/>
                  </a:lnTo>
                  <a:lnTo>
                    <a:pt x="5542" y="2669"/>
                  </a:lnTo>
                  <a:lnTo>
                    <a:pt x="5591" y="2935"/>
                  </a:lnTo>
                  <a:lnTo>
                    <a:pt x="5653" y="2868"/>
                  </a:lnTo>
                  <a:lnTo>
                    <a:pt x="5662" y="2819"/>
                  </a:lnTo>
                  <a:lnTo>
                    <a:pt x="5676" y="2797"/>
                  </a:lnTo>
                  <a:lnTo>
                    <a:pt x="5715" y="2772"/>
                  </a:lnTo>
                  <a:lnTo>
                    <a:pt x="5728" y="2777"/>
                  </a:lnTo>
                  <a:lnTo>
                    <a:pt x="5723" y="2715"/>
                  </a:lnTo>
                  <a:lnTo>
                    <a:pt x="5768" y="2676"/>
                  </a:lnTo>
                  <a:lnTo>
                    <a:pt x="5795" y="2680"/>
                  </a:lnTo>
                  <a:lnTo>
                    <a:pt x="5816" y="2665"/>
                  </a:lnTo>
                  <a:lnTo>
                    <a:pt x="5798" y="2605"/>
                  </a:lnTo>
                  <a:lnTo>
                    <a:pt x="5809" y="2572"/>
                  </a:lnTo>
                  <a:lnTo>
                    <a:pt x="5829" y="2553"/>
                  </a:lnTo>
                  <a:lnTo>
                    <a:pt x="5827" y="2546"/>
                  </a:lnTo>
                  <a:lnTo>
                    <a:pt x="5824" y="2538"/>
                  </a:lnTo>
                  <a:lnTo>
                    <a:pt x="5854" y="2526"/>
                  </a:lnTo>
                  <a:lnTo>
                    <a:pt x="5841" y="2548"/>
                  </a:lnTo>
                  <a:lnTo>
                    <a:pt x="5856" y="2568"/>
                  </a:lnTo>
                  <a:lnTo>
                    <a:pt x="5869" y="2546"/>
                  </a:lnTo>
                  <a:lnTo>
                    <a:pt x="5865" y="2519"/>
                  </a:lnTo>
                  <a:lnTo>
                    <a:pt x="5847" y="2511"/>
                  </a:lnTo>
                  <a:lnTo>
                    <a:pt x="5845" y="2476"/>
                  </a:lnTo>
                  <a:lnTo>
                    <a:pt x="5866" y="2427"/>
                  </a:lnTo>
                  <a:lnTo>
                    <a:pt x="5841" y="2413"/>
                  </a:lnTo>
                  <a:lnTo>
                    <a:pt x="5827" y="2430"/>
                  </a:lnTo>
                  <a:lnTo>
                    <a:pt x="5812" y="2415"/>
                  </a:lnTo>
                  <a:lnTo>
                    <a:pt x="5826" y="2367"/>
                  </a:lnTo>
                  <a:lnTo>
                    <a:pt x="5852" y="2321"/>
                  </a:lnTo>
                  <a:lnTo>
                    <a:pt x="5863" y="2319"/>
                  </a:lnTo>
                  <a:lnTo>
                    <a:pt x="5880" y="2254"/>
                  </a:lnTo>
                  <a:lnTo>
                    <a:pt x="5924" y="2239"/>
                  </a:lnTo>
                  <a:lnTo>
                    <a:pt x="5943" y="2259"/>
                  </a:lnTo>
                  <a:lnTo>
                    <a:pt x="5947" y="2236"/>
                  </a:lnTo>
                  <a:lnTo>
                    <a:pt x="5993" y="2197"/>
                  </a:lnTo>
                  <a:lnTo>
                    <a:pt x="5993" y="2259"/>
                  </a:lnTo>
                  <a:lnTo>
                    <a:pt x="6029" y="2207"/>
                  </a:lnTo>
                  <a:lnTo>
                    <a:pt x="6079" y="2188"/>
                  </a:lnTo>
                  <a:lnTo>
                    <a:pt x="6131" y="2199"/>
                  </a:lnTo>
                  <a:lnTo>
                    <a:pt x="6172" y="2247"/>
                  </a:lnTo>
                  <a:lnTo>
                    <a:pt x="6181" y="2205"/>
                  </a:lnTo>
                  <a:lnTo>
                    <a:pt x="6260" y="2152"/>
                  </a:lnTo>
                  <a:lnTo>
                    <a:pt x="6260" y="2137"/>
                  </a:lnTo>
                  <a:lnTo>
                    <a:pt x="6293" y="2119"/>
                  </a:lnTo>
                  <a:lnTo>
                    <a:pt x="6307" y="2089"/>
                  </a:lnTo>
                  <a:lnTo>
                    <a:pt x="6323" y="2096"/>
                  </a:lnTo>
                  <a:lnTo>
                    <a:pt x="6372" y="2067"/>
                  </a:lnTo>
                  <a:lnTo>
                    <a:pt x="6376" y="2051"/>
                  </a:lnTo>
                  <a:lnTo>
                    <a:pt x="6470" y="2011"/>
                  </a:lnTo>
                  <a:lnTo>
                    <a:pt x="6477" y="2011"/>
                  </a:lnTo>
                  <a:lnTo>
                    <a:pt x="6546" y="2035"/>
                  </a:lnTo>
                  <a:lnTo>
                    <a:pt x="6568" y="1995"/>
                  </a:lnTo>
                  <a:lnTo>
                    <a:pt x="6546" y="1968"/>
                  </a:lnTo>
                  <a:lnTo>
                    <a:pt x="6564" y="1965"/>
                  </a:lnTo>
                  <a:lnTo>
                    <a:pt x="6540" y="1930"/>
                  </a:lnTo>
                  <a:lnTo>
                    <a:pt x="6532" y="1878"/>
                  </a:lnTo>
                  <a:lnTo>
                    <a:pt x="6525" y="1868"/>
                  </a:lnTo>
                  <a:lnTo>
                    <a:pt x="6517" y="1840"/>
                  </a:lnTo>
                  <a:lnTo>
                    <a:pt x="6507" y="1852"/>
                  </a:lnTo>
                  <a:lnTo>
                    <a:pt x="6485" y="1838"/>
                  </a:lnTo>
                  <a:lnTo>
                    <a:pt x="6478" y="1803"/>
                  </a:lnTo>
                  <a:lnTo>
                    <a:pt x="6527" y="1818"/>
                  </a:lnTo>
                  <a:lnTo>
                    <a:pt x="6589" y="1768"/>
                  </a:lnTo>
                  <a:lnTo>
                    <a:pt x="6589" y="1345"/>
                  </a:lnTo>
                  <a:close/>
                </a:path>
              </a:pathLst>
            </a:custGeom>
            <a:grpFill/>
            <a:ln w="6350">
              <a:solidFill>
                <a:schemeClr val="tx2"/>
              </a:solidFill>
              <a:round/>
              <a:headEnd/>
              <a:tailEnd/>
            </a:ln>
          </p:spPr>
          <p:txBody>
            <a:bodyPr/>
            <a:lstStyle/>
            <a:p>
              <a:endParaRPr lang="en-US"/>
            </a:p>
          </p:txBody>
        </p:sp>
        <p:sp>
          <p:nvSpPr>
            <p:cNvPr id="338" name="Freeform 1416"/>
            <p:cNvSpPr>
              <a:spLocks/>
            </p:cNvSpPr>
            <p:nvPr/>
          </p:nvSpPr>
          <p:spPr bwMode="auto">
            <a:xfrm>
              <a:off x="7314235" y="3497145"/>
              <a:ext cx="75856" cy="110750"/>
            </a:xfrm>
            <a:custGeom>
              <a:avLst/>
              <a:gdLst>
                <a:gd name="T0" fmla="*/ 2147483647 w 150"/>
                <a:gd name="T1" fmla="*/ 2147483647 h 223"/>
                <a:gd name="T2" fmla="*/ 2147483647 w 150"/>
                <a:gd name="T3" fmla="*/ 2147483647 h 223"/>
                <a:gd name="T4" fmla="*/ 2147483647 w 150"/>
                <a:gd name="T5" fmla="*/ 2147483647 h 223"/>
                <a:gd name="T6" fmla="*/ 2147483647 w 150"/>
                <a:gd name="T7" fmla="*/ 2147483647 h 223"/>
                <a:gd name="T8" fmla="*/ 2147483647 w 150"/>
                <a:gd name="T9" fmla="*/ 2147483647 h 223"/>
                <a:gd name="T10" fmla="*/ 2147483647 w 150"/>
                <a:gd name="T11" fmla="*/ 2147483647 h 223"/>
                <a:gd name="T12" fmla="*/ 2147483647 w 150"/>
                <a:gd name="T13" fmla="*/ 2147483647 h 223"/>
                <a:gd name="T14" fmla="*/ 2147483647 w 150"/>
                <a:gd name="T15" fmla="*/ 2147483647 h 223"/>
                <a:gd name="T16" fmla="*/ 0 w 150"/>
                <a:gd name="T17" fmla="*/ 2147483647 h 223"/>
                <a:gd name="T18" fmla="*/ 2147483647 w 150"/>
                <a:gd name="T19" fmla="*/ 2147483647 h 223"/>
                <a:gd name="T20" fmla="*/ 2147483647 w 150"/>
                <a:gd name="T21" fmla="*/ 2147483647 h 223"/>
                <a:gd name="T22" fmla="*/ 2147483647 w 150"/>
                <a:gd name="T23" fmla="*/ 2147483647 h 223"/>
                <a:gd name="T24" fmla="*/ 2147483647 w 150"/>
                <a:gd name="T25" fmla="*/ 2147483647 h 223"/>
                <a:gd name="T26" fmla="*/ 2147483647 w 150"/>
                <a:gd name="T27" fmla="*/ 2147483647 h 223"/>
                <a:gd name="T28" fmla="*/ 2147483647 w 150"/>
                <a:gd name="T29" fmla="*/ 2147483647 h 223"/>
                <a:gd name="T30" fmla="*/ 2147483647 w 150"/>
                <a:gd name="T31" fmla="*/ 2147483647 h 223"/>
                <a:gd name="T32" fmla="*/ 2147483647 w 150"/>
                <a:gd name="T33" fmla="*/ 2147483647 h 223"/>
                <a:gd name="T34" fmla="*/ 2147483647 w 150"/>
                <a:gd name="T35" fmla="*/ 2147483647 h 223"/>
                <a:gd name="T36" fmla="*/ 2147483647 w 150"/>
                <a:gd name="T37" fmla="*/ 2147483647 h 223"/>
                <a:gd name="T38" fmla="*/ 2147483647 w 150"/>
                <a:gd name="T39" fmla="*/ 2147483647 h 223"/>
                <a:gd name="T40" fmla="*/ 2147483647 w 150"/>
                <a:gd name="T41" fmla="*/ 2147483647 h 223"/>
                <a:gd name="T42" fmla="*/ 2147483647 w 150"/>
                <a:gd name="T43" fmla="*/ 2147483647 h 223"/>
                <a:gd name="T44" fmla="*/ 2147483647 w 150"/>
                <a:gd name="T45" fmla="*/ 2147483647 h 223"/>
                <a:gd name="T46" fmla="*/ 2147483647 w 150"/>
                <a:gd name="T47" fmla="*/ 2147483647 h 223"/>
                <a:gd name="T48" fmla="*/ 2147483647 w 150"/>
                <a:gd name="T49" fmla="*/ 2147483647 h 223"/>
                <a:gd name="T50" fmla="*/ 2147483647 w 150"/>
                <a:gd name="T51" fmla="*/ 2147483647 h 223"/>
                <a:gd name="T52" fmla="*/ 2147483647 w 150"/>
                <a:gd name="T53" fmla="*/ 2147483647 h 223"/>
                <a:gd name="T54" fmla="*/ 2147483647 w 150"/>
                <a:gd name="T55" fmla="*/ 2147483647 h 223"/>
                <a:gd name="T56" fmla="*/ 2147483647 w 150"/>
                <a:gd name="T57" fmla="*/ 2147483647 h 223"/>
                <a:gd name="T58" fmla="*/ 2147483647 w 150"/>
                <a:gd name="T59" fmla="*/ 2147483647 h 223"/>
                <a:gd name="T60" fmla="*/ 2147483647 w 150"/>
                <a:gd name="T61" fmla="*/ 2147483647 h 223"/>
                <a:gd name="T62" fmla="*/ 2147483647 w 150"/>
                <a:gd name="T63" fmla="*/ 2147483647 h 223"/>
                <a:gd name="T64" fmla="*/ 2147483647 w 150"/>
                <a:gd name="T65" fmla="*/ 2147483647 h 223"/>
                <a:gd name="T66" fmla="*/ 2147483647 w 150"/>
                <a:gd name="T67" fmla="*/ 2147483647 h 223"/>
                <a:gd name="T68" fmla="*/ 2147483647 w 150"/>
                <a:gd name="T69" fmla="*/ 2147483647 h 223"/>
                <a:gd name="T70" fmla="*/ 2147483647 w 150"/>
                <a:gd name="T71" fmla="*/ 2147483647 h 223"/>
                <a:gd name="T72" fmla="*/ 2147483647 w 150"/>
                <a:gd name="T73" fmla="*/ 2147483647 h 223"/>
                <a:gd name="T74" fmla="*/ 2147483647 w 150"/>
                <a:gd name="T75" fmla="*/ 2147483647 h 223"/>
                <a:gd name="T76" fmla="*/ 2147483647 w 150"/>
                <a:gd name="T77" fmla="*/ 2147483647 h 223"/>
                <a:gd name="T78" fmla="*/ 2147483647 w 150"/>
                <a:gd name="T79" fmla="*/ 2147483647 h 223"/>
                <a:gd name="T80" fmla="*/ 2147483647 w 150"/>
                <a:gd name="T81" fmla="*/ 2147483647 h 223"/>
                <a:gd name="T82" fmla="*/ 2147483647 w 150"/>
                <a:gd name="T83" fmla="*/ 2147483647 h 223"/>
                <a:gd name="T84" fmla="*/ 2147483647 w 150"/>
                <a:gd name="T85" fmla="*/ 2147483647 h 223"/>
                <a:gd name="T86" fmla="*/ 2147483647 w 150"/>
                <a:gd name="T87" fmla="*/ 2147483647 h 223"/>
                <a:gd name="T88" fmla="*/ 2147483647 w 150"/>
                <a:gd name="T89" fmla="*/ 2147483647 h 223"/>
                <a:gd name="T90" fmla="*/ 2147483647 w 150"/>
                <a:gd name="T91" fmla="*/ 2147483647 h 223"/>
                <a:gd name="T92" fmla="*/ 2147483647 w 150"/>
                <a:gd name="T93" fmla="*/ 2147483647 h 223"/>
                <a:gd name="T94" fmla="*/ 2147483647 w 150"/>
                <a:gd name="T95" fmla="*/ 0 h 223"/>
                <a:gd name="T96" fmla="*/ 2147483647 w 150"/>
                <a:gd name="T97" fmla="*/ 2147483647 h 223"/>
                <a:gd name="T98" fmla="*/ 2147483647 w 150"/>
                <a:gd name="T99" fmla="*/ 2147483647 h 223"/>
                <a:gd name="T100" fmla="*/ 2147483647 w 150"/>
                <a:gd name="T101" fmla="*/ 2147483647 h 2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0"/>
                <a:gd name="T154" fmla="*/ 0 h 223"/>
                <a:gd name="T155" fmla="*/ 150 w 150"/>
                <a:gd name="T156" fmla="*/ 223 h 2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0" h="223">
                  <a:moveTo>
                    <a:pt x="19" y="43"/>
                  </a:moveTo>
                  <a:lnTo>
                    <a:pt x="16" y="46"/>
                  </a:lnTo>
                  <a:lnTo>
                    <a:pt x="20" y="59"/>
                  </a:lnTo>
                  <a:lnTo>
                    <a:pt x="30" y="67"/>
                  </a:lnTo>
                  <a:lnTo>
                    <a:pt x="27" y="74"/>
                  </a:lnTo>
                  <a:lnTo>
                    <a:pt x="34" y="93"/>
                  </a:lnTo>
                  <a:lnTo>
                    <a:pt x="24" y="86"/>
                  </a:lnTo>
                  <a:lnTo>
                    <a:pt x="1" y="96"/>
                  </a:lnTo>
                  <a:lnTo>
                    <a:pt x="0" y="104"/>
                  </a:lnTo>
                  <a:lnTo>
                    <a:pt x="9" y="111"/>
                  </a:lnTo>
                  <a:lnTo>
                    <a:pt x="12" y="109"/>
                  </a:lnTo>
                  <a:lnTo>
                    <a:pt x="11" y="99"/>
                  </a:lnTo>
                  <a:lnTo>
                    <a:pt x="15" y="102"/>
                  </a:lnTo>
                  <a:lnTo>
                    <a:pt x="19" y="131"/>
                  </a:lnTo>
                  <a:lnTo>
                    <a:pt x="28" y="145"/>
                  </a:lnTo>
                  <a:lnTo>
                    <a:pt x="19" y="157"/>
                  </a:lnTo>
                  <a:lnTo>
                    <a:pt x="21" y="160"/>
                  </a:lnTo>
                  <a:lnTo>
                    <a:pt x="9" y="194"/>
                  </a:lnTo>
                  <a:lnTo>
                    <a:pt x="11" y="200"/>
                  </a:lnTo>
                  <a:lnTo>
                    <a:pt x="15" y="195"/>
                  </a:lnTo>
                  <a:lnTo>
                    <a:pt x="19" y="198"/>
                  </a:lnTo>
                  <a:lnTo>
                    <a:pt x="17" y="209"/>
                  </a:lnTo>
                  <a:lnTo>
                    <a:pt x="9" y="206"/>
                  </a:lnTo>
                  <a:lnTo>
                    <a:pt x="5" y="220"/>
                  </a:lnTo>
                  <a:lnTo>
                    <a:pt x="7" y="223"/>
                  </a:lnTo>
                  <a:lnTo>
                    <a:pt x="17" y="215"/>
                  </a:lnTo>
                  <a:lnTo>
                    <a:pt x="18" y="221"/>
                  </a:lnTo>
                  <a:lnTo>
                    <a:pt x="28" y="210"/>
                  </a:lnTo>
                  <a:lnTo>
                    <a:pt x="33" y="216"/>
                  </a:lnTo>
                  <a:lnTo>
                    <a:pt x="51" y="201"/>
                  </a:lnTo>
                  <a:lnTo>
                    <a:pt x="45" y="210"/>
                  </a:lnTo>
                  <a:lnTo>
                    <a:pt x="51" y="213"/>
                  </a:lnTo>
                  <a:lnTo>
                    <a:pt x="56" y="210"/>
                  </a:lnTo>
                  <a:lnTo>
                    <a:pt x="56" y="197"/>
                  </a:lnTo>
                  <a:lnTo>
                    <a:pt x="64" y="205"/>
                  </a:lnTo>
                  <a:lnTo>
                    <a:pt x="70" y="197"/>
                  </a:lnTo>
                  <a:lnTo>
                    <a:pt x="66" y="193"/>
                  </a:lnTo>
                  <a:lnTo>
                    <a:pt x="76" y="189"/>
                  </a:lnTo>
                  <a:lnTo>
                    <a:pt x="92" y="192"/>
                  </a:lnTo>
                  <a:lnTo>
                    <a:pt x="95" y="197"/>
                  </a:lnTo>
                  <a:lnTo>
                    <a:pt x="105" y="180"/>
                  </a:lnTo>
                  <a:lnTo>
                    <a:pt x="121" y="181"/>
                  </a:lnTo>
                  <a:lnTo>
                    <a:pt x="137" y="170"/>
                  </a:lnTo>
                  <a:lnTo>
                    <a:pt x="150" y="134"/>
                  </a:lnTo>
                  <a:lnTo>
                    <a:pt x="145" y="133"/>
                  </a:lnTo>
                  <a:lnTo>
                    <a:pt x="144" y="89"/>
                  </a:lnTo>
                  <a:lnTo>
                    <a:pt x="136" y="57"/>
                  </a:lnTo>
                  <a:lnTo>
                    <a:pt x="99" y="0"/>
                  </a:lnTo>
                  <a:lnTo>
                    <a:pt x="73" y="18"/>
                  </a:lnTo>
                  <a:lnTo>
                    <a:pt x="46" y="18"/>
                  </a:lnTo>
                  <a:lnTo>
                    <a:pt x="19" y="43"/>
                  </a:lnTo>
                  <a:close/>
                </a:path>
              </a:pathLst>
            </a:custGeom>
            <a:grpFill/>
            <a:ln w="6350">
              <a:solidFill>
                <a:schemeClr val="tx2"/>
              </a:solidFill>
              <a:round/>
              <a:headEnd/>
              <a:tailEnd/>
            </a:ln>
          </p:spPr>
          <p:txBody>
            <a:bodyPr/>
            <a:lstStyle/>
            <a:p>
              <a:endParaRPr lang="en-US"/>
            </a:p>
          </p:txBody>
        </p:sp>
        <p:sp>
          <p:nvSpPr>
            <p:cNvPr id="339" name="Freeform 1417"/>
            <p:cNvSpPr>
              <a:spLocks/>
            </p:cNvSpPr>
            <p:nvPr/>
          </p:nvSpPr>
          <p:spPr bwMode="auto">
            <a:xfrm>
              <a:off x="7277824" y="3372743"/>
              <a:ext cx="136541" cy="147161"/>
            </a:xfrm>
            <a:custGeom>
              <a:avLst/>
              <a:gdLst>
                <a:gd name="T0" fmla="*/ 0 w 273"/>
                <a:gd name="T1" fmla="*/ 2147483647 h 295"/>
                <a:gd name="T2" fmla="*/ 2147483647 w 273"/>
                <a:gd name="T3" fmla="*/ 2147483647 h 295"/>
                <a:gd name="T4" fmla="*/ 2147483647 w 273"/>
                <a:gd name="T5" fmla="*/ 2147483647 h 295"/>
                <a:gd name="T6" fmla="*/ 2147483647 w 273"/>
                <a:gd name="T7" fmla="*/ 2147483647 h 295"/>
                <a:gd name="T8" fmla="*/ 2147483647 w 273"/>
                <a:gd name="T9" fmla="*/ 2147483647 h 295"/>
                <a:gd name="T10" fmla="*/ 2147483647 w 273"/>
                <a:gd name="T11" fmla="*/ 2147483647 h 295"/>
                <a:gd name="T12" fmla="*/ 2147483647 w 273"/>
                <a:gd name="T13" fmla="*/ 2147483647 h 295"/>
                <a:gd name="T14" fmla="*/ 2147483647 w 273"/>
                <a:gd name="T15" fmla="*/ 2147483647 h 295"/>
                <a:gd name="T16" fmla="*/ 2147483647 w 273"/>
                <a:gd name="T17" fmla="*/ 2147483647 h 295"/>
                <a:gd name="T18" fmla="*/ 2147483647 w 273"/>
                <a:gd name="T19" fmla="*/ 2147483647 h 295"/>
                <a:gd name="T20" fmla="*/ 2147483647 w 273"/>
                <a:gd name="T21" fmla="*/ 2147483647 h 295"/>
                <a:gd name="T22" fmla="*/ 2147483647 w 273"/>
                <a:gd name="T23" fmla="*/ 2147483647 h 295"/>
                <a:gd name="T24" fmla="*/ 2147483647 w 273"/>
                <a:gd name="T25" fmla="*/ 2147483647 h 295"/>
                <a:gd name="T26" fmla="*/ 2147483647 w 273"/>
                <a:gd name="T27" fmla="*/ 2147483647 h 295"/>
                <a:gd name="T28" fmla="*/ 2147483647 w 273"/>
                <a:gd name="T29" fmla="*/ 2147483647 h 295"/>
                <a:gd name="T30" fmla="*/ 2147483647 w 273"/>
                <a:gd name="T31" fmla="*/ 2147483647 h 295"/>
                <a:gd name="T32" fmla="*/ 2147483647 w 273"/>
                <a:gd name="T33" fmla="*/ 2147483647 h 295"/>
                <a:gd name="T34" fmla="*/ 2147483647 w 273"/>
                <a:gd name="T35" fmla="*/ 2147483647 h 295"/>
                <a:gd name="T36" fmla="*/ 2147483647 w 273"/>
                <a:gd name="T37" fmla="*/ 2147483647 h 295"/>
                <a:gd name="T38" fmla="*/ 2147483647 w 273"/>
                <a:gd name="T39" fmla="*/ 2147483647 h 295"/>
                <a:gd name="T40" fmla="*/ 2147483647 w 273"/>
                <a:gd name="T41" fmla="*/ 2147483647 h 295"/>
                <a:gd name="T42" fmla="*/ 2147483647 w 273"/>
                <a:gd name="T43" fmla="*/ 2147483647 h 295"/>
                <a:gd name="T44" fmla="*/ 2147483647 w 273"/>
                <a:gd name="T45" fmla="*/ 2147483647 h 295"/>
                <a:gd name="T46" fmla="*/ 2147483647 w 273"/>
                <a:gd name="T47" fmla="*/ 2147483647 h 295"/>
                <a:gd name="T48" fmla="*/ 2147483647 w 273"/>
                <a:gd name="T49" fmla="*/ 2147483647 h 295"/>
                <a:gd name="T50" fmla="*/ 2147483647 w 273"/>
                <a:gd name="T51" fmla="*/ 2147483647 h 295"/>
                <a:gd name="T52" fmla="*/ 2147483647 w 273"/>
                <a:gd name="T53" fmla="*/ 2147483647 h 295"/>
                <a:gd name="T54" fmla="*/ 2147483647 w 273"/>
                <a:gd name="T55" fmla="*/ 2147483647 h 295"/>
                <a:gd name="T56" fmla="*/ 2147483647 w 273"/>
                <a:gd name="T57" fmla="*/ 2147483647 h 295"/>
                <a:gd name="T58" fmla="*/ 2147483647 w 273"/>
                <a:gd name="T59" fmla="*/ 2147483647 h 295"/>
                <a:gd name="T60" fmla="*/ 2147483647 w 273"/>
                <a:gd name="T61" fmla="*/ 2147483647 h 295"/>
                <a:gd name="T62" fmla="*/ 2147483647 w 273"/>
                <a:gd name="T63" fmla="*/ 2147483647 h 295"/>
                <a:gd name="T64" fmla="*/ 2147483647 w 273"/>
                <a:gd name="T65" fmla="*/ 2147483647 h 295"/>
                <a:gd name="T66" fmla="*/ 2147483647 w 273"/>
                <a:gd name="T67" fmla="*/ 2147483647 h 295"/>
                <a:gd name="T68" fmla="*/ 2147483647 w 273"/>
                <a:gd name="T69" fmla="*/ 0 h 295"/>
                <a:gd name="T70" fmla="*/ 2147483647 w 273"/>
                <a:gd name="T71" fmla="*/ 2147483647 h 295"/>
                <a:gd name="T72" fmla="*/ 2147483647 w 273"/>
                <a:gd name="T73" fmla="*/ 2147483647 h 295"/>
                <a:gd name="T74" fmla="*/ 2147483647 w 273"/>
                <a:gd name="T75" fmla="*/ 2147483647 h 295"/>
                <a:gd name="T76" fmla="*/ 2147483647 w 273"/>
                <a:gd name="T77" fmla="*/ 2147483647 h 295"/>
                <a:gd name="T78" fmla="*/ 2147483647 w 273"/>
                <a:gd name="T79" fmla="*/ 2147483647 h 295"/>
                <a:gd name="T80" fmla="*/ 2147483647 w 273"/>
                <a:gd name="T81" fmla="*/ 2147483647 h 295"/>
                <a:gd name="T82" fmla="*/ 2147483647 w 273"/>
                <a:gd name="T83" fmla="*/ 2147483647 h 295"/>
                <a:gd name="T84" fmla="*/ 2147483647 w 273"/>
                <a:gd name="T85" fmla="*/ 2147483647 h 295"/>
                <a:gd name="T86" fmla="*/ 2147483647 w 273"/>
                <a:gd name="T87" fmla="*/ 2147483647 h 295"/>
                <a:gd name="T88" fmla="*/ 2147483647 w 273"/>
                <a:gd name="T89" fmla="*/ 2147483647 h 295"/>
                <a:gd name="T90" fmla="*/ 0 w 273"/>
                <a:gd name="T91" fmla="*/ 2147483647 h 2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73"/>
                <a:gd name="T139" fmla="*/ 0 h 295"/>
                <a:gd name="T140" fmla="*/ 273 w 273"/>
                <a:gd name="T141" fmla="*/ 295 h 2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73" h="295">
                  <a:moveTo>
                    <a:pt x="0" y="172"/>
                  </a:moveTo>
                  <a:lnTo>
                    <a:pt x="12" y="192"/>
                  </a:lnTo>
                  <a:lnTo>
                    <a:pt x="22" y="186"/>
                  </a:lnTo>
                  <a:lnTo>
                    <a:pt x="48" y="195"/>
                  </a:lnTo>
                  <a:lnTo>
                    <a:pt x="37" y="235"/>
                  </a:lnTo>
                  <a:lnTo>
                    <a:pt x="39" y="241"/>
                  </a:lnTo>
                  <a:lnTo>
                    <a:pt x="45" y="241"/>
                  </a:lnTo>
                  <a:lnTo>
                    <a:pt x="28" y="252"/>
                  </a:lnTo>
                  <a:lnTo>
                    <a:pt x="18" y="276"/>
                  </a:lnTo>
                  <a:lnTo>
                    <a:pt x="37" y="274"/>
                  </a:lnTo>
                  <a:lnTo>
                    <a:pt x="30" y="283"/>
                  </a:lnTo>
                  <a:lnTo>
                    <a:pt x="40" y="295"/>
                  </a:lnTo>
                  <a:lnTo>
                    <a:pt x="54" y="289"/>
                  </a:lnTo>
                  <a:lnTo>
                    <a:pt x="54" y="279"/>
                  </a:lnTo>
                  <a:lnTo>
                    <a:pt x="76" y="292"/>
                  </a:lnTo>
                  <a:lnTo>
                    <a:pt x="87" y="286"/>
                  </a:lnTo>
                  <a:lnTo>
                    <a:pt x="94" y="292"/>
                  </a:lnTo>
                  <a:lnTo>
                    <a:pt x="121" y="267"/>
                  </a:lnTo>
                  <a:lnTo>
                    <a:pt x="148" y="267"/>
                  </a:lnTo>
                  <a:lnTo>
                    <a:pt x="174" y="249"/>
                  </a:lnTo>
                  <a:lnTo>
                    <a:pt x="144" y="217"/>
                  </a:lnTo>
                  <a:lnTo>
                    <a:pt x="133" y="213"/>
                  </a:lnTo>
                  <a:lnTo>
                    <a:pt x="136" y="179"/>
                  </a:lnTo>
                  <a:lnTo>
                    <a:pt x="155" y="166"/>
                  </a:lnTo>
                  <a:lnTo>
                    <a:pt x="174" y="164"/>
                  </a:lnTo>
                  <a:lnTo>
                    <a:pt x="201" y="141"/>
                  </a:lnTo>
                  <a:lnTo>
                    <a:pt x="230" y="116"/>
                  </a:lnTo>
                  <a:lnTo>
                    <a:pt x="230" y="78"/>
                  </a:lnTo>
                  <a:lnTo>
                    <a:pt x="246" y="57"/>
                  </a:lnTo>
                  <a:lnTo>
                    <a:pt x="261" y="37"/>
                  </a:lnTo>
                  <a:lnTo>
                    <a:pt x="273" y="36"/>
                  </a:lnTo>
                  <a:lnTo>
                    <a:pt x="271" y="31"/>
                  </a:lnTo>
                  <a:lnTo>
                    <a:pt x="268" y="20"/>
                  </a:lnTo>
                  <a:lnTo>
                    <a:pt x="261" y="19"/>
                  </a:lnTo>
                  <a:lnTo>
                    <a:pt x="246" y="0"/>
                  </a:lnTo>
                  <a:lnTo>
                    <a:pt x="238" y="6"/>
                  </a:lnTo>
                  <a:lnTo>
                    <a:pt x="225" y="34"/>
                  </a:lnTo>
                  <a:lnTo>
                    <a:pt x="200" y="53"/>
                  </a:lnTo>
                  <a:lnTo>
                    <a:pt x="166" y="57"/>
                  </a:lnTo>
                  <a:lnTo>
                    <a:pt x="162" y="63"/>
                  </a:lnTo>
                  <a:lnTo>
                    <a:pt x="167" y="88"/>
                  </a:lnTo>
                  <a:lnTo>
                    <a:pt x="133" y="91"/>
                  </a:lnTo>
                  <a:lnTo>
                    <a:pt x="108" y="80"/>
                  </a:lnTo>
                  <a:lnTo>
                    <a:pt x="65" y="121"/>
                  </a:lnTo>
                  <a:lnTo>
                    <a:pt x="22" y="143"/>
                  </a:lnTo>
                  <a:lnTo>
                    <a:pt x="0" y="172"/>
                  </a:lnTo>
                  <a:close/>
                </a:path>
              </a:pathLst>
            </a:custGeom>
            <a:grpFill/>
            <a:ln w="6350">
              <a:solidFill>
                <a:schemeClr val="tx2"/>
              </a:solidFill>
              <a:round/>
              <a:headEnd/>
              <a:tailEnd/>
            </a:ln>
          </p:spPr>
          <p:txBody>
            <a:bodyPr/>
            <a:lstStyle/>
            <a:p>
              <a:endParaRPr lang="en-US"/>
            </a:p>
          </p:txBody>
        </p:sp>
        <p:sp>
          <p:nvSpPr>
            <p:cNvPr id="340" name="Freeform 1507"/>
            <p:cNvSpPr>
              <a:spLocks/>
            </p:cNvSpPr>
            <p:nvPr/>
          </p:nvSpPr>
          <p:spPr bwMode="auto">
            <a:xfrm>
              <a:off x="8435381" y="2168154"/>
              <a:ext cx="33376" cy="47031"/>
            </a:xfrm>
            <a:custGeom>
              <a:avLst/>
              <a:gdLst>
                <a:gd name="T0" fmla="*/ 2147483647 w 66"/>
                <a:gd name="T1" fmla="*/ 2147483647 h 95"/>
                <a:gd name="T2" fmla="*/ 2147483647 w 66"/>
                <a:gd name="T3" fmla="*/ 2147483647 h 95"/>
                <a:gd name="T4" fmla="*/ 0 w 66"/>
                <a:gd name="T5" fmla="*/ 2147483647 h 95"/>
                <a:gd name="T6" fmla="*/ 2147483647 w 66"/>
                <a:gd name="T7" fmla="*/ 2147483647 h 95"/>
                <a:gd name="T8" fmla="*/ 2147483647 w 66"/>
                <a:gd name="T9" fmla="*/ 0 h 95"/>
                <a:gd name="T10" fmla="*/ 2147483647 w 66"/>
                <a:gd name="T11" fmla="*/ 2147483647 h 95"/>
                <a:gd name="T12" fmla="*/ 0 60000 65536"/>
                <a:gd name="T13" fmla="*/ 0 60000 65536"/>
                <a:gd name="T14" fmla="*/ 0 60000 65536"/>
                <a:gd name="T15" fmla="*/ 0 60000 65536"/>
                <a:gd name="T16" fmla="*/ 0 60000 65536"/>
                <a:gd name="T17" fmla="*/ 0 60000 65536"/>
                <a:gd name="T18" fmla="*/ 0 w 66"/>
                <a:gd name="T19" fmla="*/ 0 h 95"/>
                <a:gd name="T20" fmla="*/ 66 w 66"/>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6" h="95">
                  <a:moveTo>
                    <a:pt x="66" y="75"/>
                  </a:moveTo>
                  <a:lnTo>
                    <a:pt x="14" y="95"/>
                  </a:lnTo>
                  <a:lnTo>
                    <a:pt x="0" y="68"/>
                  </a:lnTo>
                  <a:lnTo>
                    <a:pt x="33" y="24"/>
                  </a:lnTo>
                  <a:lnTo>
                    <a:pt x="66" y="0"/>
                  </a:lnTo>
                  <a:lnTo>
                    <a:pt x="66" y="75"/>
                  </a:lnTo>
                  <a:close/>
                </a:path>
              </a:pathLst>
            </a:custGeom>
            <a:grpFill/>
            <a:ln w="6350">
              <a:solidFill>
                <a:schemeClr val="tx2"/>
              </a:solidFill>
              <a:round/>
              <a:headEnd/>
              <a:tailEnd/>
            </a:ln>
          </p:spPr>
          <p:txBody>
            <a:bodyPr/>
            <a:lstStyle/>
            <a:p>
              <a:endParaRPr lang="en-US"/>
            </a:p>
          </p:txBody>
        </p:sp>
        <p:sp>
          <p:nvSpPr>
            <p:cNvPr id="341" name="Freeform 1535"/>
            <p:cNvSpPr>
              <a:spLocks/>
            </p:cNvSpPr>
            <p:nvPr/>
          </p:nvSpPr>
          <p:spPr bwMode="auto">
            <a:xfrm>
              <a:off x="7908944" y="3850633"/>
              <a:ext cx="3034" cy="1516"/>
            </a:xfrm>
            <a:custGeom>
              <a:avLst/>
              <a:gdLst>
                <a:gd name="T0" fmla="*/ 2147483647 w 3"/>
                <a:gd name="T1" fmla="*/ 0 h 1587"/>
                <a:gd name="T2" fmla="*/ 0 w 3"/>
                <a:gd name="T3" fmla="*/ 0 h 1587"/>
                <a:gd name="T4" fmla="*/ 2147483647 w 3"/>
                <a:gd name="T5" fmla="*/ 0 h 1587"/>
                <a:gd name="T6" fmla="*/ 0 60000 65536"/>
                <a:gd name="T7" fmla="*/ 0 60000 65536"/>
                <a:gd name="T8" fmla="*/ 0 60000 65536"/>
                <a:gd name="T9" fmla="*/ 0 w 3"/>
                <a:gd name="T10" fmla="*/ 0 h 1587"/>
                <a:gd name="T11" fmla="*/ 3 w 3"/>
                <a:gd name="T12" fmla="*/ 1587 h 1587"/>
              </a:gdLst>
              <a:ahLst/>
              <a:cxnLst>
                <a:cxn ang="T6">
                  <a:pos x="T0" y="T1"/>
                </a:cxn>
                <a:cxn ang="T7">
                  <a:pos x="T2" y="T3"/>
                </a:cxn>
                <a:cxn ang="T8">
                  <a:pos x="T4" y="T5"/>
                </a:cxn>
              </a:cxnLst>
              <a:rect l="T9" t="T10" r="T11" b="T12"/>
              <a:pathLst>
                <a:path w="3" h="1587">
                  <a:moveTo>
                    <a:pt x="3" y="0"/>
                  </a:moveTo>
                  <a:lnTo>
                    <a:pt x="0" y="0"/>
                  </a:lnTo>
                  <a:lnTo>
                    <a:pt x="3" y="0"/>
                  </a:lnTo>
                  <a:close/>
                </a:path>
              </a:pathLst>
            </a:custGeom>
            <a:grpFill/>
            <a:ln w="6350">
              <a:solidFill>
                <a:schemeClr val="tx2"/>
              </a:solidFill>
              <a:round/>
              <a:headEnd/>
              <a:tailEnd/>
            </a:ln>
          </p:spPr>
          <p:txBody>
            <a:bodyPr/>
            <a:lstStyle/>
            <a:p>
              <a:endParaRPr lang="en-US"/>
            </a:p>
          </p:txBody>
        </p:sp>
        <p:sp>
          <p:nvSpPr>
            <p:cNvPr id="342" name="Freeform 1645"/>
            <p:cNvSpPr>
              <a:spLocks/>
            </p:cNvSpPr>
            <p:nvPr/>
          </p:nvSpPr>
          <p:spPr bwMode="auto">
            <a:xfrm>
              <a:off x="6977435" y="3943176"/>
              <a:ext cx="48548" cy="43996"/>
            </a:xfrm>
            <a:custGeom>
              <a:avLst/>
              <a:gdLst>
                <a:gd name="T0" fmla="*/ 2147483647 w 99"/>
                <a:gd name="T1" fmla="*/ 2147483647 h 89"/>
                <a:gd name="T2" fmla="*/ 2147483647 w 99"/>
                <a:gd name="T3" fmla="*/ 0 h 89"/>
                <a:gd name="T4" fmla="*/ 2147483647 w 99"/>
                <a:gd name="T5" fmla="*/ 2147483647 h 89"/>
                <a:gd name="T6" fmla="*/ 2147483647 w 99"/>
                <a:gd name="T7" fmla="*/ 2147483647 h 89"/>
                <a:gd name="T8" fmla="*/ 2147483647 w 99"/>
                <a:gd name="T9" fmla="*/ 2147483647 h 89"/>
                <a:gd name="T10" fmla="*/ 2147483647 w 99"/>
                <a:gd name="T11" fmla="*/ 2147483647 h 89"/>
                <a:gd name="T12" fmla="*/ 2147483647 w 99"/>
                <a:gd name="T13" fmla="*/ 2147483647 h 89"/>
                <a:gd name="T14" fmla="*/ 2147483647 w 99"/>
                <a:gd name="T15" fmla="*/ 2147483647 h 89"/>
                <a:gd name="T16" fmla="*/ 2147483647 w 99"/>
                <a:gd name="T17" fmla="*/ 2147483647 h 89"/>
                <a:gd name="T18" fmla="*/ 2147483647 w 99"/>
                <a:gd name="T19" fmla="*/ 2147483647 h 89"/>
                <a:gd name="T20" fmla="*/ 2147483647 w 99"/>
                <a:gd name="T21" fmla="*/ 2147483647 h 89"/>
                <a:gd name="T22" fmla="*/ 0 w 99"/>
                <a:gd name="T23" fmla="*/ 2147483647 h 89"/>
                <a:gd name="T24" fmla="*/ 2147483647 w 99"/>
                <a:gd name="T25" fmla="*/ 2147483647 h 89"/>
                <a:gd name="T26" fmla="*/ 2147483647 w 99"/>
                <a:gd name="T27" fmla="*/ 2147483647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89"/>
                <a:gd name="T44" fmla="*/ 99 w 99"/>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89">
                  <a:moveTo>
                    <a:pt x="79" y="4"/>
                  </a:moveTo>
                  <a:lnTo>
                    <a:pt x="82" y="0"/>
                  </a:lnTo>
                  <a:lnTo>
                    <a:pt x="96" y="5"/>
                  </a:lnTo>
                  <a:lnTo>
                    <a:pt x="99" y="21"/>
                  </a:lnTo>
                  <a:lnTo>
                    <a:pt x="92" y="29"/>
                  </a:lnTo>
                  <a:lnTo>
                    <a:pt x="77" y="62"/>
                  </a:lnTo>
                  <a:lnTo>
                    <a:pt x="61" y="78"/>
                  </a:lnTo>
                  <a:lnTo>
                    <a:pt x="52" y="80"/>
                  </a:lnTo>
                  <a:lnTo>
                    <a:pt x="46" y="89"/>
                  </a:lnTo>
                  <a:lnTo>
                    <a:pt x="8" y="77"/>
                  </a:lnTo>
                  <a:lnTo>
                    <a:pt x="2" y="68"/>
                  </a:lnTo>
                  <a:lnTo>
                    <a:pt x="0" y="40"/>
                  </a:lnTo>
                  <a:lnTo>
                    <a:pt x="39" y="7"/>
                  </a:lnTo>
                  <a:lnTo>
                    <a:pt x="79" y="4"/>
                  </a:lnTo>
                  <a:close/>
                </a:path>
              </a:pathLst>
            </a:custGeom>
            <a:grpFill/>
            <a:ln w="6350">
              <a:solidFill>
                <a:schemeClr val="tx2"/>
              </a:solidFill>
              <a:round/>
              <a:headEnd/>
              <a:tailEnd/>
            </a:ln>
          </p:spPr>
          <p:txBody>
            <a:bodyPr/>
            <a:lstStyle/>
            <a:p>
              <a:endParaRPr lang="en-US"/>
            </a:p>
          </p:txBody>
        </p:sp>
        <p:sp>
          <p:nvSpPr>
            <p:cNvPr id="343" name="Freeform 1646"/>
            <p:cNvSpPr>
              <a:spLocks/>
            </p:cNvSpPr>
            <p:nvPr/>
          </p:nvSpPr>
          <p:spPr bwMode="auto">
            <a:xfrm>
              <a:off x="6593605" y="3885527"/>
              <a:ext cx="4551" cy="9103"/>
            </a:xfrm>
            <a:custGeom>
              <a:avLst/>
              <a:gdLst>
                <a:gd name="T0" fmla="*/ 0 w 10"/>
                <a:gd name="T1" fmla="*/ 2147483647 h 20"/>
                <a:gd name="T2" fmla="*/ 0 w 10"/>
                <a:gd name="T3" fmla="*/ 2147483647 h 20"/>
                <a:gd name="T4" fmla="*/ 2147483647 w 10"/>
                <a:gd name="T5" fmla="*/ 2147483647 h 20"/>
                <a:gd name="T6" fmla="*/ 2147483647 w 10"/>
                <a:gd name="T7" fmla="*/ 2147483647 h 20"/>
                <a:gd name="T8" fmla="*/ 2147483647 w 10"/>
                <a:gd name="T9" fmla="*/ 0 h 20"/>
                <a:gd name="T10" fmla="*/ 0 w 10"/>
                <a:gd name="T11" fmla="*/ 2147483647 h 20"/>
                <a:gd name="T12" fmla="*/ 0 60000 65536"/>
                <a:gd name="T13" fmla="*/ 0 60000 65536"/>
                <a:gd name="T14" fmla="*/ 0 60000 65536"/>
                <a:gd name="T15" fmla="*/ 0 60000 65536"/>
                <a:gd name="T16" fmla="*/ 0 60000 65536"/>
                <a:gd name="T17" fmla="*/ 0 60000 65536"/>
                <a:gd name="T18" fmla="*/ 0 w 10"/>
                <a:gd name="T19" fmla="*/ 0 h 20"/>
                <a:gd name="T20" fmla="*/ 10 w 10"/>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0" h="20">
                  <a:moveTo>
                    <a:pt x="0" y="1"/>
                  </a:moveTo>
                  <a:lnTo>
                    <a:pt x="0" y="18"/>
                  </a:lnTo>
                  <a:lnTo>
                    <a:pt x="6" y="20"/>
                  </a:lnTo>
                  <a:lnTo>
                    <a:pt x="10" y="8"/>
                  </a:lnTo>
                  <a:lnTo>
                    <a:pt x="6" y="0"/>
                  </a:lnTo>
                  <a:lnTo>
                    <a:pt x="0" y="1"/>
                  </a:lnTo>
                  <a:close/>
                </a:path>
              </a:pathLst>
            </a:custGeom>
            <a:grpFill/>
            <a:ln w="6350">
              <a:solidFill>
                <a:schemeClr val="tx2"/>
              </a:solidFill>
              <a:round/>
              <a:headEnd/>
              <a:tailEnd/>
            </a:ln>
          </p:spPr>
          <p:txBody>
            <a:bodyPr/>
            <a:lstStyle/>
            <a:p>
              <a:endParaRPr lang="en-US"/>
            </a:p>
          </p:txBody>
        </p:sp>
        <p:sp>
          <p:nvSpPr>
            <p:cNvPr id="344" name="Freeform 1649"/>
            <p:cNvSpPr>
              <a:spLocks/>
            </p:cNvSpPr>
            <p:nvPr/>
          </p:nvSpPr>
          <p:spPr bwMode="auto">
            <a:xfrm>
              <a:off x="7687445" y="2998016"/>
              <a:ext cx="66753" cy="279149"/>
            </a:xfrm>
            <a:custGeom>
              <a:avLst/>
              <a:gdLst>
                <a:gd name="T0" fmla="*/ 2147483647 w 133"/>
                <a:gd name="T1" fmla="*/ 0 h 563"/>
                <a:gd name="T2" fmla="*/ 2147483647 w 133"/>
                <a:gd name="T3" fmla="*/ 2147483647 h 563"/>
                <a:gd name="T4" fmla="*/ 2147483647 w 133"/>
                <a:gd name="T5" fmla="*/ 2147483647 h 563"/>
                <a:gd name="T6" fmla="*/ 2147483647 w 133"/>
                <a:gd name="T7" fmla="*/ 2147483647 h 563"/>
                <a:gd name="T8" fmla="*/ 2147483647 w 133"/>
                <a:gd name="T9" fmla="*/ 2147483647 h 563"/>
                <a:gd name="T10" fmla="*/ 2147483647 w 133"/>
                <a:gd name="T11" fmla="*/ 2147483647 h 563"/>
                <a:gd name="T12" fmla="*/ 2147483647 w 133"/>
                <a:gd name="T13" fmla="*/ 2147483647 h 563"/>
                <a:gd name="T14" fmla="*/ 2147483647 w 133"/>
                <a:gd name="T15" fmla="*/ 2147483647 h 563"/>
                <a:gd name="T16" fmla="*/ 2147483647 w 133"/>
                <a:gd name="T17" fmla="*/ 2147483647 h 563"/>
                <a:gd name="T18" fmla="*/ 2147483647 w 133"/>
                <a:gd name="T19" fmla="*/ 2147483647 h 563"/>
                <a:gd name="T20" fmla="*/ 2147483647 w 133"/>
                <a:gd name="T21" fmla="*/ 2147483647 h 563"/>
                <a:gd name="T22" fmla="*/ 2147483647 w 133"/>
                <a:gd name="T23" fmla="*/ 2147483647 h 563"/>
                <a:gd name="T24" fmla="*/ 2147483647 w 133"/>
                <a:gd name="T25" fmla="*/ 2147483647 h 563"/>
                <a:gd name="T26" fmla="*/ 2147483647 w 133"/>
                <a:gd name="T27" fmla="*/ 2147483647 h 563"/>
                <a:gd name="T28" fmla="*/ 2147483647 w 133"/>
                <a:gd name="T29" fmla="*/ 2147483647 h 563"/>
                <a:gd name="T30" fmla="*/ 2147483647 w 133"/>
                <a:gd name="T31" fmla="*/ 2147483647 h 563"/>
                <a:gd name="T32" fmla="*/ 2147483647 w 133"/>
                <a:gd name="T33" fmla="*/ 2147483647 h 563"/>
                <a:gd name="T34" fmla="*/ 2147483647 w 133"/>
                <a:gd name="T35" fmla="*/ 2147483647 h 563"/>
                <a:gd name="T36" fmla="*/ 2147483647 w 133"/>
                <a:gd name="T37" fmla="*/ 2147483647 h 563"/>
                <a:gd name="T38" fmla="*/ 2147483647 w 133"/>
                <a:gd name="T39" fmla="*/ 2147483647 h 563"/>
                <a:gd name="T40" fmla="*/ 2147483647 w 133"/>
                <a:gd name="T41" fmla="*/ 2147483647 h 563"/>
                <a:gd name="T42" fmla="*/ 2147483647 w 133"/>
                <a:gd name="T43" fmla="*/ 2147483647 h 563"/>
                <a:gd name="T44" fmla="*/ 2147483647 w 133"/>
                <a:gd name="T45" fmla="*/ 2147483647 h 563"/>
                <a:gd name="T46" fmla="*/ 2147483647 w 133"/>
                <a:gd name="T47" fmla="*/ 2147483647 h 563"/>
                <a:gd name="T48" fmla="*/ 2147483647 w 133"/>
                <a:gd name="T49" fmla="*/ 2147483647 h 563"/>
                <a:gd name="T50" fmla="*/ 2147483647 w 133"/>
                <a:gd name="T51" fmla="*/ 2147483647 h 563"/>
                <a:gd name="T52" fmla="*/ 2147483647 w 133"/>
                <a:gd name="T53" fmla="*/ 2147483647 h 563"/>
                <a:gd name="T54" fmla="*/ 2147483647 w 133"/>
                <a:gd name="T55" fmla="*/ 2147483647 h 563"/>
                <a:gd name="T56" fmla="*/ 2147483647 w 133"/>
                <a:gd name="T57" fmla="*/ 2147483647 h 563"/>
                <a:gd name="T58" fmla="*/ 2147483647 w 133"/>
                <a:gd name="T59" fmla="*/ 2147483647 h 563"/>
                <a:gd name="T60" fmla="*/ 2147483647 w 133"/>
                <a:gd name="T61" fmla="*/ 2147483647 h 563"/>
                <a:gd name="T62" fmla="*/ 2147483647 w 133"/>
                <a:gd name="T63" fmla="*/ 2147483647 h 563"/>
                <a:gd name="T64" fmla="*/ 2147483647 w 133"/>
                <a:gd name="T65" fmla="*/ 2147483647 h 563"/>
                <a:gd name="T66" fmla="*/ 2147483647 w 133"/>
                <a:gd name="T67" fmla="*/ 2147483647 h 563"/>
                <a:gd name="T68" fmla="*/ 2147483647 w 133"/>
                <a:gd name="T69" fmla="*/ 2147483647 h 563"/>
                <a:gd name="T70" fmla="*/ 2147483647 w 133"/>
                <a:gd name="T71" fmla="*/ 2147483647 h 563"/>
                <a:gd name="T72" fmla="*/ 2147483647 w 133"/>
                <a:gd name="T73" fmla="*/ 2147483647 h 563"/>
                <a:gd name="T74" fmla="*/ 2147483647 w 133"/>
                <a:gd name="T75" fmla="*/ 2147483647 h 563"/>
                <a:gd name="T76" fmla="*/ 0 w 133"/>
                <a:gd name="T77" fmla="*/ 2147483647 h 563"/>
                <a:gd name="T78" fmla="*/ 2147483647 w 133"/>
                <a:gd name="T79" fmla="*/ 2147483647 h 563"/>
                <a:gd name="T80" fmla="*/ 2147483647 w 133"/>
                <a:gd name="T81" fmla="*/ 2147483647 h 563"/>
                <a:gd name="T82" fmla="*/ 2147483647 w 133"/>
                <a:gd name="T83" fmla="*/ 2147483647 h 563"/>
                <a:gd name="T84" fmla="*/ 2147483647 w 133"/>
                <a:gd name="T85" fmla="*/ 2147483647 h 563"/>
                <a:gd name="T86" fmla="*/ 2147483647 w 133"/>
                <a:gd name="T87" fmla="*/ 2147483647 h 563"/>
                <a:gd name="T88" fmla="*/ 2147483647 w 133"/>
                <a:gd name="T89" fmla="*/ 2147483647 h 563"/>
                <a:gd name="T90" fmla="*/ 2147483647 w 133"/>
                <a:gd name="T91" fmla="*/ 2147483647 h 563"/>
                <a:gd name="T92" fmla="*/ 2147483647 w 133"/>
                <a:gd name="T93" fmla="*/ 0 h 5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3"/>
                <a:gd name="T142" fmla="*/ 0 h 563"/>
                <a:gd name="T143" fmla="*/ 133 w 133"/>
                <a:gd name="T144" fmla="*/ 563 h 56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3" h="563">
                  <a:moveTo>
                    <a:pt x="41" y="0"/>
                  </a:moveTo>
                  <a:lnTo>
                    <a:pt x="49" y="1"/>
                  </a:lnTo>
                  <a:lnTo>
                    <a:pt x="54" y="15"/>
                  </a:lnTo>
                  <a:lnTo>
                    <a:pt x="56" y="45"/>
                  </a:lnTo>
                  <a:lnTo>
                    <a:pt x="72" y="111"/>
                  </a:lnTo>
                  <a:lnTo>
                    <a:pt x="70" y="144"/>
                  </a:lnTo>
                  <a:lnTo>
                    <a:pt x="64" y="148"/>
                  </a:lnTo>
                  <a:lnTo>
                    <a:pt x="69" y="200"/>
                  </a:lnTo>
                  <a:lnTo>
                    <a:pt x="77" y="211"/>
                  </a:lnTo>
                  <a:lnTo>
                    <a:pt x="87" y="252"/>
                  </a:lnTo>
                  <a:lnTo>
                    <a:pt x="99" y="298"/>
                  </a:lnTo>
                  <a:lnTo>
                    <a:pt x="113" y="346"/>
                  </a:lnTo>
                  <a:lnTo>
                    <a:pt x="133" y="388"/>
                  </a:lnTo>
                  <a:lnTo>
                    <a:pt x="116" y="362"/>
                  </a:lnTo>
                  <a:lnTo>
                    <a:pt x="93" y="348"/>
                  </a:lnTo>
                  <a:lnTo>
                    <a:pt x="72" y="348"/>
                  </a:lnTo>
                  <a:lnTo>
                    <a:pt x="62" y="356"/>
                  </a:lnTo>
                  <a:lnTo>
                    <a:pt x="43" y="428"/>
                  </a:lnTo>
                  <a:lnTo>
                    <a:pt x="42" y="458"/>
                  </a:lnTo>
                  <a:lnTo>
                    <a:pt x="60" y="486"/>
                  </a:lnTo>
                  <a:lnTo>
                    <a:pt x="65" y="503"/>
                  </a:lnTo>
                  <a:lnTo>
                    <a:pt x="80" y="513"/>
                  </a:lnTo>
                  <a:lnTo>
                    <a:pt x="83" y="547"/>
                  </a:lnTo>
                  <a:lnTo>
                    <a:pt x="79" y="556"/>
                  </a:lnTo>
                  <a:lnTo>
                    <a:pt x="74" y="528"/>
                  </a:lnTo>
                  <a:lnTo>
                    <a:pt x="43" y="518"/>
                  </a:lnTo>
                  <a:lnTo>
                    <a:pt x="35" y="526"/>
                  </a:lnTo>
                  <a:lnTo>
                    <a:pt x="23" y="563"/>
                  </a:lnTo>
                  <a:lnTo>
                    <a:pt x="14" y="558"/>
                  </a:lnTo>
                  <a:lnTo>
                    <a:pt x="11" y="520"/>
                  </a:lnTo>
                  <a:lnTo>
                    <a:pt x="19" y="441"/>
                  </a:lnTo>
                  <a:lnTo>
                    <a:pt x="24" y="433"/>
                  </a:lnTo>
                  <a:lnTo>
                    <a:pt x="13" y="390"/>
                  </a:lnTo>
                  <a:lnTo>
                    <a:pt x="24" y="305"/>
                  </a:lnTo>
                  <a:lnTo>
                    <a:pt x="18" y="257"/>
                  </a:lnTo>
                  <a:lnTo>
                    <a:pt x="23" y="220"/>
                  </a:lnTo>
                  <a:lnTo>
                    <a:pt x="16" y="202"/>
                  </a:lnTo>
                  <a:lnTo>
                    <a:pt x="3" y="189"/>
                  </a:lnTo>
                  <a:lnTo>
                    <a:pt x="0" y="145"/>
                  </a:lnTo>
                  <a:lnTo>
                    <a:pt x="7" y="123"/>
                  </a:lnTo>
                  <a:lnTo>
                    <a:pt x="7" y="73"/>
                  </a:lnTo>
                  <a:lnTo>
                    <a:pt x="10" y="64"/>
                  </a:lnTo>
                  <a:lnTo>
                    <a:pt x="38" y="65"/>
                  </a:lnTo>
                  <a:lnTo>
                    <a:pt x="40" y="50"/>
                  </a:lnTo>
                  <a:lnTo>
                    <a:pt x="46" y="48"/>
                  </a:lnTo>
                  <a:lnTo>
                    <a:pt x="29" y="5"/>
                  </a:lnTo>
                  <a:lnTo>
                    <a:pt x="41" y="0"/>
                  </a:lnTo>
                  <a:close/>
                </a:path>
              </a:pathLst>
            </a:custGeom>
            <a:grpFill/>
            <a:ln w="6350">
              <a:solidFill>
                <a:schemeClr val="tx2"/>
              </a:solidFill>
              <a:round/>
              <a:headEnd/>
              <a:tailEnd/>
            </a:ln>
          </p:spPr>
          <p:txBody>
            <a:bodyPr/>
            <a:lstStyle/>
            <a:p>
              <a:endParaRPr lang="en-US"/>
            </a:p>
          </p:txBody>
        </p:sp>
        <p:sp>
          <p:nvSpPr>
            <p:cNvPr id="345" name="Freeform 1650"/>
            <p:cNvSpPr>
              <a:spLocks/>
            </p:cNvSpPr>
            <p:nvPr/>
          </p:nvSpPr>
          <p:spPr bwMode="auto">
            <a:xfrm>
              <a:off x="7999971" y="3120902"/>
              <a:ext cx="3034" cy="6069"/>
            </a:xfrm>
            <a:custGeom>
              <a:avLst/>
              <a:gdLst>
                <a:gd name="T0" fmla="*/ 2147483647 w 10"/>
                <a:gd name="T1" fmla="*/ 0 h 12"/>
                <a:gd name="T2" fmla="*/ 0 w 10"/>
                <a:gd name="T3" fmla="*/ 2147483647 h 12"/>
                <a:gd name="T4" fmla="*/ 2147483647 w 10"/>
                <a:gd name="T5" fmla="*/ 0 h 12"/>
                <a:gd name="T6" fmla="*/ 0 60000 65536"/>
                <a:gd name="T7" fmla="*/ 0 60000 65536"/>
                <a:gd name="T8" fmla="*/ 0 60000 65536"/>
                <a:gd name="T9" fmla="*/ 0 w 10"/>
                <a:gd name="T10" fmla="*/ 0 h 12"/>
                <a:gd name="T11" fmla="*/ 10 w 10"/>
                <a:gd name="T12" fmla="*/ 12 h 12"/>
              </a:gdLst>
              <a:ahLst/>
              <a:cxnLst>
                <a:cxn ang="T6">
                  <a:pos x="T0" y="T1"/>
                </a:cxn>
                <a:cxn ang="T7">
                  <a:pos x="T2" y="T3"/>
                </a:cxn>
                <a:cxn ang="T8">
                  <a:pos x="T4" y="T5"/>
                </a:cxn>
              </a:cxnLst>
              <a:rect l="T9" t="T10" r="T11" b="T12"/>
              <a:pathLst>
                <a:path w="10" h="12">
                  <a:moveTo>
                    <a:pt x="10" y="0"/>
                  </a:moveTo>
                  <a:lnTo>
                    <a:pt x="0" y="12"/>
                  </a:lnTo>
                  <a:lnTo>
                    <a:pt x="10" y="0"/>
                  </a:lnTo>
                  <a:close/>
                </a:path>
              </a:pathLst>
            </a:custGeom>
            <a:grpFill/>
            <a:ln w="6350">
              <a:solidFill>
                <a:schemeClr val="tx2"/>
              </a:solidFill>
              <a:round/>
              <a:headEnd/>
              <a:tailEnd/>
            </a:ln>
          </p:spPr>
          <p:txBody>
            <a:bodyPr/>
            <a:lstStyle/>
            <a:p>
              <a:endParaRPr lang="en-US"/>
            </a:p>
          </p:txBody>
        </p:sp>
        <p:sp>
          <p:nvSpPr>
            <p:cNvPr id="346" name="Freeform 1651"/>
            <p:cNvSpPr>
              <a:spLocks/>
            </p:cNvSpPr>
            <p:nvPr/>
          </p:nvSpPr>
          <p:spPr bwMode="auto">
            <a:xfrm>
              <a:off x="7978731" y="3125453"/>
              <a:ext cx="19722" cy="22756"/>
            </a:xfrm>
            <a:custGeom>
              <a:avLst/>
              <a:gdLst>
                <a:gd name="T0" fmla="*/ 2147483647 w 40"/>
                <a:gd name="T1" fmla="*/ 0 h 44"/>
                <a:gd name="T2" fmla="*/ 2147483647 w 40"/>
                <a:gd name="T3" fmla="*/ 2147483647 h 44"/>
                <a:gd name="T4" fmla="*/ 2147483647 w 40"/>
                <a:gd name="T5" fmla="*/ 2147483647 h 44"/>
                <a:gd name="T6" fmla="*/ 0 w 40"/>
                <a:gd name="T7" fmla="*/ 2147483647 h 44"/>
                <a:gd name="T8" fmla="*/ 2147483647 w 40"/>
                <a:gd name="T9" fmla="*/ 2147483647 h 44"/>
                <a:gd name="T10" fmla="*/ 2147483647 w 40"/>
                <a:gd name="T11" fmla="*/ 2147483647 h 44"/>
                <a:gd name="T12" fmla="*/ 2147483647 w 40"/>
                <a:gd name="T13" fmla="*/ 0 h 44"/>
                <a:gd name="T14" fmla="*/ 0 60000 65536"/>
                <a:gd name="T15" fmla="*/ 0 60000 65536"/>
                <a:gd name="T16" fmla="*/ 0 60000 65536"/>
                <a:gd name="T17" fmla="*/ 0 60000 65536"/>
                <a:gd name="T18" fmla="*/ 0 60000 65536"/>
                <a:gd name="T19" fmla="*/ 0 60000 65536"/>
                <a:gd name="T20" fmla="*/ 0 60000 65536"/>
                <a:gd name="T21" fmla="*/ 0 w 40"/>
                <a:gd name="T22" fmla="*/ 0 h 44"/>
                <a:gd name="T23" fmla="*/ 40 w 40"/>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44">
                  <a:moveTo>
                    <a:pt x="35" y="0"/>
                  </a:moveTo>
                  <a:lnTo>
                    <a:pt x="21" y="19"/>
                  </a:lnTo>
                  <a:lnTo>
                    <a:pt x="3" y="29"/>
                  </a:lnTo>
                  <a:lnTo>
                    <a:pt x="0" y="44"/>
                  </a:lnTo>
                  <a:lnTo>
                    <a:pt x="31" y="25"/>
                  </a:lnTo>
                  <a:lnTo>
                    <a:pt x="40" y="13"/>
                  </a:lnTo>
                  <a:lnTo>
                    <a:pt x="35" y="0"/>
                  </a:lnTo>
                  <a:close/>
                </a:path>
              </a:pathLst>
            </a:custGeom>
            <a:grpFill/>
            <a:ln w="6350">
              <a:solidFill>
                <a:schemeClr val="tx2"/>
              </a:solidFill>
              <a:round/>
              <a:headEnd/>
              <a:tailEnd/>
            </a:ln>
          </p:spPr>
          <p:txBody>
            <a:bodyPr/>
            <a:lstStyle/>
            <a:p>
              <a:endParaRPr lang="en-US"/>
            </a:p>
          </p:txBody>
        </p:sp>
        <p:sp>
          <p:nvSpPr>
            <p:cNvPr id="347" name="Freeform 1652"/>
            <p:cNvSpPr>
              <a:spLocks/>
            </p:cNvSpPr>
            <p:nvPr/>
          </p:nvSpPr>
          <p:spPr bwMode="auto">
            <a:xfrm>
              <a:off x="7963559" y="3161864"/>
              <a:ext cx="3034" cy="9103"/>
            </a:xfrm>
            <a:custGeom>
              <a:avLst/>
              <a:gdLst>
                <a:gd name="T0" fmla="*/ 2147483647 w 10"/>
                <a:gd name="T1" fmla="*/ 0 h 21"/>
                <a:gd name="T2" fmla="*/ 0 w 10"/>
                <a:gd name="T3" fmla="*/ 2147483647 h 21"/>
                <a:gd name="T4" fmla="*/ 2147483647 w 10"/>
                <a:gd name="T5" fmla="*/ 2147483647 h 21"/>
                <a:gd name="T6" fmla="*/ 2147483647 w 10"/>
                <a:gd name="T7" fmla="*/ 0 h 21"/>
                <a:gd name="T8" fmla="*/ 0 60000 65536"/>
                <a:gd name="T9" fmla="*/ 0 60000 65536"/>
                <a:gd name="T10" fmla="*/ 0 60000 65536"/>
                <a:gd name="T11" fmla="*/ 0 60000 65536"/>
                <a:gd name="T12" fmla="*/ 0 w 10"/>
                <a:gd name="T13" fmla="*/ 0 h 21"/>
                <a:gd name="T14" fmla="*/ 10 w 10"/>
                <a:gd name="T15" fmla="*/ 21 h 21"/>
              </a:gdLst>
              <a:ahLst/>
              <a:cxnLst>
                <a:cxn ang="T8">
                  <a:pos x="T0" y="T1"/>
                </a:cxn>
                <a:cxn ang="T9">
                  <a:pos x="T2" y="T3"/>
                </a:cxn>
                <a:cxn ang="T10">
                  <a:pos x="T4" y="T5"/>
                </a:cxn>
                <a:cxn ang="T11">
                  <a:pos x="T6" y="T7"/>
                </a:cxn>
              </a:cxnLst>
              <a:rect l="T12" t="T13" r="T14" b="T15"/>
              <a:pathLst>
                <a:path w="10" h="21">
                  <a:moveTo>
                    <a:pt x="10" y="0"/>
                  </a:moveTo>
                  <a:lnTo>
                    <a:pt x="0" y="21"/>
                  </a:lnTo>
                  <a:lnTo>
                    <a:pt x="6" y="18"/>
                  </a:lnTo>
                  <a:lnTo>
                    <a:pt x="10" y="0"/>
                  </a:lnTo>
                  <a:close/>
                </a:path>
              </a:pathLst>
            </a:custGeom>
            <a:grpFill/>
            <a:ln w="6350">
              <a:solidFill>
                <a:schemeClr val="tx2"/>
              </a:solidFill>
              <a:round/>
              <a:headEnd/>
              <a:tailEnd/>
            </a:ln>
          </p:spPr>
          <p:txBody>
            <a:bodyPr/>
            <a:lstStyle/>
            <a:p>
              <a:endParaRPr lang="en-US"/>
            </a:p>
          </p:txBody>
        </p:sp>
        <p:sp>
          <p:nvSpPr>
            <p:cNvPr id="348" name="Freeform 1653"/>
            <p:cNvSpPr>
              <a:spLocks/>
            </p:cNvSpPr>
            <p:nvPr/>
          </p:nvSpPr>
          <p:spPr bwMode="auto">
            <a:xfrm>
              <a:off x="7952939" y="3184620"/>
              <a:ext cx="3034" cy="6069"/>
            </a:xfrm>
            <a:custGeom>
              <a:avLst/>
              <a:gdLst>
                <a:gd name="T0" fmla="*/ 2147483647 w 5"/>
                <a:gd name="T1" fmla="*/ 0 h 10"/>
                <a:gd name="T2" fmla="*/ 0 w 5"/>
                <a:gd name="T3" fmla="*/ 2147483647 h 10"/>
                <a:gd name="T4" fmla="*/ 2147483647 w 5"/>
                <a:gd name="T5" fmla="*/ 2147483647 h 10"/>
                <a:gd name="T6" fmla="*/ 2147483647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4" y="0"/>
                  </a:moveTo>
                  <a:lnTo>
                    <a:pt x="0" y="10"/>
                  </a:lnTo>
                  <a:lnTo>
                    <a:pt x="5" y="7"/>
                  </a:lnTo>
                  <a:lnTo>
                    <a:pt x="4" y="0"/>
                  </a:lnTo>
                  <a:close/>
                </a:path>
              </a:pathLst>
            </a:custGeom>
            <a:grpFill/>
            <a:ln w="6350">
              <a:solidFill>
                <a:schemeClr val="tx2"/>
              </a:solidFill>
              <a:round/>
              <a:headEnd/>
              <a:tailEnd/>
            </a:ln>
          </p:spPr>
          <p:txBody>
            <a:bodyPr/>
            <a:lstStyle/>
            <a:p>
              <a:endParaRPr lang="en-US"/>
            </a:p>
          </p:txBody>
        </p:sp>
        <p:sp>
          <p:nvSpPr>
            <p:cNvPr id="349" name="Freeform 1654"/>
            <p:cNvSpPr>
              <a:spLocks/>
            </p:cNvSpPr>
            <p:nvPr/>
          </p:nvSpPr>
          <p:spPr bwMode="auto">
            <a:xfrm>
              <a:off x="7904391" y="3242271"/>
              <a:ext cx="9103" cy="7586"/>
            </a:xfrm>
            <a:custGeom>
              <a:avLst/>
              <a:gdLst>
                <a:gd name="T0" fmla="*/ 2147483647 w 20"/>
                <a:gd name="T1" fmla="*/ 0 h 20"/>
                <a:gd name="T2" fmla="*/ 2147483647 w 20"/>
                <a:gd name="T3" fmla="*/ 2147483647 h 20"/>
                <a:gd name="T4" fmla="*/ 0 w 20"/>
                <a:gd name="T5" fmla="*/ 2147483647 h 20"/>
                <a:gd name="T6" fmla="*/ 2147483647 w 20"/>
                <a:gd name="T7" fmla="*/ 0 h 20"/>
                <a:gd name="T8" fmla="*/ 0 60000 65536"/>
                <a:gd name="T9" fmla="*/ 0 60000 65536"/>
                <a:gd name="T10" fmla="*/ 0 60000 65536"/>
                <a:gd name="T11" fmla="*/ 0 60000 65536"/>
                <a:gd name="T12" fmla="*/ 0 w 20"/>
                <a:gd name="T13" fmla="*/ 0 h 20"/>
                <a:gd name="T14" fmla="*/ 20 w 20"/>
                <a:gd name="T15" fmla="*/ 20 h 20"/>
              </a:gdLst>
              <a:ahLst/>
              <a:cxnLst>
                <a:cxn ang="T8">
                  <a:pos x="T0" y="T1"/>
                </a:cxn>
                <a:cxn ang="T9">
                  <a:pos x="T2" y="T3"/>
                </a:cxn>
                <a:cxn ang="T10">
                  <a:pos x="T4" y="T5"/>
                </a:cxn>
                <a:cxn ang="T11">
                  <a:pos x="T6" y="T7"/>
                </a:cxn>
              </a:cxnLst>
              <a:rect l="T12" t="T13" r="T14" b="T15"/>
              <a:pathLst>
                <a:path w="20" h="20">
                  <a:moveTo>
                    <a:pt x="20" y="0"/>
                  </a:moveTo>
                  <a:lnTo>
                    <a:pt x="11" y="17"/>
                  </a:lnTo>
                  <a:lnTo>
                    <a:pt x="0" y="20"/>
                  </a:lnTo>
                  <a:lnTo>
                    <a:pt x="20" y="0"/>
                  </a:lnTo>
                  <a:close/>
                </a:path>
              </a:pathLst>
            </a:custGeom>
            <a:grpFill/>
            <a:ln w="6350">
              <a:solidFill>
                <a:schemeClr val="tx2"/>
              </a:solidFill>
              <a:round/>
              <a:headEnd/>
              <a:tailEnd/>
            </a:ln>
          </p:spPr>
          <p:txBody>
            <a:bodyPr/>
            <a:lstStyle/>
            <a:p>
              <a:endParaRPr lang="en-US"/>
            </a:p>
          </p:txBody>
        </p:sp>
        <p:sp>
          <p:nvSpPr>
            <p:cNvPr id="350" name="Freeform 1655"/>
            <p:cNvSpPr>
              <a:spLocks/>
            </p:cNvSpPr>
            <p:nvPr/>
          </p:nvSpPr>
          <p:spPr bwMode="auto">
            <a:xfrm>
              <a:off x="7855843" y="3269579"/>
              <a:ext cx="21239" cy="19723"/>
            </a:xfrm>
            <a:custGeom>
              <a:avLst/>
              <a:gdLst>
                <a:gd name="T0" fmla="*/ 2147483647 w 41"/>
                <a:gd name="T1" fmla="*/ 2147483647 h 40"/>
                <a:gd name="T2" fmla="*/ 2147483647 w 41"/>
                <a:gd name="T3" fmla="*/ 2147483647 h 40"/>
                <a:gd name="T4" fmla="*/ 0 w 41"/>
                <a:gd name="T5" fmla="*/ 2147483647 h 40"/>
                <a:gd name="T6" fmla="*/ 2147483647 w 41"/>
                <a:gd name="T7" fmla="*/ 2147483647 h 40"/>
                <a:gd name="T8" fmla="*/ 2147483647 w 41"/>
                <a:gd name="T9" fmla="*/ 2147483647 h 40"/>
                <a:gd name="T10" fmla="*/ 2147483647 w 41"/>
                <a:gd name="T11" fmla="*/ 0 h 40"/>
                <a:gd name="T12" fmla="*/ 2147483647 w 41"/>
                <a:gd name="T13" fmla="*/ 2147483647 h 40"/>
                <a:gd name="T14" fmla="*/ 0 60000 65536"/>
                <a:gd name="T15" fmla="*/ 0 60000 65536"/>
                <a:gd name="T16" fmla="*/ 0 60000 65536"/>
                <a:gd name="T17" fmla="*/ 0 60000 65536"/>
                <a:gd name="T18" fmla="*/ 0 60000 65536"/>
                <a:gd name="T19" fmla="*/ 0 60000 65536"/>
                <a:gd name="T20" fmla="*/ 0 60000 65536"/>
                <a:gd name="T21" fmla="*/ 0 w 41"/>
                <a:gd name="T22" fmla="*/ 0 h 40"/>
                <a:gd name="T23" fmla="*/ 41 w 41"/>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0">
                  <a:moveTo>
                    <a:pt x="41" y="4"/>
                  </a:moveTo>
                  <a:lnTo>
                    <a:pt x="18" y="29"/>
                  </a:lnTo>
                  <a:lnTo>
                    <a:pt x="0" y="40"/>
                  </a:lnTo>
                  <a:lnTo>
                    <a:pt x="2" y="30"/>
                  </a:lnTo>
                  <a:lnTo>
                    <a:pt x="21" y="12"/>
                  </a:lnTo>
                  <a:lnTo>
                    <a:pt x="37" y="0"/>
                  </a:lnTo>
                  <a:lnTo>
                    <a:pt x="41" y="4"/>
                  </a:lnTo>
                  <a:close/>
                </a:path>
              </a:pathLst>
            </a:custGeom>
            <a:grpFill/>
            <a:ln w="6350">
              <a:solidFill>
                <a:schemeClr val="tx2"/>
              </a:solidFill>
              <a:round/>
              <a:headEnd/>
              <a:tailEnd/>
            </a:ln>
          </p:spPr>
          <p:txBody>
            <a:bodyPr/>
            <a:lstStyle/>
            <a:p>
              <a:endParaRPr lang="en-US"/>
            </a:p>
          </p:txBody>
        </p:sp>
        <p:sp>
          <p:nvSpPr>
            <p:cNvPr id="351" name="Freeform 1656"/>
            <p:cNvSpPr>
              <a:spLocks/>
            </p:cNvSpPr>
            <p:nvPr/>
          </p:nvSpPr>
          <p:spPr bwMode="auto">
            <a:xfrm>
              <a:off x="7799711" y="3290819"/>
              <a:ext cx="42479" cy="33376"/>
            </a:xfrm>
            <a:custGeom>
              <a:avLst/>
              <a:gdLst>
                <a:gd name="T0" fmla="*/ 2147483647 w 82"/>
                <a:gd name="T1" fmla="*/ 2147483647 h 65"/>
                <a:gd name="T2" fmla="*/ 2147483647 w 82"/>
                <a:gd name="T3" fmla="*/ 2147483647 h 65"/>
                <a:gd name="T4" fmla="*/ 2147483647 w 82"/>
                <a:gd name="T5" fmla="*/ 2147483647 h 65"/>
                <a:gd name="T6" fmla="*/ 0 w 82"/>
                <a:gd name="T7" fmla="*/ 2147483647 h 65"/>
                <a:gd name="T8" fmla="*/ 2147483647 w 82"/>
                <a:gd name="T9" fmla="*/ 2147483647 h 65"/>
                <a:gd name="T10" fmla="*/ 2147483647 w 82"/>
                <a:gd name="T11" fmla="*/ 2147483647 h 65"/>
                <a:gd name="T12" fmla="*/ 2147483647 w 82"/>
                <a:gd name="T13" fmla="*/ 2147483647 h 65"/>
                <a:gd name="T14" fmla="*/ 2147483647 w 82"/>
                <a:gd name="T15" fmla="*/ 0 h 65"/>
                <a:gd name="T16" fmla="*/ 2147483647 w 82"/>
                <a:gd name="T17" fmla="*/ 2147483647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65"/>
                <a:gd name="T29" fmla="*/ 82 w 82"/>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65">
                  <a:moveTo>
                    <a:pt x="82" y="8"/>
                  </a:moveTo>
                  <a:lnTo>
                    <a:pt x="37" y="35"/>
                  </a:lnTo>
                  <a:lnTo>
                    <a:pt x="7" y="65"/>
                  </a:lnTo>
                  <a:lnTo>
                    <a:pt x="0" y="65"/>
                  </a:lnTo>
                  <a:lnTo>
                    <a:pt x="10" y="45"/>
                  </a:lnTo>
                  <a:lnTo>
                    <a:pt x="38" y="14"/>
                  </a:lnTo>
                  <a:lnTo>
                    <a:pt x="54" y="16"/>
                  </a:lnTo>
                  <a:lnTo>
                    <a:pt x="78" y="0"/>
                  </a:lnTo>
                  <a:lnTo>
                    <a:pt x="82" y="8"/>
                  </a:lnTo>
                  <a:close/>
                </a:path>
              </a:pathLst>
            </a:custGeom>
            <a:grpFill/>
            <a:ln w="6350">
              <a:solidFill>
                <a:schemeClr val="tx2"/>
              </a:solidFill>
              <a:round/>
              <a:headEnd/>
              <a:tailEnd/>
            </a:ln>
          </p:spPr>
          <p:txBody>
            <a:bodyPr/>
            <a:lstStyle/>
            <a:p>
              <a:endParaRPr lang="en-US"/>
            </a:p>
          </p:txBody>
        </p:sp>
        <p:sp>
          <p:nvSpPr>
            <p:cNvPr id="352" name="Freeform 1657"/>
            <p:cNvSpPr>
              <a:spLocks/>
            </p:cNvSpPr>
            <p:nvPr/>
          </p:nvSpPr>
          <p:spPr bwMode="auto">
            <a:xfrm>
              <a:off x="7793643" y="3340884"/>
              <a:ext cx="7585" cy="3034"/>
            </a:xfrm>
            <a:custGeom>
              <a:avLst/>
              <a:gdLst>
                <a:gd name="T0" fmla="*/ 2147483647 w 15"/>
                <a:gd name="T1" fmla="*/ 0 h 7"/>
                <a:gd name="T2" fmla="*/ 2147483647 w 15"/>
                <a:gd name="T3" fmla="*/ 2147483647 h 7"/>
                <a:gd name="T4" fmla="*/ 2147483647 w 15"/>
                <a:gd name="T5" fmla="*/ 2147483647 h 7"/>
                <a:gd name="T6" fmla="*/ 0 w 15"/>
                <a:gd name="T7" fmla="*/ 2147483647 h 7"/>
                <a:gd name="T8" fmla="*/ 2147483647 w 15"/>
                <a:gd name="T9" fmla="*/ 0 h 7"/>
                <a:gd name="T10" fmla="*/ 0 60000 65536"/>
                <a:gd name="T11" fmla="*/ 0 60000 65536"/>
                <a:gd name="T12" fmla="*/ 0 60000 65536"/>
                <a:gd name="T13" fmla="*/ 0 60000 65536"/>
                <a:gd name="T14" fmla="*/ 0 60000 65536"/>
                <a:gd name="T15" fmla="*/ 0 w 15"/>
                <a:gd name="T16" fmla="*/ 0 h 7"/>
                <a:gd name="T17" fmla="*/ 15 w 15"/>
                <a:gd name="T18" fmla="*/ 7 h 7"/>
              </a:gdLst>
              <a:ahLst/>
              <a:cxnLst>
                <a:cxn ang="T10">
                  <a:pos x="T0" y="T1"/>
                </a:cxn>
                <a:cxn ang="T11">
                  <a:pos x="T2" y="T3"/>
                </a:cxn>
                <a:cxn ang="T12">
                  <a:pos x="T4" y="T5"/>
                </a:cxn>
                <a:cxn ang="T13">
                  <a:pos x="T6" y="T7"/>
                </a:cxn>
                <a:cxn ang="T14">
                  <a:pos x="T8" y="T9"/>
                </a:cxn>
              </a:cxnLst>
              <a:rect l="T15" t="T16" r="T17" b="T18"/>
              <a:pathLst>
                <a:path w="15" h="7">
                  <a:moveTo>
                    <a:pt x="12" y="0"/>
                  </a:moveTo>
                  <a:lnTo>
                    <a:pt x="15" y="1"/>
                  </a:lnTo>
                  <a:lnTo>
                    <a:pt x="11" y="5"/>
                  </a:lnTo>
                  <a:lnTo>
                    <a:pt x="0" y="7"/>
                  </a:lnTo>
                  <a:lnTo>
                    <a:pt x="12" y="0"/>
                  </a:lnTo>
                  <a:close/>
                </a:path>
              </a:pathLst>
            </a:custGeom>
            <a:grpFill/>
            <a:ln w="6350">
              <a:solidFill>
                <a:schemeClr val="tx2"/>
              </a:solidFill>
              <a:round/>
              <a:headEnd/>
              <a:tailEnd/>
            </a:ln>
          </p:spPr>
          <p:txBody>
            <a:bodyPr/>
            <a:lstStyle/>
            <a:p>
              <a:endParaRPr lang="en-US"/>
            </a:p>
          </p:txBody>
        </p:sp>
        <p:sp>
          <p:nvSpPr>
            <p:cNvPr id="353" name="Freeform 1658"/>
            <p:cNvSpPr>
              <a:spLocks/>
            </p:cNvSpPr>
            <p:nvPr/>
          </p:nvSpPr>
          <p:spPr bwMode="auto">
            <a:xfrm>
              <a:off x="7766335" y="3324195"/>
              <a:ext cx="21239" cy="21239"/>
            </a:xfrm>
            <a:custGeom>
              <a:avLst/>
              <a:gdLst>
                <a:gd name="T0" fmla="*/ 2147483647 w 39"/>
                <a:gd name="T1" fmla="*/ 0 h 46"/>
                <a:gd name="T2" fmla="*/ 2147483647 w 39"/>
                <a:gd name="T3" fmla="*/ 2147483647 h 46"/>
                <a:gd name="T4" fmla="*/ 2147483647 w 39"/>
                <a:gd name="T5" fmla="*/ 2147483647 h 46"/>
                <a:gd name="T6" fmla="*/ 0 w 39"/>
                <a:gd name="T7" fmla="*/ 2147483647 h 46"/>
                <a:gd name="T8" fmla="*/ 2147483647 w 39"/>
                <a:gd name="T9" fmla="*/ 0 h 46"/>
                <a:gd name="T10" fmla="*/ 0 60000 65536"/>
                <a:gd name="T11" fmla="*/ 0 60000 65536"/>
                <a:gd name="T12" fmla="*/ 0 60000 65536"/>
                <a:gd name="T13" fmla="*/ 0 60000 65536"/>
                <a:gd name="T14" fmla="*/ 0 60000 65536"/>
                <a:gd name="T15" fmla="*/ 0 w 39"/>
                <a:gd name="T16" fmla="*/ 0 h 46"/>
                <a:gd name="T17" fmla="*/ 39 w 39"/>
                <a:gd name="T18" fmla="*/ 46 h 46"/>
              </a:gdLst>
              <a:ahLst/>
              <a:cxnLst>
                <a:cxn ang="T10">
                  <a:pos x="T0" y="T1"/>
                </a:cxn>
                <a:cxn ang="T11">
                  <a:pos x="T2" y="T3"/>
                </a:cxn>
                <a:cxn ang="T12">
                  <a:pos x="T4" y="T5"/>
                </a:cxn>
                <a:cxn ang="T13">
                  <a:pos x="T6" y="T7"/>
                </a:cxn>
                <a:cxn ang="T14">
                  <a:pos x="T8" y="T9"/>
                </a:cxn>
              </a:cxnLst>
              <a:rect l="T15" t="T16" r="T17" b="T18"/>
              <a:pathLst>
                <a:path w="39" h="46">
                  <a:moveTo>
                    <a:pt x="30" y="0"/>
                  </a:moveTo>
                  <a:lnTo>
                    <a:pt x="39" y="9"/>
                  </a:lnTo>
                  <a:lnTo>
                    <a:pt x="5" y="46"/>
                  </a:lnTo>
                  <a:lnTo>
                    <a:pt x="0" y="39"/>
                  </a:lnTo>
                  <a:lnTo>
                    <a:pt x="30" y="0"/>
                  </a:lnTo>
                  <a:close/>
                </a:path>
              </a:pathLst>
            </a:custGeom>
            <a:grpFill/>
            <a:ln w="6350">
              <a:solidFill>
                <a:schemeClr val="tx2"/>
              </a:solidFill>
              <a:round/>
              <a:headEnd/>
              <a:tailEnd/>
            </a:ln>
          </p:spPr>
          <p:txBody>
            <a:bodyPr/>
            <a:lstStyle/>
            <a:p>
              <a:endParaRPr lang="en-US"/>
            </a:p>
          </p:txBody>
        </p:sp>
        <p:sp>
          <p:nvSpPr>
            <p:cNvPr id="354" name="Freeform 1659"/>
            <p:cNvSpPr>
              <a:spLocks/>
            </p:cNvSpPr>
            <p:nvPr/>
          </p:nvSpPr>
          <p:spPr bwMode="auto">
            <a:xfrm>
              <a:off x="7648000" y="3293852"/>
              <a:ext cx="127438" cy="119853"/>
            </a:xfrm>
            <a:custGeom>
              <a:avLst/>
              <a:gdLst>
                <a:gd name="T0" fmla="*/ 2147483647 w 259"/>
                <a:gd name="T1" fmla="*/ 2147483647 h 238"/>
                <a:gd name="T2" fmla="*/ 2147483647 w 259"/>
                <a:gd name="T3" fmla="*/ 2147483647 h 238"/>
                <a:gd name="T4" fmla="*/ 2147483647 w 259"/>
                <a:gd name="T5" fmla="*/ 2147483647 h 238"/>
                <a:gd name="T6" fmla="*/ 2147483647 w 259"/>
                <a:gd name="T7" fmla="*/ 2147483647 h 238"/>
                <a:gd name="T8" fmla="*/ 2147483647 w 259"/>
                <a:gd name="T9" fmla="*/ 2147483647 h 238"/>
                <a:gd name="T10" fmla="*/ 2147483647 w 259"/>
                <a:gd name="T11" fmla="*/ 2147483647 h 238"/>
                <a:gd name="T12" fmla="*/ 2147483647 w 259"/>
                <a:gd name="T13" fmla="*/ 2147483647 h 238"/>
                <a:gd name="T14" fmla="*/ 2147483647 w 259"/>
                <a:gd name="T15" fmla="*/ 2147483647 h 238"/>
                <a:gd name="T16" fmla="*/ 2147483647 w 259"/>
                <a:gd name="T17" fmla="*/ 2147483647 h 238"/>
                <a:gd name="T18" fmla="*/ 2147483647 w 259"/>
                <a:gd name="T19" fmla="*/ 2147483647 h 238"/>
                <a:gd name="T20" fmla="*/ 2147483647 w 259"/>
                <a:gd name="T21" fmla="*/ 2147483647 h 238"/>
                <a:gd name="T22" fmla="*/ 2147483647 w 259"/>
                <a:gd name="T23" fmla="*/ 2147483647 h 238"/>
                <a:gd name="T24" fmla="*/ 2147483647 w 259"/>
                <a:gd name="T25" fmla="*/ 2147483647 h 238"/>
                <a:gd name="T26" fmla="*/ 2147483647 w 259"/>
                <a:gd name="T27" fmla="*/ 2147483647 h 238"/>
                <a:gd name="T28" fmla="*/ 2147483647 w 259"/>
                <a:gd name="T29" fmla="*/ 2147483647 h 238"/>
                <a:gd name="T30" fmla="*/ 2147483647 w 259"/>
                <a:gd name="T31" fmla="*/ 2147483647 h 238"/>
                <a:gd name="T32" fmla="*/ 2147483647 w 259"/>
                <a:gd name="T33" fmla="*/ 2147483647 h 238"/>
                <a:gd name="T34" fmla="*/ 2147483647 w 259"/>
                <a:gd name="T35" fmla="*/ 2147483647 h 238"/>
                <a:gd name="T36" fmla="*/ 2147483647 w 259"/>
                <a:gd name="T37" fmla="*/ 2147483647 h 238"/>
                <a:gd name="T38" fmla="*/ 2147483647 w 259"/>
                <a:gd name="T39" fmla="*/ 2147483647 h 238"/>
                <a:gd name="T40" fmla="*/ 2147483647 w 259"/>
                <a:gd name="T41" fmla="*/ 2147483647 h 238"/>
                <a:gd name="T42" fmla="*/ 2147483647 w 259"/>
                <a:gd name="T43" fmla="*/ 2147483647 h 238"/>
                <a:gd name="T44" fmla="*/ 2147483647 w 259"/>
                <a:gd name="T45" fmla="*/ 2147483647 h 238"/>
                <a:gd name="T46" fmla="*/ 2147483647 w 259"/>
                <a:gd name="T47" fmla="*/ 2147483647 h 238"/>
                <a:gd name="T48" fmla="*/ 2147483647 w 259"/>
                <a:gd name="T49" fmla="*/ 2147483647 h 238"/>
                <a:gd name="T50" fmla="*/ 2147483647 w 259"/>
                <a:gd name="T51" fmla="*/ 2147483647 h 238"/>
                <a:gd name="T52" fmla="*/ 2147483647 w 259"/>
                <a:gd name="T53" fmla="*/ 2147483647 h 238"/>
                <a:gd name="T54" fmla="*/ 2147483647 w 259"/>
                <a:gd name="T55" fmla="*/ 2147483647 h 238"/>
                <a:gd name="T56" fmla="*/ 0 w 259"/>
                <a:gd name="T57" fmla="*/ 2147483647 h 238"/>
                <a:gd name="T58" fmla="*/ 2147483647 w 259"/>
                <a:gd name="T59" fmla="*/ 2147483647 h 238"/>
                <a:gd name="T60" fmla="*/ 2147483647 w 259"/>
                <a:gd name="T61" fmla="*/ 2147483647 h 238"/>
                <a:gd name="T62" fmla="*/ 2147483647 w 259"/>
                <a:gd name="T63" fmla="*/ 2147483647 h 238"/>
                <a:gd name="T64" fmla="*/ 2147483647 w 259"/>
                <a:gd name="T65" fmla="*/ 2147483647 h 238"/>
                <a:gd name="T66" fmla="*/ 2147483647 w 259"/>
                <a:gd name="T67" fmla="*/ 2147483647 h 238"/>
                <a:gd name="T68" fmla="*/ 2147483647 w 259"/>
                <a:gd name="T69" fmla="*/ 2147483647 h 238"/>
                <a:gd name="T70" fmla="*/ 2147483647 w 259"/>
                <a:gd name="T71" fmla="*/ 2147483647 h 238"/>
                <a:gd name="T72" fmla="*/ 2147483647 w 259"/>
                <a:gd name="T73" fmla="*/ 2147483647 h 238"/>
                <a:gd name="T74" fmla="*/ 2147483647 w 259"/>
                <a:gd name="T75" fmla="*/ 2147483647 h 238"/>
                <a:gd name="T76" fmla="*/ 2147483647 w 259"/>
                <a:gd name="T77" fmla="*/ 2147483647 h 238"/>
                <a:gd name="T78" fmla="*/ 2147483647 w 259"/>
                <a:gd name="T79" fmla="*/ 0 h 238"/>
                <a:gd name="T80" fmla="*/ 2147483647 w 259"/>
                <a:gd name="T81" fmla="*/ 2147483647 h 238"/>
                <a:gd name="T82" fmla="*/ 2147483647 w 259"/>
                <a:gd name="T83" fmla="*/ 2147483647 h 238"/>
                <a:gd name="T84" fmla="*/ 2147483647 w 259"/>
                <a:gd name="T85" fmla="*/ 2147483647 h 238"/>
                <a:gd name="T86" fmla="*/ 2147483647 w 259"/>
                <a:gd name="T87" fmla="*/ 2147483647 h 238"/>
                <a:gd name="T88" fmla="*/ 2147483647 w 259"/>
                <a:gd name="T89" fmla="*/ 2147483647 h 23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9"/>
                <a:gd name="T136" fmla="*/ 0 h 238"/>
                <a:gd name="T137" fmla="*/ 259 w 259"/>
                <a:gd name="T138" fmla="*/ 238 h 23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9" h="238">
                  <a:moveTo>
                    <a:pt x="223" y="82"/>
                  </a:moveTo>
                  <a:lnTo>
                    <a:pt x="235" y="71"/>
                  </a:lnTo>
                  <a:lnTo>
                    <a:pt x="238" y="73"/>
                  </a:lnTo>
                  <a:lnTo>
                    <a:pt x="227" y="99"/>
                  </a:lnTo>
                  <a:lnTo>
                    <a:pt x="238" y="113"/>
                  </a:lnTo>
                  <a:lnTo>
                    <a:pt x="238" y="124"/>
                  </a:lnTo>
                  <a:lnTo>
                    <a:pt x="259" y="121"/>
                  </a:lnTo>
                  <a:lnTo>
                    <a:pt x="255" y="129"/>
                  </a:lnTo>
                  <a:lnTo>
                    <a:pt x="229" y="145"/>
                  </a:lnTo>
                  <a:lnTo>
                    <a:pt x="217" y="144"/>
                  </a:lnTo>
                  <a:lnTo>
                    <a:pt x="213" y="151"/>
                  </a:lnTo>
                  <a:lnTo>
                    <a:pt x="187" y="150"/>
                  </a:lnTo>
                  <a:lnTo>
                    <a:pt x="174" y="157"/>
                  </a:lnTo>
                  <a:lnTo>
                    <a:pt x="168" y="163"/>
                  </a:lnTo>
                  <a:lnTo>
                    <a:pt x="148" y="207"/>
                  </a:lnTo>
                  <a:lnTo>
                    <a:pt x="89" y="172"/>
                  </a:lnTo>
                  <a:lnTo>
                    <a:pt x="76" y="171"/>
                  </a:lnTo>
                  <a:lnTo>
                    <a:pt x="59" y="181"/>
                  </a:lnTo>
                  <a:lnTo>
                    <a:pt x="28" y="174"/>
                  </a:lnTo>
                  <a:lnTo>
                    <a:pt x="22" y="185"/>
                  </a:lnTo>
                  <a:lnTo>
                    <a:pt x="26" y="193"/>
                  </a:lnTo>
                  <a:lnTo>
                    <a:pt x="58" y="214"/>
                  </a:lnTo>
                  <a:lnTo>
                    <a:pt x="56" y="220"/>
                  </a:lnTo>
                  <a:lnTo>
                    <a:pt x="38" y="219"/>
                  </a:lnTo>
                  <a:lnTo>
                    <a:pt x="16" y="238"/>
                  </a:lnTo>
                  <a:lnTo>
                    <a:pt x="11" y="236"/>
                  </a:lnTo>
                  <a:lnTo>
                    <a:pt x="8" y="228"/>
                  </a:lnTo>
                  <a:lnTo>
                    <a:pt x="14" y="204"/>
                  </a:lnTo>
                  <a:lnTo>
                    <a:pt x="0" y="190"/>
                  </a:lnTo>
                  <a:lnTo>
                    <a:pt x="2" y="172"/>
                  </a:lnTo>
                  <a:lnTo>
                    <a:pt x="27" y="151"/>
                  </a:lnTo>
                  <a:lnTo>
                    <a:pt x="27" y="128"/>
                  </a:lnTo>
                  <a:lnTo>
                    <a:pt x="64" y="134"/>
                  </a:lnTo>
                  <a:lnTo>
                    <a:pt x="69" y="122"/>
                  </a:lnTo>
                  <a:lnTo>
                    <a:pt x="68" y="102"/>
                  </a:lnTo>
                  <a:lnTo>
                    <a:pt x="79" y="83"/>
                  </a:lnTo>
                  <a:lnTo>
                    <a:pt x="85" y="42"/>
                  </a:lnTo>
                  <a:lnTo>
                    <a:pt x="82" y="27"/>
                  </a:lnTo>
                  <a:lnTo>
                    <a:pt x="78" y="9"/>
                  </a:lnTo>
                  <a:lnTo>
                    <a:pt x="86" y="0"/>
                  </a:lnTo>
                  <a:lnTo>
                    <a:pt x="96" y="3"/>
                  </a:lnTo>
                  <a:lnTo>
                    <a:pt x="124" y="39"/>
                  </a:lnTo>
                  <a:lnTo>
                    <a:pt x="156" y="69"/>
                  </a:lnTo>
                  <a:lnTo>
                    <a:pt x="205" y="91"/>
                  </a:lnTo>
                  <a:lnTo>
                    <a:pt x="223" y="82"/>
                  </a:lnTo>
                  <a:close/>
                </a:path>
              </a:pathLst>
            </a:custGeom>
            <a:grpFill/>
            <a:ln w="6350">
              <a:solidFill>
                <a:schemeClr val="tx2"/>
              </a:solidFill>
              <a:round/>
              <a:headEnd/>
              <a:tailEnd/>
            </a:ln>
          </p:spPr>
          <p:txBody>
            <a:bodyPr/>
            <a:lstStyle/>
            <a:p>
              <a:endParaRPr lang="en-US"/>
            </a:p>
          </p:txBody>
        </p:sp>
        <p:sp>
          <p:nvSpPr>
            <p:cNvPr id="355" name="Freeform 1660"/>
            <p:cNvSpPr>
              <a:spLocks/>
            </p:cNvSpPr>
            <p:nvPr/>
          </p:nvSpPr>
          <p:spPr bwMode="auto">
            <a:xfrm>
              <a:off x="7675308" y="3299921"/>
              <a:ext cx="3034" cy="4551"/>
            </a:xfrm>
            <a:custGeom>
              <a:avLst/>
              <a:gdLst>
                <a:gd name="T0" fmla="*/ 2147483647 w 10"/>
                <a:gd name="T1" fmla="*/ 0 h 8"/>
                <a:gd name="T2" fmla="*/ 0 w 10"/>
                <a:gd name="T3" fmla="*/ 2147483647 h 8"/>
                <a:gd name="T4" fmla="*/ 2147483647 w 10"/>
                <a:gd name="T5" fmla="*/ 2147483647 h 8"/>
                <a:gd name="T6" fmla="*/ 2147483647 w 10"/>
                <a:gd name="T7" fmla="*/ 0 h 8"/>
                <a:gd name="T8" fmla="*/ 2147483647 w 10"/>
                <a:gd name="T9" fmla="*/ 0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4" y="0"/>
                  </a:moveTo>
                  <a:lnTo>
                    <a:pt x="0" y="4"/>
                  </a:lnTo>
                  <a:lnTo>
                    <a:pt x="9" y="8"/>
                  </a:lnTo>
                  <a:lnTo>
                    <a:pt x="10" y="0"/>
                  </a:lnTo>
                  <a:lnTo>
                    <a:pt x="4" y="0"/>
                  </a:lnTo>
                  <a:close/>
                </a:path>
              </a:pathLst>
            </a:custGeom>
            <a:grpFill/>
            <a:ln w="6350">
              <a:solidFill>
                <a:schemeClr val="tx2"/>
              </a:solidFill>
              <a:round/>
              <a:headEnd/>
              <a:tailEnd/>
            </a:ln>
          </p:spPr>
          <p:txBody>
            <a:bodyPr/>
            <a:lstStyle/>
            <a:p>
              <a:endParaRPr lang="en-US"/>
            </a:p>
          </p:txBody>
        </p:sp>
        <p:sp>
          <p:nvSpPr>
            <p:cNvPr id="356" name="Freeform 1661"/>
            <p:cNvSpPr>
              <a:spLocks/>
            </p:cNvSpPr>
            <p:nvPr/>
          </p:nvSpPr>
          <p:spPr bwMode="auto">
            <a:xfrm>
              <a:off x="7456844" y="3412188"/>
              <a:ext cx="239704" cy="212396"/>
            </a:xfrm>
            <a:custGeom>
              <a:avLst/>
              <a:gdLst>
                <a:gd name="T0" fmla="*/ 2147483647 w 481"/>
                <a:gd name="T1" fmla="*/ 2147483647 h 431"/>
                <a:gd name="T2" fmla="*/ 2147483647 w 481"/>
                <a:gd name="T3" fmla="*/ 2147483647 h 431"/>
                <a:gd name="T4" fmla="*/ 2147483647 w 481"/>
                <a:gd name="T5" fmla="*/ 2147483647 h 431"/>
                <a:gd name="T6" fmla="*/ 2147483647 w 481"/>
                <a:gd name="T7" fmla="*/ 2147483647 h 431"/>
                <a:gd name="T8" fmla="*/ 2147483647 w 481"/>
                <a:gd name="T9" fmla="*/ 2147483647 h 431"/>
                <a:gd name="T10" fmla="*/ 2147483647 w 481"/>
                <a:gd name="T11" fmla="*/ 2147483647 h 431"/>
                <a:gd name="T12" fmla="*/ 2147483647 w 481"/>
                <a:gd name="T13" fmla="*/ 2147483647 h 431"/>
                <a:gd name="T14" fmla="*/ 2147483647 w 481"/>
                <a:gd name="T15" fmla="*/ 2147483647 h 431"/>
                <a:gd name="T16" fmla="*/ 2147483647 w 481"/>
                <a:gd name="T17" fmla="*/ 2147483647 h 431"/>
                <a:gd name="T18" fmla="*/ 2147483647 w 481"/>
                <a:gd name="T19" fmla="*/ 2147483647 h 431"/>
                <a:gd name="T20" fmla="*/ 2147483647 w 481"/>
                <a:gd name="T21" fmla="*/ 2147483647 h 431"/>
                <a:gd name="T22" fmla="*/ 2147483647 w 481"/>
                <a:gd name="T23" fmla="*/ 2147483647 h 431"/>
                <a:gd name="T24" fmla="*/ 2147483647 w 481"/>
                <a:gd name="T25" fmla="*/ 2147483647 h 431"/>
                <a:gd name="T26" fmla="*/ 2147483647 w 481"/>
                <a:gd name="T27" fmla="*/ 2147483647 h 431"/>
                <a:gd name="T28" fmla="*/ 2147483647 w 481"/>
                <a:gd name="T29" fmla="*/ 2147483647 h 431"/>
                <a:gd name="T30" fmla="*/ 2147483647 w 481"/>
                <a:gd name="T31" fmla="*/ 2147483647 h 431"/>
                <a:gd name="T32" fmla="*/ 2147483647 w 481"/>
                <a:gd name="T33" fmla="*/ 2147483647 h 431"/>
                <a:gd name="T34" fmla="*/ 2147483647 w 481"/>
                <a:gd name="T35" fmla="*/ 2147483647 h 431"/>
                <a:gd name="T36" fmla="*/ 2147483647 w 481"/>
                <a:gd name="T37" fmla="*/ 2147483647 h 431"/>
                <a:gd name="T38" fmla="*/ 2147483647 w 481"/>
                <a:gd name="T39" fmla="*/ 2147483647 h 431"/>
                <a:gd name="T40" fmla="*/ 2147483647 w 481"/>
                <a:gd name="T41" fmla="*/ 2147483647 h 431"/>
                <a:gd name="T42" fmla="*/ 2147483647 w 481"/>
                <a:gd name="T43" fmla="*/ 2147483647 h 431"/>
                <a:gd name="T44" fmla="*/ 2147483647 w 481"/>
                <a:gd name="T45" fmla="*/ 2147483647 h 431"/>
                <a:gd name="T46" fmla="*/ 2147483647 w 481"/>
                <a:gd name="T47" fmla="*/ 2147483647 h 431"/>
                <a:gd name="T48" fmla="*/ 2147483647 w 481"/>
                <a:gd name="T49" fmla="*/ 2147483647 h 431"/>
                <a:gd name="T50" fmla="*/ 2147483647 w 481"/>
                <a:gd name="T51" fmla="*/ 2147483647 h 431"/>
                <a:gd name="T52" fmla="*/ 2147483647 w 481"/>
                <a:gd name="T53" fmla="*/ 2147483647 h 431"/>
                <a:gd name="T54" fmla="*/ 0 w 481"/>
                <a:gd name="T55" fmla="*/ 2147483647 h 431"/>
                <a:gd name="T56" fmla="*/ 2147483647 w 481"/>
                <a:gd name="T57" fmla="*/ 2147483647 h 431"/>
                <a:gd name="T58" fmla="*/ 2147483647 w 481"/>
                <a:gd name="T59" fmla="*/ 2147483647 h 431"/>
                <a:gd name="T60" fmla="*/ 2147483647 w 481"/>
                <a:gd name="T61" fmla="*/ 2147483647 h 431"/>
                <a:gd name="T62" fmla="*/ 2147483647 w 481"/>
                <a:gd name="T63" fmla="*/ 2147483647 h 431"/>
                <a:gd name="T64" fmla="*/ 2147483647 w 481"/>
                <a:gd name="T65" fmla="*/ 2147483647 h 431"/>
                <a:gd name="T66" fmla="*/ 2147483647 w 481"/>
                <a:gd name="T67" fmla="*/ 2147483647 h 431"/>
                <a:gd name="T68" fmla="*/ 2147483647 w 481"/>
                <a:gd name="T69" fmla="*/ 2147483647 h 431"/>
                <a:gd name="T70" fmla="*/ 2147483647 w 481"/>
                <a:gd name="T71" fmla="*/ 2147483647 h 431"/>
                <a:gd name="T72" fmla="*/ 2147483647 w 481"/>
                <a:gd name="T73" fmla="*/ 2147483647 h 431"/>
                <a:gd name="T74" fmla="*/ 2147483647 w 481"/>
                <a:gd name="T75" fmla="*/ 2147483647 h 431"/>
                <a:gd name="T76" fmla="*/ 2147483647 w 481"/>
                <a:gd name="T77" fmla="*/ 2147483647 h 431"/>
                <a:gd name="T78" fmla="*/ 2147483647 w 481"/>
                <a:gd name="T79" fmla="*/ 2147483647 h 431"/>
                <a:gd name="T80" fmla="*/ 2147483647 w 481"/>
                <a:gd name="T81" fmla="*/ 2147483647 h 431"/>
                <a:gd name="T82" fmla="*/ 2147483647 w 481"/>
                <a:gd name="T83" fmla="*/ 2147483647 h 431"/>
                <a:gd name="T84" fmla="*/ 2147483647 w 481"/>
                <a:gd name="T85" fmla="*/ 2147483647 h 431"/>
                <a:gd name="T86" fmla="*/ 2147483647 w 481"/>
                <a:gd name="T87" fmla="*/ 2147483647 h 431"/>
                <a:gd name="T88" fmla="*/ 2147483647 w 481"/>
                <a:gd name="T89" fmla="*/ 2147483647 h 431"/>
                <a:gd name="T90" fmla="*/ 2147483647 w 481"/>
                <a:gd name="T91" fmla="*/ 0 h 43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1"/>
                <a:gd name="T139" fmla="*/ 0 h 431"/>
                <a:gd name="T140" fmla="*/ 481 w 481"/>
                <a:gd name="T141" fmla="*/ 431 h 43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1" h="431">
                  <a:moveTo>
                    <a:pt x="441" y="4"/>
                  </a:moveTo>
                  <a:lnTo>
                    <a:pt x="453" y="3"/>
                  </a:lnTo>
                  <a:lnTo>
                    <a:pt x="454" y="41"/>
                  </a:lnTo>
                  <a:lnTo>
                    <a:pt x="470" y="75"/>
                  </a:lnTo>
                  <a:lnTo>
                    <a:pt x="481" y="112"/>
                  </a:lnTo>
                  <a:lnTo>
                    <a:pt x="477" y="133"/>
                  </a:lnTo>
                  <a:lnTo>
                    <a:pt x="466" y="140"/>
                  </a:lnTo>
                  <a:lnTo>
                    <a:pt x="459" y="174"/>
                  </a:lnTo>
                  <a:lnTo>
                    <a:pt x="449" y="173"/>
                  </a:lnTo>
                  <a:lnTo>
                    <a:pt x="438" y="182"/>
                  </a:lnTo>
                  <a:lnTo>
                    <a:pt x="435" y="196"/>
                  </a:lnTo>
                  <a:lnTo>
                    <a:pt x="439" y="248"/>
                  </a:lnTo>
                  <a:lnTo>
                    <a:pt x="430" y="256"/>
                  </a:lnTo>
                  <a:lnTo>
                    <a:pt x="421" y="285"/>
                  </a:lnTo>
                  <a:lnTo>
                    <a:pt x="421" y="302"/>
                  </a:lnTo>
                  <a:lnTo>
                    <a:pt x="428" y="315"/>
                  </a:lnTo>
                  <a:lnTo>
                    <a:pt x="409" y="343"/>
                  </a:lnTo>
                  <a:lnTo>
                    <a:pt x="389" y="359"/>
                  </a:lnTo>
                  <a:lnTo>
                    <a:pt x="390" y="333"/>
                  </a:lnTo>
                  <a:lnTo>
                    <a:pt x="397" y="320"/>
                  </a:lnTo>
                  <a:lnTo>
                    <a:pt x="387" y="320"/>
                  </a:lnTo>
                  <a:lnTo>
                    <a:pt x="380" y="344"/>
                  </a:lnTo>
                  <a:lnTo>
                    <a:pt x="363" y="338"/>
                  </a:lnTo>
                  <a:lnTo>
                    <a:pt x="349" y="371"/>
                  </a:lnTo>
                  <a:lnTo>
                    <a:pt x="344" y="370"/>
                  </a:lnTo>
                  <a:lnTo>
                    <a:pt x="343" y="350"/>
                  </a:lnTo>
                  <a:lnTo>
                    <a:pt x="337" y="349"/>
                  </a:lnTo>
                  <a:lnTo>
                    <a:pt x="317" y="374"/>
                  </a:lnTo>
                  <a:lnTo>
                    <a:pt x="269" y="374"/>
                  </a:lnTo>
                  <a:lnTo>
                    <a:pt x="276" y="367"/>
                  </a:lnTo>
                  <a:lnTo>
                    <a:pt x="265" y="362"/>
                  </a:lnTo>
                  <a:lnTo>
                    <a:pt x="262" y="367"/>
                  </a:lnTo>
                  <a:lnTo>
                    <a:pt x="257" y="361"/>
                  </a:lnTo>
                  <a:lnTo>
                    <a:pt x="257" y="351"/>
                  </a:lnTo>
                  <a:lnTo>
                    <a:pt x="243" y="371"/>
                  </a:lnTo>
                  <a:lnTo>
                    <a:pt x="259" y="381"/>
                  </a:lnTo>
                  <a:lnTo>
                    <a:pt x="259" y="395"/>
                  </a:lnTo>
                  <a:lnTo>
                    <a:pt x="252" y="390"/>
                  </a:lnTo>
                  <a:lnTo>
                    <a:pt x="235" y="397"/>
                  </a:lnTo>
                  <a:lnTo>
                    <a:pt x="218" y="426"/>
                  </a:lnTo>
                  <a:lnTo>
                    <a:pt x="209" y="431"/>
                  </a:lnTo>
                  <a:lnTo>
                    <a:pt x="198" y="426"/>
                  </a:lnTo>
                  <a:lnTo>
                    <a:pt x="183" y="405"/>
                  </a:lnTo>
                  <a:lnTo>
                    <a:pt x="184" y="390"/>
                  </a:lnTo>
                  <a:lnTo>
                    <a:pt x="195" y="374"/>
                  </a:lnTo>
                  <a:lnTo>
                    <a:pt x="194" y="369"/>
                  </a:lnTo>
                  <a:lnTo>
                    <a:pt x="180" y="372"/>
                  </a:lnTo>
                  <a:lnTo>
                    <a:pt x="150" y="366"/>
                  </a:lnTo>
                  <a:lnTo>
                    <a:pt x="128" y="381"/>
                  </a:lnTo>
                  <a:lnTo>
                    <a:pt x="123" y="378"/>
                  </a:lnTo>
                  <a:lnTo>
                    <a:pt x="72" y="394"/>
                  </a:lnTo>
                  <a:lnTo>
                    <a:pt x="67" y="388"/>
                  </a:lnTo>
                  <a:lnTo>
                    <a:pt x="51" y="410"/>
                  </a:lnTo>
                  <a:lnTo>
                    <a:pt x="33" y="403"/>
                  </a:lnTo>
                  <a:lnTo>
                    <a:pt x="15" y="408"/>
                  </a:lnTo>
                  <a:lnTo>
                    <a:pt x="0" y="404"/>
                  </a:lnTo>
                  <a:lnTo>
                    <a:pt x="1" y="387"/>
                  </a:lnTo>
                  <a:lnTo>
                    <a:pt x="21" y="381"/>
                  </a:lnTo>
                  <a:lnTo>
                    <a:pt x="83" y="327"/>
                  </a:lnTo>
                  <a:lnTo>
                    <a:pt x="133" y="326"/>
                  </a:lnTo>
                  <a:lnTo>
                    <a:pt x="187" y="314"/>
                  </a:lnTo>
                  <a:lnTo>
                    <a:pt x="187" y="323"/>
                  </a:lnTo>
                  <a:lnTo>
                    <a:pt x="208" y="326"/>
                  </a:lnTo>
                  <a:lnTo>
                    <a:pt x="222" y="315"/>
                  </a:lnTo>
                  <a:lnTo>
                    <a:pt x="222" y="290"/>
                  </a:lnTo>
                  <a:lnTo>
                    <a:pt x="246" y="266"/>
                  </a:lnTo>
                  <a:lnTo>
                    <a:pt x="255" y="229"/>
                  </a:lnTo>
                  <a:lnTo>
                    <a:pt x="270" y="221"/>
                  </a:lnTo>
                  <a:lnTo>
                    <a:pt x="276" y="222"/>
                  </a:lnTo>
                  <a:lnTo>
                    <a:pt x="275" y="229"/>
                  </a:lnTo>
                  <a:lnTo>
                    <a:pt x="261" y="241"/>
                  </a:lnTo>
                  <a:lnTo>
                    <a:pt x="265" y="260"/>
                  </a:lnTo>
                  <a:lnTo>
                    <a:pt x="278" y="259"/>
                  </a:lnTo>
                  <a:lnTo>
                    <a:pt x="323" y="230"/>
                  </a:lnTo>
                  <a:lnTo>
                    <a:pt x="346" y="201"/>
                  </a:lnTo>
                  <a:lnTo>
                    <a:pt x="361" y="194"/>
                  </a:lnTo>
                  <a:lnTo>
                    <a:pt x="383" y="146"/>
                  </a:lnTo>
                  <a:lnTo>
                    <a:pt x="395" y="109"/>
                  </a:lnTo>
                  <a:lnTo>
                    <a:pt x="395" y="96"/>
                  </a:lnTo>
                  <a:lnTo>
                    <a:pt x="381" y="87"/>
                  </a:lnTo>
                  <a:lnTo>
                    <a:pt x="392" y="72"/>
                  </a:lnTo>
                  <a:lnTo>
                    <a:pt x="391" y="47"/>
                  </a:lnTo>
                  <a:lnTo>
                    <a:pt x="402" y="36"/>
                  </a:lnTo>
                  <a:lnTo>
                    <a:pt x="404" y="23"/>
                  </a:lnTo>
                  <a:lnTo>
                    <a:pt x="412" y="14"/>
                  </a:lnTo>
                  <a:lnTo>
                    <a:pt x="424" y="36"/>
                  </a:lnTo>
                  <a:lnTo>
                    <a:pt x="429" y="28"/>
                  </a:lnTo>
                  <a:lnTo>
                    <a:pt x="441" y="30"/>
                  </a:lnTo>
                  <a:lnTo>
                    <a:pt x="446" y="11"/>
                  </a:lnTo>
                  <a:lnTo>
                    <a:pt x="429" y="19"/>
                  </a:lnTo>
                  <a:lnTo>
                    <a:pt x="426" y="10"/>
                  </a:lnTo>
                  <a:lnTo>
                    <a:pt x="429" y="0"/>
                  </a:lnTo>
                  <a:lnTo>
                    <a:pt x="441" y="4"/>
                  </a:lnTo>
                  <a:close/>
                </a:path>
              </a:pathLst>
            </a:custGeom>
            <a:grpFill/>
            <a:ln w="6350">
              <a:solidFill>
                <a:schemeClr val="tx2"/>
              </a:solidFill>
              <a:round/>
              <a:headEnd/>
              <a:tailEnd/>
            </a:ln>
          </p:spPr>
          <p:txBody>
            <a:bodyPr/>
            <a:lstStyle/>
            <a:p>
              <a:endParaRPr lang="en-US"/>
            </a:p>
          </p:txBody>
        </p:sp>
        <p:sp>
          <p:nvSpPr>
            <p:cNvPr id="357" name="Freeform 1662"/>
            <p:cNvSpPr>
              <a:spLocks/>
            </p:cNvSpPr>
            <p:nvPr/>
          </p:nvSpPr>
          <p:spPr bwMode="auto">
            <a:xfrm>
              <a:off x="7485669" y="3601826"/>
              <a:ext cx="51582" cy="43995"/>
            </a:xfrm>
            <a:custGeom>
              <a:avLst/>
              <a:gdLst>
                <a:gd name="T0" fmla="*/ 2147483647 w 109"/>
                <a:gd name="T1" fmla="*/ 2147483647 h 85"/>
                <a:gd name="T2" fmla="*/ 2147483647 w 109"/>
                <a:gd name="T3" fmla="*/ 2147483647 h 85"/>
                <a:gd name="T4" fmla="*/ 2147483647 w 109"/>
                <a:gd name="T5" fmla="*/ 2147483647 h 85"/>
                <a:gd name="T6" fmla="*/ 2147483647 w 109"/>
                <a:gd name="T7" fmla="*/ 2147483647 h 85"/>
                <a:gd name="T8" fmla="*/ 2147483647 w 109"/>
                <a:gd name="T9" fmla="*/ 2147483647 h 85"/>
                <a:gd name="T10" fmla="*/ 2147483647 w 109"/>
                <a:gd name="T11" fmla="*/ 2147483647 h 85"/>
                <a:gd name="T12" fmla="*/ 2147483647 w 109"/>
                <a:gd name="T13" fmla="*/ 2147483647 h 85"/>
                <a:gd name="T14" fmla="*/ 2147483647 w 109"/>
                <a:gd name="T15" fmla="*/ 2147483647 h 85"/>
                <a:gd name="T16" fmla="*/ 0 w 109"/>
                <a:gd name="T17" fmla="*/ 2147483647 h 85"/>
                <a:gd name="T18" fmla="*/ 2147483647 w 109"/>
                <a:gd name="T19" fmla="*/ 2147483647 h 85"/>
                <a:gd name="T20" fmla="*/ 2147483647 w 109"/>
                <a:gd name="T21" fmla="*/ 2147483647 h 85"/>
                <a:gd name="T22" fmla="*/ 2147483647 w 109"/>
                <a:gd name="T23" fmla="*/ 0 h 85"/>
                <a:gd name="T24" fmla="*/ 2147483647 w 109"/>
                <a:gd name="T25" fmla="*/ 2147483647 h 85"/>
                <a:gd name="T26" fmla="*/ 2147483647 w 109"/>
                <a:gd name="T27" fmla="*/ 2147483647 h 85"/>
                <a:gd name="T28" fmla="*/ 2147483647 w 109"/>
                <a:gd name="T29" fmla="*/ 2147483647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85"/>
                <a:gd name="T47" fmla="*/ 109 w 10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85">
                  <a:moveTo>
                    <a:pt x="88" y="55"/>
                  </a:moveTo>
                  <a:lnTo>
                    <a:pt x="68" y="45"/>
                  </a:lnTo>
                  <a:lnTo>
                    <a:pt x="58" y="48"/>
                  </a:lnTo>
                  <a:lnTo>
                    <a:pt x="49" y="53"/>
                  </a:lnTo>
                  <a:lnTo>
                    <a:pt x="36" y="84"/>
                  </a:lnTo>
                  <a:lnTo>
                    <a:pt x="29" y="85"/>
                  </a:lnTo>
                  <a:lnTo>
                    <a:pt x="19" y="75"/>
                  </a:lnTo>
                  <a:lnTo>
                    <a:pt x="12" y="54"/>
                  </a:lnTo>
                  <a:lnTo>
                    <a:pt x="0" y="50"/>
                  </a:lnTo>
                  <a:lnTo>
                    <a:pt x="28" y="19"/>
                  </a:lnTo>
                  <a:lnTo>
                    <a:pt x="51" y="21"/>
                  </a:lnTo>
                  <a:lnTo>
                    <a:pt x="79" y="0"/>
                  </a:lnTo>
                  <a:lnTo>
                    <a:pt x="102" y="8"/>
                  </a:lnTo>
                  <a:lnTo>
                    <a:pt x="109" y="28"/>
                  </a:lnTo>
                  <a:lnTo>
                    <a:pt x="88" y="55"/>
                  </a:lnTo>
                  <a:close/>
                </a:path>
              </a:pathLst>
            </a:custGeom>
            <a:grpFill/>
            <a:ln w="6350">
              <a:solidFill>
                <a:schemeClr val="tx2"/>
              </a:solidFill>
              <a:round/>
              <a:headEnd/>
              <a:tailEnd/>
            </a:ln>
          </p:spPr>
          <p:txBody>
            <a:bodyPr/>
            <a:lstStyle/>
            <a:p>
              <a:endParaRPr lang="en-US"/>
            </a:p>
          </p:txBody>
        </p:sp>
        <p:sp>
          <p:nvSpPr>
            <p:cNvPr id="358" name="Freeform 1663"/>
            <p:cNvSpPr>
              <a:spLocks/>
            </p:cNvSpPr>
            <p:nvPr/>
          </p:nvSpPr>
          <p:spPr bwMode="auto">
            <a:xfrm>
              <a:off x="7429535" y="3613964"/>
              <a:ext cx="50064" cy="72821"/>
            </a:xfrm>
            <a:custGeom>
              <a:avLst/>
              <a:gdLst>
                <a:gd name="T0" fmla="*/ 2147483647 w 103"/>
                <a:gd name="T1" fmla="*/ 0 h 145"/>
                <a:gd name="T2" fmla="*/ 2147483647 w 103"/>
                <a:gd name="T3" fmla="*/ 2147483647 h 145"/>
                <a:gd name="T4" fmla="*/ 2147483647 w 103"/>
                <a:gd name="T5" fmla="*/ 2147483647 h 145"/>
                <a:gd name="T6" fmla="*/ 2147483647 w 103"/>
                <a:gd name="T7" fmla="*/ 2147483647 h 145"/>
                <a:gd name="T8" fmla="*/ 0 w 103"/>
                <a:gd name="T9" fmla="*/ 2147483647 h 145"/>
                <a:gd name="T10" fmla="*/ 2147483647 w 103"/>
                <a:gd name="T11" fmla="*/ 2147483647 h 145"/>
                <a:gd name="T12" fmla="*/ 2147483647 w 103"/>
                <a:gd name="T13" fmla="*/ 2147483647 h 145"/>
                <a:gd name="T14" fmla="*/ 2147483647 w 103"/>
                <a:gd name="T15" fmla="*/ 2147483647 h 145"/>
                <a:gd name="T16" fmla="*/ 2147483647 w 103"/>
                <a:gd name="T17" fmla="*/ 2147483647 h 145"/>
                <a:gd name="T18" fmla="*/ 2147483647 w 103"/>
                <a:gd name="T19" fmla="*/ 2147483647 h 145"/>
                <a:gd name="T20" fmla="*/ 2147483647 w 103"/>
                <a:gd name="T21" fmla="*/ 2147483647 h 145"/>
                <a:gd name="T22" fmla="*/ 2147483647 w 103"/>
                <a:gd name="T23" fmla="*/ 2147483647 h 145"/>
                <a:gd name="T24" fmla="*/ 2147483647 w 103"/>
                <a:gd name="T25" fmla="*/ 2147483647 h 145"/>
                <a:gd name="T26" fmla="*/ 2147483647 w 103"/>
                <a:gd name="T27" fmla="*/ 2147483647 h 145"/>
                <a:gd name="T28" fmla="*/ 2147483647 w 103"/>
                <a:gd name="T29" fmla="*/ 2147483647 h 145"/>
                <a:gd name="T30" fmla="*/ 2147483647 w 103"/>
                <a:gd name="T31" fmla="*/ 2147483647 h 145"/>
                <a:gd name="T32" fmla="*/ 2147483647 w 103"/>
                <a:gd name="T33" fmla="*/ 2147483647 h 145"/>
                <a:gd name="T34" fmla="*/ 2147483647 w 103"/>
                <a:gd name="T35" fmla="*/ 2147483647 h 145"/>
                <a:gd name="T36" fmla="*/ 2147483647 w 103"/>
                <a:gd name="T37" fmla="*/ 2147483647 h 145"/>
                <a:gd name="T38" fmla="*/ 2147483647 w 103"/>
                <a:gd name="T39" fmla="*/ 2147483647 h 145"/>
                <a:gd name="T40" fmla="*/ 2147483647 w 103"/>
                <a:gd name="T41" fmla="*/ 2147483647 h 145"/>
                <a:gd name="T42" fmla="*/ 2147483647 w 103"/>
                <a:gd name="T43" fmla="*/ 2147483647 h 145"/>
                <a:gd name="T44" fmla="*/ 2147483647 w 103"/>
                <a:gd name="T45" fmla="*/ 2147483647 h 145"/>
                <a:gd name="T46" fmla="*/ 2147483647 w 103"/>
                <a:gd name="T47" fmla="*/ 2147483647 h 145"/>
                <a:gd name="T48" fmla="*/ 2147483647 w 103"/>
                <a:gd name="T49" fmla="*/ 2147483647 h 145"/>
                <a:gd name="T50" fmla="*/ 2147483647 w 103"/>
                <a:gd name="T51" fmla="*/ 2147483647 h 145"/>
                <a:gd name="T52" fmla="*/ 2147483647 w 103"/>
                <a:gd name="T53" fmla="*/ 2147483647 h 145"/>
                <a:gd name="T54" fmla="*/ 2147483647 w 103"/>
                <a:gd name="T55" fmla="*/ 2147483647 h 145"/>
                <a:gd name="T56" fmla="*/ 2147483647 w 103"/>
                <a:gd name="T57" fmla="*/ 2147483647 h 145"/>
                <a:gd name="T58" fmla="*/ 2147483647 w 103"/>
                <a:gd name="T59" fmla="*/ 2147483647 h 145"/>
                <a:gd name="T60" fmla="*/ 2147483647 w 103"/>
                <a:gd name="T61" fmla="*/ 2147483647 h 145"/>
                <a:gd name="T62" fmla="*/ 2147483647 w 103"/>
                <a:gd name="T63" fmla="*/ 2147483647 h 145"/>
                <a:gd name="T64" fmla="*/ 2147483647 w 103"/>
                <a:gd name="T65" fmla="*/ 2147483647 h 145"/>
                <a:gd name="T66" fmla="*/ 2147483647 w 103"/>
                <a:gd name="T67" fmla="*/ 2147483647 h 145"/>
                <a:gd name="T68" fmla="*/ 2147483647 w 103"/>
                <a:gd name="T69" fmla="*/ 0 h 1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
                <a:gd name="T106" fmla="*/ 0 h 145"/>
                <a:gd name="T107" fmla="*/ 103 w 103"/>
                <a:gd name="T108" fmla="*/ 145 h 14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 h="145">
                  <a:moveTo>
                    <a:pt x="52" y="0"/>
                  </a:moveTo>
                  <a:lnTo>
                    <a:pt x="44" y="1"/>
                  </a:lnTo>
                  <a:lnTo>
                    <a:pt x="33" y="16"/>
                  </a:lnTo>
                  <a:lnTo>
                    <a:pt x="13" y="20"/>
                  </a:lnTo>
                  <a:lnTo>
                    <a:pt x="0" y="35"/>
                  </a:lnTo>
                  <a:lnTo>
                    <a:pt x="12" y="48"/>
                  </a:lnTo>
                  <a:lnTo>
                    <a:pt x="13" y="55"/>
                  </a:lnTo>
                  <a:lnTo>
                    <a:pt x="4" y="46"/>
                  </a:lnTo>
                  <a:lnTo>
                    <a:pt x="7" y="67"/>
                  </a:lnTo>
                  <a:lnTo>
                    <a:pt x="21" y="60"/>
                  </a:lnTo>
                  <a:lnTo>
                    <a:pt x="28" y="64"/>
                  </a:lnTo>
                  <a:lnTo>
                    <a:pt x="32" y="57"/>
                  </a:lnTo>
                  <a:lnTo>
                    <a:pt x="25" y="49"/>
                  </a:lnTo>
                  <a:lnTo>
                    <a:pt x="25" y="40"/>
                  </a:lnTo>
                  <a:lnTo>
                    <a:pt x="29" y="37"/>
                  </a:lnTo>
                  <a:lnTo>
                    <a:pt x="40" y="57"/>
                  </a:lnTo>
                  <a:lnTo>
                    <a:pt x="42" y="76"/>
                  </a:lnTo>
                  <a:lnTo>
                    <a:pt x="28" y="98"/>
                  </a:lnTo>
                  <a:lnTo>
                    <a:pt x="27" y="130"/>
                  </a:lnTo>
                  <a:lnTo>
                    <a:pt x="44" y="140"/>
                  </a:lnTo>
                  <a:lnTo>
                    <a:pt x="45" y="112"/>
                  </a:lnTo>
                  <a:lnTo>
                    <a:pt x="52" y="114"/>
                  </a:lnTo>
                  <a:lnTo>
                    <a:pt x="48" y="124"/>
                  </a:lnTo>
                  <a:lnTo>
                    <a:pt x="50" y="145"/>
                  </a:lnTo>
                  <a:lnTo>
                    <a:pt x="62" y="138"/>
                  </a:lnTo>
                  <a:lnTo>
                    <a:pt x="69" y="124"/>
                  </a:lnTo>
                  <a:lnTo>
                    <a:pt x="73" y="126"/>
                  </a:lnTo>
                  <a:lnTo>
                    <a:pt x="89" y="76"/>
                  </a:lnTo>
                  <a:lnTo>
                    <a:pt x="103" y="53"/>
                  </a:lnTo>
                  <a:lnTo>
                    <a:pt x="97" y="35"/>
                  </a:lnTo>
                  <a:lnTo>
                    <a:pt x="87" y="33"/>
                  </a:lnTo>
                  <a:lnTo>
                    <a:pt x="87" y="13"/>
                  </a:lnTo>
                  <a:lnTo>
                    <a:pt x="68" y="15"/>
                  </a:lnTo>
                  <a:lnTo>
                    <a:pt x="60" y="1"/>
                  </a:lnTo>
                  <a:lnTo>
                    <a:pt x="52" y="0"/>
                  </a:lnTo>
                  <a:close/>
                </a:path>
              </a:pathLst>
            </a:custGeom>
            <a:grpFill/>
            <a:ln w="6350">
              <a:solidFill>
                <a:schemeClr val="tx2"/>
              </a:solidFill>
              <a:round/>
              <a:headEnd/>
              <a:tailEnd/>
            </a:ln>
          </p:spPr>
          <p:txBody>
            <a:bodyPr/>
            <a:lstStyle/>
            <a:p>
              <a:endParaRPr lang="en-US"/>
            </a:p>
          </p:txBody>
        </p:sp>
        <p:sp>
          <p:nvSpPr>
            <p:cNvPr id="359" name="Freeform 1664"/>
            <p:cNvSpPr>
              <a:spLocks/>
            </p:cNvSpPr>
            <p:nvPr/>
          </p:nvSpPr>
          <p:spPr bwMode="auto">
            <a:xfrm>
              <a:off x="7438638" y="3650374"/>
              <a:ext cx="3034" cy="9103"/>
            </a:xfrm>
            <a:custGeom>
              <a:avLst/>
              <a:gdLst>
                <a:gd name="T0" fmla="*/ 2147483647 w 5"/>
                <a:gd name="T1" fmla="*/ 0 h 17"/>
                <a:gd name="T2" fmla="*/ 0 w 5"/>
                <a:gd name="T3" fmla="*/ 2147483647 h 17"/>
                <a:gd name="T4" fmla="*/ 2147483647 w 5"/>
                <a:gd name="T5" fmla="*/ 2147483647 h 17"/>
                <a:gd name="T6" fmla="*/ 2147483647 w 5"/>
                <a:gd name="T7" fmla="*/ 0 h 17"/>
                <a:gd name="T8" fmla="*/ 0 60000 65536"/>
                <a:gd name="T9" fmla="*/ 0 60000 65536"/>
                <a:gd name="T10" fmla="*/ 0 60000 65536"/>
                <a:gd name="T11" fmla="*/ 0 60000 65536"/>
                <a:gd name="T12" fmla="*/ 0 w 5"/>
                <a:gd name="T13" fmla="*/ 0 h 17"/>
                <a:gd name="T14" fmla="*/ 5 w 5"/>
                <a:gd name="T15" fmla="*/ 17 h 17"/>
              </a:gdLst>
              <a:ahLst/>
              <a:cxnLst>
                <a:cxn ang="T8">
                  <a:pos x="T0" y="T1"/>
                </a:cxn>
                <a:cxn ang="T9">
                  <a:pos x="T2" y="T3"/>
                </a:cxn>
                <a:cxn ang="T10">
                  <a:pos x="T4" y="T5"/>
                </a:cxn>
                <a:cxn ang="T11">
                  <a:pos x="T6" y="T7"/>
                </a:cxn>
              </a:cxnLst>
              <a:rect l="T12" t="T13" r="T14" b="T15"/>
              <a:pathLst>
                <a:path w="5" h="17">
                  <a:moveTo>
                    <a:pt x="1" y="0"/>
                  </a:moveTo>
                  <a:lnTo>
                    <a:pt x="0" y="17"/>
                  </a:lnTo>
                  <a:lnTo>
                    <a:pt x="5" y="3"/>
                  </a:lnTo>
                  <a:lnTo>
                    <a:pt x="1" y="0"/>
                  </a:lnTo>
                  <a:close/>
                </a:path>
              </a:pathLst>
            </a:custGeom>
            <a:grpFill/>
            <a:ln w="6350">
              <a:solidFill>
                <a:schemeClr val="tx2"/>
              </a:solidFill>
              <a:round/>
              <a:headEnd/>
              <a:tailEnd/>
            </a:ln>
          </p:spPr>
          <p:txBody>
            <a:bodyPr/>
            <a:lstStyle/>
            <a:p>
              <a:endParaRPr lang="en-US"/>
            </a:p>
          </p:txBody>
        </p:sp>
        <p:sp>
          <p:nvSpPr>
            <p:cNvPr id="360" name="Freeform 1665"/>
            <p:cNvSpPr>
              <a:spLocks/>
            </p:cNvSpPr>
            <p:nvPr/>
          </p:nvSpPr>
          <p:spPr bwMode="auto">
            <a:xfrm>
              <a:off x="7458360" y="3692853"/>
              <a:ext cx="3034" cy="10619"/>
            </a:xfrm>
            <a:custGeom>
              <a:avLst/>
              <a:gdLst>
                <a:gd name="T0" fmla="*/ 2147483647 w 4"/>
                <a:gd name="T1" fmla="*/ 2147483647 h 22"/>
                <a:gd name="T2" fmla="*/ 2147483647 w 4"/>
                <a:gd name="T3" fmla="*/ 0 h 22"/>
                <a:gd name="T4" fmla="*/ 0 w 4"/>
                <a:gd name="T5" fmla="*/ 2147483647 h 22"/>
                <a:gd name="T6" fmla="*/ 0 w 4"/>
                <a:gd name="T7" fmla="*/ 2147483647 h 22"/>
                <a:gd name="T8" fmla="*/ 2147483647 w 4"/>
                <a:gd name="T9" fmla="*/ 2147483647 h 22"/>
                <a:gd name="T10" fmla="*/ 0 60000 65536"/>
                <a:gd name="T11" fmla="*/ 0 60000 65536"/>
                <a:gd name="T12" fmla="*/ 0 60000 65536"/>
                <a:gd name="T13" fmla="*/ 0 60000 65536"/>
                <a:gd name="T14" fmla="*/ 0 60000 65536"/>
                <a:gd name="T15" fmla="*/ 0 w 4"/>
                <a:gd name="T16" fmla="*/ 0 h 22"/>
                <a:gd name="T17" fmla="*/ 4 w 4"/>
                <a:gd name="T18" fmla="*/ 22 h 22"/>
              </a:gdLst>
              <a:ahLst/>
              <a:cxnLst>
                <a:cxn ang="T10">
                  <a:pos x="T0" y="T1"/>
                </a:cxn>
                <a:cxn ang="T11">
                  <a:pos x="T2" y="T3"/>
                </a:cxn>
                <a:cxn ang="T12">
                  <a:pos x="T4" y="T5"/>
                </a:cxn>
                <a:cxn ang="T13">
                  <a:pos x="T6" y="T7"/>
                </a:cxn>
                <a:cxn ang="T14">
                  <a:pos x="T8" y="T9"/>
                </a:cxn>
              </a:cxnLst>
              <a:rect l="T15" t="T16" r="T17" b="T18"/>
              <a:pathLst>
                <a:path w="4" h="22">
                  <a:moveTo>
                    <a:pt x="4" y="7"/>
                  </a:moveTo>
                  <a:lnTo>
                    <a:pt x="3" y="0"/>
                  </a:lnTo>
                  <a:lnTo>
                    <a:pt x="0" y="7"/>
                  </a:lnTo>
                  <a:lnTo>
                    <a:pt x="0" y="22"/>
                  </a:lnTo>
                  <a:lnTo>
                    <a:pt x="4" y="7"/>
                  </a:lnTo>
                  <a:close/>
                </a:path>
              </a:pathLst>
            </a:custGeom>
            <a:grpFill/>
            <a:ln w="6350">
              <a:solidFill>
                <a:schemeClr val="tx2"/>
              </a:solidFill>
              <a:round/>
              <a:headEnd/>
              <a:tailEnd/>
            </a:ln>
          </p:spPr>
          <p:txBody>
            <a:bodyPr/>
            <a:lstStyle/>
            <a:p>
              <a:endParaRPr lang="en-US"/>
            </a:p>
          </p:txBody>
        </p:sp>
        <p:sp>
          <p:nvSpPr>
            <p:cNvPr id="361" name="Freeform 1666"/>
            <p:cNvSpPr>
              <a:spLocks/>
            </p:cNvSpPr>
            <p:nvPr/>
          </p:nvSpPr>
          <p:spPr bwMode="auto">
            <a:xfrm>
              <a:off x="7444707" y="3701956"/>
              <a:ext cx="3034" cy="4550"/>
            </a:xfrm>
            <a:custGeom>
              <a:avLst/>
              <a:gdLst>
                <a:gd name="T0" fmla="*/ 2147483647 w 10"/>
                <a:gd name="T1" fmla="*/ 0 h 9"/>
                <a:gd name="T2" fmla="*/ 0 w 10"/>
                <a:gd name="T3" fmla="*/ 2147483647 h 9"/>
                <a:gd name="T4" fmla="*/ 2147483647 w 10"/>
                <a:gd name="T5" fmla="*/ 2147483647 h 9"/>
                <a:gd name="T6" fmla="*/ 2147483647 w 10"/>
                <a:gd name="T7" fmla="*/ 2147483647 h 9"/>
                <a:gd name="T8" fmla="*/ 2147483647 w 10"/>
                <a:gd name="T9" fmla="*/ 2147483647 h 9"/>
                <a:gd name="T10" fmla="*/ 2147483647 w 10"/>
                <a:gd name="T11" fmla="*/ 0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5" y="0"/>
                  </a:moveTo>
                  <a:lnTo>
                    <a:pt x="0" y="3"/>
                  </a:lnTo>
                  <a:lnTo>
                    <a:pt x="2" y="8"/>
                  </a:lnTo>
                  <a:lnTo>
                    <a:pt x="10" y="9"/>
                  </a:lnTo>
                  <a:lnTo>
                    <a:pt x="10" y="3"/>
                  </a:lnTo>
                  <a:lnTo>
                    <a:pt x="5" y="0"/>
                  </a:lnTo>
                  <a:close/>
                </a:path>
              </a:pathLst>
            </a:custGeom>
            <a:grpFill/>
            <a:ln w="6350">
              <a:solidFill>
                <a:schemeClr val="tx2"/>
              </a:solidFill>
              <a:round/>
              <a:headEnd/>
              <a:tailEnd/>
            </a:ln>
          </p:spPr>
          <p:txBody>
            <a:bodyPr/>
            <a:lstStyle/>
            <a:p>
              <a:endParaRPr lang="en-US"/>
            </a:p>
          </p:txBody>
        </p:sp>
        <p:sp>
          <p:nvSpPr>
            <p:cNvPr id="362" name="Freeform 1667"/>
            <p:cNvSpPr>
              <a:spLocks/>
            </p:cNvSpPr>
            <p:nvPr/>
          </p:nvSpPr>
          <p:spPr bwMode="auto">
            <a:xfrm>
              <a:off x="7408296" y="3644306"/>
              <a:ext cx="3034" cy="4550"/>
            </a:xfrm>
            <a:custGeom>
              <a:avLst/>
              <a:gdLst>
                <a:gd name="T0" fmla="*/ 2147483647 w 7"/>
                <a:gd name="T1" fmla="*/ 0 h 10"/>
                <a:gd name="T2" fmla="*/ 0 w 7"/>
                <a:gd name="T3" fmla="*/ 2147483647 h 10"/>
                <a:gd name="T4" fmla="*/ 0 w 7"/>
                <a:gd name="T5" fmla="*/ 2147483647 h 10"/>
                <a:gd name="T6" fmla="*/ 2147483647 w 7"/>
                <a:gd name="T7" fmla="*/ 2147483647 h 10"/>
                <a:gd name="T8" fmla="*/ 2147483647 w 7"/>
                <a:gd name="T9" fmla="*/ 0 h 10"/>
                <a:gd name="T10" fmla="*/ 0 60000 65536"/>
                <a:gd name="T11" fmla="*/ 0 60000 65536"/>
                <a:gd name="T12" fmla="*/ 0 60000 65536"/>
                <a:gd name="T13" fmla="*/ 0 60000 65536"/>
                <a:gd name="T14" fmla="*/ 0 60000 65536"/>
                <a:gd name="T15" fmla="*/ 0 w 7"/>
                <a:gd name="T16" fmla="*/ 0 h 10"/>
                <a:gd name="T17" fmla="*/ 7 w 7"/>
                <a:gd name="T18" fmla="*/ 10 h 10"/>
              </a:gdLst>
              <a:ahLst/>
              <a:cxnLst>
                <a:cxn ang="T10">
                  <a:pos x="T0" y="T1"/>
                </a:cxn>
                <a:cxn ang="T11">
                  <a:pos x="T2" y="T3"/>
                </a:cxn>
                <a:cxn ang="T12">
                  <a:pos x="T4" y="T5"/>
                </a:cxn>
                <a:cxn ang="T13">
                  <a:pos x="T6" y="T7"/>
                </a:cxn>
                <a:cxn ang="T14">
                  <a:pos x="T8" y="T9"/>
                </a:cxn>
              </a:cxnLst>
              <a:rect l="T15" t="T16" r="T17" b="T18"/>
              <a:pathLst>
                <a:path w="7" h="10">
                  <a:moveTo>
                    <a:pt x="6" y="0"/>
                  </a:moveTo>
                  <a:lnTo>
                    <a:pt x="0" y="3"/>
                  </a:lnTo>
                  <a:lnTo>
                    <a:pt x="0" y="10"/>
                  </a:lnTo>
                  <a:lnTo>
                    <a:pt x="7" y="7"/>
                  </a:lnTo>
                  <a:lnTo>
                    <a:pt x="6" y="0"/>
                  </a:lnTo>
                  <a:close/>
                </a:path>
              </a:pathLst>
            </a:custGeom>
            <a:grpFill/>
            <a:ln w="6350">
              <a:solidFill>
                <a:schemeClr val="tx2"/>
              </a:solidFill>
              <a:round/>
              <a:headEnd/>
              <a:tailEnd/>
            </a:ln>
          </p:spPr>
          <p:txBody>
            <a:bodyPr/>
            <a:lstStyle/>
            <a:p>
              <a:endParaRPr lang="en-US"/>
            </a:p>
          </p:txBody>
        </p:sp>
        <p:sp>
          <p:nvSpPr>
            <p:cNvPr id="363" name="Freeform 1668"/>
            <p:cNvSpPr>
              <a:spLocks/>
            </p:cNvSpPr>
            <p:nvPr/>
          </p:nvSpPr>
          <p:spPr bwMode="auto">
            <a:xfrm>
              <a:off x="7417399" y="3636720"/>
              <a:ext cx="3034" cy="6069"/>
            </a:xfrm>
            <a:custGeom>
              <a:avLst/>
              <a:gdLst>
                <a:gd name="T0" fmla="*/ 2147483647 w 5"/>
                <a:gd name="T1" fmla="*/ 2147483647 h 13"/>
                <a:gd name="T2" fmla="*/ 2147483647 w 5"/>
                <a:gd name="T3" fmla="*/ 0 h 13"/>
                <a:gd name="T4" fmla="*/ 0 w 5"/>
                <a:gd name="T5" fmla="*/ 2147483647 h 13"/>
                <a:gd name="T6" fmla="*/ 2147483647 w 5"/>
                <a:gd name="T7" fmla="*/ 2147483647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4"/>
                  </a:moveTo>
                  <a:lnTo>
                    <a:pt x="1" y="0"/>
                  </a:lnTo>
                  <a:lnTo>
                    <a:pt x="0" y="13"/>
                  </a:lnTo>
                  <a:lnTo>
                    <a:pt x="5" y="4"/>
                  </a:lnTo>
                  <a:close/>
                </a:path>
              </a:pathLst>
            </a:custGeom>
            <a:grpFill/>
            <a:ln w="6350">
              <a:solidFill>
                <a:schemeClr val="tx2"/>
              </a:solidFill>
              <a:round/>
              <a:headEnd/>
              <a:tailEnd/>
            </a:ln>
          </p:spPr>
          <p:txBody>
            <a:bodyPr/>
            <a:lstStyle/>
            <a:p>
              <a:endParaRPr lang="en-US"/>
            </a:p>
          </p:txBody>
        </p:sp>
        <p:sp>
          <p:nvSpPr>
            <p:cNvPr id="364" name="Freeform 1669"/>
            <p:cNvSpPr>
              <a:spLocks/>
            </p:cNvSpPr>
            <p:nvPr/>
          </p:nvSpPr>
          <p:spPr bwMode="auto">
            <a:xfrm>
              <a:off x="7429535" y="3615481"/>
              <a:ext cx="3034" cy="3034"/>
            </a:xfrm>
            <a:custGeom>
              <a:avLst/>
              <a:gdLst>
                <a:gd name="T0" fmla="*/ 0 w 1588"/>
                <a:gd name="T1" fmla="*/ 0 h 7"/>
                <a:gd name="T2" fmla="*/ 0 w 1588"/>
                <a:gd name="T3" fmla="*/ 2147483647 h 7"/>
                <a:gd name="T4" fmla="*/ 0 w 1588"/>
                <a:gd name="T5" fmla="*/ 0 h 7"/>
                <a:gd name="T6" fmla="*/ 0 60000 65536"/>
                <a:gd name="T7" fmla="*/ 0 60000 65536"/>
                <a:gd name="T8" fmla="*/ 0 60000 65536"/>
                <a:gd name="T9" fmla="*/ 0 w 1588"/>
                <a:gd name="T10" fmla="*/ 0 h 7"/>
                <a:gd name="T11" fmla="*/ 1588 w 1588"/>
                <a:gd name="T12" fmla="*/ 7 h 7"/>
              </a:gdLst>
              <a:ahLst/>
              <a:cxnLst>
                <a:cxn ang="T6">
                  <a:pos x="T0" y="T1"/>
                </a:cxn>
                <a:cxn ang="T7">
                  <a:pos x="T2" y="T3"/>
                </a:cxn>
                <a:cxn ang="T8">
                  <a:pos x="T4" y="T5"/>
                </a:cxn>
              </a:cxnLst>
              <a:rect l="T9" t="T10" r="T11" b="T12"/>
              <a:pathLst>
                <a:path w="1588" h="7">
                  <a:moveTo>
                    <a:pt x="0" y="0"/>
                  </a:moveTo>
                  <a:lnTo>
                    <a:pt x="0" y="7"/>
                  </a:lnTo>
                  <a:lnTo>
                    <a:pt x="0" y="0"/>
                  </a:lnTo>
                  <a:close/>
                </a:path>
              </a:pathLst>
            </a:custGeom>
            <a:grpFill/>
            <a:ln w="6350">
              <a:solidFill>
                <a:schemeClr val="tx2"/>
              </a:solidFill>
              <a:round/>
              <a:headEnd/>
              <a:tailEnd/>
            </a:ln>
          </p:spPr>
          <p:txBody>
            <a:bodyPr/>
            <a:lstStyle/>
            <a:p>
              <a:endParaRPr lang="en-US"/>
            </a:p>
          </p:txBody>
        </p:sp>
        <p:sp>
          <p:nvSpPr>
            <p:cNvPr id="365" name="Freeform 1670"/>
            <p:cNvSpPr>
              <a:spLocks/>
            </p:cNvSpPr>
            <p:nvPr/>
          </p:nvSpPr>
          <p:spPr bwMode="auto">
            <a:xfrm>
              <a:off x="7420433" y="3603344"/>
              <a:ext cx="1516" cy="6069"/>
            </a:xfrm>
            <a:custGeom>
              <a:avLst/>
              <a:gdLst>
                <a:gd name="T0" fmla="*/ 2147483647 w 4"/>
                <a:gd name="T1" fmla="*/ 0 h 12"/>
                <a:gd name="T2" fmla="*/ 0 w 4"/>
                <a:gd name="T3" fmla="*/ 2147483647 h 12"/>
                <a:gd name="T4" fmla="*/ 2147483647 w 4"/>
                <a:gd name="T5" fmla="*/ 2147483647 h 12"/>
                <a:gd name="T6" fmla="*/ 2147483647 w 4"/>
                <a:gd name="T7" fmla="*/ 0 h 12"/>
                <a:gd name="T8" fmla="*/ 0 60000 65536"/>
                <a:gd name="T9" fmla="*/ 0 60000 65536"/>
                <a:gd name="T10" fmla="*/ 0 60000 65536"/>
                <a:gd name="T11" fmla="*/ 0 60000 65536"/>
                <a:gd name="T12" fmla="*/ 0 w 4"/>
                <a:gd name="T13" fmla="*/ 0 h 12"/>
                <a:gd name="T14" fmla="*/ 4 w 4"/>
                <a:gd name="T15" fmla="*/ 12 h 12"/>
              </a:gdLst>
              <a:ahLst/>
              <a:cxnLst>
                <a:cxn ang="T8">
                  <a:pos x="T0" y="T1"/>
                </a:cxn>
                <a:cxn ang="T9">
                  <a:pos x="T2" y="T3"/>
                </a:cxn>
                <a:cxn ang="T10">
                  <a:pos x="T4" y="T5"/>
                </a:cxn>
                <a:cxn ang="T11">
                  <a:pos x="T6" y="T7"/>
                </a:cxn>
              </a:cxnLst>
              <a:rect l="T12" t="T13" r="T14" b="T15"/>
              <a:pathLst>
                <a:path w="4" h="12">
                  <a:moveTo>
                    <a:pt x="3" y="0"/>
                  </a:moveTo>
                  <a:lnTo>
                    <a:pt x="0" y="12"/>
                  </a:lnTo>
                  <a:lnTo>
                    <a:pt x="4" y="9"/>
                  </a:lnTo>
                  <a:lnTo>
                    <a:pt x="3" y="0"/>
                  </a:lnTo>
                  <a:close/>
                </a:path>
              </a:pathLst>
            </a:custGeom>
            <a:grpFill/>
            <a:ln w="6350">
              <a:solidFill>
                <a:schemeClr val="tx2"/>
              </a:solidFill>
              <a:round/>
              <a:headEnd/>
              <a:tailEnd/>
            </a:ln>
          </p:spPr>
          <p:txBody>
            <a:bodyPr/>
            <a:lstStyle/>
            <a:p>
              <a:endParaRPr lang="en-US"/>
            </a:p>
          </p:txBody>
        </p:sp>
        <p:sp>
          <p:nvSpPr>
            <p:cNvPr id="366" name="Freeform 1671"/>
            <p:cNvSpPr>
              <a:spLocks/>
            </p:cNvSpPr>
            <p:nvPr/>
          </p:nvSpPr>
          <p:spPr bwMode="auto">
            <a:xfrm>
              <a:off x="7421949" y="3594241"/>
              <a:ext cx="3034" cy="9103"/>
            </a:xfrm>
            <a:custGeom>
              <a:avLst/>
              <a:gdLst>
                <a:gd name="T0" fmla="*/ 0 w 3"/>
                <a:gd name="T1" fmla="*/ 0 h 18"/>
                <a:gd name="T2" fmla="*/ 2147483647 w 3"/>
                <a:gd name="T3" fmla="*/ 2147483647 h 18"/>
                <a:gd name="T4" fmla="*/ 2147483647 w 3"/>
                <a:gd name="T5" fmla="*/ 2147483647 h 18"/>
                <a:gd name="T6" fmla="*/ 0 w 3"/>
                <a:gd name="T7" fmla="*/ 0 h 18"/>
                <a:gd name="T8" fmla="*/ 0 60000 65536"/>
                <a:gd name="T9" fmla="*/ 0 60000 65536"/>
                <a:gd name="T10" fmla="*/ 0 60000 65536"/>
                <a:gd name="T11" fmla="*/ 0 60000 65536"/>
                <a:gd name="T12" fmla="*/ 0 w 3"/>
                <a:gd name="T13" fmla="*/ 0 h 18"/>
                <a:gd name="T14" fmla="*/ 3 w 3"/>
                <a:gd name="T15" fmla="*/ 18 h 18"/>
              </a:gdLst>
              <a:ahLst/>
              <a:cxnLst>
                <a:cxn ang="T8">
                  <a:pos x="T0" y="T1"/>
                </a:cxn>
                <a:cxn ang="T9">
                  <a:pos x="T2" y="T3"/>
                </a:cxn>
                <a:cxn ang="T10">
                  <a:pos x="T4" y="T5"/>
                </a:cxn>
                <a:cxn ang="T11">
                  <a:pos x="T6" y="T7"/>
                </a:cxn>
              </a:cxnLst>
              <a:rect l="T12" t="T13" r="T14" b="T15"/>
              <a:pathLst>
                <a:path w="3" h="18">
                  <a:moveTo>
                    <a:pt x="0" y="0"/>
                  </a:moveTo>
                  <a:lnTo>
                    <a:pt x="3" y="4"/>
                  </a:lnTo>
                  <a:lnTo>
                    <a:pt x="1" y="18"/>
                  </a:lnTo>
                  <a:lnTo>
                    <a:pt x="0" y="0"/>
                  </a:lnTo>
                  <a:close/>
                </a:path>
              </a:pathLst>
            </a:custGeom>
            <a:grpFill/>
            <a:ln w="6350">
              <a:solidFill>
                <a:schemeClr val="tx2"/>
              </a:solidFill>
              <a:round/>
              <a:headEnd/>
              <a:tailEnd/>
            </a:ln>
          </p:spPr>
          <p:txBody>
            <a:bodyPr/>
            <a:lstStyle/>
            <a:p>
              <a:endParaRPr lang="en-US"/>
            </a:p>
          </p:txBody>
        </p:sp>
        <p:sp>
          <p:nvSpPr>
            <p:cNvPr id="367" name="Freeform 1672"/>
            <p:cNvSpPr>
              <a:spLocks/>
            </p:cNvSpPr>
            <p:nvPr/>
          </p:nvSpPr>
          <p:spPr bwMode="auto">
            <a:xfrm>
              <a:off x="7455326" y="3518385"/>
              <a:ext cx="3034" cy="3034"/>
            </a:xfrm>
            <a:custGeom>
              <a:avLst/>
              <a:gdLst>
                <a:gd name="T0" fmla="*/ 2147483647 w 4"/>
                <a:gd name="T1" fmla="*/ 0 h 5"/>
                <a:gd name="T2" fmla="*/ 0 w 4"/>
                <a:gd name="T3" fmla="*/ 2147483647 h 5"/>
                <a:gd name="T4" fmla="*/ 2147483647 w 4"/>
                <a:gd name="T5" fmla="*/ 2147483647 h 5"/>
                <a:gd name="T6" fmla="*/ 2147483647 w 4"/>
                <a:gd name="T7" fmla="*/ 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1" y="0"/>
                  </a:moveTo>
                  <a:lnTo>
                    <a:pt x="0" y="5"/>
                  </a:lnTo>
                  <a:lnTo>
                    <a:pt x="4" y="2"/>
                  </a:lnTo>
                  <a:lnTo>
                    <a:pt x="1" y="0"/>
                  </a:lnTo>
                  <a:close/>
                </a:path>
              </a:pathLst>
            </a:custGeom>
            <a:grpFill/>
            <a:ln w="6350">
              <a:solidFill>
                <a:schemeClr val="tx2"/>
              </a:solidFill>
              <a:round/>
              <a:headEnd/>
              <a:tailEnd/>
            </a:ln>
          </p:spPr>
          <p:txBody>
            <a:bodyPr/>
            <a:lstStyle/>
            <a:p>
              <a:endParaRPr lang="en-US"/>
            </a:p>
          </p:txBody>
        </p:sp>
        <p:sp>
          <p:nvSpPr>
            <p:cNvPr id="368" name="Freeform 1673"/>
            <p:cNvSpPr>
              <a:spLocks/>
            </p:cNvSpPr>
            <p:nvPr/>
          </p:nvSpPr>
          <p:spPr bwMode="auto">
            <a:xfrm>
              <a:off x="7355197" y="3624583"/>
              <a:ext cx="16689" cy="9103"/>
            </a:xfrm>
            <a:custGeom>
              <a:avLst/>
              <a:gdLst>
                <a:gd name="T0" fmla="*/ 2147483647 w 29"/>
                <a:gd name="T1" fmla="*/ 2147483647 h 16"/>
                <a:gd name="T2" fmla="*/ 0 w 29"/>
                <a:gd name="T3" fmla="*/ 2147483647 h 16"/>
                <a:gd name="T4" fmla="*/ 2147483647 w 29"/>
                <a:gd name="T5" fmla="*/ 2147483647 h 16"/>
                <a:gd name="T6" fmla="*/ 2147483647 w 29"/>
                <a:gd name="T7" fmla="*/ 2147483647 h 16"/>
                <a:gd name="T8" fmla="*/ 2147483647 w 29"/>
                <a:gd name="T9" fmla="*/ 2147483647 h 16"/>
                <a:gd name="T10" fmla="*/ 2147483647 w 29"/>
                <a:gd name="T11" fmla="*/ 0 h 16"/>
                <a:gd name="T12" fmla="*/ 2147483647 w 29"/>
                <a:gd name="T13" fmla="*/ 2147483647 h 16"/>
                <a:gd name="T14" fmla="*/ 0 60000 65536"/>
                <a:gd name="T15" fmla="*/ 0 60000 65536"/>
                <a:gd name="T16" fmla="*/ 0 60000 65536"/>
                <a:gd name="T17" fmla="*/ 0 60000 65536"/>
                <a:gd name="T18" fmla="*/ 0 60000 65536"/>
                <a:gd name="T19" fmla="*/ 0 60000 65536"/>
                <a:gd name="T20" fmla="*/ 0 60000 65536"/>
                <a:gd name="T21" fmla="*/ 0 w 29"/>
                <a:gd name="T22" fmla="*/ 0 h 16"/>
                <a:gd name="T23" fmla="*/ 29 w 29"/>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6">
                  <a:moveTo>
                    <a:pt x="3" y="5"/>
                  </a:moveTo>
                  <a:lnTo>
                    <a:pt x="0" y="15"/>
                  </a:lnTo>
                  <a:lnTo>
                    <a:pt x="7" y="16"/>
                  </a:lnTo>
                  <a:lnTo>
                    <a:pt x="19" y="14"/>
                  </a:lnTo>
                  <a:lnTo>
                    <a:pt x="29" y="6"/>
                  </a:lnTo>
                  <a:lnTo>
                    <a:pt x="28" y="0"/>
                  </a:lnTo>
                  <a:lnTo>
                    <a:pt x="3" y="5"/>
                  </a:lnTo>
                  <a:close/>
                </a:path>
              </a:pathLst>
            </a:custGeom>
            <a:grpFill/>
            <a:ln w="6350">
              <a:solidFill>
                <a:schemeClr val="tx2"/>
              </a:solidFill>
              <a:round/>
              <a:headEnd/>
              <a:tailEnd/>
            </a:ln>
          </p:spPr>
          <p:txBody>
            <a:bodyPr/>
            <a:lstStyle/>
            <a:p>
              <a:endParaRPr lang="en-US"/>
            </a:p>
          </p:txBody>
        </p:sp>
        <p:sp>
          <p:nvSpPr>
            <p:cNvPr id="369" name="Freeform 1674"/>
            <p:cNvSpPr>
              <a:spLocks/>
            </p:cNvSpPr>
            <p:nvPr/>
          </p:nvSpPr>
          <p:spPr bwMode="auto">
            <a:xfrm>
              <a:off x="7223209" y="3826360"/>
              <a:ext cx="39445" cy="75856"/>
            </a:xfrm>
            <a:custGeom>
              <a:avLst/>
              <a:gdLst>
                <a:gd name="T0" fmla="*/ 2147483647 w 76"/>
                <a:gd name="T1" fmla="*/ 0 h 155"/>
                <a:gd name="T2" fmla="*/ 2147483647 w 76"/>
                <a:gd name="T3" fmla="*/ 2147483647 h 155"/>
                <a:gd name="T4" fmla="*/ 2147483647 w 76"/>
                <a:gd name="T5" fmla="*/ 2147483647 h 155"/>
                <a:gd name="T6" fmla="*/ 2147483647 w 76"/>
                <a:gd name="T7" fmla="*/ 2147483647 h 155"/>
                <a:gd name="T8" fmla="*/ 2147483647 w 76"/>
                <a:gd name="T9" fmla="*/ 2147483647 h 155"/>
                <a:gd name="T10" fmla="*/ 2147483647 w 76"/>
                <a:gd name="T11" fmla="*/ 2147483647 h 155"/>
                <a:gd name="T12" fmla="*/ 2147483647 w 76"/>
                <a:gd name="T13" fmla="*/ 2147483647 h 155"/>
                <a:gd name="T14" fmla="*/ 2147483647 w 76"/>
                <a:gd name="T15" fmla="*/ 2147483647 h 155"/>
                <a:gd name="T16" fmla="*/ 0 w 76"/>
                <a:gd name="T17" fmla="*/ 2147483647 h 155"/>
                <a:gd name="T18" fmla="*/ 2147483647 w 76"/>
                <a:gd name="T19" fmla="*/ 2147483647 h 155"/>
                <a:gd name="T20" fmla="*/ 2147483647 w 76"/>
                <a:gd name="T21" fmla="*/ 2147483647 h 155"/>
                <a:gd name="T22" fmla="*/ 2147483647 w 76"/>
                <a:gd name="T23" fmla="*/ 0 h 1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155"/>
                <a:gd name="T38" fmla="*/ 76 w 76"/>
                <a:gd name="T39" fmla="*/ 155 h 1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155">
                  <a:moveTo>
                    <a:pt x="58" y="0"/>
                  </a:moveTo>
                  <a:lnTo>
                    <a:pt x="76" y="11"/>
                  </a:lnTo>
                  <a:lnTo>
                    <a:pt x="74" y="31"/>
                  </a:lnTo>
                  <a:lnTo>
                    <a:pt x="58" y="89"/>
                  </a:lnTo>
                  <a:lnTo>
                    <a:pt x="36" y="132"/>
                  </a:lnTo>
                  <a:lnTo>
                    <a:pt x="31" y="155"/>
                  </a:lnTo>
                  <a:lnTo>
                    <a:pt x="20" y="133"/>
                  </a:lnTo>
                  <a:lnTo>
                    <a:pt x="5" y="115"/>
                  </a:lnTo>
                  <a:lnTo>
                    <a:pt x="0" y="79"/>
                  </a:lnTo>
                  <a:lnTo>
                    <a:pt x="7" y="59"/>
                  </a:lnTo>
                  <a:lnTo>
                    <a:pt x="37" y="13"/>
                  </a:lnTo>
                  <a:lnTo>
                    <a:pt x="58" y="0"/>
                  </a:lnTo>
                  <a:close/>
                </a:path>
              </a:pathLst>
            </a:custGeom>
            <a:grpFill/>
            <a:ln w="6350">
              <a:solidFill>
                <a:schemeClr val="tx2"/>
              </a:solidFill>
              <a:round/>
              <a:headEnd/>
              <a:tailEnd/>
            </a:ln>
          </p:spPr>
          <p:txBody>
            <a:bodyPr/>
            <a:lstStyle/>
            <a:p>
              <a:endParaRPr lang="en-US"/>
            </a:p>
          </p:txBody>
        </p:sp>
        <p:sp>
          <p:nvSpPr>
            <p:cNvPr id="370" name="Freeform 1675"/>
            <p:cNvSpPr>
              <a:spLocks/>
            </p:cNvSpPr>
            <p:nvPr/>
          </p:nvSpPr>
          <p:spPr bwMode="auto">
            <a:xfrm>
              <a:off x="7302098" y="3844564"/>
              <a:ext cx="0" cy="3034"/>
            </a:xfrm>
            <a:custGeom>
              <a:avLst/>
              <a:gdLst>
                <a:gd name="T0" fmla="*/ 0 w 5"/>
                <a:gd name="T1" fmla="*/ 0 h 7"/>
                <a:gd name="T2" fmla="*/ 0 w 5"/>
                <a:gd name="T3" fmla="*/ 2147483647 h 7"/>
                <a:gd name="T4" fmla="*/ 0 w 5"/>
                <a:gd name="T5" fmla="*/ 2147483647 h 7"/>
                <a:gd name="T6" fmla="*/ 0 w 5"/>
                <a:gd name="T7" fmla="*/ 0 h 7"/>
                <a:gd name="T8" fmla="*/ 0 60000 65536"/>
                <a:gd name="T9" fmla="*/ 0 60000 65536"/>
                <a:gd name="T10" fmla="*/ 0 60000 65536"/>
                <a:gd name="T11" fmla="*/ 0 60000 65536"/>
                <a:gd name="T12" fmla="*/ 0 w 5"/>
                <a:gd name="T13" fmla="*/ 0 h 7"/>
                <a:gd name="T14" fmla="*/ 0 w 5"/>
                <a:gd name="T15" fmla="*/ 7 h 7"/>
              </a:gdLst>
              <a:ahLst/>
              <a:cxnLst>
                <a:cxn ang="T8">
                  <a:pos x="T0" y="T1"/>
                </a:cxn>
                <a:cxn ang="T9">
                  <a:pos x="T2" y="T3"/>
                </a:cxn>
                <a:cxn ang="T10">
                  <a:pos x="T4" y="T5"/>
                </a:cxn>
                <a:cxn ang="T11">
                  <a:pos x="T6" y="T7"/>
                </a:cxn>
              </a:cxnLst>
              <a:rect l="T12" t="T13" r="T14" b="T15"/>
              <a:pathLst>
                <a:path w="5" h="7">
                  <a:moveTo>
                    <a:pt x="0" y="0"/>
                  </a:moveTo>
                  <a:lnTo>
                    <a:pt x="5" y="5"/>
                  </a:lnTo>
                  <a:lnTo>
                    <a:pt x="0" y="7"/>
                  </a:lnTo>
                  <a:lnTo>
                    <a:pt x="0" y="0"/>
                  </a:lnTo>
                  <a:close/>
                </a:path>
              </a:pathLst>
            </a:custGeom>
            <a:grpFill/>
            <a:ln w="6350">
              <a:solidFill>
                <a:schemeClr val="tx2"/>
              </a:solidFill>
              <a:round/>
              <a:headEnd/>
              <a:tailEnd/>
            </a:ln>
          </p:spPr>
          <p:txBody>
            <a:bodyPr/>
            <a:lstStyle/>
            <a:p>
              <a:endParaRPr lang="en-US"/>
            </a:p>
          </p:txBody>
        </p:sp>
        <p:sp>
          <p:nvSpPr>
            <p:cNvPr id="371" name="Freeform 1676"/>
            <p:cNvSpPr>
              <a:spLocks/>
            </p:cNvSpPr>
            <p:nvPr/>
          </p:nvSpPr>
          <p:spPr bwMode="auto">
            <a:xfrm>
              <a:off x="7308166" y="3843047"/>
              <a:ext cx="3034" cy="3034"/>
            </a:xfrm>
            <a:custGeom>
              <a:avLst/>
              <a:gdLst>
                <a:gd name="T0" fmla="*/ 0 w 6"/>
                <a:gd name="T1" fmla="*/ 2147483647 h 8"/>
                <a:gd name="T2" fmla="*/ 2147483647 w 6"/>
                <a:gd name="T3" fmla="*/ 0 h 8"/>
                <a:gd name="T4" fmla="*/ 2147483647 w 6"/>
                <a:gd name="T5" fmla="*/ 2147483647 h 8"/>
                <a:gd name="T6" fmla="*/ 2147483647 w 6"/>
                <a:gd name="T7" fmla="*/ 2147483647 h 8"/>
                <a:gd name="T8" fmla="*/ 0 w 6"/>
                <a:gd name="T9" fmla="*/ 2147483647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5"/>
                  </a:moveTo>
                  <a:lnTo>
                    <a:pt x="6" y="0"/>
                  </a:lnTo>
                  <a:lnTo>
                    <a:pt x="5" y="6"/>
                  </a:lnTo>
                  <a:lnTo>
                    <a:pt x="1" y="8"/>
                  </a:lnTo>
                  <a:lnTo>
                    <a:pt x="0" y="5"/>
                  </a:lnTo>
                  <a:close/>
                </a:path>
              </a:pathLst>
            </a:custGeom>
            <a:grpFill/>
            <a:ln w="6350">
              <a:solidFill>
                <a:schemeClr val="tx2"/>
              </a:solidFill>
              <a:round/>
              <a:headEnd/>
              <a:tailEnd/>
            </a:ln>
          </p:spPr>
          <p:txBody>
            <a:bodyPr/>
            <a:lstStyle/>
            <a:p>
              <a:endParaRPr lang="en-US"/>
            </a:p>
          </p:txBody>
        </p:sp>
        <p:sp>
          <p:nvSpPr>
            <p:cNvPr id="372" name="Freeform 1677"/>
            <p:cNvSpPr>
              <a:spLocks/>
            </p:cNvSpPr>
            <p:nvPr/>
          </p:nvSpPr>
          <p:spPr bwMode="auto">
            <a:xfrm>
              <a:off x="7384023" y="3788431"/>
              <a:ext cx="15172" cy="16689"/>
            </a:xfrm>
            <a:custGeom>
              <a:avLst/>
              <a:gdLst>
                <a:gd name="T0" fmla="*/ 2147483647 w 22"/>
                <a:gd name="T1" fmla="*/ 2147483647 h 34"/>
                <a:gd name="T2" fmla="*/ 2147483647 w 22"/>
                <a:gd name="T3" fmla="*/ 2147483647 h 34"/>
                <a:gd name="T4" fmla="*/ 2147483647 w 22"/>
                <a:gd name="T5" fmla="*/ 0 h 34"/>
                <a:gd name="T6" fmla="*/ 2147483647 w 22"/>
                <a:gd name="T7" fmla="*/ 2147483647 h 34"/>
                <a:gd name="T8" fmla="*/ 2147483647 w 22"/>
                <a:gd name="T9" fmla="*/ 2147483647 h 34"/>
                <a:gd name="T10" fmla="*/ 2147483647 w 22"/>
                <a:gd name="T11" fmla="*/ 2147483647 h 34"/>
                <a:gd name="T12" fmla="*/ 0 w 22"/>
                <a:gd name="T13" fmla="*/ 2147483647 h 34"/>
                <a:gd name="T14" fmla="*/ 2147483647 w 22"/>
                <a:gd name="T15" fmla="*/ 2147483647 h 34"/>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34"/>
                <a:gd name="T26" fmla="*/ 22 w 2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34">
                  <a:moveTo>
                    <a:pt x="5" y="16"/>
                  </a:moveTo>
                  <a:lnTo>
                    <a:pt x="9" y="7"/>
                  </a:lnTo>
                  <a:lnTo>
                    <a:pt x="22" y="0"/>
                  </a:lnTo>
                  <a:lnTo>
                    <a:pt x="20" y="13"/>
                  </a:lnTo>
                  <a:lnTo>
                    <a:pt x="8" y="22"/>
                  </a:lnTo>
                  <a:lnTo>
                    <a:pt x="3" y="34"/>
                  </a:lnTo>
                  <a:lnTo>
                    <a:pt x="0" y="28"/>
                  </a:lnTo>
                  <a:lnTo>
                    <a:pt x="5" y="16"/>
                  </a:lnTo>
                  <a:close/>
                </a:path>
              </a:pathLst>
            </a:custGeom>
            <a:grpFill/>
            <a:ln w="6350">
              <a:solidFill>
                <a:schemeClr val="tx2"/>
              </a:solidFill>
              <a:round/>
              <a:headEnd/>
              <a:tailEnd/>
            </a:ln>
          </p:spPr>
          <p:txBody>
            <a:bodyPr/>
            <a:lstStyle/>
            <a:p>
              <a:endParaRPr lang="en-US"/>
            </a:p>
          </p:txBody>
        </p:sp>
        <p:sp>
          <p:nvSpPr>
            <p:cNvPr id="373" name="Freeform 1678"/>
            <p:cNvSpPr>
              <a:spLocks/>
            </p:cNvSpPr>
            <p:nvPr/>
          </p:nvSpPr>
          <p:spPr bwMode="auto">
            <a:xfrm>
              <a:off x="7411330" y="3762640"/>
              <a:ext cx="3034" cy="3034"/>
            </a:xfrm>
            <a:custGeom>
              <a:avLst/>
              <a:gdLst>
                <a:gd name="T0" fmla="*/ 2147483647 w 2"/>
                <a:gd name="T1" fmla="*/ 2147483647 h 6"/>
                <a:gd name="T2" fmla="*/ 0 w 2"/>
                <a:gd name="T3" fmla="*/ 0 h 6"/>
                <a:gd name="T4" fmla="*/ 2147483647 w 2"/>
                <a:gd name="T5" fmla="*/ 2147483647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2" y="6"/>
                  </a:moveTo>
                  <a:lnTo>
                    <a:pt x="0" y="0"/>
                  </a:lnTo>
                  <a:lnTo>
                    <a:pt x="2" y="6"/>
                  </a:lnTo>
                  <a:close/>
                </a:path>
              </a:pathLst>
            </a:custGeom>
            <a:grpFill/>
            <a:ln w="6350">
              <a:solidFill>
                <a:schemeClr val="tx2"/>
              </a:solidFill>
              <a:round/>
              <a:headEnd/>
              <a:tailEnd/>
            </a:ln>
          </p:spPr>
          <p:txBody>
            <a:bodyPr/>
            <a:lstStyle/>
            <a:p>
              <a:endParaRPr lang="en-US"/>
            </a:p>
          </p:txBody>
        </p:sp>
        <p:sp>
          <p:nvSpPr>
            <p:cNvPr id="374" name="Freeform 1679"/>
            <p:cNvSpPr>
              <a:spLocks/>
            </p:cNvSpPr>
            <p:nvPr/>
          </p:nvSpPr>
          <p:spPr bwMode="auto">
            <a:xfrm>
              <a:off x="7420433" y="3750504"/>
              <a:ext cx="7585" cy="4550"/>
            </a:xfrm>
            <a:custGeom>
              <a:avLst/>
              <a:gdLst>
                <a:gd name="T0" fmla="*/ 2147483647 w 15"/>
                <a:gd name="T1" fmla="*/ 2147483647 h 14"/>
                <a:gd name="T2" fmla="*/ 2147483647 w 15"/>
                <a:gd name="T3" fmla="*/ 0 h 14"/>
                <a:gd name="T4" fmla="*/ 2147483647 w 15"/>
                <a:gd name="T5" fmla="*/ 2147483647 h 14"/>
                <a:gd name="T6" fmla="*/ 0 w 15"/>
                <a:gd name="T7" fmla="*/ 2147483647 h 14"/>
                <a:gd name="T8" fmla="*/ 2147483647 w 15"/>
                <a:gd name="T9" fmla="*/ 2147483647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5" y="3"/>
                  </a:moveTo>
                  <a:lnTo>
                    <a:pt x="15" y="0"/>
                  </a:lnTo>
                  <a:lnTo>
                    <a:pt x="3" y="14"/>
                  </a:lnTo>
                  <a:lnTo>
                    <a:pt x="0" y="7"/>
                  </a:lnTo>
                  <a:lnTo>
                    <a:pt x="5" y="3"/>
                  </a:lnTo>
                  <a:close/>
                </a:path>
              </a:pathLst>
            </a:custGeom>
            <a:grpFill/>
            <a:ln w="6350">
              <a:solidFill>
                <a:schemeClr val="tx2"/>
              </a:solidFill>
              <a:round/>
              <a:headEnd/>
              <a:tailEnd/>
            </a:ln>
          </p:spPr>
          <p:txBody>
            <a:bodyPr/>
            <a:lstStyle/>
            <a:p>
              <a:endParaRPr lang="en-US"/>
            </a:p>
          </p:txBody>
        </p:sp>
        <p:sp>
          <p:nvSpPr>
            <p:cNvPr id="375" name="Freeform 1680"/>
            <p:cNvSpPr>
              <a:spLocks/>
            </p:cNvSpPr>
            <p:nvPr/>
          </p:nvSpPr>
          <p:spPr bwMode="auto">
            <a:xfrm>
              <a:off x="7335475" y="3836979"/>
              <a:ext cx="3034" cy="1517"/>
            </a:xfrm>
            <a:custGeom>
              <a:avLst/>
              <a:gdLst>
                <a:gd name="T0" fmla="*/ 0 w 6"/>
                <a:gd name="T1" fmla="*/ 0 h 7"/>
                <a:gd name="T2" fmla="*/ 2147483647 w 6"/>
                <a:gd name="T3" fmla="*/ 2147483647 h 7"/>
                <a:gd name="T4" fmla="*/ 2147483647 w 6"/>
                <a:gd name="T5" fmla="*/ 2147483647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5"/>
                  </a:lnTo>
                  <a:lnTo>
                    <a:pt x="2" y="7"/>
                  </a:lnTo>
                  <a:lnTo>
                    <a:pt x="0" y="0"/>
                  </a:lnTo>
                  <a:close/>
                </a:path>
              </a:pathLst>
            </a:custGeom>
            <a:grpFill/>
            <a:ln w="6350">
              <a:solidFill>
                <a:schemeClr val="tx2"/>
              </a:solidFill>
              <a:round/>
              <a:headEnd/>
              <a:tailEnd/>
            </a:ln>
          </p:spPr>
          <p:txBody>
            <a:bodyPr/>
            <a:lstStyle/>
            <a:p>
              <a:endParaRPr lang="en-US"/>
            </a:p>
          </p:txBody>
        </p:sp>
        <p:sp>
          <p:nvSpPr>
            <p:cNvPr id="376" name="Freeform 1681"/>
            <p:cNvSpPr>
              <a:spLocks/>
            </p:cNvSpPr>
            <p:nvPr/>
          </p:nvSpPr>
          <p:spPr bwMode="auto">
            <a:xfrm>
              <a:off x="8339804" y="3046563"/>
              <a:ext cx="21239" cy="9103"/>
            </a:xfrm>
            <a:custGeom>
              <a:avLst/>
              <a:gdLst>
                <a:gd name="T0" fmla="*/ 0 w 36"/>
                <a:gd name="T1" fmla="*/ 2147483647 h 17"/>
                <a:gd name="T2" fmla="*/ 2147483647 w 36"/>
                <a:gd name="T3" fmla="*/ 0 h 17"/>
                <a:gd name="T4" fmla="*/ 2147483647 w 36"/>
                <a:gd name="T5" fmla="*/ 2147483647 h 17"/>
                <a:gd name="T6" fmla="*/ 2147483647 w 36"/>
                <a:gd name="T7" fmla="*/ 2147483647 h 17"/>
                <a:gd name="T8" fmla="*/ 2147483647 w 36"/>
                <a:gd name="T9" fmla="*/ 2147483647 h 17"/>
                <a:gd name="T10" fmla="*/ 0 w 36"/>
                <a:gd name="T11" fmla="*/ 2147483647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0" y="5"/>
                  </a:moveTo>
                  <a:lnTo>
                    <a:pt x="20" y="0"/>
                  </a:lnTo>
                  <a:lnTo>
                    <a:pt x="36" y="9"/>
                  </a:lnTo>
                  <a:lnTo>
                    <a:pt x="20" y="17"/>
                  </a:lnTo>
                  <a:lnTo>
                    <a:pt x="15" y="7"/>
                  </a:lnTo>
                  <a:lnTo>
                    <a:pt x="0" y="5"/>
                  </a:lnTo>
                  <a:close/>
                </a:path>
              </a:pathLst>
            </a:custGeom>
            <a:grpFill/>
            <a:ln w="6350">
              <a:solidFill>
                <a:schemeClr val="tx2"/>
              </a:solidFill>
              <a:round/>
              <a:headEnd/>
              <a:tailEnd/>
            </a:ln>
          </p:spPr>
          <p:txBody>
            <a:bodyPr/>
            <a:lstStyle/>
            <a:p>
              <a:endParaRPr lang="en-US"/>
            </a:p>
          </p:txBody>
        </p:sp>
        <p:sp>
          <p:nvSpPr>
            <p:cNvPr id="377" name="Freeform 1682"/>
            <p:cNvSpPr>
              <a:spLocks/>
            </p:cNvSpPr>
            <p:nvPr/>
          </p:nvSpPr>
          <p:spPr bwMode="auto">
            <a:xfrm>
              <a:off x="8474826" y="3092077"/>
              <a:ext cx="16689" cy="10619"/>
            </a:xfrm>
            <a:custGeom>
              <a:avLst/>
              <a:gdLst>
                <a:gd name="T0" fmla="*/ 0 w 33"/>
                <a:gd name="T1" fmla="*/ 0 h 19"/>
                <a:gd name="T2" fmla="*/ 2147483647 w 33"/>
                <a:gd name="T3" fmla="*/ 2147483647 h 19"/>
                <a:gd name="T4" fmla="*/ 2147483647 w 33"/>
                <a:gd name="T5" fmla="*/ 2147483647 h 19"/>
                <a:gd name="T6" fmla="*/ 0 w 33"/>
                <a:gd name="T7" fmla="*/ 0 h 19"/>
                <a:gd name="T8" fmla="*/ 0 60000 65536"/>
                <a:gd name="T9" fmla="*/ 0 60000 65536"/>
                <a:gd name="T10" fmla="*/ 0 60000 65536"/>
                <a:gd name="T11" fmla="*/ 0 60000 65536"/>
                <a:gd name="T12" fmla="*/ 0 w 33"/>
                <a:gd name="T13" fmla="*/ 0 h 19"/>
                <a:gd name="T14" fmla="*/ 33 w 33"/>
                <a:gd name="T15" fmla="*/ 19 h 19"/>
              </a:gdLst>
              <a:ahLst/>
              <a:cxnLst>
                <a:cxn ang="T8">
                  <a:pos x="T0" y="T1"/>
                </a:cxn>
                <a:cxn ang="T9">
                  <a:pos x="T2" y="T3"/>
                </a:cxn>
                <a:cxn ang="T10">
                  <a:pos x="T4" y="T5"/>
                </a:cxn>
                <a:cxn ang="T11">
                  <a:pos x="T6" y="T7"/>
                </a:cxn>
              </a:cxnLst>
              <a:rect l="T12" t="T13" r="T14" b="T15"/>
              <a:pathLst>
                <a:path w="33" h="19">
                  <a:moveTo>
                    <a:pt x="0" y="0"/>
                  </a:moveTo>
                  <a:lnTo>
                    <a:pt x="33" y="19"/>
                  </a:lnTo>
                  <a:lnTo>
                    <a:pt x="23" y="18"/>
                  </a:lnTo>
                  <a:lnTo>
                    <a:pt x="0" y="0"/>
                  </a:lnTo>
                  <a:close/>
                </a:path>
              </a:pathLst>
            </a:custGeom>
            <a:grpFill/>
            <a:ln w="6350">
              <a:solidFill>
                <a:schemeClr val="tx2"/>
              </a:solidFill>
              <a:round/>
              <a:headEnd/>
              <a:tailEnd/>
            </a:ln>
          </p:spPr>
          <p:txBody>
            <a:bodyPr/>
            <a:lstStyle/>
            <a:p>
              <a:endParaRPr lang="en-US"/>
            </a:p>
          </p:txBody>
        </p:sp>
        <p:sp>
          <p:nvSpPr>
            <p:cNvPr id="378" name="Freeform 1683"/>
            <p:cNvSpPr>
              <a:spLocks/>
            </p:cNvSpPr>
            <p:nvPr/>
          </p:nvSpPr>
          <p:spPr bwMode="auto">
            <a:xfrm>
              <a:off x="6692218" y="1796462"/>
              <a:ext cx="27308" cy="13653"/>
            </a:xfrm>
            <a:custGeom>
              <a:avLst/>
              <a:gdLst>
                <a:gd name="T0" fmla="*/ 2147483647 w 57"/>
                <a:gd name="T1" fmla="*/ 2147483647 h 26"/>
                <a:gd name="T2" fmla="*/ 0 w 57"/>
                <a:gd name="T3" fmla="*/ 2147483647 h 26"/>
                <a:gd name="T4" fmla="*/ 2147483647 w 57"/>
                <a:gd name="T5" fmla="*/ 0 h 26"/>
                <a:gd name="T6" fmla="*/ 2147483647 w 57"/>
                <a:gd name="T7" fmla="*/ 2147483647 h 26"/>
                <a:gd name="T8" fmla="*/ 2147483647 w 57"/>
                <a:gd name="T9" fmla="*/ 2147483647 h 26"/>
                <a:gd name="T10" fmla="*/ 2147483647 w 57"/>
                <a:gd name="T11" fmla="*/ 2147483647 h 26"/>
                <a:gd name="T12" fmla="*/ 0 60000 65536"/>
                <a:gd name="T13" fmla="*/ 0 60000 65536"/>
                <a:gd name="T14" fmla="*/ 0 60000 65536"/>
                <a:gd name="T15" fmla="*/ 0 60000 65536"/>
                <a:gd name="T16" fmla="*/ 0 60000 65536"/>
                <a:gd name="T17" fmla="*/ 0 60000 65536"/>
                <a:gd name="T18" fmla="*/ 0 w 57"/>
                <a:gd name="T19" fmla="*/ 0 h 26"/>
                <a:gd name="T20" fmla="*/ 57 w 5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7" h="26">
                  <a:moveTo>
                    <a:pt x="45" y="26"/>
                  </a:moveTo>
                  <a:lnTo>
                    <a:pt x="0" y="4"/>
                  </a:lnTo>
                  <a:lnTo>
                    <a:pt x="50" y="0"/>
                  </a:lnTo>
                  <a:lnTo>
                    <a:pt x="57" y="9"/>
                  </a:lnTo>
                  <a:lnTo>
                    <a:pt x="55" y="21"/>
                  </a:lnTo>
                  <a:lnTo>
                    <a:pt x="45" y="26"/>
                  </a:lnTo>
                  <a:close/>
                </a:path>
              </a:pathLst>
            </a:custGeom>
            <a:grpFill/>
            <a:ln w="6350">
              <a:solidFill>
                <a:schemeClr val="tx2"/>
              </a:solidFill>
              <a:round/>
              <a:headEnd/>
              <a:tailEnd/>
            </a:ln>
          </p:spPr>
          <p:txBody>
            <a:bodyPr/>
            <a:lstStyle/>
            <a:p>
              <a:endParaRPr lang="en-US"/>
            </a:p>
          </p:txBody>
        </p:sp>
        <p:sp>
          <p:nvSpPr>
            <p:cNvPr id="379" name="Freeform 1684"/>
            <p:cNvSpPr>
              <a:spLocks/>
            </p:cNvSpPr>
            <p:nvPr/>
          </p:nvSpPr>
          <p:spPr bwMode="auto">
            <a:xfrm>
              <a:off x="6689185" y="1716055"/>
              <a:ext cx="27308" cy="25792"/>
            </a:xfrm>
            <a:custGeom>
              <a:avLst/>
              <a:gdLst>
                <a:gd name="T0" fmla="*/ 2147483647 w 53"/>
                <a:gd name="T1" fmla="*/ 2147483647 h 53"/>
                <a:gd name="T2" fmla="*/ 2147483647 w 53"/>
                <a:gd name="T3" fmla="*/ 2147483647 h 53"/>
                <a:gd name="T4" fmla="*/ 2147483647 w 53"/>
                <a:gd name="T5" fmla="*/ 2147483647 h 53"/>
                <a:gd name="T6" fmla="*/ 0 w 53"/>
                <a:gd name="T7" fmla="*/ 2147483647 h 53"/>
                <a:gd name="T8" fmla="*/ 2147483647 w 53"/>
                <a:gd name="T9" fmla="*/ 0 h 53"/>
                <a:gd name="T10" fmla="*/ 2147483647 w 53"/>
                <a:gd name="T11" fmla="*/ 2147483647 h 53"/>
                <a:gd name="T12" fmla="*/ 2147483647 w 53"/>
                <a:gd name="T13" fmla="*/ 2147483647 h 53"/>
                <a:gd name="T14" fmla="*/ 0 60000 65536"/>
                <a:gd name="T15" fmla="*/ 0 60000 65536"/>
                <a:gd name="T16" fmla="*/ 0 60000 65536"/>
                <a:gd name="T17" fmla="*/ 0 60000 65536"/>
                <a:gd name="T18" fmla="*/ 0 60000 65536"/>
                <a:gd name="T19" fmla="*/ 0 60000 65536"/>
                <a:gd name="T20" fmla="*/ 0 60000 65536"/>
                <a:gd name="T21" fmla="*/ 0 w 53"/>
                <a:gd name="T22" fmla="*/ 0 h 53"/>
                <a:gd name="T23" fmla="*/ 53 w 53"/>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3">
                  <a:moveTo>
                    <a:pt x="49" y="27"/>
                  </a:moveTo>
                  <a:lnTo>
                    <a:pt x="24" y="53"/>
                  </a:lnTo>
                  <a:lnTo>
                    <a:pt x="29" y="36"/>
                  </a:lnTo>
                  <a:lnTo>
                    <a:pt x="0" y="43"/>
                  </a:lnTo>
                  <a:lnTo>
                    <a:pt x="48" y="0"/>
                  </a:lnTo>
                  <a:lnTo>
                    <a:pt x="53" y="10"/>
                  </a:lnTo>
                  <a:lnTo>
                    <a:pt x="49" y="27"/>
                  </a:lnTo>
                  <a:close/>
                </a:path>
              </a:pathLst>
            </a:custGeom>
            <a:grpFill/>
            <a:ln w="6350">
              <a:solidFill>
                <a:schemeClr val="tx2"/>
              </a:solidFill>
              <a:round/>
              <a:headEnd/>
              <a:tailEnd/>
            </a:ln>
          </p:spPr>
          <p:txBody>
            <a:bodyPr/>
            <a:lstStyle/>
            <a:p>
              <a:endParaRPr lang="en-US"/>
            </a:p>
          </p:txBody>
        </p:sp>
        <p:sp>
          <p:nvSpPr>
            <p:cNvPr id="380" name="Freeform 1685"/>
            <p:cNvSpPr>
              <a:spLocks/>
            </p:cNvSpPr>
            <p:nvPr/>
          </p:nvSpPr>
          <p:spPr bwMode="auto">
            <a:xfrm>
              <a:off x="7041154" y="1943622"/>
              <a:ext cx="37928" cy="34894"/>
            </a:xfrm>
            <a:custGeom>
              <a:avLst/>
              <a:gdLst>
                <a:gd name="T0" fmla="*/ 2147483647 w 79"/>
                <a:gd name="T1" fmla="*/ 2147483647 h 71"/>
                <a:gd name="T2" fmla="*/ 2147483647 w 79"/>
                <a:gd name="T3" fmla="*/ 2147483647 h 71"/>
                <a:gd name="T4" fmla="*/ 2147483647 w 79"/>
                <a:gd name="T5" fmla="*/ 2147483647 h 71"/>
                <a:gd name="T6" fmla="*/ 2147483647 w 79"/>
                <a:gd name="T7" fmla="*/ 2147483647 h 71"/>
                <a:gd name="T8" fmla="*/ 0 w 79"/>
                <a:gd name="T9" fmla="*/ 2147483647 h 71"/>
                <a:gd name="T10" fmla="*/ 2147483647 w 79"/>
                <a:gd name="T11" fmla="*/ 2147483647 h 71"/>
                <a:gd name="T12" fmla="*/ 2147483647 w 79"/>
                <a:gd name="T13" fmla="*/ 0 h 71"/>
                <a:gd name="T14" fmla="*/ 2147483647 w 79"/>
                <a:gd name="T15" fmla="*/ 2147483647 h 71"/>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71"/>
                <a:gd name="T26" fmla="*/ 79 w 79"/>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71">
                  <a:moveTo>
                    <a:pt x="66" y="5"/>
                  </a:moveTo>
                  <a:lnTo>
                    <a:pt x="78" y="13"/>
                  </a:lnTo>
                  <a:lnTo>
                    <a:pt x="79" y="37"/>
                  </a:lnTo>
                  <a:lnTo>
                    <a:pt x="56" y="71"/>
                  </a:lnTo>
                  <a:lnTo>
                    <a:pt x="0" y="37"/>
                  </a:lnTo>
                  <a:lnTo>
                    <a:pt x="19" y="29"/>
                  </a:lnTo>
                  <a:lnTo>
                    <a:pt x="22" y="0"/>
                  </a:lnTo>
                  <a:lnTo>
                    <a:pt x="66" y="5"/>
                  </a:lnTo>
                  <a:close/>
                </a:path>
              </a:pathLst>
            </a:custGeom>
            <a:grpFill/>
            <a:ln w="6350">
              <a:solidFill>
                <a:schemeClr val="tx2"/>
              </a:solidFill>
              <a:round/>
              <a:headEnd/>
              <a:tailEnd/>
            </a:ln>
          </p:spPr>
          <p:txBody>
            <a:bodyPr/>
            <a:lstStyle/>
            <a:p>
              <a:endParaRPr lang="en-US"/>
            </a:p>
          </p:txBody>
        </p:sp>
        <p:sp>
          <p:nvSpPr>
            <p:cNvPr id="381" name="Freeform 1686"/>
            <p:cNvSpPr>
              <a:spLocks/>
            </p:cNvSpPr>
            <p:nvPr/>
          </p:nvSpPr>
          <p:spPr bwMode="auto">
            <a:xfrm>
              <a:off x="7552421" y="1967896"/>
              <a:ext cx="16689" cy="25792"/>
            </a:xfrm>
            <a:custGeom>
              <a:avLst/>
              <a:gdLst>
                <a:gd name="T0" fmla="*/ 2147483647 w 35"/>
                <a:gd name="T1" fmla="*/ 2147483647 h 54"/>
                <a:gd name="T2" fmla="*/ 2147483647 w 35"/>
                <a:gd name="T3" fmla="*/ 2147483647 h 54"/>
                <a:gd name="T4" fmla="*/ 2147483647 w 35"/>
                <a:gd name="T5" fmla="*/ 2147483647 h 54"/>
                <a:gd name="T6" fmla="*/ 0 w 35"/>
                <a:gd name="T7" fmla="*/ 0 h 54"/>
                <a:gd name="T8" fmla="*/ 2147483647 w 35"/>
                <a:gd name="T9" fmla="*/ 2147483647 h 54"/>
                <a:gd name="T10" fmla="*/ 0 60000 65536"/>
                <a:gd name="T11" fmla="*/ 0 60000 65536"/>
                <a:gd name="T12" fmla="*/ 0 60000 65536"/>
                <a:gd name="T13" fmla="*/ 0 60000 65536"/>
                <a:gd name="T14" fmla="*/ 0 60000 65536"/>
                <a:gd name="T15" fmla="*/ 0 w 35"/>
                <a:gd name="T16" fmla="*/ 0 h 54"/>
                <a:gd name="T17" fmla="*/ 35 w 35"/>
                <a:gd name="T18" fmla="*/ 54 h 54"/>
              </a:gdLst>
              <a:ahLst/>
              <a:cxnLst>
                <a:cxn ang="T10">
                  <a:pos x="T0" y="T1"/>
                </a:cxn>
                <a:cxn ang="T11">
                  <a:pos x="T2" y="T3"/>
                </a:cxn>
                <a:cxn ang="T12">
                  <a:pos x="T4" y="T5"/>
                </a:cxn>
                <a:cxn ang="T13">
                  <a:pos x="T6" y="T7"/>
                </a:cxn>
                <a:cxn ang="T14">
                  <a:pos x="T8" y="T9"/>
                </a:cxn>
              </a:cxnLst>
              <a:rect l="T15" t="T16" r="T17" b="T18"/>
              <a:pathLst>
                <a:path w="35" h="54">
                  <a:moveTo>
                    <a:pt x="25" y="28"/>
                  </a:moveTo>
                  <a:lnTo>
                    <a:pt x="35" y="45"/>
                  </a:lnTo>
                  <a:lnTo>
                    <a:pt x="28" y="54"/>
                  </a:lnTo>
                  <a:lnTo>
                    <a:pt x="0" y="0"/>
                  </a:lnTo>
                  <a:lnTo>
                    <a:pt x="25" y="28"/>
                  </a:lnTo>
                  <a:close/>
                </a:path>
              </a:pathLst>
            </a:custGeom>
            <a:grpFill/>
            <a:ln w="6350">
              <a:solidFill>
                <a:schemeClr val="tx2"/>
              </a:solidFill>
              <a:round/>
              <a:headEnd/>
              <a:tailEnd/>
            </a:ln>
          </p:spPr>
          <p:txBody>
            <a:bodyPr/>
            <a:lstStyle/>
            <a:p>
              <a:endParaRPr lang="en-US"/>
            </a:p>
          </p:txBody>
        </p:sp>
        <p:sp>
          <p:nvSpPr>
            <p:cNvPr id="382" name="Freeform 1687"/>
            <p:cNvSpPr>
              <a:spLocks/>
            </p:cNvSpPr>
            <p:nvPr/>
          </p:nvSpPr>
          <p:spPr bwMode="auto">
            <a:xfrm>
              <a:off x="7552421" y="1832873"/>
              <a:ext cx="10620" cy="43995"/>
            </a:xfrm>
            <a:custGeom>
              <a:avLst/>
              <a:gdLst>
                <a:gd name="T0" fmla="*/ 2147483647 w 24"/>
                <a:gd name="T1" fmla="*/ 2147483647 h 87"/>
                <a:gd name="T2" fmla="*/ 2147483647 w 24"/>
                <a:gd name="T3" fmla="*/ 2147483647 h 87"/>
                <a:gd name="T4" fmla="*/ 0 w 24"/>
                <a:gd name="T5" fmla="*/ 2147483647 h 87"/>
                <a:gd name="T6" fmla="*/ 2147483647 w 24"/>
                <a:gd name="T7" fmla="*/ 0 h 87"/>
                <a:gd name="T8" fmla="*/ 2147483647 w 24"/>
                <a:gd name="T9" fmla="*/ 2147483647 h 87"/>
                <a:gd name="T10" fmla="*/ 2147483647 w 24"/>
                <a:gd name="T11" fmla="*/ 2147483647 h 87"/>
                <a:gd name="T12" fmla="*/ 0 60000 65536"/>
                <a:gd name="T13" fmla="*/ 0 60000 65536"/>
                <a:gd name="T14" fmla="*/ 0 60000 65536"/>
                <a:gd name="T15" fmla="*/ 0 60000 65536"/>
                <a:gd name="T16" fmla="*/ 0 60000 65536"/>
                <a:gd name="T17" fmla="*/ 0 60000 65536"/>
                <a:gd name="T18" fmla="*/ 0 w 24"/>
                <a:gd name="T19" fmla="*/ 0 h 87"/>
                <a:gd name="T20" fmla="*/ 24 w 24"/>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24" h="87">
                  <a:moveTo>
                    <a:pt x="18" y="52"/>
                  </a:moveTo>
                  <a:lnTo>
                    <a:pt x="13" y="87"/>
                  </a:lnTo>
                  <a:lnTo>
                    <a:pt x="0" y="73"/>
                  </a:lnTo>
                  <a:lnTo>
                    <a:pt x="4" y="0"/>
                  </a:lnTo>
                  <a:lnTo>
                    <a:pt x="24" y="40"/>
                  </a:lnTo>
                  <a:lnTo>
                    <a:pt x="18" y="52"/>
                  </a:lnTo>
                  <a:close/>
                </a:path>
              </a:pathLst>
            </a:custGeom>
            <a:grpFill/>
            <a:ln w="6350">
              <a:solidFill>
                <a:schemeClr val="tx2"/>
              </a:solidFill>
              <a:round/>
              <a:headEnd/>
              <a:tailEnd/>
            </a:ln>
          </p:spPr>
          <p:txBody>
            <a:bodyPr/>
            <a:lstStyle/>
            <a:p>
              <a:endParaRPr lang="en-US"/>
            </a:p>
          </p:txBody>
        </p:sp>
        <p:sp>
          <p:nvSpPr>
            <p:cNvPr id="383" name="Freeform 1688"/>
            <p:cNvSpPr>
              <a:spLocks/>
            </p:cNvSpPr>
            <p:nvPr/>
          </p:nvSpPr>
          <p:spPr bwMode="auto">
            <a:xfrm>
              <a:off x="7578213" y="1801013"/>
              <a:ext cx="142609" cy="128955"/>
            </a:xfrm>
            <a:custGeom>
              <a:avLst/>
              <a:gdLst>
                <a:gd name="T0" fmla="*/ 2147483647 w 287"/>
                <a:gd name="T1" fmla="*/ 2147483647 h 261"/>
                <a:gd name="T2" fmla="*/ 2147483647 w 287"/>
                <a:gd name="T3" fmla="*/ 2147483647 h 261"/>
                <a:gd name="T4" fmla="*/ 2147483647 w 287"/>
                <a:gd name="T5" fmla="*/ 2147483647 h 261"/>
                <a:gd name="T6" fmla="*/ 2147483647 w 287"/>
                <a:gd name="T7" fmla="*/ 2147483647 h 261"/>
                <a:gd name="T8" fmla="*/ 2147483647 w 287"/>
                <a:gd name="T9" fmla="*/ 2147483647 h 261"/>
                <a:gd name="T10" fmla="*/ 2147483647 w 287"/>
                <a:gd name="T11" fmla="*/ 2147483647 h 261"/>
                <a:gd name="T12" fmla="*/ 2147483647 w 287"/>
                <a:gd name="T13" fmla="*/ 2147483647 h 261"/>
                <a:gd name="T14" fmla="*/ 2147483647 w 287"/>
                <a:gd name="T15" fmla="*/ 2147483647 h 261"/>
                <a:gd name="T16" fmla="*/ 2147483647 w 287"/>
                <a:gd name="T17" fmla="*/ 2147483647 h 261"/>
                <a:gd name="T18" fmla="*/ 2147483647 w 287"/>
                <a:gd name="T19" fmla="*/ 2147483647 h 261"/>
                <a:gd name="T20" fmla="*/ 2147483647 w 287"/>
                <a:gd name="T21" fmla="*/ 2147483647 h 261"/>
                <a:gd name="T22" fmla="*/ 2147483647 w 287"/>
                <a:gd name="T23" fmla="*/ 2147483647 h 261"/>
                <a:gd name="T24" fmla="*/ 2147483647 w 287"/>
                <a:gd name="T25" fmla="*/ 2147483647 h 261"/>
                <a:gd name="T26" fmla="*/ 2147483647 w 287"/>
                <a:gd name="T27" fmla="*/ 2147483647 h 261"/>
                <a:gd name="T28" fmla="*/ 2147483647 w 287"/>
                <a:gd name="T29" fmla="*/ 2147483647 h 261"/>
                <a:gd name="T30" fmla="*/ 2147483647 w 287"/>
                <a:gd name="T31" fmla="*/ 2147483647 h 261"/>
                <a:gd name="T32" fmla="*/ 2147483647 w 287"/>
                <a:gd name="T33" fmla="*/ 2147483647 h 261"/>
                <a:gd name="T34" fmla="*/ 2147483647 w 287"/>
                <a:gd name="T35" fmla="*/ 2147483647 h 261"/>
                <a:gd name="T36" fmla="*/ 2147483647 w 287"/>
                <a:gd name="T37" fmla="*/ 2147483647 h 261"/>
                <a:gd name="T38" fmla="*/ 2147483647 w 287"/>
                <a:gd name="T39" fmla="*/ 2147483647 h 261"/>
                <a:gd name="T40" fmla="*/ 2147483647 w 287"/>
                <a:gd name="T41" fmla="*/ 2147483647 h 261"/>
                <a:gd name="T42" fmla="*/ 2147483647 w 287"/>
                <a:gd name="T43" fmla="*/ 2147483647 h 261"/>
                <a:gd name="T44" fmla="*/ 2147483647 w 287"/>
                <a:gd name="T45" fmla="*/ 2147483647 h 261"/>
                <a:gd name="T46" fmla="*/ 2147483647 w 287"/>
                <a:gd name="T47" fmla="*/ 2147483647 h 261"/>
                <a:gd name="T48" fmla="*/ 2147483647 w 287"/>
                <a:gd name="T49" fmla="*/ 2147483647 h 261"/>
                <a:gd name="T50" fmla="*/ 2147483647 w 287"/>
                <a:gd name="T51" fmla="*/ 2147483647 h 261"/>
                <a:gd name="T52" fmla="*/ 2147483647 w 287"/>
                <a:gd name="T53" fmla="*/ 2147483647 h 261"/>
                <a:gd name="T54" fmla="*/ 2147483647 w 287"/>
                <a:gd name="T55" fmla="*/ 2147483647 h 261"/>
                <a:gd name="T56" fmla="*/ 2147483647 w 287"/>
                <a:gd name="T57" fmla="*/ 2147483647 h 261"/>
                <a:gd name="T58" fmla="*/ 2147483647 w 287"/>
                <a:gd name="T59" fmla="*/ 2147483647 h 261"/>
                <a:gd name="T60" fmla="*/ 0 w 287"/>
                <a:gd name="T61" fmla="*/ 2147483647 h 261"/>
                <a:gd name="T62" fmla="*/ 2147483647 w 287"/>
                <a:gd name="T63" fmla="*/ 2147483647 h 261"/>
                <a:gd name="T64" fmla="*/ 2147483647 w 287"/>
                <a:gd name="T65" fmla="*/ 2147483647 h 261"/>
                <a:gd name="T66" fmla="*/ 2147483647 w 287"/>
                <a:gd name="T67" fmla="*/ 2147483647 h 261"/>
                <a:gd name="T68" fmla="*/ 2147483647 w 287"/>
                <a:gd name="T69" fmla="*/ 2147483647 h 261"/>
                <a:gd name="T70" fmla="*/ 2147483647 w 287"/>
                <a:gd name="T71" fmla="*/ 2147483647 h 261"/>
                <a:gd name="T72" fmla="*/ 2147483647 w 287"/>
                <a:gd name="T73" fmla="*/ 2147483647 h 261"/>
                <a:gd name="T74" fmla="*/ 2147483647 w 287"/>
                <a:gd name="T75" fmla="*/ 2147483647 h 261"/>
                <a:gd name="T76" fmla="*/ 2147483647 w 287"/>
                <a:gd name="T77" fmla="*/ 0 h 261"/>
                <a:gd name="T78" fmla="*/ 2147483647 w 287"/>
                <a:gd name="T79" fmla="*/ 2147483647 h 261"/>
                <a:gd name="T80" fmla="*/ 2147483647 w 287"/>
                <a:gd name="T81" fmla="*/ 2147483647 h 2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7"/>
                <a:gd name="T124" fmla="*/ 0 h 261"/>
                <a:gd name="T125" fmla="*/ 287 w 287"/>
                <a:gd name="T126" fmla="*/ 261 h 26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7" h="261">
                  <a:moveTo>
                    <a:pt x="140" y="68"/>
                  </a:moveTo>
                  <a:lnTo>
                    <a:pt x="158" y="74"/>
                  </a:lnTo>
                  <a:lnTo>
                    <a:pt x="153" y="94"/>
                  </a:lnTo>
                  <a:lnTo>
                    <a:pt x="155" y="106"/>
                  </a:lnTo>
                  <a:lnTo>
                    <a:pt x="177" y="107"/>
                  </a:lnTo>
                  <a:lnTo>
                    <a:pt x="183" y="81"/>
                  </a:lnTo>
                  <a:lnTo>
                    <a:pt x="177" y="72"/>
                  </a:lnTo>
                  <a:lnTo>
                    <a:pt x="177" y="37"/>
                  </a:lnTo>
                  <a:lnTo>
                    <a:pt x="191" y="24"/>
                  </a:lnTo>
                  <a:lnTo>
                    <a:pt x="211" y="37"/>
                  </a:lnTo>
                  <a:lnTo>
                    <a:pt x="234" y="86"/>
                  </a:lnTo>
                  <a:lnTo>
                    <a:pt x="247" y="90"/>
                  </a:lnTo>
                  <a:lnTo>
                    <a:pt x="233" y="143"/>
                  </a:lnTo>
                  <a:lnTo>
                    <a:pt x="243" y="183"/>
                  </a:lnTo>
                  <a:lnTo>
                    <a:pt x="287" y="220"/>
                  </a:lnTo>
                  <a:lnTo>
                    <a:pt x="249" y="219"/>
                  </a:lnTo>
                  <a:lnTo>
                    <a:pt x="239" y="237"/>
                  </a:lnTo>
                  <a:lnTo>
                    <a:pt x="220" y="200"/>
                  </a:lnTo>
                  <a:lnTo>
                    <a:pt x="138" y="244"/>
                  </a:lnTo>
                  <a:lnTo>
                    <a:pt x="130" y="237"/>
                  </a:lnTo>
                  <a:lnTo>
                    <a:pt x="142" y="233"/>
                  </a:lnTo>
                  <a:lnTo>
                    <a:pt x="129" y="218"/>
                  </a:lnTo>
                  <a:lnTo>
                    <a:pt x="128" y="202"/>
                  </a:lnTo>
                  <a:lnTo>
                    <a:pt x="117" y="208"/>
                  </a:lnTo>
                  <a:lnTo>
                    <a:pt x="115" y="227"/>
                  </a:lnTo>
                  <a:lnTo>
                    <a:pt x="122" y="225"/>
                  </a:lnTo>
                  <a:lnTo>
                    <a:pt x="110" y="261"/>
                  </a:lnTo>
                  <a:lnTo>
                    <a:pt x="55" y="241"/>
                  </a:lnTo>
                  <a:lnTo>
                    <a:pt x="43" y="206"/>
                  </a:lnTo>
                  <a:lnTo>
                    <a:pt x="13" y="190"/>
                  </a:lnTo>
                  <a:lnTo>
                    <a:pt x="0" y="154"/>
                  </a:lnTo>
                  <a:lnTo>
                    <a:pt x="15" y="142"/>
                  </a:lnTo>
                  <a:lnTo>
                    <a:pt x="20" y="126"/>
                  </a:lnTo>
                  <a:lnTo>
                    <a:pt x="15" y="119"/>
                  </a:lnTo>
                  <a:lnTo>
                    <a:pt x="18" y="103"/>
                  </a:lnTo>
                  <a:lnTo>
                    <a:pt x="14" y="84"/>
                  </a:lnTo>
                  <a:lnTo>
                    <a:pt x="35" y="76"/>
                  </a:lnTo>
                  <a:lnTo>
                    <a:pt x="23" y="49"/>
                  </a:lnTo>
                  <a:lnTo>
                    <a:pt x="94" y="0"/>
                  </a:lnTo>
                  <a:lnTo>
                    <a:pt x="94" y="19"/>
                  </a:lnTo>
                  <a:lnTo>
                    <a:pt x="140" y="68"/>
                  </a:lnTo>
                  <a:close/>
                </a:path>
              </a:pathLst>
            </a:custGeom>
            <a:grpFill/>
            <a:ln w="6350">
              <a:solidFill>
                <a:schemeClr val="tx2"/>
              </a:solidFill>
              <a:round/>
              <a:headEnd/>
              <a:tailEnd/>
            </a:ln>
          </p:spPr>
          <p:txBody>
            <a:bodyPr/>
            <a:lstStyle/>
            <a:p>
              <a:endParaRPr lang="en-US"/>
            </a:p>
          </p:txBody>
        </p:sp>
        <p:sp>
          <p:nvSpPr>
            <p:cNvPr id="384" name="Freeform 1689"/>
            <p:cNvSpPr>
              <a:spLocks/>
            </p:cNvSpPr>
            <p:nvPr/>
          </p:nvSpPr>
          <p:spPr bwMode="auto">
            <a:xfrm>
              <a:off x="7678342" y="1808600"/>
              <a:ext cx="87993" cy="95578"/>
            </a:xfrm>
            <a:custGeom>
              <a:avLst/>
              <a:gdLst>
                <a:gd name="T0" fmla="*/ 0 w 175"/>
                <a:gd name="T1" fmla="*/ 0 h 196"/>
                <a:gd name="T2" fmla="*/ 2147483647 w 175"/>
                <a:gd name="T3" fmla="*/ 2147483647 h 196"/>
                <a:gd name="T4" fmla="*/ 2147483647 w 175"/>
                <a:gd name="T5" fmla="*/ 2147483647 h 196"/>
                <a:gd name="T6" fmla="*/ 2147483647 w 175"/>
                <a:gd name="T7" fmla="*/ 2147483647 h 196"/>
                <a:gd name="T8" fmla="*/ 2147483647 w 175"/>
                <a:gd name="T9" fmla="*/ 2147483647 h 196"/>
                <a:gd name="T10" fmla="*/ 2147483647 w 175"/>
                <a:gd name="T11" fmla="*/ 2147483647 h 196"/>
                <a:gd name="T12" fmla="*/ 2147483647 w 175"/>
                <a:gd name="T13" fmla="*/ 2147483647 h 196"/>
                <a:gd name="T14" fmla="*/ 2147483647 w 175"/>
                <a:gd name="T15" fmla="*/ 2147483647 h 196"/>
                <a:gd name="T16" fmla="*/ 2147483647 w 175"/>
                <a:gd name="T17" fmla="*/ 2147483647 h 196"/>
                <a:gd name="T18" fmla="*/ 2147483647 w 175"/>
                <a:gd name="T19" fmla="*/ 2147483647 h 196"/>
                <a:gd name="T20" fmla="*/ 0 w 175"/>
                <a:gd name="T21" fmla="*/ 0 h 1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5"/>
                <a:gd name="T34" fmla="*/ 0 h 196"/>
                <a:gd name="T35" fmla="*/ 175 w 175"/>
                <a:gd name="T36" fmla="*/ 196 h 1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5" h="196">
                  <a:moveTo>
                    <a:pt x="0" y="0"/>
                  </a:moveTo>
                  <a:lnTo>
                    <a:pt x="108" y="51"/>
                  </a:lnTo>
                  <a:lnTo>
                    <a:pt x="175" y="114"/>
                  </a:lnTo>
                  <a:lnTo>
                    <a:pt x="142" y="123"/>
                  </a:lnTo>
                  <a:lnTo>
                    <a:pt x="147" y="152"/>
                  </a:lnTo>
                  <a:lnTo>
                    <a:pt x="128" y="184"/>
                  </a:lnTo>
                  <a:lnTo>
                    <a:pt x="108" y="196"/>
                  </a:lnTo>
                  <a:lnTo>
                    <a:pt x="72" y="185"/>
                  </a:lnTo>
                  <a:lnTo>
                    <a:pt x="42" y="130"/>
                  </a:lnTo>
                  <a:lnTo>
                    <a:pt x="57" y="67"/>
                  </a:lnTo>
                  <a:lnTo>
                    <a:pt x="0" y="0"/>
                  </a:lnTo>
                  <a:close/>
                </a:path>
              </a:pathLst>
            </a:custGeom>
            <a:grpFill/>
            <a:ln w="6350">
              <a:solidFill>
                <a:schemeClr val="tx2"/>
              </a:solidFill>
              <a:round/>
              <a:headEnd/>
              <a:tailEnd/>
            </a:ln>
          </p:spPr>
          <p:txBody>
            <a:bodyPr/>
            <a:lstStyle/>
            <a:p>
              <a:endParaRPr lang="en-US"/>
            </a:p>
          </p:txBody>
        </p:sp>
        <p:sp>
          <p:nvSpPr>
            <p:cNvPr id="385" name="Freeform 1690"/>
            <p:cNvSpPr>
              <a:spLocks/>
            </p:cNvSpPr>
            <p:nvPr/>
          </p:nvSpPr>
          <p:spPr bwMode="auto">
            <a:xfrm>
              <a:off x="7784540" y="1858664"/>
              <a:ext cx="103163" cy="68271"/>
            </a:xfrm>
            <a:custGeom>
              <a:avLst/>
              <a:gdLst>
                <a:gd name="T0" fmla="*/ 0 w 207"/>
                <a:gd name="T1" fmla="*/ 0 h 138"/>
                <a:gd name="T2" fmla="*/ 2147483647 w 207"/>
                <a:gd name="T3" fmla="*/ 2147483647 h 138"/>
                <a:gd name="T4" fmla="*/ 2147483647 w 207"/>
                <a:gd name="T5" fmla="*/ 2147483647 h 138"/>
                <a:gd name="T6" fmla="*/ 2147483647 w 207"/>
                <a:gd name="T7" fmla="*/ 2147483647 h 138"/>
                <a:gd name="T8" fmla="*/ 2147483647 w 207"/>
                <a:gd name="T9" fmla="*/ 2147483647 h 138"/>
                <a:gd name="T10" fmla="*/ 2147483647 w 207"/>
                <a:gd name="T11" fmla="*/ 2147483647 h 138"/>
                <a:gd name="T12" fmla="*/ 2147483647 w 207"/>
                <a:gd name="T13" fmla="*/ 2147483647 h 138"/>
                <a:gd name="T14" fmla="*/ 2147483647 w 207"/>
                <a:gd name="T15" fmla="*/ 2147483647 h 138"/>
                <a:gd name="T16" fmla="*/ 2147483647 w 207"/>
                <a:gd name="T17" fmla="*/ 2147483647 h 138"/>
                <a:gd name="T18" fmla="*/ 2147483647 w 207"/>
                <a:gd name="T19" fmla="*/ 2147483647 h 138"/>
                <a:gd name="T20" fmla="*/ 2147483647 w 207"/>
                <a:gd name="T21" fmla="*/ 2147483647 h 138"/>
                <a:gd name="T22" fmla="*/ 0 w 207"/>
                <a:gd name="T23" fmla="*/ 0 h 1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7"/>
                <a:gd name="T37" fmla="*/ 0 h 138"/>
                <a:gd name="T38" fmla="*/ 207 w 207"/>
                <a:gd name="T39" fmla="*/ 138 h 1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7" h="138">
                  <a:moveTo>
                    <a:pt x="0" y="0"/>
                  </a:moveTo>
                  <a:lnTo>
                    <a:pt x="25" y="23"/>
                  </a:lnTo>
                  <a:lnTo>
                    <a:pt x="97" y="31"/>
                  </a:lnTo>
                  <a:lnTo>
                    <a:pt x="83" y="51"/>
                  </a:lnTo>
                  <a:lnTo>
                    <a:pt x="133" y="47"/>
                  </a:lnTo>
                  <a:lnTo>
                    <a:pt x="207" y="79"/>
                  </a:lnTo>
                  <a:lnTo>
                    <a:pt x="190" y="121"/>
                  </a:lnTo>
                  <a:lnTo>
                    <a:pt x="123" y="138"/>
                  </a:lnTo>
                  <a:lnTo>
                    <a:pt x="33" y="86"/>
                  </a:lnTo>
                  <a:lnTo>
                    <a:pt x="32" y="63"/>
                  </a:lnTo>
                  <a:lnTo>
                    <a:pt x="2" y="16"/>
                  </a:lnTo>
                  <a:lnTo>
                    <a:pt x="0" y="0"/>
                  </a:lnTo>
                  <a:close/>
                </a:path>
              </a:pathLst>
            </a:custGeom>
            <a:grpFill/>
            <a:ln w="6350">
              <a:solidFill>
                <a:schemeClr val="tx2"/>
              </a:solidFill>
              <a:round/>
              <a:headEnd/>
              <a:tailEnd/>
            </a:ln>
          </p:spPr>
          <p:txBody>
            <a:bodyPr/>
            <a:lstStyle/>
            <a:p>
              <a:endParaRPr lang="en-US"/>
            </a:p>
          </p:txBody>
        </p:sp>
        <p:sp>
          <p:nvSpPr>
            <p:cNvPr id="386" name="Freeform 1691"/>
            <p:cNvSpPr>
              <a:spLocks/>
            </p:cNvSpPr>
            <p:nvPr/>
          </p:nvSpPr>
          <p:spPr bwMode="auto">
            <a:xfrm>
              <a:off x="7651034" y="1961827"/>
              <a:ext cx="21239" cy="31860"/>
            </a:xfrm>
            <a:custGeom>
              <a:avLst/>
              <a:gdLst>
                <a:gd name="T0" fmla="*/ 2147483647 w 41"/>
                <a:gd name="T1" fmla="*/ 2147483647 h 66"/>
                <a:gd name="T2" fmla="*/ 2147483647 w 41"/>
                <a:gd name="T3" fmla="*/ 2147483647 h 66"/>
                <a:gd name="T4" fmla="*/ 2147483647 w 41"/>
                <a:gd name="T5" fmla="*/ 0 h 66"/>
                <a:gd name="T6" fmla="*/ 0 w 41"/>
                <a:gd name="T7" fmla="*/ 2147483647 h 66"/>
                <a:gd name="T8" fmla="*/ 2147483647 w 41"/>
                <a:gd name="T9" fmla="*/ 2147483647 h 66"/>
                <a:gd name="T10" fmla="*/ 2147483647 w 41"/>
                <a:gd name="T11" fmla="*/ 2147483647 h 66"/>
                <a:gd name="T12" fmla="*/ 2147483647 w 41"/>
                <a:gd name="T13" fmla="*/ 2147483647 h 66"/>
                <a:gd name="T14" fmla="*/ 2147483647 w 41"/>
                <a:gd name="T15" fmla="*/ 2147483647 h 66"/>
                <a:gd name="T16" fmla="*/ 2147483647 w 41"/>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66"/>
                <a:gd name="T29" fmla="*/ 41 w 41"/>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66">
                  <a:moveTo>
                    <a:pt x="37" y="28"/>
                  </a:moveTo>
                  <a:lnTo>
                    <a:pt x="38" y="14"/>
                  </a:lnTo>
                  <a:lnTo>
                    <a:pt x="19" y="0"/>
                  </a:lnTo>
                  <a:lnTo>
                    <a:pt x="0" y="24"/>
                  </a:lnTo>
                  <a:lnTo>
                    <a:pt x="3" y="57"/>
                  </a:lnTo>
                  <a:lnTo>
                    <a:pt x="17" y="66"/>
                  </a:lnTo>
                  <a:lnTo>
                    <a:pt x="13" y="57"/>
                  </a:lnTo>
                  <a:lnTo>
                    <a:pt x="41" y="36"/>
                  </a:lnTo>
                  <a:lnTo>
                    <a:pt x="37" y="28"/>
                  </a:lnTo>
                  <a:close/>
                </a:path>
              </a:pathLst>
            </a:custGeom>
            <a:grpFill/>
            <a:ln w="6350">
              <a:solidFill>
                <a:schemeClr val="tx2"/>
              </a:solidFill>
              <a:round/>
              <a:headEnd/>
              <a:tailEnd/>
            </a:ln>
          </p:spPr>
          <p:txBody>
            <a:bodyPr/>
            <a:lstStyle/>
            <a:p>
              <a:endParaRPr lang="en-US"/>
            </a:p>
          </p:txBody>
        </p:sp>
        <p:sp>
          <p:nvSpPr>
            <p:cNvPr id="387" name="Freeform 1692"/>
            <p:cNvSpPr>
              <a:spLocks/>
            </p:cNvSpPr>
            <p:nvPr/>
          </p:nvSpPr>
          <p:spPr bwMode="auto">
            <a:xfrm>
              <a:off x="7643448" y="1993687"/>
              <a:ext cx="83441" cy="51582"/>
            </a:xfrm>
            <a:custGeom>
              <a:avLst/>
              <a:gdLst>
                <a:gd name="T0" fmla="*/ 2147483647 w 166"/>
                <a:gd name="T1" fmla="*/ 0 h 101"/>
                <a:gd name="T2" fmla="*/ 2147483647 w 166"/>
                <a:gd name="T3" fmla="*/ 2147483647 h 101"/>
                <a:gd name="T4" fmla="*/ 2147483647 w 166"/>
                <a:gd name="T5" fmla="*/ 2147483647 h 101"/>
                <a:gd name="T6" fmla="*/ 2147483647 w 166"/>
                <a:gd name="T7" fmla="*/ 2147483647 h 101"/>
                <a:gd name="T8" fmla="*/ 2147483647 w 166"/>
                <a:gd name="T9" fmla="*/ 2147483647 h 101"/>
                <a:gd name="T10" fmla="*/ 2147483647 w 166"/>
                <a:gd name="T11" fmla="*/ 2147483647 h 101"/>
                <a:gd name="T12" fmla="*/ 0 w 166"/>
                <a:gd name="T13" fmla="*/ 2147483647 h 101"/>
                <a:gd name="T14" fmla="*/ 2147483647 w 166"/>
                <a:gd name="T15" fmla="*/ 2147483647 h 101"/>
                <a:gd name="T16" fmla="*/ 2147483647 w 166"/>
                <a:gd name="T17" fmla="*/ 2147483647 h 101"/>
                <a:gd name="T18" fmla="*/ 2147483647 w 166"/>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01"/>
                <a:gd name="T32" fmla="*/ 166 w 166"/>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01">
                  <a:moveTo>
                    <a:pt x="72" y="0"/>
                  </a:moveTo>
                  <a:lnTo>
                    <a:pt x="122" y="8"/>
                  </a:lnTo>
                  <a:lnTo>
                    <a:pt x="159" y="56"/>
                  </a:lnTo>
                  <a:lnTo>
                    <a:pt x="166" y="101"/>
                  </a:lnTo>
                  <a:lnTo>
                    <a:pt x="38" y="69"/>
                  </a:lnTo>
                  <a:lnTo>
                    <a:pt x="8" y="80"/>
                  </a:lnTo>
                  <a:lnTo>
                    <a:pt x="0" y="69"/>
                  </a:lnTo>
                  <a:lnTo>
                    <a:pt x="28" y="62"/>
                  </a:lnTo>
                  <a:lnTo>
                    <a:pt x="51" y="2"/>
                  </a:lnTo>
                  <a:lnTo>
                    <a:pt x="72" y="0"/>
                  </a:lnTo>
                  <a:close/>
                </a:path>
              </a:pathLst>
            </a:custGeom>
            <a:grpFill/>
            <a:ln w="6350">
              <a:solidFill>
                <a:schemeClr val="tx2"/>
              </a:solidFill>
              <a:round/>
              <a:headEnd/>
              <a:tailEnd/>
            </a:ln>
          </p:spPr>
          <p:txBody>
            <a:bodyPr/>
            <a:lstStyle/>
            <a:p>
              <a:endParaRPr lang="en-US"/>
            </a:p>
          </p:txBody>
        </p:sp>
        <p:sp>
          <p:nvSpPr>
            <p:cNvPr id="388" name="Freeform 1693"/>
            <p:cNvSpPr>
              <a:spLocks/>
            </p:cNvSpPr>
            <p:nvPr/>
          </p:nvSpPr>
          <p:spPr bwMode="auto">
            <a:xfrm>
              <a:off x="7605521" y="2156017"/>
              <a:ext cx="21239" cy="21239"/>
            </a:xfrm>
            <a:custGeom>
              <a:avLst/>
              <a:gdLst>
                <a:gd name="T0" fmla="*/ 2147483647 w 47"/>
                <a:gd name="T1" fmla="*/ 2147483647 h 44"/>
                <a:gd name="T2" fmla="*/ 2147483647 w 47"/>
                <a:gd name="T3" fmla="*/ 0 h 44"/>
                <a:gd name="T4" fmla="*/ 2147483647 w 47"/>
                <a:gd name="T5" fmla="*/ 2147483647 h 44"/>
                <a:gd name="T6" fmla="*/ 2147483647 w 47"/>
                <a:gd name="T7" fmla="*/ 2147483647 h 44"/>
                <a:gd name="T8" fmla="*/ 2147483647 w 47"/>
                <a:gd name="T9" fmla="*/ 2147483647 h 44"/>
                <a:gd name="T10" fmla="*/ 0 w 47"/>
                <a:gd name="T11" fmla="*/ 2147483647 h 44"/>
                <a:gd name="T12" fmla="*/ 2147483647 w 47"/>
                <a:gd name="T13" fmla="*/ 2147483647 h 44"/>
                <a:gd name="T14" fmla="*/ 0 60000 65536"/>
                <a:gd name="T15" fmla="*/ 0 60000 65536"/>
                <a:gd name="T16" fmla="*/ 0 60000 65536"/>
                <a:gd name="T17" fmla="*/ 0 60000 65536"/>
                <a:gd name="T18" fmla="*/ 0 60000 65536"/>
                <a:gd name="T19" fmla="*/ 0 60000 65536"/>
                <a:gd name="T20" fmla="*/ 0 60000 65536"/>
                <a:gd name="T21" fmla="*/ 0 w 47"/>
                <a:gd name="T22" fmla="*/ 0 h 44"/>
                <a:gd name="T23" fmla="*/ 47 w 47"/>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4">
                  <a:moveTo>
                    <a:pt x="8" y="17"/>
                  </a:moveTo>
                  <a:lnTo>
                    <a:pt x="33" y="0"/>
                  </a:lnTo>
                  <a:lnTo>
                    <a:pt x="47" y="21"/>
                  </a:lnTo>
                  <a:lnTo>
                    <a:pt x="30" y="43"/>
                  </a:lnTo>
                  <a:lnTo>
                    <a:pt x="11" y="44"/>
                  </a:lnTo>
                  <a:lnTo>
                    <a:pt x="0" y="41"/>
                  </a:lnTo>
                  <a:lnTo>
                    <a:pt x="8" y="17"/>
                  </a:lnTo>
                  <a:close/>
                </a:path>
              </a:pathLst>
            </a:custGeom>
            <a:grpFill/>
            <a:ln w="6350">
              <a:solidFill>
                <a:schemeClr val="tx2"/>
              </a:solidFill>
              <a:round/>
              <a:headEnd/>
              <a:tailEnd/>
            </a:ln>
          </p:spPr>
          <p:txBody>
            <a:bodyPr/>
            <a:lstStyle/>
            <a:p>
              <a:endParaRPr lang="en-US"/>
            </a:p>
          </p:txBody>
        </p:sp>
        <p:sp>
          <p:nvSpPr>
            <p:cNvPr id="389" name="Freeform 1694"/>
            <p:cNvSpPr>
              <a:spLocks/>
            </p:cNvSpPr>
            <p:nvPr/>
          </p:nvSpPr>
          <p:spPr bwMode="auto">
            <a:xfrm>
              <a:off x="7629795" y="2092299"/>
              <a:ext cx="33376" cy="22757"/>
            </a:xfrm>
            <a:custGeom>
              <a:avLst/>
              <a:gdLst>
                <a:gd name="T0" fmla="*/ 2147483647 w 66"/>
                <a:gd name="T1" fmla="*/ 2147483647 h 45"/>
                <a:gd name="T2" fmla="*/ 2147483647 w 66"/>
                <a:gd name="T3" fmla="*/ 2147483647 h 45"/>
                <a:gd name="T4" fmla="*/ 2147483647 w 66"/>
                <a:gd name="T5" fmla="*/ 2147483647 h 45"/>
                <a:gd name="T6" fmla="*/ 2147483647 w 66"/>
                <a:gd name="T7" fmla="*/ 2147483647 h 45"/>
                <a:gd name="T8" fmla="*/ 2147483647 w 66"/>
                <a:gd name="T9" fmla="*/ 2147483647 h 45"/>
                <a:gd name="T10" fmla="*/ 0 w 66"/>
                <a:gd name="T11" fmla="*/ 2147483647 h 45"/>
                <a:gd name="T12" fmla="*/ 2147483647 w 66"/>
                <a:gd name="T13" fmla="*/ 2147483647 h 45"/>
                <a:gd name="T14" fmla="*/ 2147483647 w 66"/>
                <a:gd name="T15" fmla="*/ 0 h 45"/>
                <a:gd name="T16" fmla="*/ 2147483647 w 66"/>
                <a:gd name="T17" fmla="*/ 2147483647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45"/>
                <a:gd name="T29" fmla="*/ 66 w 66"/>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45">
                  <a:moveTo>
                    <a:pt x="35" y="2"/>
                  </a:moveTo>
                  <a:lnTo>
                    <a:pt x="66" y="2"/>
                  </a:lnTo>
                  <a:lnTo>
                    <a:pt x="48" y="37"/>
                  </a:lnTo>
                  <a:lnTo>
                    <a:pt x="35" y="30"/>
                  </a:lnTo>
                  <a:lnTo>
                    <a:pt x="9" y="45"/>
                  </a:lnTo>
                  <a:lnTo>
                    <a:pt x="0" y="34"/>
                  </a:lnTo>
                  <a:lnTo>
                    <a:pt x="15" y="13"/>
                  </a:lnTo>
                  <a:lnTo>
                    <a:pt x="13" y="0"/>
                  </a:lnTo>
                  <a:lnTo>
                    <a:pt x="35" y="2"/>
                  </a:lnTo>
                  <a:close/>
                </a:path>
              </a:pathLst>
            </a:custGeom>
            <a:grpFill/>
            <a:ln w="6350">
              <a:solidFill>
                <a:schemeClr val="tx2"/>
              </a:solidFill>
              <a:round/>
              <a:headEnd/>
              <a:tailEnd/>
            </a:ln>
          </p:spPr>
          <p:txBody>
            <a:bodyPr/>
            <a:lstStyle/>
            <a:p>
              <a:endParaRPr lang="en-US"/>
            </a:p>
          </p:txBody>
        </p:sp>
        <p:sp>
          <p:nvSpPr>
            <p:cNvPr id="390" name="Freeform 1695"/>
            <p:cNvSpPr>
              <a:spLocks/>
            </p:cNvSpPr>
            <p:nvPr/>
          </p:nvSpPr>
          <p:spPr bwMode="auto">
            <a:xfrm>
              <a:off x="8245743" y="2262216"/>
              <a:ext cx="33376" cy="28826"/>
            </a:xfrm>
            <a:custGeom>
              <a:avLst/>
              <a:gdLst>
                <a:gd name="T0" fmla="*/ 2147483647 w 66"/>
                <a:gd name="T1" fmla="*/ 2147483647 h 58"/>
                <a:gd name="T2" fmla="*/ 2147483647 w 66"/>
                <a:gd name="T3" fmla="*/ 0 h 58"/>
                <a:gd name="T4" fmla="*/ 2147483647 w 66"/>
                <a:gd name="T5" fmla="*/ 2147483647 h 58"/>
                <a:gd name="T6" fmla="*/ 2147483647 w 66"/>
                <a:gd name="T7" fmla="*/ 2147483647 h 58"/>
                <a:gd name="T8" fmla="*/ 2147483647 w 66"/>
                <a:gd name="T9" fmla="*/ 2147483647 h 58"/>
                <a:gd name="T10" fmla="*/ 0 w 66"/>
                <a:gd name="T11" fmla="*/ 2147483647 h 58"/>
                <a:gd name="T12" fmla="*/ 2147483647 w 66"/>
                <a:gd name="T13" fmla="*/ 2147483647 h 58"/>
                <a:gd name="T14" fmla="*/ 0 60000 65536"/>
                <a:gd name="T15" fmla="*/ 0 60000 65536"/>
                <a:gd name="T16" fmla="*/ 0 60000 65536"/>
                <a:gd name="T17" fmla="*/ 0 60000 65536"/>
                <a:gd name="T18" fmla="*/ 0 60000 65536"/>
                <a:gd name="T19" fmla="*/ 0 60000 65536"/>
                <a:gd name="T20" fmla="*/ 0 60000 65536"/>
                <a:gd name="T21" fmla="*/ 0 w 66"/>
                <a:gd name="T22" fmla="*/ 0 h 58"/>
                <a:gd name="T23" fmla="*/ 66 w 66"/>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58">
                  <a:moveTo>
                    <a:pt x="11" y="3"/>
                  </a:moveTo>
                  <a:lnTo>
                    <a:pt x="28" y="0"/>
                  </a:lnTo>
                  <a:lnTo>
                    <a:pt x="66" y="31"/>
                  </a:lnTo>
                  <a:lnTo>
                    <a:pt x="59" y="58"/>
                  </a:lnTo>
                  <a:lnTo>
                    <a:pt x="31" y="53"/>
                  </a:lnTo>
                  <a:lnTo>
                    <a:pt x="0" y="17"/>
                  </a:lnTo>
                  <a:lnTo>
                    <a:pt x="11" y="3"/>
                  </a:lnTo>
                  <a:close/>
                </a:path>
              </a:pathLst>
            </a:custGeom>
            <a:grpFill/>
            <a:ln w="6350">
              <a:solidFill>
                <a:schemeClr val="tx2"/>
              </a:solidFill>
              <a:round/>
              <a:headEnd/>
              <a:tailEnd/>
            </a:ln>
          </p:spPr>
          <p:txBody>
            <a:bodyPr/>
            <a:lstStyle/>
            <a:p>
              <a:endParaRPr lang="en-US"/>
            </a:p>
          </p:txBody>
        </p:sp>
        <p:sp>
          <p:nvSpPr>
            <p:cNvPr id="391" name="Freeform 1696"/>
            <p:cNvSpPr>
              <a:spLocks/>
            </p:cNvSpPr>
            <p:nvPr/>
          </p:nvSpPr>
          <p:spPr bwMode="auto">
            <a:xfrm>
              <a:off x="8473310" y="2172707"/>
              <a:ext cx="33376" cy="37928"/>
            </a:xfrm>
            <a:custGeom>
              <a:avLst/>
              <a:gdLst>
                <a:gd name="T0" fmla="*/ 2147483647 w 66"/>
                <a:gd name="T1" fmla="*/ 2147483647 h 75"/>
                <a:gd name="T2" fmla="*/ 2147483647 w 66"/>
                <a:gd name="T3" fmla="*/ 2147483647 h 75"/>
                <a:gd name="T4" fmla="*/ 0 w 66"/>
                <a:gd name="T5" fmla="*/ 2147483647 h 75"/>
                <a:gd name="T6" fmla="*/ 2147483647 w 66"/>
                <a:gd name="T7" fmla="*/ 2147483647 h 75"/>
                <a:gd name="T8" fmla="*/ 2147483647 w 66"/>
                <a:gd name="T9" fmla="*/ 2147483647 h 75"/>
                <a:gd name="T10" fmla="*/ 2147483647 w 66"/>
                <a:gd name="T11" fmla="*/ 2147483647 h 75"/>
                <a:gd name="T12" fmla="*/ 2147483647 w 66"/>
                <a:gd name="T13" fmla="*/ 2147483647 h 75"/>
                <a:gd name="T14" fmla="*/ 2147483647 w 66"/>
                <a:gd name="T15" fmla="*/ 2147483647 h 75"/>
                <a:gd name="T16" fmla="*/ 2147483647 w 66"/>
                <a:gd name="T17" fmla="*/ 0 h 75"/>
                <a:gd name="T18" fmla="*/ 2147483647 w 66"/>
                <a:gd name="T19" fmla="*/ 0 h 75"/>
                <a:gd name="T20" fmla="*/ 2147483647 w 66"/>
                <a:gd name="T21" fmla="*/ 0 h 75"/>
                <a:gd name="T22" fmla="*/ 2147483647 w 66"/>
                <a:gd name="T23" fmla="*/ 2147483647 h 75"/>
                <a:gd name="T24" fmla="*/ 2147483647 w 66"/>
                <a:gd name="T25" fmla="*/ 2147483647 h 75"/>
                <a:gd name="T26" fmla="*/ 2147483647 w 66"/>
                <a:gd name="T27" fmla="*/ 2147483647 h 75"/>
                <a:gd name="T28" fmla="*/ 2147483647 w 66"/>
                <a:gd name="T29" fmla="*/ 2147483647 h 75"/>
                <a:gd name="T30" fmla="*/ 2147483647 w 66"/>
                <a:gd name="T31" fmla="*/ 2147483647 h 75"/>
                <a:gd name="T32" fmla="*/ 2147483647 w 66"/>
                <a:gd name="T33" fmla="*/ 2147483647 h 75"/>
                <a:gd name="T34" fmla="*/ 2147483647 w 66"/>
                <a:gd name="T35" fmla="*/ 2147483647 h 75"/>
                <a:gd name="T36" fmla="*/ 2147483647 w 66"/>
                <a:gd name="T37" fmla="*/ 2147483647 h 75"/>
                <a:gd name="T38" fmla="*/ 2147483647 w 66"/>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6"/>
                <a:gd name="T61" fmla="*/ 0 h 75"/>
                <a:gd name="T62" fmla="*/ 66 w 66"/>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6" h="75">
                  <a:moveTo>
                    <a:pt x="66" y="55"/>
                  </a:moveTo>
                  <a:lnTo>
                    <a:pt x="14" y="75"/>
                  </a:lnTo>
                  <a:lnTo>
                    <a:pt x="0" y="48"/>
                  </a:lnTo>
                  <a:lnTo>
                    <a:pt x="33" y="4"/>
                  </a:lnTo>
                  <a:lnTo>
                    <a:pt x="33" y="3"/>
                  </a:lnTo>
                  <a:lnTo>
                    <a:pt x="34" y="3"/>
                  </a:lnTo>
                  <a:lnTo>
                    <a:pt x="36" y="2"/>
                  </a:lnTo>
                  <a:lnTo>
                    <a:pt x="38" y="1"/>
                  </a:lnTo>
                  <a:lnTo>
                    <a:pt x="40" y="0"/>
                  </a:lnTo>
                  <a:lnTo>
                    <a:pt x="43" y="0"/>
                  </a:lnTo>
                  <a:lnTo>
                    <a:pt x="46" y="0"/>
                  </a:lnTo>
                  <a:lnTo>
                    <a:pt x="49" y="1"/>
                  </a:lnTo>
                  <a:lnTo>
                    <a:pt x="52" y="3"/>
                  </a:lnTo>
                  <a:lnTo>
                    <a:pt x="55" y="6"/>
                  </a:lnTo>
                  <a:lnTo>
                    <a:pt x="58" y="10"/>
                  </a:lnTo>
                  <a:lnTo>
                    <a:pt x="60" y="15"/>
                  </a:lnTo>
                  <a:lnTo>
                    <a:pt x="62" y="22"/>
                  </a:lnTo>
                  <a:lnTo>
                    <a:pt x="64" y="31"/>
                  </a:lnTo>
                  <a:lnTo>
                    <a:pt x="65" y="42"/>
                  </a:lnTo>
                  <a:lnTo>
                    <a:pt x="66" y="55"/>
                  </a:lnTo>
                  <a:close/>
                </a:path>
              </a:pathLst>
            </a:custGeom>
            <a:grpFill/>
            <a:ln w="6350">
              <a:solidFill>
                <a:schemeClr val="tx2"/>
              </a:solidFill>
              <a:round/>
              <a:headEnd/>
              <a:tailEnd/>
            </a:ln>
          </p:spPr>
          <p:txBody>
            <a:bodyPr/>
            <a:lstStyle/>
            <a:p>
              <a:endParaRPr lang="en-US"/>
            </a:p>
          </p:txBody>
        </p:sp>
        <p:sp>
          <p:nvSpPr>
            <p:cNvPr id="392" name="Freeform 1707"/>
            <p:cNvSpPr>
              <a:spLocks/>
            </p:cNvSpPr>
            <p:nvPr/>
          </p:nvSpPr>
          <p:spPr bwMode="auto">
            <a:xfrm>
              <a:off x="7563041" y="2961605"/>
              <a:ext cx="18206" cy="22756"/>
            </a:xfrm>
            <a:custGeom>
              <a:avLst/>
              <a:gdLst>
                <a:gd name="T0" fmla="*/ 2147483647 w 38"/>
                <a:gd name="T1" fmla="*/ 2147483647 h 45"/>
                <a:gd name="T2" fmla="*/ 0 w 38"/>
                <a:gd name="T3" fmla="*/ 2147483647 h 45"/>
                <a:gd name="T4" fmla="*/ 2147483647 w 38"/>
                <a:gd name="T5" fmla="*/ 2147483647 h 45"/>
                <a:gd name="T6" fmla="*/ 2147483647 w 38"/>
                <a:gd name="T7" fmla="*/ 2147483647 h 45"/>
                <a:gd name="T8" fmla="*/ 2147483647 w 38"/>
                <a:gd name="T9" fmla="*/ 2147483647 h 45"/>
                <a:gd name="T10" fmla="*/ 2147483647 w 38"/>
                <a:gd name="T11" fmla="*/ 2147483647 h 45"/>
                <a:gd name="T12" fmla="*/ 2147483647 w 38"/>
                <a:gd name="T13" fmla="*/ 2147483647 h 45"/>
                <a:gd name="T14" fmla="*/ 2147483647 w 38"/>
                <a:gd name="T15" fmla="*/ 0 h 45"/>
                <a:gd name="T16" fmla="*/ 2147483647 w 38"/>
                <a:gd name="T17" fmla="*/ 2147483647 h 45"/>
                <a:gd name="T18" fmla="*/ 2147483647 w 38"/>
                <a:gd name="T19" fmla="*/ 2147483647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45"/>
                <a:gd name="T32" fmla="*/ 38 w 38"/>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45">
                  <a:moveTo>
                    <a:pt x="2" y="29"/>
                  </a:moveTo>
                  <a:lnTo>
                    <a:pt x="0" y="38"/>
                  </a:lnTo>
                  <a:lnTo>
                    <a:pt x="7" y="36"/>
                  </a:lnTo>
                  <a:lnTo>
                    <a:pt x="19" y="45"/>
                  </a:lnTo>
                  <a:lnTo>
                    <a:pt x="24" y="41"/>
                  </a:lnTo>
                  <a:lnTo>
                    <a:pt x="38" y="14"/>
                  </a:lnTo>
                  <a:lnTo>
                    <a:pt x="35" y="10"/>
                  </a:lnTo>
                  <a:lnTo>
                    <a:pt x="19" y="0"/>
                  </a:lnTo>
                  <a:lnTo>
                    <a:pt x="15" y="2"/>
                  </a:lnTo>
                  <a:lnTo>
                    <a:pt x="2" y="29"/>
                  </a:lnTo>
                  <a:close/>
                </a:path>
              </a:pathLst>
            </a:custGeom>
            <a:grpFill/>
            <a:ln w="6350">
              <a:solidFill>
                <a:schemeClr val="tx2"/>
              </a:solidFill>
              <a:round/>
              <a:headEnd/>
              <a:tailEnd/>
            </a:ln>
          </p:spPr>
          <p:txBody>
            <a:bodyPr/>
            <a:lstStyle/>
            <a:p>
              <a:endParaRPr lang="en-US"/>
            </a:p>
          </p:txBody>
        </p:sp>
        <p:sp>
          <p:nvSpPr>
            <p:cNvPr id="393" name="Freeform 1708"/>
            <p:cNvSpPr>
              <a:spLocks/>
            </p:cNvSpPr>
            <p:nvPr/>
          </p:nvSpPr>
          <p:spPr bwMode="auto">
            <a:xfrm>
              <a:off x="8121340" y="2805342"/>
              <a:ext cx="25791" cy="28826"/>
            </a:xfrm>
            <a:custGeom>
              <a:avLst/>
              <a:gdLst>
                <a:gd name="T0" fmla="*/ 2147483647 w 53"/>
                <a:gd name="T1" fmla="*/ 2147483647 h 61"/>
                <a:gd name="T2" fmla="*/ 2147483647 w 53"/>
                <a:gd name="T3" fmla="*/ 2147483647 h 61"/>
                <a:gd name="T4" fmla="*/ 0 w 53"/>
                <a:gd name="T5" fmla="*/ 2147483647 h 61"/>
                <a:gd name="T6" fmla="*/ 2147483647 w 53"/>
                <a:gd name="T7" fmla="*/ 2147483647 h 61"/>
                <a:gd name="T8" fmla="*/ 2147483647 w 53"/>
                <a:gd name="T9" fmla="*/ 2147483647 h 61"/>
                <a:gd name="T10" fmla="*/ 2147483647 w 53"/>
                <a:gd name="T11" fmla="*/ 0 h 61"/>
                <a:gd name="T12" fmla="*/ 2147483647 w 53"/>
                <a:gd name="T13" fmla="*/ 2147483647 h 61"/>
                <a:gd name="T14" fmla="*/ 0 60000 65536"/>
                <a:gd name="T15" fmla="*/ 0 60000 65536"/>
                <a:gd name="T16" fmla="*/ 0 60000 65536"/>
                <a:gd name="T17" fmla="*/ 0 60000 65536"/>
                <a:gd name="T18" fmla="*/ 0 60000 65536"/>
                <a:gd name="T19" fmla="*/ 0 60000 65536"/>
                <a:gd name="T20" fmla="*/ 0 60000 65536"/>
                <a:gd name="T21" fmla="*/ 0 w 53"/>
                <a:gd name="T22" fmla="*/ 0 h 61"/>
                <a:gd name="T23" fmla="*/ 53 w 53"/>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61">
                  <a:moveTo>
                    <a:pt x="43" y="1"/>
                  </a:moveTo>
                  <a:lnTo>
                    <a:pt x="12" y="19"/>
                  </a:lnTo>
                  <a:lnTo>
                    <a:pt x="0" y="61"/>
                  </a:lnTo>
                  <a:lnTo>
                    <a:pt x="8" y="61"/>
                  </a:lnTo>
                  <a:lnTo>
                    <a:pt x="53" y="19"/>
                  </a:lnTo>
                  <a:lnTo>
                    <a:pt x="49" y="0"/>
                  </a:lnTo>
                  <a:lnTo>
                    <a:pt x="43" y="1"/>
                  </a:lnTo>
                  <a:close/>
                </a:path>
              </a:pathLst>
            </a:custGeom>
            <a:grpFill/>
            <a:ln w="6350">
              <a:solidFill>
                <a:schemeClr val="tx2"/>
              </a:solidFill>
              <a:round/>
              <a:headEnd/>
              <a:tailEnd/>
            </a:ln>
          </p:spPr>
          <p:txBody>
            <a:bodyPr/>
            <a:lstStyle/>
            <a:p>
              <a:endParaRPr lang="en-US"/>
            </a:p>
          </p:txBody>
        </p:sp>
        <p:sp>
          <p:nvSpPr>
            <p:cNvPr id="394" name="Freeform 1709"/>
            <p:cNvSpPr>
              <a:spLocks/>
            </p:cNvSpPr>
            <p:nvPr/>
          </p:nvSpPr>
          <p:spPr bwMode="auto">
            <a:xfrm>
              <a:off x="8174438" y="2957054"/>
              <a:ext cx="15172" cy="24273"/>
            </a:xfrm>
            <a:custGeom>
              <a:avLst/>
              <a:gdLst>
                <a:gd name="T0" fmla="*/ 2147483647 w 34"/>
                <a:gd name="T1" fmla="*/ 0 h 47"/>
                <a:gd name="T2" fmla="*/ 2147483647 w 34"/>
                <a:gd name="T3" fmla="*/ 2147483647 h 47"/>
                <a:gd name="T4" fmla="*/ 2147483647 w 34"/>
                <a:gd name="T5" fmla="*/ 2147483647 h 47"/>
                <a:gd name="T6" fmla="*/ 2147483647 w 34"/>
                <a:gd name="T7" fmla="*/ 2147483647 h 47"/>
                <a:gd name="T8" fmla="*/ 2147483647 w 34"/>
                <a:gd name="T9" fmla="*/ 2147483647 h 47"/>
                <a:gd name="T10" fmla="*/ 0 w 34"/>
                <a:gd name="T11" fmla="*/ 2147483647 h 47"/>
                <a:gd name="T12" fmla="*/ 2147483647 w 34"/>
                <a:gd name="T13" fmla="*/ 0 h 47"/>
                <a:gd name="T14" fmla="*/ 0 60000 65536"/>
                <a:gd name="T15" fmla="*/ 0 60000 65536"/>
                <a:gd name="T16" fmla="*/ 0 60000 65536"/>
                <a:gd name="T17" fmla="*/ 0 60000 65536"/>
                <a:gd name="T18" fmla="*/ 0 60000 65536"/>
                <a:gd name="T19" fmla="*/ 0 60000 65536"/>
                <a:gd name="T20" fmla="*/ 0 60000 65536"/>
                <a:gd name="T21" fmla="*/ 0 w 34"/>
                <a:gd name="T22" fmla="*/ 0 h 47"/>
                <a:gd name="T23" fmla="*/ 34 w 34"/>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47">
                  <a:moveTo>
                    <a:pt x="6" y="0"/>
                  </a:moveTo>
                  <a:lnTo>
                    <a:pt x="16" y="3"/>
                  </a:lnTo>
                  <a:lnTo>
                    <a:pt x="19" y="21"/>
                  </a:lnTo>
                  <a:lnTo>
                    <a:pt x="34" y="47"/>
                  </a:lnTo>
                  <a:lnTo>
                    <a:pt x="16" y="36"/>
                  </a:lnTo>
                  <a:lnTo>
                    <a:pt x="0" y="5"/>
                  </a:lnTo>
                  <a:lnTo>
                    <a:pt x="6" y="0"/>
                  </a:lnTo>
                  <a:close/>
                </a:path>
              </a:pathLst>
            </a:custGeom>
            <a:grpFill/>
            <a:ln w="6350">
              <a:solidFill>
                <a:schemeClr val="tx2"/>
              </a:solidFill>
              <a:round/>
              <a:headEnd/>
              <a:tailEnd/>
            </a:ln>
          </p:spPr>
          <p:txBody>
            <a:bodyPr/>
            <a:lstStyle/>
            <a:p>
              <a:endParaRPr lang="en-US"/>
            </a:p>
          </p:txBody>
        </p:sp>
        <p:sp>
          <p:nvSpPr>
            <p:cNvPr id="395" name="Freeform 1710"/>
            <p:cNvSpPr>
              <a:spLocks/>
            </p:cNvSpPr>
            <p:nvPr/>
          </p:nvSpPr>
          <p:spPr bwMode="auto">
            <a:xfrm>
              <a:off x="8203264" y="2975258"/>
              <a:ext cx="12137" cy="12137"/>
            </a:xfrm>
            <a:custGeom>
              <a:avLst/>
              <a:gdLst>
                <a:gd name="T0" fmla="*/ 0 w 24"/>
                <a:gd name="T1" fmla="*/ 0 h 25"/>
                <a:gd name="T2" fmla="*/ 2147483647 w 24"/>
                <a:gd name="T3" fmla="*/ 2147483647 h 25"/>
                <a:gd name="T4" fmla="*/ 2147483647 w 24"/>
                <a:gd name="T5" fmla="*/ 2147483647 h 25"/>
                <a:gd name="T6" fmla="*/ 0 w 24"/>
                <a:gd name="T7" fmla="*/ 0 h 25"/>
                <a:gd name="T8" fmla="*/ 0 60000 65536"/>
                <a:gd name="T9" fmla="*/ 0 60000 65536"/>
                <a:gd name="T10" fmla="*/ 0 60000 65536"/>
                <a:gd name="T11" fmla="*/ 0 60000 65536"/>
                <a:gd name="T12" fmla="*/ 0 w 24"/>
                <a:gd name="T13" fmla="*/ 0 h 25"/>
                <a:gd name="T14" fmla="*/ 24 w 24"/>
                <a:gd name="T15" fmla="*/ 25 h 25"/>
              </a:gdLst>
              <a:ahLst/>
              <a:cxnLst>
                <a:cxn ang="T8">
                  <a:pos x="T0" y="T1"/>
                </a:cxn>
                <a:cxn ang="T9">
                  <a:pos x="T2" y="T3"/>
                </a:cxn>
                <a:cxn ang="T10">
                  <a:pos x="T4" y="T5"/>
                </a:cxn>
                <a:cxn ang="T11">
                  <a:pos x="T6" y="T7"/>
                </a:cxn>
              </a:cxnLst>
              <a:rect l="T12" t="T13" r="T14" b="T15"/>
              <a:pathLst>
                <a:path w="24" h="25">
                  <a:moveTo>
                    <a:pt x="0" y="0"/>
                  </a:moveTo>
                  <a:lnTo>
                    <a:pt x="24" y="25"/>
                  </a:lnTo>
                  <a:lnTo>
                    <a:pt x="5" y="14"/>
                  </a:lnTo>
                  <a:lnTo>
                    <a:pt x="0" y="0"/>
                  </a:lnTo>
                  <a:close/>
                </a:path>
              </a:pathLst>
            </a:custGeom>
            <a:grpFill/>
            <a:ln w="6350">
              <a:solidFill>
                <a:schemeClr val="tx2"/>
              </a:solidFill>
              <a:round/>
              <a:headEnd/>
              <a:tailEnd/>
            </a:ln>
          </p:spPr>
          <p:txBody>
            <a:bodyPr/>
            <a:lstStyle/>
            <a:p>
              <a:endParaRPr lang="en-US"/>
            </a:p>
          </p:txBody>
        </p:sp>
        <p:sp>
          <p:nvSpPr>
            <p:cNvPr id="396" name="Freeform 1403"/>
            <p:cNvSpPr>
              <a:spLocks/>
            </p:cNvSpPr>
            <p:nvPr/>
          </p:nvSpPr>
          <p:spPr bwMode="auto">
            <a:xfrm>
              <a:off x="7417399" y="4392242"/>
              <a:ext cx="224533" cy="188122"/>
            </a:xfrm>
            <a:custGeom>
              <a:avLst/>
              <a:gdLst>
                <a:gd name="T0" fmla="*/ 2147483647 w 448"/>
                <a:gd name="T1" fmla="*/ 2147483647 h 377"/>
                <a:gd name="T2" fmla="*/ 2147483647 w 448"/>
                <a:gd name="T3" fmla="*/ 2147483647 h 377"/>
                <a:gd name="T4" fmla="*/ 2147483647 w 448"/>
                <a:gd name="T5" fmla="*/ 2147483647 h 377"/>
                <a:gd name="T6" fmla="*/ 2147483647 w 448"/>
                <a:gd name="T7" fmla="*/ 2147483647 h 377"/>
                <a:gd name="T8" fmla="*/ 2147483647 w 448"/>
                <a:gd name="T9" fmla="*/ 2147483647 h 377"/>
                <a:gd name="T10" fmla="*/ 2147483647 w 448"/>
                <a:gd name="T11" fmla="*/ 2147483647 h 377"/>
                <a:gd name="T12" fmla="*/ 2147483647 w 448"/>
                <a:gd name="T13" fmla="*/ 2147483647 h 377"/>
                <a:gd name="T14" fmla="*/ 2147483647 w 448"/>
                <a:gd name="T15" fmla="*/ 2147483647 h 377"/>
                <a:gd name="T16" fmla="*/ 2147483647 w 448"/>
                <a:gd name="T17" fmla="*/ 2147483647 h 377"/>
                <a:gd name="T18" fmla="*/ 2147483647 w 448"/>
                <a:gd name="T19" fmla="*/ 2147483647 h 377"/>
                <a:gd name="T20" fmla="*/ 2147483647 w 448"/>
                <a:gd name="T21" fmla="*/ 2147483647 h 377"/>
                <a:gd name="T22" fmla="*/ 2147483647 w 448"/>
                <a:gd name="T23" fmla="*/ 2147483647 h 377"/>
                <a:gd name="T24" fmla="*/ 2147483647 w 448"/>
                <a:gd name="T25" fmla="*/ 2147483647 h 377"/>
                <a:gd name="T26" fmla="*/ 2147483647 w 448"/>
                <a:gd name="T27" fmla="*/ 2147483647 h 377"/>
                <a:gd name="T28" fmla="*/ 2147483647 w 448"/>
                <a:gd name="T29" fmla="*/ 2147483647 h 377"/>
                <a:gd name="T30" fmla="*/ 2147483647 w 448"/>
                <a:gd name="T31" fmla="*/ 2147483647 h 377"/>
                <a:gd name="T32" fmla="*/ 2147483647 w 448"/>
                <a:gd name="T33" fmla="*/ 2147483647 h 377"/>
                <a:gd name="T34" fmla="*/ 2147483647 w 448"/>
                <a:gd name="T35" fmla="*/ 2147483647 h 377"/>
                <a:gd name="T36" fmla="*/ 2147483647 w 448"/>
                <a:gd name="T37" fmla="*/ 2147483647 h 377"/>
                <a:gd name="T38" fmla="*/ 2147483647 w 448"/>
                <a:gd name="T39" fmla="*/ 2147483647 h 377"/>
                <a:gd name="T40" fmla="*/ 2147483647 w 448"/>
                <a:gd name="T41" fmla="*/ 2147483647 h 377"/>
                <a:gd name="T42" fmla="*/ 2147483647 w 448"/>
                <a:gd name="T43" fmla="*/ 2147483647 h 377"/>
                <a:gd name="T44" fmla="*/ 2147483647 w 448"/>
                <a:gd name="T45" fmla="*/ 2147483647 h 377"/>
                <a:gd name="T46" fmla="*/ 2147483647 w 448"/>
                <a:gd name="T47" fmla="*/ 2147483647 h 377"/>
                <a:gd name="T48" fmla="*/ 2147483647 w 448"/>
                <a:gd name="T49" fmla="*/ 2147483647 h 377"/>
                <a:gd name="T50" fmla="*/ 2147483647 w 448"/>
                <a:gd name="T51" fmla="*/ 2147483647 h 377"/>
                <a:gd name="T52" fmla="*/ 2147483647 w 448"/>
                <a:gd name="T53" fmla="*/ 2147483647 h 377"/>
                <a:gd name="T54" fmla="*/ 2147483647 w 448"/>
                <a:gd name="T55" fmla="*/ 2147483647 h 377"/>
                <a:gd name="T56" fmla="*/ 2147483647 w 448"/>
                <a:gd name="T57" fmla="*/ 2147483647 h 377"/>
                <a:gd name="T58" fmla="*/ 2147483647 w 448"/>
                <a:gd name="T59" fmla="*/ 2147483647 h 377"/>
                <a:gd name="T60" fmla="*/ 2147483647 w 448"/>
                <a:gd name="T61" fmla="*/ 2147483647 h 377"/>
                <a:gd name="T62" fmla="*/ 2147483647 w 448"/>
                <a:gd name="T63" fmla="*/ 2147483647 h 377"/>
                <a:gd name="T64" fmla="*/ 2147483647 w 448"/>
                <a:gd name="T65" fmla="*/ 2147483647 h 377"/>
                <a:gd name="T66" fmla="*/ 2147483647 w 448"/>
                <a:gd name="T67" fmla="*/ 2147483647 h 377"/>
                <a:gd name="T68" fmla="*/ 2147483647 w 448"/>
                <a:gd name="T69" fmla="*/ 2147483647 h 377"/>
                <a:gd name="T70" fmla="*/ 2147483647 w 448"/>
                <a:gd name="T71" fmla="*/ 2147483647 h 377"/>
                <a:gd name="T72" fmla="*/ 2147483647 w 448"/>
                <a:gd name="T73" fmla="*/ 2147483647 h 377"/>
                <a:gd name="T74" fmla="*/ 2147483647 w 448"/>
                <a:gd name="T75" fmla="*/ 2147483647 h 377"/>
                <a:gd name="T76" fmla="*/ 2147483647 w 448"/>
                <a:gd name="T77" fmla="*/ 2147483647 h 377"/>
                <a:gd name="T78" fmla="*/ 2147483647 w 448"/>
                <a:gd name="T79" fmla="*/ 2147483647 h 377"/>
                <a:gd name="T80" fmla="*/ 2147483647 w 448"/>
                <a:gd name="T81" fmla="*/ 2147483647 h 377"/>
                <a:gd name="T82" fmla="*/ 2147483647 w 448"/>
                <a:gd name="T83" fmla="*/ 2147483647 h 377"/>
                <a:gd name="T84" fmla="*/ 2147483647 w 448"/>
                <a:gd name="T85" fmla="*/ 2147483647 h 3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48"/>
                <a:gd name="T130" fmla="*/ 0 h 377"/>
                <a:gd name="T131" fmla="*/ 448 w 448"/>
                <a:gd name="T132" fmla="*/ 377 h 37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48" h="377">
                  <a:moveTo>
                    <a:pt x="438" y="94"/>
                  </a:moveTo>
                  <a:lnTo>
                    <a:pt x="441" y="201"/>
                  </a:lnTo>
                  <a:lnTo>
                    <a:pt x="441" y="258"/>
                  </a:lnTo>
                  <a:lnTo>
                    <a:pt x="437" y="276"/>
                  </a:lnTo>
                  <a:lnTo>
                    <a:pt x="442" y="289"/>
                  </a:lnTo>
                  <a:lnTo>
                    <a:pt x="448" y="377"/>
                  </a:lnTo>
                  <a:lnTo>
                    <a:pt x="431" y="369"/>
                  </a:lnTo>
                  <a:lnTo>
                    <a:pt x="391" y="331"/>
                  </a:lnTo>
                  <a:lnTo>
                    <a:pt x="374" y="336"/>
                  </a:lnTo>
                  <a:lnTo>
                    <a:pt x="358" y="334"/>
                  </a:lnTo>
                  <a:lnTo>
                    <a:pt x="352" y="339"/>
                  </a:lnTo>
                  <a:lnTo>
                    <a:pt x="348" y="336"/>
                  </a:lnTo>
                  <a:lnTo>
                    <a:pt x="345" y="344"/>
                  </a:lnTo>
                  <a:lnTo>
                    <a:pt x="335" y="341"/>
                  </a:lnTo>
                  <a:lnTo>
                    <a:pt x="297" y="346"/>
                  </a:lnTo>
                  <a:lnTo>
                    <a:pt x="308" y="318"/>
                  </a:lnTo>
                  <a:lnTo>
                    <a:pt x="320" y="304"/>
                  </a:lnTo>
                  <a:lnTo>
                    <a:pt x="336" y="302"/>
                  </a:lnTo>
                  <a:lnTo>
                    <a:pt x="349" y="309"/>
                  </a:lnTo>
                  <a:lnTo>
                    <a:pt x="349" y="303"/>
                  </a:lnTo>
                  <a:lnTo>
                    <a:pt x="342" y="296"/>
                  </a:lnTo>
                  <a:lnTo>
                    <a:pt x="348" y="292"/>
                  </a:lnTo>
                  <a:lnTo>
                    <a:pt x="331" y="283"/>
                  </a:lnTo>
                  <a:lnTo>
                    <a:pt x="335" y="282"/>
                  </a:lnTo>
                  <a:lnTo>
                    <a:pt x="338" y="269"/>
                  </a:lnTo>
                  <a:lnTo>
                    <a:pt x="326" y="254"/>
                  </a:lnTo>
                  <a:lnTo>
                    <a:pt x="323" y="233"/>
                  </a:lnTo>
                  <a:lnTo>
                    <a:pt x="312" y="219"/>
                  </a:lnTo>
                  <a:lnTo>
                    <a:pt x="301" y="217"/>
                  </a:lnTo>
                  <a:lnTo>
                    <a:pt x="293" y="207"/>
                  </a:lnTo>
                  <a:lnTo>
                    <a:pt x="246" y="190"/>
                  </a:lnTo>
                  <a:lnTo>
                    <a:pt x="181" y="175"/>
                  </a:lnTo>
                  <a:lnTo>
                    <a:pt x="168" y="168"/>
                  </a:lnTo>
                  <a:lnTo>
                    <a:pt x="163" y="156"/>
                  </a:lnTo>
                  <a:lnTo>
                    <a:pt x="149" y="155"/>
                  </a:lnTo>
                  <a:lnTo>
                    <a:pt x="148" y="160"/>
                  </a:lnTo>
                  <a:lnTo>
                    <a:pt x="124" y="141"/>
                  </a:lnTo>
                  <a:lnTo>
                    <a:pt x="126" y="111"/>
                  </a:lnTo>
                  <a:lnTo>
                    <a:pt x="109" y="154"/>
                  </a:lnTo>
                  <a:lnTo>
                    <a:pt x="103" y="159"/>
                  </a:lnTo>
                  <a:lnTo>
                    <a:pt x="85" y="159"/>
                  </a:lnTo>
                  <a:lnTo>
                    <a:pt x="81" y="128"/>
                  </a:lnTo>
                  <a:lnTo>
                    <a:pt x="76" y="128"/>
                  </a:lnTo>
                  <a:lnTo>
                    <a:pt x="62" y="113"/>
                  </a:lnTo>
                  <a:lnTo>
                    <a:pt x="44" y="110"/>
                  </a:lnTo>
                  <a:lnTo>
                    <a:pt x="45" y="103"/>
                  </a:lnTo>
                  <a:lnTo>
                    <a:pt x="53" y="100"/>
                  </a:lnTo>
                  <a:lnTo>
                    <a:pt x="75" y="102"/>
                  </a:lnTo>
                  <a:lnTo>
                    <a:pt x="98" y="91"/>
                  </a:lnTo>
                  <a:lnTo>
                    <a:pt x="116" y="94"/>
                  </a:lnTo>
                  <a:lnTo>
                    <a:pt x="123" y="91"/>
                  </a:lnTo>
                  <a:lnTo>
                    <a:pt x="127" y="73"/>
                  </a:lnTo>
                  <a:lnTo>
                    <a:pt x="87" y="84"/>
                  </a:lnTo>
                  <a:lnTo>
                    <a:pt x="61" y="84"/>
                  </a:lnTo>
                  <a:lnTo>
                    <a:pt x="50" y="78"/>
                  </a:lnTo>
                  <a:lnTo>
                    <a:pt x="36" y="53"/>
                  </a:lnTo>
                  <a:lnTo>
                    <a:pt x="15" y="47"/>
                  </a:lnTo>
                  <a:lnTo>
                    <a:pt x="14" y="52"/>
                  </a:lnTo>
                  <a:lnTo>
                    <a:pt x="0" y="46"/>
                  </a:lnTo>
                  <a:lnTo>
                    <a:pt x="13" y="22"/>
                  </a:lnTo>
                  <a:lnTo>
                    <a:pt x="37" y="16"/>
                  </a:lnTo>
                  <a:lnTo>
                    <a:pt x="52" y="3"/>
                  </a:lnTo>
                  <a:lnTo>
                    <a:pt x="62" y="0"/>
                  </a:lnTo>
                  <a:lnTo>
                    <a:pt x="84" y="3"/>
                  </a:lnTo>
                  <a:lnTo>
                    <a:pt x="105" y="18"/>
                  </a:lnTo>
                  <a:lnTo>
                    <a:pt x="132" y="18"/>
                  </a:lnTo>
                  <a:lnTo>
                    <a:pt x="140" y="38"/>
                  </a:lnTo>
                  <a:lnTo>
                    <a:pt x="137" y="71"/>
                  </a:lnTo>
                  <a:lnTo>
                    <a:pt x="141" y="89"/>
                  </a:lnTo>
                  <a:lnTo>
                    <a:pt x="151" y="104"/>
                  </a:lnTo>
                  <a:lnTo>
                    <a:pt x="153" y="93"/>
                  </a:lnTo>
                  <a:lnTo>
                    <a:pt x="161" y="96"/>
                  </a:lnTo>
                  <a:lnTo>
                    <a:pt x="171" y="121"/>
                  </a:lnTo>
                  <a:lnTo>
                    <a:pt x="185" y="129"/>
                  </a:lnTo>
                  <a:lnTo>
                    <a:pt x="201" y="128"/>
                  </a:lnTo>
                  <a:lnTo>
                    <a:pt x="205" y="119"/>
                  </a:lnTo>
                  <a:lnTo>
                    <a:pt x="232" y="94"/>
                  </a:lnTo>
                  <a:lnTo>
                    <a:pt x="237" y="81"/>
                  </a:lnTo>
                  <a:lnTo>
                    <a:pt x="265" y="76"/>
                  </a:lnTo>
                  <a:lnTo>
                    <a:pt x="272" y="72"/>
                  </a:lnTo>
                  <a:lnTo>
                    <a:pt x="275" y="61"/>
                  </a:lnTo>
                  <a:lnTo>
                    <a:pt x="299" y="46"/>
                  </a:lnTo>
                  <a:lnTo>
                    <a:pt x="378" y="82"/>
                  </a:lnTo>
                  <a:lnTo>
                    <a:pt x="412" y="85"/>
                  </a:lnTo>
                  <a:lnTo>
                    <a:pt x="427" y="95"/>
                  </a:lnTo>
                  <a:lnTo>
                    <a:pt x="438" y="94"/>
                  </a:lnTo>
                  <a:close/>
                </a:path>
              </a:pathLst>
            </a:custGeom>
            <a:grpFill/>
            <a:ln w="6350">
              <a:solidFill>
                <a:schemeClr val="tx2"/>
              </a:solidFill>
              <a:round/>
              <a:headEnd/>
              <a:tailEnd/>
            </a:ln>
          </p:spPr>
          <p:txBody>
            <a:bodyPr/>
            <a:lstStyle/>
            <a:p>
              <a:endParaRPr lang="en-US"/>
            </a:p>
          </p:txBody>
        </p:sp>
        <p:sp>
          <p:nvSpPr>
            <p:cNvPr id="397" name="Freeform 1404"/>
            <p:cNvSpPr>
              <a:spLocks/>
            </p:cNvSpPr>
            <p:nvPr/>
          </p:nvSpPr>
          <p:spPr bwMode="auto">
            <a:xfrm>
              <a:off x="7637380" y="4437755"/>
              <a:ext cx="210879" cy="174468"/>
            </a:xfrm>
            <a:custGeom>
              <a:avLst/>
              <a:gdLst>
                <a:gd name="T0" fmla="*/ 2147483647 w 427"/>
                <a:gd name="T1" fmla="*/ 0 h 350"/>
                <a:gd name="T2" fmla="*/ 2147483647 w 427"/>
                <a:gd name="T3" fmla="*/ 2147483647 h 350"/>
                <a:gd name="T4" fmla="*/ 2147483647 w 427"/>
                <a:gd name="T5" fmla="*/ 2147483647 h 350"/>
                <a:gd name="T6" fmla="*/ 0 w 427"/>
                <a:gd name="T7" fmla="*/ 2147483647 h 350"/>
                <a:gd name="T8" fmla="*/ 2147483647 w 427"/>
                <a:gd name="T9" fmla="*/ 2147483647 h 350"/>
                <a:gd name="T10" fmla="*/ 2147483647 w 427"/>
                <a:gd name="T11" fmla="*/ 2147483647 h 350"/>
                <a:gd name="T12" fmla="*/ 2147483647 w 427"/>
                <a:gd name="T13" fmla="*/ 2147483647 h 350"/>
                <a:gd name="T14" fmla="*/ 2147483647 w 427"/>
                <a:gd name="T15" fmla="*/ 2147483647 h 350"/>
                <a:gd name="T16" fmla="*/ 2147483647 w 427"/>
                <a:gd name="T17" fmla="*/ 2147483647 h 350"/>
                <a:gd name="T18" fmla="*/ 2147483647 w 427"/>
                <a:gd name="T19" fmla="*/ 2147483647 h 350"/>
                <a:gd name="T20" fmla="*/ 2147483647 w 427"/>
                <a:gd name="T21" fmla="*/ 2147483647 h 350"/>
                <a:gd name="T22" fmla="*/ 2147483647 w 427"/>
                <a:gd name="T23" fmla="*/ 2147483647 h 350"/>
                <a:gd name="T24" fmla="*/ 2147483647 w 427"/>
                <a:gd name="T25" fmla="*/ 2147483647 h 350"/>
                <a:gd name="T26" fmla="*/ 2147483647 w 427"/>
                <a:gd name="T27" fmla="*/ 2147483647 h 350"/>
                <a:gd name="T28" fmla="*/ 2147483647 w 427"/>
                <a:gd name="T29" fmla="*/ 2147483647 h 350"/>
                <a:gd name="T30" fmla="*/ 2147483647 w 427"/>
                <a:gd name="T31" fmla="*/ 2147483647 h 350"/>
                <a:gd name="T32" fmla="*/ 2147483647 w 427"/>
                <a:gd name="T33" fmla="*/ 2147483647 h 350"/>
                <a:gd name="T34" fmla="*/ 2147483647 w 427"/>
                <a:gd name="T35" fmla="*/ 2147483647 h 350"/>
                <a:gd name="T36" fmla="*/ 2147483647 w 427"/>
                <a:gd name="T37" fmla="*/ 2147483647 h 350"/>
                <a:gd name="T38" fmla="*/ 2147483647 w 427"/>
                <a:gd name="T39" fmla="*/ 2147483647 h 350"/>
                <a:gd name="T40" fmla="*/ 2147483647 w 427"/>
                <a:gd name="T41" fmla="*/ 2147483647 h 350"/>
                <a:gd name="T42" fmla="*/ 2147483647 w 427"/>
                <a:gd name="T43" fmla="*/ 2147483647 h 350"/>
                <a:gd name="T44" fmla="*/ 2147483647 w 427"/>
                <a:gd name="T45" fmla="*/ 2147483647 h 350"/>
                <a:gd name="T46" fmla="*/ 2147483647 w 427"/>
                <a:gd name="T47" fmla="*/ 2147483647 h 350"/>
                <a:gd name="T48" fmla="*/ 2147483647 w 427"/>
                <a:gd name="T49" fmla="*/ 2147483647 h 350"/>
                <a:gd name="T50" fmla="*/ 2147483647 w 427"/>
                <a:gd name="T51" fmla="*/ 2147483647 h 350"/>
                <a:gd name="T52" fmla="*/ 2147483647 w 427"/>
                <a:gd name="T53" fmla="*/ 2147483647 h 350"/>
                <a:gd name="T54" fmla="*/ 2147483647 w 427"/>
                <a:gd name="T55" fmla="*/ 2147483647 h 350"/>
                <a:gd name="T56" fmla="*/ 2147483647 w 427"/>
                <a:gd name="T57" fmla="*/ 2147483647 h 350"/>
                <a:gd name="T58" fmla="*/ 2147483647 w 427"/>
                <a:gd name="T59" fmla="*/ 2147483647 h 350"/>
                <a:gd name="T60" fmla="*/ 2147483647 w 427"/>
                <a:gd name="T61" fmla="*/ 2147483647 h 350"/>
                <a:gd name="T62" fmla="*/ 2147483647 w 427"/>
                <a:gd name="T63" fmla="*/ 2147483647 h 350"/>
                <a:gd name="T64" fmla="*/ 2147483647 w 427"/>
                <a:gd name="T65" fmla="*/ 2147483647 h 350"/>
                <a:gd name="T66" fmla="*/ 2147483647 w 427"/>
                <a:gd name="T67" fmla="*/ 2147483647 h 350"/>
                <a:gd name="T68" fmla="*/ 2147483647 w 427"/>
                <a:gd name="T69" fmla="*/ 2147483647 h 350"/>
                <a:gd name="T70" fmla="*/ 2147483647 w 427"/>
                <a:gd name="T71" fmla="*/ 2147483647 h 350"/>
                <a:gd name="T72" fmla="*/ 2147483647 w 427"/>
                <a:gd name="T73" fmla="*/ 2147483647 h 350"/>
                <a:gd name="T74" fmla="*/ 2147483647 w 427"/>
                <a:gd name="T75" fmla="*/ 2147483647 h 350"/>
                <a:gd name="T76" fmla="*/ 2147483647 w 427"/>
                <a:gd name="T77" fmla="*/ 2147483647 h 350"/>
                <a:gd name="T78" fmla="*/ 2147483647 w 427"/>
                <a:gd name="T79" fmla="*/ 2147483647 h 350"/>
                <a:gd name="T80" fmla="*/ 2147483647 w 427"/>
                <a:gd name="T81" fmla="*/ 2147483647 h 350"/>
                <a:gd name="T82" fmla="*/ 2147483647 w 427"/>
                <a:gd name="T83" fmla="*/ 2147483647 h 350"/>
                <a:gd name="T84" fmla="*/ 2147483647 w 427"/>
                <a:gd name="T85" fmla="*/ 2147483647 h 350"/>
                <a:gd name="T86" fmla="*/ 2147483647 w 427"/>
                <a:gd name="T87" fmla="*/ 2147483647 h 350"/>
                <a:gd name="T88" fmla="*/ 2147483647 w 427"/>
                <a:gd name="T89" fmla="*/ 2147483647 h 350"/>
                <a:gd name="T90" fmla="*/ 2147483647 w 427"/>
                <a:gd name="T91" fmla="*/ 2147483647 h 350"/>
                <a:gd name="T92" fmla="*/ 2147483647 w 427"/>
                <a:gd name="T93" fmla="*/ 2147483647 h 350"/>
                <a:gd name="T94" fmla="*/ 2147483647 w 427"/>
                <a:gd name="T95" fmla="*/ 2147483647 h 350"/>
                <a:gd name="T96" fmla="*/ 2147483647 w 427"/>
                <a:gd name="T97" fmla="*/ 2147483647 h 350"/>
                <a:gd name="T98" fmla="*/ 2147483647 w 427"/>
                <a:gd name="T99" fmla="*/ 2147483647 h 350"/>
                <a:gd name="T100" fmla="*/ 2147483647 w 427"/>
                <a:gd name="T101" fmla="*/ 2147483647 h 350"/>
                <a:gd name="T102" fmla="*/ 2147483647 w 427"/>
                <a:gd name="T103" fmla="*/ 0 h 3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27"/>
                <a:gd name="T157" fmla="*/ 0 h 350"/>
                <a:gd name="T158" fmla="*/ 427 w 427"/>
                <a:gd name="T159" fmla="*/ 350 h 3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27" h="350">
                  <a:moveTo>
                    <a:pt x="1" y="0"/>
                  </a:moveTo>
                  <a:lnTo>
                    <a:pt x="4" y="107"/>
                  </a:lnTo>
                  <a:lnTo>
                    <a:pt x="4" y="164"/>
                  </a:lnTo>
                  <a:lnTo>
                    <a:pt x="0" y="182"/>
                  </a:lnTo>
                  <a:lnTo>
                    <a:pt x="5" y="195"/>
                  </a:lnTo>
                  <a:lnTo>
                    <a:pt x="11" y="283"/>
                  </a:lnTo>
                  <a:lnTo>
                    <a:pt x="78" y="288"/>
                  </a:lnTo>
                  <a:lnTo>
                    <a:pt x="101" y="273"/>
                  </a:lnTo>
                  <a:lnTo>
                    <a:pt x="87" y="250"/>
                  </a:lnTo>
                  <a:lnTo>
                    <a:pt x="107" y="243"/>
                  </a:lnTo>
                  <a:lnTo>
                    <a:pt x="109" y="235"/>
                  </a:lnTo>
                  <a:lnTo>
                    <a:pt x="125" y="233"/>
                  </a:lnTo>
                  <a:lnTo>
                    <a:pt x="120" y="215"/>
                  </a:lnTo>
                  <a:lnTo>
                    <a:pt x="136" y="221"/>
                  </a:lnTo>
                  <a:lnTo>
                    <a:pt x="148" y="212"/>
                  </a:lnTo>
                  <a:lnTo>
                    <a:pt x="226" y="245"/>
                  </a:lnTo>
                  <a:lnTo>
                    <a:pt x="244" y="279"/>
                  </a:lnTo>
                  <a:lnTo>
                    <a:pt x="259" y="280"/>
                  </a:lnTo>
                  <a:lnTo>
                    <a:pt x="259" y="289"/>
                  </a:lnTo>
                  <a:lnTo>
                    <a:pt x="292" y="323"/>
                  </a:lnTo>
                  <a:lnTo>
                    <a:pt x="389" y="339"/>
                  </a:lnTo>
                  <a:lnTo>
                    <a:pt x="391" y="347"/>
                  </a:lnTo>
                  <a:lnTo>
                    <a:pt x="403" y="350"/>
                  </a:lnTo>
                  <a:lnTo>
                    <a:pt x="417" y="342"/>
                  </a:lnTo>
                  <a:lnTo>
                    <a:pt x="404" y="336"/>
                  </a:lnTo>
                  <a:lnTo>
                    <a:pt x="419" y="336"/>
                  </a:lnTo>
                  <a:lnTo>
                    <a:pt x="427" y="334"/>
                  </a:lnTo>
                  <a:lnTo>
                    <a:pt x="426" y="330"/>
                  </a:lnTo>
                  <a:lnTo>
                    <a:pt x="406" y="328"/>
                  </a:lnTo>
                  <a:lnTo>
                    <a:pt x="381" y="316"/>
                  </a:lnTo>
                  <a:lnTo>
                    <a:pt x="391" y="308"/>
                  </a:lnTo>
                  <a:lnTo>
                    <a:pt x="355" y="296"/>
                  </a:lnTo>
                  <a:lnTo>
                    <a:pt x="357" y="281"/>
                  </a:lnTo>
                  <a:lnTo>
                    <a:pt x="353" y="278"/>
                  </a:lnTo>
                  <a:lnTo>
                    <a:pt x="334" y="280"/>
                  </a:lnTo>
                  <a:lnTo>
                    <a:pt x="328" y="277"/>
                  </a:lnTo>
                  <a:lnTo>
                    <a:pt x="311" y="254"/>
                  </a:lnTo>
                  <a:lnTo>
                    <a:pt x="309" y="239"/>
                  </a:lnTo>
                  <a:lnTo>
                    <a:pt x="303" y="237"/>
                  </a:lnTo>
                  <a:lnTo>
                    <a:pt x="273" y="211"/>
                  </a:lnTo>
                  <a:lnTo>
                    <a:pt x="262" y="187"/>
                  </a:lnTo>
                  <a:lnTo>
                    <a:pt x="266" y="183"/>
                  </a:lnTo>
                  <a:lnTo>
                    <a:pt x="296" y="179"/>
                  </a:lnTo>
                  <a:lnTo>
                    <a:pt x="297" y="168"/>
                  </a:lnTo>
                  <a:lnTo>
                    <a:pt x="287" y="152"/>
                  </a:lnTo>
                  <a:lnTo>
                    <a:pt x="212" y="127"/>
                  </a:lnTo>
                  <a:lnTo>
                    <a:pt x="209" y="109"/>
                  </a:lnTo>
                  <a:lnTo>
                    <a:pt x="197" y="90"/>
                  </a:lnTo>
                  <a:lnTo>
                    <a:pt x="158" y="65"/>
                  </a:lnTo>
                  <a:lnTo>
                    <a:pt x="147" y="51"/>
                  </a:lnTo>
                  <a:lnTo>
                    <a:pt x="64" y="27"/>
                  </a:lnTo>
                  <a:lnTo>
                    <a:pt x="1" y="0"/>
                  </a:lnTo>
                  <a:close/>
                </a:path>
              </a:pathLst>
            </a:custGeom>
            <a:grpFill/>
            <a:ln w="6350">
              <a:solidFill>
                <a:schemeClr val="tx2"/>
              </a:solidFill>
              <a:round/>
              <a:headEnd/>
              <a:tailEnd/>
            </a:ln>
          </p:spPr>
          <p:txBody>
            <a:bodyPr/>
            <a:lstStyle/>
            <a:p>
              <a:endParaRPr lang="en-US"/>
            </a:p>
          </p:txBody>
        </p:sp>
        <p:sp>
          <p:nvSpPr>
            <p:cNvPr id="398" name="Freeform 1405"/>
            <p:cNvSpPr>
              <a:spLocks/>
            </p:cNvSpPr>
            <p:nvPr/>
          </p:nvSpPr>
          <p:spPr bwMode="auto">
            <a:xfrm>
              <a:off x="6760488" y="4242049"/>
              <a:ext cx="87993" cy="112266"/>
            </a:xfrm>
            <a:custGeom>
              <a:avLst/>
              <a:gdLst>
                <a:gd name="T0" fmla="*/ 2147483647 w 177"/>
                <a:gd name="T1" fmla="*/ 2147483647 h 226"/>
                <a:gd name="T2" fmla="*/ 2147483647 w 177"/>
                <a:gd name="T3" fmla="*/ 2147483647 h 226"/>
                <a:gd name="T4" fmla="*/ 2147483647 w 177"/>
                <a:gd name="T5" fmla="*/ 2147483647 h 226"/>
                <a:gd name="T6" fmla="*/ 2147483647 w 177"/>
                <a:gd name="T7" fmla="*/ 2147483647 h 226"/>
                <a:gd name="T8" fmla="*/ 2147483647 w 177"/>
                <a:gd name="T9" fmla="*/ 2147483647 h 226"/>
                <a:gd name="T10" fmla="*/ 2147483647 w 177"/>
                <a:gd name="T11" fmla="*/ 2147483647 h 226"/>
                <a:gd name="T12" fmla="*/ 2147483647 w 177"/>
                <a:gd name="T13" fmla="*/ 2147483647 h 226"/>
                <a:gd name="T14" fmla="*/ 2147483647 w 177"/>
                <a:gd name="T15" fmla="*/ 2147483647 h 226"/>
                <a:gd name="T16" fmla="*/ 2147483647 w 177"/>
                <a:gd name="T17" fmla="*/ 2147483647 h 226"/>
                <a:gd name="T18" fmla="*/ 2147483647 w 177"/>
                <a:gd name="T19" fmla="*/ 2147483647 h 226"/>
                <a:gd name="T20" fmla="*/ 2147483647 w 177"/>
                <a:gd name="T21" fmla="*/ 2147483647 h 226"/>
                <a:gd name="T22" fmla="*/ 2147483647 w 177"/>
                <a:gd name="T23" fmla="*/ 2147483647 h 226"/>
                <a:gd name="T24" fmla="*/ 2147483647 w 177"/>
                <a:gd name="T25" fmla="*/ 2147483647 h 226"/>
                <a:gd name="T26" fmla="*/ 2147483647 w 177"/>
                <a:gd name="T27" fmla="*/ 2147483647 h 226"/>
                <a:gd name="T28" fmla="*/ 2147483647 w 177"/>
                <a:gd name="T29" fmla="*/ 2147483647 h 226"/>
                <a:gd name="T30" fmla="*/ 2147483647 w 177"/>
                <a:gd name="T31" fmla="*/ 2147483647 h 226"/>
                <a:gd name="T32" fmla="*/ 2147483647 w 177"/>
                <a:gd name="T33" fmla="*/ 2147483647 h 226"/>
                <a:gd name="T34" fmla="*/ 2147483647 w 177"/>
                <a:gd name="T35" fmla="*/ 2147483647 h 226"/>
                <a:gd name="T36" fmla="*/ 2147483647 w 177"/>
                <a:gd name="T37" fmla="*/ 2147483647 h 226"/>
                <a:gd name="T38" fmla="*/ 0 w 177"/>
                <a:gd name="T39" fmla="*/ 0 h 226"/>
                <a:gd name="T40" fmla="*/ 2147483647 w 177"/>
                <a:gd name="T41" fmla="*/ 2147483647 h 226"/>
                <a:gd name="T42" fmla="*/ 2147483647 w 177"/>
                <a:gd name="T43" fmla="*/ 2147483647 h 226"/>
                <a:gd name="T44" fmla="*/ 2147483647 w 177"/>
                <a:gd name="T45" fmla="*/ 2147483647 h 226"/>
                <a:gd name="T46" fmla="*/ 2147483647 w 177"/>
                <a:gd name="T47" fmla="*/ 2147483647 h 226"/>
                <a:gd name="T48" fmla="*/ 2147483647 w 177"/>
                <a:gd name="T49" fmla="*/ 2147483647 h 226"/>
                <a:gd name="T50" fmla="*/ 2147483647 w 177"/>
                <a:gd name="T51" fmla="*/ 2147483647 h 2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7"/>
                <a:gd name="T79" fmla="*/ 0 h 226"/>
                <a:gd name="T80" fmla="*/ 177 w 177"/>
                <a:gd name="T81" fmla="*/ 226 h 2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7" h="226">
                  <a:moveTo>
                    <a:pt x="87" y="22"/>
                  </a:moveTo>
                  <a:lnTo>
                    <a:pt x="96" y="22"/>
                  </a:lnTo>
                  <a:lnTo>
                    <a:pt x="124" y="47"/>
                  </a:lnTo>
                  <a:lnTo>
                    <a:pt x="142" y="75"/>
                  </a:lnTo>
                  <a:lnTo>
                    <a:pt x="143" y="149"/>
                  </a:lnTo>
                  <a:lnTo>
                    <a:pt x="148" y="164"/>
                  </a:lnTo>
                  <a:lnTo>
                    <a:pt x="161" y="173"/>
                  </a:lnTo>
                  <a:lnTo>
                    <a:pt x="177" y="208"/>
                  </a:lnTo>
                  <a:lnTo>
                    <a:pt x="172" y="225"/>
                  </a:lnTo>
                  <a:lnTo>
                    <a:pt x="155" y="217"/>
                  </a:lnTo>
                  <a:lnTo>
                    <a:pt x="143" y="226"/>
                  </a:lnTo>
                  <a:lnTo>
                    <a:pt x="90" y="193"/>
                  </a:lnTo>
                  <a:lnTo>
                    <a:pt x="53" y="163"/>
                  </a:lnTo>
                  <a:lnTo>
                    <a:pt x="47" y="143"/>
                  </a:lnTo>
                  <a:lnTo>
                    <a:pt x="26" y="116"/>
                  </a:lnTo>
                  <a:lnTo>
                    <a:pt x="20" y="102"/>
                  </a:lnTo>
                  <a:lnTo>
                    <a:pt x="21" y="81"/>
                  </a:lnTo>
                  <a:lnTo>
                    <a:pt x="12" y="69"/>
                  </a:lnTo>
                  <a:lnTo>
                    <a:pt x="3" y="12"/>
                  </a:lnTo>
                  <a:lnTo>
                    <a:pt x="0" y="0"/>
                  </a:lnTo>
                  <a:lnTo>
                    <a:pt x="36" y="11"/>
                  </a:lnTo>
                  <a:lnTo>
                    <a:pt x="44" y="22"/>
                  </a:lnTo>
                  <a:lnTo>
                    <a:pt x="46" y="44"/>
                  </a:lnTo>
                  <a:lnTo>
                    <a:pt x="64" y="32"/>
                  </a:lnTo>
                  <a:lnTo>
                    <a:pt x="81" y="32"/>
                  </a:lnTo>
                  <a:lnTo>
                    <a:pt x="87" y="22"/>
                  </a:lnTo>
                  <a:close/>
                </a:path>
              </a:pathLst>
            </a:custGeom>
            <a:grpFill/>
            <a:ln w="6350">
              <a:solidFill>
                <a:schemeClr val="tx2"/>
              </a:solidFill>
              <a:round/>
              <a:headEnd/>
              <a:tailEnd/>
            </a:ln>
          </p:spPr>
          <p:txBody>
            <a:bodyPr/>
            <a:lstStyle/>
            <a:p>
              <a:endParaRPr lang="en-US"/>
            </a:p>
          </p:txBody>
        </p:sp>
        <p:sp>
          <p:nvSpPr>
            <p:cNvPr id="399" name="Freeform 1406"/>
            <p:cNvSpPr>
              <a:spLocks/>
            </p:cNvSpPr>
            <p:nvPr/>
          </p:nvSpPr>
          <p:spPr bwMode="auto">
            <a:xfrm>
              <a:off x="6962265" y="4237496"/>
              <a:ext cx="207844" cy="127438"/>
            </a:xfrm>
            <a:custGeom>
              <a:avLst/>
              <a:gdLst>
                <a:gd name="T0" fmla="*/ 2147483647 w 416"/>
                <a:gd name="T1" fmla="*/ 2147483647 h 258"/>
                <a:gd name="T2" fmla="*/ 2147483647 w 416"/>
                <a:gd name="T3" fmla="*/ 2147483647 h 258"/>
                <a:gd name="T4" fmla="*/ 2147483647 w 416"/>
                <a:gd name="T5" fmla="*/ 2147483647 h 258"/>
                <a:gd name="T6" fmla="*/ 2147483647 w 416"/>
                <a:gd name="T7" fmla="*/ 2147483647 h 258"/>
                <a:gd name="T8" fmla="*/ 2147483647 w 416"/>
                <a:gd name="T9" fmla="*/ 2147483647 h 258"/>
                <a:gd name="T10" fmla="*/ 2147483647 w 416"/>
                <a:gd name="T11" fmla="*/ 2147483647 h 258"/>
                <a:gd name="T12" fmla="*/ 2147483647 w 416"/>
                <a:gd name="T13" fmla="*/ 0 h 258"/>
                <a:gd name="T14" fmla="*/ 2147483647 w 416"/>
                <a:gd name="T15" fmla="*/ 2147483647 h 258"/>
                <a:gd name="T16" fmla="*/ 2147483647 w 416"/>
                <a:gd name="T17" fmla="*/ 2147483647 h 258"/>
                <a:gd name="T18" fmla="*/ 2147483647 w 416"/>
                <a:gd name="T19" fmla="*/ 2147483647 h 258"/>
                <a:gd name="T20" fmla="*/ 2147483647 w 416"/>
                <a:gd name="T21" fmla="*/ 2147483647 h 258"/>
                <a:gd name="T22" fmla="*/ 2147483647 w 416"/>
                <a:gd name="T23" fmla="*/ 2147483647 h 258"/>
                <a:gd name="T24" fmla="*/ 2147483647 w 416"/>
                <a:gd name="T25" fmla="*/ 2147483647 h 258"/>
                <a:gd name="T26" fmla="*/ 2147483647 w 416"/>
                <a:gd name="T27" fmla="*/ 2147483647 h 258"/>
                <a:gd name="T28" fmla="*/ 2147483647 w 416"/>
                <a:gd name="T29" fmla="*/ 2147483647 h 258"/>
                <a:gd name="T30" fmla="*/ 2147483647 w 416"/>
                <a:gd name="T31" fmla="*/ 2147483647 h 258"/>
                <a:gd name="T32" fmla="*/ 2147483647 w 416"/>
                <a:gd name="T33" fmla="*/ 2147483647 h 258"/>
                <a:gd name="T34" fmla="*/ 2147483647 w 416"/>
                <a:gd name="T35" fmla="*/ 2147483647 h 258"/>
                <a:gd name="T36" fmla="*/ 2147483647 w 416"/>
                <a:gd name="T37" fmla="*/ 2147483647 h 258"/>
                <a:gd name="T38" fmla="*/ 2147483647 w 416"/>
                <a:gd name="T39" fmla="*/ 2147483647 h 258"/>
                <a:gd name="T40" fmla="*/ 2147483647 w 416"/>
                <a:gd name="T41" fmla="*/ 2147483647 h 258"/>
                <a:gd name="T42" fmla="*/ 2147483647 w 416"/>
                <a:gd name="T43" fmla="*/ 2147483647 h 258"/>
                <a:gd name="T44" fmla="*/ 2147483647 w 416"/>
                <a:gd name="T45" fmla="*/ 2147483647 h 258"/>
                <a:gd name="T46" fmla="*/ 2147483647 w 416"/>
                <a:gd name="T47" fmla="*/ 2147483647 h 258"/>
                <a:gd name="T48" fmla="*/ 2147483647 w 416"/>
                <a:gd name="T49" fmla="*/ 2147483647 h 258"/>
                <a:gd name="T50" fmla="*/ 2147483647 w 416"/>
                <a:gd name="T51" fmla="*/ 2147483647 h 258"/>
                <a:gd name="T52" fmla="*/ 2147483647 w 416"/>
                <a:gd name="T53" fmla="*/ 2147483647 h 258"/>
                <a:gd name="T54" fmla="*/ 2147483647 w 416"/>
                <a:gd name="T55" fmla="*/ 2147483647 h 258"/>
                <a:gd name="T56" fmla="*/ 2147483647 w 416"/>
                <a:gd name="T57" fmla="*/ 2147483647 h 258"/>
                <a:gd name="T58" fmla="*/ 2147483647 w 416"/>
                <a:gd name="T59" fmla="*/ 2147483647 h 258"/>
                <a:gd name="T60" fmla="*/ 2147483647 w 416"/>
                <a:gd name="T61" fmla="*/ 2147483647 h 258"/>
                <a:gd name="T62" fmla="*/ 2147483647 w 416"/>
                <a:gd name="T63" fmla="*/ 2147483647 h 2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16"/>
                <a:gd name="T97" fmla="*/ 0 h 258"/>
                <a:gd name="T98" fmla="*/ 416 w 416"/>
                <a:gd name="T99" fmla="*/ 258 h 2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16" h="258">
                  <a:moveTo>
                    <a:pt x="190" y="102"/>
                  </a:moveTo>
                  <a:lnTo>
                    <a:pt x="216" y="125"/>
                  </a:lnTo>
                  <a:lnTo>
                    <a:pt x="222" y="118"/>
                  </a:lnTo>
                  <a:lnTo>
                    <a:pt x="223" y="99"/>
                  </a:lnTo>
                  <a:lnTo>
                    <a:pt x="230" y="94"/>
                  </a:lnTo>
                  <a:lnTo>
                    <a:pt x="240" y="108"/>
                  </a:lnTo>
                  <a:lnTo>
                    <a:pt x="248" y="110"/>
                  </a:lnTo>
                  <a:lnTo>
                    <a:pt x="249" y="97"/>
                  </a:lnTo>
                  <a:lnTo>
                    <a:pt x="242" y="88"/>
                  </a:lnTo>
                  <a:lnTo>
                    <a:pt x="257" y="77"/>
                  </a:lnTo>
                  <a:lnTo>
                    <a:pt x="250" y="69"/>
                  </a:lnTo>
                  <a:lnTo>
                    <a:pt x="254" y="64"/>
                  </a:lnTo>
                  <a:lnTo>
                    <a:pt x="266" y="62"/>
                  </a:lnTo>
                  <a:lnTo>
                    <a:pt x="307" y="0"/>
                  </a:lnTo>
                  <a:lnTo>
                    <a:pt x="308" y="19"/>
                  </a:lnTo>
                  <a:lnTo>
                    <a:pt x="320" y="1"/>
                  </a:lnTo>
                  <a:lnTo>
                    <a:pt x="326" y="1"/>
                  </a:lnTo>
                  <a:lnTo>
                    <a:pt x="331" y="15"/>
                  </a:lnTo>
                  <a:lnTo>
                    <a:pt x="347" y="23"/>
                  </a:lnTo>
                  <a:lnTo>
                    <a:pt x="347" y="45"/>
                  </a:lnTo>
                  <a:lnTo>
                    <a:pt x="363" y="43"/>
                  </a:lnTo>
                  <a:lnTo>
                    <a:pt x="363" y="55"/>
                  </a:lnTo>
                  <a:lnTo>
                    <a:pt x="376" y="52"/>
                  </a:lnTo>
                  <a:lnTo>
                    <a:pt x="410" y="68"/>
                  </a:lnTo>
                  <a:lnTo>
                    <a:pt x="416" y="76"/>
                  </a:lnTo>
                  <a:lnTo>
                    <a:pt x="393" y="89"/>
                  </a:lnTo>
                  <a:lnTo>
                    <a:pt x="372" y="90"/>
                  </a:lnTo>
                  <a:lnTo>
                    <a:pt x="373" y="100"/>
                  </a:lnTo>
                  <a:lnTo>
                    <a:pt x="387" y="110"/>
                  </a:lnTo>
                  <a:lnTo>
                    <a:pt x="363" y="117"/>
                  </a:lnTo>
                  <a:lnTo>
                    <a:pt x="349" y="112"/>
                  </a:lnTo>
                  <a:lnTo>
                    <a:pt x="345" y="119"/>
                  </a:lnTo>
                  <a:lnTo>
                    <a:pt x="324" y="111"/>
                  </a:lnTo>
                  <a:lnTo>
                    <a:pt x="269" y="112"/>
                  </a:lnTo>
                  <a:lnTo>
                    <a:pt x="254" y="157"/>
                  </a:lnTo>
                  <a:lnTo>
                    <a:pt x="232" y="181"/>
                  </a:lnTo>
                  <a:lnTo>
                    <a:pt x="221" y="216"/>
                  </a:lnTo>
                  <a:lnTo>
                    <a:pt x="213" y="231"/>
                  </a:lnTo>
                  <a:lnTo>
                    <a:pt x="197" y="238"/>
                  </a:lnTo>
                  <a:lnTo>
                    <a:pt x="164" y="246"/>
                  </a:lnTo>
                  <a:lnTo>
                    <a:pt x="144" y="240"/>
                  </a:lnTo>
                  <a:lnTo>
                    <a:pt x="139" y="233"/>
                  </a:lnTo>
                  <a:lnTo>
                    <a:pt x="117" y="232"/>
                  </a:lnTo>
                  <a:lnTo>
                    <a:pt x="90" y="256"/>
                  </a:lnTo>
                  <a:lnTo>
                    <a:pt x="68" y="258"/>
                  </a:lnTo>
                  <a:lnTo>
                    <a:pt x="58" y="254"/>
                  </a:lnTo>
                  <a:lnTo>
                    <a:pt x="41" y="258"/>
                  </a:lnTo>
                  <a:lnTo>
                    <a:pt x="30" y="255"/>
                  </a:lnTo>
                  <a:lnTo>
                    <a:pt x="19" y="252"/>
                  </a:lnTo>
                  <a:lnTo>
                    <a:pt x="1" y="221"/>
                  </a:lnTo>
                  <a:lnTo>
                    <a:pt x="0" y="210"/>
                  </a:lnTo>
                  <a:lnTo>
                    <a:pt x="5" y="207"/>
                  </a:lnTo>
                  <a:lnTo>
                    <a:pt x="10" y="218"/>
                  </a:lnTo>
                  <a:lnTo>
                    <a:pt x="21" y="222"/>
                  </a:lnTo>
                  <a:lnTo>
                    <a:pt x="35" y="222"/>
                  </a:lnTo>
                  <a:lnTo>
                    <a:pt x="66" y="230"/>
                  </a:lnTo>
                  <a:lnTo>
                    <a:pt x="73" y="206"/>
                  </a:lnTo>
                  <a:lnTo>
                    <a:pt x="71" y="198"/>
                  </a:lnTo>
                  <a:lnTo>
                    <a:pt x="81" y="198"/>
                  </a:lnTo>
                  <a:lnTo>
                    <a:pt x="81" y="187"/>
                  </a:lnTo>
                  <a:lnTo>
                    <a:pt x="88" y="177"/>
                  </a:lnTo>
                  <a:lnTo>
                    <a:pt x="141" y="166"/>
                  </a:lnTo>
                  <a:lnTo>
                    <a:pt x="180" y="121"/>
                  </a:lnTo>
                  <a:lnTo>
                    <a:pt x="190" y="102"/>
                  </a:lnTo>
                  <a:close/>
                </a:path>
              </a:pathLst>
            </a:custGeom>
            <a:grpFill/>
            <a:ln w="6350">
              <a:solidFill>
                <a:schemeClr val="tx2"/>
              </a:solidFill>
              <a:round/>
              <a:headEnd/>
              <a:tailEnd/>
            </a:ln>
          </p:spPr>
          <p:txBody>
            <a:bodyPr/>
            <a:lstStyle/>
            <a:p>
              <a:endParaRPr lang="en-US"/>
            </a:p>
          </p:txBody>
        </p:sp>
        <p:sp>
          <p:nvSpPr>
            <p:cNvPr id="400" name="Freeform 1407"/>
            <p:cNvSpPr>
              <a:spLocks/>
            </p:cNvSpPr>
            <p:nvPr/>
          </p:nvSpPr>
          <p:spPr bwMode="auto">
            <a:xfrm>
              <a:off x="6950127" y="4292113"/>
              <a:ext cx="212396" cy="180537"/>
            </a:xfrm>
            <a:custGeom>
              <a:avLst/>
              <a:gdLst>
                <a:gd name="T0" fmla="*/ 2147483647 w 430"/>
                <a:gd name="T1" fmla="*/ 2147483647 h 365"/>
                <a:gd name="T2" fmla="*/ 2147483647 w 430"/>
                <a:gd name="T3" fmla="*/ 2147483647 h 365"/>
                <a:gd name="T4" fmla="*/ 2147483647 w 430"/>
                <a:gd name="T5" fmla="*/ 2147483647 h 365"/>
                <a:gd name="T6" fmla="*/ 2147483647 w 430"/>
                <a:gd name="T7" fmla="*/ 2147483647 h 365"/>
                <a:gd name="T8" fmla="*/ 2147483647 w 430"/>
                <a:gd name="T9" fmla="*/ 2147483647 h 365"/>
                <a:gd name="T10" fmla="*/ 2147483647 w 430"/>
                <a:gd name="T11" fmla="*/ 2147483647 h 365"/>
                <a:gd name="T12" fmla="*/ 2147483647 w 430"/>
                <a:gd name="T13" fmla="*/ 2147483647 h 365"/>
                <a:gd name="T14" fmla="*/ 2147483647 w 430"/>
                <a:gd name="T15" fmla="*/ 2147483647 h 365"/>
                <a:gd name="T16" fmla="*/ 2147483647 w 430"/>
                <a:gd name="T17" fmla="*/ 2147483647 h 365"/>
                <a:gd name="T18" fmla="*/ 2147483647 w 430"/>
                <a:gd name="T19" fmla="*/ 2147483647 h 365"/>
                <a:gd name="T20" fmla="*/ 2147483647 w 430"/>
                <a:gd name="T21" fmla="*/ 2147483647 h 365"/>
                <a:gd name="T22" fmla="*/ 2147483647 w 430"/>
                <a:gd name="T23" fmla="*/ 2147483647 h 365"/>
                <a:gd name="T24" fmla="*/ 2147483647 w 430"/>
                <a:gd name="T25" fmla="*/ 2147483647 h 365"/>
                <a:gd name="T26" fmla="*/ 2147483647 w 430"/>
                <a:gd name="T27" fmla="*/ 2147483647 h 365"/>
                <a:gd name="T28" fmla="*/ 2147483647 w 430"/>
                <a:gd name="T29" fmla="*/ 2147483647 h 365"/>
                <a:gd name="T30" fmla="*/ 2147483647 w 430"/>
                <a:gd name="T31" fmla="*/ 2147483647 h 365"/>
                <a:gd name="T32" fmla="*/ 2147483647 w 430"/>
                <a:gd name="T33" fmla="*/ 2147483647 h 365"/>
                <a:gd name="T34" fmla="*/ 2147483647 w 430"/>
                <a:gd name="T35" fmla="*/ 2147483647 h 365"/>
                <a:gd name="T36" fmla="*/ 2147483647 w 430"/>
                <a:gd name="T37" fmla="*/ 2147483647 h 365"/>
                <a:gd name="T38" fmla="*/ 2147483647 w 430"/>
                <a:gd name="T39" fmla="*/ 2147483647 h 365"/>
                <a:gd name="T40" fmla="*/ 2147483647 w 430"/>
                <a:gd name="T41" fmla="*/ 2147483647 h 365"/>
                <a:gd name="T42" fmla="*/ 2147483647 w 430"/>
                <a:gd name="T43" fmla="*/ 2147483647 h 365"/>
                <a:gd name="T44" fmla="*/ 2147483647 w 430"/>
                <a:gd name="T45" fmla="*/ 2147483647 h 365"/>
                <a:gd name="T46" fmla="*/ 2147483647 w 430"/>
                <a:gd name="T47" fmla="*/ 2147483647 h 365"/>
                <a:gd name="T48" fmla="*/ 2147483647 w 430"/>
                <a:gd name="T49" fmla="*/ 2147483647 h 365"/>
                <a:gd name="T50" fmla="*/ 2147483647 w 430"/>
                <a:gd name="T51" fmla="*/ 2147483647 h 365"/>
                <a:gd name="T52" fmla="*/ 2147483647 w 430"/>
                <a:gd name="T53" fmla="*/ 2147483647 h 365"/>
                <a:gd name="T54" fmla="*/ 2147483647 w 430"/>
                <a:gd name="T55" fmla="*/ 2147483647 h 365"/>
                <a:gd name="T56" fmla="*/ 2147483647 w 430"/>
                <a:gd name="T57" fmla="*/ 2147483647 h 365"/>
                <a:gd name="T58" fmla="*/ 2147483647 w 430"/>
                <a:gd name="T59" fmla="*/ 2147483647 h 365"/>
                <a:gd name="T60" fmla="*/ 2147483647 w 430"/>
                <a:gd name="T61" fmla="*/ 2147483647 h 365"/>
                <a:gd name="T62" fmla="*/ 2147483647 w 430"/>
                <a:gd name="T63" fmla="*/ 2147483647 h 365"/>
                <a:gd name="T64" fmla="*/ 2147483647 w 430"/>
                <a:gd name="T65" fmla="*/ 2147483647 h 365"/>
                <a:gd name="T66" fmla="*/ 2147483647 w 430"/>
                <a:gd name="T67" fmla="*/ 2147483647 h 365"/>
                <a:gd name="T68" fmla="*/ 2147483647 w 430"/>
                <a:gd name="T69" fmla="*/ 2147483647 h 365"/>
                <a:gd name="T70" fmla="*/ 2147483647 w 430"/>
                <a:gd name="T71" fmla="*/ 2147483647 h 365"/>
                <a:gd name="T72" fmla="*/ 2147483647 w 430"/>
                <a:gd name="T73" fmla="*/ 0 h 36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30"/>
                <a:gd name="T112" fmla="*/ 0 h 365"/>
                <a:gd name="T113" fmla="*/ 430 w 430"/>
                <a:gd name="T114" fmla="*/ 365 h 36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30" h="365">
                  <a:moveTo>
                    <a:pt x="372" y="8"/>
                  </a:moveTo>
                  <a:lnTo>
                    <a:pt x="365" y="14"/>
                  </a:lnTo>
                  <a:lnTo>
                    <a:pt x="381" y="22"/>
                  </a:lnTo>
                  <a:lnTo>
                    <a:pt x="381" y="29"/>
                  </a:lnTo>
                  <a:lnTo>
                    <a:pt x="356" y="36"/>
                  </a:lnTo>
                  <a:lnTo>
                    <a:pt x="370" y="59"/>
                  </a:lnTo>
                  <a:lnTo>
                    <a:pt x="390" y="89"/>
                  </a:lnTo>
                  <a:lnTo>
                    <a:pt x="386" y="107"/>
                  </a:lnTo>
                  <a:lnTo>
                    <a:pt x="430" y="148"/>
                  </a:lnTo>
                  <a:lnTo>
                    <a:pt x="408" y="151"/>
                  </a:lnTo>
                  <a:lnTo>
                    <a:pt x="396" y="149"/>
                  </a:lnTo>
                  <a:lnTo>
                    <a:pt x="390" y="141"/>
                  </a:lnTo>
                  <a:lnTo>
                    <a:pt x="390" y="153"/>
                  </a:lnTo>
                  <a:lnTo>
                    <a:pt x="381" y="156"/>
                  </a:lnTo>
                  <a:lnTo>
                    <a:pt x="372" y="170"/>
                  </a:lnTo>
                  <a:lnTo>
                    <a:pt x="367" y="207"/>
                  </a:lnTo>
                  <a:lnTo>
                    <a:pt x="352" y="237"/>
                  </a:lnTo>
                  <a:lnTo>
                    <a:pt x="340" y="240"/>
                  </a:lnTo>
                  <a:lnTo>
                    <a:pt x="316" y="262"/>
                  </a:lnTo>
                  <a:lnTo>
                    <a:pt x="322" y="266"/>
                  </a:lnTo>
                  <a:lnTo>
                    <a:pt x="323" y="279"/>
                  </a:lnTo>
                  <a:lnTo>
                    <a:pt x="332" y="283"/>
                  </a:lnTo>
                  <a:lnTo>
                    <a:pt x="327" y="297"/>
                  </a:lnTo>
                  <a:lnTo>
                    <a:pt x="321" y="297"/>
                  </a:lnTo>
                  <a:lnTo>
                    <a:pt x="304" y="338"/>
                  </a:lnTo>
                  <a:lnTo>
                    <a:pt x="255" y="363"/>
                  </a:lnTo>
                  <a:lnTo>
                    <a:pt x="248" y="365"/>
                  </a:lnTo>
                  <a:lnTo>
                    <a:pt x="242" y="338"/>
                  </a:lnTo>
                  <a:lnTo>
                    <a:pt x="237" y="336"/>
                  </a:lnTo>
                  <a:lnTo>
                    <a:pt x="230" y="330"/>
                  </a:lnTo>
                  <a:lnTo>
                    <a:pt x="206" y="334"/>
                  </a:lnTo>
                  <a:lnTo>
                    <a:pt x="203" y="323"/>
                  </a:lnTo>
                  <a:lnTo>
                    <a:pt x="189" y="323"/>
                  </a:lnTo>
                  <a:lnTo>
                    <a:pt x="176" y="317"/>
                  </a:lnTo>
                  <a:lnTo>
                    <a:pt x="175" y="323"/>
                  </a:lnTo>
                  <a:lnTo>
                    <a:pt x="158" y="331"/>
                  </a:lnTo>
                  <a:lnTo>
                    <a:pt x="153" y="332"/>
                  </a:lnTo>
                  <a:lnTo>
                    <a:pt x="127" y="336"/>
                  </a:lnTo>
                  <a:lnTo>
                    <a:pt x="119" y="305"/>
                  </a:lnTo>
                  <a:lnTo>
                    <a:pt x="113" y="312"/>
                  </a:lnTo>
                  <a:lnTo>
                    <a:pt x="106" y="310"/>
                  </a:lnTo>
                  <a:lnTo>
                    <a:pt x="94" y="317"/>
                  </a:lnTo>
                  <a:lnTo>
                    <a:pt x="74" y="317"/>
                  </a:lnTo>
                  <a:lnTo>
                    <a:pt x="66" y="309"/>
                  </a:lnTo>
                  <a:lnTo>
                    <a:pt x="57" y="312"/>
                  </a:lnTo>
                  <a:lnTo>
                    <a:pt x="44" y="266"/>
                  </a:lnTo>
                  <a:lnTo>
                    <a:pt x="47" y="254"/>
                  </a:lnTo>
                  <a:lnTo>
                    <a:pt x="43" y="238"/>
                  </a:lnTo>
                  <a:lnTo>
                    <a:pt x="30" y="216"/>
                  </a:lnTo>
                  <a:lnTo>
                    <a:pt x="10" y="206"/>
                  </a:lnTo>
                  <a:lnTo>
                    <a:pt x="9" y="198"/>
                  </a:lnTo>
                  <a:lnTo>
                    <a:pt x="8" y="181"/>
                  </a:lnTo>
                  <a:lnTo>
                    <a:pt x="0" y="166"/>
                  </a:lnTo>
                  <a:lnTo>
                    <a:pt x="1" y="142"/>
                  </a:lnTo>
                  <a:lnTo>
                    <a:pt x="9" y="120"/>
                  </a:lnTo>
                  <a:lnTo>
                    <a:pt x="27" y="99"/>
                  </a:lnTo>
                  <a:lnTo>
                    <a:pt x="28" y="110"/>
                  </a:lnTo>
                  <a:lnTo>
                    <a:pt x="46" y="141"/>
                  </a:lnTo>
                  <a:lnTo>
                    <a:pt x="57" y="144"/>
                  </a:lnTo>
                  <a:lnTo>
                    <a:pt x="68" y="147"/>
                  </a:lnTo>
                  <a:lnTo>
                    <a:pt x="85" y="143"/>
                  </a:lnTo>
                  <a:lnTo>
                    <a:pt x="95" y="147"/>
                  </a:lnTo>
                  <a:lnTo>
                    <a:pt x="117" y="145"/>
                  </a:lnTo>
                  <a:lnTo>
                    <a:pt x="144" y="121"/>
                  </a:lnTo>
                  <a:lnTo>
                    <a:pt x="166" y="122"/>
                  </a:lnTo>
                  <a:lnTo>
                    <a:pt x="171" y="129"/>
                  </a:lnTo>
                  <a:lnTo>
                    <a:pt x="191" y="135"/>
                  </a:lnTo>
                  <a:lnTo>
                    <a:pt x="224" y="127"/>
                  </a:lnTo>
                  <a:lnTo>
                    <a:pt x="240" y="120"/>
                  </a:lnTo>
                  <a:lnTo>
                    <a:pt x="248" y="105"/>
                  </a:lnTo>
                  <a:lnTo>
                    <a:pt x="259" y="70"/>
                  </a:lnTo>
                  <a:lnTo>
                    <a:pt x="281" y="46"/>
                  </a:lnTo>
                  <a:lnTo>
                    <a:pt x="296" y="1"/>
                  </a:lnTo>
                  <a:lnTo>
                    <a:pt x="351" y="0"/>
                  </a:lnTo>
                  <a:lnTo>
                    <a:pt x="372" y="8"/>
                  </a:lnTo>
                  <a:close/>
                </a:path>
              </a:pathLst>
            </a:custGeom>
            <a:grpFill/>
            <a:ln w="6350">
              <a:solidFill>
                <a:schemeClr val="tx2"/>
              </a:solidFill>
              <a:round/>
              <a:headEnd/>
              <a:tailEnd/>
            </a:ln>
          </p:spPr>
          <p:txBody>
            <a:bodyPr/>
            <a:lstStyle/>
            <a:p>
              <a:endParaRPr lang="en-US"/>
            </a:p>
          </p:txBody>
        </p:sp>
        <p:sp>
          <p:nvSpPr>
            <p:cNvPr id="401" name="Freeform 1408"/>
            <p:cNvSpPr>
              <a:spLocks/>
            </p:cNvSpPr>
            <p:nvPr/>
          </p:nvSpPr>
          <p:spPr bwMode="auto">
            <a:xfrm>
              <a:off x="7056326" y="4276941"/>
              <a:ext cx="30342" cy="21239"/>
            </a:xfrm>
            <a:custGeom>
              <a:avLst/>
              <a:gdLst>
                <a:gd name="T0" fmla="*/ 0 w 59"/>
                <a:gd name="T1" fmla="*/ 2147483647 h 44"/>
                <a:gd name="T2" fmla="*/ 2147483647 w 59"/>
                <a:gd name="T3" fmla="*/ 2147483647 h 44"/>
                <a:gd name="T4" fmla="*/ 2147483647 w 59"/>
                <a:gd name="T5" fmla="*/ 2147483647 h 44"/>
                <a:gd name="T6" fmla="*/ 2147483647 w 59"/>
                <a:gd name="T7" fmla="*/ 2147483647 h 44"/>
                <a:gd name="T8" fmla="*/ 2147483647 w 59"/>
                <a:gd name="T9" fmla="*/ 2147483647 h 44"/>
                <a:gd name="T10" fmla="*/ 2147483647 w 59"/>
                <a:gd name="T11" fmla="*/ 2147483647 h 44"/>
                <a:gd name="T12" fmla="*/ 2147483647 w 59"/>
                <a:gd name="T13" fmla="*/ 2147483647 h 44"/>
                <a:gd name="T14" fmla="*/ 2147483647 w 59"/>
                <a:gd name="T15" fmla="*/ 2147483647 h 44"/>
                <a:gd name="T16" fmla="*/ 2147483647 w 59"/>
                <a:gd name="T17" fmla="*/ 2147483647 h 44"/>
                <a:gd name="T18" fmla="*/ 2147483647 w 59"/>
                <a:gd name="T19" fmla="*/ 2147483647 h 44"/>
                <a:gd name="T20" fmla="*/ 2147483647 w 59"/>
                <a:gd name="T21" fmla="*/ 0 h 44"/>
                <a:gd name="T22" fmla="*/ 2147483647 w 59"/>
                <a:gd name="T23" fmla="*/ 2147483647 h 44"/>
                <a:gd name="T24" fmla="*/ 0 w 59"/>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9"/>
                <a:gd name="T40" fmla="*/ 0 h 44"/>
                <a:gd name="T41" fmla="*/ 59 w 59"/>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9" h="44">
                  <a:moveTo>
                    <a:pt x="0" y="21"/>
                  </a:moveTo>
                  <a:lnTo>
                    <a:pt x="26" y="44"/>
                  </a:lnTo>
                  <a:lnTo>
                    <a:pt x="32" y="37"/>
                  </a:lnTo>
                  <a:lnTo>
                    <a:pt x="33" y="18"/>
                  </a:lnTo>
                  <a:lnTo>
                    <a:pt x="40" y="13"/>
                  </a:lnTo>
                  <a:lnTo>
                    <a:pt x="50" y="27"/>
                  </a:lnTo>
                  <a:lnTo>
                    <a:pt x="58" y="29"/>
                  </a:lnTo>
                  <a:lnTo>
                    <a:pt x="59" y="16"/>
                  </a:lnTo>
                  <a:lnTo>
                    <a:pt x="52" y="7"/>
                  </a:lnTo>
                  <a:lnTo>
                    <a:pt x="42" y="6"/>
                  </a:lnTo>
                  <a:lnTo>
                    <a:pt x="40" y="0"/>
                  </a:lnTo>
                  <a:lnTo>
                    <a:pt x="20" y="16"/>
                  </a:lnTo>
                  <a:lnTo>
                    <a:pt x="0" y="21"/>
                  </a:lnTo>
                  <a:close/>
                </a:path>
              </a:pathLst>
            </a:custGeom>
            <a:grpFill/>
            <a:ln w="6350">
              <a:solidFill>
                <a:schemeClr val="tx2"/>
              </a:solidFill>
              <a:round/>
              <a:headEnd/>
              <a:tailEnd/>
            </a:ln>
          </p:spPr>
          <p:txBody>
            <a:bodyPr/>
            <a:lstStyle/>
            <a:p>
              <a:endParaRPr lang="en-US"/>
            </a:p>
          </p:txBody>
        </p:sp>
        <p:sp>
          <p:nvSpPr>
            <p:cNvPr id="402" name="Freeform 1409"/>
            <p:cNvSpPr>
              <a:spLocks/>
            </p:cNvSpPr>
            <p:nvPr/>
          </p:nvSpPr>
          <p:spPr bwMode="auto">
            <a:xfrm>
              <a:off x="6840896" y="4161641"/>
              <a:ext cx="3034" cy="7586"/>
            </a:xfrm>
            <a:custGeom>
              <a:avLst/>
              <a:gdLst>
                <a:gd name="T0" fmla="*/ 2147483647 w 7"/>
                <a:gd name="T1" fmla="*/ 0 h 15"/>
                <a:gd name="T2" fmla="*/ 2147483647 w 7"/>
                <a:gd name="T3" fmla="*/ 2147483647 h 15"/>
                <a:gd name="T4" fmla="*/ 0 w 7"/>
                <a:gd name="T5" fmla="*/ 2147483647 h 15"/>
                <a:gd name="T6" fmla="*/ 2147483647 w 7"/>
                <a:gd name="T7" fmla="*/ 0 h 15"/>
                <a:gd name="T8" fmla="*/ 0 60000 65536"/>
                <a:gd name="T9" fmla="*/ 0 60000 65536"/>
                <a:gd name="T10" fmla="*/ 0 60000 65536"/>
                <a:gd name="T11" fmla="*/ 0 60000 65536"/>
                <a:gd name="T12" fmla="*/ 0 w 7"/>
                <a:gd name="T13" fmla="*/ 0 h 15"/>
                <a:gd name="T14" fmla="*/ 7 w 7"/>
                <a:gd name="T15" fmla="*/ 15 h 15"/>
              </a:gdLst>
              <a:ahLst/>
              <a:cxnLst>
                <a:cxn ang="T8">
                  <a:pos x="T0" y="T1"/>
                </a:cxn>
                <a:cxn ang="T9">
                  <a:pos x="T2" y="T3"/>
                </a:cxn>
                <a:cxn ang="T10">
                  <a:pos x="T4" y="T5"/>
                </a:cxn>
                <a:cxn ang="T11">
                  <a:pos x="T6" y="T7"/>
                </a:cxn>
              </a:cxnLst>
              <a:rect l="T12" t="T13" r="T14" b="T15"/>
              <a:pathLst>
                <a:path w="7" h="15">
                  <a:moveTo>
                    <a:pt x="4" y="0"/>
                  </a:moveTo>
                  <a:lnTo>
                    <a:pt x="7" y="15"/>
                  </a:lnTo>
                  <a:lnTo>
                    <a:pt x="0" y="5"/>
                  </a:lnTo>
                  <a:lnTo>
                    <a:pt x="4" y="0"/>
                  </a:lnTo>
                  <a:close/>
                </a:path>
              </a:pathLst>
            </a:custGeom>
            <a:grpFill/>
            <a:ln w="6350">
              <a:solidFill>
                <a:schemeClr val="tx2"/>
              </a:solidFill>
              <a:round/>
              <a:headEnd/>
              <a:tailEnd/>
            </a:ln>
          </p:spPr>
          <p:txBody>
            <a:bodyPr/>
            <a:lstStyle/>
            <a:p>
              <a:endParaRPr lang="en-US"/>
            </a:p>
          </p:txBody>
        </p:sp>
        <p:sp>
          <p:nvSpPr>
            <p:cNvPr id="403" name="Freeform 1412"/>
            <p:cNvSpPr>
              <a:spLocks/>
            </p:cNvSpPr>
            <p:nvPr/>
          </p:nvSpPr>
          <p:spPr bwMode="auto">
            <a:xfrm>
              <a:off x="6806001" y="4069098"/>
              <a:ext cx="113784" cy="92543"/>
            </a:xfrm>
            <a:custGeom>
              <a:avLst/>
              <a:gdLst>
                <a:gd name="T0" fmla="*/ 2147483647 w 227"/>
                <a:gd name="T1" fmla="*/ 0 h 185"/>
                <a:gd name="T2" fmla="*/ 2147483647 w 227"/>
                <a:gd name="T3" fmla="*/ 2147483647 h 185"/>
                <a:gd name="T4" fmla="*/ 2147483647 w 227"/>
                <a:gd name="T5" fmla="*/ 2147483647 h 185"/>
                <a:gd name="T6" fmla="*/ 2147483647 w 227"/>
                <a:gd name="T7" fmla="*/ 2147483647 h 185"/>
                <a:gd name="T8" fmla="*/ 2147483647 w 227"/>
                <a:gd name="T9" fmla="*/ 2147483647 h 185"/>
                <a:gd name="T10" fmla="*/ 2147483647 w 227"/>
                <a:gd name="T11" fmla="*/ 2147483647 h 185"/>
                <a:gd name="T12" fmla="*/ 2147483647 w 227"/>
                <a:gd name="T13" fmla="*/ 2147483647 h 185"/>
                <a:gd name="T14" fmla="*/ 2147483647 w 227"/>
                <a:gd name="T15" fmla="*/ 2147483647 h 185"/>
                <a:gd name="T16" fmla="*/ 2147483647 w 227"/>
                <a:gd name="T17" fmla="*/ 2147483647 h 185"/>
                <a:gd name="T18" fmla="*/ 2147483647 w 227"/>
                <a:gd name="T19" fmla="*/ 2147483647 h 185"/>
                <a:gd name="T20" fmla="*/ 2147483647 w 227"/>
                <a:gd name="T21" fmla="*/ 2147483647 h 185"/>
                <a:gd name="T22" fmla="*/ 2147483647 w 227"/>
                <a:gd name="T23" fmla="*/ 2147483647 h 185"/>
                <a:gd name="T24" fmla="*/ 2147483647 w 227"/>
                <a:gd name="T25" fmla="*/ 2147483647 h 185"/>
                <a:gd name="T26" fmla="*/ 2147483647 w 227"/>
                <a:gd name="T27" fmla="*/ 2147483647 h 185"/>
                <a:gd name="T28" fmla="*/ 2147483647 w 227"/>
                <a:gd name="T29" fmla="*/ 2147483647 h 185"/>
                <a:gd name="T30" fmla="*/ 2147483647 w 227"/>
                <a:gd name="T31" fmla="*/ 2147483647 h 185"/>
                <a:gd name="T32" fmla="*/ 2147483647 w 227"/>
                <a:gd name="T33" fmla="*/ 2147483647 h 185"/>
                <a:gd name="T34" fmla="*/ 2147483647 w 227"/>
                <a:gd name="T35" fmla="*/ 2147483647 h 185"/>
                <a:gd name="T36" fmla="*/ 2147483647 w 227"/>
                <a:gd name="T37" fmla="*/ 2147483647 h 185"/>
                <a:gd name="T38" fmla="*/ 2147483647 w 227"/>
                <a:gd name="T39" fmla="*/ 2147483647 h 185"/>
                <a:gd name="T40" fmla="*/ 2147483647 w 227"/>
                <a:gd name="T41" fmla="*/ 2147483647 h 185"/>
                <a:gd name="T42" fmla="*/ 2147483647 w 227"/>
                <a:gd name="T43" fmla="*/ 2147483647 h 185"/>
                <a:gd name="T44" fmla="*/ 2147483647 w 227"/>
                <a:gd name="T45" fmla="*/ 2147483647 h 185"/>
                <a:gd name="T46" fmla="*/ 2147483647 w 227"/>
                <a:gd name="T47" fmla="*/ 2147483647 h 185"/>
                <a:gd name="T48" fmla="*/ 0 w 227"/>
                <a:gd name="T49" fmla="*/ 2147483647 h 185"/>
                <a:gd name="T50" fmla="*/ 2147483647 w 227"/>
                <a:gd name="T51" fmla="*/ 2147483647 h 185"/>
                <a:gd name="T52" fmla="*/ 2147483647 w 227"/>
                <a:gd name="T53" fmla="*/ 2147483647 h 185"/>
                <a:gd name="T54" fmla="*/ 2147483647 w 227"/>
                <a:gd name="T55" fmla="*/ 2147483647 h 185"/>
                <a:gd name="T56" fmla="*/ 2147483647 w 227"/>
                <a:gd name="T57" fmla="*/ 2147483647 h 185"/>
                <a:gd name="T58" fmla="*/ 2147483647 w 227"/>
                <a:gd name="T59" fmla="*/ 2147483647 h 185"/>
                <a:gd name="T60" fmla="*/ 2147483647 w 227"/>
                <a:gd name="T61" fmla="*/ 2147483647 h 185"/>
                <a:gd name="T62" fmla="*/ 2147483647 w 227"/>
                <a:gd name="T63" fmla="*/ 2147483647 h 185"/>
                <a:gd name="T64" fmla="*/ 2147483647 w 227"/>
                <a:gd name="T65" fmla="*/ 2147483647 h 185"/>
                <a:gd name="T66" fmla="*/ 2147483647 w 227"/>
                <a:gd name="T67" fmla="*/ 2147483647 h 185"/>
                <a:gd name="T68" fmla="*/ 2147483647 w 227"/>
                <a:gd name="T69" fmla="*/ 2147483647 h 185"/>
                <a:gd name="T70" fmla="*/ 2147483647 w 227"/>
                <a:gd name="T71" fmla="*/ 2147483647 h 185"/>
                <a:gd name="T72" fmla="*/ 2147483647 w 227"/>
                <a:gd name="T73" fmla="*/ 2147483647 h 185"/>
                <a:gd name="T74" fmla="*/ 2147483647 w 227"/>
                <a:gd name="T75" fmla="*/ 2147483647 h 185"/>
                <a:gd name="T76" fmla="*/ 2147483647 w 227"/>
                <a:gd name="T77" fmla="*/ 2147483647 h 185"/>
                <a:gd name="T78" fmla="*/ 2147483647 w 227"/>
                <a:gd name="T79" fmla="*/ 0 h 18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7"/>
                <a:gd name="T121" fmla="*/ 0 h 185"/>
                <a:gd name="T122" fmla="*/ 227 w 227"/>
                <a:gd name="T123" fmla="*/ 185 h 18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7" h="185">
                  <a:moveTo>
                    <a:pt x="221" y="0"/>
                  </a:moveTo>
                  <a:lnTo>
                    <a:pt x="219" y="28"/>
                  </a:lnTo>
                  <a:lnTo>
                    <a:pt x="227" y="52"/>
                  </a:lnTo>
                  <a:lnTo>
                    <a:pt x="224" y="100"/>
                  </a:lnTo>
                  <a:lnTo>
                    <a:pt x="219" y="107"/>
                  </a:lnTo>
                  <a:lnTo>
                    <a:pt x="212" y="105"/>
                  </a:lnTo>
                  <a:lnTo>
                    <a:pt x="199" y="115"/>
                  </a:lnTo>
                  <a:lnTo>
                    <a:pt x="178" y="121"/>
                  </a:lnTo>
                  <a:lnTo>
                    <a:pt x="177" y="130"/>
                  </a:lnTo>
                  <a:lnTo>
                    <a:pt x="155" y="133"/>
                  </a:lnTo>
                  <a:lnTo>
                    <a:pt x="155" y="157"/>
                  </a:lnTo>
                  <a:lnTo>
                    <a:pt x="127" y="170"/>
                  </a:lnTo>
                  <a:lnTo>
                    <a:pt x="117" y="168"/>
                  </a:lnTo>
                  <a:lnTo>
                    <a:pt x="111" y="179"/>
                  </a:lnTo>
                  <a:lnTo>
                    <a:pt x="93" y="185"/>
                  </a:lnTo>
                  <a:lnTo>
                    <a:pt x="82" y="179"/>
                  </a:lnTo>
                  <a:lnTo>
                    <a:pt x="56" y="180"/>
                  </a:lnTo>
                  <a:lnTo>
                    <a:pt x="58" y="159"/>
                  </a:lnTo>
                  <a:lnTo>
                    <a:pt x="54" y="157"/>
                  </a:lnTo>
                  <a:lnTo>
                    <a:pt x="38" y="166"/>
                  </a:lnTo>
                  <a:lnTo>
                    <a:pt x="34" y="144"/>
                  </a:lnTo>
                  <a:lnTo>
                    <a:pt x="27" y="134"/>
                  </a:lnTo>
                  <a:lnTo>
                    <a:pt x="24" y="110"/>
                  </a:lnTo>
                  <a:lnTo>
                    <a:pt x="8" y="91"/>
                  </a:lnTo>
                  <a:lnTo>
                    <a:pt x="0" y="66"/>
                  </a:lnTo>
                  <a:lnTo>
                    <a:pt x="2" y="51"/>
                  </a:lnTo>
                  <a:lnTo>
                    <a:pt x="11" y="40"/>
                  </a:lnTo>
                  <a:lnTo>
                    <a:pt x="39" y="14"/>
                  </a:lnTo>
                  <a:lnTo>
                    <a:pt x="74" y="18"/>
                  </a:lnTo>
                  <a:lnTo>
                    <a:pt x="109" y="15"/>
                  </a:lnTo>
                  <a:lnTo>
                    <a:pt x="118" y="22"/>
                  </a:lnTo>
                  <a:lnTo>
                    <a:pt x="125" y="19"/>
                  </a:lnTo>
                  <a:lnTo>
                    <a:pt x="132" y="25"/>
                  </a:lnTo>
                  <a:lnTo>
                    <a:pt x="154" y="31"/>
                  </a:lnTo>
                  <a:lnTo>
                    <a:pt x="161" y="29"/>
                  </a:lnTo>
                  <a:lnTo>
                    <a:pt x="161" y="18"/>
                  </a:lnTo>
                  <a:lnTo>
                    <a:pt x="173" y="11"/>
                  </a:lnTo>
                  <a:lnTo>
                    <a:pt x="190" y="8"/>
                  </a:lnTo>
                  <a:lnTo>
                    <a:pt x="202" y="14"/>
                  </a:lnTo>
                  <a:lnTo>
                    <a:pt x="221" y="0"/>
                  </a:lnTo>
                  <a:close/>
                </a:path>
              </a:pathLst>
            </a:custGeom>
            <a:grpFill/>
            <a:ln w="6350">
              <a:solidFill>
                <a:schemeClr val="tx2"/>
              </a:solidFill>
              <a:round/>
              <a:headEnd/>
              <a:tailEnd/>
            </a:ln>
          </p:spPr>
          <p:txBody>
            <a:bodyPr/>
            <a:lstStyle/>
            <a:p>
              <a:endParaRPr lang="en-US"/>
            </a:p>
          </p:txBody>
        </p:sp>
        <p:sp>
          <p:nvSpPr>
            <p:cNvPr id="404" name="Freeform 1508"/>
            <p:cNvSpPr>
              <a:spLocks/>
            </p:cNvSpPr>
            <p:nvPr/>
          </p:nvSpPr>
          <p:spPr bwMode="auto">
            <a:xfrm>
              <a:off x="7399193" y="4628912"/>
              <a:ext cx="9103" cy="9103"/>
            </a:xfrm>
            <a:custGeom>
              <a:avLst/>
              <a:gdLst>
                <a:gd name="T0" fmla="*/ 2147483647 w 21"/>
                <a:gd name="T1" fmla="*/ 2147483647 h 17"/>
                <a:gd name="T2" fmla="*/ 0 w 21"/>
                <a:gd name="T3" fmla="*/ 2147483647 h 17"/>
                <a:gd name="T4" fmla="*/ 2147483647 w 21"/>
                <a:gd name="T5" fmla="*/ 0 h 17"/>
                <a:gd name="T6" fmla="*/ 2147483647 w 21"/>
                <a:gd name="T7" fmla="*/ 2147483647 h 17"/>
                <a:gd name="T8" fmla="*/ 2147483647 w 21"/>
                <a:gd name="T9" fmla="*/ 2147483647 h 17"/>
                <a:gd name="T10" fmla="*/ 0 60000 65536"/>
                <a:gd name="T11" fmla="*/ 0 60000 65536"/>
                <a:gd name="T12" fmla="*/ 0 60000 65536"/>
                <a:gd name="T13" fmla="*/ 0 60000 65536"/>
                <a:gd name="T14" fmla="*/ 0 60000 65536"/>
                <a:gd name="T15" fmla="*/ 0 w 21"/>
                <a:gd name="T16" fmla="*/ 0 h 17"/>
                <a:gd name="T17" fmla="*/ 21 w 21"/>
                <a:gd name="T18" fmla="*/ 17 h 17"/>
              </a:gdLst>
              <a:ahLst/>
              <a:cxnLst>
                <a:cxn ang="T10">
                  <a:pos x="T0" y="T1"/>
                </a:cxn>
                <a:cxn ang="T11">
                  <a:pos x="T2" y="T3"/>
                </a:cxn>
                <a:cxn ang="T12">
                  <a:pos x="T4" y="T5"/>
                </a:cxn>
                <a:cxn ang="T13">
                  <a:pos x="T6" y="T7"/>
                </a:cxn>
                <a:cxn ang="T14">
                  <a:pos x="T8" y="T9"/>
                </a:cxn>
              </a:cxnLst>
              <a:rect l="T15" t="T16" r="T17" b="T18"/>
              <a:pathLst>
                <a:path w="21" h="17">
                  <a:moveTo>
                    <a:pt x="4" y="17"/>
                  </a:moveTo>
                  <a:lnTo>
                    <a:pt x="0" y="11"/>
                  </a:lnTo>
                  <a:lnTo>
                    <a:pt x="9" y="0"/>
                  </a:lnTo>
                  <a:lnTo>
                    <a:pt x="21" y="17"/>
                  </a:lnTo>
                  <a:lnTo>
                    <a:pt x="4" y="17"/>
                  </a:lnTo>
                  <a:close/>
                </a:path>
              </a:pathLst>
            </a:custGeom>
            <a:grpFill/>
            <a:ln w="6350">
              <a:solidFill>
                <a:schemeClr val="tx2"/>
              </a:solidFill>
              <a:round/>
              <a:headEnd/>
              <a:tailEnd/>
            </a:ln>
          </p:spPr>
          <p:txBody>
            <a:bodyPr/>
            <a:lstStyle/>
            <a:p>
              <a:endParaRPr lang="en-US"/>
            </a:p>
          </p:txBody>
        </p:sp>
        <p:sp>
          <p:nvSpPr>
            <p:cNvPr id="405" name="Freeform 1509"/>
            <p:cNvSpPr>
              <a:spLocks/>
            </p:cNvSpPr>
            <p:nvPr/>
          </p:nvSpPr>
          <p:spPr bwMode="auto">
            <a:xfrm>
              <a:off x="7402227" y="4624361"/>
              <a:ext cx="27308" cy="15172"/>
            </a:xfrm>
            <a:custGeom>
              <a:avLst/>
              <a:gdLst>
                <a:gd name="T0" fmla="*/ 0 w 50"/>
                <a:gd name="T1" fmla="*/ 0 h 28"/>
                <a:gd name="T2" fmla="*/ 2147483647 w 50"/>
                <a:gd name="T3" fmla="*/ 2147483647 h 28"/>
                <a:gd name="T4" fmla="*/ 2147483647 w 50"/>
                <a:gd name="T5" fmla="*/ 2147483647 h 28"/>
                <a:gd name="T6" fmla="*/ 2147483647 w 50"/>
                <a:gd name="T7" fmla="*/ 0 h 28"/>
                <a:gd name="T8" fmla="*/ 2147483647 w 50"/>
                <a:gd name="T9" fmla="*/ 2147483647 h 28"/>
                <a:gd name="T10" fmla="*/ 2147483647 w 50"/>
                <a:gd name="T11" fmla="*/ 2147483647 h 28"/>
                <a:gd name="T12" fmla="*/ 2147483647 w 50"/>
                <a:gd name="T13" fmla="*/ 2147483647 h 28"/>
                <a:gd name="T14" fmla="*/ 2147483647 w 50"/>
                <a:gd name="T15" fmla="*/ 2147483647 h 28"/>
                <a:gd name="T16" fmla="*/ 2147483647 w 50"/>
                <a:gd name="T17" fmla="*/ 2147483647 h 28"/>
                <a:gd name="T18" fmla="*/ 0 w 50"/>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28"/>
                <a:gd name="T32" fmla="*/ 50 w 50"/>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28">
                  <a:moveTo>
                    <a:pt x="0" y="0"/>
                  </a:moveTo>
                  <a:lnTo>
                    <a:pt x="17" y="10"/>
                  </a:lnTo>
                  <a:lnTo>
                    <a:pt x="31" y="7"/>
                  </a:lnTo>
                  <a:lnTo>
                    <a:pt x="41" y="0"/>
                  </a:lnTo>
                  <a:lnTo>
                    <a:pt x="48" y="6"/>
                  </a:lnTo>
                  <a:lnTo>
                    <a:pt x="50" y="14"/>
                  </a:lnTo>
                  <a:lnTo>
                    <a:pt x="43" y="22"/>
                  </a:lnTo>
                  <a:lnTo>
                    <a:pt x="26" y="28"/>
                  </a:lnTo>
                  <a:lnTo>
                    <a:pt x="8" y="17"/>
                  </a:lnTo>
                  <a:lnTo>
                    <a:pt x="0" y="0"/>
                  </a:lnTo>
                  <a:close/>
                </a:path>
              </a:pathLst>
            </a:custGeom>
            <a:grpFill/>
            <a:ln w="6350">
              <a:solidFill>
                <a:schemeClr val="tx2"/>
              </a:solidFill>
              <a:round/>
              <a:headEnd/>
              <a:tailEnd/>
            </a:ln>
          </p:spPr>
          <p:txBody>
            <a:bodyPr/>
            <a:lstStyle/>
            <a:p>
              <a:endParaRPr lang="en-US"/>
            </a:p>
          </p:txBody>
        </p:sp>
        <p:sp>
          <p:nvSpPr>
            <p:cNvPr id="406" name="Freeform 1510"/>
            <p:cNvSpPr>
              <a:spLocks/>
            </p:cNvSpPr>
            <p:nvPr/>
          </p:nvSpPr>
          <p:spPr bwMode="auto">
            <a:xfrm>
              <a:off x="7534216" y="4621326"/>
              <a:ext cx="4551" cy="9103"/>
            </a:xfrm>
            <a:custGeom>
              <a:avLst/>
              <a:gdLst>
                <a:gd name="T0" fmla="*/ 2147483647 w 9"/>
                <a:gd name="T1" fmla="*/ 2147483647 h 19"/>
                <a:gd name="T2" fmla="*/ 0 w 9"/>
                <a:gd name="T3" fmla="*/ 2147483647 h 19"/>
                <a:gd name="T4" fmla="*/ 2147483647 w 9"/>
                <a:gd name="T5" fmla="*/ 0 h 19"/>
                <a:gd name="T6" fmla="*/ 2147483647 w 9"/>
                <a:gd name="T7" fmla="*/ 2147483647 h 19"/>
                <a:gd name="T8" fmla="*/ 0 60000 65536"/>
                <a:gd name="T9" fmla="*/ 0 60000 65536"/>
                <a:gd name="T10" fmla="*/ 0 60000 65536"/>
                <a:gd name="T11" fmla="*/ 0 60000 65536"/>
                <a:gd name="T12" fmla="*/ 0 w 9"/>
                <a:gd name="T13" fmla="*/ 0 h 19"/>
                <a:gd name="T14" fmla="*/ 9 w 9"/>
                <a:gd name="T15" fmla="*/ 19 h 19"/>
              </a:gdLst>
              <a:ahLst/>
              <a:cxnLst>
                <a:cxn ang="T8">
                  <a:pos x="T0" y="T1"/>
                </a:cxn>
                <a:cxn ang="T9">
                  <a:pos x="T2" y="T3"/>
                </a:cxn>
                <a:cxn ang="T10">
                  <a:pos x="T4" y="T5"/>
                </a:cxn>
                <a:cxn ang="T11">
                  <a:pos x="T6" y="T7"/>
                </a:cxn>
              </a:cxnLst>
              <a:rect l="T12" t="T13" r="T14" b="T15"/>
              <a:pathLst>
                <a:path w="9" h="19">
                  <a:moveTo>
                    <a:pt x="1" y="19"/>
                  </a:moveTo>
                  <a:lnTo>
                    <a:pt x="0" y="9"/>
                  </a:lnTo>
                  <a:lnTo>
                    <a:pt x="9" y="0"/>
                  </a:lnTo>
                  <a:lnTo>
                    <a:pt x="1" y="19"/>
                  </a:lnTo>
                  <a:close/>
                </a:path>
              </a:pathLst>
            </a:custGeom>
            <a:grpFill/>
            <a:ln w="6350">
              <a:solidFill>
                <a:schemeClr val="tx2"/>
              </a:solidFill>
              <a:round/>
              <a:headEnd/>
              <a:tailEnd/>
            </a:ln>
          </p:spPr>
          <p:txBody>
            <a:bodyPr/>
            <a:lstStyle/>
            <a:p>
              <a:endParaRPr lang="en-US"/>
            </a:p>
          </p:txBody>
        </p:sp>
        <p:sp>
          <p:nvSpPr>
            <p:cNvPr id="407" name="Freeform 1511"/>
            <p:cNvSpPr>
              <a:spLocks/>
            </p:cNvSpPr>
            <p:nvPr/>
          </p:nvSpPr>
          <p:spPr bwMode="auto">
            <a:xfrm>
              <a:off x="7532699" y="4678977"/>
              <a:ext cx="12137" cy="12137"/>
            </a:xfrm>
            <a:custGeom>
              <a:avLst/>
              <a:gdLst>
                <a:gd name="T0" fmla="*/ 2147483647 w 21"/>
                <a:gd name="T1" fmla="*/ 2147483647 h 25"/>
                <a:gd name="T2" fmla="*/ 2147483647 w 21"/>
                <a:gd name="T3" fmla="*/ 2147483647 h 25"/>
                <a:gd name="T4" fmla="*/ 2147483647 w 21"/>
                <a:gd name="T5" fmla="*/ 0 h 25"/>
                <a:gd name="T6" fmla="*/ 2147483647 w 21"/>
                <a:gd name="T7" fmla="*/ 2147483647 h 25"/>
                <a:gd name="T8" fmla="*/ 2147483647 w 21"/>
                <a:gd name="T9" fmla="*/ 2147483647 h 25"/>
                <a:gd name="T10" fmla="*/ 2147483647 w 21"/>
                <a:gd name="T11" fmla="*/ 2147483647 h 25"/>
                <a:gd name="T12" fmla="*/ 2147483647 w 21"/>
                <a:gd name="T13" fmla="*/ 2147483647 h 25"/>
                <a:gd name="T14" fmla="*/ 0 w 21"/>
                <a:gd name="T15" fmla="*/ 2147483647 h 25"/>
                <a:gd name="T16" fmla="*/ 2147483647 w 21"/>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5"/>
                <a:gd name="T29" fmla="*/ 21 w 21"/>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5">
                  <a:moveTo>
                    <a:pt x="1" y="4"/>
                  </a:moveTo>
                  <a:lnTo>
                    <a:pt x="4" y="6"/>
                  </a:lnTo>
                  <a:lnTo>
                    <a:pt x="9" y="0"/>
                  </a:lnTo>
                  <a:lnTo>
                    <a:pt x="11" y="7"/>
                  </a:lnTo>
                  <a:lnTo>
                    <a:pt x="17" y="3"/>
                  </a:lnTo>
                  <a:lnTo>
                    <a:pt x="21" y="23"/>
                  </a:lnTo>
                  <a:lnTo>
                    <a:pt x="5" y="25"/>
                  </a:lnTo>
                  <a:lnTo>
                    <a:pt x="0" y="20"/>
                  </a:lnTo>
                  <a:lnTo>
                    <a:pt x="1" y="4"/>
                  </a:lnTo>
                  <a:close/>
                </a:path>
              </a:pathLst>
            </a:custGeom>
            <a:grpFill/>
            <a:ln w="6350">
              <a:solidFill>
                <a:schemeClr val="tx2"/>
              </a:solidFill>
              <a:round/>
              <a:headEnd/>
              <a:tailEnd/>
            </a:ln>
          </p:spPr>
          <p:txBody>
            <a:bodyPr/>
            <a:lstStyle/>
            <a:p>
              <a:endParaRPr lang="en-US"/>
            </a:p>
          </p:txBody>
        </p:sp>
        <p:sp>
          <p:nvSpPr>
            <p:cNvPr id="408" name="Freeform 1512"/>
            <p:cNvSpPr>
              <a:spLocks/>
            </p:cNvSpPr>
            <p:nvPr/>
          </p:nvSpPr>
          <p:spPr bwMode="auto">
            <a:xfrm>
              <a:off x="7596418" y="4736628"/>
              <a:ext cx="12137" cy="9103"/>
            </a:xfrm>
            <a:custGeom>
              <a:avLst/>
              <a:gdLst>
                <a:gd name="T0" fmla="*/ 2147483647 w 26"/>
                <a:gd name="T1" fmla="*/ 0 h 16"/>
                <a:gd name="T2" fmla="*/ 2147483647 w 26"/>
                <a:gd name="T3" fmla="*/ 2147483647 h 16"/>
                <a:gd name="T4" fmla="*/ 2147483647 w 26"/>
                <a:gd name="T5" fmla="*/ 2147483647 h 16"/>
                <a:gd name="T6" fmla="*/ 0 w 26"/>
                <a:gd name="T7" fmla="*/ 2147483647 h 16"/>
                <a:gd name="T8" fmla="*/ 2147483647 w 26"/>
                <a:gd name="T9" fmla="*/ 0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17" y="0"/>
                  </a:moveTo>
                  <a:lnTo>
                    <a:pt x="26" y="6"/>
                  </a:lnTo>
                  <a:lnTo>
                    <a:pt x="4" y="16"/>
                  </a:lnTo>
                  <a:lnTo>
                    <a:pt x="0" y="10"/>
                  </a:lnTo>
                  <a:lnTo>
                    <a:pt x="17" y="0"/>
                  </a:lnTo>
                  <a:close/>
                </a:path>
              </a:pathLst>
            </a:custGeom>
            <a:grpFill/>
            <a:ln w="6350">
              <a:solidFill>
                <a:schemeClr val="tx2"/>
              </a:solidFill>
              <a:round/>
              <a:headEnd/>
              <a:tailEnd/>
            </a:ln>
          </p:spPr>
          <p:txBody>
            <a:bodyPr/>
            <a:lstStyle/>
            <a:p>
              <a:endParaRPr lang="en-US"/>
            </a:p>
          </p:txBody>
        </p:sp>
        <p:sp>
          <p:nvSpPr>
            <p:cNvPr id="409" name="Freeform 1513"/>
            <p:cNvSpPr>
              <a:spLocks/>
            </p:cNvSpPr>
            <p:nvPr/>
          </p:nvSpPr>
          <p:spPr bwMode="auto">
            <a:xfrm>
              <a:off x="7890738" y="4927784"/>
              <a:ext cx="6069" cy="19722"/>
            </a:xfrm>
            <a:custGeom>
              <a:avLst/>
              <a:gdLst>
                <a:gd name="T0" fmla="*/ 2147483647 w 14"/>
                <a:gd name="T1" fmla="*/ 0 h 42"/>
                <a:gd name="T2" fmla="*/ 2147483647 w 14"/>
                <a:gd name="T3" fmla="*/ 2147483647 h 42"/>
                <a:gd name="T4" fmla="*/ 2147483647 w 14"/>
                <a:gd name="T5" fmla="*/ 2147483647 h 42"/>
                <a:gd name="T6" fmla="*/ 2147483647 w 14"/>
                <a:gd name="T7" fmla="*/ 2147483647 h 42"/>
                <a:gd name="T8" fmla="*/ 0 w 14"/>
                <a:gd name="T9" fmla="*/ 2147483647 h 42"/>
                <a:gd name="T10" fmla="*/ 2147483647 w 14"/>
                <a:gd name="T11" fmla="*/ 2147483647 h 42"/>
                <a:gd name="T12" fmla="*/ 2147483647 w 14"/>
                <a:gd name="T13" fmla="*/ 0 h 42"/>
                <a:gd name="T14" fmla="*/ 0 60000 65536"/>
                <a:gd name="T15" fmla="*/ 0 60000 65536"/>
                <a:gd name="T16" fmla="*/ 0 60000 65536"/>
                <a:gd name="T17" fmla="*/ 0 60000 65536"/>
                <a:gd name="T18" fmla="*/ 0 60000 65536"/>
                <a:gd name="T19" fmla="*/ 0 60000 65536"/>
                <a:gd name="T20" fmla="*/ 0 60000 65536"/>
                <a:gd name="T21" fmla="*/ 0 w 14"/>
                <a:gd name="T22" fmla="*/ 0 h 42"/>
                <a:gd name="T23" fmla="*/ 14 w 14"/>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42">
                  <a:moveTo>
                    <a:pt x="6" y="0"/>
                  </a:moveTo>
                  <a:lnTo>
                    <a:pt x="14" y="8"/>
                  </a:lnTo>
                  <a:lnTo>
                    <a:pt x="14" y="20"/>
                  </a:lnTo>
                  <a:lnTo>
                    <a:pt x="2" y="42"/>
                  </a:lnTo>
                  <a:lnTo>
                    <a:pt x="0" y="20"/>
                  </a:lnTo>
                  <a:lnTo>
                    <a:pt x="9" y="6"/>
                  </a:lnTo>
                  <a:lnTo>
                    <a:pt x="6" y="0"/>
                  </a:lnTo>
                  <a:close/>
                </a:path>
              </a:pathLst>
            </a:custGeom>
            <a:grpFill/>
            <a:ln w="6350">
              <a:solidFill>
                <a:schemeClr val="tx2"/>
              </a:solidFill>
              <a:round/>
              <a:headEnd/>
              <a:tailEnd/>
            </a:ln>
          </p:spPr>
          <p:txBody>
            <a:bodyPr/>
            <a:lstStyle/>
            <a:p>
              <a:endParaRPr lang="en-US"/>
            </a:p>
          </p:txBody>
        </p:sp>
        <p:sp>
          <p:nvSpPr>
            <p:cNvPr id="410" name="Freeform 1514"/>
            <p:cNvSpPr>
              <a:spLocks/>
            </p:cNvSpPr>
            <p:nvPr/>
          </p:nvSpPr>
          <p:spPr bwMode="auto">
            <a:xfrm>
              <a:off x="7899841" y="4986951"/>
              <a:ext cx="3034" cy="7586"/>
            </a:xfrm>
            <a:custGeom>
              <a:avLst/>
              <a:gdLst>
                <a:gd name="T0" fmla="*/ 0 w 4"/>
                <a:gd name="T1" fmla="*/ 0 h 13"/>
                <a:gd name="T2" fmla="*/ 2147483647 w 4"/>
                <a:gd name="T3" fmla="*/ 2147483647 h 13"/>
                <a:gd name="T4" fmla="*/ 2147483647 w 4"/>
                <a:gd name="T5" fmla="*/ 2147483647 h 13"/>
                <a:gd name="T6" fmla="*/ 0 w 4"/>
                <a:gd name="T7" fmla="*/ 0 h 13"/>
                <a:gd name="T8" fmla="*/ 0 60000 65536"/>
                <a:gd name="T9" fmla="*/ 0 60000 65536"/>
                <a:gd name="T10" fmla="*/ 0 60000 65536"/>
                <a:gd name="T11" fmla="*/ 0 60000 65536"/>
                <a:gd name="T12" fmla="*/ 0 w 4"/>
                <a:gd name="T13" fmla="*/ 0 h 13"/>
                <a:gd name="T14" fmla="*/ 4 w 4"/>
                <a:gd name="T15" fmla="*/ 13 h 13"/>
              </a:gdLst>
              <a:ahLst/>
              <a:cxnLst>
                <a:cxn ang="T8">
                  <a:pos x="T0" y="T1"/>
                </a:cxn>
                <a:cxn ang="T9">
                  <a:pos x="T2" y="T3"/>
                </a:cxn>
                <a:cxn ang="T10">
                  <a:pos x="T4" y="T5"/>
                </a:cxn>
                <a:cxn ang="T11">
                  <a:pos x="T6" y="T7"/>
                </a:cxn>
              </a:cxnLst>
              <a:rect l="T12" t="T13" r="T14" b="T15"/>
              <a:pathLst>
                <a:path w="4" h="13">
                  <a:moveTo>
                    <a:pt x="0" y="0"/>
                  </a:moveTo>
                  <a:lnTo>
                    <a:pt x="4" y="2"/>
                  </a:lnTo>
                  <a:lnTo>
                    <a:pt x="1" y="13"/>
                  </a:lnTo>
                  <a:lnTo>
                    <a:pt x="0" y="0"/>
                  </a:lnTo>
                  <a:close/>
                </a:path>
              </a:pathLst>
            </a:custGeom>
            <a:grpFill/>
            <a:ln w="6350">
              <a:solidFill>
                <a:schemeClr val="tx2"/>
              </a:solidFill>
              <a:round/>
              <a:headEnd/>
              <a:tailEnd/>
            </a:ln>
          </p:spPr>
          <p:txBody>
            <a:bodyPr/>
            <a:lstStyle/>
            <a:p>
              <a:endParaRPr lang="en-US"/>
            </a:p>
          </p:txBody>
        </p:sp>
        <p:sp>
          <p:nvSpPr>
            <p:cNvPr id="411" name="Freeform 1515"/>
            <p:cNvSpPr>
              <a:spLocks/>
            </p:cNvSpPr>
            <p:nvPr/>
          </p:nvSpPr>
          <p:spPr bwMode="auto">
            <a:xfrm>
              <a:off x="7537250" y="5191761"/>
              <a:ext cx="34894" cy="13653"/>
            </a:xfrm>
            <a:custGeom>
              <a:avLst/>
              <a:gdLst>
                <a:gd name="T0" fmla="*/ 0 w 69"/>
                <a:gd name="T1" fmla="*/ 2147483647 h 25"/>
                <a:gd name="T2" fmla="*/ 2147483647 w 69"/>
                <a:gd name="T3" fmla="*/ 0 h 25"/>
                <a:gd name="T4" fmla="*/ 2147483647 w 69"/>
                <a:gd name="T5" fmla="*/ 2147483647 h 25"/>
                <a:gd name="T6" fmla="*/ 2147483647 w 69"/>
                <a:gd name="T7" fmla="*/ 2147483647 h 25"/>
                <a:gd name="T8" fmla="*/ 2147483647 w 69"/>
                <a:gd name="T9" fmla="*/ 2147483647 h 25"/>
                <a:gd name="T10" fmla="*/ 2147483647 w 69"/>
                <a:gd name="T11" fmla="*/ 2147483647 h 25"/>
                <a:gd name="T12" fmla="*/ 2147483647 w 69"/>
                <a:gd name="T13" fmla="*/ 2147483647 h 25"/>
                <a:gd name="T14" fmla="*/ 0 w 69"/>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25"/>
                <a:gd name="T26" fmla="*/ 69 w 69"/>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25">
                  <a:moveTo>
                    <a:pt x="0" y="12"/>
                  </a:moveTo>
                  <a:lnTo>
                    <a:pt x="34" y="0"/>
                  </a:lnTo>
                  <a:lnTo>
                    <a:pt x="69" y="17"/>
                  </a:lnTo>
                  <a:lnTo>
                    <a:pt x="48" y="17"/>
                  </a:lnTo>
                  <a:lnTo>
                    <a:pt x="42" y="25"/>
                  </a:lnTo>
                  <a:lnTo>
                    <a:pt x="16" y="23"/>
                  </a:lnTo>
                  <a:lnTo>
                    <a:pt x="5" y="23"/>
                  </a:lnTo>
                  <a:lnTo>
                    <a:pt x="0" y="12"/>
                  </a:lnTo>
                  <a:close/>
                </a:path>
              </a:pathLst>
            </a:custGeom>
            <a:grpFill/>
            <a:ln w="6350">
              <a:solidFill>
                <a:schemeClr val="tx2"/>
              </a:solidFill>
              <a:round/>
              <a:headEnd/>
              <a:tailEnd/>
            </a:ln>
          </p:spPr>
          <p:txBody>
            <a:bodyPr/>
            <a:lstStyle/>
            <a:p>
              <a:endParaRPr lang="en-US"/>
            </a:p>
          </p:txBody>
        </p:sp>
        <p:sp>
          <p:nvSpPr>
            <p:cNvPr id="412" name="Freeform 1516"/>
            <p:cNvSpPr>
              <a:spLocks/>
            </p:cNvSpPr>
            <p:nvPr/>
          </p:nvSpPr>
          <p:spPr bwMode="auto">
            <a:xfrm>
              <a:off x="7779988" y="5304028"/>
              <a:ext cx="10620" cy="16688"/>
            </a:xfrm>
            <a:custGeom>
              <a:avLst/>
              <a:gdLst>
                <a:gd name="T0" fmla="*/ 2147483647 w 19"/>
                <a:gd name="T1" fmla="*/ 2147483647 h 31"/>
                <a:gd name="T2" fmla="*/ 2147483647 w 19"/>
                <a:gd name="T3" fmla="*/ 0 h 31"/>
                <a:gd name="T4" fmla="*/ 2147483647 w 19"/>
                <a:gd name="T5" fmla="*/ 2147483647 h 31"/>
                <a:gd name="T6" fmla="*/ 2147483647 w 19"/>
                <a:gd name="T7" fmla="*/ 2147483647 h 31"/>
                <a:gd name="T8" fmla="*/ 2147483647 w 19"/>
                <a:gd name="T9" fmla="*/ 2147483647 h 31"/>
                <a:gd name="T10" fmla="*/ 0 w 19"/>
                <a:gd name="T11" fmla="*/ 2147483647 h 31"/>
                <a:gd name="T12" fmla="*/ 2147483647 w 19"/>
                <a:gd name="T13" fmla="*/ 2147483647 h 31"/>
                <a:gd name="T14" fmla="*/ 0 60000 65536"/>
                <a:gd name="T15" fmla="*/ 0 60000 65536"/>
                <a:gd name="T16" fmla="*/ 0 60000 65536"/>
                <a:gd name="T17" fmla="*/ 0 60000 65536"/>
                <a:gd name="T18" fmla="*/ 0 60000 65536"/>
                <a:gd name="T19" fmla="*/ 0 60000 65536"/>
                <a:gd name="T20" fmla="*/ 0 60000 65536"/>
                <a:gd name="T21" fmla="*/ 0 w 19"/>
                <a:gd name="T22" fmla="*/ 0 h 31"/>
                <a:gd name="T23" fmla="*/ 19 w 19"/>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1">
                  <a:moveTo>
                    <a:pt x="1" y="3"/>
                  </a:moveTo>
                  <a:lnTo>
                    <a:pt x="4" y="0"/>
                  </a:lnTo>
                  <a:lnTo>
                    <a:pt x="17" y="12"/>
                  </a:lnTo>
                  <a:lnTo>
                    <a:pt x="19" y="27"/>
                  </a:lnTo>
                  <a:lnTo>
                    <a:pt x="11" y="31"/>
                  </a:lnTo>
                  <a:lnTo>
                    <a:pt x="0" y="7"/>
                  </a:lnTo>
                  <a:lnTo>
                    <a:pt x="1" y="3"/>
                  </a:lnTo>
                  <a:close/>
                </a:path>
              </a:pathLst>
            </a:custGeom>
            <a:grpFill/>
            <a:ln w="6350">
              <a:solidFill>
                <a:schemeClr val="tx2"/>
              </a:solidFill>
              <a:round/>
              <a:headEnd/>
              <a:tailEnd/>
            </a:ln>
          </p:spPr>
          <p:txBody>
            <a:bodyPr/>
            <a:lstStyle/>
            <a:p>
              <a:endParaRPr lang="en-US"/>
            </a:p>
          </p:txBody>
        </p:sp>
        <p:sp>
          <p:nvSpPr>
            <p:cNvPr id="413" name="Freeform 1517"/>
            <p:cNvSpPr>
              <a:spLocks/>
            </p:cNvSpPr>
            <p:nvPr/>
          </p:nvSpPr>
          <p:spPr bwMode="auto">
            <a:xfrm>
              <a:off x="7787575" y="5320716"/>
              <a:ext cx="7585" cy="4551"/>
            </a:xfrm>
            <a:custGeom>
              <a:avLst/>
              <a:gdLst>
                <a:gd name="T0" fmla="*/ 0 w 16"/>
                <a:gd name="T1" fmla="*/ 2147483647 h 7"/>
                <a:gd name="T2" fmla="*/ 2147483647 w 16"/>
                <a:gd name="T3" fmla="*/ 0 h 7"/>
                <a:gd name="T4" fmla="*/ 2147483647 w 16"/>
                <a:gd name="T5" fmla="*/ 2147483647 h 7"/>
                <a:gd name="T6" fmla="*/ 0 w 16"/>
                <a:gd name="T7" fmla="*/ 2147483647 h 7"/>
                <a:gd name="T8" fmla="*/ 0 60000 65536"/>
                <a:gd name="T9" fmla="*/ 0 60000 65536"/>
                <a:gd name="T10" fmla="*/ 0 60000 65536"/>
                <a:gd name="T11" fmla="*/ 0 60000 65536"/>
                <a:gd name="T12" fmla="*/ 0 w 16"/>
                <a:gd name="T13" fmla="*/ 0 h 7"/>
                <a:gd name="T14" fmla="*/ 16 w 16"/>
                <a:gd name="T15" fmla="*/ 7 h 7"/>
              </a:gdLst>
              <a:ahLst/>
              <a:cxnLst>
                <a:cxn ang="T8">
                  <a:pos x="T0" y="T1"/>
                </a:cxn>
                <a:cxn ang="T9">
                  <a:pos x="T2" y="T3"/>
                </a:cxn>
                <a:cxn ang="T10">
                  <a:pos x="T4" y="T5"/>
                </a:cxn>
                <a:cxn ang="T11">
                  <a:pos x="T6" y="T7"/>
                </a:cxn>
              </a:cxnLst>
              <a:rect l="T12" t="T13" r="T14" b="T15"/>
              <a:pathLst>
                <a:path w="16" h="7">
                  <a:moveTo>
                    <a:pt x="0" y="6"/>
                  </a:moveTo>
                  <a:lnTo>
                    <a:pt x="10" y="0"/>
                  </a:lnTo>
                  <a:lnTo>
                    <a:pt x="16" y="7"/>
                  </a:lnTo>
                  <a:lnTo>
                    <a:pt x="0" y="6"/>
                  </a:lnTo>
                  <a:close/>
                </a:path>
              </a:pathLst>
            </a:custGeom>
            <a:grpFill/>
            <a:ln w="6350">
              <a:solidFill>
                <a:schemeClr val="tx2"/>
              </a:solidFill>
              <a:round/>
              <a:headEnd/>
              <a:tailEnd/>
            </a:ln>
          </p:spPr>
          <p:txBody>
            <a:bodyPr/>
            <a:lstStyle/>
            <a:p>
              <a:endParaRPr lang="en-US"/>
            </a:p>
          </p:txBody>
        </p:sp>
        <p:sp>
          <p:nvSpPr>
            <p:cNvPr id="414" name="Freeform 1518"/>
            <p:cNvSpPr>
              <a:spLocks/>
            </p:cNvSpPr>
            <p:nvPr/>
          </p:nvSpPr>
          <p:spPr bwMode="auto">
            <a:xfrm>
              <a:off x="7714752" y="5331336"/>
              <a:ext cx="75856" cy="83440"/>
            </a:xfrm>
            <a:custGeom>
              <a:avLst/>
              <a:gdLst>
                <a:gd name="T0" fmla="*/ 2147483647 w 154"/>
                <a:gd name="T1" fmla="*/ 0 h 168"/>
                <a:gd name="T2" fmla="*/ 2147483647 w 154"/>
                <a:gd name="T3" fmla="*/ 2147483647 h 168"/>
                <a:gd name="T4" fmla="*/ 2147483647 w 154"/>
                <a:gd name="T5" fmla="*/ 2147483647 h 168"/>
                <a:gd name="T6" fmla="*/ 2147483647 w 154"/>
                <a:gd name="T7" fmla="*/ 2147483647 h 168"/>
                <a:gd name="T8" fmla="*/ 2147483647 w 154"/>
                <a:gd name="T9" fmla="*/ 2147483647 h 168"/>
                <a:gd name="T10" fmla="*/ 2147483647 w 154"/>
                <a:gd name="T11" fmla="*/ 2147483647 h 168"/>
                <a:gd name="T12" fmla="*/ 2147483647 w 154"/>
                <a:gd name="T13" fmla="*/ 2147483647 h 168"/>
                <a:gd name="T14" fmla="*/ 2147483647 w 154"/>
                <a:gd name="T15" fmla="*/ 2147483647 h 168"/>
                <a:gd name="T16" fmla="*/ 2147483647 w 154"/>
                <a:gd name="T17" fmla="*/ 2147483647 h 168"/>
                <a:gd name="T18" fmla="*/ 2147483647 w 154"/>
                <a:gd name="T19" fmla="*/ 2147483647 h 168"/>
                <a:gd name="T20" fmla="*/ 2147483647 w 154"/>
                <a:gd name="T21" fmla="*/ 2147483647 h 168"/>
                <a:gd name="T22" fmla="*/ 2147483647 w 154"/>
                <a:gd name="T23" fmla="*/ 2147483647 h 168"/>
                <a:gd name="T24" fmla="*/ 2147483647 w 154"/>
                <a:gd name="T25" fmla="*/ 2147483647 h 168"/>
                <a:gd name="T26" fmla="*/ 2147483647 w 154"/>
                <a:gd name="T27" fmla="*/ 2147483647 h 168"/>
                <a:gd name="T28" fmla="*/ 2147483647 w 154"/>
                <a:gd name="T29" fmla="*/ 2147483647 h 168"/>
                <a:gd name="T30" fmla="*/ 2147483647 w 154"/>
                <a:gd name="T31" fmla="*/ 2147483647 h 168"/>
                <a:gd name="T32" fmla="*/ 2147483647 w 154"/>
                <a:gd name="T33" fmla="*/ 2147483647 h 168"/>
                <a:gd name="T34" fmla="*/ 2147483647 w 154"/>
                <a:gd name="T35" fmla="*/ 2147483647 h 168"/>
                <a:gd name="T36" fmla="*/ 2147483647 w 154"/>
                <a:gd name="T37" fmla="*/ 2147483647 h 168"/>
                <a:gd name="T38" fmla="*/ 2147483647 w 154"/>
                <a:gd name="T39" fmla="*/ 2147483647 h 168"/>
                <a:gd name="T40" fmla="*/ 2147483647 w 154"/>
                <a:gd name="T41" fmla="*/ 2147483647 h 168"/>
                <a:gd name="T42" fmla="*/ 2147483647 w 154"/>
                <a:gd name="T43" fmla="*/ 2147483647 h 168"/>
                <a:gd name="T44" fmla="*/ 2147483647 w 154"/>
                <a:gd name="T45" fmla="*/ 2147483647 h 168"/>
                <a:gd name="T46" fmla="*/ 2147483647 w 154"/>
                <a:gd name="T47" fmla="*/ 2147483647 h 168"/>
                <a:gd name="T48" fmla="*/ 2147483647 w 154"/>
                <a:gd name="T49" fmla="*/ 2147483647 h 168"/>
                <a:gd name="T50" fmla="*/ 2147483647 w 154"/>
                <a:gd name="T51" fmla="*/ 2147483647 h 168"/>
                <a:gd name="T52" fmla="*/ 2147483647 w 154"/>
                <a:gd name="T53" fmla="*/ 2147483647 h 168"/>
                <a:gd name="T54" fmla="*/ 2147483647 w 154"/>
                <a:gd name="T55" fmla="*/ 2147483647 h 168"/>
                <a:gd name="T56" fmla="*/ 2147483647 w 154"/>
                <a:gd name="T57" fmla="*/ 2147483647 h 168"/>
                <a:gd name="T58" fmla="*/ 2147483647 w 154"/>
                <a:gd name="T59" fmla="*/ 2147483647 h 168"/>
                <a:gd name="T60" fmla="*/ 2147483647 w 154"/>
                <a:gd name="T61" fmla="*/ 2147483647 h 168"/>
                <a:gd name="T62" fmla="*/ 0 w 154"/>
                <a:gd name="T63" fmla="*/ 2147483647 h 168"/>
                <a:gd name="T64" fmla="*/ 2147483647 w 154"/>
                <a:gd name="T65" fmla="*/ 0 h 16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
                <a:gd name="T100" fmla="*/ 0 h 168"/>
                <a:gd name="T101" fmla="*/ 154 w 154"/>
                <a:gd name="T102" fmla="*/ 168 h 16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 h="168">
                  <a:moveTo>
                    <a:pt x="1" y="0"/>
                  </a:moveTo>
                  <a:lnTo>
                    <a:pt x="14" y="8"/>
                  </a:lnTo>
                  <a:lnTo>
                    <a:pt x="33" y="10"/>
                  </a:lnTo>
                  <a:lnTo>
                    <a:pt x="53" y="24"/>
                  </a:lnTo>
                  <a:lnTo>
                    <a:pt x="77" y="27"/>
                  </a:lnTo>
                  <a:lnTo>
                    <a:pt x="116" y="17"/>
                  </a:lnTo>
                  <a:lnTo>
                    <a:pt x="124" y="8"/>
                  </a:lnTo>
                  <a:lnTo>
                    <a:pt x="134" y="12"/>
                  </a:lnTo>
                  <a:lnTo>
                    <a:pt x="137" y="5"/>
                  </a:lnTo>
                  <a:lnTo>
                    <a:pt x="144" y="8"/>
                  </a:lnTo>
                  <a:lnTo>
                    <a:pt x="150" y="16"/>
                  </a:lnTo>
                  <a:lnTo>
                    <a:pt x="153" y="33"/>
                  </a:lnTo>
                  <a:lnTo>
                    <a:pt x="154" y="94"/>
                  </a:lnTo>
                  <a:lnTo>
                    <a:pt x="151" y="74"/>
                  </a:lnTo>
                  <a:lnTo>
                    <a:pt x="142" y="92"/>
                  </a:lnTo>
                  <a:lnTo>
                    <a:pt x="138" y="120"/>
                  </a:lnTo>
                  <a:lnTo>
                    <a:pt x="122" y="121"/>
                  </a:lnTo>
                  <a:lnTo>
                    <a:pt x="110" y="148"/>
                  </a:lnTo>
                  <a:lnTo>
                    <a:pt x="102" y="142"/>
                  </a:lnTo>
                  <a:lnTo>
                    <a:pt x="98" y="146"/>
                  </a:lnTo>
                  <a:lnTo>
                    <a:pt x="97" y="161"/>
                  </a:lnTo>
                  <a:lnTo>
                    <a:pt x="91" y="168"/>
                  </a:lnTo>
                  <a:lnTo>
                    <a:pt x="57" y="162"/>
                  </a:lnTo>
                  <a:lnTo>
                    <a:pt x="54" y="157"/>
                  </a:lnTo>
                  <a:lnTo>
                    <a:pt x="63" y="150"/>
                  </a:lnTo>
                  <a:lnTo>
                    <a:pt x="48" y="147"/>
                  </a:lnTo>
                  <a:lnTo>
                    <a:pt x="28" y="117"/>
                  </a:lnTo>
                  <a:lnTo>
                    <a:pt x="19" y="83"/>
                  </a:lnTo>
                  <a:lnTo>
                    <a:pt x="28" y="100"/>
                  </a:lnTo>
                  <a:lnTo>
                    <a:pt x="33" y="92"/>
                  </a:lnTo>
                  <a:lnTo>
                    <a:pt x="18" y="72"/>
                  </a:lnTo>
                  <a:lnTo>
                    <a:pt x="0" y="30"/>
                  </a:lnTo>
                  <a:lnTo>
                    <a:pt x="1" y="0"/>
                  </a:lnTo>
                  <a:close/>
                </a:path>
              </a:pathLst>
            </a:custGeom>
            <a:grpFill/>
            <a:ln w="6350">
              <a:solidFill>
                <a:schemeClr val="tx2"/>
              </a:solidFill>
              <a:round/>
              <a:headEnd/>
              <a:tailEnd/>
            </a:ln>
          </p:spPr>
          <p:txBody>
            <a:bodyPr/>
            <a:lstStyle/>
            <a:p>
              <a:endParaRPr lang="en-US"/>
            </a:p>
          </p:txBody>
        </p:sp>
        <p:sp>
          <p:nvSpPr>
            <p:cNvPr id="415" name="Freeform 1519"/>
            <p:cNvSpPr>
              <a:spLocks/>
            </p:cNvSpPr>
            <p:nvPr/>
          </p:nvSpPr>
          <p:spPr bwMode="auto">
            <a:xfrm>
              <a:off x="8124373" y="4823102"/>
              <a:ext cx="63718" cy="50065"/>
            </a:xfrm>
            <a:custGeom>
              <a:avLst/>
              <a:gdLst>
                <a:gd name="T0" fmla="*/ 2147483647 w 126"/>
                <a:gd name="T1" fmla="*/ 2147483647 h 102"/>
                <a:gd name="T2" fmla="*/ 2147483647 w 126"/>
                <a:gd name="T3" fmla="*/ 2147483647 h 102"/>
                <a:gd name="T4" fmla="*/ 2147483647 w 126"/>
                <a:gd name="T5" fmla="*/ 2147483647 h 102"/>
                <a:gd name="T6" fmla="*/ 0 w 126"/>
                <a:gd name="T7" fmla="*/ 0 h 102"/>
                <a:gd name="T8" fmla="*/ 2147483647 w 126"/>
                <a:gd name="T9" fmla="*/ 2147483647 h 102"/>
                <a:gd name="T10" fmla="*/ 2147483647 w 126"/>
                <a:gd name="T11" fmla="*/ 2147483647 h 102"/>
                <a:gd name="T12" fmla="*/ 2147483647 w 126"/>
                <a:gd name="T13" fmla="*/ 2147483647 h 102"/>
                <a:gd name="T14" fmla="*/ 2147483647 w 126"/>
                <a:gd name="T15" fmla="*/ 2147483647 h 102"/>
                <a:gd name="T16" fmla="*/ 2147483647 w 126"/>
                <a:gd name="T17" fmla="*/ 2147483647 h 102"/>
                <a:gd name="T18" fmla="*/ 2147483647 w 126"/>
                <a:gd name="T19" fmla="*/ 2147483647 h 102"/>
                <a:gd name="T20" fmla="*/ 2147483647 w 126"/>
                <a:gd name="T21" fmla="*/ 2147483647 h 102"/>
                <a:gd name="T22" fmla="*/ 2147483647 w 126"/>
                <a:gd name="T23" fmla="*/ 2147483647 h 102"/>
                <a:gd name="T24" fmla="*/ 2147483647 w 126"/>
                <a:gd name="T25" fmla="*/ 2147483647 h 102"/>
                <a:gd name="T26" fmla="*/ 2147483647 w 126"/>
                <a:gd name="T27" fmla="*/ 2147483647 h 102"/>
                <a:gd name="T28" fmla="*/ 2147483647 w 126"/>
                <a:gd name="T29" fmla="*/ 2147483647 h 102"/>
                <a:gd name="T30" fmla="*/ 2147483647 w 126"/>
                <a:gd name="T31" fmla="*/ 2147483647 h 102"/>
                <a:gd name="T32" fmla="*/ 2147483647 w 126"/>
                <a:gd name="T33" fmla="*/ 2147483647 h 102"/>
                <a:gd name="T34" fmla="*/ 2147483647 w 126"/>
                <a:gd name="T35" fmla="*/ 2147483647 h 102"/>
                <a:gd name="T36" fmla="*/ 2147483647 w 126"/>
                <a:gd name="T37" fmla="*/ 2147483647 h 102"/>
                <a:gd name="T38" fmla="*/ 2147483647 w 126"/>
                <a:gd name="T39" fmla="*/ 2147483647 h 10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6"/>
                <a:gd name="T61" fmla="*/ 0 h 102"/>
                <a:gd name="T62" fmla="*/ 126 w 126"/>
                <a:gd name="T63" fmla="*/ 102 h 10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6" h="102">
                  <a:moveTo>
                    <a:pt x="46" y="54"/>
                  </a:moveTo>
                  <a:lnTo>
                    <a:pt x="31" y="46"/>
                  </a:lnTo>
                  <a:lnTo>
                    <a:pt x="5" y="12"/>
                  </a:lnTo>
                  <a:lnTo>
                    <a:pt x="0" y="0"/>
                  </a:lnTo>
                  <a:lnTo>
                    <a:pt x="15" y="1"/>
                  </a:lnTo>
                  <a:lnTo>
                    <a:pt x="31" y="11"/>
                  </a:lnTo>
                  <a:lnTo>
                    <a:pt x="35" y="19"/>
                  </a:lnTo>
                  <a:lnTo>
                    <a:pt x="46" y="22"/>
                  </a:lnTo>
                  <a:lnTo>
                    <a:pt x="59" y="43"/>
                  </a:lnTo>
                  <a:lnTo>
                    <a:pt x="80" y="62"/>
                  </a:lnTo>
                  <a:lnTo>
                    <a:pt x="96" y="66"/>
                  </a:lnTo>
                  <a:lnTo>
                    <a:pt x="112" y="83"/>
                  </a:lnTo>
                  <a:lnTo>
                    <a:pt x="124" y="88"/>
                  </a:lnTo>
                  <a:lnTo>
                    <a:pt x="126" y="95"/>
                  </a:lnTo>
                  <a:lnTo>
                    <a:pt x="120" y="102"/>
                  </a:lnTo>
                  <a:lnTo>
                    <a:pt x="108" y="92"/>
                  </a:lnTo>
                  <a:lnTo>
                    <a:pt x="91" y="89"/>
                  </a:lnTo>
                  <a:lnTo>
                    <a:pt x="88" y="80"/>
                  </a:lnTo>
                  <a:lnTo>
                    <a:pt x="52" y="63"/>
                  </a:lnTo>
                  <a:lnTo>
                    <a:pt x="46" y="54"/>
                  </a:lnTo>
                  <a:close/>
                </a:path>
              </a:pathLst>
            </a:custGeom>
            <a:grpFill/>
            <a:ln w="6350">
              <a:solidFill>
                <a:schemeClr val="tx2"/>
              </a:solidFill>
              <a:round/>
              <a:headEnd/>
              <a:tailEnd/>
            </a:ln>
          </p:spPr>
          <p:txBody>
            <a:bodyPr/>
            <a:lstStyle/>
            <a:p>
              <a:endParaRPr lang="en-US"/>
            </a:p>
          </p:txBody>
        </p:sp>
        <p:sp>
          <p:nvSpPr>
            <p:cNvPr id="416" name="Freeform 1520"/>
            <p:cNvSpPr>
              <a:spLocks/>
            </p:cNvSpPr>
            <p:nvPr/>
          </p:nvSpPr>
          <p:spPr bwMode="auto">
            <a:xfrm>
              <a:off x="8180507" y="4700216"/>
              <a:ext cx="10620" cy="19722"/>
            </a:xfrm>
            <a:custGeom>
              <a:avLst/>
              <a:gdLst>
                <a:gd name="T0" fmla="*/ 0 w 26"/>
                <a:gd name="T1" fmla="*/ 0 h 38"/>
                <a:gd name="T2" fmla="*/ 2147483647 w 26"/>
                <a:gd name="T3" fmla="*/ 2147483647 h 38"/>
                <a:gd name="T4" fmla="*/ 2147483647 w 26"/>
                <a:gd name="T5" fmla="*/ 2147483647 h 38"/>
                <a:gd name="T6" fmla="*/ 2147483647 w 26"/>
                <a:gd name="T7" fmla="*/ 2147483647 h 38"/>
                <a:gd name="T8" fmla="*/ 2147483647 w 26"/>
                <a:gd name="T9" fmla="*/ 2147483647 h 38"/>
                <a:gd name="T10" fmla="*/ 0 w 26"/>
                <a:gd name="T11" fmla="*/ 0 h 38"/>
                <a:gd name="T12" fmla="*/ 0 60000 65536"/>
                <a:gd name="T13" fmla="*/ 0 60000 65536"/>
                <a:gd name="T14" fmla="*/ 0 60000 65536"/>
                <a:gd name="T15" fmla="*/ 0 60000 65536"/>
                <a:gd name="T16" fmla="*/ 0 60000 65536"/>
                <a:gd name="T17" fmla="*/ 0 60000 65536"/>
                <a:gd name="T18" fmla="*/ 0 w 26"/>
                <a:gd name="T19" fmla="*/ 0 h 38"/>
                <a:gd name="T20" fmla="*/ 26 w 2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26" h="38">
                  <a:moveTo>
                    <a:pt x="0" y="0"/>
                  </a:moveTo>
                  <a:lnTo>
                    <a:pt x="9" y="20"/>
                  </a:lnTo>
                  <a:lnTo>
                    <a:pt x="22" y="13"/>
                  </a:lnTo>
                  <a:lnTo>
                    <a:pt x="26" y="35"/>
                  </a:lnTo>
                  <a:lnTo>
                    <a:pt x="10" y="38"/>
                  </a:lnTo>
                  <a:lnTo>
                    <a:pt x="0" y="0"/>
                  </a:lnTo>
                  <a:close/>
                </a:path>
              </a:pathLst>
            </a:custGeom>
            <a:grpFill/>
            <a:ln w="6350">
              <a:solidFill>
                <a:schemeClr val="tx2"/>
              </a:solidFill>
              <a:round/>
              <a:headEnd/>
              <a:tailEnd/>
            </a:ln>
          </p:spPr>
          <p:txBody>
            <a:bodyPr/>
            <a:lstStyle/>
            <a:p>
              <a:endParaRPr lang="en-US"/>
            </a:p>
          </p:txBody>
        </p:sp>
        <p:sp>
          <p:nvSpPr>
            <p:cNvPr id="417" name="Freeform 1521"/>
            <p:cNvSpPr>
              <a:spLocks/>
            </p:cNvSpPr>
            <p:nvPr/>
          </p:nvSpPr>
          <p:spPr bwMode="auto">
            <a:xfrm>
              <a:off x="8191127" y="4724491"/>
              <a:ext cx="12137" cy="15172"/>
            </a:xfrm>
            <a:custGeom>
              <a:avLst/>
              <a:gdLst>
                <a:gd name="T0" fmla="*/ 0 w 23"/>
                <a:gd name="T1" fmla="*/ 0 h 30"/>
                <a:gd name="T2" fmla="*/ 2147483647 w 23"/>
                <a:gd name="T3" fmla="*/ 2147483647 h 30"/>
                <a:gd name="T4" fmla="*/ 2147483647 w 23"/>
                <a:gd name="T5" fmla="*/ 2147483647 h 30"/>
                <a:gd name="T6" fmla="*/ 2147483647 w 23"/>
                <a:gd name="T7" fmla="*/ 2147483647 h 30"/>
                <a:gd name="T8" fmla="*/ 2147483647 w 23"/>
                <a:gd name="T9" fmla="*/ 2147483647 h 30"/>
                <a:gd name="T10" fmla="*/ 2147483647 w 23"/>
                <a:gd name="T11" fmla="*/ 2147483647 h 30"/>
                <a:gd name="T12" fmla="*/ 0 w 23"/>
                <a:gd name="T13" fmla="*/ 0 h 30"/>
                <a:gd name="T14" fmla="*/ 0 60000 65536"/>
                <a:gd name="T15" fmla="*/ 0 60000 65536"/>
                <a:gd name="T16" fmla="*/ 0 60000 65536"/>
                <a:gd name="T17" fmla="*/ 0 60000 65536"/>
                <a:gd name="T18" fmla="*/ 0 60000 65536"/>
                <a:gd name="T19" fmla="*/ 0 60000 65536"/>
                <a:gd name="T20" fmla="*/ 0 60000 65536"/>
                <a:gd name="T21" fmla="*/ 0 w 23"/>
                <a:gd name="T22" fmla="*/ 0 h 30"/>
                <a:gd name="T23" fmla="*/ 23 w 23"/>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0">
                  <a:moveTo>
                    <a:pt x="0" y="0"/>
                  </a:moveTo>
                  <a:lnTo>
                    <a:pt x="22" y="20"/>
                  </a:lnTo>
                  <a:lnTo>
                    <a:pt x="23" y="28"/>
                  </a:lnTo>
                  <a:lnTo>
                    <a:pt x="10" y="30"/>
                  </a:lnTo>
                  <a:lnTo>
                    <a:pt x="7" y="10"/>
                  </a:lnTo>
                  <a:lnTo>
                    <a:pt x="1" y="7"/>
                  </a:lnTo>
                  <a:lnTo>
                    <a:pt x="0" y="0"/>
                  </a:lnTo>
                  <a:close/>
                </a:path>
              </a:pathLst>
            </a:custGeom>
            <a:grpFill/>
            <a:ln w="6350">
              <a:solidFill>
                <a:schemeClr val="tx2"/>
              </a:solidFill>
              <a:round/>
              <a:headEnd/>
              <a:tailEnd/>
            </a:ln>
          </p:spPr>
          <p:txBody>
            <a:bodyPr/>
            <a:lstStyle/>
            <a:p>
              <a:endParaRPr lang="en-US"/>
            </a:p>
          </p:txBody>
        </p:sp>
        <p:sp>
          <p:nvSpPr>
            <p:cNvPr id="418" name="Freeform 1522"/>
            <p:cNvSpPr>
              <a:spLocks/>
            </p:cNvSpPr>
            <p:nvPr/>
          </p:nvSpPr>
          <p:spPr bwMode="auto">
            <a:xfrm>
              <a:off x="8212366" y="4716904"/>
              <a:ext cx="1516" cy="7586"/>
            </a:xfrm>
            <a:custGeom>
              <a:avLst/>
              <a:gdLst>
                <a:gd name="T0" fmla="*/ 0 w 3"/>
                <a:gd name="T1" fmla="*/ 0 h 19"/>
                <a:gd name="T2" fmla="*/ 2147483647 w 3"/>
                <a:gd name="T3" fmla="*/ 2147483647 h 19"/>
                <a:gd name="T4" fmla="*/ 0 w 3"/>
                <a:gd name="T5" fmla="*/ 0 h 19"/>
                <a:gd name="T6" fmla="*/ 0 60000 65536"/>
                <a:gd name="T7" fmla="*/ 0 60000 65536"/>
                <a:gd name="T8" fmla="*/ 0 60000 65536"/>
                <a:gd name="T9" fmla="*/ 0 w 3"/>
                <a:gd name="T10" fmla="*/ 0 h 19"/>
                <a:gd name="T11" fmla="*/ 3 w 3"/>
                <a:gd name="T12" fmla="*/ 19 h 19"/>
              </a:gdLst>
              <a:ahLst/>
              <a:cxnLst>
                <a:cxn ang="T6">
                  <a:pos x="T0" y="T1"/>
                </a:cxn>
                <a:cxn ang="T7">
                  <a:pos x="T2" y="T3"/>
                </a:cxn>
                <a:cxn ang="T8">
                  <a:pos x="T4" y="T5"/>
                </a:cxn>
              </a:cxnLst>
              <a:rect l="T9" t="T10" r="T11" b="T12"/>
              <a:pathLst>
                <a:path w="3" h="19">
                  <a:moveTo>
                    <a:pt x="0" y="0"/>
                  </a:moveTo>
                  <a:lnTo>
                    <a:pt x="3" y="19"/>
                  </a:lnTo>
                  <a:lnTo>
                    <a:pt x="0" y="0"/>
                  </a:lnTo>
                  <a:close/>
                </a:path>
              </a:pathLst>
            </a:custGeom>
            <a:grpFill/>
            <a:ln w="6350">
              <a:solidFill>
                <a:schemeClr val="tx2"/>
              </a:solidFill>
              <a:round/>
              <a:headEnd/>
              <a:tailEnd/>
            </a:ln>
          </p:spPr>
          <p:txBody>
            <a:bodyPr/>
            <a:lstStyle/>
            <a:p>
              <a:endParaRPr lang="en-US"/>
            </a:p>
          </p:txBody>
        </p:sp>
        <p:sp>
          <p:nvSpPr>
            <p:cNvPr id="419" name="Freeform 1523"/>
            <p:cNvSpPr>
              <a:spLocks/>
            </p:cNvSpPr>
            <p:nvPr/>
          </p:nvSpPr>
          <p:spPr bwMode="auto">
            <a:xfrm>
              <a:off x="8209332" y="4729041"/>
              <a:ext cx="6069" cy="6069"/>
            </a:xfrm>
            <a:custGeom>
              <a:avLst/>
              <a:gdLst>
                <a:gd name="T0" fmla="*/ 2147483647 w 14"/>
                <a:gd name="T1" fmla="*/ 0 h 12"/>
                <a:gd name="T2" fmla="*/ 2147483647 w 14"/>
                <a:gd name="T3" fmla="*/ 2147483647 h 12"/>
                <a:gd name="T4" fmla="*/ 2147483647 w 14"/>
                <a:gd name="T5" fmla="*/ 2147483647 h 12"/>
                <a:gd name="T6" fmla="*/ 0 w 14"/>
                <a:gd name="T7" fmla="*/ 2147483647 h 12"/>
                <a:gd name="T8" fmla="*/ 2147483647 w 14"/>
                <a:gd name="T9" fmla="*/ 0 h 12"/>
                <a:gd name="T10" fmla="*/ 0 60000 65536"/>
                <a:gd name="T11" fmla="*/ 0 60000 65536"/>
                <a:gd name="T12" fmla="*/ 0 60000 65536"/>
                <a:gd name="T13" fmla="*/ 0 60000 65536"/>
                <a:gd name="T14" fmla="*/ 0 60000 65536"/>
                <a:gd name="T15" fmla="*/ 0 w 14"/>
                <a:gd name="T16" fmla="*/ 0 h 12"/>
                <a:gd name="T17" fmla="*/ 14 w 14"/>
                <a:gd name="T18" fmla="*/ 12 h 12"/>
              </a:gdLst>
              <a:ahLst/>
              <a:cxnLst>
                <a:cxn ang="T10">
                  <a:pos x="T0" y="T1"/>
                </a:cxn>
                <a:cxn ang="T11">
                  <a:pos x="T2" y="T3"/>
                </a:cxn>
                <a:cxn ang="T12">
                  <a:pos x="T4" y="T5"/>
                </a:cxn>
                <a:cxn ang="T13">
                  <a:pos x="T6" y="T7"/>
                </a:cxn>
                <a:cxn ang="T14">
                  <a:pos x="T8" y="T9"/>
                </a:cxn>
              </a:cxnLst>
              <a:rect l="T15" t="T16" r="T17" b="T18"/>
              <a:pathLst>
                <a:path w="14" h="12">
                  <a:moveTo>
                    <a:pt x="8" y="0"/>
                  </a:moveTo>
                  <a:lnTo>
                    <a:pt x="14" y="11"/>
                  </a:lnTo>
                  <a:lnTo>
                    <a:pt x="5" y="12"/>
                  </a:lnTo>
                  <a:lnTo>
                    <a:pt x="0" y="6"/>
                  </a:lnTo>
                  <a:lnTo>
                    <a:pt x="8" y="0"/>
                  </a:lnTo>
                  <a:close/>
                </a:path>
              </a:pathLst>
            </a:custGeom>
            <a:grpFill/>
            <a:ln w="6350">
              <a:solidFill>
                <a:schemeClr val="tx2"/>
              </a:solidFill>
              <a:round/>
              <a:headEnd/>
              <a:tailEnd/>
            </a:ln>
          </p:spPr>
          <p:txBody>
            <a:bodyPr/>
            <a:lstStyle/>
            <a:p>
              <a:endParaRPr lang="en-US"/>
            </a:p>
          </p:txBody>
        </p:sp>
        <p:sp>
          <p:nvSpPr>
            <p:cNvPr id="420" name="Freeform 1524"/>
            <p:cNvSpPr>
              <a:spLocks/>
            </p:cNvSpPr>
            <p:nvPr/>
          </p:nvSpPr>
          <p:spPr bwMode="auto">
            <a:xfrm>
              <a:off x="8212366" y="4762417"/>
              <a:ext cx="9103" cy="4551"/>
            </a:xfrm>
            <a:custGeom>
              <a:avLst/>
              <a:gdLst>
                <a:gd name="T0" fmla="*/ 2147483647 w 14"/>
                <a:gd name="T1" fmla="*/ 0 h 10"/>
                <a:gd name="T2" fmla="*/ 2147483647 w 14"/>
                <a:gd name="T3" fmla="*/ 2147483647 h 10"/>
                <a:gd name="T4" fmla="*/ 2147483647 w 14"/>
                <a:gd name="T5" fmla="*/ 2147483647 h 10"/>
                <a:gd name="T6" fmla="*/ 0 w 14"/>
                <a:gd name="T7" fmla="*/ 2147483647 h 10"/>
                <a:gd name="T8" fmla="*/ 2147483647 w 14"/>
                <a:gd name="T9" fmla="*/ 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10" y="0"/>
                  </a:moveTo>
                  <a:lnTo>
                    <a:pt x="14" y="9"/>
                  </a:lnTo>
                  <a:lnTo>
                    <a:pt x="3" y="10"/>
                  </a:lnTo>
                  <a:lnTo>
                    <a:pt x="0" y="5"/>
                  </a:lnTo>
                  <a:lnTo>
                    <a:pt x="10" y="0"/>
                  </a:lnTo>
                  <a:close/>
                </a:path>
              </a:pathLst>
            </a:custGeom>
            <a:grpFill/>
            <a:ln w="6350">
              <a:solidFill>
                <a:schemeClr val="tx2"/>
              </a:solidFill>
              <a:round/>
              <a:headEnd/>
              <a:tailEnd/>
            </a:ln>
          </p:spPr>
          <p:txBody>
            <a:bodyPr/>
            <a:lstStyle/>
            <a:p>
              <a:endParaRPr lang="en-US"/>
            </a:p>
          </p:txBody>
        </p:sp>
        <p:sp>
          <p:nvSpPr>
            <p:cNvPr id="421" name="Freeform 1525"/>
            <p:cNvSpPr>
              <a:spLocks/>
            </p:cNvSpPr>
            <p:nvPr/>
          </p:nvSpPr>
          <p:spPr bwMode="auto">
            <a:xfrm>
              <a:off x="8227537" y="4785175"/>
              <a:ext cx="6069" cy="7585"/>
            </a:xfrm>
            <a:custGeom>
              <a:avLst/>
              <a:gdLst>
                <a:gd name="T0" fmla="*/ 0 w 8"/>
                <a:gd name="T1" fmla="*/ 0 h 13"/>
                <a:gd name="T2" fmla="*/ 2147483647 w 8"/>
                <a:gd name="T3" fmla="*/ 2147483647 h 13"/>
                <a:gd name="T4" fmla="*/ 2147483647 w 8"/>
                <a:gd name="T5" fmla="*/ 2147483647 h 13"/>
                <a:gd name="T6" fmla="*/ 2147483647 w 8"/>
                <a:gd name="T7" fmla="*/ 2147483647 h 13"/>
                <a:gd name="T8" fmla="*/ 0 w 8"/>
                <a:gd name="T9" fmla="*/ 0 h 13"/>
                <a:gd name="T10" fmla="*/ 2147483647 w 8"/>
                <a:gd name="T11" fmla="*/ 2147483647 h 13"/>
                <a:gd name="T12" fmla="*/ 0 w 8"/>
                <a:gd name="T13" fmla="*/ 0 h 13"/>
                <a:gd name="T14" fmla="*/ 0 60000 65536"/>
                <a:gd name="T15" fmla="*/ 0 60000 65536"/>
                <a:gd name="T16" fmla="*/ 0 60000 65536"/>
                <a:gd name="T17" fmla="*/ 0 60000 65536"/>
                <a:gd name="T18" fmla="*/ 0 60000 65536"/>
                <a:gd name="T19" fmla="*/ 0 60000 65536"/>
                <a:gd name="T20" fmla="*/ 0 60000 65536"/>
                <a:gd name="T21" fmla="*/ 0 w 8"/>
                <a:gd name="T22" fmla="*/ 0 h 13"/>
                <a:gd name="T23" fmla="*/ 8 w 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3">
                  <a:moveTo>
                    <a:pt x="0" y="0"/>
                  </a:moveTo>
                  <a:lnTo>
                    <a:pt x="5" y="1"/>
                  </a:lnTo>
                  <a:lnTo>
                    <a:pt x="8" y="13"/>
                  </a:lnTo>
                  <a:lnTo>
                    <a:pt x="2" y="9"/>
                  </a:lnTo>
                  <a:lnTo>
                    <a:pt x="0" y="0"/>
                  </a:lnTo>
                  <a:lnTo>
                    <a:pt x="2" y="9"/>
                  </a:lnTo>
                  <a:lnTo>
                    <a:pt x="0" y="0"/>
                  </a:lnTo>
                  <a:close/>
                </a:path>
              </a:pathLst>
            </a:custGeom>
            <a:grpFill/>
            <a:ln w="6350">
              <a:solidFill>
                <a:schemeClr val="tx2"/>
              </a:solidFill>
              <a:round/>
              <a:headEnd/>
              <a:tailEnd/>
            </a:ln>
          </p:spPr>
          <p:txBody>
            <a:bodyPr/>
            <a:lstStyle/>
            <a:p>
              <a:endParaRPr lang="en-US"/>
            </a:p>
          </p:txBody>
        </p:sp>
        <p:sp>
          <p:nvSpPr>
            <p:cNvPr id="422" name="Freeform 1526"/>
            <p:cNvSpPr>
              <a:spLocks/>
            </p:cNvSpPr>
            <p:nvPr/>
          </p:nvSpPr>
          <p:spPr bwMode="auto">
            <a:xfrm>
              <a:off x="8236640" y="4801862"/>
              <a:ext cx="3034" cy="6069"/>
            </a:xfrm>
            <a:custGeom>
              <a:avLst/>
              <a:gdLst>
                <a:gd name="T0" fmla="*/ 0 w 7"/>
                <a:gd name="T1" fmla="*/ 0 h 11"/>
                <a:gd name="T2" fmla="*/ 2147483647 w 7"/>
                <a:gd name="T3" fmla="*/ 2147483647 h 11"/>
                <a:gd name="T4" fmla="*/ 2147483647 w 7"/>
                <a:gd name="T5" fmla="*/ 2147483647 h 11"/>
                <a:gd name="T6" fmla="*/ 0 w 7"/>
                <a:gd name="T7" fmla="*/ 2147483647 h 11"/>
                <a:gd name="T8" fmla="*/ 0 w 7"/>
                <a:gd name="T9" fmla="*/ 0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0" y="0"/>
                  </a:moveTo>
                  <a:lnTo>
                    <a:pt x="7" y="5"/>
                  </a:lnTo>
                  <a:lnTo>
                    <a:pt x="5" y="11"/>
                  </a:lnTo>
                  <a:lnTo>
                    <a:pt x="0" y="6"/>
                  </a:lnTo>
                  <a:lnTo>
                    <a:pt x="0" y="0"/>
                  </a:lnTo>
                  <a:close/>
                </a:path>
              </a:pathLst>
            </a:custGeom>
            <a:grpFill/>
            <a:ln w="6350">
              <a:solidFill>
                <a:schemeClr val="tx2"/>
              </a:solidFill>
              <a:round/>
              <a:headEnd/>
              <a:tailEnd/>
            </a:ln>
          </p:spPr>
          <p:txBody>
            <a:bodyPr/>
            <a:lstStyle/>
            <a:p>
              <a:endParaRPr lang="en-US"/>
            </a:p>
          </p:txBody>
        </p:sp>
        <p:sp>
          <p:nvSpPr>
            <p:cNvPr id="423" name="Freeform 1527"/>
            <p:cNvSpPr>
              <a:spLocks/>
            </p:cNvSpPr>
            <p:nvPr/>
          </p:nvSpPr>
          <p:spPr bwMode="auto">
            <a:xfrm>
              <a:off x="8191127" y="4835240"/>
              <a:ext cx="6069" cy="9103"/>
            </a:xfrm>
            <a:custGeom>
              <a:avLst/>
              <a:gdLst>
                <a:gd name="T0" fmla="*/ 0 w 13"/>
                <a:gd name="T1" fmla="*/ 0 h 16"/>
                <a:gd name="T2" fmla="*/ 2147483647 w 13"/>
                <a:gd name="T3" fmla="*/ 0 h 16"/>
                <a:gd name="T4" fmla="*/ 2147483647 w 13"/>
                <a:gd name="T5" fmla="*/ 2147483647 h 16"/>
                <a:gd name="T6" fmla="*/ 2147483647 w 13"/>
                <a:gd name="T7" fmla="*/ 2147483647 h 16"/>
                <a:gd name="T8" fmla="*/ 0 w 13"/>
                <a:gd name="T9" fmla="*/ 0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0" y="0"/>
                  </a:moveTo>
                  <a:lnTo>
                    <a:pt x="8" y="0"/>
                  </a:lnTo>
                  <a:lnTo>
                    <a:pt x="13" y="16"/>
                  </a:lnTo>
                  <a:lnTo>
                    <a:pt x="1" y="11"/>
                  </a:lnTo>
                  <a:lnTo>
                    <a:pt x="0" y="0"/>
                  </a:lnTo>
                  <a:close/>
                </a:path>
              </a:pathLst>
            </a:custGeom>
            <a:grpFill/>
            <a:ln w="6350">
              <a:solidFill>
                <a:schemeClr val="tx2"/>
              </a:solidFill>
              <a:round/>
              <a:headEnd/>
              <a:tailEnd/>
            </a:ln>
          </p:spPr>
          <p:txBody>
            <a:bodyPr/>
            <a:lstStyle/>
            <a:p>
              <a:endParaRPr lang="en-US"/>
            </a:p>
          </p:txBody>
        </p:sp>
        <p:sp>
          <p:nvSpPr>
            <p:cNvPr id="424" name="Freeform 1528"/>
            <p:cNvSpPr>
              <a:spLocks/>
            </p:cNvSpPr>
            <p:nvPr/>
          </p:nvSpPr>
          <p:spPr bwMode="auto">
            <a:xfrm>
              <a:off x="8206297" y="4848894"/>
              <a:ext cx="3034" cy="4550"/>
            </a:xfrm>
            <a:custGeom>
              <a:avLst/>
              <a:gdLst>
                <a:gd name="T0" fmla="*/ 0 w 9"/>
                <a:gd name="T1" fmla="*/ 2147483647 h 10"/>
                <a:gd name="T2" fmla="*/ 2147483647 w 9"/>
                <a:gd name="T3" fmla="*/ 0 h 10"/>
                <a:gd name="T4" fmla="*/ 2147483647 w 9"/>
                <a:gd name="T5" fmla="*/ 2147483647 h 10"/>
                <a:gd name="T6" fmla="*/ 2147483647 w 9"/>
                <a:gd name="T7" fmla="*/ 2147483647 h 10"/>
                <a:gd name="T8" fmla="*/ 0 w 9"/>
                <a:gd name="T9" fmla="*/ 2147483647 h 10"/>
                <a:gd name="T10" fmla="*/ 0 60000 65536"/>
                <a:gd name="T11" fmla="*/ 0 60000 65536"/>
                <a:gd name="T12" fmla="*/ 0 60000 65536"/>
                <a:gd name="T13" fmla="*/ 0 60000 65536"/>
                <a:gd name="T14" fmla="*/ 0 60000 65536"/>
                <a:gd name="T15" fmla="*/ 0 w 9"/>
                <a:gd name="T16" fmla="*/ 0 h 10"/>
                <a:gd name="T17" fmla="*/ 9 w 9"/>
                <a:gd name="T18" fmla="*/ 10 h 10"/>
              </a:gdLst>
              <a:ahLst/>
              <a:cxnLst>
                <a:cxn ang="T10">
                  <a:pos x="T0" y="T1"/>
                </a:cxn>
                <a:cxn ang="T11">
                  <a:pos x="T2" y="T3"/>
                </a:cxn>
                <a:cxn ang="T12">
                  <a:pos x="T4" y="T5"/>
                </a:cxn>
                <a:cxn ang="T13">
                  <a:pos x="T6" y="T7"/>
                </a:cxn>
                <a:cxn ang="T14">
                  <a:pos x="T8" y="T9"/>
                </a:cxn>
              </a:cxnLst>
              <a:rect l="T15" t="T16" r="T17" b="T18"/>
              <a:pathLst>
                <a:path w="9" h="10">
                  <a:moveTo>
                    <a:pt x="0" y="1"/>
                  </a:moveTo>
                  <a:lnTo>
                    <a:pt x="9" y="0"/>
                  </a:lnTo>
                  <a:lnTo>
                    <a:pt x="9" y="10"/>
                  </a:lnTo>
                  <a:lnTo>
                    <a:pt x="4" y="9"/>
                  </a:lnTo>
                  <a:lnTo>
                    <a:pt x="0" y="1"/>
                  </a:lnTo>
                  <a:close/>
                </a:path>
              </a:pathLst>
            </a:custGeom>
            <a:grpFill/>
            <a:ln w="6350">
              <a:solidFill>
                <a:schemeClr val="tx2"/>
              </a:solidFill>
              <a:round/>
              <a:headEnd/>
              <a:tailEnd/>
            </a:ln>
          </p:spPr>
          <p:txBody>
            <a:bodyPr/>
            <a:lstStyle/>
            <a:p>
              <a:endParaRPr lang="en-US"/>
            </a:p>
          </p:txBody>
        </p:sp>
        <p:sp>
          <p:nvSpPr>
            <p:cNvPr id="425" name="Freeform 1529"/>
            <p:cNvSpPr>
              <a:spLocks/>
            </p:cNvSpPr>
            <p:nvPr/>
          </p:nvSpPr>
          <p:spPr bwMode="auto">
            <a:xfrm>
              <a:off x="8408073" y="4757867"/>
              <a:ext cx="27308" cy="18206"/>
            </a:xfrm>
            <a:custGeom>
              <a:avLst/>
              <a:gdLst>
                <a:gd name="T0" fmla="*/ 2147483647 w 53"/>
                <a:gd name="T1" fmla="*/ 2147483647 h 40"/>
                <a:gd name="T2" fmla="*/ 2147483647 w 53"/>
                <a:gd name="T3" fmla="*/ 0 h 40"/>
                <a:gd name="T4" fmla="*/ 2147483647 w 53"/>
                <a:gd name="T5" fmla="*/ 2147483647 h 40"/>
                <a:gd name="T6" fmla="*/ 2147483647 w 53"/>
                <a:gd name="T7" fmla="*/ 2147483647 h 40"/>
                <a:gd name="T8" fmla="*/ 2147483647 w 53"/>
                <a:gd name="T9" fmla="*/ 2147483647 h 40"/>
                <a:gd name="T10" fmla="*/ 0 w 53"/>
                <a:gd name="T11" fmla="*/ 2147483647 h 40"/>
                <a:gd name="T12" fmla="*/ 2147483647 w 53"/>
                <a:gd name="T13" fmla="*/ 2147483647 h 40"/>
                <a:gd name="T14" fmla="*/ 2147483647 w 53"/>
                <a:gd name="T15" fmla="*/ 2147483647 h 40"/>
                <a:gd name="T16" fmla="*/ 2147483647 w 53"/>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40"/>
                <a:gd name="T29" fmla="*/ 53 w 53"/>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40">
                  <a:moveTo>
                    <a:pt x="26" y="3"/>
                  </a:moveTo>
                  <a:lnTo>
                    <a:pt x="36" y="0"/>
                  </a:lnTo>
                  <a:lnTo>
                    <a:pt x="47" y="9"/>
                  </a:lnTo>
                  <a:lnTo>
                    <a:pt x="53" y="35"/>
                  </a:lnTo>
                  <a:lnTo>
                    <a:pt x="29" y="40"/>
                  </a:lnTo>
                  <a:lnTo>
                    <a:pt x="0" y="31"/>
                  </a:lnTo>
                  <a:lnTo>
                    <a:pt x="1" y="14"/>
                  </a:lnTo>
                  <a:lnTo>
                    <a:pt x="11" y="5"/>
                  </a:lnTo>
                  <a:lnTo>
                    <a:pt x="26" y="3"/>
                  </a:lnTo>
                  <a:close/>
                </a:path>
              </a:pathLst>
            </a:custGeom>
            <a:grpFill/>
            <a:ln w="6350">
              <a:solidFill>
                <a:schemeClr val="tx2"/>
              </a:solidFill>
              <a:round/>
              <a:headEnd/>
              <a:tailEnd/>
            </a:ln>
          </p:spPr>
          <p:txBody>
            <a:bodyPr/>
            <a:lstStyle/>
            <a:p>
              <a:endParaRPr lang="en-US"/>
            </a:p>
          </p:txBody>
        </p:sp>
        <p:sp>
          <p:nvSpPr>
            <p:cNvPr id="426" name="Freeform 1530"/>
            <p:cNvSpPr>
              <a:spLocks/>
            </p:cNvSpPr>
            <p:nvPr/>
          </p:nvSpPr>
          <p:spPr bwMode="auto">
            <a:xfrm>
              <a:off x="8433865" y="4732075"/>
              <a:ext cx="31859" cy="18206"/>
            </a:xfrm>
            <a:custGeom>
              <a:avLst/>
              <a:gdLst>
                <a:gd name="T0" fmla="*/ 2147483647 w 64"/>
                <a:gd name="T1" fmla="*/ 2147483647 h 36"/>
                <a:gd name="T2" fmla="*/ 2147483647 w 64"/>
                <a:gd name="T3" fmla="*/ 2147483647 h 36"/>
                <a:gd name="T4" fmla="*/ 2147483647 w 64"/>
                <a:gd name="T5" fmla="*/ 2147483647 h 36"/>
                <a:gd name="T6" fmla="*/ 2147483647 w 64"/>
                <a:gd name="T7" fmla="*/ 0 h 36"/>
                <a:gd name="T8" fmla="*/ 2147483647 w 64"/>
                <a:gd name="T9" fmla="*/ 2147483647 h 36"/>
                <a:gd name="T10" fmla="*/ 2147483647 w 64"/>
                <a:gd name="T11" fmla="*/ 2147483647 h 36"/>
                <a:gd name="T12" fmla="*/ 2147483647 w 64"/>
                <a:gd name="T13" fmla="*/ 2147483647 h 36"/>
                <a:gd name="T14" fmla="*/ 2147483647 w 64"/>
                <a:gd name="T15" fmla="*/ 2147483647 h 36"/>
                <a:gd name="T16" fmla="*/ 2147483647 w 64"/>
                <a:gd name="T17" fmla="*/ 2147483647 h 36"/>
                <a:gd name="T18" fmla="*/ 2147483647 w 64"/>
                <a:gd name="T19" fmla="*/ 2147483647 h 36"/>
                <a:gd name="T20" fmla="*/ 0 w 64"/>
                <a:gd name="T21" fmla="*/ 2147483647 h 36"/>
                <a:gd name="T22" fmla="*/ 0 w 64"/>
                <a:gd name="T23" fmla="*/ 2147483647 h 36"/>
                <a:gd name="T24" fmla="*/ 2147483647 w 64"/>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36"/>
                <a:gd name="T41" fmla="*/ 64 w 64"/>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36">
                  <a:moveTo>
                    <a:pt x="18" y="12"/>
                  </a:moveTo>
                  <a:lnTo>
                    <a:pt x="21" y="15"/>
                  </a:lnTo>
                  <a:lnTo>
                    <a:pt x="48" y="2"/>
                  </a:lnTo>
                  <a:lnTo>
                    <a:pt x="64" y="0"/>
                  </a:lnTo>
                  <a:lnTo>
                    <a:pt x="58" y="12"/>
                  </a:lnTo>
                  <a:lnTo>
                    <a:pt x="59" y="26"/>
                  </a:lnTo>
                  <a:lnTo>
                    <a:pt x="35" y="27"/>
                  </a:lnTo>
                  <a:lnTo>
                    <a:pt x="32" y="22"/>
                  </a:lnTo>
                  <a:lnTo>
                    <a:pt x="24" y="33"/>
                  </a:lnTo>
                  <a:lnTo>
                    <a:pt x="13" y="36"/>
                  </a:lnTo>
                  <a:lnTo>
                    <a:pt x="0" y="27"/>
                  </a:lnTo>
                  <a:lnTo>
                    <a:pt x="0" y="22"/>
                  </a:lnTo>
                  <a:lnTo>
                    <a:pt x="18" y="12"/>
                  </a:lnTo>
                  <a:close/>
                </a:path>
              </a:pathLst>
            </a:custGeom>
            <a:grpFill/>
            <a:ln w="6350">
              <a:solidFill>
                <a:schemeClr val="tx2"/>
              </a:solidFill>
              <a:round/>
              <a:headEnd/>
              <a:tailEnd/>
            </a:ln>
          </p:spPr>
          <p:txBody>
            <a:bodyPr/>
            <a:lstStyle/>
            <a:p>
              <a:endParaRPr lang="en-US"/>
            </a:p>
          </p:txBody>
        </p:sp>
        <p:sp>
          <p:nvSpPr>
            <p:cNvPr id="427" name="Freeform 1531"/>
            <p:cNvSpPr>
              <a:spLocks/>
            </p:cNvSpPr>
            <p:nvPr/>
          </p:nvSpPr>
          <p:spPr bwMode="auto">
            <a:xfrm>
              <a:off x="8203264" y="5508837"/>
              <a:ext cx="9103" cy="16689"/>
            </a:xfrm>
            <a:custGeom>
              <a:avLst/>
              <a:gdLst>
                <a:gd name="T0" fmla="*/ 2147483647 w 25"/>
                <a:gd name="T1" fmla="*/ 2147483647 h 35"/>
                <a:gd name="T2" fmla="*/ 2147483647 w 25"/>
                <a:gd name="T3" fmla="*/ 2147483647 h 35"/>
                <a:gd name="T4" fmla="*/ 2147483647 w 25"/>
                <a:gd name="T5" fmla="*/ 2147483647 h 35"/>
                <a:gd name="T6" fmla="*/ 2147483647 w 25"/>
                <a:gd name="T7" fmla="*/ 2147483647 h 35"/>
                <a:gd name="T8" fmla="*/ 0 w 25"/>
                <a:gd name="T9" fmla="*/ 2147483647 h 35"/>
                <a:gd name="T10" fmla="*/ 2147483647 w 25"/>
                <a:gd name="T11" fmla="*/ 0 h 35"/>
                <a:gd name="T12" fmla="*/ 2147483647 w 25"/>
                <a:gd name="T13" fmla="*/ 2147483647 h 35"/>
                <a:gd name="T14" fmla="*/ 0 60000 65536"/>
                <a:gd name="T15" fmla="*/ 0 60000 65536"/>
                <a:gd name="T16" fmla="*/ 0 60000 65536"/>
                <a:gd name="T17" fmla="*/ 0 60000 65536"/>
                <a:gd name="T18" fmla="*/ 0 60000 65536"/>
                <a:gd name="T19" fmla="*/ 0 60000 65536"/>
                <a:gd name="T20" fmla="*/ 0 60000 65536"/>
                <a:gd name="T21" fmla="*/ 0 w 25"/>
                <a:gd name="T22" fmla="*/ 0 h 35"/>
                <a:gd name="T23" fmla="*/ 25 w 25"/>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5">
                  <a:moveTo>
                    <a:pt x="16" y="1"/>
                  </a:moveTo>
                  <a:lnTo>
                    <a:pt x="23" y="10"/>
                  </a:lnTo>
                  <a:lnTo>
                    <a:pt x="18" y="15"/>
                  </a:lnTo>
                  <a:lnTo>
                    <a:pt x="25" y="23"/>
                  </a:lnTo>
                  <a:lnTo>
                    <a:pt x="0" y="35"/>
                  </a:lnTo>
                  <a:lnTo>
                    <a:pt x="9" y="0"/>
                  </a:lnTo>
                  <a:lnTo>
                    <a:pt x="16" y="1"/>
                  </a:lnTo>
                  <a:close/>
                </a:path>
              </a:pathLst>
            </a:custGeom>
            <a:grpFill/>
            <a:ln w="6350">
              <a:solidFill>
                <a:schemeClr val="tx2"/>
              </a:solidFill>
              <a:round/>
              <a:headEnd/>
              <a:tailEnd/>
            </a:ln>
          </p:spPr>
          <p:txBody>
            <a:bodyPr/>
            <a:lstStyle/>
            <a:p>
              <a:endParaRPr lang="en-US"/>
            </a:p>
          </p:txBody>
        </p:sp>
        <p:sp>
          <p:nvSpPr>
            <p:cNvPr id="428" name="Freeform 1532"/>
            <p:cNvSpPr>
              <a:spLocks/>
            </p:cNvSpPr>
            <p:nvPr/>
          </p:nvSpPr>
          <p:spPr bwMode="auto">
            <a:xfrm>
              <a:off x="8178990" y="5328302"/>
              <a:ext cx="163848" cy="180536"/>
            </a:xfrm>
            <a:custGeom>
              <a:avLst/>
              <a:gdLst>
                <a:gd name="T0" fmla="*/ 2147483647 w 333"/>
                <a:gd name="T1" fmla="*/ 2147483647 h 362"/>
                <a:gd name="T2" fmla="*/ 2147483647 w 333"/>
                <a:gd name="T3" fmla="*/ 2147483647 h 362"/>
                <a:gd name="T4" fmla="*/ 2147483647 w 333"/>
                <a:gd name="T5" fmla="*/ 2147483647 h 362"/>
                <a:gd name="T6" fmla="*/ 2147483647 w 333"/>
                <a:gd name="T7" fmla="*/ 2147483647 h 362"/>
                <a:gd name="T8" fmla="*/ 2147483647 w 333"/>
                <a:gd name="T9" fmla="*/ 2147483647 h 362"/>
                <a:gd name="T10" fmla="*/ 2147483647 w 333"/>
                <a:gd name="T11" fmla="*/ 2147483647 h 362"/>
                <a:gd name="T12" fmla="*/ 2147483647 w 333"/>
                <a:gd name="T13" fmla="*/ 2147483647 h 362"/>
                <a:gd name="T14" fmla="*/ 2147483647 w 333"/>
                <a:gd name="T15" fmla="*/ 2147483647 h 362"/>
                <a:gd name="T16" fmla="*/ 2147483647 w 333"/>
                <a:gd name="T17" fmla="*/ 2147483647 h 362"/>
                <a:gd name="T18" fmla="*/ 2147483647 w 333"/>
                <a:gd name="T19" fmla="*/ 2147483647 h 362"/>
                <a:gd name="T20" fmla="*/ 2147483647 w 333"/>
                <a:gd name="T21" fmla="*/ 2147483647 h 362"/>
                <a:gd name="T22" fmla="*/ 2147483647 w 333"/>
                <a:gd name="T23" fmla="*/ 2147483647 h 362"/>
                <a:gd name="T24" fmla="*/ 2147483647 w 333"/>
                <a:gd name="T25" fmla="*/ 2147483647 h 362"/>
                <a:gd name="T26" fmla="*/ 2147483647 w 333"/>
                <a:gd name="T27" fmla="*/ 2147483647 h 362"/>
                <a:gd name="T28" fmla="*/ 2147483647 w 333"/>
                <a:gd name="T29" fmla="*/ 2147483647 h 362"/>
                <a:gd name="T30" fmla="*/ 2147483647 w 333"/>
                <a:gd name="T31" fmla="*/ 2147483647 h 362"/>
                <a:gd name="T32" fmla="*/ 2147483647 w 333"/>
                <a:gd name="T33" fmla="*/ 2147483647 h 362"/>
                <a:gd name="T34" fmla="*/ 2147483647 w 333"/>
                <a:gd name="T35" fmla="*/ 2147483647 h 362"/>
                <a:gd name="T36" fmla="*/ 2147483647 w 333"/>
                <a:gd name="T37" fmla="*/ 2147483647 h 362"/>
                <a:gd name="T38" fmla="*/ 2147483647 w 333"/>
                <a:gd name="T39" fmla="*/ 2147483647 h 362"/>
                <a:gd name="T40" fmla="*/ 2147483647 w 333"/>
                <a:gd name="T41" fmla="*/ 2147483647 h 362"/>
                <a:gd name="T42" fmla="*/ 2147483647 w 333"/>
                <a:gd name="T43" fmla="*/ 2147483647 h 362"/>
                <a:gd name="T44" fmla="*/ 2147483647 w 333"/>
                <a:gd name="T45" fmla="*/ 2147483647 h 362"/>
                <a:gd name="T46" fmla="*/ 2147483647 w 333"/>
                <a:gd name="T47" fmla="*/ 2147483647 h 362"/>
                <a:gd name="T48" fmla="*/ 2147483647 w 333"/>
                <a:gd name="T49" fmla="*/ 2147483647 h 362"/>
                <a:gd name="T50" fmla="*/ 2147483647 w 333"/>
                <a:gd name="T51" fmla="*/ 2147483647 h 362"/>
                <a:gd name="T52" fmla="*/ 2147483647 w 333"/>
                <a:gd name="T53" fmla="*/ 2147483647 h 362"/>
                <a:gd name="T54" fmla="*/ 2147483647 w 333"/>
                <a:gd name="T55" fmla="*/ 2147483647 h 362"/>
                <a:gd name="T56" fmla="*/ 2147483647 w 333"/>
                <a:gd name="T57" fmla="*/ 2147483647 h 362"/>
                <a:gd name="T58" fmla="*/ 2147483647 w 333"/>
                <a:gd name="T59" fmla="*/ 2147483647 h 362"/>
                <a:gd name="T60" fmla="*/ 2147483647 w 333"/>
                <a:gd name="T61" fmla="*/ 2147483647 h 362"/>
                <a:gd name="T62" fmla="*/ 2147483647 w 333"/>
                <a:gd name="T63" fmla="*/ 2147483647 h 362"/>
                <a:gd name="T64" fmla="*/ 2147483647 w 333"/>
                <a:gd name="T65" fmla="*/ 2147483647 h 3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33"/>
                <a:gd name="T100" fmla="*/ 0 h 362"/>
                <a:gd name="T101" fmla="*/ 333 w 333"/>
                <a:gd name="T102" fmla="*/ 362 h 3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33" h="362">
                  <a:moveTo>
                    <a:pt x="242" y="27"/>
                  </a:moveTo>
                  <a:lnTo>
                    <a:pt x="244" y="16"/>
                  </a:lnTo>
                  <a:lnTo>
                    <a:pt x="264" y="0"/>
                  </a:lnTo>
                  <a:lnTo>
                    <a:pt x="267" y="11"/>
                  </a:lnTo>
                  <a:lnTo>
                    <a:pt x="278" y="17"/>
                  </a:lnTo>
                  <a:lnTo>
                    <a:pt x="282" y="35"/>
                  </a:lnTo>
                  <a:lnTo>
                    <a:pt x="289" y="43"/>
                  </a:lnTo>
                  <a:lnTo>
                    <a:pt x="314" y="22"/>
                  </a:lnTo>
                  <a:lnTo>
                    <a:pt x="319" y="23"/>
                  </a:lnTo>
                  <a:lnTo>
                    <a:pt x="315" y="27"/>
                  </a:lnTo>
                  <a:lnTo>
                    <a:pt x="315" y="42"/>
                  </a:lnTo>
                  <a:lnTo>
                    <a:pt x="322" y="37"/>
                  </a:lnTo>
                  <a:lnTo>
                    <a:pt x="324" y="27"/>
                  </a:lnTo>
                  <a:lnTo>
                    <a:pt x="333" y="31"/>
                  </a:lnTo>
                  <a:lnTo>
                    <a:pt x="325" y="40"/>
                  </a:lnTo>
                  <a:lnTo>
                    <a:pt x="330" y="45"/>
                  </a:lnTo>
                  <a:lnTo>
                    <a:pt x="327" y="54"/>
                  </a:lnTo>
                  <a:lnTo>
                    <a:pt x="332" y="73"/>
                  </a:lnTo>
                  <a:lnTo>
                    <a:pt x="294" y="132"/>
                  </a:lnTo>
                  <a:lnTo>
                    <a:pt x="273" y="150"/>
                  </a:lnTo>
                  <a:lnTo>
                    <a:pt x="269" y="178"/>
                  </a:lnTo>
                  <a:lnTo>
                    <a:pt x="282" y="183"/>
                  </a:lnTo>
                  <a:lnTo>
                    <a:pt x="283" y="193"/>
                  </a:lnTo>
                  <a:lnTo>
                    <a:pt x="256" y="184"/>
                  </a:lnTo>
                  <a:lnTo>
                    <a:pt x="251" y="195"/>
                  </a:lnTo>
                  <a:lnTo>
                    <a:pt x="245" y="190"/>
                  </a:lnTo>
                  <a:lnTo>
                    <a:pt x="225" y="206"/>
                  </a:lnTo>
                  <a:lnTo>
                    <a:pt x="216" y="201"/>
                  </a:lnTo>
                  <a:lnTo>
                    <a:pt x="203" y="262"/>
                  </a:lnTo>
                  <a:lnTo>
                    <a:pt x="182" y="305"/>
                  </a:lnTo>
                  <a:lnTo>
                    <a:pt x="181" y="320"/>
                  </a:lnTo>
                  <a:lnTo>
                    <a:pt x="169" y="324"/>
                  </a:lnTo>
                  <a:lnTo>
                    <a:pt x="149" y="342"/>
                  </a:lnTo>
                  <a:lnTo>
                    <a:pt x="135" y="354"/>
                  </a:lnTo>
                  <a:lnTo>
                    <a:pt x="108" y="362"/>
                  </a:lnTo>
                  <a:lnTo>
                    <a:pt x="102" y="353"/>
                  </a:lnTo>
                  <a:lnTo>
                    <a:pt x="82" y="356"/>
                  </a:lnTo>
                  <a:lnTo>
                    <a:pt x="81" y="347"/>
                  </a:lnTo>
                  <a:lnTo>
                    <a:pt x="57" y="344"/>
                  </a:lnTo>
                  <a:lnTo>
                    <a:pt x="50" y="330"/>
                  </a:lnTo>
                  <a:lnTo>
                    <a:pt x="31" y="337"/>
                  </a:lnTo>
                  <a:lnTo>
                    <a:pt x="10" y="330"/>
                  </a:lnTo>
                  <a:lnTo>
                    <a:pt x="19" y="314"/>
                  </a:lnTo>
                  <a:lnTo>
                    <a:pt x="8" y="324"/>
                  </a:lnTo>
                  <a:lnTo>
                    <a:pt x="11" y="314"/>
                  </a:lnTo>
                  <a:lnTo>
                    <a:pt x="2" y="318"/>
                  </a:lnTo>
                  <a:lnTo>
                    <a:pt x="0" y="313"/>
                  </a:lnTo>
                  <a:lnTo>
                    <a:pt x="19" y="302"/>
                  </a:lnTo>
                  <a:lnTo>
                    <a:pt x="16" y="299"/>
                  </a:lnTo>
                  <a:lnTo>
                    <a:pt x="21" y="292"/>
                  </a:lnTo>
                  <a:lnTo>
                    <a:pt x="13" y="286"/>
                  </a:lnTo>
                  <a:lnTo>
                    <a:pt x="20" y="282"/>
                  </a:lnTo>
                  <a:lnTo>
                    <a:pt x="18" y="277"/>
                  </a:lnTo>
                  <a:lnTo>
                    <a:pt x="32" y="277"/>
                  </a:lnTo>
                  <a:lnTo>
                    <a:pt x="25" y="272"/>
                  </a:lnTo>
                  <a:lnTo>
                    <a:pt x="28" y="257"/>
                  </a:lnTo>
                  <a:lnTo>
                    <a:pt x="36" y="251"/>
                  </a:lnTo>
                  <a:lnTo>
                    <a:pt x="43" y="260"/>
                  </a:lnTo>
                  <a:lnTo>
                    <a:pt x="43" y="246"/>
                  </a:lnTo>
                  <a:lnTo>
                    <a:pt x="59" y="231"/>
                  </a:lnTo>
                  <a:lnTo>
                    <a:pt x="73" y="204"/>
                  </a:lnTo>
                  <a:lnTo>
                    <a:pt x="111" y="191"/>
                  </a:lnTo>
                  <a:lnTo>
                    <a:pt x="190" y="129"/>
                  </a:lnTo>
                  <a:lnTo>
                    <a:pt x="200" y="113"/>
                  </a:lnTo>
                  <a:lnTo>
                    <a:pt x="213" y="73"/>
                  </a:lnTo>
                  <a:lnTo>
                    <a:pt x="234" y="57"/>
                  </a:lnTo>
                  <a:lnTo>
                    <a:pt x="242" y="27"/>
                  </a:lnTo>
                  <a:close/>
                </a:path>
              </a:pathLst>
            </a:custGeom>
            <a:grpFill/>
            <a:ln w="6350">
              <a:solidFill>
                <a:schemeClr val="tx2"/>
              </a:solidFill>
              <a:round/>
              <a:headEnd/>
              <a:tailEnd/>
            </a:ln>
          </p:spPr>
          <p:txBody>
            <a:bodyPr/>
            <a:lstStyle/>
            <a:p>
              <a:endParaRPr lang="en-US"/>
            </a:p>
          </p:txBody>
        </p:sp>
        <p:sp>
          <p:nvSpPr>
            <p:cNvPr id="429" name="Freeform 1533"/>
            <p:cNvSpPr>
              <a:spLocks/>
            </p:cNvSpPr>
            <p:nvPr/>
          </p:nvSpPr>
          <p:spPr bwMode="auto">
            <a:xfrm>
              <a:off x="8312496" y="5164453"/>
              <a:ext cx="121369" cy="191156"/>
            </a:xfrm>
            <a:custGeom>
              <a:avLst/>
              <a:gdLst>
                <a:gd name="T0" fmla="*/ 2147483647 w 246"/>
                <a:gd name="T1" fmla="*/ 0 h 388"/>
                <a:gd name="T2" fmla="*/ 2147483647 w 246"/>
                <a:gd name="T3" fmla="*/ 2147483647 h 388"/>
                <a:gd name="T4" fmla="*/ 2147483647 w 246"/>
                <a:gd name="T5" fmla="*/ 2147483647 h 388"/>
                <a:gd name="T6" fmla="*/ 2147483647 w 246"/>
                <a:gd name="T7" fmla="*/ 2147483647 h 388"/>
                <a:gd name="T8" fmla="*/ 2147483647 w 246"/>
                <a:gd name="T9" fmla="*/ 2147483647 h 388"/>
                <a:gd name="T10" fmla="*/ 2147483647 w 246"/>
                <a:gd name="T11" fmla="*/ 2147483647 h 388"/>
                <a:gd name="T12" fmla="*/ 2147483647 w 246"/>
                <a:gd name="T13" fmla="*/ 2147483647 h 388"/>
                <a:gd name="T14" fmla="*/ 2147483647 w 246"/>
                <a:gd name="T15" fmla="*/ 2147483647 h 388"/>
                <a:gd name="T16" fmla="*/ 2147483647 w 246"/>
                <a:gd name="T17" fmla="*/ 2147483647 h 388"/>
                <a:gd name="T18" fmla="*/ 2147483647 w 246"/>
                <a:gd name="T19" fmla="*/ 2147483647 h 388"/>
                <a:gd name="T20" fmla="*/ 2147483647 w 246"/>
                <a:gd name="T21" fmla="*/ 2147483647 h 388"/>
                <a:gd name="T22" fmla="*/ 2147483647 w 246"/>
                <a:gd name="T23" fmla="*/ 2147483647 h 388"/>
                <a:gd name="T24" fmla="*/ 2147483647 w 246"/>
                <a:gd name="T25" fmla="*/ 2147483647 h 388"/>
                <a:gd name="T26" fmla="*/ 2147483647 w 246"/>
                <a:gd name="T27" fmla="*/ 2147483647 h 388"/>
                <a:gd name="T28" fmla="*/ 2147483647 w 246"/>
                <a:gd name="T29" fmla="*/ 2147483647 h 388"/>
                <a:gd name="T30" fmla="*/ 2147483647 w 246"/>
                <a:gd name="T31" fmla="*/ 2147483647 h 388"/>
                <a:gd name="T32" fmla="*/ 2147483647 w 246"/>
                <a:gd name="T33" fmla="*/ 2147483647 h 388"/>
                <a:gd name="T34" fmla="*/ 2147483647 w 246"/>
                <a:gd name="T35" fmla="*/ 2147483647 h 388"/>
                <a:gd name="T36" fmla="*/ 2147483647 w 246"/>
                <a:gd name="T37" fmla="*/ 2147483647 h 388"/>
                <a:gd name="T38" fmla="*/ 2147483647 w 246"/>
                <a:gd name="T39" fmla="*/ 2147483647 h 388"/>
                <a:gd name="T40" fmla="*/ 2147483647 w 246"/>
                <a:gd name="T41" fmla="*/ 2147483647 h 388"/>
                <a:gd name="T42" fmla="*/ 2147483647 w 246"/>
                <a:gd name="T43" fmla="*/ 2147483647 h 388"/>
                <a:gd name="T44" fmla="*/ 2147483647 w 246"/>
                <a:gd name="T45" fmla="*/ 2147483647 h 388"/>
                <a:gd name="T46" fmla="*/ 2147483647 w 246"/>
                <a:gd name="T47" fmla="*/ 2147483647 h 388"/>
                <a:gd name="T48" fmla="*/ 2147483647 w 246"/>
                <a:gd name="T49" fmla="*/ 2147483647 h 388"/>
                <a:gd name="T50" fmla="*/ 2147483647 w 246"/>
                <a:gd name="T51" fmla="*/ 2147483647 h 388"/>
                <a:gd name="T52" fmla="*/ 2147483647 w 246"/>
                <a:gd name="T53" fmla="*/ 2147483647 h 388"/>
                <a:gd name="T54" fmla="*/ 2147483647 w 246"/>
                <a:gd name="T55" fmla="*/ 2147483647 h 388"/>
                <a:gd name="T56" fmla="*/ 2147483647 w 246"/>
                <a:gd name="T57" fmla="*/ 2147483647 h 388"/>
                <a:gd name="T58" fmla="*/ 2147483647 w 246"/>
                <a:gd name="T59" fmla="*/ 2147483647 h 388"/>
                <a:gd name="T60" fmla="*/ 2147483647 w 246"/>
                <a:gd name="T61" fmla="*/ 2147483647 h 388"/>
                <a:gd name="T62" fmla="*/ 2147483647 w 246"/>
                <a:gd name="T63" fmla="*/ 2147483647 h 388"/>
                <a:gd name="T64" fmla="*/ 2147483647 w 246"/>
                <a:gd name="T65" fmla="*/ 2147483647 h 388"/>
                <a:gd name="T66" fmla="*/ 2147483647 w 246"/>
                <a:gd name="T67" fmla="*/ 2147483647 h 388"/>
                <a:gd name="T68" fmla="*/ 2147483647 w 246"/>
                <a:gd name="T69" fmla="*/ 2147483647 h 388"/>
                <a:gd name="T70" fmla="*/ 2147483647 w 246"/>
                <a:gd name="T71" fmla="*/ 2147483647 h 388"/>
                <a:gd name="T72" fmla="*/ 0 w 246"/>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6"/>
                <a:gd name="T112" fmla="*/ 0 h 388"/>
                <a:gd name="T113" fmla="*/ 246 w 246"/>
                <a:gd name="T114" fmla="*/ 388 h 3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6" h="388">
                  <a:moveTo>
                    <a:pt x="7" y="0"/>
                  </a:moveTo>
                  <a:lnTo>
                    <a:pt x="10" y="0"/>
                  </a:lnTo>
                  <a:lnTo>
                    <a:pt x="19" y="27"/>
                  </a:lnTo>
                  <a:lnTo>
                    <a:pt x="27" y="21"/>
                  </a:lnTo>
                  <a:lnTo>
                    <a:pt x="27" y="26"/>
                  </a:lnTo>
                  <a:lnTo>
                    <a:pt x="50" y="30"/>
                  </a:lnTo>
                  <a:lnTo>
                    <a:pt x="57" y="38"/>
                  </a:lnTo>
                  <a:lnTo>
                    <a:pt x="51" y="41"/>
                  </a:lnTo>
                  <a:lnTo>
                    <a:pt x="66" y="46"/>
                  </a:lnTo>
                  <a:lnTo>
                    <a:pt x="79" y="75"/>
                  </a:lnTo>
                  <a:lnTo>
                    <a:pt x="67" y="69"/>
                  </a:lnTo>
                  <a:lnTo>
                    <a:pt x="67" y="75"/>
                  </a:lnTo>
                  <a:lnTo>
                    <a:pt x="91" y="105"/>
                  </a:lnTo>
                  <a:lnTo>
                    <a:pt x="85" y="129"/>
                  </a:lnTo>
                  <a:lnTo>
                    <a:pt x="106" y="132"/>
                  </a:lnTo>
                  <a:lnTo>
                    <a:pt x="109" y="144"/>
                  </a:lnTo>
                  <a:lnTo>
                    <a:pt x="114" y="146"/>
                  </a:lnTo>
                  <a:lnTo>
                    <a:pt x="117" y="122"/>
                  </a:lnTo>
                  <a:lnTo>
                    <a:pt x="112" y="111"/>
                  </a:lnTo>
                  <a:lnTo>
                    <a:pt x="115" y="110"/>
                  </a:lnTo>
                  <a:lnTo>
                    <a:pt x="130" y="118"/>
                  </a:lnTo>
                  <a:lnTo>
                    <a:pt x="140" y="166"/>
                  </a:lnTo>
                  <a:lnTo>
                    <a:pt x="188" y="189"/>
                  </a:lnTo>
                  <a:lnTo>
                    <a:pt x="197" y="190"/>
                  </a:lnTo>
                  <a:lnTo>
                    <a:pt x="230" y="162"/>
                  </a:lnTo>
                  <a:lnTo>
                    <a:pt x="246" y="170"/>
                  </a:lnTo>
                  <a:lnTo>
                    <a:pt x="239" y="220"/>
                  </a:lnTo>
                  <a:lnTo>
                    <a:pt x="226" y="227"/>
                  </a:lnTo>
                  <a:lnTo>
                    <a:pt x="226" y="252"/>
                  </a:lnTo>
                  <a:lnTo>
                    <a:pt x="222" y="258"/>
                  </a:lnTo>
                  <a:lnTo>
                    <a:pt x="220" y="249"/>
                  </a:lnTo>
                  <a:lnTo>
                    <a:pt x="211" y="247"/>
                  </a:lnTo>
                  <a:lnTo>
                    <a:pt x="190" y="254"/>
                  </a:lnTo>
                  <a:lnTo>
                    <a:pt x="177" y="271"/>
                  </a:lnTo>
                  <a:lnTo>
                    <a:pt x="186" y="283"/>
                  </a:lnTo>
                  <a:lnTo>
                    <a:pt x="185" y="289"/>
                  </a:lnTo>
                  <a:lnTo>
                    <a:pt x="169" y="324"/>
                  </a:lnTo>
                  <a:lnTo>
                    <a:pt x="135" y="376"/>
                  </a:lnTo>
                  <a:lnTo>
                    <a:pt x="119" y="386"/>
                  </a:lnTo>
                  <a:lnTo>
                    <a:pt x="113" y="388"/>
                  </a:lnTo>
                  <a:lnTo>
                    <a:pt x="104" y="377"/>
                  </a:lnTo>
                  <a:lnTo>
                    <a:pt x="88" y="377"/>
                  </a:lnTo>
                  <a:lnTo>
                    <a:pt x="85" y="371"/>
                  </a:lnTo>
                  <a:lnTo>
                    <a:pt x="85" y="363"/>
                  </a:lnTo>
                  <a:lnTo>
                    <a:pt x="104" y="337"/>
                  </a:lnTo>
                  <a:lnTo>
                    <a:pt x="108" y="319"/>
                  </a:lnTo>
                  <a:lnTo>
                    <a:pt x="105" y="306"/>
                  </a:lnTo>
                  <a:lnTo>
                    <a:pt x="94" y="294"/>
                  </a:lnTo>
                  <a:lnTo>
                    <a:pt x="76" y="288"/>
                  </a:lnTo>
                  <a:lnTo>
                    <a:pt x="45" y="265"/>
                  </a:lnTo>
                  <a:lnTo>
                    <a:pt x="46" y="256"/>
                  </a:lnTo>
                  <a:lnTo>
                    <a:pt x="53" y="248"/>
                  </a:lnTo>
                  <a:lnTo>
                    <a:pt x="79" y="233"/>
                  </a:lnTo>
                  <a:lnTo>
                    <a:pt x="85" y="196"/>
                  </a:lnTo>
                  <a:lnTo>
                    <a:pt x="92" y="195"/>
                  </a:lnTo>
                  <a:lnTo>
                    <a:pt x="91" y="153"/>
                  </a:lnTo>
                  <a:lnTo>
                    <a:pt x="80" y="143"/>
                  </a:lnTo>
                  <a:lnTo>
                    <a:pt x="87" y="133"/>
                  </a:lnTo>
                  <a:lnTo>
                    <a:pt x="76" y="134"/>
                  </a:lnTo>
                  <a:lnTo>
                    <a:pt x="67" y="118"/>
                  </a:lnTo>
                  <a:lnTo>
                    <a:pt x="64" y="108"/>
                  </a:lnTo>
                  <a:lnTo>
                    <a:pt x="68" y="116"/>
                  </a:lnTo>
                  <a:lnTo>
                    <a:pt x="72" y="104"/>
                  </a:lnTo>
                  <a:lnTo>
                    <a:pt x="66" y="101"/>
                  </a:lnTo>
                  <a:lnTo>
                    <a:pt x="68" y="90"/>
                  </a:lnTo>
                  <a:lnTo>
                    <a:pt x="57" y="90"/>
                  </a:lnTo>
                  <a:lnTo>
                    <a:pt x="57" y="101"/>
                  </a:lnTo>
                  <a:lnTo>
                    <a:pt x="33" y="67"/>
                  </a:lnTo>
                  <a:lnTo>
                    <a:pt x="29" y="56"/>
                  </a:lnTo>
                  <a:lnTo>
                    <a:pt x="35" y="47"/>
                  </a:lnTo>
                  <a:lnTo>
                    <a:pt x="26" y="53"/>
                  </a:lnTo>
                  <a:lnTo>
                    <a:pt x="20" y="47"/>
                  </a:lnTo>
                  <a:lnTo>
                    <a:pt x="16" y="26"/>
                  </a:lnTo>
                  <a:lnTo>
                    <a:pt x="0" y="2"/>
                  </a:lnTo>
                  <a:lnTo>
                    <a:pt x="7" y="0"/>
                  </a:lnTo>
                  <a:close/>
                </a:path>
              </a:pathLst>
            </a:custGeom>
            <a:grpFill/>
            <a:ln w="6350">
              <a:solidFill>
                <a:schemeClr val="tx2"/>
              </a:solidFill>
              <a:round/>
              <a:headEnd/>
              <a:tailEnd/>
            </a:ln>
          </p:spPr>
          <p:txBody>
            <a:bodyPr/>
            <a:lstStyle/>
            <a:p>
              <a:endParaRPr lang="en-US"/>
            </a:p>
          </p:txBody>
        </p:sp>
        <p:sp>
          <p:nvSpPr>
            <p:cNvPr id="430" name="Freeform 1534"/>
            <p:cNvSpPr>
              <a:spLocks/>
            </p:cNvSpPr>
            <p:nvPr/>
          </p:nvSpPr>
          <p:spPr bwMode="auto">
            <a:xfrm>
              <a:off x="7039636" y="4612225"/>
              <a:ext cx="864755" cy="675115"/>
            </a:xfrm>
            <a:custGeom>
              <a:avLst/>
              <a:gdLst>
                <a:gd name="T0" fmla="*/ 2147483647 w 1741"/>
                <a:gd name="T1" fmla="*/ 2147483647 h 1362"/>
                <a:gd name="T2" fmla="*/ 2147483647 w 1741"/>
                <a:gd name="T3" fmla="*/ 2147483647 h 1362"/>
                <a:gd name="T4" fmla="*/ 2147483647 w 1741"/>
                <a:gd name="T5" fmla="*/ 2147483647 h 1362"/>
                <a:gd name="T6" fmla="*/ 2147483647 w 1741"/>
                <a:gd name="T7" fmla="*/ 2147483647 h 1362"/>
                <a:gd name="T8" fmla="*/ 2147483647 w 1741"/>
                <a:gd name="T9" fmla="*/ 2147483647 h 1362"/>
                <a:gd name="T10" fmla="*/ 2147483647 w 1741"/>
                <a:gd name="T11" fmla="*/ 2147483647 h 1362"/>
                <a:gd name="T12" fmla="*/ 2147483647 w 1741"/>
                <a:gd name="T13" fmla="*/ 2147483647 h 1362"/>
                <a:gd name="T14" fmla="*/ 2147483647 w 1741"/>
                <a:gd name="T15" fmla="*/ 2147483647 h 1362"/>
                <a:gd name="T16" fmla="*/ 2147483647 w 1741"/>
                <a:gd name="T17" fmla="*/ 2147483647 h 1362"/>
                <a:gd name="T18" fmla="*/ 2147483647 w 1741"/>
                <a:gd name="T19" fmla="*/ 2147483647 h 1362"/>
                <a:gd name="T20" fmla="*/ 2147483647 w 1741"/>
                <a:gd name="T21" fmla="*/ 2147483647 h 1362"/>
                <a:gd name="T22" fmla="*/ 2147483647 w 1741"/>
                <a:gd name="T23" fmla="*/ 2147483647 h 1362"/>
                <a:gd name="T24" fmla="*/ 2147483647 w 1741"/>
                <a:gd name="T25" fmla="*/ 2147483647 h 1362"/>
                <a:gd name="T26" fmla="*/ 2147483647 w 1741"/>
                <a:gd name="T27" fmla="*/ 2147483647 h 1362"/>
                <a:gd name="T28" fmla="*/ 2147483647 w 1741"/>
                <a:gd name="T29" fmla="*/ 2147483647 h 1362"/>
                <a:gd name="T30" fmla="*/ 2147483647 w 1741"/>
                <a:gd name="T31" fmla="*/ 2147483647 h 1362"/>
                <a:gd name="T32" fmla="*/ 2147483647 w 1741"/>
                <a:gd name="T33" fmla="*/ 2147483647 h 1362"/>
                <a:gd name="T34" fmla="*/ 2147483647 w 1741"/>
                <a:gd name="T35" fmla="*/ 2147483647 h 1362"/>
                <a:gd name="T36" fmla="*/ 2147483647 w 1741"/>
                <a:gd name="T37" fmla="*/ 2147483647 h 1362"/>
                <a:gd name="T38" fmla="*/ 2147483647 w 1741"/>
                <a:gd name="T39" fmla="*/ 2147483647 h 1362"/>
                <a:gd name="T40" fmla="*/ 2147483647 w 1741"/>
                <a:gd name="T41" fmla="*/ 2147483647 h 1362"/>
                <a:gd name="T42" fmla="*/ 2147483647 w 1741"/>
                <a:gd name="T43" fmla="*/ 2147483647 h 1362"/>
                <a:gd name="T44" fmla="*/ 2147483647 w 1741"/>
                <a:gd name="T45" fmla="*/ 2147483647 h 1362"/>
                <a:gd name="T46" fmla="*/ 2147483647 w 1741"/>
                <a:gd name="T47" fmla="*/ 2147483647 h 1362"/>
                <a:gd name="T48" fmla="*/ 2147483647 w 1741"/>
                <a:gd name="T49" fmla="*/ 2147483647 h 1362"/>
                <a:gd name="T50" fmla="*/ 2147483647 w 1741"/>
                <a:gd name="T51" fmla="*/ 2147483647 h 1362"/>
                <a:gd name="T52" fmla="*/ 2147483647 w 1741"/>
                <a:gd name="T53" fmla="*/ 2147483647 h 1362"/>
                <a:gd name="T54" fmla="*/ 2147483647 w 1741"/>
                <a:gd name="T55" fmla="*/ 2147483647 h 1362"/>
                <a:gd name="T56" fmla="*/ 2147483647 w 1741"/>
                <a:gd name="T57" fmla="*/ 2147483647 h 1362"/>
                <a:gd name="T58" fmla="*/ 2147483647 w 1741"/>
                <a:gd name="T59" fmla="*/ 2147483647 h 1362"/>
                <a:gd name="T60" fmla="*/ 2147483647 w 1741"/>
                <a:gd name="T61" fmla="*/ 2147483647 h 1362"/>
                <a:gd name="T62" fmla="*/ 2147483647 w 1741"/>
                <a:gd name="T63" fmla="*/ 2147483647 h 1362"/>
                <a:gd name="T64" fmla="*/ 2147483647 w 1741"/>
                <a:gd name="T65" fmla="*/ 2147483647 h 1362"/>
                <a:gd name="T66" fmla="*/ 2147483647 w 1741"/>
                <a:gd name="T67" fmla="*/ 2147483647 h 1362"/>
                <a:gd name="T68" fmla="*/ 2147483647 w 1741"/>
                <a:gd name="T69" fmla="*/ 2147483647 h 1362"/>
                <a:gd name="T70" fmla="*/ 2147483647 w 1741"/>
                <a:gd name="T71" fmla="*/ 2147483647 h 1362"/>
                <a:gd name="T72" fmla="*/ 2147483647 w 1741"/>
                <a:gd name="T73" fmla="*/ 2147483647 h 1362"/>
                <a:gd name="T74" fmla="*/ 2147483647 w 1741"/>
                <a:gd name="T75" fmla="*/ 2147483647 h 1362"/>
                <a:gd name="T76" fmla="*/ 2147483647 w 1741"/>
                <a:gd name="T77" fmla="*/ 2147483647 h 1362"/>
                <a:gd name="T78" fmla="*/ 2147483647 w 1741"/>
                <a:gd name="T79" fmla="*/ 2147483647 h 1362"/>
                <a:gd name="T80" fmla="*/ 2147483647 w 1741"/>
                <a:gd name="T81" fmla="*/ 2147483647 h 1362"/>
                <a:gd name="T82" fmla="*/ 2147483647 w 1741"/>
                <a:gd name="T83" fmla="*/ 2147483647 h 1362"/>
                <a:gd name="T84" fmla="*/ 2147483647 w 1741"/>
                <a:gd name="T85" fmla="*/ 2147483647 h 1362"/>
                <a:gd name="T86" fmla="*/ 2147483647 w 1741"/>
                <a:gd name="T87" fmla="*/ 2147483647 h 1362"/>
                <a:gd name="T88" fmla="*/ 2147483647 w 1741"/>
                <a:gd name="T89" fmla="*/ 2147483647 h 1362"/>
                <a:gd name="T90" fmla="*/ 2147483647 w 1741"/>
                <a:gd name="T91" fmla="*/ 2147483647 h 1362"/>
                <a:gd name="T92" fmla="*/ 2147483647 w 1741"/>
                <a:gd name="T93" fmla="*/ 2147483647 h 1362"/>
                <a:gd name="T94" fmla="*/ 2147483647 w 1741"/>
                <a:gd name="T95" fmla="*/ 2147483647 h 1362"/>
                <a:gd name="T96" fmla="*/ 2147483647 w 1741"/>
                <a:gd name="T97" fmla="*/ 2147483647 h 1362"/>
                <a:gd name="T98" fmla="*/ 2147483647 w 1741"/>
                <a:gd name="T99" fmla="*/ 2147483647 h 1362"/>
                <a:gd name="T100" fmla="*/ 2147483647 w 1741"/>
                <a:gd name="T101" fmla="*/ 2147483647 h 1362"/>
                <a:gd name="T102" fmla="*/ 2147483647 w 1741"/>
                <a:gd name="T103" fmla="*/ 2147483647 h 1362"/>
                <a:gd name="T104" fmla="*/ 2147483647 w 1741"/>
                <a:gd name="T105" fmla="*/ 2147483647 h 1362"/>
                <a:gd name="T106" fmla="*/ 2147483647 w 1741"/>
                <a:gd name="T107" fmla="*/ 2147483647 h 1362"/>
                <a:gd name="T108" fmla="*/ 2147483647 w 1741"/>
                <a:gd name="T109" fmla="*/ 2147483647 h 1362"/>
                <a:gd name="T110" fmla="*/ 2147483647 w 1741"/>
                <a:gd name="T111" fmla="*/ 2147483647 h 1362"/>
                <a:gd name="T112" fmla="*/ 2147483647 w 1741"/>
                <a:gd name="T113" fmla="*/ 2147483647 h 1362"/>
                <a:gd name="T114" fmla="*/ 2147483647 w 1741"/>
                <a:gd name="T115" fmla="*/ 2147483647 h 1362"/>
                <a:gd name="T116" fmla="*/ 2147483647 w 1741"/>
                <a:gd name="T117" fmla="*/ 2147483647 h 1362"/>
                <a:gd name="T118" fmla="*/ 0 w 1741"/>
                <a:gd name="T119" fmla="*/ 2147483647 h 1362"/>
                <a:gd name="T120" fmla="*/ 2147483647 w 1741"/>
                <a:gd name="T121" fmla="*/ 2147483647 h 1362"/>
                <a:gd name="T122" fmla="*/ 2147483647 w 1741"/>
                <a:gd name="T123" fmla="*/ 2147483647 h 13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1"/>
                <a:gd name="T187" fmla="*/ 0 h 1362"/>
                <a:gd name="T188" fmla="*/ 1741 w 1741"/>
                <a:gd name="T189" fmla="*/ 1362 h 13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1" h="1362">
                  <a:moveTo>
                    <a:pt x="83" y="1064"/>
                  </a:moveTo>
                  <a:lnTo>
                    <a:pt x="84" y="1098"/>
                  </a:lnTo>
                  <a:lnTo>
                    <a:pt x="102" y="1103"/>
                  </a:lnTo>
                  <a:lnTo>
                    <a:pt x="128" y="1129"/>
                  </a:lnTo>
                  <a:lnTo>
                    <a:pt x="148" y="1137"/>
                  </a:lnTo>
                  <a:lnTo>
                    <a:pt x="187" y="1137"/>
                  </a:lnTo>
                  <a:lnTo>
                    <a:pt x="192" y="1143"/>
                  </a:lnTo>
                  <a:lnTo>
                    <a:pt x="204" y="1143"/>
                  </a:lnTo>
                  <a:lnTo>
                    <a:pt x="205" y="1135"/>
                  </a:lnTo>
                  <a:lnTo>
                    <a:pt x="219" y="1136"/>
                  </a:lnTo>
                  <a:lnTo>
                    <a:pt x="247" y="1110"/>
                  </a:lnTo>
                  <a:lnTo>
                    <a:pt x="269" y="1107"/>
                  </a:lnTo>
                  <a:lnTo>
                    <a:pt x="278" y="1092"/>
                  </a:lnTo>
                  <a:lnTo>
                    <a:pt x="294" y="1082"/>
                  </a:lnTo>
                  <a:lnTo>
                    <a:pt x="381" y="1076"/>
                  </a:lnTo>
                  <a:lnTo>
                    <a:pt x="389" y="1084"/>
                  </a:lnTo>
                  <a:lnTo>
                    <a:pt x="452" y="1076"/>
                  </a:lnTo>
                  <a:lnTo>
                    <a:pt x="472" y="1036"/>
                  </a:lnTo>
                  <a:lnTo>
                    <a:pt x="558" y="996"/>
                  </a:lnTo>
                  <a:lnTo>
                    <a:pt x="595" y="999"/>
                  </a:lnTo>
                  <a:lnTo>
                    <a:pt x="644" y="989"/>
                  </a:lnTo>
                  <a:lnTo>
                    <a:pt x="691" y="964"/>
                  </a:lnTo>
                  <a:lnTo>
                    <a:pt x="765" y="961"/>
                  </a:lnTo>
                  <a:lnTo>
                    <a:pt x="798" y="966"/>
                  </a:lnTo>
                  <a:lnTo>
                    <a:pt x="826" y="987"/>
                  </a:lnTo>
                  <a:lnTo>
                    <a:pt x="839" y="982"/>
                  </a:lnTo>
                  <a:lnTo>
                    <a:pt x="871" y="996"/>
                  </a:lnTo>
                  <a:lnTo>
                    <a:pt x="869" y="990"/>
                  </a:lnTo>
                  <a:lnTo>
                    <a:pt x="891" y="1010"/>
                  </a:lnTo>
                  <a:lnTo>
                    <a:pt x="907" y="1014"/>
                  </a:lnTo>
                  <a:lnTo>
                    <a:pt x="902" y="1032"/>
                  </a:lnTo>
                  <a:lnTo>
                    <a:pt x="914" y="1044"/>
                  </a:lnTo>
                  <a:lnTo>
                    <a:pt x="928" y="1046"/>
                  </a:lnTo>
                  <a:lnTo>
                    <a:pt x="957" y="1102"/>
                  </a:lnTo>
                  <a:lnTo>
                    <a:pt x="958" y="1120"/>
                  </a:lnTo>
                  <a:lnTo>
                    <a:pt x="946" y="1111"/>
                  </a:lnTo>
                  <a:lnTo>
                    <a:pt x="946" y="1118"/>
                  </a:lnTo>
                  <a:lnTo>
                    <a:pt x="982" y="1140"/>
                  </a:lnTo>
                  <a:lnTo>
                    <a:pt x="982" y="1127"/>
                  </a:lnTo>
                  <a:lnTo>
                    <a:pt x="977" y="1127"/>
                  </a:lnTo>
                  <a:lnTo>
                    <a:pt x="980" y="1118"/>
                  </a:lnTo>
                  <a:lnTo>
                    <a:pt x="996" y="1103"/>
                  </a:lnTo>
                  <a:lnTo>
                    <a:pt x="1000" y="1091"/>
                  </a:lnTo>
                  <a:lnTo>
                    <a:pt x="1023" y="1075"/>
                  </a:lnTo>
                  <a:lnTo>
                    <a:pt x="1035" y="1074"/>
                  </a:lnTo>
                  <a:lnTo>
                    <a:pt x="1049" y="1044"/>
                  </a:lnTo>
                  <a:lnTo>
                    <a:pt x="1058" y="1034"/>
                  </a:lnTo>
                  <a:lnTo>
                    <a:pt x="1060" y="1012"/>
                  </a:lnTo>
                  <a:lnTo>
                    <a:pt x="1070" y="1044"/>
                  </a:lnTo>
                  <a:lnTo>
                    <a:pt x="1066" y="1043"/>
                  </a:lnTo>
                  <a:lnTo>
                    <a:pt x="1065" y="1062"/>
                  </a:lnTo>
                  <a:lnTo>
                    <a:pt x="1047" y="1096"/>
                  </a:lnTo>
                  <a:lnTo>
                    <a:pt x="1045" y="1131"/>
                  </a:lnTo>
                  <a:lnTo>
                    <a:pt x="1026" y="1135"/>
                  </a:lnTo>
                  <a:lnTo>
                    <a:pt x="1021" y="1151"/>
                  </a:lnTo>
                  <a:lnTo>
                    <a:pt x="1027" y="1156"/>
                  </a:lnTo>
                  <a:lnTo>
                    <a:pt x="1059" y="1148"/>
                  </a:lnTo>
                  <a:lnTo>
                    <a:pt x="1065" y="1117"/>
                  </a:lnTo>
                  <a:lnTo>
                    <a:pt x="1075" y="1099"/>
                  </a:lnTo>
                  <a:lnTo>
                    <a:pt x="1092" y="1126"/>
                  </a:lnTo>
                  <a:lnTo>
                    <a:pt x="1090" y="1152"/>
                  </a:lnTo>
                  <a:lnTo>
                    <a:pt x="1078" y="1172"/>
                  </a:lnTo>
                  <a:lnTo>
                    <a:pt x="1091" y="1173"/>
                  </a:lnTo>
                  <a:lnTo>
                    <a:pt x="1127" y="1161"/>
                  </a:lnTo>
                  <a:lnTo>
                    <a:pt x="1123" y="1176"/>
                  </a:lnTo>
                  <a:lnTo>
                    <a:pt x="1141" y="1200"/>
                  </a:lnTo>
                  <a:lnTo>
                    <a:pt x="1149" y="1223"/>
                  </a:lnTo>
                  <a:lnTo>
                    <a:pt x="1145" y="1245"/>
                  </a:lnTo>
                  <a:lnTo>
                    <a:pt x="1155" y="1269"/>
                  </a:lnTo>
                  <a:lnTo>
                    <a:pt x="1175" y="1295"/>
                  </a:lnTo>
                  <a:lnTo>
                    <a:pt x="1200" y="1303"/>
                  </a:lnTo>
                  <a:lnTo>
                    <a:pt x="1221" y="1320"/>
                  </a:lnTo>
                  <a:lnTo>
                    <a:pt x="1234" y="1314"/>
                  </a:lnTo>
                  <a:lnTo>
                    <a:pt x="1262" y="1321"/>
                  </a:lnTo>
                  <a:lnTo>
                    <a:pt x="1302" y="1344"/>
                  </a:lnTo>
                  <a:lnTo>
                    <a:pt x="1326" y="1335"/>
                  </a:lnTo>
                  <a:lnTo>
                    <a:pt x="1342" y="1317"/>
                  </a:lnTo>
                  <a:lnTo>
                    <a:pt x="1358" y="1312"/>
                  </a:lnTo>
                  <a:lnTo>
                    <a:pt x="1347" y="1303"/>
                  </a:lnTo>
                  <a:lnTo>
                    <a:pt x="1367" y="1292"/>
                  </a:lnTo>
                  <a:lnTo>
                    <a:pt x="1374" y="1297"/>
                  </a:lnTo>
                  <a:lnTo>
                    <a:pt x="1375" y="1307"/>
                  </a:lnTo>
                  <a:lnTo>
                    <a:pt x="1373" y="1315"/>
                  </a:lnTo>
                  <a:lnTo>
                    <a:pt x="1362" y="1315"/>
                  </a:lnTo>
                  <a:lnTo>
                    <a:pt x="1366" y="1319"/>
                  </a:lnTo>
                  <a:lnTo>
                    <a:pt x="1374" y="1323"/>
                  </a:lnTo>
                  <a:lnTo>
                    <a:pt x="1391" y="1312"/>
                  </a:lnTo>
                  <a:lnTo>
                    <a:pt x="1397" y="1318"/>
                  </a:lnTo>
                  <a:lnTo>
                    <a:pt x="1395" y="1331"/>
                  </a:lnTo>
                  <a:lnTo>
                    <a:pt x="1423" y="1347"/>
                  </a:lnTo>
                  <a:lnTo>
                    <a:pt x="1434" y="1362"/>
                  </a:lnTo>
                  <a:lnTo>
                    <a:pt x="1441" y="1340"/>
                  </a:lnTo>
                  <a:lnTo>
                    <a:pt x="1430" y="1349"/>
                  </a:lnTo>
                  <a:lnTo>
                    <a:pt x="1428" y="1338"/>
                  </a:lnTo>
                  <a:lnTo>
                    <a:pt x="1450" y="1338"/>
                  </a:lnTo>
                  <a:lnTo>
                    <a:pt x="1489" y="1303"/>
                  </a:lnTo>
                  <a:lnTo>
                    <a:pt x="1507" y="1293"/>
                  </a:lnTo>
                  <a:lnTo>
                    <a:pt x="1560" y="1289"/>
                  </a:lnTo>
                  <a:lnTo>
                    <a:pt x="1575" y="1285"/>
                  </a:lnTo>
                  <a:lnTo>
                    <a:pt x="1576" y="1274"/>
                  </a:lnTo>
                  <a:lnTo>
                    <a:pt x="1586" y="1277"/>
                  </a:lnTo>
                  <a:lnTo>
                    <a:pt x="1588" y="1271"/>
                  </a:lnTo>
                  <a:lnTo>
                    <a:pt x="1586" y="1244"/>
                  </a:lnTo>
                  <a:lnTo>
                    <a:pt x="1597" y="1212"/>
                  </a:lnTo>
                  <a:lnTo>
                    <a:pt x="1598" y="1181"/>
                  </a:lnTo>
                  <a:lnTo>
                    <a:pt x="1615" y="1147"/>
                  </a:lnTo>
                  <a:lnTo>
                    <a:pt x="1621" y="1152"/>
                  </a:lnTo>
                  <a:lnTo>
                    <a:pt x="1632" y="1107"/>
                  </a:lnTo>
                  <a:lnTo>
                    <a:pt x="1645" y="1083"/>
                  </a:lnTo>
                  <a:lnTo>
                    <a:pt x="1642" y="1067"/>
                  </a:lnTo>
                  <a:lnTo>
                    <a:pt x="1656" y="1056"/>
                  </a:lnTo>
                  <a:lnTo>
                    <a:pt x="1668" y="1032"/>
                  </a:lnTo>
                  <a:lnTo>
                    <a:pt x="1681" y="1027"/>
                  </a:lnTo>
                  <a:lnTo>
                    <a:pt x="1678" y="1022"/>
                  </a:lnTo>
                  <a:lnTo>
                    <a:pt x="1695" y="1009"/>
                  </a:lnTo>
                  <a:lnTo>
                    <a:pt x="1693" y="998"/>
                  </a:lnTo>
                  <a:lnTo>
                    <a:pt x="1705" y="982"/>
                  </a:lnTo>
                  <a:lnTo>
                    <a:pt x="1716" y="952"/>
                  </a:lnTo>
                  <a:lnTo>
                    <a:pt x="1718" y="913"/>
                  </a:lnTo>
                  <a:lnTo>
                    <a:pt x="1727" y="896"/>
                  </a:lnTo>
                  <a:lnTo>
                    <a:pt x="1741" y="825"/>
                  </a:lnTo>
                  <a:lnTo>
                    <a:pt x="1740" y="804"/>
                  </a:lnTo>
                  <a:lnTo>
                    <a:pt x="1721" y="747"/>
                  </a:lnTo>
                  <a:lnTo>
                    <a:pt x="1723" y="742"/>
                  </a:lnTo>
                  <a:lnTo>
                    <a:pt x="1726" y="743"/>
                  </a:lnTo>
                  <a:lnTo>
                    <a:pt x="1718" y="706"/>
                  </a:lnTo>
                  <a:lnTo>
                    <a:pt x="1719" y="683"/>
                  </a:lnTo>
                  <a:lnTo>
                    <a:pt x="1717" y="687"/>
                  </a:lnTo>
                  <a:lnTo>
                    <a:pt x="1714" y="684"/>
                  </a:lnTo>
                  <a:lnTo>
                    <a:pt x="1706" y="656"/>
                  </a:lnTo>
                  <a:lnTo>
                    <a:pt x="1697" y="652"/>
                  </a:lnTo>
                  <a:lnTo>
                    <a:pt x="1699" y="646"/>
                  </a:lnTo>
                  <a:lnTo>
                    <a:pt x="1689" y="630"/>
                  </a:lnTo>
                  <a:lnTo>
                    <a:pt x="1675" y="621"/>
                  </a:lnTo>
                  <a:lnTo>
                    <a:pt x="1663" y="601"/>
                  </a:lnTo>
                  <a:lnTo>
                    <a:pt x="1647" y="597"/>
                  </a:lnTo>
                  <a:lnTo>
                    <a:pt x="1625" y="575"/>
                  </a:lnTo>
                  <a:lnTo>
                    <a:pt x="1616" y="522"/>
                  </a:lnTo>
                  <a:lnTo>
                    <a:pt x="1613" y="519"/>
                  </a:lnTo>
                  <a:lnTo>
                    <a:pt x="1611" y="531"/>
                  </a:lnTo>
                  <a:lnTo>
                    <a:pt x="1592" y="518"/>
                  </a:lnTo>
                  <a:lnTo>
                    <a:pt x="1589" y="509"/>
                  </a:lnTo>
                  <a:lnTo>
                    <a:pt x="1584" y="514"/>
                  </a:lnTo>
                  <a:lnTo>
                    <a:pt x="1584" y="526"/>
                  </a:lnTo>
                  <a:lnTo>
                    <a:pt x="1573" y="527"/>
                  </a:lnTo>
                  <a:lnTo>
                    <a:pt x="1565" y="506"/>
                  </a:lnTo>
                  <a:lnTo>
                    <a:pt x="1563" y="480"/>
                  </a:lnTo>
                  <a:lnTo>
                    <a:pt x="1558" y="479"/>
                  </a:lnTo>
                  <a:lnTo>
                    <a:pt x="1545" y="451"/>
                  </a:lnTo>
                  <a:lnTo>
                    <a:pt x="1533" y="445"/>
                  </a:lnTo>
                  <a:lnTo>
                    <a:pt x="1534" y="435"/>
                  </a:lnTo>
                  <a:lnTo>
                    <a:pt x="1539" y="437"/>
                  </a:lnTo>
                  <a:lnTo>
                    <a:pt x="1538" y="428"/>
                  </a:lnTo>
                  <a:lnTo>
                    <a:pt x="1520" y="416"/>
                  </a:lnTo>
                  <a:lnTo>
                    <a:pt x="1516" y="419"/>
                  </a:lnTo>
                  <a:lnTo>
                    <a:pt x="1507" y="408"/>
                  </a:lnTo>
                  <a:lnTo>
                    <a:pt x="1494" y="402"/>
                  </a:lnTo>
                  <a:lnTo>
                    <a:pt x="1486" y="404"/>
                  </a:lnTo>
                  <a:lnTo>
                    <a:pt x="1476" y="382"/>
                  </a:lnTo>
                  <a:lnTo>
                    <a:pt x="1469" y="385"/>
                  </a:lnTo>
                  <a:lnTo>
                    <a:pt x="1453" y="382"/>
                  </a:lnTo>
                  <a:lnTo>
                    <a:pt x="1432" y="369"/>
                  </a:lnTo>
                  <a:lnTo>
                    <a:pt x="1430" y="350"/>
                  </a:lnTo>
                  <a:lnTo>
                    <a:pt x="1427" y="353"/>
                  </a:lnTo>
                  <a:lnTo>
                    <a:pt x="1428" y="349"/>
                  </a:lnTo>
                  <a:lnTo>
                    <a:pt x="1419" y="343"/>
                  </a:lnTo>
                  <a:lnTo>
                    <a:pt x="1419" y="309"/>
                  </a:lnTo>
                  <a:lnTo>
                    <a:pt x="1410" y="274"/>
                  </a:lnTo>
                  <a:lnTo>
                    <a:pt x="1403" y="274"/>
                  </a:lnTo>
                  <a:lnTo>
                    <a:pt x="1393" y="261"/>
                  </a:lnTo>
                  <a:lnTo>
                    <a:pt x="1383" y="216"/>
                  </a:lnTo>
                  <a:lnTo>
                    <a:pt x="1384" y="189"/>
                  </a:lnTo>
                  <a:lnTo>
                    <a:pt x="1358" y="169"/>
                  </a:lnTo>
                  <a:lnTo>
                    <a:pt x="1353" y="156"/>
                  </a:lnTo>
                  <a:lnTo>
                    <a:pt x="1346" y="154"/>
                  </a:lnTo>
                  <a:lnTo>
                    <a:pt x="1328" y="166"/>
                  </a:lnTo>
                  <a:lnTo>
                    <a:pt x="1316" y="156"/>
                  </a:lnTo>
                  <a:lnTo>
                    <a:pt x="1299" y="84"/>
                  </a:lnTo>
                  <a:lnTo>
                    <a:pt x="1288" y="69"/>
                  </a:lnTo>
                  <a:lnTo>
                    <a:pt x="1287" y="53"/>
                  </a:lnTo>
                  <a:lnTo>
                    <a:pt x="1279" y="53"/>
                  </a:lnTo>
                  <a:lnTo>
                    <a:pt x="1276" y="46"/>
                  </a:lnTo>
                  <a:lnTo>
                    <a:pt x="1274" y="14"/>
                  </a:lnTo>
                  <a:lnTo>
                    <a:pt x="1274" y="2"/>
                  </a:lnTo>
                  <a:lnTo>
                    <a:pt x="1270" y="0"/>
                  </a:lnTo>
                  <a:lnTo>
                    <a:pt x="1252" y="12"/>
                  </a:lnTo>
                  <a:lnTo>
                    <a:pt x="1252" y="24"/>
                  </a:lnTo>
                  <a:lnTo>
                    <a:pt x="1243" y="36"/>
                  </a:lnTo>
                  <a:lnTo>
                    <a:pt x="1236" y="57"/>
                  </a:lnTo>
                  <a:lnTo>
                    <a:pt x="1228" y="60"/>
                  </a:lnTo>
                  <a:lnTo>
                    <a:pt x="1225" y="74"/>
                  </a:lnTo>
                  <a:lnTo>
                    <a:pt x="1224" y="83"/>
                  </a:lnTo>
                  <a:lnTo>
                    <a:pt x="1230" y="84"/>
                  </a:lnTo>
                  <a:lnTo>
                    <a:pt x="1226" y="114"/>
                  </a:lnTo>
                  <a:lnTo>
                    <a:pt x="1219" y="129"/>
                  </a:lnTo>
                  <a:lnTo>
                    <a:pt x="1219" y="167"/>
                  </a:lnTo>
                  <a:lnTo>
                    <a:pt x="1225" y="193"/>
                  </a:lnTo>
                  <a:lnTo>
                    <a:pt x="1207" y="262"/>
                  </a:lnTo>
                  <a:lnTo>
                    <a:pt x="1190" y="303"/>
                  </a:lnTo>
                  <a:lnTo>
                    <a:pt x="1159" y="313"/>
                  </a:lnTo>
                  <a:lnTo>
                    <a:pt x="1122" y="291"/>
                  </a:lnTo>
                  <a:lnTo>
                    <a:pt x="1109" y="272"/>
                  </a:lnTo>
                  <a:lnTo>
                    <a:pt x="1076" y="263"/>
                  </a:lnTo>
                  <a:lnTo>
                    <a:pt x="1037" y="232"/>
                  </a:lnTo>
                  <a:lnTo>
                    <a:pt x="1009" y="227"/>
                  </a:lnTo>
                  <a:lnTo>
                    <a:pt x="1000" y="233"/>
                  </a:lnTo>
                  <a:lnTo>
                    <a:pt x="996" y="207"/>
                  </a:lnTo>
                  <a:lnTo>
                    <a:pt x="977" y="196"/>
                  </a:lnTo>
                  <a:lnTo>
                    <a:pt x="971" y="198"/>
                  </a:lnTo>
                  <a:lnTo>
                    <a:pt x="964" y="189"/>
                  </a:lnTo>
                  <a:lnTo>
                    <a:pt x="983" y="132"/>
                  </a:lnTo>
                  <a:lnTo>
                    <a:pt x="976" y="134"/>
                  </a:lnTo>
                  <a:lnTo>
                    <a:pt x="979" y="113"/>
                  </a:lnTo>
                  <a:lnTo>
                    <a:pt x="989" y="122"/>
                  </a:lnTo>
                  <a:lnTo>
                    <a:pt x="987" y="112"/>
                  </a:lnTo>
                  <a:lnTo>
                    <a:pt x="990" y="107"/>
                  </a:lnTo>
                  <a:lnTo>
                    <a:pt x="992" y="112"/>
                  </a:lnTo>
                  <a:lnTo>
                    <a:pt x="1001" y="111"/>
                  </a:lnTo>
                  <a:lnTo>
                    <a:pt x="1006" y="102"/>
                  </a:lnTo>
                  <a:lnTo>
                    <a:pt x="1002" y="96"/>
                  </a:lnTo>
                  <a:lnTo>
                    <a:pt x="1011" y="91"/>
                  </a:lnTo>
                  <a:lnTo>
                    <a:pt x="1020" y="72"/>
                  </a:lnTo>
                  <a:lnTo>
                    <a:pt x="1016" y="68"/>
                  </a:lnTo>
                  <a:lnTo>
                    <a:pt x="1004" y="73"/>
                  </a:lnTo>
                  <a:lnTo>
                    <a:pt x="999" y="55"/>
                  </a:lnTo>
                  <a:lnTo>
                    <a:pt x="991" y="62"/>
                  </a:lnTo>
                  <a:lnTo>
                    <a:pt x="987" y="79"/>
                  </a:lnTo>
                  <a:lnTo>
                    <a:pt x="980" y="82"/>
                  </a:lnTo>
                  <a:lnTo>
                    <a:pt x="979" y="64"/>
                  </a:lnTo>
                  <a:lnTo>
                    <a:pt x="975" y="68"/>
                  </a:lnTo>
                  <a:lnTo>
                    <a:pt x="972" y="64"/>
                  </a:lnTo>
                  <a:lnTo>
                    <a:pt x="977" y="56"/>
                  </a:lnTo>
                  <a:lnTo>
                    <a:pt x="958" y="60"/>
                  </a:lnTo>
                  <a:lnTo>
                    <a:pt x="946" y="70"/>
                  </a:lnTo>
                  <a:lnTo>
                    <a:pt x="925" y="58"/>
                  </a:lnTo>
                  <a:lnTo>
                    <a:pt x="903" y="60"/>
                  </a:lnTo>
                  <a:lnTo>
                    <a:pt x="884" y="52"/>
                  </a:lnTo>
                  <a:lnTo>
                    <a:pt x="884" y="47"/>
                  </a:lnTo>
                  <a:lnTo>
                    <a:pt x="875" y="52"/>
                  </a:lnTo>
                  <a:lnTo>
                    <a:pt x="855" y="46"/>
                  </a:lnTo>
                  <a:lnTo>
                    <a:pt x="843" y="33"/>
                  </a:lnTo>
                  <a:lnTo>
                    <a:pt x="838" y="39"/>
                  </a:lnTo>
                  <a:lnTo>
                    <a:pt x="820" y="23"/>
                  </a:lnTo>
                  <a:lnTo>
                    <a:pt x="812" y="36"/>
                  </a:lnTo>
                  <a:lnTo>
                    <a:pt x="807" y="22"/>
                  </a:lnTo>
                  <a:lnTo>
                    <a:pt x="804" y="28"/>
                  </a:lnTo>
                  <a:lnTo>
                    <a:pt x="798" y="28"/>
                  </a:lnTo>
                  <a:lnTo>
                    <a:pt x="805" y="30"/>
                  </a:lnTo>
                  <a:lnTo>
                    <a:pt x="815" y="39"/>
                  </a:lnTo>
                  <a:lnTo>
                    <a:pt x="829" y="39"/>
                  </a:lnTo>
                  <a:lnTo>
                    <a:pt x="834" y="43"/>
                  </a:lnTo>
                  <a:lnTo>
                    <a:pt x="834" y="62"/>
                  </a:lnTo>
                  <a:lnTo>
                    <a:pt x="811" y="71"/>
                  </a:lnTo>
                  <a:lnTo>
                    <a:pt x="779" y="69"/>
                  </a:lnTo>
                  <a:lnTo>
                    <a:pt x="778" y="73"/>
                  </a:lnTo>
                  <a:lnTo>
                    <a:pt x="767" y="69"/>
                  </a:lnTo>
                  <a:lnTo>
                    <a:pt x="760" y="77"/>
                  </a:lnTo>
                  <a:lnTo>
                    <a:pt x="764" y="91"/>
                  </a:lnTo>
                  <a:lnTo>
                    <a:pt x="750" y="80"/>
                  </a:lnTo>
                  <a:lnTo>
                    <a:pt x="747" y="86"/>
                  </a:lnTo>
                  <a:lnTo>
                    <a:pt x="734" y="91"/>
                  </a:lnTo>
                  <a:lnTo>
                    <a:pt x="729" y="112"/>
                  </a:lnTo>
                  <a:lnTo>
                    <a:pt x="735" y="111"/>
                  </a:lnTo>
                  <a:lnTo>
                    <a:pt x="736" y="120"/>
                  </a:lnTo>
                  <a:lnTo>
                    <a:pt x="730" y="125"/>
                  </a:lnTo>
                  <a:lnTo>
                    <a:pt x="717" y="124"/>
                  </a:lnTo>
                  <a:lnTo>
                    <a:pt x="705" y="148"/>
                  </a:lnTo>
                  <a:lnTo>
                    <a:pt x="699" y="148"/>
                  </a:lnTo>
                  <a:lnTo>
                    <a:pt x="695" y="161"/>
                  </a:lnTo>
                  <a:lnTo>
                    <a:pt x="712" y="182"/>
                  </a:lnTo>
                  <a:lnTo>
                    <a:pt x="706" y="186"/>
                  </a:lnTo>
                  <a:lnTo>
                    <a:pt x="708" y="198"/>
                  </a:lnTo>
                  <a:lnTo>
                    <a:pt x="686" y="182"/>
                  </a:lnTo>
                  <a:lnTo>
                    <a:pt x="659" y="181"/>
                  </a:lnTo>
                  <a:lnTo>
                    <a:pt x="657" y="188"/>
                  </a:lnTo>
                  <a:lnTo>
                    <a:pt x="644" y="191"/>
                  </a:lnTo>
                  <a:lnTo>
                    <a:pt x="632" y="216"/>
                  </a:lnTo>
                  <a:lnTo>
                    <a:pt x="638" y="206"/>
                  </a:lnTo>
                  <a:lnTo>
                    <a:pt x="643" y="177"/>
                  </a:lnTo>
                  <a:lnTo>
                    <a:pt x="618" y="151"/>
                  </a:lnTo>
                  <a:lnTo>
                    <a:pt x="588" y="137"/>
                  </a:lnTo>
                  <a:lnTo>
                    <a:pt x="582" y="138"/>
                  </a:lnTo>
                  <a:lnTo>
                    <a:pt x="581" y="146"/>
                  </a:lnTo>
                  <a:lnTo>
                    <a:pt x="567" y="152"/>
                  </a:lnTo>
                  <a:lnTo>
                    <a:pt x="565" y="147"/>
                  </a:lnTo>
                  <a:lnTo>
                    <a:pt x="557" y="155"/>
                  </a:lnTo>
                  <a:lnTo>
                    <a:pt x="551" y="144"/>
                  </a:lnTo>
                  <a:lnTo>
                    <a:pt x="549" y="148"/>
                  </a:lnTo>
                  <a:lnTo>
                    <a:pt x="553" y="158"/>
                  </a:lnTo>
                  <a:lnTo>
                    <a:pt x="549" y="168"/>
                  </a:lnTo>
                  <a:lnTo>
                    <a:pt x="539" y="175"/>
                  </a:lnTo>
                  <a:lnTo>
                    <a:pt x="538" y="168"/>
                  </a:lnTo>
                  <a:lnTo>
                    <a:pt x="516" y="174"/>
                  </a:lnTo>
                  <a:lnTo>
                    <a:pt x="521" y="195"/>
                  </a:lnTo>
                  <a:lnTo>
                    <a:pt x="508" y="190"/>
                  </a:lnTo>
                  <a:lnTo>
                    <a:pt x="504" y="199"/>
                  </a:lnTo>
                  <a:lnTo>
                    <a:pt x="508" y="208"/>
                  </a:lnTo>
                  <a:lnTo>
                    <a:pt x="498" y="205"/>
                  </a:lnTo>
                  <a:lnTo>
                    <a:pt x="487" y="212"/>
                  </a:lnTo>
                  <a:lnTo>
                    <a:pt x="492" y="225"/>
                  </a:lnTo>
                  <a:lnTo>
                    <a:pt x="481" y="238"/>
                  </a:lnTo>
                  <a:lnTo>
                    <a:pt x="479" y="248"/>
                  </a:lnTo>
                  <a:lnTo>
                    <a:pt x="486" y="251"/>
                  </a:lnTo>
                  <a:lnTo>
                    <a:pt x="484" y="258"/>
                  </a:lnTo>
                  <a:lnTo>
                    <a:pt x="472" y="256"/>
                  </a:lnTo>
                  <a:lnTo>
                    <a:pt x="461" y="242"/>
                  </a:lnTo>
                  <a:lnTo>
                    <a:pt x="447" y="240"/>
                  </a:lnTo>
                  <a:lnTo>
                    <a:pt x="443" y="243"/>
                  </a:lnTo>
                  <a:lnTo>
                    <a:pt x="442" y="260"/>
                  </a:lnTo>
                  <a:lnTo>
                    <a:pt x="452" y="272"/>
                  </a:lnTo>
                  <a:lnTo>
                    <a:pt x="453" y="282"/>
                  </a:lnTo>
                  <a:lnTo>
                    <a:pt x="446" y="283"/>
                  </a:lnTo>
                  <a:lnTo>
                    <a:pt x="442" y="304"/>
                  </a:lnTo>
                  <a:lnTo>
                    <a:pt x="415" y="252"/>
                  </a:lnTo>
                  <a:lnTo>
                    <a:pt x="411" y="266"/>
                  </a:lnTo>
                  <a:lnTo>
                    <a:pt x="391" y="279"/>
                  </a:lnTo>
                  <a:lnTo>
                    <a:pt x="384" y="299"/>
                  </a:lnTo>
                  <a:lnTo>
                    <a:pt x="392" y="325"/>
                  </a:lnTo>
                  <a:lnTo>
                    <a:pt x="374" y="345"/>
                  </a:lnTo>
                  <a:lnTo>
                    <a:pt x="368" y="345"/>
                  </a:lnTo>
                  <a:lnTo>
                    <a:pt x="356" y="376"/>
                  </a:lnTo>
                  <a:lnTo>
                    <a:pt x="332" y="396"/>
                  </a:lnTo>
                  <a:lnTo>
                    <a:pt x="270" y="414"/>
                  </a:lnTo>
                  <a:lnTo>
                    <a:pt x="253" y="411"/>
                  </a:lnTo>
                  <a:lnTo>
                    <a:pt x="236" y="425"/>
                  </a:lnTo>
                  <a:lnTo>
                    <a:pt x="211" y="429"/>
                  </a:lnTo>
                  <a:lnTo>
                    <a:pt x="189" y="443"/>
                  </a:lnTo>
                  <a:lnTo>
                    <a:pt x="150" y="438"/>
                  </a:lnTo>
                  <a:lnTo>
                    <a:pt x="115" y="460"/>
                  </a:lnTo>
                  <a:lnTo>
                    <a:pt x="94" y="484"/>
                  </a:lnTo>
                  <a:lnTo>
                    <a:pt x="79" y="486"/>
                  </a:lnTo>
                  <a:lnTo>
                    <a:pt x="57" y="499"/>
                  </a:lnTo>
                  <a:lnTo>
                    <a:pt x="40" y="529"/>
                  </a:lnTo>
                  <a:lnTo>
                    <a:pt x="35" y="527"/>
                  </a:lnTo>
                  <a:lnTo>
                    <a:pt x="34" y="515"/>
                  </a:lnTo>
                  <a:lnTo>
                    <a:pt x="39" y="493"/>
                  </a:lnTo>
                  <a:lnTo>
                    <a:pt x="33" y="498"/>
                  </a:lnTo>
                  <a:lnTo>
                    <a:pt x="21" y="519"/>
                  </a:lnTo>
                  <a:lnTo>
                    <a:pt x="17" y="536"/>
                  </a:lnTo>
                  <a:lnTo>
                    <a:pt x="23" y="546"/>
                  </a:lnTo>
                  <a:lnTo>
                    <a:pt x="23" y="568"/>
                  </a:lnTo>
                  <a:lnTo>
                    <a:pt x="7" y="595"/>
                  </a:lnTo>
                  <a:lnTo>
                    <a:pt x="7" y="618"/>
                  </a:lnTo>
                  <a:lnTo>
                    <a:pt x="29" y="662"/>
                  </a:lnTo>
                  <a:lnTo>
                    <a:pt x="28" y="668"/>
                  </a:lnTo>
                  <a:lnTo>
                    <a:pt x="41" y="680"/>
                  </a:lnTo>
                  <a:lnTo>
                    <a:pt x="43" y="695"/>
                  </a:lnTo>
                  <a:lnTo>
                    <a:pt x="37" y="710"/>
                  </a:lnTo>
                  <a:lnTo>
                    <a:pt x="30" y="709"/>
                  </a:lnTo>
                  <a:lnTo>
                    <a:pt x="27" y="693"/>
                  </a:lnTo>
                  <a:lnTo>
                    <a:pt x="23" y="699"/>
                  </a:lnTo>
                  <a:lnTo>
                    <a:pt x="10" y="672"/>
                  </a:lnTo>
                  <a:lnTo>
                    <a:pt x="9" y="673"/>
                  </a:lnTo>
                  <a:lnTo>
                    <a:pt x="27" y="716"/>
                  </a:lnTo>
                  <a:lnTo>
                    <a:pt x="18" y="719"/>
                  </a:lnTo>
                  <a:lnTo>
                    <a:pt x="16" y="715"/>
                  </a:lnTo>
                  <a:lnTo>
                    <a:pt x="12" y="716"/>
                  </a:lnTo>
                  <a:lnTo>
                    <a:pt x="9" y="703"/>
                  </a:lnTo>
                  <a:lnTo>
                    <a:pt x="1" y="698"/>
                  </a:lnTo>
                  <a:lnTo>
                    <a:pt x="0" y="702"/>
                  </a:lnTo>
                  <a:lnTo>
                    <a:pt x="15" y="728"/>
                  </a:lnTo>
                  <a:lnTo>
                    <a:pt x="31" y="742"/>
                  </a:lnTo>
                  <a:lnTo>
                    <a:pt x="42" y="769"/>
                  </a:lnTo>
                  <a:lnTo>
                    <a:pt x="43" y="787"/>
                  </a:lnTo>
                  <a:lnTo>
                    <a:pt x="74" y="848"/>
                  </a:lnTo>
                  <a:lnTo>
                    <a:pt x="80" y="902"/>
                  </a:lnTo>
                  <a:lnTo>
                    <a:pt x="111" y="968"/>
                  </a:lnTo>
                  <a:lnTo>
                    <a:pt x="112" y="1010"/>
                  </a:lnTo>
                  <a:lnTo>
                    <a:pt x="108" y="1025"/>
                  </a:lnTo>
                  <a:lnTo>
                    <a:pt x="111" y="1042"/>
                  </a:lnTo>
                  <a:lnTo>
                    <a:pt x="98" y="1065"/>
                  </a:lnTo>
                  <a:lnTo>
                    <a:pt x="83" y="1064"/>
                  </a:lnTo>
                  <a:close/>
                </a:path>
              </a:pathLst>
            </a:custGeom>
            <a:grpFill/>
            <a:ln w="6350">
              <a:solidFill>
                <a:schemeClr val="tx2"/>
              </a:solidFill>
              <a:round/>
              <a:headEnd/>
              <a:tailEnd/>
            </a:ln>
          </p:spPr>
          <p:txBody>
            <a:bodyPr/>
            <a:lstStyle/>
            <a:p>
              <a:endParaRPr lang="en-US"/>
            </a:p>
          </p:txBody>
        </p:sp>
        <p:sp>
          <p:nvSpPr>
            <p:cNvPr id="431" name="Freeform 1536"/>
            <p:cNvSpPr>
              <a:spLocks/>
            </p:cNvSpPr>
            <p:nvPr/>
          </p:nvSpPr>
          <p:spPr bwMode="auto">
            <a:xfrm>
              <a:off x="8039416" y="4634981"/>
              <a:ext cx="9103" cy="4551"/>
            </a:xfrm>
            <a:custGeom>
              <a:avLst/>
              <a:gdLst>
                <a:gd name="T0" fmla="*/ 2147483647 w 17"/>
                <a:gd name="T1" fmla="*/ 2147483647 h 7"/>
                <a:gd name="T2" fmla="*/ 0 w 17"/>
                <a:gd name="T3" fmla="*/ 2147483647 h 7"/>
                <a:gd name="T4" fmla="*/ 2147483647 w 17"/>
                <a:gd name="T5" fmla="*/ 0 h 7"/>
                <a:gd name="T6" fmla="*/ 2147483647 w 17"/>
                <a:gd name="T7" fmla="*/ 2147483647 h 7"/>
                <a:gd name="T8" fmla="*/ 2147483647 w 17"/>
                <a:gd name="T9" fmla="*/ 2147483647 h 7"/>
                <a:gd name="T10" fmla="*/ 0 60000 65536"/>
                <a:gd name="T11" fmla="*/ 0 60000 65536"/>
                <a:gd name="T12" fmla="*/ 0 60000 65536"/>
                <a:gd name="T13" fmla="*/ 0 60000 65536"/>
                <a:gd name="T14" fmla="*/ 0 60000 65536"/>
                <a:gd name="T15" fmla="*/ 0 w 17"/>
                <a:gd name="T16" fmla="*/ 0 h 7"/>
                <a:gd name="T17" fmla="*/ 17 w 17"/>
                <a:gd name="T18" fmla="*/ 7 h 7"/>
              </a:gdLst>
              <a:ahLst/>
              <a:cxnLst>
                <a:cxn ang="T10">
                  <a:pos x="T0" y="T1"/>
                </a:cxn>
                <a:cxn ang="T11">
                  <a:pos x="T2" y="T3"/>
                </a:cxn>
                <a:cxn ang="T12">
                  <a:pos x="T4" y="T5"/>
                </a:cxn>
                <a:cxn ang="T13">
                  <a:pos x="T6" y="T7"/>
                </a:cxn>
                <a:cxn ang="T14">
                  <a:pos x="T8" y="T9"/>
                </a:cxn>
              </a:cxnLst>
              <a:rect l="T15" t="T16" r="T17" b="T18"/>
              <a:pathLst>
                <a:path w="17" h="7">
                  <a:moveTo>
                    <a:pt x="2" y="4"/>
                  </a:moveTo>
                  <a:lnTo>
                    <a:pt x="0" y="2"/>
                  </a:lnTo>
                  <a:lnTo>
                    <a:pt x="7" y="0"/>
                  </a:lnTo>
                  <a:lnTo>
                    <a:pt x="17" y="7"/>
                  </a:lnTo>
                  <a:lnTo>
                    <a:pt x="2" y="4"/>
                  </a:lnTo>
                  <a:close/>
                </a:path>
              </a:pathLst>
            </a:custGeom>
            <a:grpFill/>
            <a:ln w="6350">
              <a:solidFill>
                <a:schemeClr val="tx2"/>
              </a:solidFill>
              <a:round/>
              <a:headEnd/>
              <a:tailEnd/>
            </a:ln>
          </p:spPr>
          <p:txBody>
            <a:bodyPr/>
            <a:lstStyle/>
            <a:p>
              <a:endParaRPr lang="en-US"/>
            </a:p>
          </p:txBody>
        </p:sp>
        <p:sp>
          <p:nvSpPr>
            <p:cNvPr id="432" name="Freeform 1537"/>
            <p:cNvSpPr>
              <a:spLocks/>
            </p:cNvSpPr>
            <p:nvPr/>
          </p:nvSpPr>
          <p:spPr bwMode="auto">
            <a:xfrm>
              <a:off x="6871238" y="4510578"/>
              <a:ext cx="197225" cy="62202"/>
            </a:xfrm>
            <a:custGeom>
              <a:avLst/>
              <a:gdLst>
                <a:gd name="T0" fmla="*/ 2147483647 w 396"/>
                <a:gd name="T1" fmla="*/ 2147483647 h 124"/>
                <a:gd name="T2" fmla="*/ 2147483647 w 396"/>
                <a:gd name="T3" fmla="*/ 2147483647 h 124"/>
                <a:gd name="T4" fmla="*/ 2147483647 w 396"/>
                <a:gd name="T5" fmla="*/ 2147483647 h 124"/>
                <a:gd name="T6" fmla="*/ 2147483647 w 396"/>
                <a:gd name="T7" fmla="*/ 2147483647 h 124"/>
                <a:gd name="T8" fmla="*/ 2147483647 w 396"/>
                <a:gd name="T9" fmla="*/ 2147483647 h 124"/>
                <a:gd name="T10" fmla="*/ 2147483647 w 396"/>
                <a:gd name="T11" fmla="*/ 2147483647 h 124"/>
                <a:gd name="T12" fmla="*/ 2147483647 w 396"/>
                <a:gd name="T13" fmla="*/ 2147483647 h 124"/>
                <a:gd name="T14" fmla="*/ 2147483647 w 396"/>
                <a:gd name="T15" fmla="*/ 2147483647 h 124"/>
                <a:gd name="T16" fmla="*/ 2147483647 w 396"/>
                <a:gd name="T17" fmla="*/ 2147483647 h 124"/>
                <a:gd name="T18" fmla="*/ 2147483647 w 396"/>
                <a:gd name="T19" fmla="*/ 2147483647 h 124"/>
                <a:gd name="T20" fmla="*/ 2147483647 w 396"/>
                <a:gd name="T21" fmla="*/ 2147483647 h 124"/>
                <a:gd name="T22" fmla="*/ 2147483647 w 396"/>
                <a:gd name="T23" fmla="*/ 2147483647 h 124"/>
                <a:gd name="T24" fmla="*/ 0 w 396"/>
                <a:gd name="T25" fmla="*/ 2147483647 h 124"/>
                <a:gd name="T26" fmla="*/ 2147483647 w 396"/>
                <a:gd name="T27" fmla="*/ 2147483647 h 124"/>
                <a:gd name="T28" fmla="*/ 2147483647 w 396"/>
                <a:gd name="T29" fmla="*/ 2147483647 h 124"/>
                <a:gd name="T30" fmla="*/ 2147483647 w 396"/>
                <a:gd name="T31" fmla="*/ 2147483647 h 124"/>
                <a:gd name="T32" fmla="*/ 2147483647 w 396"/>
                <a:gd name="T33" fmla="*/ 0 h 124"/>
                <a:gd name="T34" fmla="*/ 2147483647 w 396"/>
                <a:gd name="T35" fmla="*/ 2147483647 h 124"/>
                <a:gd name="T36" fmla="*/ 2147483647 w 396"/>
                <a:gd name="T37" fmla="*/ 0 h 124"/>
                <a:gd name="T38" fmla="*/ 2147483647 w 396"/>
                <a:gd name="T39" fmla="*/ 2147483647 h 124"/>
                <a:gd name="T40" fmla="*/ 2147483647 w 396"/>
                <a:gd name="T41" fmla="*/ 2147483647 h 124"/>
                <a:gd name="T42" fmla="*/ 2147483647 w 396"/>
                <a:gd name="T43" fmla="*/ 2147483647 h 124"/>
                <a:gd name="T44" fmla="*/ 2147483647 w 396"/>
                <a:gd name="T45" fmla="*/ 2147483647 h 124"/>
                <a:gd name="T46" fmla="*/ 2147483647 w 396"/>
                <a:gd name="T47" fmla="*/ 2147483647 h 124"/>
                <a:gd name="T48" fmla="*/ 2147483647 w 396"/>
                <a:gd name="T49" fmla="*/ 2147483647 h 124"/>
                <a:gd name="T50" fmla="*/ 2147483647 w 396"/>
                <a:gd name="T51" fmla="*/ 2147483647 h 124"/>
                <a:gd name="T52" fmla="*/ 2147483647 w 396"/>
                <a:gd name="T53" fmla="*/ 2147483647 h 124"/>
                <a:gd name="T54" fmla="*/ 2147483647 w 396"/>
                <a:gd name="T55" fmla="*/ 2147483647 h 124"/>
                <a:gd name="T56" fmla="*/ 2147483647 w 396"/>
                <a:gd name="T57" fmla="*/ 2147483647 h 124"/>
                <a:gd name="T58" fmla="*/ 2147483647 w 396"/>
                <a:gd name="T59" fmla="*/ 2147483647 h 124"/>
                <a:gd name="T60" fmla="*/ 2147483647 w 396"/>
                <a:gd name="T61" fmla="*/ 2147483647 h 124"/>
                <a:gd name="T62" fmla="*/ 2147483647 w 396"/>
                <a:gd name="T63" fmla="*/ 2147483647 h 124"/>
                <a:gd name="T64" fmla="*/ 2147483647 w 396"/>
                <a:gd name="T65" fmla="*/ 2147483647 h 124"/>
                <a:gd name="T66" fmla="*/ 2147483647 w 396"/>
                <a:gd name="T67" fmla="*/ 2147483647 h 124"/>
                <a:gd name="T68" fmla="*/ 2147483647 w 396"/>
                <a:gd name="T69" fmla="*/ 2147483647 h 124"/>
                <a:gd name="T70" fmla="*/ 2147483647 w 396"/>
                <a:gd name="T71" fmla="*/ 2147483647 h 124"/>
                <a:gd name="T72" fmla="*/ 2147483647 w 396"/>
                <a:gd name="T73" fmla="*/ 2147483647 h 124"/>
                <a:gd name="T74" fmla="*/ 2147483647 w 396"/>
                <a:gd name="T75" fmla="*/ 2147483647 h 124"/>
                <a:gd name="T76" fmla="*/ 2147483647 w 396"/>
                <a:gd name="T77" fmla="*/ 2147483647 h 124"/>
                <a:gd name="T78" fmla="*/ 2147483647 w 396"/>
                <a:gd name="T79" fmla="*/ 2147483647 h 124"/>
                <a:gd name="T80" fmla="*/ 2147483647 w 396"/>
                <a:gd name="T81" fmla="*/ 2147483647 h 124"/>
                <a:gd name="T82" fmla="*/ 2147483647 w 396"/>
                <a:gd name="T83" fmla="*/ 2147483647 h 124"/>
                <a:gd name="T84" fmla="*/ 2147483647 w 396"/>
                <a:gd name="T85" fmla="*/ 2147483647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6"/>
                <a:gd name="T130" fmla="*/ 0 h 124"/>
                <a:gd name="T131" fmla="*/ 396 w 396"/>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6" h="124">
                  <a:moveTo>
                    <a:pt x="292" y="101"/>
                  </a:moveTo>
                  <a:lnTo>
                    <a:pt x="276" y="106"/>
                  </a:lnTo>
                  <a:lnTo>
                    <a:pt x="255" y="97"/>
                  </a:lnTo>
                  <a:lnTo>
                    <a:pt x="236" y="98"/>
                  </a:lnTo>
                  <a:lnTo>
                    <a:pt x="189" y="77"/>
                  </a:lnTo>
                  <a:lnTo>
                    <a:pt x="148" y="74"/>
                  </a:lnTo>
                  <a:lnTo>
                    <a:pt x="137" y="80"/>
                  </a:lnTo>
                  <a:lnTo>
                    <a:pt x="100" y="70"/>
                  </a:lnTo>
                  <a:lnTo>
                    <a:pt x="73" y="67"/>
                  </a:lnTo>
                  <a:lnTo>
                    <a:pt x="47" y="57"/>
                  </a:lnTo>
                  <a:lnTo>
                    <a:pt x="54" y="46"/>
                  </a:lnTo>
                  <a:lnTo>
                    <a:pt x="4" y="37"/>
                  </a:lnTo>
                  <a:lnTo>
                    <a:pt x="0" y="27"/>
                  </a:lnTo>
                  <a:lnTo>
                    <a:pt x="5" y="33"/>
                  </a:lnTo>
                  <a:lnTo>
                    <a:pt x="15" y="30"/>
                  </a:lnTo>
                  <a:lnTo>
                    <a:pt x="30" y="3"/>
                  </a:lnTo>
                  <a:lnTo>
                    <a:pt x="40" y="0"/>
                  </a:lnTo>
                  <a:lnTo>
                    <a:pt x="68" y="5"/>
                  </a:lnTo>
                  <a:lnTo>
                    <a:pt x="87" y="0"/>
                  </a:lnTo>
                  <a:lnTo>
                    <a:pt x="94" y="11"/>
                  </a:lnTo>
                  <a:lnTo>
                    <a:pt x="127" y="16"/>
                  </a:lnTo>
                  <a:lnTo>
                    <a:pt x="144" y="37"/>
                  </a:lnTo>
                  <a:lnTo>
                    <a:pt x="152" y="38"/>
                  </a:lnTo>
                  <a:lnTo>
                    <a:pt x="182" y="38"/>
                  </a:lnTo>
                  <a:lnTo>
                    <a:pt x="217" y="44"/>
                  </a:lnTo>
                  <a:lnTo>
                    <a:pt x="222" y="42"/>
                  </a:lnTo>
                  <a:lnTo>
                    <a:pt x="231" y="25"/>
                  </a:lnTo>
                  <a:lnTo>
                    <a:pt x="243" y="21"/>
                  </a:lnTo>
                  <a:lnTo>
                    <a:pt x="254" y="33"/>
                  </a:lnTo>
                  <a:lnTo>
                    <a:pt x="268" y="29"/>
                  </a:lnTo>
                  <a:lnTo>
                    <a:pt x="291" y="40"/>
                  </a:lnTo>
                  <a:lnTo>
                    <a:pt x="311" y="43"/>
                  </a:lnTo>
                  <a:lnTo>
                    <a:pt x="323" y="58"/>
                  </a:lnTo>
                  <a:lnTo>
                    <a:pt x="325" y="71"/>
                  </a:lnTo>
                  <a:lnTo>
                    <a:pt x="332" y="75"/>
                  </a:lnTo>
                  <a:lnTo>
                    <a:pt x="376" y="74"/>
                  </a:lnTo>
                  <a:lnTo>
                    <a:pt x="391" y="80"/>
                  </a:lnTo>
                  <a:lnTo>
                    <a:pt x="389" y="107"/>
                  </a:lnTo>
                  <a:lnTo>
                    <a:pt x="396" y="124"/>
                  </a:lnTo>
                  <a:lnTo>
                    <a:pt x="388" y="117"/>
                  </a:lnTo>
                  <a:lnTo>
                    <a:pt x="338" y="102"/>
                  </a:lnTo>
                  <a:lnTo>
                    <a:pt x="318" y="108"/>
                  </a:lnTo>
                  <a:lnTo>
                    <a:pt x="292" y="101"/>
                  </a:lnTo>
                  <a:close/>
                </a:path>
              </a:pathLst>
            </a:custGeom>
            <a:grpFill/>
            <a:ln w="6350">
              <a:solidFill>
                <a:schemeClr val="tx2"/>
              </a:solidFill>
              <a:round/>
              <a:headEnd/>
              <a:tailEnd/>
            </a:ln>
          </p:spPr>
          <p:txBody>
            <a:bodyPr/>
            <a:lstStyle/>
            <a:p>
              <a:endParaRPr lang="en-US"/>
            </a:p>
          </p:txBody>
        </p:sp>
        <p:sp>
          <p:nvSpPr>
            <p:cNvPr id="433" name="Freeform 1538"/>
            <p:cNvSpPr>
              <a:spLocks/>
            </p:cNvSpPr>
            <p:nvPr/>
          </p:nvSpPr>
          <p:spPr bwMode="auto">
            <a:xfrm>
              <a:off x="7103356" y="4454444"/>
              <a:ext cx="4551" cy="15172"/>
            </a:xfrm>
            <a:custGeom>
              <a:avLst/>
              <a:gdLst>
                <a:gd name="T0" fmla="*/ 2147483647 w 11"/>
                <a:gd name="T1" fmla="*/ 0 h 31"/>
                <a:gd name="T2" fmla="*/ 2147483647 w 11"/>
                <a:gd name="T3" fmla="*/ 2147483647 h 31"/>
                <a:gd name="T4" fmla="*/ 2147483647 w 11"/>
                <a:gd name="T5" fmla="*/ 2147483647 h 31"/>
                <a:gd name="T6" fmla="*/ 0 w 11"/>
                <a:gd name="T7" fmla="*/ 2147483647 h 31"/>
                <a:gd name="T8" fmla="*/ 2147483647 w 11"/>
                <a:gd name="T9" fmla="*/ 0 h 31"/>
                <a:gd name="T10" fmla="*/ 0 60000 65536"/>
                <a:gd name="T11" fmla="*/ 0 60000 65536"/>
                <a:gd name="T12" fmla="*/ 0 60000 65536"/>
                <a:gd name="T13" fmla="*/ 0 60000 65536"/>
                <a:gd name="T14" fmla="*/ 0 60000 65536"/>
                <a:gd name="T15" fmla="*/ 0 w 11"/>
                <a:gd name="T16" fmla="*/ 0 h 31"/>
                <a:gd name="T17" fmla="*/ 11 w 11"/>
                <a:gd name="T18" fmla="*/ 31 h 31"/>
              </a:gdLst>
              <a:ahLst/>
              <a:cxnLst>
                <a:cxn ang="T10">
                  <a:pos x="T0" y="T1"/>
                </a:cxn>
                <a:cxn ang="T11">
                  <a:pos x="T2" y="T3"/>
                </a:cxn>
                <a:cxn ang="T12">
                  <a:pos x="T4" y="T5"/>
                </a:cxn>
                <a:cxn ang="T13">
                  <a:pos x="T6" y="T7"/>
                </a:cxn>
                <a:cxn ang="T14">
                  <a:pos x="T8" y="T9"/>
                </a:cxn>
              </a:cxnLst>
              <a:rect l="T15" t="T16" r="T17" b="T18"/>
              <a:pathLst>
                <a:path w="11" h="31">
                  <a:moveTo>
                    <a:pt x="6" y="0"/>
                  </a:moveTo>
                  <a:lnTo>
                    <a:pt x="11" y="25"/>
                  </a:lnTo>
                  <a:lnTo>
                    <a:pt x="2" y="31"/>
                  </a:lnTo>
                  <a:lnTo>
                    <a:pt x="0" y="10"/>
                  </a:lnTo>
                  <a:lnTo>
                    <a:pt x="6" y="0"/>
                  </a:lnTo>
                  <a:close/>
                </a:path>
              </a:pathLst>
            </a:custGeom>
            <a:grpFill/>
            <a:ln w="6350">
              <a:solidFill>
                <a:schemeClr val="tx2"/>
              </a:solidFill>
              <a:round/>
              <a:headEnd/>
              <a:tailEnd/>
            </a:ln>
          </p:spPr>
          <p:txBody>
            <a:bodyPr/>
            <a:lstStyle/>
            <a:p>
              <a:endParaRPr lang="en-US"/>
            </a:p>
          </p:txBody>
        </p:sp>
        <p:sp>
          <p:nvSpPr>
            <p:cNvPr id="434" name="Freeform 1539"/>
            <p:cNvSpPr>
              <a:spLocks/>
            </p:cNvSpPr>
            <p:nvPr/>
          </p:nvSpPr>
          <p:spPr bwMode="auto">
            <a:xfrm>
              <a:off x="7126113" y="4141919"/>
              <a:ext cx="48548" cy="63718"/>
            </a:xfrm>
            <a:custGeom>
              <a:avLst/>
              <a:gdLst>
                <a:gd name="T0" fmla="*/ 2147483647 w 99"/>
                <a:gd name="T1" fmla="*/ 0 h 127"/>
                <a:gd name="T2" fmla="*/ 2147483647 w 99"/>
                <a:gd name="T3" fmla="*/ 0 h 127"/>
                <a:gd name="T4" fmla="*/ 2147483647 w 99"/>
                <a:gd name="T5" fmla="*/ 2147483647 h 127"/>
                <a:gd name="T6" fmla="*/ 2147483647 w 99"/>
                <a:gd name="T7" fmla="*/ 2147483647 h 127"/>
                <a:gd name="T8" fmla="*/ 2147483647 w 99"/>
                <a:gd name="T9" fmla="*/ 2147483647 h 127"/>
                <a:gd name="T10" fmla="*/ 2147483647 w 99"/>
                <a:gd name="T11" fmla="*/ 2147483647 h 127"/>
                <a:gd name="T12" fmla="*/ 2147483647 w 99"/>
                <a:gd name="T13" fmla="*/ 2147483647 h 127"/>
                <a:gd name="T14" fmla="*/ 2147483647 w 99"/>
                <a:gd name="T15" fmla="*/ 2147483647 h 127"/>
                <a:gd name="T16" fmla="*/ 0 w 99"/>
                <a:gd name="T17" fmla="*/ 2147483647 h 127"/>
                <a:gd name="T18" fmla="*/ 2147483647 w 99"/>
                <a:gd name="T19" fmla="*/ 2147483647 h 127"/>
                <a:gd name="T20" fmla="*/ 2147483647 w 99"/>
                <a:gd name="T21" fmla="*/ 2147483647 h 127"/>
                <a:gd name="T22" fmla="*/ 2147483647 w 99"/>
                <a:gd name="T23" fmla="*/ 2147483647 h 127"/>
                <a:gd name="T24" fmla="*/ 2147483647 w 99"/>
                <a:gd name="T25" fmla="*/ 2147483647 h 127"/>
                <a:gd name="T26" fmla="*/ 2147483647 w 99"/>
                <a:gd name="T27" fmla="*/ 2147483647 h 127"/>
                <a:gd name="T28" fmla="*/ 2147483647 w 99"/>
                <a:gd name="T29" fmla="*/ 2147483647 h 127"/>
                <a:gd name="T30" fmla="*/ 2147483647 w 99"/>
                <a:gd name="T31" fmla="*/ 2147483647 h 127"/>
                <a:gd name="T32" fmla="*/ 2147483647 w 99"/>
                <a:gd name="T33" fmla="*/ 2147483647 h 127"/>
                <a:gd name="T34" fmla="*/ 2147483647 w 99"/>
                <a:gd name="T35" fmla="*/ 0 h 1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127"/>
                <a:gd name="T56" fmla="*/ 99 w 99"/>
                <a:gd name="T57" fmla="*/ 127 h 1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127">
                  <a:moveTo>
                    <a:pt x="94" y="0"/>
                  </a:moveTo>
                  <a:lnTo>
                    <a:pt x="98" y="0"/>
                  </a:lnTo>
                  <a:lnTo>
                    <a:pt x="99" y="13"/>
                  </a:lnTo>
                  <a:lnTo>
                    <a:pt x="99" y="40"/>
                  </a:lnTo>
                  <a:lnTo>
                    <a:pt x="68" y="65"/>
                  </a:lnTo>
                  <a:lnTo>
                    <a:pt x="65" y="76"/>
                  </a:lnTo>
                  <a:lnTo>
                    <a:pt x="29" y="110"/>
                  </a:lnTo>
                  <a:lnTo>
                    <a:pt x="5" y="127"/>
                  </a:lnTo>
                  <a:lnTo>
                    <a:pt x="0" y="126"/>
                  </a:lnTo>
                  <a:lnTo>
                    <a:pt x="8" y="106"/>
                  </a:lnTo>
                  <a:lnTo>
                    <a:pt x="29" y="91"/>
                  </a:lnTo>
                  <a:lnTo>
                    <a:pt x="70" y="47"/>
                  </a:lnTo>
                  <a:lnTo>
                    <a:pt x="82" y="40"/>
                  </a:lnTo>
                  <a:lnTo>
                    <a:pt x="87" y="21"/>
                  </a:lnTo>
                  <a:lnTo>
                    <a:pt x="89" y="25"/>
                  </a:lnTo>
                  <a:lnTo>
                    <a:pt x="92" y="23"/>
                  </a:lnTo>
                  <a:lnTo>
                    <a:pt x="87" y="17"/>
                  </a:lnTo>
                  <a:lnTo>
                    <a:pt x="94" y="0"/>
                  </a:lnTo>
                  <a:close/>
                </a:path>
              </a:pathLst>
            </a:custGeom>
            <a:grpFill/>
            <a:ln w="6350">
              <a:solidFill>
                <a:schemeClr val="tx2"/>
              </a:solidFill>
              <a:round/>
              <a:headEnd/>
              <a:tailEnd/>
            </a:ln>
          </p:spPr>
          <p:txBody>
            <a:bodyPr/>
            <a:lstStyle/>
            <a:p>
              <a:endParaRPr lang="en-US"/>
            </a:p>
          </p:txBody>
        </p:sp>
        <p:sp>
          <p:nvSpPr>
            <p:cNvPr id="435" name="Freeform 1540"/>
            <p:cNvSpPr>
              <a:spLocks/>
            </p:cNvSpPr>
            <p:nvPr/>
          </p:nvSpPr>
          <p:spPr bwMode="auto">
            <a:xfrm>
              <a:off x="7180729" y="4129782"/>
              <a:ext cx="6069" cy="4550"/>
            </a:xfrm>
            <a:custGeom>
              <a:avLst/>
              <a:gdLst>
                <a:gd name="T0" fmla="*/ 0 w 9"/>
                <a:gd name="T1" fmla="*/ 0 h 11"/>
                <a:gd name="T2" fmla="*/ 2147483647 w 9"/>
                <a:gd name="T3" fmla="*/ 2147483647 h 11"/>
                <a:gd name="T4" fmla="*/ 2147483647 w 9"/>
                <a:gd name="T5" fmla="*/ 2147483647 h 11"/>
                <a:gd name="T6" fmla="*/ 0 w 9"/>
                <a:gd name="T7" fmla="*/ 0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0"/>
                  </a:moveTo>
                  <a:lnTo>
                    <a:pt x="9" y="6"/>
                  </a:lnTo>
                  <a:lnTo>
                    <a:pt x="7" y="11"/>
                  </a:lnTo>
                  <a:lnTo>
                    <a:pt x="0" y="0"/>
                  </a:lnTo>
                  <a:close/>
                </a:path>
              </a:pathLst>
            </a:custGeom>
            <a:grpFill/>
            <a:ln w="6350">
              <a:solidFill>
                <a:schemeClr val="tx2"/>
              </a:solidFill>
              <a:round/>
              <a:headEnd/>
              <a:tailEnd/>
            </a:ln>
          </p:spPr>
          <p:txBody>
            <a:bodyPr/>
            <a:lstStyle/>
            <a:p>
              <a:endParaRPr lang="en-US"/>
            </a:p>
          </p:txBody>
        </p:sp>
        <p:sp>
          <p:nvSpPr>
            <p:cNvPr id="436" name="Freeform 1541"/>
            <p:cNvSpPr>
              <a:spLocks/>
            </p:cNvSpPr>
            <p:nvPr/>
          </p:nvSpPr>
          <p:spPr bwMode="auto">
            <a:xfrm>
              <a:off x="7182246" y="4120680"/>
              <a:ext cx="9103" cy="6069"/>
            </a:xfrm>
            <a:custGeom>
              <a:avLst/>
              <a:gdLst>
                <a:gd name="T0" fmla="*/ 0 w 15"/>
                <a:gd name="T1" fmla="*/ 0 h 12"/>
                <a:gd name="T2" fmla="*/ 2147483647 w 15"/>
                <a:gd name="T3" fmla="*/ 2147483647 h 12"/>
                <a:gd name="T4" fmla="*/ 2147483647 w 15"/>
                <a:gd name="T5" fmla="*/ 2147483647 h 12"/>
                <a:gd name="T6" fmla="*/ 0 w 15"/>
                <a:gd name="T7" fmla="*/ 0 h 12"/>
                <a:gd name="T8" fmla="*/ 0 60000 65536"/>
                <a:gd name="T9" fmla="*/ 0 60000 65536"/>
                <a:gd name="T10" fmla="*/ 0 60000 65536"/>
                <a:gd name="T11" fmla="*/ 0 60000 65536"/>
                <a:gd name="T12" fmla="*/ 0 w 15"/>
                <a:gd name="T13" fmla="*/ 0 h 12"/>
                <a:gd name="T14" fmla="*/ 15 w 15"/>
                <a:gd name="T15" fmla="*/ 12 h 12"/>
              </a:gdLst>
              <a:ahLst/>
              <a:cxnLst>
                <a:cxn ang="T8">
                  <a:pos x="T0" y="T1"/>
                </a:cxn>
                <a:cxn ang="T9">
                  <a:pos x="T2" y="T3"/>
                </a:cxn>
                <a:cxn ang="T10">
                  <a:pos x="T4" y="T5"/>
                </a:cxn>
                <a:cxn ang="T11">
                  <a:pos x="T6" y="T7"/>
                </a:cxn>
              </a:cxnLst>
              <a:rect l="T12" t="T13" r="T14" b="T15"/>
              <a:pathLst>
                <a:path w="15" h="12">
                  <a:moveTo>
                    <a:pt x="0" y="0"/>
                  </a:moveTo>
                  <a:lnTo>
                    <a:pt x="15" y="12"/>
                  </a:lnTo>
                  <a:lnTo>
                    <a:pt x="5" y="9"/>
                  </a:lnTo>
                  <a:lnTo>
                    <a:pt x="0" y="0"/>
                  </a:lnTo>
                  <a:close/>
                </a:path>
              </a:pathLst>
            </a:custGeom>
            <a:grpFill/>
            <a:ln w="6350">
              <a:solidFill>
                <a:schemeClr val="tx2"/>
              </a:solidFill>
              <a:round/>
              <a:headEnd/>
              <a:tailEnd/>
            </a:ln>
          </p:spPr>
          <p:txBody>
            <a:bodyPr/>
            <a:lstStyle/>
            <a:p>
              <a:endParaRPr lang="en-US"/>
            </a:p>
          </p:txBody>
        </p:sp>
        <p:sp>
          <p:nvSpPr>
            <p:cNvPr id="437" name="Freeform 1542"/>
            <p:cNvSpPr>
              <a:spLocks/>
            </p:cNvSpPr>
            <p:nvPr/>
          </p:nvSpPr>
          <p:spPr bwMode="auto">
            <a:xfrm>
              <a:off x="7192866" y="4094888"/>
              <a:ext cx="27308" cy="28826"/>
            </a:xfrm>
            <a:custGeom>
              <a:avLst/>
              <a:gdLst>
                <a:gd name="T0" fmla="*/ 0 w 52"/>
                <a:gd name="T1" fmla="*/ 2147483647 h 56"/>
                <a:gd name="T2" fmla="*/ 2147483647 w 52"/>
                <a:gd name="T3" fmla="*/ 0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0 w 52"/>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56"/>
                <a:gd name="T29" fmla="*/ 52 w 52"/>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56">
                  <a:moveTo>
                    <a:pt x="0" y="2"/>
                  </a:moveTo>
                  <a:lnTo>
                    <a:pt x="28" y="0"/>
                  </a:lnTo>
                  <a:lnTo>
                    <a:pt x="48" y="14"/>
                  </a:lnTo>
                  <a:lnTo>
                    <a:pt x="52" y="39"/>
                  </a:lnTo>
                  <a:lnTo>
                    <a:pt x="47" y="48"/>
                  </a:lnTo>
                  <a:lnTo>
                    <a:pt x="36" y="56"/>
                  </a:lnTo>
                  <a:lnTo>
                    <a:pt x="27" y="45"/>
                  </a:lnTo>
                  <a:lnTo>
                    <a:pt x="14" y="13"/>
                  </a:lnTo>
                  <a:lnTo>
                    <a:pt x="0" y="2"/>
                  </a:lnTo>
                  <a:close/>
                </a:path>
              </a:pathLst>
            </a:custGeom>
            <a:grpFill/>
            <a:ln w="6350">
              <a:solidFill>
                <a:schemeClr val="tx2"/>
              </a:solidFill>
              <a:round/>
              <a:headEnd/>
              <a:tailEnd/>
            </a:ln>
          </p:spPr>
          <p:txBody>
            <a:bodyPr/>
            <a:lstStyle/>
            <a:p>
              <a:endParaRPr lang="en-US"/>
            </a:p>
          </p:txBody>
        </p:sp>
        <p:sp>
          <p:nvSpPr>
            <p:cNvPr id="438" name="Freeform 1544"/>
            <p:cNvSpPr>
              <a:spLocks/>
            </p:cNvSpPr>
            <p:nvPr/>
          </p:nvSpPr>
          <p:spPr bwMode="auto">
            <a:xfrm>
              <a:off x="7224725" y="4061512"/>
              <a:ext cx="3034" cy="9103"/>
            </a:xfrm>
            <a:custGeom>
              <a:avLst/>
              <a:gdLst>
                <a:gd name="T0" fmla="*/ 0 w 5"/>
                <a:gd name="T1" fmla="*/ 2147483647 h 17"/>
                <a:gd name="T2" fmla="*/ 2147483647 w 5"/>
                <a:gd name="T3" fmla="*/ 0 h 17"/>
                <a:gd name="T4" fmla="*/ 2147483647 w 5"/>
                <a:gd name="T5" fmla="*/ 2147483647 h 17"/>
                <a:gd name="T6" fmla="*/ 2147483647 w 5"/>
                <a:gd name="T7" fmla="*/ 2147483647 h 17"/>
                <a:gd name="T8" fmla="*/ 0 w 5"/>
                <a:gd name="T9" fmla="*/ 2147483647 h 17"/>
                <a:gd name="T10" fmla="*/ 0 60000 65536"/>
                <a:gd name="T11" fmla="*/ 0 60000 65536"/>
                <a:gd name="T12" fmla="*/ 0 60000 65536"/>
                <a:gd name="T13" fmla="*/ 0 60000 65536"/>
                <a:gd name="T14" fmla="*/ 0 60000 65536"/>
                <a:gd name="T15" fmla="*/ 0 w 5"/>
                <a:gd name="T16" fmla="*/ 0 h 17"/>
                <a:gd name="T17" fmla="*/ 5 w 5"/>
                <a:gd name="T18" fmla="*/ 17 h 17"/>
              </a:gdLst>
              <a:ahLst/>
              <a:cxnLst>
                <a:cxn ang="T10">
                  <a:pos x="T0" y="T1"/>
                </a:cxn>
                <a:cxn ang="T11">
                  <a:pos x="T2" y="T3"/>
                </a:cxn>
                <a:cxn ang="T12">
                  <a:pos x="T4" y="T5"/>
                </a:cxn>
                <a:cxn ang="T13">
                  <a:pos x="T6" y="T7"/>
                </a:cxn>
                <a:cxn ang="T14">
                  <a:pos x="T8" y="T9"/>
                </a:cxn>
              </a:cxnLst>
              <a:rect l="T15" t="T16" r="T17" b="T18"/>
              <a:pathLst>
                <a:path w="5" h="17">
                  <a:moveTo>
                    <a:pt x="0" y="1"/>
                  </a:moveTo>
                  <a:lnTo>
                    <a:pt x="4" y="0"/>
                  </a:lnTo>
                  <a:lnTo>
                    <a:pt x="5" y="16"/>
                  </a:lnTo>
                  <a:lnTo>
                    <a:pt x="1" y="17"/>
                  </a:lnTo>
                  <a:lnTo>
                    <a:pt x="0" y="1"/>
                  </a:lnTo>
                  <a:close/>
                </a:path>
              </a:pathLst>
            </a:custGeom>
            <a:grpFill/>
            <a:ln w="6350">
              <a:solidFill>
                <a:schemeClr val="tx2"/>
              </a:solidFill>
              <a:round/>
              <a:headEnd/>
              <a:tailEnd/>
            </a:ln>
          </p:spPr>
          <p:txBody>
            <a:bodyPr/>
            <a:lstStyle/>
            <a:p>
              <a:endParaRPr lang="en-US"/>
            </a:p>
          </p:txBody>
        </p:sp>
        <p:sp>
          <p:nvSpPr>
            <p:cNvPr id="439" name="Freeform 1545"/>
            <p:cNvSpPr>
              <a:spLocks/>
            </p:cNvSpPr>
            <p:nvPr/>
          </p:nvSpPr>
          <p:spPr bwMode="auto">
            <a:xfrm>
              <a:off x="7223209" y="4094888"/>
              <a:ext cx="6069" cy="6069"/>
            </a:xfrm>
            <a:custGeom>
              <a:avLst/>
              <a:gdLst>
                <a:gd name="T0" fmla="*/ 2147483647 w 11"/>
                <a:gd name="T1" fmla="*/ 2147483647 h 14"/>
                <a:gd name="T2" fmla="*/ 0 w 11"/>
                <a:gd name="T3" fmla="*/ 0 h 14"/>
                <a:gd name="T4" fmla="*/ 2147483647 w 11"/>
                <a:gd name="T5" fmla="*/ 2147483647 h 14"/>
                <a:gd name="T6" fmla="*/ 2147483647 w 11"/>
                <a:gd name="T7" fmla="*/ 2147483647 h 14"/>
                <a:gd name="T8" fmla="*/ 2147483647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2" y="9"/>
                  </a:moveTo>
                  <a:lnTo>
                    <a:pt x="0" y="0"/>
                  </a:lnTo>
                  <a:lnTo>
                    <a:pt x="11" y="2"/>
                  </a:lnTo>
                  <a:lnTo>
                    <a:pt x="11" y="14"/>
                  </a:lnTo>
                  <a:lnTo>
                    <a:pt x="2" y="9"/>
                  </a:lnTo>
                  <a:close/>
                </a:path>
              </a:pathLst>
            </a:custGeom>
            <a:grpFill/>
            <a:ln w="6350">
              <a:solidFill>
                <a:schemeClr val="tx2"/>
              </a:solidFill>
              <a:round/>
              <a:headEnd/>
              <a:tailEnd/>
            </a:ln>
          </p:spPr>
          <p:txBody>
            <a:bodyPr/>
            <a:lstStyle/>
            <a:p>
              <a:endParaRPr lang="en-US"/>
            </a:p>
          </p:txBody>
        </p:sp>
        <p:sp>
          <p:nvSpPr>
            <p:cNvPr id="440" name="Freeform 1546"/>
            <p:cNvSpPr>
              <a:spLocks/>
            </p:cNvSpPr>
            <p:nvPr/>
          </p:nvSpPr>
          <p:spPr bwMode="auto">
            <a:xfrm>
              <a:off x="7265687" y="4110059"/>
              <a:ext cx="0" cy="10620"/>
            </a:xfrm>
            <a:custGeom>
              <a:avLst/>
              <a:gdLst>
                <a:gd name="T0" fmla="*/ 0 w 4"/>
                <a:gd name="T1" fmla="*/ 2147483647 h 20"/>
                <a:gd name="T2" fmla="*/ 0 w 4"/>
                <a:gd name="T3" fmla="*/ 0 h 20"/>
                <a:gd name="T4" fmla="*/ 0 w 4"/>
                <a:gd name="T5" fmla="*/ 0 h 20"/>
                <a:gd name="T6" fmla="*/ 0 w 4"/>
                <a:gd name="T7" fmla="*/ 2147483647 h 20"/>
                <a:gd name="T8" fmla="*/ 0 w 4"/>
                <a:gd name="T9" fmla="*/ 2147483647 h 20"/>
                <a:gd name="T10" fmla="*/ 0 60000 65536"/>
                <a:gd name="T11" fmla="*/ 0 60000 65536"/>
                <a:gd name="T12" fmla="*/ 0 60000 65536"/>
                <a:gd name="T13" fmla="*/ 0 60000 65536"/>
                <a:gd name="T14" fmla="*/ 0 60000 65536"/>
                <a:gd name="T15" fmla="*/ 0 w 4"/>
                <a:gd name="T16" fmla="*/ 0 h 20"/>
                <a:gd name="T17" fmla="*/ 0 w 4"/>
                <a:gd name="T18" fmla="*/ 20 h 20"/>
              </a:gdLst>
              <a:ahLst/>
              <a:cxnLst>
                <a:cxn ang="T10">
                  <a:pos x="T0" y="T1"/>
                </a:cxn>
                <a:cxn ang="T11">
                  <a:pos x="T2" y="T3"/>
                </a:cxn>
                <a:cxn ang="T12">
                  <a:pos x="T4" y="T5"/>
                </a:cxn>
                <a:cxn ang="T13">
                  <a:pos x="T6" y="T7"/>
                </a:cxn>
                <a:cxn ang="T14">
                  <a:pos x="T8" y="T9"/>
                </a:cxn>
              </a:cxnLst>
              <a:rect l="T15" t="T16" r="T17" b="T18"/>
              <a:pathLst>
                <a:path w="4" h="20">
                  <a:moveTo>
                    <a:pt x="0" y="7"/>
                  </a:moveTo>
                  <a:lnTo>
                    <a:pt x="1" y="0"/>
                  </a:lnTo>
                  <a:lnTo>
                    <a:pt x="4" y="0"/>
                  </a:lnTo>
                  <a:lnTo>
                    <a:pt x="1" y="20"/>
                  </a:lnTo>
                  <a:lnTo>
                    <a:pt x="0" y="7"/>
                  </a:lnTo>
                  <a:close/>
                </a:path>
              </a:pathLst>
            </a:custGeom>
            <a:grpFill/>
            <a:ln w="6350">
              <a:solidFill>
                <a:schemeClr val="tx2"/>
              </a:solidFill>
              <a:round/>
              <a:headEnd/>
              <a:tailEnd/>
            </a:ln>
          </p:spPr>
          <p:txBody>
            <a:bodyPr/>
            <a:lstStyle/>
            <a:p>
              <a:endParaRPr lang="en-US"/>
            </a:p>
          </p:txBody>
        </p:sp>
        <p:sp>
          <p:nvSpPr>
            <p:cNvPr id="441" name="Freeform 1547"/>
            <p:cNvSpPr>
              <a:spLocks/>
            </p:cNvSpPr>
            <p:nvPr/>
          </p:nvSpPr>
          <p:spPr bwMode="auto">
            <a:xfrm>
              <a:off x="7271755" y="4113093"/>
              <a:ext cx="6069" cy="3034"/>
            </a:xfrm>
            <a:custGeom>
              <a:avLst/>
              <a:gdLst>
                <a:gd name="T0" fmla="*/ 0 w 9"/>
                <a:gd name="T1" fmla="*/ 2147483647 h 7"/>
                <a:gd name="T2" fmla="*/ 2147483647 w 9"/>
                <a:gd name="T3" fmla="*/ 0 h 7"/>
                <a:gd name="T4" fmla="*/ 2147483647 w 9"/>
                <a:gd name="T5" fmla="*/ 2147483647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1"/>
                  </a:moveTo>
                  <a:lnTo>
                    <a:pt x="4" y="0"/>
                  </a:lnTo>
                  <a:lnTo>
                    <a:pt x="9" y="7"/>
                  </a:lnTo>
                  <a:lnTo>
                    <a:pt x="0" y="1"/>
                  </a:lnTo>
                  <a:close/>
                </a:path>
              </a:pathLst>
            </a:custGeom>
            <a:grpFill/>
            <a:ln w="6350">
              <a:solidFill>
                <a:schemeClr val="tx2"/>
              </a:solidFill>
              <a:round/>
              <a:headEnd/>
              <a:tailEnd/>
            </a:ln>
          </p:spPr>
          <p:txBody>
            <a:bodyPr/>
            <a:lstStyle/>
            <a:p>
              <a:endParaRPr lang="en-US"/>
            </a:p>
          </p:txBody>
        </p:sp>
        <p:sp>
          <p:nvSpPr>
            <p:cNvPr id="442" name="Freeform 1548"/>
            <p:cNvSpPr>
              <a:spLocks/>
            </p:cNvSpPr>
            <p:nvPr/>
          </p:nvSpPr>
          <p:spPr bwMode="auto">
            <a:xfrm>
              <a:off x="7289961" y="4111577"/>
              <a:ext cx="19722" cy="16688"/>
            </a:xfrm>
            <a:custGeom>
              <a:avLst/>
              <a:gdLst>
                <a:gd name="T0" fmla="*/ 2147483647 w 36"/>
                <a:gd name="T1" fmla="*/ 0 h 35"/>
                <a:gd name="T2" fmla="*/ 2147483647 w 36"/>
                <a:gd name="T3" fmla="*/ 2147483647 h 35"/>
                <a:gd name="T4" fmla="*/ 2147483647 w 36"/>
                <a:gd name="T5" fmla="*/ 2147483647 h 35"/>
                <a:gd name="T6" fmla="*/ 2147483647 w 36"/>
                <a:gd name="T7" fmla="*/ 2147483647 h 35"/>
                <a:gd name="T8" fmla="*/ 2147483647 w 36"/>
                <a:gd name="T9" fmla="*/ 2147483647 h 35"/>
                <a:gd name="T10" fmla="*/ 0 w 36"/>
                <a:gd name="T11" fmla="*/ 2147483647 h 35"/>
                <a:gd name="T12" fmla="*/ 2147483647 w 36"/>
                <a:gd name="T13" fmla="*/ 0 h 35"/>
                <a:gd name="T14" fmla="*/ 0 60000 65536"/>
                <a:gd name="T15" fmla="*/ 0 60000 65536"/>
                <a:gd name="T16" fmla="*/ 0 60000 65536"/>
                <a:gd name="T17" fmla="*/ 0 60000 65536"/>
                <a:gd name="T18" fmla="*/ 0 60000 65536"/>
                <a:gd name="T19" fmla="*/ 0 60000 65536"/>
                <a:gd name="T20" fmla="*/ 0 60000 65536"/>
                <a:gd name="T21" fmla="*/ 0 w 36"/>
                <a:gd name="T22" fmla="*/ 0 h 35"/>
                <a:gd name="T23" fmla="*/ 36 w 36"/>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5">
                  <a:moveTo>
                    <a:pt x="1" y="0"/>
                  </a:moveTo>
                  <a:lnTo>
                    <a:pt x="32" y="22"/>
                  </a:lnTo>
                  <a:lnTo>
                    <a:pt x="36" y="35"/>
                  </a:lnTo>
                  <a:lnTo>
                    <a:pt x="21" y="27"/>
                  </a:lnTo>
                  <a:lnTo>
                    <a:pt x="13" y="17"/>
                  </a:lnTo>
                  <a:lnTo>
                    <a:pt x="0" y="24"/>
                  </a:lnTo>
                  <a:lnTo>
                    <a:pt x="1" y="0"/>
                  </a:lnTo>
                  <a:close/>
                </a:path>
              </a:pathLst>
            </a:custGeom>
            <a:grpFill/>
            <a:ln w="6350">
              <a:solidFill>
                <a:schemeClr val="tx2"/>
              </a:solidFill>
              <a:round/>
              <a:headEnd/>
              <a:tailEnd/>
            </a:ln>
          </p:spPr>
          <p:txBody>
            <a:bodyPr/>
            <a:lstStyle/>
            <a:p>
              <a:endParaRPr lang="en-US"/>
            </a:p>
          </p:txBody>
        </p:sp>
        <p:sp>
          <p:nvSpPr>
            <p:cNvPr id="443" name="Freeform 1549"/>
            <p:cNvSpPr>
              <a:spLocks/>
            </p:cNvSpPr>
            <p:nvPr/>
          </p:nvSpPr>
          <p:spPr bwMode="auto">
            <a:xfrm>
              <a:off x="7314235" y="4110059"/>
              <a:ext cx="30342" cy="33376"/>
            </a:xfrm>
            <a:custGeom>
              <a:avLst/>
              <a:gdLst>
                <a:gd name="T0" fmla="*/ 0 w 61"/>
                <a:gd name="T1" fmla="*/ 2147483647 h 66"/>
                <a:gd name="T2" fmla="*/ 2147483647 w 61"/>
                <a:gd name="T3" fmla="*/ 0 h 66"/>
                <a:gd name="T4" fmla="*/ 2147483647 w 61"/>
                <a:gd name="T5" fmla="*/ 2147483647 h 66"/>
                <a:gd name="T6" fmla="*/ 2147483647 w 61"/>
                <a:gd name="T7" fmla="*/ 2147483647 h 66"/>
                <a:gd name="T8" fmla="*/ 2147483647 w 61"/>
                <a:gd name="T9" fmla="*/ 2147483647 h 66"/>
                <a:gd name="T10" fmla="*/ 2147483647 w 61"/>
                <a:gd name="T11" fmla="*/ 2147483647 h 66"/>
                <a:gd name="T12" fmla="*/ 2147483647 w 61"/>
                <a:gd name="T13" fmla="*/ 2147483647 h 66"/>
                <a:gd name="T14" fmla="*/ 2147483647 w 61"/>
                <a:gd name="T15" fmla="*/ 2147483647 h 66"/>
                <a:gd name="T16" fmla="*/ 2147483647 w 61"/>
                <a:gd name="T17" fmla="*/ 2147483647 h 66"/>
                <a:gd name="T18" fmla="*/ 2147483647 w 61"/>
                <a:gd name="T19" fmla="*/ 2147483647 h 66"/>
                <a:gd name="T20" fmla="*/ 0 w 61"/>
                <a:gd name="T21" fmla="*/ 2147483647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66"/>
                <a:gd name="T35" fmla="*/ 61 w 61"/>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66">
                  <a:moveTo>
                    <a:pt x="0" y="3"/>
                  </a:moveTo>
                  <a:lnTo>
                    <a:pt x="30" y="0"/>
                  </a:lnTo>
                  <a:lnTo>
                    <a:pt x="41" y="4"/>
                  </a:lnTo>
                  <a:lnTo>
                    <a:pt x="50" y="16"/>
                  </a:lnTo>
                  <a:lnTo>
                    <a:pt x="51" y="44"/>
                  </a:lnTo>
                  <a:lnTo>
                    <a:pt x="61" y="66"/>
                  </a:lnTo>
                  <a:lnTo>
                    <a:pt x="41" y="64"/>
                  </a:lnTo>
                  <a:lnTo>
                    <a:pt x="28" y="50"/>
                  </a:lnTo>
                  <a:lnTo>
                    <a:pt x="28" y="38"/>
                  </a:lnTo>
                  <a:lnTo>
                    <a:pt x="11" y="22"/>
                  </a:lnTo>
                  <a:lnTo>
                    <a:pt x="0" y="3"/>
                  </a:lnTo>
                  <a:close/>
                </a:path>
              </a:pathLst>
            </a:custGeom>
            <a:grpFill/>
            <a:ln w="6350">
              <a:solidFill>
                <a:schemeClr val="tx2"/>
              </a:solidFill>
              <a:round/>
              <a:headEnd/>
              <a:tailEnd/>
            </a:ln>
          </p:spPr>
          <p:txBody>
            <a:bodyPr/>
            <a:lstStyle/>
            <a:p>
              <a:endParaRPr lang="en-US"/>
            </a:p>
          </p:txBody>
        </p:sp>
        <p:sp>
          <p:nvSpPr>
            <p:cNvPr id="444" name="Freeform 1550"/>
            <p:cNvSpPr>
              <a:spLocks/>
            </p:cNvSpPr>
            <p:nvPr/>
          </p:nvSpPr>
          <p:spPr bwMode="auto">
            <a:xfrm>
              <a:off x="7264170" y="4125230"/>
              <a:ext cx="22757" cy="33376"/>
            </a:xfrm>
            <a:custGeom>
              <a:avLst/>
              <a:gdLst>
                <a:gd name="T0" fmla="*/ 0 w 50"/>
                <a:gd name="T1" fmla="*/ 0 h 65"/>
                <a:gd name="T2" fmla="*/ 2147483647 w 50"/>
                <a:gd name="T3" fmla="*/ 2147483647 h 65"/>
                <a:gd name="T4" fmla="*/ 2147483647 w 50"/>
                <a:gd name="T5" fmla="*/ 2147483647 h 65"/>
                <a:gd name="T6" fmla="*/ 2147483647 w 50"/>
                <a:gd name="T7" fmla="*/ 2147483647 h 65"/>
                <a:gd name="T8" fmla="*/ 2147483647 w 50"/>
                <a:gd name="T9" fmla="*/ 2147483647 h 65"/>
                <a:gd name="T10" fmla="*/ 2147483647 w 50"/>
                <a:gd name="T11" fmla="*/ 2147483647 h 65"/>
                <a:gd name="T12" fmla="*/ 2147483647 w 50"/>
                <a:gd name="T13" fmla="*/ 2147483647 h 65"/>
                <a:gd name="T14" fmla="*/ 2147483647 w 50"/>
                <a:gd name="T15" fmla="*/ 2147483647 h 65"/>
                <a:gd name="T16" fmla="*/ 2147483647 w 50"/>
                <a:gd name="T17" fmla="*/ 2147483647 h 65"/>
                <a:gd name="T18" fmla="*/ 2147483647 w 50"/>
                <a:gd name="T19" fmla="*/ 2147483647 h 65"/>
                <a:gd name="T20" fmla="*/ 0 w 50"/>
                <a:gd name="T21" fmla="*/ 0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65"/>
                <a:gd name="T35" fmla="*/ 50 w 50"/>
                <a:gd name="T36" fmla="*/ 65 h 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65">
                  <a:moveTo>
                    <a:pt x="0" y="0"/>
                  </a:moveTo>
                  <a:lnTo>
                    <a:pt x="9" y="1"/>
                  </a:lnTo>
                  <a:lnTo>
                    <a:pt x="21" y="14"/>
                  </a:lnTo>
                  <a:lnTo>
                    <a:pt x="50" y="17"/>
                  </a:lnTo>
                  <a:lnTo>
                    <a:pt x="48" y="35"/>
                  </a:lnTo>
                  <a:lnTo>
                    <a:pt x="29" y="51"/>
                  </a:lnTo>
                  <a:lnTo>
                    <a:pt x="9" y="58"/>
                  </a:lnTo>
                  <a:lnTo>
                    <a:pt x="4" y="65"/>
                  </a:lnTo>
                  <a:lnTo>
                    <a:pt x="1" y="46"/>
                  </a:lnTo>
                  <a:lnTo>
                    <a:pt x="6" y="14"/>
                  </a:lnTo>
                  <a:lnTo>
                    <a:pt x="0" y="0"/>
                  </a:lnTo>
                  <a:close/>
                </a:path>
              </a:pathLst>
            </a:custGeom>
            <a:grpFill/>
            <a:ln w="6350">
              <a:solidFill>
                <a:schemeClr val="tx2"/>
              </a:solidFill>
              <a:round/>
              <a:headEnd/>
              <a:tailEnd/>
            </a:ln>
          </p:spPr>
          <p:txBody>
            <a:bodyPr/>
            <a:lstStyle/>
            <a:p>
              <a:endParaRPr lang="en-US"/>
            </a:p>
          </p:txBody>
        </p:sp>
        <p:sp>
          <p:nvSpPr>
            <p:cNvPr id="445" name="Freeform 1551"/>
            <p:cNvSpPr>
              <a:spLocks/>
            </p:cNvSpPr>
            <p:nvPr/>
          </p:nvSpPr>
          <p:spPr bwMode="auto">
            <a:xfrm>
              <a:off x="7273273" y="4146469"/>
              <a:ext cx="22757" cy="40963"/>
            </a:xfrm>
            <a:custGeom>
              <a:avLst/>
              <a:gdLst>
                <a:gd name="T0" fmla="*/ 2147483647 w 47"/>
                <a:gd name="T1" fmla="*/ 2147483647 h 83"/>
                <a:gd name="T2" fmla="*/ 2147483647 w 47"/>
                <a:gd name="T3" fmla="*/ 0 h 83"/>
                <a:gd name="T4" fmla="*/ 2147483647 w 47"/>
                <a:gd name="T5" fmla="*/ 2147483647 h 83"/>
                <a:gd name="T6" fmla="*/ 2147483647 w 47"/>
                <a:gd name="T7" fmla="*/ 2147483647 h 83"/>
                <a:gd name="T8" fmla="*/ 2147483647 w 47"/>
                <a:gd name="T9" fmla="*/ 2147483647 h 83"/>
                <a:gd name="T10" fmla="*/ 2147483647 w 47"/>
                <a:gd name="T11" fmla="*/ 2147483647 h 83"/>
                <a:gd name="T12" fmla="*/ 2147483647 w 47"/>
                <a:gd name="T13" fmla="*/ 2147483647 h 83"/>
                <a:gd name="T14" fmla="*/ 0 w 47"/>
                <a:gd name="T15" fmla="*/ 2147483647 h 83"/>
                <a:gd name="T16" fmla="*/ 2147483647 w 47"/>
                <a:gd name="T17" fmla="*/ 2147483647 h 83"/>
                <a:gd name="T18" fmla="*/ 2147483647 w 47"/>
                <a:gd name="T19" fmla="*/ 2147483647 h 83"/>
                <a:gd name="T20" fmla="*/ 2147483647 w 47"/>
                <a:gd name="T21" fmla="*/ 2147483647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83"/>
                <a:gd name="T35" fmla="*/ 47 w 4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83">
                  <a:moveTo>
                    <a:pt x="23" y="5"/>
                  </a:moveTo>
                  <a:lnTo>
                    <a:pt x="32" y="0"/>
                  </a:lnTo>
                  <a:lnTo>
                    <a:pt x="47" y="3"/>
                  </a:lnTo>
                  <a:lnTo>
                    <a:pt x="47" y="10"/>
                  </a:lnTo>
                  <a:lnTo>
                    <a:pt x="34" y="48"/>
                  </a:lnTo>
                  <a:lnTo>
                    <a:pt x="35" y="78"/>
                  </a:lnTo>
                  <a:lnTo>
                    <a:pt x="28" y="83"/>
                  </a:lnTo>
                  <a:lnTo>
                    <a:pt x="0" y="54"/>
                  </a:lnTo>
                  <a:lnTo>
                    <a:pt x="3" y="44"/>
                  </a:lnTo>
                  <a:lnTo>
                    <a:pt x="14" y="40"/>
                  </a:lnTo>
                  <a:lnTo>
                    <a:pt x="23" y="5"/>
                  </a:lnTo>
                  <a:close/>
                </a:path>
              </a:pathLst>
            </a:custGeom>
            <a:grpFill/>
            <a:ln w="6350">
              <a:solidFill>
                <a:schemeClr val="tx2"/>
              </a:solidFill>
              <a:round/>
              <a:headEnd/>
              <a:tailEnd/>
            </a:ln>
          </p:spPr>
          <p:txBody>
            <a:bodyPr/>
            <a:lstStyle/>
            <a:p>
              <a:endParaRPr lang="en-US"/>
            </a:p>
          </p:txBody>
        </p:sp>
        <p:sp>
          <p:nvSpPr>
            <p:cNvPr id="446" name="Freeform 1552"/>
            <p:cNvSpPr>
              <a:spLocks/>
            </p:cNvSpPr>
            <p:nvPr/>
          </p:nvSpPr>
          <p:spPr bwMode="auto">
            <a:xfrm>
              <a:off x="7314235" y="4134333"/>
              <a:ext cx="18206" cy="31860"/>
            </a:xfrm>
            <a:custGeom>
              <a:avLst/>
              <a:gdLst>
                <a:gd name="T0" fmla="*/ 0 w 40"/>
                <a:gd name="T1" fmla="*/ 0 h 63"/>
                <a:gd name="T2" fmla="*/ 2147483647 w 40"/>
                <a:gd name="T3" fmla="*/ 2147483647 h 63"/>
                <a:gd name="T4" fmla="*/ 2147483647 w 40"/>
                <a:gd name="T5" fmla="*/ 2147483647 h 63"/>
                <a:gd name="T6" fmla="*/ 2147483647 w 40"/>
                <a:gd name="T7" fmla="*/ 2147483647 h 63"/>
                <a:gd name="T8" fmla="*/ 2147483647 w 40"/>
                <a:gd name="T9" fmla="*/ 2147483647 h 63"/>
                <a:gd name="T10" fmla="*/ 2147483647 w 40"/>
                <a:gd name="T11" fmla="*/ 2147483647 h 63"/>
                <a:gd name="T12" fmla="*/ 2147483647 w 40"/>
                <a:gd name="T13" fmla="*/ 2147483647 h 63"/>
                <a:gd name="T14" fmla="*/ 2147483647 w 40"/>
                <a:gd name="T15" fmla="*/ 2147483647 h 63"/>
                <a:gd name="T16" fmla="*/ 2147483647 w 40"/>
                <a:gd name="T17" fmla="*/ 2147483647 h 63"/>
                <a:gd name="T18" fmla="*/ 2147483647 w 40"/>
                <a:gd name="T19" fmla="*/ 2147483647 h 63"/>
                <a:gd name="T20" fmla="*/ 2147483647 w 40"/>
                <a:gd name="T21" fmla="*/ 2147483647 h 63"/>
                <a:gd name="T22" fmla="*/ 0 w 40"/>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63"/>
                <a:gd name="T38" fmla="*/ 40 w 4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63">
                  <a:moveTo>
                    <a:pt x="0" y="0"/>
                  </a:moveTo>
                  <a:lnTo>
                    <a:pt x="5" y="6"/>
                  </a:lnTo>
                  <a:lnTo>
                    <a:pt x="24" y="6"/>
                  </a:lnTo>
                  <a:lnTo>
                    <a:pt x="30" y="14"/>
                  </a:lnTo>
                  <a:lnTo>
                    <a:pt x="30" y="33"/>
                  </a:lnTo>
                  <a:lnTo>
                    <a:pt x="40" y="53"/>
                  </a:lnTo>
                  <a:lnTo>
                    <a:pt x="31" y="54"/>
                  </a:lnTo>
                  <a:lnTo>
                    <a:pt x="30" y="63"/>
                  </a:lnTo>
                  <a:lnTo>
                    <a:pt x="20" y="53"/>
                  </a:lnTo>
                  <a:lnTo>
                    <a:pt x="16" y="24"/>
                  </a:lnTo>
                  <a:lnTo>
                    <a:pt x="7" y="26"/>
                  </a:lnTo>
                  <a:lnTo>
                    <a:pt x="0" y="0"/>
                  </a:lnTo>
                  <a:close/>
                </a:path>
              </a:pathLst>
            </a:custGeom>
            <a:grpFill/>
            <a:ln w="6350">
              <a:solidFill>
                <a:schemeClr val="tx2"/>
              </a:solidFill>
              <a:round/>
              <a:headEnd/>
              <a:tailEnd/>
            </a:ln>
          </p:spPr>
          <p:txBody>
            <a:bodyPr/>
            <a:lstStyle/>
            <a:p>
              <a:endParaRPr lang="en-US"/>
            </a:p>
          </p:txBody>
        </p:sp>
        <p:sp>
          <p:nvSpPr>
            <p:cNvPr id="447" name="Freeform 1553"/>
            <p:cNvSpPr>
              <a:spLocks/>
            </p:cNvSpPr>
            <p:nvPr/>
          </p:nvSpPr>
          <p:spPr bwMode="auto">
            <a:xfrm>
              <a:off x="7292996" y="4140402"/>
              <a:ext cx="15172" cy="36411"/>
            </a:xfrm>
            <a:custGeom>
              <a:avLst/>
              <a:gdLst>
                <a:gd name="T0" fmla="*/ 2147483647 w 29"/>
                <a:gd name="T1" fmla="*/ 0 h 75"/>
                <a:gd name="T2" fmla="*/ 2147483647 w 29"/>
                <a:gd name="T3" fmla="*/ 2147483647 h 75"/>
                <a:gd name="T4" fmla="*/ 2147483647 w 29"/>
                <a:gd name="T5" fmla="*/ 2147483647 h 75"/>
                <a:gd name="T6" fmla="*/ 2147483647 w 29"/>
                <a:gd name="T7" fmla="*/ 2147483647 h 75"/>
                <a:gd name="T8" fmla="*/ 0 w 29"/>
                <a:gd name="T9" fmla="*/ 2147483647 h 75"/>
                <a:gd name="T10" fmla="*/ 2147483647 w 29"/>
                <a:gd name="T11" fmla="*/ 0 h 75"/>
                <a:gd name="T12" fmla="*/ 0 60000 65536"/>
                <a:gd name="T13" fmla="*/ 0 60000 65536"/>
                <a:gd name="T14" fmla="*/ 0 60000 65536"/>
                <a:gd name="T15" fmla="*/ 0 60000 65536"/>
                <a:gd name="T16" fmla="*/ 0 60000 65536"/>
                <a:gd name="T17" fmla="*/ 0 60000 65536"/>
                <a:gd name="T18" fmla="*/ 0 w 29"/>
                <a:gd name="T19" fmla="*/ 0 h 75"/>
                <a:gd name="T20" fmla="*/ 29 w 29"/>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29" h="75">
                  <a:moveTo>
                    <a:pt x="28" y="0"/>
                  </a:moveTo>
                  <a:lnTo>
                    <a:pt x="29" y="35"/>
                  </a:lnTo>
                  <a:lnTo>
                    <a:pt x="18" y="43"/>
                  </a:lnTo>
                  <a:lnTo>
                    <a:pt x="2" y="75"/>
                  </a:lnTo>
                  <a:lnTo>
                    <a:pt x="0" y="59"/>
                  </a:lnTo>
                  <a:lnTo>
                    <a:pt x="28" y="0"/>
                  </a:lnTo>
                  <a:close/>
                </a:path>
              </a:pathLst>
            </a:custGeom>
            <a:grpFill/>
            <a:ln w="6350">
              <a:solidFill>
                <a:schemeClr val="tx2"/>
              </a:solidFill>
              <a:round/>
              <a:headEnd/>
              <a:tailEnd/>
            </a:ln>
          </p:spPr>
          <p:txBody>
            <a:bodyPr/>
            <a:lstStyle/>
            <a:p>
              <a:endParaRPr lang="en-US"/>
            </a:p>
          </p:txBody>
        </p:sp>
        <p:sp>
          <p:nvSpPr>
            <p:cNvPr id="448" name="Freeform 1554"/>
            <p:cNvSpPr>
              <a:spLocks/>
            </p:cNvSpPr>
            <p:nvPr/>
          </p:nvSpPr>
          <p:spPr bwMode="auto">
            <a:xfrm>
              <a:off x="7303615" y="4163159"/>
              <a:ext cx="16689" cy="12137"/>
            </a:xfrm>
            <a:custGeom>
              <a:avLst/>
              <a:gdLst>
                <a:gd name="T0" fmla="*/ 0 w 33"/>
                <a:gd name="T1" fmla="*/ 2147483647 h 24"/>
                <a:gd name="T2" fmla="*/ 2147483647 w 33"/>
                <a:gd name="T3" fmla="*/ 0 h 24"/>
                <a:gd name="T4" fmla="*/ 2147483647 w 33"/>
                <a:gd name="T5" fmla="*/ 2147483647 h 24"/>
                <a:gd name="T6" fmla="*/ 2147483647 w 33"/>
                <a:gd name="T7" fmla="*/ 2147483647 h 24"/>
                <a:gd name="T8" fmla="*/ 2147483647 w 33"/>
                <a:gd name="T9" fmla="*/ 2147483647 h 24"/>
                <a:gd name="T10" fmla="*/ 0 w 33"/>
                <a:gd name="T11" fmla="*/ 2147483647 h 24"/>
                <a:gd name="T12" fmla="*/ 0 60000 65536"/>
                <a:gd name="T13" fmla="*/ 0 60000 65536"/>
                <a:gd name="T14" fmla="*/ 0 60000 65536"/>
                <a:gd name="T15" fmla="*/ 0 60000 65536"/>
                <a:gd name="T16" fmla="*/ 0 60000 65536"/>
                <a:gd name="T17" fmla="*/ 0 60000 65536"/>
                <a:gd name="T18" fmla="*/ 0 w 33"/>
                <a:gd name="T19" fmla="*/ 0 h 24"/>
                <a:gd name="T20" fmla="*/ 33 w 33"/>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3" h="24">
                  <a:moveTo>
                    <a:pt x="0" y="14"/>
                  </a:moveTo>
                  <a:lnTo>
                    <a:pt x="17" y="0"/>
                  </a:lnTo>
                  <a:lnTo>
                    <a:pt x="33" y="3"/>
                  </a:lnTo>
                  <a:lnTo>
                    <a:pt x="29" y="22"/>
                  </a:lnTo>
                  <a:lnTo>
                    <a:pt x="6" y="24"/>
                  </a:lnTo>
                  <a:lnTo>
                    <a:pt x="0" y="14"/>
                  </a:lnTo>
                  <a:close/>
                </a:path>
              </a:pathLst>
            </a:custGeom>
            <a:grpFill/>
            <a:ln w="6350">
              <a:solidFill>
                <a:schemeClr val="tx2"/>
              </a:solidFill>
              <a:round/>
              <a:headEnd/>
              <a:tailEnd/>
            </a:ln>
          </p:spPr>
          <p:txBody>
            <a:bodyPr/>
            <a:lstStyle/>
            <a:p>
              <a:endParaRPr lang="en-US"/>
            </a:p>
          </p:txBody>
        </p:sp>
        <p:sp>
          <p:nvSpPr>
            <p:cNvPr id="449" name="Freeform 1555"/>
            <p:cNvSpPr>
              <a:spLocks/>
            </p:cNvSpPr>
            <p:nvPr/>
          </p:nvSpPr>
          <p:spPr bwMode="auto">
            <a:xfrm>
              <a:off x="7262654" y="4173778"/>
              <a:ext cx="100130" cy="86476"/>
            </a:xfrm>
            <a:custGeom>
              <a:avLst/>
              <a:gdLst>
                <a:gd name="T0" fmla="*/ 2147483647 w 200"/>
                <a:gd name="T1" fmla="*/ 2147483647 h 178"/>
                <a:gd name="T2" fmla="*/ 2147483647 w 200"/>
                <a:gd name="T3" fmla="*/ 0 h 178"/>
                <a:gd name="T4" fmla="*/ 2147483647 w 200"/>
                <a:gd name="T5" fmla="*/ 2147483647 h 178"/>
                <a:gd name="T6" fmla="*/ 2147483647 w 200"/>
                <a:gd name="T7" fmla="*/ 2147483647 h 178"/>
                <a:gd name="T8" fmla="*/ 2147483647 w 200"/>
                <a:gd name="T9" fmla="*/ 2147483647 h 178"/>
                <a:gd name="T10" fmla="*/ 2147483647 w 200"/>
                <a:gd name="T11" fmla="*/ 2147483647 h 178"/>
                <a:gd name="T12" fmla="*/ 2147483647 w 200"/>
                <a:gd name="T13" fmla="*/ 2147483647 h 178"/>
                <a:gd name="T14" fmla="*/ 2147483647 w 200"/>
                <a:gd name="T15" fmla="*/ 2147483647 h 178"/>
                <a:gd name="T16" fmla="*/ 2147483647 w 200"/>
                <a:gd name="T17" fmla="*/ 2147483647 h 178"/>
                <a:gd name="T18" fmla="*/ 2147483647 w 200"/>
                <a:gd name="T19" fmla="*/ 2147483647 h 178"/>
                <a:gd name="T20" fmla="*/ 2147483647 w 200"/>
                <a:gd name="T21" fmla="*/ 2147483647 h 178"/>
                <a:gd name="T22" fmla="*/ 2147483647 w 200"/>
                <a:gd name="T23" fmla="*/ 2147483647 h 178"/>
                <a:gd name="T24" fmla="*/ 2147483647 w 200"/>
                <a:gd name="T25" fmla="*/ 2147483647 h 178"/>
                <a:gd name="T26" fmla="*/ 2147483647 w 200"/>
                <a:gd name="T27" fmla="*/ 2147483647 h 178"/>
                <a:gd name="T28" fmla="*/ 2147483647 w 200"/>
                <a:gd name="T29" fmla="*/ 2147483647 h 178"/>
                <a:gd name="T30" fmla="*/ 2147483647 w 200"/>
                <a:gd name="T31" fmla="*/ 2147483647 h 178"/>
                <a:gd name="T32" fmla="*/ 2147483647 w 200"/>
                <a:gd name="T33" fmla="*/ 2147483647 h 178"/>
                <a:gd name="T34" fmla="*/ 2147483647 w 200"/>
                <a:gd name="T35" fmla="*/ 2147483647 h 178"/>
                <a:gd name="T36" fmla="*/ 2147483647 w 200"/>
                <a:gd name="T37" fmla="*/ 2147483647 h 178"/>
                <a:gd name="T38" fmla="*/ 2147483647 w 200"/>
                <a:gd name="T39" fmla="*/ 2147483647 h 178"/>
                <a:gd name="T40" fmla="*/ 2147483647 w 200"/>
                <a:gd name="T41" fmla="*/ 2147483647 h 178"/>
                <a:gd name="T42" fmla="*/ 2147483647 w 200"/>
                <a:gd name="T43" fmla="*/ 2147483647 h 178"/>
                <a:gd name="T44" fmla="*/ 2147483647 w 200"/>
                <a:gd name="T45" fmla="*/ 2147483647 h 178"/>
                <a:gd name="T46" fmla="*/ 2147483647 w 200"/>
                <a:gd name="T47" fmla="*/ 2147483647 h 178"/>
                <a:gd name="T48" fmla="*/ 2147483647 w 200"/>
                <a:gd name="T49" fmla="*/ 2147483647 h 178"/>
                <a:gd name="T50" fmla="*/ 2147483647 w 200"/>
                <a:gd name="T51" fmla="*/ 2147483647 h 178"/>
                <a:gd name="T52" fmla="*/ 2147483647 w 200"/>
                <a:gd name="T53" fmla="*/ 2147483647 h 178"/>
                <a:gd name="T54" fmla="*/ 2147483647 w 200"/>
                <a:gd name="T55" fmla="*/ 2147483647 h 178"/>
                <a:gd name="T56" fmla="*/ 2147483647 w 200"/>
                <a:gd name="T57" fmla="*/ 2147483647 h 178"/>
                <a:gd name="T58" fmla="*/ 2147483647 w 200"/>
                <a:gd name="T59" fmla="*/ 2147483647 h 178"/>
                <a:gd name="T60" fmla="*/ 2147483647 w 200"/>
                <a:gd name="T61" fmla="*/ 2147483647 h 178"/>
                <a:gd name="T62" fmla="*/ 2147483647 w 200"/>
                <a:gd name="T63" fmla="*/ 2147483647 h 178"/>
                <a:gd name="T64" fmla="*/ 2147483647 w 200"/>
                <a:gd name="T65" fmla="*/ 2147483647 h 178"/>
                <a:gd name="T66" fmla="*/ 2147483647 w 200"/>
                <a:gd name="T67" fmla="*/ 2147483647 h 178"/>
                <a:gd name="T68" fmla="*/ 2147483647 w 200"/>
                <a:gd name="T69" fmla="*/ 2147483647 h 178"/>
                <a:gd name="T70" fmla="*/ 2147483647 w 200"/>
                <a:gd name="T71" fmla="*/ 2147483647 h 178"/>
                <a:gd name="T72" fmla="*/ 0 w 200"/>
                <a:gd name="T73" fmla="*/ 2147483647 h 178"/>
                <a:gd name="T74" fmla="*/ 2147483647 w 200"/>
                <a:gd name="T75" fmla="*/ 2147483647 h 178"/>
                <a:gd name="T76" fmla="*/ 2147483647 w 200"/>
                <a:gd name="T77" fmla="*/ 2147483647 h 178"/>
                <a:gd name="T78" fmla="*/ 2147483647 w 200"/>
                <a:gd name="T79" fmla="*/ 2147483647 h 178"/>
                <a:gd name="T80" fmla="*/ 2147483647 w 200"/>
                <a:gd name="T81" fmla="*/ 2147483647 h 178"/>
                <a:gd name="T82" fmla="*/ 2147483647 w 200"/>
                <a:gd name="T83" fmla="*/ 2147483647 h 178"/>
                <a:gd name="T84" fmla="*/ 2147483647 w 200"/>
                <a:gd name="T85" fmla="*/ 2147483647 h 178"/>
                <a:gd name="T86" fmla="*/ 2147483647 w 200"/>
                <a:gd name="T87" fmla="*/ 2147483647 h 178"/>
                <a:gd name="T88" fmla="*/ 2147483647 w 200"/>
                <a:gd name="T89" fmla="*/ 2147483647 h 178"/>
                <a:gd name="T90" fmla="*/ 2147483647 w 200"/>
                <a:gd name="T91" fmla="*/ 2147483647 h 178"/>
                <a:gd name="T92" fmla="*/ 2147483647 w 200"/>
                <a:gd name="T93" fmla="*/ 2147483647 h 178"/>
                <a:gd name="T94" fmla="*/ 2147483647 w 200"/>
                <a:gd name="T95" fmla="*/ 2147483647 h 178"/>
                <a:gd name="T96" fmla="*/ 2147483647 w 200"/>
                <a:gd name="T97" fmla="*/ 2147483647 h 178"/>
                <a:gd name="T98" fmla="*/ 2147483647 w 200"/>
                <a:gd name="T99" fmla="*/ 2147483647 h 178"/>
                <a:gd name="T100" fmla="*/ 2147483647 w 200"/>
                <a:gd name="T101" fmla="*/ 2147483647 h 178"/>
                <a:gd name="T102" fmla="*/ 2147483647 w 200"/>
                <a:gd name="T103" fmla="*/ 2147483647 h 178"/>
                <a:gd name="T104" fmla="*/ 2147483647 w 200"/>
                <a:gd name="T105" fmla="*/ 2147483647 h 17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
                <a:gd name="T160" fmla="*/ 0 h 178"/>
                <a:gd name="T161" fmla="*/ 200 w 200"/>
                <a:gd name="T162" fmla="*/ 178 h 17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 h="178">
                  <a:moveTo>
                    <a:pt x="150" y="1"/>
                  </a:moveTo>
                  <a:lnTo>
                    <a:pt x="157" y="0"/>
                  </a:lnTo>
                  <a:lnTo>
                    <a:pt x="184" y="26"/>
                  </a:lnTo>
                  <a:lnTo>
                    <a:pt x="189" y="40"/>
                  </a:lnTo>
                  <a:lnTo>
                    <a:pt x="182" y="49"/>
                  </a:lnTo>
                  <a:lnTo>
                    <a:pt x="190" y="54"/>
                  </a:lnTo>
                  <a:lnTo>
                    <a:pt x="200" y="97"/>
                  </a:lnTo>
                  <a:lnTo>
                    <a:pt x="200" y="112"/>
                  </a:lnTo>
                  <a:lnTo>
                    <a:pt x="187" y="127"/>
                  </a:lnTo>
                  <a:lnTo>
                    <a:pt x="187" y="146"/>
                  </a:lnTo>
                  <a:lnTo>
                    <a:pt x="182" y="141"/>
                  </a:lnTo>
                  <a:lnTo>
                    <a:pt x="178" y="118"/>
                  </a:lnTo>
                  <a:lnTo>
                    <a:pt x="170" y="105"/>
                  </a:lnTo>
                  <a:lnTo>
                    <a:pt x="163" y="107"/>
                  </a:lnTo>
                  <a:lnTo>
                    <a:pt x="152" y="125"/>
                  </a:lnTo>
                  <a:lnTo>
                    <a:pt x="150" y="136"/>
                  </a:lnTo>
                  <a:lnTo>
                    <a:pt x="162" y="158"/>
                  </a:lnTo>
                  <a:lnTo>
                    <a:pt x="152" y="178"/>
                  </a:lnTo>
                  <a:lnTo>
                    <a:pt x="147" y="175"/>
                  </a:lnTo>
                  <a:lnTo>
                    <a:pt x="144" y="161"/>
                  </a:lnTo>
                  <a:lnTo>
                    <a:pt x="129" y="167"/>
                  </a:lnTo>
                  <a:lnTo>
                    <a:pt x="105" y="156"/>
                  </a:lnTo>
                  <a:lnTo>
                    <a:pt x="99" y="149"/>
                  </a:lnTo>
                  <a:lnTo>
                    <a:pt x="89" y="117"/>
                  </a:lnTo>
                  <a:lnTo>
                    <a:pt x="98" y="99"/>
                  </a:lnTo>
                  <a:lnTo>
                    <a:pt x="75" y="81"/>
                  </a:lnTo>
                  <a:lnTo>
                    <a:pt x="70" y="82"/>
                  </a:lnTo>
                  <a:lnTo>
                    <a:pt x="63" y="98"/>
                  </a:lnTo>
                  <a:lnTo>
                    <a:pt x="54" y="96"/>
                  </a:lnTo>
                  <a:lnTo>
                    <a:pt x="54" y="89"/>
                  </a:lnTo>
                  <a:lnTo>
                    <a:pt x="41" y="104"/>
                  </a:lnTo>
                  <a:lnTo>
                    <a:pt x="36" y="87"/>
                  </a:lnTo>
                  <a:lnTo>
                    <a:pt x="30" y="87"/>
                  </a:lnTo>
                  <a:lnTo>
                    <a:pt x="21" y="98"/>
                  </a:lnTo>
                  <a:lnTo>
                    <a:pt x="12" y="121"/>
                  </a:lnTo>
                  <a:lnTo>
                    <a:pt x="3" y="121"/>
                  </a:lnTo>
                  <a:lnTo>
                    <a:pt x="0" y="113"/>
                  </a:lnTo>
                  <a:lnTo>
                    <a:pt x="9" y="82"/>
                  </a:lnTo>
                  <a:lnTo>
                    <a:pt x="16" y="73"/>
                  </a:lnTo>
                  <a:lnTo>
                    <a:pt x="41" y="67"/>
                  </a:lnTo>
                  <a:lnTo>
                    <a:pt x="43" y="60"/>
                  </a:lnTo>
                  <a:lnTo>
                    <a:pt x="62" y="44"/>
                  </a:lnTo>
                  <a:lnTo>
                    <a:pt x="77" y="49"/>
                  </a:lnTo>
                  <a:lnTo>
                    <a:pt x="81" y="60"/>
                  </a:lnTo>
                  <a:lnTo>
                    <a:pt x="77" y="74"/>
                  </a:lnTo>
                  <a:lnTo>
                    <a:pt x="94" y="67"/>
                  </a:lnTo>
                  <a:lnTo>
                    <a:pt x="100" y="54"/>
                  </a:lnTo>
                  <a:lnTo>
                    <a:pt x="108" y="49"/>
                  </a:lnTo>
                  <a:lnTo>
                    <a:pt x="115" y="51"/>
                  </a:lnTo>
                  <a:lnTo>
                    <a:pt x="124" y="33"/>
                  </a:lnTo>
                  <a:lnTo>
                    <a:pt x="133" y="36"/>
                  </a:lnTo>
                  <a:lnTo>
                    <a:pt x="152" y="30"/>
                  </a:lnTo>
                  <a:lnTo>
                    <a:pt x="150" y="1"/>
                  </a:lnTo>
                  <a:close/>
                </a:path>
              </a:pathLst>
            </a:custGeom>
            <a:grpFill/>
            <a:ln w="6350">
              <a:solidFill>
                <a:schemeClr val="tx2"/>
              </a:solidFill>
              <a:round/>
              <a:headEnd/>
              <a:tailEnd/>
            </a:ln>
          </p:spPr>
          <p:txBody>
            <a:bodyPr/>
            <a:lstStyle/>
            <a:p>
              <a:endParaRPr lang="en-US"/>
            </a:p>
          </p:txBody>
        </p:sp>
        <p:sp>
          <p:nvSpPr>
            <p:cNvPr id="450" name="Freeform 1556"/>
            <p:cNvSpPr>
              <a:spLocks/>
            </p:cNvSpPr>
            <p:nvPr/>
          </p:nvSpPr>
          <p:spPr bwMode="auto">
            <a:xfrm>
              <a:off x="7261135" y="4239015"/>
              <a:ext cx="9103" cy="4550"/>
            </a:xfrm>
            <a:custGeom>
              <a:avLst/>
              <a:gdLst>
                <a:gd name="T0" fmla="*/ 0 w 20"/>
                <a:gd name="T1" fmla="*/ 2147483647 h 11"/>
                <a:gd name="T2" fmla="*/ 2147483647 w 20"/>
                <a:gd name="T3" fmla="*/ 0 h 11"/>
                <a:gd name="T4" fmla="*/ 2147483647 w 20"/>
                <a:gd name="T5" fmla="*/ 2147483647 h 11"/>
                <a:gd name="T6" fmla="*/ 2147483647 w 20"/>
                <a:gd name="T7" fmla="*/ 2147483647 h 11"/>
                <a:gd name="T8" fmla="*/ 0 w 20"/>
                <a:gd name="T9" fmla="*/ 2147483647 h 11"/>
                <a:gd name="T10" fmla="*/ 0 60000 65536"/>
                <a:gd name="T11" fmla="*/ 0 60000 65536"/>
                <a:gd name="T12" fmla="*/ 0 60000 65536"/>
                <a:gd name="T13" fmla="*/ 0 60000 65536"/>
                <a:gd name="T14" fmla="*/ 0 60000 65536"/>
                <a:gd name="T15" fmla="*/ 0 w 20"/>
                <a:gd name="T16" fmla="*/ 0 h 11"/>
                <a:gd name="T17" fmla="*/ 20 w 20"/>
                <a:gd name="T18" fmla="*/ 11 h 11"/>
              </a:gdLst>
              <a:ahLst/>
              <a:cxnLst>
                <a:cxn ang="T10">
                  <a:pos x="T0" y="T1"/>
                </a:cxn>
                <a:cxn ang="T11">
                  <a:pos x="T2" y="T3"/>
                </a:cxn>
                <a:cxn ang="T12">
                  <a:pos x="T4" y="T5"/>
                </a:cxn>
                <a:cxn ang="T13">
                  <a:pos x="T6" y="T7"/>
                </a:cxn>
                <a:cxn ang="T14">
                  <a:pos x="T8" y="T9"/>
                </a:cxn>
              </a:cxnLst>
              <a:rect l="T15" t="T16" r="T17" b="T18"/>
              <a:pathLst>
                <a:path w="20" h="11">
                  <a:moveTo>
                    <a:pt x="0" y="3"/>
                  </a:moveTo>
                  <a:lnTo>
                    <a:pt x="10" y="0"/>
                  </a:lnTo>
                  <a:lnTo>
                    <a:pt x="20" y="5"/>
                  </a:lnTo>
                  <a:lnTo>
                    <a:pt x="7" y="11"/>
                  </a:lnTo>
                  <a:lnTo>
                    <a:pt x="0" y="3"/>
                  </a:lnTo>
                  <a:close/>
                </a:path>
              </a:pathLst>
            </a:custGeom>
            <a:grpFill/>
            <a:ln w="6350">
              <a:solidFill>
                <a:schemeClr val="tx2"/>
              </a:solidFill>
              <a:round/>
              <a:headEnd/>
              <a:tailEnd/>
            </a:ln>
          </p:spPr>
          <p:txBody>
            <a:bodyPr/>
            <a:lstStyle/>
            <a:p>
              <a:endParaRPr lang="en-US"/>
            </a:p>
          </p:txBody>
        </p:sp>
        <p:sp>
          <p:nvSpPr>
            <p:cNvPr id="451" name="Freeform 1557"/>
            <p:cNvSpPr>
              <a:spLocks/>
            </p:cNvSpPr>
            <p:nvPr/>
          </p:nvSpPr>
          <p:spPr bwMode="auto">
            <a:xfrm>
              <a:off x="7242931" y="4252668"/>
              <a:ext cx="9103" cy="4551"/>
            </a:xfrm>
            <a:custGeom>
              <a:avLst/>
              <a:gdLst>
                <a:gd name="T0" fmla="*/ 0 w 20"/>
                <a:gd name="T1" fmla="*/ 2147483647 h 9"/>
                <a:gd name="T2" fmla="*/ 2147483647 w 20"/>
                <a:gd name="T3" fmla="*/ 0 h 9"/>
                <a:gd name="T4" fmla="*/ 2147483647 w 20"/>
                <a:gd name="T5" fmla="*/ 2147483647 h 9"/>
                <a:gd name="T6" fmla="*/ 2147483647 w 20"/>
                <a:gd name="T7" fmla="*/ 2147483647 h 9"/>
                <a:gd name="T8" fmla="*/ 0 w 20"/>
                <a:gd name="T9" fmla="*/ 2147483647 h 9"/>
                <a:gd name="T10" fmla="*/ 0 60000 65536"/>
                <a:gd name="T11" fmla="*/ 0 60000 65536"/>
                <a:gd name="T12" fmla="*/ 0 60000 65536"/>
                <a:gd name="T13" fmla="*/ 0 60000 65536"/>
                <a:gd name="T14" fmla="*/ 0 60000 65536"/>
                <a:gd name="T15" fmla="*/ 0 w 20"/>
                <a:gd name="T16" fmla="*/ 0 h 9"/>
                <a:gd name="T17" fmla="*/ 20 w 20"/>
                <a:gd name="T18" fmla="*/ 9 h 9"/>
              </a:gdLst>
              <a:ahLst/>
              <a:cxnLst>
                <a:cxn ang="T10">
                  <a:pos x="T0" y="T1"/>
                </a:cxn>
                <a:cxn ang="T11">
                  <a:pos x="T2" y="T3"/>
                </a:cxn>
                <a:cxn ang="T12">
                  <a:pos x="T4" y="T5"/>
                </a:cxn>
                <a:cxn ang="T13">
                  <a:pos x="T6" y="T7"/>
                </a:cxn>
                <a:cxn ang="T14">
                  <a:pos x="T8" y="T9"/>
                </a:cxn>
              </a:cxnLst>
              <a:rect l="T15" t="T16" r="T17" b="T18"/>
              <a:pathLst>
                <a:path w="20" h="9">
                  <a:moveTo>
                    <a:pt x="0" y="7"/>
                  </a:moveTo>
                  <a:lnTo>
                    <a:pt x="6" y="0"/>
                  </a:lnTo>
                  <a:lnTo>
                    <a:pt x="20" y="4"/>
                  </a:lnTo>
                  <a:lnTo>
                    <a:pt x="17" y="9"/>
                  </a:lnTo>
                  <a:lnTo>
                    <a:pt x="0" y="7"/>
                  </a:lnTo>
                  <a:close/>
                </a:path>
              </a:pathLst>
            </a:custGeom>
            <a:grpFill/>
            <a:ln w="6350">
              <a:solidFill>
                <a:schemeClr val="tx2"/>
              </a:solidFill>
              <a:round/>
              <a:headEnd/>
              <a:tailEnd/>
            </a:ln>
          </p:spPr>
          <p:txBody>
            <a:bodyPr/>
            <a:lstStyle/>
            <a:p>
              <a:endParaRPr lang="en-US"/>
            </a:p>
          </p:txBody>
        </p:sp>
        <p:sp>
          <p:nvSpPr>
            <p:cNvPr id="452" name="Freeform 1558"/>
            <p:cNvSpPr>
              <a:spLocks/>
            </p:cNvSpPr>
            <p:nvPr/>
          </p:nvSpPr>
          <p:spPr bwMode="auto">
            <a:xfrm>
              <a:off x="7220174" y="4269357"/>
              <a:ext cx="7585" cy="4550"/>
            </a:xfrm>
            <a:custGeom>
              <a:avLst/>
              <a:gdLst>
                <a:gd name="T0" fmla="*/ 0 w 17"/>
                <a:gd name="T1" fmla="*/ 2147483647 h 10"/>
                <a:gd name="T2" fmla="*/ 2147483647 w 17"/>
                <a:gd name="T3" fmla="*/ 2147483647 h 10"/>
                <a:gd name="T4" fmla="*/ 2147483647 w 17"/>
                <a:gd name="T5" fmla="*/ 0 h 10"/>
                <a:gd name="T6" fmla="*/ 2147483647 w 17"/>
                <a:gd name="T7" fmla="*/ 2147483647 h 10"/>
                <a:gd name="T8" fmla="*/ 0 w 17"/>
                <a:gd name="T9" fmla="*/ 2147483647 h 10"/>
                <a:gd name="T10" fmla="*/ 0 60000 65536"/>
                <a:gd name="T11" fmla="*/ 0 60000 65536"/>
                <a:gd name="T12" fmla="*/ 0 60000 65536"/>
                <a:gd name="T13" fmla="*/ 0 60000 65536"/>
                <a:gd name="T14" fmla="*/ 0 60000 65536"/>
                <a:gd name="T15" fmla="*/ 0 w 17"/>
                <a:gd name="T16" fmla="*/ 0 h 10"/>
                <a:gd name="T17" fmla="*/ 17 w 17"/>
                <a:gd name="T18" fmla="*/ 10 h 10"/>
              </a:gdLst>
              <a:ahLst/>
              <a:cxnLst>
                <a:cxn ang="T10">
                  <a:pos x="T0" y="T1"/>
                </a:cxn>
                <a:cxn ang="T11">
                  <a:pos x="T2" y="T3"/>
                </a:cxn>
                <a:cxn ang="T12">
                  <a:pos x="T4" y="T5"/>
                </a:cxn>
                <a:cxn ang="T13">
                  <a:pos x="T6" y="T7"/>
                </a:cxn>
                <a:cxn ang="T14">
                  <a:pos x="T8" y="T9"/>
                </a:cxn>
              </a:cxnLst>
              <a:rect l="T15" t="T16" r="T17" b="T18"/>
              <a:pathLst>
                <a:path w="17" h="10">
                  <a:moveTo>
                    <a:pt x="0" y="10"/>
                  </a:moveTo>
                  <a:lnTo>
                    <a:pt x="4" y="2"/>
                  </a:lnTo>
                  <a:lnTo>
                    <a:pt x="16" y="0"/>
                  </a:lnTo>
                  <a:lnTo>
                    <a:pt x="17" y="4"/>
                  </a:lnTo>
                  <a:lnTo>
                    <a:pt x="0" y="10"/>
                  </a:lnTo>
                  <a:close/>
                </a:path>
              </a:pathLst>
            </a:custGeom>
            <a:grpFill/>
            <a:ln w="6350">
              <a:solidFill>
                <a:schemeClr val="tx2"/>
              </a:solidFill>
              <a:round/>
              <a:headEnd/>
              <a:tailEnd/>
            </a:ln>
          </p:spPr>
          <p:txBody>
            <a:bodyPr/>
            <a:lstStyle/>
            <a:p>
              <a:endParaRPr lang="en-US"/>
            </a:p>
          </p:txBody>
        </p:sp>
        <p:sp>
          <p:nvSpPr>
            <p:cNvPr id="453" name="Freeform 1559"/>
            <p:cNvSpPr>
              <a:spLocks/>
            </p:cNvSpPr>
            <p:nvPr/>
          </p:nvSpPr>
          <p:spPr bwMode="auto">
            <a:xfrm>
              <a:off x="7772403" y="4058478"/>
              <a:ext cx="1516" cy="1517"/>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 name="T9" fmla="*/ 0 w 3"/>
                <a:gd name="T10" fmla="*/ 0 h 1"/>
                <a:gd name="T11" fmla="*/ 3 w 3"/>
                <a:gd name="T12" fmla="*/ 1 h 1"/>
              </a:gdLst>
              <a:ahLst/>
              <a:cxnLst>
                <a:cxn ang="T6">
                  <a:pos x="T0" y="T1"/>
                </a:cxn>
                <a:cxn ang="T7">
                  <a:pos x="T2" y="T3"/>
                </a:cxn>
                <a:cxn ang="T8">
                  <a:pos x="T4" y="T5"/>
                </a:cxn>
              </a:cxnLst>
              <a:rect l="T9" t="T10" r="T11" b="T12"/>
              <a:pathLst>
                <a:path w="3" h="1">
                  <a:moveTo>
                    <a:pt x="3" y="0"/>
                  </a:moveTo>
                  <a:lnTo>
                    <a:pt x="0" y="1"/>
                  </a:lnTo>
                  <a:lnTo>
                    <a:pt x="3" y="0"/>
                  </a:lnTo>
                  <a:close/>
                </a:path>
              </a:pathLst>
            </a:custGeom>
            <a:grpFill/>
            <a:ln w="6350">
              <a:solidFill>
                <a:schemeClr val="tx2"/>
              </a:solidFill>
              <a:round/>
              <a:headEnd/>
              <a:tailEnd/>
            </a:ln>
          </p:spPr>
          <p:txBody>
            <a:bodyPr/>
            <a:lstStyle/>
            <a:p>
              <a:endParaRPr lang="en-US"/>
            </a:p>
          </p:txBody>
        </p:sp>
        <p:sp>
          <p:nvSpPr>
            <p:cNvPr id="454" name="Freeform 1560"/>
            <p:cNvSpPr>
              <a:spLocks/>
            </p:cNvSpPr>
            <p:nvPr/>
          </p:nvSpPr>
          <p:spPr bwMode="auto">
            <a:xfrm>
              <a:off x="7754198" y="4090337"/>
              <a:ext cx="3034" cy="6069"/>
            </a:xfrm>
            <a:custGeom>
              <a:avLst/>
              <a:gdLst>
                <a:gd name="T0" fmla="*/ 2147483647 w 7"/>
                <a:gd name="T1" fmla="*/ 0 h 12"/>
                <a:gd name="T2" fmla="*/ 2147483647 w 7"/>
                <a:gd name="T3" fmla="*/ 2147483647 h 12"/>
                <a:gd name="T4" fmla="*/ 0 w 7"/>
                <a:gd name="T5" fmla="*/ 2147483647 h 12"/>
                <a:gd name="T6" fmla="*/ 2147483647 w 7"/>
                <a:gd name="T7" fmla="*/ 0 h 12"/>
                <a:gd name="T8" fmla="*/ 0 60000 65536"/>
                <a:gd name="T9" fmla="*/ 0 60000 65536"/>
                <a:gd name="T10" fmla="*/ 0 60000 65536"/>
                <a:gd name="T11" fmla="*/ 0 60000 65536"/>
                <a:gd name="T12" fmla="*/ 0 w 7"/>
                <a:gd name="T13" fmla="*/ 0 h 12"/>
                <a:gd name="T14" fmla="*/ 7 w 7"/>
                <a:gd name="T15" fmla="*/ 12 h 12"/>
              </a:gdLst>
              <a:ahLst/>
              <a:cxnLst>
                <a:cxn ang="T8">
                  <a:pos x="T0" y="T1"/>
                </a:cxn>
                <a:cxn ang="T9">
                  <a:pos x="T2" y="T3"/>
                </a:cxn>
                <a:cxn ang="T10">
                  <a:pos x="T4" y="T5"/>
                </a:cxn>
                <a:cxn ang="T11">
                  <a:pos x="T6" y="T7"/>
                </a:cxn>
              </a:cxnLst>
              <a:rect l="T12" t="T13" r="T14" b="T15"/>
              <a:pathLst>
                <a:path w="7" h="12">
                  <a:moveTo>
                    <a:pt x="7" y="0"/>
                  </a:moveTo>
                  <a:lnTo>
                    <a:pt x="1" y="12"/>
                  </a:lnTo>
                  <a:lnTo>
                    <a:pt x="0" y="7"/>
                  </a:lnTo>
                  <a:lnTo>
                    <a:pt x="7" y="0"/>
                  </a:lnTo>
                  <a:close/>
                </a:path>
              </a:pathLst>
            </a:custGeom>
            <a:grpFill/>
            <a:ln w="6350">
              <a:solidFill>
                <a:schemeClr val="tx2"/>
              </a:solidFill>
              <a:round/>
              <a:headEnd/>
              <a:tailEnd/>
            </a:ln>
          </p:spPr>
          <p:txBody>
            <a:bodyPr/>
            <a:lstStyle/>
            <a:p>
              <a:endParaRPr lang="en-US"/>
            </a:p>
          </p:txBody>
        </p:sp>
        <p:sp>
          <p:nvSpPr>
            <p:cNvPr id="455" name="Freeform 1561"/>
            <p:cNvSpPr>
              <a:spLocks/>
            </p:cNvSpPr>
            <p:nvPr/>
          </p:nvSpPr>
          <p:spPr bwMode="auto">
            <a:xfrm>
              <a:off x="7532699" y="4216257"/>
              <a:ext cx="3034" cy="7586"/>
            </a:xfrm>
            <a:custGeom>
              <a:avLst/>
              <a:gdLst>
                <a:gd name="T0" fmla="*/ 2147483647 w 5"/>
                <a:gd name="T1" fmla="*/ 0 h 14"/>
                <a:gd name="T2" fmla="*/ 2147483647 w 5"/>
                <a:gd name="T3" fmla="*/ 2147483647 h 14"/>
                <a:gd name="T4" fmla="*/ 0 w 5"/>
                <a:gd name="T5" fmla="*/ 2147483647 h 14"/>
                <a:gd name="T6" fmla="*/ 2147483647 w 5"/>
                <a:gd name="T7" fmla="*/ 0 h 14"/>
                <a:gd name="T8" fmla="*/ 0 60000 65536"/>
                <a:gd name="T9" fmla="*/ 0 60000 65536"/>
                <a:gd name="T10" fmla="*/ 0 60000 65536"/>
                <a:gd name="T11" fmla="*/ 0 60000 65536"/>
                <a:gd name="T12" fmla="*/ 0 w 5"/>
                <a:gd name="T13" fmla="*/ 0 h 14"/>
                <a:gd name="T14" fmla="*/ 5 w 5"/>
                <a:gd name="T15" fmla="*/ 14 h 14"/>
              </a:gdLst>
              <a:ahLst/>
              <a:cxnLst>
                <a:cxn ang="T8">
                  <a:pos x="T0" y="T1"/>
                </a:cxn>
                <a:cxn ang="T9">
                  <a:pos x="T2" y="T3"/>
                </a:cxn>
                <a:cxn ang="T10">
                  <a:pos x="T4" y="T5"/>
                </a:cxn>
                <a:cxn ang="T11">
                  <a:pos x="T6" y="T7"/>
                </a:cxn>
              </a:cxnLst>
              <a:rect l="T12" t="T13" r="T14" b="T15"/>
              <a:pathLst>
                <a:path w="5" h="14">
                  <a:moveTo>
                    <a:pt x="5" y="0"/>
                  </a:moveTo>
                  <a:lnTo>
                    <a:pt x="1" y="14"/>
                  </a:lnTo>
                  <a:lnTo>
                    <a:pt x="0" y="4"/>
                  </a:lnTo>
                  <a:lnTo>
                    <a:pt x="5" y="0"/>
                  </a:lnTo>
                  <a:close/>
                </a:path>
              </a:pathLst>
            </a:custGeom>
            <a:grpFill/>
            <a:ln w="6350">
              <a:solidFill>
                <a:schemeClr val="tx2"/>
              </a:solidFill>
              <a:round/>
              <a:headEnd/>
              <a:tailEnd/>
            </a:ln>
          </p:spPr>
          <p:txBody>
            <a:bodyPr/>
            <a:lstStyle/>
            <a:p>
              <a:endParaRPr lang="en-US"/>
            </a:p>
          </p:txBody>
        </p:sp>
        <p:sp>
          <p:nvSpPr>
            <p:cNvPr id="456" name="Freeform 1562"/>
            <p:cNvSpPr>
              <a:spLocks/>
            </p:cNvSpPr>
            <p:nvPr/>
          </p:nvSpPr>
          <p:spPr bwMode="auto">
            <a:xfrm>
              <a:off x="7611589" y="4175295"/>
              <a:ext cx="3034" cy="1516"/>
            </a:xfrm>
            <a:custGeom>
              <a:avLst/>
              <a:gdLst>
                <a:gd name="T0" fmla="*/ 0 w 1588"/>
                <a:gd name="T1" fmla="*/ 0 h 4"/>
                <a:gd name="T2" fmla="*/ 0 w 1588"/>
                <a:gd name="T3" fmla="*/ 2147483647 h 4"/>
                <a:gd name="T4" fmla="*/ 0 w 1588"/>
                <a:gd name="T5" fmla="*/ 0 h 4"/>
                <a:gd name="T6" fmla="*/ 0 60000 65536"/>
                <a:gd name="T7" fmla="*/ 0 60000 65536"/>
                <a:gd name="T8" fmla="*/ 0 60000 65536"/>
                <a:gd name="T9" fmla="*/ 0 w 1588"/>
                <a:gd name="T10" fmla="*/ 0 h 4"/>
                <a:gd name="T11" fmla="*/ 1588 w 1588"/>
                <a:gd name="T12" fmla="*/ 4 h 4"/>
              </a:gdLst>
              <a:ahLst/>
              <a:cxnLst>
                <a:cxn ang="T6">
                  <a:pos x="T0" y="T1"/>
                </a:cxn>
                <a:cxn ang="T7">
                  <a:pos x="T2" y="T3"/>
                </a:cxn>
                <a:cxn ang="T8">
                  <a:pos x="T4" y="T5"/>
                </a:cxn>
              </a:cxnLst>
              <a:rect l="T9" t="T10" r="T11" b="T12"/>
              <a:pathLst>
                <a:path w="1588" h="4">
                  <a:moveTo>
                    <a:pt x="0" y="0"/>
                  </a:moveTo>
                  <a:lnTo>
                    <a:pt x="0" y="4"/>
                  </a:lnTo>
                  <a:lnTo>
                    <a:pt x="0" y="0"/>
                  </a:lnTo>
                  <a:close/>
                </a:path>
              </a:pathLst>
            </a:custGeom>
            <a:grpFill/>
            <a:ln w="6350">
              <a:solidFill>
                <a:schemeClr val="tx2"/>
              </a:solidFill>
              <a:round/>
              <a:headEnd/>
              <a:tailEnd/>
            </a:ln>
          </p:spPr>
          <p:txBody>
            <a:bodyPr/>
            <a:lstStyle/>
            <a:p>
              <a:endParaRPr lang="en-US"/>
            </a:p>
          </p:txBody>
        </p:sp>
        <p:sp>
          <p:nvSpPr>
            <p:cNvPr id="457" name="Freeform 1563"/>
            <p:cNvSpPr>
              <a:spLocks/>
            </p:cNvSpPr>
            <p:nvPr/>
          </p:nvSpPr>
          <p:spPr bwMode="auto">
            <a:xfrm>
              <a:off x="7793643" y="4422585"/>
              <a:ext cx="9103" cy="4551"/>
            </a:xfrm>
            <a:custGeom>
              <a:avLst/>
              <a:gdLst>
                <a:gd name="T0" fmla="*/ 0 w 23"/>
                <a:gd name="T1" fmla="*/ 0 h 11"/>
                <a:gd name="T2" fmla="*/ 2147483647 w 23"/>
                <a:gd name="T3" fmla="*/ 2147483647 h 11"/>
                <a:gd name="T4" fmla="*/ 2147483647 w 23"/>
                <a:gd name="T5" fmla="*/ 2147483647 h 11"/>
                <a:gd name="T6" fmla="*/ 2147483647 w 23"/>
                <a:gd name="T7" fmla="*/ 2147483647 h 11"/>
                <a:gd name="T8" fmla="*/ 2147483647 w 23"/>
                <a:gd name="T9" fmla="*/ 2147483647 h 11"/>
                <a:gd name="T10" fmla="*/ 0 w 23"/>
                <a:gd name="T11" fmla="*/ 0 h 11"/>
                <a:gd name="T12" fmla="*/ 0 60000 65536"/>
                <a:gd name="T13" fmla="*/ 0 60000 65536"/>
                <a:gd name="T14" fmla="*/ 0 60000 65536"/>
                <a:gd name="T15" fmla="*/ 0 60000 65536"/>
                <a:gd name="T16" fmla="*/ 0 60000 65536"/>
                <a:gd name="T17" fmla="*/ 0 60000 65536"/>
                <a:gd name="T18" fmla="*/ 0 w 23"/>
                <a:gd name="T19" fmla="*/ 0 h 11"/>
                <a:gd name="T20" fmla="*/ 23 w 2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3" h="11">
                  <a:moveTo>
                    <a:pt x="0" y="0"/>
                  </a:moveTo>
                  <a:lnTo>
                    <a:pt x="23" y="1"/>
                  </a:lnTo>
                  <a:lnTo>
                    <a:pt x="19" y="9"/>
                  </a:lnTo>
                  <a:lnTo>
                    <a:pt x="11" y="7"/>
                  </a:lnTo>
                  <a:lnTo>
                    <a:pt x="4" y="11"/>
                  </a:lnTo>
                  <a:lnTo>
                    <a:pt x="0" y="0"/>
                  </a:lnTo>
                  <a:close/>
                </a:path>
              </a:pathLst>
            </a:custGeom>
            <a:grpFill/>
            <a:ln w="6350">
              <a:solidFill>
                <a:schemeClr val="tx2"/>
              </a:solidFill>
              <a:round/>
              <a:headEnd/>
              <a:tailEnd/>
            </a:ln>
          </p:spPr>
          <p:txBody>
            <a:bodyPr/>
            <a:lstStyle/>
            <a:p>
              <a:endParaRPr lang="en-US"/>
            </a:p>
          </p:txBody>
        </p:sp>
        <p:sp>
          <p:nvSpPr>
            <p:cNvPr id="458" name="Freeform 1564"/>
            <p:cNvSpPr>
              <a:spLocks/>
            </p:cNvSpPr>
            <p:nvPr/>
          </p:nvSpPr>
          <p:spPr bwMode="auto">
            <a:xfrm>
              <a:off x="7857362" y="4408931"/>
              <a:ext cx="3034" cy="4550"/>
            </a:xfrm>
            <a:custGeom>
              <a:avLst/>
              <a:gdLst>
                <a:gd name="T0" fmla="*/ 0 w 9"/>
                <a:gd name="T1" fmla="*/ 0 h 10"/>
                <a:gd name="T2" fmla="*/ 2147483647 w 9"/>
                <a:gd name="T3" fmla="*/ 2147483647 h 10"/>
                <a:gd name="T4" fmla="*/ 2147483647 w 9"/>
                <a:gd name="T5" fmla="*/ 2147483647 h 10"/>
                <a:gd name="T6" fmla="*/ 0 w 9"/>
                <a:gd name="T7" fmla="*/ 0 h 10"/>
                <a:gd name="T8" fmla="*/ 0 60000 65536"/>
                <a:gd name="T9" fmla="*/ 0 60000 65536"/>
                <a:gd name="T10" fmla="*/ 0 60000 65536"/>
                <a:gd name="T11" fmla="*/ 0 60000 65536"/>
                <a:gd name="T12" fmla="*/ 0 w 9"/>
                <a:gd name="T13" fmla="*/ 0 h 10"/>
                <a:gd name="T14" fmla="*/ 9 w 9"/>
                <a:gd name="T15" fmla="*/ 10 h 10"/>
              </a:gdLst>
              <a:ahLst/>
              <a:cxnLst>
                <a:cxn ang="T8">
                  <a:pos x="T0" y="T1"/>
                </a:cxn>
                <a:cxn ang="T9">
                  <a:pos x="T2" y="T3"/>
                </a:cxn>
                <a:cxn ang="T10">
                  <a:pos x="T4" y="T5"/>
                </a:cxn>
                <a:cxn ang="T11">
                  <a:pos x="T6" y="T7"/>
                </a:cxn>
              </a:cxnLst>
              <a:rect l="T12" t="T13" r="T14" b="T15"/>
              <a:pathLst>
                <a:path w="9" h="10">
                  <a:moveTo>
                    <a:pt x="0" y="0"/>
                  </a:moveTo>
                  <a:lnTo>
                    <a:pt x="9" y="8"/>
                  </a:lnTo>
                  <a:lnTo>
                    <a:pt x="7" y="10"/>
                  </a:lnTo>
                  <a:lnTo>
                    <a:pt x="0" y="0"/>
                  </a:lnTo>
                  <a:close/>
                </a:path>
              </a:pathLst>
            </a:custGeom>
            <a:grpFill/>
            <a:ln w="6350">
              <a:solidFill>
                <a:schemeClr val="tx2"/>
              </a:solidFill>
              <a:round/>
              <a:headEnd/>
              <a:tailEnd/>
            </a:ln>
          </p:spPr>
          <p:txBody>
            <a:bodyPr/>
            <a:lstStyle/>
            <a:p>
              <a:endParaRPr lang="en-US"/>
            </a:p>
          </p:txBody>
        </p:sp>
        <p:sp>
          <p:nvSpPr>
            <p:cNvPr id="459" name="Freeform 1565"/>
            <p:cNvSpPr>
              <a:spLocks/>
            </p:cNvSpPr>
            <p:nvPr/>
          </p:nvSpPr>
          <p:spPr bwMode="auto">
            <a:xfrm>
              <a:off x="7867981" y="4430171"/>
              <a:ext cx="9103" cy="6069"/>
            </a:xfrm>
            <a:custGeom>
              <a:avLst/>
              <a:gdLst>
                <a:gd name="T0" fmla="*/ 0 w 17"/>
                <a:gd name="T1" fmla="*/ 2147483647 h 11"/>
                <a:gd name="T2" fmla="*/ 2147483647 w 17"/>
                <a:gd name="T3" fmla="*/ 0 h 11"/>
                <a:gd name="T4" fmla="*/ 2147483647 w 17"/>
                <a:gd name="T5" fmla="*/ 2147483647 h 11"/>
                <a:gd name="T6" fmla="*/ 2147483647 w 17"/>
                <a:gd name="T7" fmla="*/ 2147483647 h 11"/>
                <a:gd name="T8" fmla="*/ 0 w 17"/>
                <a:gd name="T9" fmla="*/ 2147483647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0" y="2"/>
                  </a:moveTo>
                  <a:lnTo>
                    <a:pt x="14" y="0"/>
                  </a:lnTo>
                  <a:lnTo>
                    <a:pt x="17" y="9"/>
                  </a:lnTo>
                  <a:lnTo>
                    <a:pt x="8" y="11"/>
                  </a:lnTo>
                  <a:lnTo>
                    <a:pt x="0" y="2"/>
                  </a:lnTo>
                  <a:close/>
                </a:path>
              </a:pathLst>
            </a:custGeom>
            <a:grpFill/>
            <a:ln w="6350">
              <a:solidFill>
                <a:schemeClr val="tx2"/>
              </a:solidFill>
              <a:round/>
              <a:headEnd/>
              <a:tailEnd/>
            </a:ln>
          </p:spPr>
          <p:txBody>
            <a:bodyPr/>
            <a:lstStyle/>
            <a:p>
              <a:endParaRPr lang="en-US"/>
            </a:p>
          </p:txBody>
        </p:sp>
        <p:sp>
          <p:nvSpPr>
            <p:cNvPr id="460" name="Freeform 1566"/>
            <p:cNvSpPr>
              <a:spLocks/>
            </p:cNvSpPr>
            <p:nvPr/>
          </p:nvSpPr>
          <p:spPr bwMode="auto">
            <a:xfrm>
              <a:off x="7884669" y="4434721"/>
              <a:ext cx="51582" cy="47031"/>
            </a:xfrm>
            <a:custGeom>
              <a:avLst/>
              <a:gdLst>
                <a:gd name="T0" fmla="*/ 0 w 101"/>
                <a:gd name="T1" fmla="*/ 0 h 93"/>
                <a:gd name="T2" fmla="*/ 2147483647 w 101"/>
                <a:gd name="T3" fmla="*/ 2147483647 h 93"/>
                <a:gd name="T4" fmla="*/ 2147483647 w 101"/>
                <a:gd name="T5" fmla="*/ 2147483647 h 93"/>
                <a:gd name="T6" fmla="*/ 2147483647 w 101"/>
                <a:gd name="T7" fmla="*/ 2147483647 h 93"/>
                <a:gd name="T8" fmla="*/ 2147483647 w 101"/>
                <a:gd name="T9" fmla="*/ 2147483647 h 93"/>
                <a:gd name="T10" fmla="*/ 2147483647 w 101"/>
                <a:gd name="T11" fmla="*/ 2147483647 h 93"/>
                <a:gd name="T12" fmla="*/ 2147483647 w 101"/>
                <a:gd name="T13" fmla="*/ 2147483647 h 93"/>
                <a:gd name="T14" fmla="*/ 2147483647 w 101"/>
                <a:gd name="T15" fmla="*/ 2147483647 h 93"/>
                <a:gd name="T16" fmla="*/ 2147483647 w 101"/>
                <a:gd name="T17" fmla="*/ 2147483647 h 93"/>
                <a:gd name="T18" fmla="*/ 2147483647 w 101"/>
                <a:gd name="T19" fmla="*/ 2147483647 h 93"/>
                <a:gd name="T20" fmla="*/ 0 w 101"/>
                <a:gd name="T21" fmla="*/ 2147483647 h 93"/>
                <a:gd name="T22" fmla="*/ 0 w 101"/>
                <a:gd name="T23" fmla="*/ 0 h 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93"/>
                <a:gd name="T38" fmla="*/ 101 w 101"/>
                <a:gd name="T39" fmla="*/ 93 h 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93">
                  <a:moveTo>
                    <a:pt x="0" y="0"/>
                  </a:moveTo>
                  <a:lnTo>
                    <a:pt x="42" y="25"/>
                  </a:lnTo>
                  <a:lnTo>
                    <a:pt x="50" y="26"/>
                  </a:lnTo>
                  <a:lnTo>
                    <a:pt x="82" y="54"/>
                  </a:lnTo>
                  <a:lnTo>
                    <a:pt x="92" y="56"/>
                  </a:lnTo>
                  <a:lnTo>
                    <a:pt x="101" y="72"/>
                  </a:lnTo>
                  <a:lnTo>
                    <a:pt x="94" y="93"/>
                  </a:lnTo>
                  <a:lnTo>
                    <a:pt x="86" y="93"/>
                  </a:lnTo>
                  <a:lnTo>
                    <a:pt x="75" y="54"/>
                  </a:lnTo>
                  <a:lnTo>
                    <a:pt x="66" y="40"/>
                  </a:lnTo>
                  <a:lnTo>
                    <a:pt x="0" y="5"/>
                  </a:lnTo>
                  <a:lnTo>
                    <a:pt x="0" y="0"/>
                  </a:lnTo>
                  <a:close/>
                </a:path>
              </a:pathLst>
            </a:custGeom>
            <a:grpFill/>
            <a:ln w="6350">
              <a:solidFill>
                <a:schemeClr val="tx2"/>
              </a:solidFill>
              <a:round/>
              <a:headEnd/>
              <a:tailEnd/>
            </a:ln>
          </p:spPr>
          <p:txBody>
            <a:bodyPr/>
            <a:lstStyle/>
            <a:p>
              <a:endParaRPr lang="en-US"/>
            </a:p>
          </p:txBody>
        </p:sp>
        <p:sp>
          <p:nvSpPr>
            <p:cNvPr id="461" name="Freeform 1567"/>
            <p:cNvSpPr>
              <a:spLocks/>
            </p:cNvSpPr>
            <p:nvPr/>
          </p:nvSpPr>
          <p:spPr bwMode="auto">
            <a:xfrm>
              <a:off x="7802745" y="4492372"/>
              <a:ext cx="3034" cy="4551"/>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7" y="6"/>
                  </a:lnTo>
                  <a:lnTo>
                    <a:pt x="5" y="10"/>
                  </a:lnTo>
                  <a:lnTo>
                    <a:pt x="0" y="0"/>
                  </a:lnTo>
                  <a:close/>
                </a:path>
              </a:pathLst>
            </a:custGeom>
            <a:grpFill/>
            <a:ln w="6350">
              <a:solidFill>
                <a:schemeClr val="tx2"/>
              </a:solidFill>
              <a:round/>
              <a:headEnd/>
              <a:tailEnd/>
            </a:ln>
          </p:spPr>
          <p:txBody>
            <a:bodyPr/>
            <a:lstStyle/>
            <a:p>
              <a:endParaRPr lang="en-US"/>
            </a:p>
          </p:txBody>
        </p:sp>
        <p:sp>
          <p:nvSpPr>
            <p:cNvPr id="462" name="Freeform 1568"/>
            <p:cNvSpPr>
              <a:spLocks/>
            </p:cNvSpPr>
            <p:nvPr/>
          </p:nvSpPr>
          <p:spPr bwMode="auto">
            <a:xfrm>
              <a:off x="7820951" y="4498440"/>
              <a:ext cx="3034" cy="6069"/>
            </a:xfrm>
            <a:custGeom>
              <a:avLst/>
              <a:gdLst>
                <a:gd name="T0" fmla="*/ 0 w 12"/>
                <a:gd name="T1" fmla="*/ 0 h 11"/>
                <a:gd name="T2" fmla="*/ 2147483647 w 12"/>
                <a:gd name="T3" fmla="*/ 2147483647 h 11"/>
                <a:gd name="T4" fmla="*/ 2147483647 w 12"/>
                <a:gd name="T5" fmla="*/ 2147483647 h 11"/>
                <a:gd name="T6" fmla="*/ 2147483647 w 12"/>
                <a:gd name="T7" fmla="*/ 2147483647 h 11"/>
                <a:gd name="T8" fmla="*/ 0 w 12"/>
                <a:gd name="T9" fmla="*/ 0 h 11"/>
                <a:gd name="T10" fmla="*/ 0 60000 65536"/>
                <a:gd name="T11" fmla="*/ 0 60000 65536"/>
                <a:gd name="T12" fmla="*/ 0 60000 65536"/>
                <a:gd name="T13" fmla="*/ 0 60000 65536"/>
                <a:gd name="T14" fmla="*/ 0 60000 65536"/>
                <a:gd name="T15" fmla="*/ 0 w 12"/>
                <a:gd name="T16" fmla="*/ 0 h 11"/>
                <a:gd name="T17" fmla="*/ 12 w 12"/>
                <a:gd name="T18" fmla="*/ 11 h 11"/>
              </a:gdLst>
              <a:ahLst/>
              <a:cxnLst>
                <a:cxn ang="T10">
                  <a:pos x="T0" y="T1"/>
                </a:cxn>
                <a:cxn ang="T11">
                  <a:pos x="T2" y="T3"/>
                </a:cxn>
                <a:cxn ang="T12">
                  <a:pos x="T4" y="T5"/>
                </a:cxn>
                <a:cxn ang="T13">
                  <a:pos x="T6" y="T7"/>
                </a:cxn>
                <a:cxn ang="T14">
                  <a:pos x="T8" y="T9"/>
                </a:cxn>
              </a:cxnLst>
              <a:rect l="T15" t="T16" r="T17" b="T18"/>
              <a:pathLst>
                <a:path w="12" h="11">
                  <a:moveTo>
                    <a:pt x="0" y="0"/>
                  </a:moveTo>
                  <a:lnTo>
                    <a:pt x="11" y="4"/>
                  </a:lnTo>
                  <a:lnTo>
                    <a:pt x="12" y="11"/>
                  </a:lnTo>
                  <a:lnTo>
                    <a:pt x="8" y="11"/>
                  </a:lnTo>
                  <a:lnTo>
                    <a:pt x="0" y="0"/>
                  </a:lnTo>
                  <a:close/>
                </a:path>
              </a:pathLst>
            </a:custGeom>
            <a:grpFill/>
            <a:ln w="6350">
              <a:solidFill>
                <a:schemeClr val="tx2"/>
              </a:solidFill>
              <a:round/>
              <a:headEnd/>
              <a:tailEnd/>
            </a:ln>
          </p:spPr>
          <p:txBody>
            <a:bodyPr/>
            <a:lstStyle/>
            <a:p>
              <a:endParaRPr lang="en-US"/>
            </a:p>
          </p:txBody>
        </p:sp>
        <p:sp>
          <p:nvSpPr>
            <p:cNvPr id="463" name="Freeform 1569"/>
            <p:cNvSpPr>
              <a:spLocks/>
            </p:cNvSpPr>
            <p:nvPr/>
          </p:nvSpPr>
          <p:spPr bwMode="auto">
            <a:xfrm>
              <a:off x="7830054" y="4469615"/>
              <a:ext cx="87993" cy="45514"/>
            </a:xfrm>
            <a:custGeom>
              <a:avLst/>
              <a:gdLst>
                <a:gd name="T0" fmla="*/ 0 w 175"/>
                <a:gd name="T1" fmla="*/ 2147483647 h 93"/>
                <a:gd name="T2" fmla="*/ 2147483647 w 175"/>
                <a:gd name="T3" fmla="*/ 2147483647 h 93"/>
                <a:gd name="T4" fmla="*/ 2147483647 w 175"/>
                <a:gd name="T5" fmla="*/ 2147483647 h 93"/>
                <a:gd name="T6" fmla="*/ 2147483647 w 175"/>
                <a:gd name="T7" fmla="*/ 2147483647 h 93"/>
                <a:gd name="T8" fmla="*/ 2147483647 w 175"/>
                <a:gd name="T9" fmla="*/ 2147483647 h 93"/>
                <a:gd name="T10" fmla="*/ 2147483647 w 175"/>
                <a:gd name="T11" fmla="*/ 2147483647 h 93"/>
                <a:gd name="T12" fmla="*/ 2147483647 w 175"/>
                <a:gd name="T13" fmla="*/ 2147483647 h 93"/>
                <a:gd name="T14" fmla="*/ 2147483647 w 175"/>
                <a:gd name="T15" fmla="*/ 2147483647 h 93"/>
                <a:gd name="T16" fmla="*/ 2147483647 w 175"/>
                <a:gd name="T17" fmla="*/ 2147483647 h 93"/>
                <a:gd name="T18" fmla="*/ 2147483647 w 175"/>
                <a:gd name="T19" fmla="*/ 2147483647 h 93"/>
                <a:gd name="T20" fmla="*/ 2147483647 w 175"/>
                <a:gd name="T21" fmla="*/ 2147483647 h 93"/>
                <a:gd name="T22" fmla="*/ 2147483647 w 175"/>
                <a:gd name="T23" fmla="*/ 0 h 93"/>
                <a:gd name="T24" fmla="*/ 2147483647 w 175"/>
                <a:gd name="T25" fmla="*/ 2147483647 h 93"/>
                <a:gd name="T26" fmla="*/ 2147483647 w 175"/>
                <a:gd name="T27" fmla="*/ 2147483647 h 93"/>
                <a:gd name="T28" fmla="*/ 2147483647 w 175"/>
                <a:gd name="T29" fmla="*/ 2147483647 h 93"/>
                <a:gd name="T30" fmla="*/ 2147483647 w 175"/>
                <a:gd name="T31" fmla="*/ 2147483647 h 93"/>
                <a:gd name="T32" fmla="*/ 2147483647 w 175"/>
                <a:gd name="T33" fmla="*/ 2147483647 h 93"/>
                <a:gd name="T34" fmla="*/ 2147483647 w 175"/>
                <a:gd name="T35" fmla="*/ 2147483647 h 93"/>
                <a:gd name="T36" fmla="*/ 2147483647 w 175"/>
                <a:gd name="T37" fmla="*/ 2147483647 h 93"/>
                <a:gd name="T38" fmla="*/ 2147483647 w 175"/>
                <a:gd name="T39" fmla="*/ 2147483647 h 93"/>
                <a:gd name="T40" fmla="*/ 2147483647 w 175"/>
                <a:gd name="T41" fmla="*/ 2147483647 h 93"/>
                <a:gd name="T42" fmla="*/ 2147483647 w 175"/>
                <a:gd name="T43" fmla="*/ 2147483647 h 93"/>
                <a:gd name="T44" fmla="*/ 2147483647 w 175"/>
                <a:gd name="T45" fmla="*/ 2147483647 h 93"/>
                <a:gd name="T46" fmla="*/ 2147483647 w 175"/>
                <a:gd name="T47" fmla="*/ 2147483647 h 93"/>
                <a:gd name="T48" fmla="*/ 0 w 175"/>
                <a:gd name="T49" fmla="*/ 2147483647 h 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5"/>
                <a:gd name="T76" fmla="*/ 0 h 93"/>
                <a:gd name="T77" fmla="*/ 175 w 175"/>
                <a:gd name="T78" fmla="*/ 93 h 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5" h="93">
                  <a:moveTo>
                    <a:pt x="0" y="57"/>
                  </a:moveTo>
                  <a:lnTo>
                    <a:pt x="3" y="54"/>
                  </a:lnTo>
                  <a:lnTo>
                    <a:pt x="39" y="59"/>
                  </a:lnTo>
                  <a:lnTo>
                    <a:pt x="63" y="57"/>
                  </a:lnTo>
                  <a:lnTo>
                    <a:pt x="69" y="54"/>
                  </a:lnTo>
                  <a:lnTo>
                    <a:pt x="78" y="38"/>
                  </a:lnTo>
                  <a:lnTo>
                    <a:pt x="76" y="54"/>
                  </a:lnTo>
                  <a:lnTo>
                    <a:pt x="106" y="57"/>
                  </a:lnTo>
                  <a:lnTo>
                    <a:pt x="125" y="38"/>
                  </a:lnTo>
                  <a:lnTo>
                    <a:pt x="145" y="30"/>
                  </a:lnTo>
                  <a:lnTo>
                    <a:pt x="142" y="2"/>
                  </a:lnTo>
                  <a:lnTo>
                    <a:pt x="165" y="0"/>
                  </a:lnTo>
                  <a:lnTo>
                    <a:pt x="175" y="10"/>
                  </a:lnTo>
                  <a:lnTo>
                    <a:pt x="174" y="29"/>
                  </a:lnTo>
                  <a:lnTo>
                    <a:pt x="165" y="36"/>
                  </a:lnTo>
                  <a:lnTo>
                    <a:pt x="165" y="49"/>
                  </a:lnTo>
                  <a:lnTo>
                    <a:pt x="160" y="59"/>
                  </a:lnTo>
                  <a:lnTo>
                    <a:pt x="145" y="59"/>
                  </a:lnTo>
                  <a:lnTo>
                    <a:pt x="132" y="76"/>
                  </a:lnTo>
                  <a:lnTo>
                    <a:pt x="104" y="89"/>
                  </a:lnTo>
                  <a:lnTo>
                    <a:pt x="61" y="93"/>
                  </a:lnTo>
                  <a:lnTo>
                    <a:pt x="51" y="83"/>
                  </a:lnTo>
                  <a:lnTo>
                    <a:pt x="37" y="86"/>
                  </a:lnTo>
                  <a:lnTo>
                    <a:pt x="10" y="72"/>
                  </a:lnTo>
                  <a:lnTo>
                    <a:pt x="0" y="57"/>
                  </a:lnTo>
                  <a:close/>
                </a:path>
              </a:pathLst>
            </a:custGeom>
            <a:grpFill/>
            <a:ln w="6350">
              <a:solidFill>
                <a:schemeClr val="tx2"/>
              </a:solidFill>
              <a:round/>
              <a:headEnd/>
              <a:tailEnd/>
            </a:ln>
          </p:spPr>
          <p:txBody>
            <a:bodyPr/>
            <a:lstStyle/>
            <a:p>
              <a:endParaRPr lang="en-US"/>
            </a:p>
          </p:txBody>
        </p:sp>
        <p:sp>
          <p:nvSpPr>
            <p:cNvPr id="464" name="Freeform 1570"/>
            <p:cNvSpPr>
              <a:spLocks/>
            </p:cNvSpPr>
            <p:nvPr/>
          </p:nvSpPr>
          <p:spPr bwMode="auto">
            <a:xfrm>
              <a:off x="7966593" y="4495406"/>
              <a:ext cx="27308" cy="30342"/>
            </a:xfrm>
            <a:custGeom>
              <a:avLst/>
              <a:gdLst>
                <a:gd name="T0" fmla="*/ 0 w 50"/>
                <a:gd name="T1" fmla="*/ 0 h 61"/>
                <a:gd name="T2" fmla="*/ 2147483647 w 50"/>
                <a:gd name="T3" fmla="*/ 2147483647 h 61"/>
                <a:gd name="T4" fmla="*/ 2147483647 w 50"/>
                <a:gd name="T5" fmla="*/ 2147483647 h 61"/>
                <a:gd name="T6" fmla="*/ 2147483647 w 50"/>
                <a:gd name="T7" fmla="*/ 2147483647 h 61"/>
                <a:gd name="T8" fmla="*/ 2147483647 w 50"/>
                <a:gd name="T9" fmla="*/ 2147483647 h 61"/>
                <a:gd name="T10" fmla="*/ 2147483647 w 50"/>
                <a:gd name="T11" fmla="*/ 2147483647 h 61"/>
                <a:gd name="T12" fmla="*/ 2147483647 w 50"/>
                <a:gd name="T13" fmla="*/ 2147483647 h 61"/>
                <a:gd name="T14" fmla="*/ 2147483647 w 50"/>
                <a:gd name="T15" fmla="*/ 2147483647 h 61"/>
                <a:gd name="T16" fmla="*/ 0 w 50"/>
                <a:gd name="T17" fmla="*/ 0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61"/>
                <a:gd name="T29" fmla="*/ 50 w 50"/>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61">
                  <a:moveTo>
                    <a:pt x="0" y="0"/>
                  </a:moveTo>
                  <a:lnTo>
                    <a:pt x="11" y="3"/>
                  </a:lnTo>
                  <a:lnTo>
                    <a:pt x="50" y="44"/>
                  </a:lnTo>
                  <a:lnTo>
                    <a:pt x="50" y="57"/>
                  </a:lnTo>
                  <a:lnTo>
                    <a:pt x="38" y="61"/>
                  </a:lnTo>
                  <a:lnTo>
                    <a:pt x="24" y="53"/>
                  </a:lnTo>
                  <a:lnTo>
                    <a:pt x="20" y="36"/>
                  </a:lnTo>
                  <a:lnTo>
                    <a:pt x="1" y="15"/>
                  </a:lnTo>
                  <a:lnTo>
                    <a:pt x="0" y="0"/>
                  </a:lnTo>
                  <a:close/>
                </a:path>
              </a:pathLst>
            </a:custGeom>
            <a:grpFill/>
            <a:ln w="6350">
              <a:solidFill>
                <a:schemeClr val="tx2"/>
              </a:solidFill>
              <a:round/>
              <a:headEnd/>
              <a:tailEnd/>
            </a:ln>
          </p:spPr>
          <p:txBody>
            <a:bodyPr/>
            <a:lstStyle/>
            <a:p>
              <a:endParaRPr lang="en-US"/>
            </a:p>
          </p:txBody>
        </p:sp>
        <p:sp>
          <p:nvSpPr>
            <p:cNvPr id="465" name="Freeform 1571"/>
            <p:cNvSpPr>
              <a:spLocks/>
            </p:cNvSpPr>
            <p:nvPr/>
          </p:nvSpPr>
          <p:spPr bwMode="auto">
            <a:xfrm>
              <a:off x="8004521" y="4519679"/>
              <a:ext cx="22757" cy="15172"/>
            </a:xfrm>
            <a:custGeom>
              <a:avLst/>
              <a:gdLst>
                <a:gd name="T0" fmla="*/ 0 w 44"/>
                <a:gd name="T1" fmla="*/ 0 h 29"/>
                <a:gd name="T2" fmla="*/ 2147483647 w 44"/>
                <a:gd name="T3" fmla="*/ 2147483647 h 29"/>
                <a:gd name="T4" fmla="*/ 2147483647 w 44"/>
                <a:gd name="T5" fmla="*/ 2147483647 h 29"/>
                <a:gd name="T6" fmla="*/ 2147483647 w 44"/>
                <a:gd name="T7" fmla="*/ 2147483647 h 29"/>
                <a:gd name="T8" fmla="*/ 0 w 44"/>
                <a:gd name="T9" fmla="*/ 0 h 29"/>
                <a:gd name="T10" fmla="*/ 0 60000 65536"/>
                <a:gd name="T11" fmla="*/ 0 60000 65536"/>
                <a:gd name="T12" fmla="*/ 0 60000 65536"/>
                <a:gd name="T13" fmla="*/ 0 60000 65536"/>
                <a:gd name="T14" fmla="*/ 0 60000 65536"/>
                <a:gd name="T15" fmla="*/ 0 w 44"/>
                <a:gd name="T16" fmla="*/ 0 h 29"/>
                <a:gd name="T17" fmla="*/ 44 w 44"/>
                <a:gd name="T18" fmla="*/ 29 h 29"/>
              </a:gdLst>
              <a:ahLst/>
              <a:cxnLst>
                <a:cxn ang="T10">
                  <a:pos x="T0" y="T1"/>
                </a:cxn>
                <a:cxn ang="T11">
                  <a:pos x="T2" y="T3"/>
                </a:cxn>
                <a:cxn ang="T12">
                  <a:pos x="T4" y="T5"/>
                </a:cxn>
                <a:cxn ang="T13">
                  <a:pos x="T6" y="T7"/>
                </a:cxn>
                <a:cxn ang="T14">
                  <a:pos x="T8" y="T9"/>
                </a:cxn>
              </a:cxnLst>
              <a:rect l="T15" t="T16" r="T17" b="T18"/>
              <a:pathLst>
                <a:path w="44" h="29">
                  <a:moveTo>
                    <a:pt x="0" y="0"/>
                  </a:moveTo>
                  <a:lnTo>
                    <a:pt x="20" y="8"/>
                  </a:lnTo>
                  <a:lnTo>
                    <a:pt x="44" y="29"/>
                  </a:lnTo>
                  <a:lnTo>
                    <a:pt x="19" y="23"/>
                  </a:lnTo>
                  <a:lnTo>
                    <a:pt x="0" y="0"/>
                  </a:lnTo>
                  <a:close/>
                </a:path>
              </a:pathLst>
            </a:custGeom>
            <a:grpFill/>
            <a:ln w="6350">
              <a:solidFill>
                <a:schemeClr val="tx2"/>
              </a:solidFill>
              <a:round/>
              <a:headEnd/>
              <a:tailEnd/>
            </a:ln>
          </p:spPr>
          <p:txBody>
            <a:bodyPr/>
            <a:lstStyle/>
            <a:p>
              <a:endParaRPr lang="en-US"/>
            </a:p>
          </p:txBody>
        </p:sp>
        <p:sp>
          <p:nvSpPr>
            <p:cNvPr id="466" name="Freeform 1572"/>
            <p:cNvSpPr>
              <a:spLocks/>
            </p:cNvSpPr>
            <p:nvPr/>
          </p:nvSpPr>
          <p:spPr bwMode="auto">
            <a:xfrm>
              <a:off x="8006038" y="4539402"/>
              <a:ext cx="3034" cy="9103"/>
            </a:xfrm>
            <a:custGeom>
              <a:avLst/>
              <a:gdLst>
                <a:gd name="T0" fmla="*/ 0 w 9"/>
                <a:gd name="T1" fmla="*/ 0 h 18"/>
                <a:gd name="T2" fmla="*/ 2147483647 w 9"/>
                <a:gd name="T3" fmla="*/ 2147483647 h 18"/>
                <a:gd name="T4" fmla="*/ 2147483647 w 9"/>
                <a:gd name="T5" fmla="*/ 2147483647 h 18"/>
                <a:gd name="T6" fmla="*/ 0 w 9"/>
                <a:gd name="T7" fmla="*/ 0 h 18"/>
                <a:gd name="T8" fmla="*/ 0 60000 65536"/>
                <a:gd name="T9" fmla="*/ 0 60000 65536"/>
                <a:gd name="T10" fmla="*/ 0 60000 65536"/>
                <a:gd name="T11" fmla="*/ 0 60000 65536"/>
                <a:gd name="T12" fmla="*/ 0 w 9"/>
                <a:gd name="T13" fmla="*/ 0 h 18"/>
                <a:gd name="T14" fmla="*/ 9 w 9"/>
                <a:gd name="T15" fmla="*/ 18 h 18"/>
              </a:gdLst>
              <a:ahLst/>
              <a:cxnLst>
                <a:cxn ang="T8">
                  <a:pos x="T0" y="T1"/>
                </a:cxn>
                <a:cxn ang="T9">
                  <a:pos x="T2" y="T3"/>
                </a:cxn>
                <a:cxn ang="T10">
                  <a:pos x="T4" y="T5"/>
                </a:cxn>
                <a:cxn ang="T11">
                  <a:pos x="T6" y="T7"/>
                </a:cxn>
              </a:cxnLst>
              <a:rect l="T12" t="T13" r="T14" b="T15"/>
              <a:pathLst>
                <a:path w="9" h="18">
                  <a:moveTo>
                    <a:pt x="0" y="0"/>
                  </a:moveTo>
                  <a:lnTo>
                    <a:pt x="9" y="9"/>
                  </a:lnTo>
                  <a:lnTo>
                    <a:pt x="7" y="18"/>
                  </a:lnTo>
                  <a:lnTo>
                    <a:pt x="0" y="0"/>
                  </a:lnTo>
                  <a:close/>
                </a:path>
              </a:pathLst>
            </a:custGeom>
            <a:grpFill/>
            <a:ln w="6350">
              <a:solidFill>
                <a:schemeClr val="tx2"/>
              </a:solidFill>
              <a:round/>
              <a:headEnd/>
              <a:tailEnd/>
            </a:ln>
          </p:spPr>
          <p:txBody>
            <a:bodyPr/>
            <a:lstStyle/>
            <a:p>
              <a:endParaRPr lang="en-US"/>
            </a:p>
          </p:txBody>
        </p:sp>
        <p:sp>
          <p:nvSpPr>
            <p:cNvPr id="467" name="Freeform 1573"/>
            <p:cNvSpPr>
              <a:spLocks/>
            </p:cNvSpPr>
            <p:nvPr/>
          </p:nvSpPr>
          <p:spPr bwMode="auto">
            <a:xfrm>
              <a:off x="8015141" y="4545471"/>
              <a:ext cx="3034" cy="7585"/>
            </a:xfrm>
            <a:custGeom>
              <a:avLst/>
              <a:gdLst>
                <a:gd name="T0" fmla="*/ 2147483647 w 7"/>
                <a:gd name="T1" fmla="*/ 2147483647 h 14"/>
                <a:gd name="T2" fmla="*/ 2147483647 w 7"/>
                <a:gd name="T3" fmla="*/ 2147483647 h 14"/>
                <a:gd name="T4" fmla="*/ 2147483647 w 7"/>
                <a:gd name="T5" fmla="*/ 2147483647 h 14"/>
                <a:gd name="T6" fmla="*/ 0 w 7"/>
                <a:gd name="T7" fmla="*/ 0 h 14"/>
                <a:gd name="T8" fmla="*/ 2147483647 w 7"/>
                <a:gd name="T9" fmla="*/ 2147483647 h 14"/>
                <a:gd name="T10" fmla="*/ 0 60000 65536"/>
                <a:gd name="T11" fmla="*/ 0 60000 65536"/>
                <a:gd name="T12" fmla="*/ 0 60000 65536"/>
                <a:gd name="T13" fmla="*/ 0 60000 65536"/>
                <a:gd name="T14" fmla="*/ 0 60000 65536"/>
                <a:gd name="T15" fmla="*/ 0 w 7"/>
                <a:gd name="T16" fmla="*/ 0 h 14"/>
                <a:gd name="T17" fmla="*/ 7 w 7"/>
                <a:gd name="T18" fmla="*/ 14 h 14"/>
              </a:gdLst>
              <a:ahLst/>
              <a:cxnLst>
                <a:cxn ang="T10">
                  <a:pos x="T0" y="T1"/>
                </a:cxn>
                <a:cxn ang="T11">
                  <a:pos x="T2" y="T3"/>
                </a:cxn>
                <a:cxn ang="T12">
                  <a:pos x="T4" y="T5"/>
                </a:cxn>
                <a:cxn ang="T13">
                  <a:pos x="T6" y="T7"/>
                </a:cxn>
                <a:cxn ang="T14">
                  <a:pos x="T8" y="T9"/>
                </a:cxn>
              </a:cxnLst>
              <a:rect l="T15" t="T16" r="T17" b="T18"/>
              <a:pathLst>
                <a:path w="7" h="14">
                  <a:moveTo>
                    <a:pt x="5" y="3"/>
                  </a:moveTo>
                  <a:lnTo>
                    <a:pt x="7" y="13"/>
                  </a:lnTo>
                  <a:lnTo>
                    <a:pt x="4" y="14"/>
                  </a:lnTo>
                  <a:lnTo>
                    <a:pt x="0" y="0"/>
                  </a:lnTo>
                  <a:lnTo>
                    <a:pt x="5" y="3"/>
                  </a:lnTo>
                  <a:close/>
                </a:path>
              </a:pathLst>
            </a:custGeom>
            <a:grpFill/>
            <a:ln w="6350">
              <a:solidFill>
                <a:schemeClr val="tx2"/>
              </a:solidFill>
              <a:round/>
              <a:headEnd/>
              <a:tailEnd/>
            </a:ln>
          </p:spPr>
          <p:txBody>
            <a:bodyPr/>
            <a:lstStyle/>
            <a:p>
              <a:endParaRPr lang="en-US"/>
            </a:p>
          </p:txBody>
        </p:sp>
        <p:sp>
          <p:nvSpPr>
            <p:cNvPr id="468" name="Freeform 1574"/>
            <p:cNvSpPr>
              <a:spLocks/>
            </p:cNvSpPr>
            <p:nvPr/>
          </p:nvSpPr>
          <p:spPr bwMode="auto">
            <a:xfrm>
              <a:off x="8021210" y="4550022"/>
              <a:ext cx="13653" cy="10620"/>
            </a:xfrm>
            <a:custGeom>
              <a:avLst/>
              <a:gdLst>
                <a:gd name="T0" fmla="*/ 0 w 25"/>
                <a:gd name="T1" fmla="*/ 2147483647 h 22"/>
                <a:gd name="T2" fmla="*/ 2147483647 w 25"/>
                <a:gd name="T3" fmla="*/ 2147483647 h 22"/>
                <a:gd name="T4" fmla="*/ 2147483647 w 25"/>
                <a:gd name="T5" fmla="*/ 0 h 22"/>
                <a:gd name="T6" fmla="*/ 2147483647 w 25"/>
                <a:gd name="T7" fmla="*/ 2147483647 h 22"/>
                <a:gd name="T8" fmla="*/ 2147483647 w 25"/>
                <a:gd name="T9" fmla="*/ 2147483647 h 22"/>
                <a:gd name="T10" fmla="*/ 0 w 25"/>
                <a:gd name="T11" fmla="*/ 2147483647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9"/>
                  </a:moveTo>
                  <a:lnTo>
                    <a:pt x="1" y="2"/>
                  </a:lnTo>
                  <a:lnTo>
                    <a:pt x="11" y="0"/>
                  </a:lnTo>
                  <a:lnTo>
                    <a:pt x="22" y="12"/>
                  </a:lnTo>
                  <a:lnTo>
                    <a:pt x="25" y="22"/>
                  </a:lnTo>
                  <a:lnTo>
                    <a:pt x="0" y="9"/>
                  </a:lnTo>
                  <a:close/>
                </a:path>
              </a:pathLst>
            </a:custGeom>
            <a:grpFill/>
            <a:ln w="6350">
              <a:solidFill>
                <a:schemeClr val="tx2"/>
              </a:solidFill>
              <a:round/>
              <a:headEnd/>
              <a:tailEnd/>
            </a:ln>
          </p:spPr>
          <p:txBody>
            <a:bodyPr/>
            <a:lstStyle/>
            <a:p>
              <a:endParaRPr lang="en-US"/>
            </a:p>
          </p:txBody>
        </p:sp>
        <p:sp>
          <p:nvSpPr>
            <p:cNvPr id="469" name="Freeform 1575"/>
            <p:cNvSpPr>
              <a:spLocks/>
            </p:cNvSpPr>
            <p:nvPr/>
          </p:nvSpPr>
          <p:spPr bwMode="auto">
            <a:xfrm>
              <a:off x="8024244" y="4559124"/>
              <a:ext cx="1516" cy="4551"/>
            </a:xfrm>
            <a:custGeom>
              <a:avLst/>
              <a:gdLst>
                <a:gd name="T0" fmla="*/ 0 w 3"/>
                <a:gd name="T1" fmla="*/ 2147483647 h 8"/>
                <a:gd name="T2" fmla="*/ 2147483647 w 3"/>
                <a:gd name="T3" fmla="*/ 0 h 8"/>
                <a:gd name="T4" fmla="*/ 2147483647 w 3"/>
                <a:gd name="T5" fmla="*/ 2147483647 h 8"/>
                <a:gd name="T6" fmla="*/ 0 w 3"/>
                <a:gd name="T7" fmla="*/ 2147483647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0" y="6"/>
                  </a:moveTo>
                  <a:lnTo>
                    <a:pt x="2" y="0"/>
                  </a:lnTo>
                  <a:lnTo>
                    <a:pt x="3" y="8"/>
                  </a:lnTo>
                  <a:lnTo>
                    <a:pt x="0" y="6"/>
                  </a:lnTo>
                  <a:close/>
                </a:path>
              </a:pathLst>
            </a:custGeom>
            <a:grpFill/>
            <a:ln w="6350">
              <a:solidFill>
                <a:schemeClr val="tx2"/>
              </a:solidFill>
              <a:round/>
              <a:headEnd/>
              <a:tailEnd/>
            </a:ln>
          </p:spPr>
          <p:txBody>
            <a:bodyPr/>
            <a:lstStyle/>
            <a:p>
              <a:endParaRPr lang="en-US"/>
            </a:p>
          </p:txBody>
        </p:sp>
        <p:sp>
          <p:nvSpPr>
            <p:cNvPr id="470" name="Freeform 1576"/>
            <p:cNvSpPr>
              <a:spLocks/>
            </p:cNvSpPr>
            <p:nvPr/>
          </p:nvSpPr>
          <p:spPr bwMode="auto">
            <a:xfrm>
              <a:off x="8036381" y="4562159"/>
              <a:ext cx="3034" cy="3034"/>
            </a:xfrm>
            <a:custGeom>
              <a:avLst/>
              <a:gdLst>
                <a:gd name="T0" fmla="*/ 0 w 6"/>
                <a:gd name="T1" fmla="*/ 2147483647 h 6"/>
                <a:gd name="T2" fmla="*/ 2147483647 w 6"/>
                <a:gd name="T3" fmla="*/ 0 h 6"/>
                <a:gd name="T4" fmla="*/ 2147483647 w 6"/>
                <a:gd name="T5" fmla="*/ 2147483647 h 6"/>
                <a:gd name="T6" fmla="*/ 0 w 6"/>
                <a:gd name="T7" fmla="*/ 2147483647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4"/>
                  </a:moveTo>
                  <a:lnTo>
                    <a:pt x="5" y="0"/>
                  </a:lnTo>
                  <a:lnTo>
                    <a:pt x="6" y="6"/>
                  </a:lnTo>
                  <a:lnTo>
                    <a:pt x="0" y="4"/>
                  </a:lnTo>
                  <a:close/>
                </a:path>
              </a:pathLst>
            </a:custGeom>
            <a:grpFill/>
            <a:ln w="6350">
              <a:solidFill>
                <a:schemeClr val="tx2"/>
              </a:solidFill>
              <a:round/>
              <a:headEnd/>
              <a:tailEnd/>
            </a:ln>
          </p:spPr>
          <p:txBody>
            <a:bodyPr/>
            <a:lstStyle/>
            <a:p>
              <a:endParaRPr lang="en-US"/>
            </a:p>
          </p:txBody>
        </p:sp>
        <p:sp>
          <p:nvSpPr>
            <p:cNvPr id="471" name="Freeform 1577"/>
            <p:cNvSpPr>
              <a:spLocks/>
            </p:cNvSpPr>
            <p:nvPr/>
          </p:nvSpPr>
          <p:spPr bwMode="auto">
            <a:xfrm>
              <a:off x="8048518" y="4539402"/>
              <a:ext cx="27308" cy="21239"/>
            </a:xfrm>
            <a:custGeom>
              <a:avLst/>
              <a:gdLst>
                <a:gd name="T0" fmla="*/ 0 w 57"/>
                <a:gd name="T1" fmla="*/ 0 h 41"/>
                <a:gd name="T2" fmla="*/ 2147483647 w 57"/>
                <a:gd name="T3" fmla="*/ 2147483647 h 41"/>
                <a:gd name="T4" fmla="*/ 2147483647 w 57"/>
                <a:gd name="T5" fmla="*/ 2147483647 h 41"/>
                <a:gd name="T6" fmla="*/ 2147483647 w 57"/>
                <a:gd name="T7" fmla="*/ 2147483647 h 41"/>
                <a:gd name="T8" fmla="*/ 0 w 57"/>
                <a:gd name="T9" fmla="*/ 0 h 41"/>
                <a:gd name="T10" fmla="*/ 0 60000 65536"/>
                <a:gd name="T11" fmla="*/ 0 60000 65536"/>
                <a:gd name="T12" fmla="*/ 0 60000 65536"/>
                <a:gd name="T13" fmla="*/ 0 60000 65536"/>
                <a:gd name="T14" fmla="*/ 0 60000 65536"/>
                <a:gd name="T15" fmla="*/ 0 w 57"/>
                <a:gd name="T16" fmla="*/ 0 h 41"/>
                <a:gd name="T17" fmla="*/ 57 w 57"/>
                <a:gd name="T18" fmla="*/ 41 h 41"/>
              </a:gdLst>
              <a:ahLst/>
              <a:cxnLst>
                <a:cxn ang="T10">
                  <a:pos x="T0" y="T1"/>
                </a:cxn>
                <a:cxn ang="T11">
                  <a:pos x="T2" y="T3"/>
                </a:cxn>
                <a:cxn ang="T12">
                  <a:pos x="T4" y="T5"/>
                </a:cxn>
                <a:cxn ang="T13">
                  <a:pos x="T6" y="T7"/>
                </a:cxn>
                <a:cxn ang="T14">
                  <a:pos x="T8" y="T9"/>
                </a:cxn>
              </a:cxnLst>
              <a:rect l="T15" t="T16" r="T17" b="T18"/>
              <a:pathLst>
                <a:path w="57" h="41">
                  <a:moveTo>
                    <a:pt x="0" y="0"/>
                  </a:moveTo>
                  <a:lnTo>
                    <a:pt x="51" y="27"/>
                  </a:lnTo>
                  <a:lnTo>
                    <a:pt x="57" y="41"/>
                  </a:lnTo>
                  <a:lnTo>
                    <a:pt x="12" y="15"/>
                  </a:lnTo>
                  <a:lnTo>
                    <a:pt x="0" y="0"/>
                  </a:lnTo>
                  <a:close/>
                </a:path>
              </a:pathLst>
            </a:custGeom>
            <a:grpFill/>
            <a:ln w="6350">
              <a:solidFill>
                <a:schemeClr val="tx2"/>
              </a:solidFill>
              <a:round/>
              <a:headEnd/>
              <a:tailEnd/>
            </a:ln>
          </p:spPr>
          <p:txBody>
            <a:bodyPr/>
            <a:lstStyle/>
            <a:p>
              <a:endParaRPr lang="en-US"/>
            </a:p>
          </p:txBody>
        </p:sp>
        <p:sp>
          <p:nvSpPr>
            <p:cNvPr id="472" name="Freeform 1578"/>
            <p:cNvSpPr>
              <a:spLocks/>
            </p:cNvSpPr>
            <p:nvPr/>
          </p:nvSpPr>
          <p:spPr bwMode="auto">
            <a:xfrm>
              <a:off x="8094031" y="4557608"/>
              <a:ext cx="21239" cy="28825"/>
            </a:xfrm>
            <a:custGeom>
              <a:avLst/>
              <a:gdLst>
                <a:gd name="T0" fmla="*/ 0 w 36"/>
                <a:gd name="T1" fmla="*/ 2147483647 h 56"/>
                <a:gd name="T2" fmla="*/ 2147483647 w 36"/>
                <a:gd name="T3" fmla="*/ 0 h 56"/>
                <a:gd name="T4" fmla="*/ 2147483647 w 36"/>
                <a:gd name="T5" fmla="*/ 2147483647 h 56"/>
                <a:gd name="T6" fmla="*/ 2147483647 w 36"/>
                <a:gd name="T7" fmla="*/ 2147483647 h 56"/>
                <a:gd name="T8" fmla="*/ 2147483647 w 36"/>
                <a:gd name="T9" fmla="*/ 2147483647 h 56"/>
                <a:gd name="T10" fmla="*/ 2147483647 w 36"/>
                <a:gd name="T11" fmla="*/ 2147483647 h 56"/>
                <a:gd name="T12" fmla="*/ 2147483647 w 36"/>
                <a:gd name="T13" fmla="*/ 2147483647 h 56"/>
                <a:gd name="T14" fmla="*/ 2147483647 w 36"/>
                <a:gd name="T15" fmla="*/ 2147483647 h 56"/>
                <a:gd name="T16" fmla="*/ 2147483647 w 36"/>
                <a:gd name="T17" fmla="*/ 2147483647 h 56"/>
                <a:gd name="T18" fmla="*/ 0 w 36"/>
                <a:gd name="T19" fmla="*/ 2147483647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56"/>
                <a:gd name="T32" fmla="*/ 36 w 3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56">
                  <a:moveTo>
                    <a:pt x="0" y="3"/>
                  </a:moveTo>
                  <a:lnTo>
                    <a:pt x="1" y="0"/>
                  </a:lnTo>
                  <a:lnTo>
                    <a:pt x="6" y="4"/>
                  </a:lnTo>
                  <a:lnTo>
                    <a:pt x="11" y="19"/>
                  </a:lnTo>
                  <a:lnTo>
                    <a:pt x="24" y="36"/>
                  </a:lnTo>
                  <a:lnTo>
                    <a:pt x="24" y="42"/>
                  </a:lnTo>
                  <a:lnTo>
                    <a:pt x="32" y="43"/>
                  </a:lnTo>
                  <a:lnTo>
                    <a:pt x="36" y="56"/>
                  </a:lnTo>
                  <a:lnTo>
                    <a:pt x="14" y="37"/>
                  </a:lnTo>
                  <a:lnTo>
                    <a:pt x="0" y="3"/>
                  </a:lnTo>
                  <a:close/>
                </a:path>
              </a:pathLst>
            </a:custGeom>
            <a:grpFill/>
            <a:ln w="6350">
              <a:solidFill>
                <a:schemeClr val="tx2"/>
              </a:solidFill>
              <a:round/>
              <a:headEnd/>
              <a:tailEnd/>
            </a:ln>
          </p:spPr>
          <p:txBody>
            <a:bodyPr/>
            <a:lstStyle/>
            <a:p>
              <a:endParaRPr lang="en-US"/>
            </a:p>
          </p:txBody>
        </p:sp>
        <p:sp>
          <p:nvSpPr>
            <p:cNvPr id="473" name="Freeform 1579"/>
            <p:cNvSpPr>
              <a:spLocks/>
            </p:cNvSpPr>
            <p:nvPr/>
          </p:nvSpPr>
          <p:spPr bwMode="auto">
            <a:xfrm>
              <a:off x="8084928" y="4571262"/>
              <a:ext cx="3034" cy="4551"/>
            </a:xfrm>
            <a:custGeom>
              <a:avLst/>
              <a:gdLst>
                <a:gd name="T0" fmla="*/ 0 w 11"/>
                <a:gd name="T1" fmla="*/ 2147483647 h 7"/>
                <a:gd name="T2" fmla="*/ 2147483647 w 11"/>
                <a:gd name="T3" fmla="*/ 0 h 7"/>
                <a:gd name="T4" fmla="*/ 2147483647 w 11"/>
                <a:gd name="T5" fmla="*/ 2147483647 h 7"/>
                <a:gd name="T6" fmla="*/ 0 w 11"/>
                <a:gd name="T7" fmla="*/ 2147483647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1"/>
                  </a:moveTo>
                  <a:lnTo>
                    <a:pt x="8" y="0"/>
                  </a:lnTo>
                  <a:lnTo>
                    <a:pt x="11" y="7"/>
                  </a:lnTo>
                  <a:lnTo>
                    <a:pt x="0" y="1"/>
                  </a:lnTo>
                  <a:close/>
                </a:path>
              </a:pathLst>
            </a:custGeom>
            <a:grpFill/>
            <a:ln w="6350">
              <a:solidFill>
                <a:schemeClr val="tx2"/>
              </a:solidFill>
              <a:round/>
              <a:headEnd/>
              <a:tailEnd/>
            </a:ln>
          </p:spPr>
          <p:txBody>
            <a:bodyPr/>
            <a:lstStyle/>
            <a:p>
              <a:endParaRPr lang="en-US"/>
            </a:p>
          </p:txBody>
        </p:sp>
        <p:sp>
          <p:nvSpPr>
            <p:cNvPr id="474" name="Freeform 1580"/>
            <p:cNvSpPr>
              <a:spLocks/>
            </p:cNvSpPr>
            <p:nvPr/>
          </p:nvSpPr>
          <p:spPr bwMode="auto">
            <a:xfrm>
              <a:off x="8071274" y="4578847"/>
              <a:ext cx="27308" cy="13653"/>
            </a:xfrm>
            <a:custGeom>
              <a:avLst/>
              <a:gdLst>
                <a:gd name="T0" fmla="*/ 2147483647 w 56"/>
                <a:gd name="T1" fmla="*/ 0 h 28"/>
                <a:gd name="T2" fmla="*/ 2147483647 w 56"/>
                <a:gd name="T3" fmla="*/ 2147483647 h 28"/>
                <a:gd name="T4" fmla="*/ 2147483647 w 56"/>
                <a:gd name="T5" fmla="*/ 2147483647 h 28"/>
                <a:gd name="T6" fmla="*/ 2147483647 w 56"/>
                <a:gd name="T7" fmla="*/ 2147483647 h 28"/>
                <a:gd name="T8" fmla="*/ 2147483647 w 56"/>
                <a:gd name="T9" fmla="*/ 2147483647 h 28"/>
                <a:gd name="T10" fmla="*/ 2147483647 w 56"/>
                <a:gd name="T11" fmla="*/ 2147483647 h 28"/>
                <a:gd name="T12" fmla="*/ 0 w 56"/>
                <a:gd name="T13" fmla="*/ 2147483647 h 28"/>
                <a:gd name="T14" fmla="*/ 2147483647 w 56"/>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28"/>
                <a:gd name="T26" fmla="*/ 56 w 56"/>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28">
                  <a:moveTo>
                    <a:pt x="1" y="0"/>
                  </a:moveTo>
                  <a:lnTo>
                    <a:pt x="32" y="3"/>
                  </a:lnTo>
                  <a:lnTo>
                    <a:pt x="56" y="19"/>
                  </a:lnTo>
                  <a:lnTo>
                    <a:pt x="56" y="24"/>
                  </a:lnTo>
                  <a:lnTo>
                    <a:pt x="52" y="28"/>
                  </a:lnTo>
                  <a:lnTo>
                    <a:pt x="18" y="24"/>
                  </a:lnTo>
                  <a:lnTo>
                    <a:pt x="0" y="9"/>
                  </a:lnTo>
                  <a:lnTo>
                    <a:pt x="1" y="0"/>
                  </a:lnTo>
                  <a:close/>
                </a:path>
              </a:pathLst>
            </a:custGeom>
            <a:grpFill/>
            <a:ln w="6350">
              <a:solidFill>
                <a:schemeClr val="tx2"/>
              </a:solidFill>
              <a:round/>
              <a:headEnd/>
              <a:tailEnd/>
            </a:ln>
          </p:spPr>
          <p:txBody>
            <a:bodyPr/>
            <a:lstStyle/>
            <a:p>
              <a:endParaRPr lang="en-US"/>
            </a:p>
          </p:txBody>
        </p:sp>
        <p:sp>
          <p:nvSpPr>
            <p:cNvPr id="475" name="Freeform 1581"/>
            <p:cNvSpPr>
              <a:spLocks/>
            </p:cNvSpPr>
            <p:nvPr/>
          </p:nvSpPr>
          <p:spPr bwMode="auto">
            <a:xfrm>
              <a:off x="8109203" y="4597053"/>
              <a:ext cx="21239" cy="13653"/>
            </a:xfrm>
            <a:custGeom>
              <a:avLst/>
              <a:gdLst>
                <a:gd name="T0" fmla="*/ 0 w 41"/>
                <a:gd name="T1" fmla="*/ 0 h 29"/>
                <a:gd name="T2" fmla="*/ 2147483647 w 41"/>
                <a:gd name="T3" fmla="*/ 2147483647 h 29"/>
                <a:gd name="T4" fmla="*/ 2147483647 w 41"/>
                <a:gd name="T5" fmla="*/ 2147483647 h 29"/>
                <a:gd name="T6" fmla="*/ 2147483647 w 41"/>
                <a:gd name="T7" fmla="*/ 2147483647 h 29"/>
                <a:gd name="T8" fmla="*/ 2147483647 w 41"/>
                <a:gd name="T9" fmla="*/ 2147483647 h 29"/>
                <a:gd name="T10" fmla="*/ 0 w 41"/>
                <a:gd name="T11" fmla="*/ 0 h 29"/>
                <a:gd name="T12" fmla="*/ 0 60000 65536"/>
                <a:gd name="T13" fmla="*/ 0 60000 65536"/>
                <a:gd name="T14" fmla="*/ 0 60000 65536"/>
                <a:gd name="T15" fmla="*/ 0 60000 65536"/>
                <a:gd name="T16" fmla="*/ 0 60000 65536"/>
                <a:gd name="T17" fmla="*/ 0 60000 65536"/>
                <a:gd name="T18" fmla="*/ 0 w 41"/>
                <a:gd name="T19" fmla="*/ 0 h 29"/>
                <a:gd name="T20" fmla="*/ 41 w 4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41" h="29">
                  <a:moveTo>
                    <a:pt x="0" y="0"/>
                  </a:moveTo>
                  <a:lnTo>
                    <a:pt x="30" y="12"/>
                  </a:lnTo>
                  <a:lnTo>
                    <a:pt x="41" y="26"/>
                  </a:lnTo>
                  <a:lnTo>
                    <a:pt x="38" y="29"/>
                  </a:lnTo>
                  <a:lnTo>
                    <a:pt x="19" y="22"/>
                  </a:lnTo>
                  <a:lnTo>
                    <a:pt x="0" y="0"/>
                  </a:lnTo>
                  <a:close/>
                </a:path>
              </a:pathLst>
            </a:custGeom>
            <a:grpFill/>
            <a:ln w="6350">
              <a:solidFill>
                <a:schemeClr val="tx2"/>
              </a:solidFill>
              <a:round/>
              <a:headEnd/>
              <a:tailEnd/>
            </a:ln>
          </p:spPr>
          <p:txBody>
            <a:bodyPr/>
            <a:lstStyle/>
            <a:p>
              <a:endParaRPr lang="en-US"/>
            </a:p>
          </p:txBody>
        </p:sp>
        <p:sp>
          <p:nvSpPr>
            <p:cNvPr id="476" name="Freeform 1582"/>
            <p:cNvSpPr>
              <a:spLocks/>
            </p:cNvSpPr>
            <p:nvPr/>
          </p:nvSpPr>
          <p:spPr bwMode="auto">
            <a:xfrm>
              <a:off x="7921080" y="4571262"/>
              <a:ext cx="9103" cy="7586"/>
            </a:xfrm>
            <a:custGeom>
              <a:avLst/>
              <a:gdLst>
                <a:gd name="T0" fmla="*/ 0 w 15"/>
                <a:gd name="T1" fmla="*/ 0 h 14"/>
                <a:gd name="T2" fmla="*/ 2147483647 w 15"/>
                <a:gd name="T3" fmla="*/ 2147483647 h 14"/>
                <a:gd name="T4" fmla="*/ 2147483647 w 15"/>
                <a:gd name="T5" fmla="*/ 2147483647 h 14"/>
                <a:gd name="T6" fmla="*/ 2147483647 w 15"/>
                <a:gd name="T7" fmla="*/ 2147483647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0" y="0"/>
                  </a:moveTo>
                  <a:lnTo>
                    <a:pt x="15" y="9"/>
                  </a:lnTo>
                  <a:lnTo>
                    <a:pt x="15" y="14"/>
                  </a:lnTo>
                  <a:lnTo>
                    <a:pt x="9" y="14"/>
                  </a:lnTo>
                  <a:lnTo>
                    <a:pt x="0" y="0"/>
                  </a:lnTo>
                  <a:close/>
                </a:path>
              </a:pathLst>
            </a:custGeom>
            <a:grpFill/>
            <a:ln w="6350">
              <a:solidFill>
                <a:schemeClr val="tx2"/>
              </a:solidFill>
              <a:round/>
              <a:headEnd/>
              <a:tailEnd/>
            </a:ln>
          </p:spPr>
          <p:txBody>
            <a:bodyPr/>
            <a:lstStyle/>
            <a:p>
              <a:endParaRPr lang="en-US"/>
            </a:p>
          </p:txBody>
        </p:sp>
        <p:sp>
          <p:nvSpPr>
            <p:cNvPr id="477" name="Freeform 1583"/>
            <p:cNvSpPr>
              <a:spLocks/>
            </p:cNvSpPr>
            <p:nvPr/>
          </p:nvSpPr>
          <p:spPr bwMode="auto">
            <a:xfrm>
              <a:off x="7878602" y="4580364"/>
              <a:ext cx="9103" cy="7586"/>
            </a:xfrm>
            <a:custGeom>
              <a:avLst/>
              <a:gdLst>
                <a:gd name="T0" fmla="*/ 0 w 19"/>
                <a:gd name="T1" fmla="*/ 0 h 16"/>
                <a:gd name="T2" fmla="*/ 2147483647 w 19"/>
                <a:gd name="T3" fmla="*/ 2147483647 h 16"/>
                <a:gd name="T4" fmla="*/ 2147483647 w 19"/>
                <a:gd name="T5" fmla="*/ 2147483647 h 16"/>
                <a:gd name="T6" fmla="*/ 2147483647 w 19"/>
                <a:gd name="T7" fmla="*/ 2147483647 h 16"/>
                <a:gd name="T8" fmla="*/ 0 w 19"/>
                <a:gd name="T9" fmla="*/ 0 h 16"/>
                <a:gd name="T10" fmla="*/ 0 60000 65536"/>
                <a:gd name="T11" fmla="*/ 0 60000 65536"/>
                <a:gd name="T12" fmla="*/ 0 60000 65536"/>
                <a:gd name="T13" fmla="*/ 0 60000 65536"/>
                <a:gd name="T14" fmla="*/ 0 60000 65536"/>
                <a:gd name="T15" fmla="*/ 0 w 19"/>
                <a:gd name="T16" fmla="*/ 0 h 16"/>
                <a:gd name="T17" fmla="*/ 19 w 19"/>
                <a:gd name="T18" fmla="*/ 16 h 16"/>
              </a:gdLst>
              <a:ahLst/>
              <a:cxnLst>
                <a:cxn ang="T10">
                  <a:pos x="T0" y="T1"/>
                </a:cxn>
                <a:cxn ang="T11">
                  <a:pos x="T2" y="T3"/>
                </a:cxn>
                <a:cxn ang="T12">
                  <a:pos x="T4" y="T5"/>
                </a:cxn>
                <a:cxn ang="T13">
                  <a:pos x="T6" y="T7"/>
                </a:cxn>
                <a:cxn ang="T14">
                  <a:pos x="T8" y="T9"/>
                </a:cxn>
              </a:cxnLst>
              <a:rect l="T15" t="T16" r="T17" b="T18"/>
              <a:pathLst>
                <a:path w="19" h="16">
                  <a:moveTo>
                    <a:pt x="0" y="0"/>
                  </a:moveTo>
                  <a:lnTo>
                    <a:pt x="17" y="6"/>
                  </a:lnTo>
                  <a:lnTo>
                    <a:pt x="19" y="16"/>
                  </a:lnTo>
                  <a:lnTo>
                    <a:pt x="2" y="13"/>
                  </a:lnTo>
                  <a:lnTo>
                    <a:pt x="0" y="0"/>
                  </a:lnTo>
                  <a:close/>
                </a:path>
              </a:pathLst>
            </a:custGeom>
            <a:grpFill/>
            <a:ln w="6350">
              <a:solidFill>
                <a:schemeClr val="tx2"/>
              </a:solidFill>
              <a:round/>
              <a:headEnd/>
              <a:tailEnd/>
            </a:ln>
          </p:spPr>
          <p:txBody>
            <a:bodyPr/>
            <a:lstStyle/>
            <a:p>
              <a:endParaRPr lang="en-US"/>
            </a:p>
          </p:txBody>
        </p:sp>
        <p:sp>
          <p:nvSpPr>
            <p:cNvPr id="478" name="Freeform 1584"/>
            <p:cNvSpPr>
              <a:spLocks/>
            </p:cNvSpPr>
            <p:nvPr/>
          </p:nvSpPr>
          <p:spPr bwMode="auto">
            <a:xfrm>
              <a:off x="7884669" y="4589467"/>
              <a:ext cx="9103" cy="6069"/>
            </a:xfrm>
            <a:custGeom>
              <a:avLst/>
              <a:gdLst>
                <a:gd name="T0" fmla="*/ 0 w 18"/>
                <a:gd name="T1" fmla="*/ 0 h 14"/>
                <a:gd name="T2" fmla="*/ 2147483647 w 18"/>
                <a:gd name="T3" fmla="*/ 2147483647 h 14"/>
                <a:gd name="T4" fmla="*/ 2147483647 w 18"/>
                <a:gd name="T5" fmla="*/ 2147483647 h 14"/>
                <a:gd name="T6" fmla="*/ 2147483647 w 18"/>
                <a:gd name="T7" fmla="*/ 2147483647 h 14"/>
                <a:gd name="T8" fmla="*/ 2147483647 w 18"/>
                <a:gd name="T9" fmla="*/ 2147483647 h 14"/>
                <a:gd name="T10" fmla="*/ 0 w 18"/>
                <a:gd name="T11" fmla="*/ 0 h 14"/>
                <a:gd name="T12" fmla="*/ 0 60000 65536"/>
                <a:gd name="T13" fmla="*/ 0 60000 65536"/>
                <a:gd name="T14" fmla="*/ 0 60000 65536"/>
                <a:gd name="T15" fmla="*/ 0 60000 65536"/>
                <a:gd name="T16" fmla="*/ 0 60000 65536"/>
                <a:gd name="T17" fmla="*/ 0 60000 65536"/>
                <a:gd name="T18" fmla="*/ 0 w 18"/>
                <a:gd name="T19" fmla="*/ 0 h 14"/>
                <a:gd name="T20" fmla="*/ 18 w 18"/>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8" h="14">
                  <a:moveTo>
                    <a:pt x="0" y="0"/>
                  </a:moveTo>
                  <a:lnTo>
                    <a:pt x="7" y="6"/>
                  </a:lnTo>
                  <a:lnTo>
                    <a:pt x="17" y="7"/>
                  </a:lnTo>
                  <a:lnTo>
                    <a:pt x="18" y="13"/>
                  </a:lnTo>
                  <a:lnTo>
                    <a:pt x="12" y="14"/>
                  </a:lnTo>
                  <a:lnTo>
                    <a:pt x="0" y="0"/>
                  </a:lnTo>
                  <a:close/>
                </a:path>
              </a:pathLst>
            </a:custGeom>
            <a:grpFill/>
            <a:ln w="6350">
              <a:solidFill>
                <a:schemeClr val="tx2"/>
              </a:solidFill>
              <a:round/>
              <a:headEnd/>
              <a:tailEnd/>
            </a:ln>
          </p:spPr>
          <p:txBody>
            <a:bodyPr/>
            <a:lstStyle/>
            <a:p>
              <a:endParaRPr lang="en-US"/>
            </a:p>
          </p:txBody>
        </p:sp>
        <p:sp>
          <p:nvSpPr>
            <p:cNvPr id="479" name="Freeform 1585"/>
            <p:cNvSpPr>
              <a:spLocks/>
            </p:cNvSpPr>
            <p:nvPr/>
          </p:nvSpPr>
          <p:spPr bwMode="auto">
            <a:xfrm>
              <a:off x="7553938" y="4395276"/>
              <a:ext cx="15172" cy="10620"/>
            </a:xfrm>
            <a:custGeom>
              <a:avLst/>
              <a:gdLst>
                <a:gd name="T0" fmla="*/ 0 w 36"/>
                <a:gd name="T1" fmla="*/ 0 h 20"/>
                <a:gd name="T2" fmla="*/ 2147483647 w 36"/>
                <a:gd name="T3" fmla="*/ 0 h 20"/>
                <a:gd name="T4" fmla="*/ 2147483647 w 36"/>
                <a:gd name="T5" fmla="*/ 2147483647 h 20"/>
                <a:gd name="T6" fmla="*/ 2147483647 w 36"/>
                <a:gd name="T7" fmla="*/ 2147483647 h 20"/>
                <a:gd name="T8" fmla="*/ 0 w 36"/>
                <a:gd name="T9" fmla="*/ 0 h 20"/>
                <a:gd name="T10" fmla="*/ 0 60000 65536"/>
                <a:gd name="T11" fmla="*/ 0 60000 65536"/>
                <a:gd name="T12" fmla="*/ 0 60000 65536"/>
                <a:gd name="T13" fmla="*/ 0 60000 65536"/>
                <a:gd name="T14" fmla="*/ 0 60000 65536"/>
                <a:gd name="T15" fmla="*/ 0 w 36"/>
                <a:gd name="T16" fmla="*/ 0 h 20"/>
                <a:gd name="T17" fmla="*/ 36 w 36"/>
                <a:gd name="T18" fmla="*/ 20 h 20"/>
              </a:gdLst>
              <a:ahLst/>
              <a:cxnLst>
                <a:cxn ang="T10">
                  <a:pos x="T0" y="T1"/>
                </a:cxn>
                <a:cxn ang="T11">
                  <a:pos x="T2" y="T3"/>
                </a:cxn>
                <a:cxn ang="T12">
                  <a:pos x="T4" y="T5"/>
                </a:cxn>
                <a:cxn ang="T13">
                  <a:pos x="T6" y="T7"/>
                </a:cxn>
                <a:cxn ang="T14">
                  <a:pos x="T8" y="T9"/>
                </a:cxn>
              </a:cxnLst>
              <a:rect l="T15" t="T16" r="T17" b="T18"/>
              <a:pathLst>
                <a:path w="36" h="20">
                  <a:moveTo>
                    <a:pt x="0" y="0"/>
                  </a:moveTo>
                  <a:lnTo>
                    <a:pt x="16" y="0"/>
                  </a:lnTo>
                  <a:lnTo>
                    <a:pt x="36" y="17"/>
                  </a:lnTo>
                  <a:lnTo>
                    <a:pt x="24" y="20"/>
                  </a:lnTo>
                  <a:lnTo>
                    <a:pt x="0" y="0"/>
                  </a:lnTo>
                  <a:close/>
                </a:path>
              </a:pathLst>
            </a:custGeom>
            <a:grpFill/>
            <a:ln w="6350">
              <a:solidFill>
                <a:schemeClr val="tx2"/>
              </a:solidFill>
              <a:round/>
              <a:headEnd/>
              <a:tailEnd/>
            </a:ln>
          </p:spPr>
          <p:txBody>
            <a:bodyPr/>
            <a:lstStyle/>
            <a:p>
              <a:endParaRPr lang="en-US"/>
            </a:p>
          </p:txBody>
        </p:sp>
        <p:sp>
          <p:nvSpPr>
            <p:cNvPr id="480" name="Freeform 1586"/>
            <p:cNvSpPr>
              <a:spLocks/>
            </p:cNvSpPr>
            <p:nvPr/>
          </p:nvSpPr>
          <p:spPr bwMode="auto">
            <a:xfrm>
              <a:off x="7555456" y="4414999"/>
              <a:ext cx="28826" cy="6069"/>
            </a:xfrm>
            <a:custGeom>
              <a:avLst/>
              <a:gdLst>
                <a:gd name="T0" fmla="*/ 0 w 56"/>
                <a:gd name="T1" fmla="*/ 0 h 10"/>
                <a:gd name="T2" fmla="*/ 2147483647 w 56"/>
                <a:gd name="T3" fmla="*/ 2147483647 h 10"/>
                <a:gd name="T4" fmla="*/ 2147483647 w 56"/>
                <a:gd name="T5" fmla="*/ 2147483647 h 10"/>
                <a:gd name="T6" fmla="*/ 2147483647 w 56"/>
                <a:gd name="T7" fmla="*/ 2147483647 h 10"/>
                <a:gd name="T8" fmla="*/ 0 w 56"/>
                <a:gd name="T9" fmla="*/ 0 h 10"/>
                <a:gd name="T10" fmla="*/ 0 60000 65536"/>
                <a:gd name="T11" fmla="*/ 0 60000 65536"/>
                <a:gd name="T12" fmla="*/ 0 60000 65536"/>
                <a:gd name="T13" fmla="*/ 0 60000 65536"/>
                <a:gd name="T14" fmla="*/ 0 60000 65536"/>
                <a:gd name="T15" fmla="*/ 0 w 56"/>
                <a:gd name="T16" fmla="*/ 0 h 10"/>
                <a:gd name="T17" fmla="*/ 56 w 56"/>
                <a:gd name="T18" fmla="*/ 10 h 10"/>
              </a:gdLst>
              <a:ahLst/>
              <a:cxnLst>
                <a:cxn ang="T10">
                  <a:pos x="T0" y="T1"/>
                </a:cxn>
                <a:cxn ang="T11">
                  <a:pos x="T2" y="T3"/>
                </a:cxn>
                <a:cxn ang="T12">
                  <a:pos x="T4" y="T5"/>
                </a:cxn>
                <a:cxn ang="T13">
                  <a:pos x="T6" y="T7"/>
                </a:cxn>
                <a:cxn ang="T14">
                  <a:pos x="T8" y="T9"/>
                </a:cxn>
              </a:cxnLst>
              <a:rect l="T15" t="T16" r="T17" b="T18"/>
              <a:pathLst>
                <a:path w="56" h="10">
                  <a:moveTo>
                    <a:pt x="0" y="0"/>
                  </a:moveTo>
                  <a:lnTo>
                    <a:pt x="49" y="4"/>
                  </a:lnTo>
                  <a:lnTo>
                    <a:pt x="56" y="10"/>
                  </a:lnTo>
                  <a:lnTo>
                    <a:pt x="28" y="10"/>
                  </a:lnTo>
                  <a:lnTo>
                    <a:pt x="0" y="0"/>
                  </a:lnTo>
                  <a:close/>
                </a:path>
              </a:pathLst>
            </a:custGeom>
            <a:grpFill/>
            <a:ln w="6350">
              <a:solidFill>
                <a:schemeClr val="tx2"/>
              </a:solidFill>
              <a:round/>
              <a:headEnd/>
              <a:tailEnd/>
            </a:ln>
          </p:spPr>
          <p:txBody>
            <a:bodyPr/>
            <a:lstStyle/>
            <a:p>
              <a:endParaRPr lang="en-US"/>
            </a:p>
          </p:txBody>
        </p:sp>
        <p:sp>
          <p:nvSpPr>
            <p:cNvPr id="481" name="Freeform 1587"/>
            <p:cNvSpPr>
              <a:spLocks/>
            </p:cNvSpPr>
            <p:nvPr/>
          </p:nvSpPr>
          <p:spPr bwMode="auto">
            <a:xfrm>
              <a:off x="7444707" y="4381623"/>
              <a:ext cx="19722" cy="7585"/>
            </a:xfrm>
            <a:custGeom>
              <a:avLst/>
              <a:gdLst>
                <a:gd name="T0" fmla="*/ 2147483647 w 39"/>
                <a:gd name="T1" fmla="*/ 2147483647 h 16"/>
                <a:gd name="T2" fmla="*/ 2147483647 w 39"/>
                <a:gd name="T3" fmla="*/ 0 h 16"/>
                <a:gd name="T4" fmla="*/ 2147483647 w 39"/>
                <a:gd name="T5" fmla="*/ 2147483647 h 16"/>
                <a:gd name="T6" fmla="*/ 2147483647 w 39"/>
                <a:gd name="T7" fmla="*/ 2147483647 h 16"/>
                <a:gd name="T8" fmla="*/ 2147483647 w 39"/>
                <a:gd name="T9" fmla="*/ 2147483647 h 16"/>
                <a:gd name="T10" fmla="*/ 0 w 39"/>
                <a:gd name="T11" fmla="*/ 2147483647 h 16"/>
                <a:gd name="T12" fmla="*/ 2147483647 w 39"/>
                <a:gd name="T13" fmla="*/ 2147483647 h 16"/>
                <a:gd name="T14" fmla="*/ 0 60000 65536"/>
                <a:gd name="T15" fmla="*/ 0 60000 65536"/>
                <a:gd name="T16" fmla="*/ 0 60000 65536"/>
                <a:gd name="T17" fmla="*/ 0 60000 65536"/>
                <a:gd name="T18" fmla="*/ 0 60000 65536"/>
                <a:gd name="T19" fmla="*/ 0 60000 65536"/>
                <a:gd name="T20" fmla="*/ 0 60000 65536"/>
                <a:gd name="T21" fmla="*/ 0 w 39"/>
                <a:gd name="T22" fmla="*/ 0 h 16"/>
                <a:gd name="T23" fmla="*/ 39 w 39"/>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16">
                  <a:moveTo>
                    <a:pt x="3" y="3"/>
                  </a:moveTo>
                  <a:lnTo>
                    <a:pt x="15" y="0"/>
                  </a:lnTo>
                  <a:lnTo>
                    <a:pt x="39" y="12"/>
                  </a:lnTo>
                  <a:lnTo>
                    <a:pt x="22" y="16"/>
                  </a:lnTo>
                  <a:lnTo>
                    <a:pt x="4" y="10"/>
                  </a:lnTo>
                  <a:lnTo>
                    <a:pt x="0" y="7"/>
                  </a:lnTo>
                  <a:lnTo>
                    <a:pt x="3" y="3"/>
                  </a:lnTo>
                  <a:close/>
                </a:path>
              </a:pathLst>
            </a:custGeom>
            <a:grpFill/>
            <a:ln w="6350">
              <a:solidFill>
                <a:schemeClr val="tx2"/>
              </a:solidFill>
              <a:round/>
              <a:headEnd/>
              <a:tailEnd/>
            </a:ln>
          </p:spPr>
          <p:txBody>
            <a:bodyPr/>
            <a:lstStyle/>
            <a:p>
              <a:endParaRPr lang="en-US"/>
            </a:p>
          </p:txBody>
        </p:sp>
        <p:sp>
          <p:nvSpPr>
            <p:cNvPr id="482" name="Freeform 1588"/>
            <p:cNvSpPr>
              <a:spLocks/>
            </p:cNvSpPr>
            <p:nvPr/>
          </p:nvSpPr>
          <p:spPr bwMode="auto">
            <a:xfrm>
              <a:off x="7432569" y="4416516"/>
              <a:ext cx="12137" cy="9103"/>
            </a:xfrm>
            <a:custGeom>
              <a:avLst/>
              <a:gdLst>
                <a:gd name="T0" fmla="*/ 0 w 25"/>
                <a:gd name="T1" fmla="*/ 2147483647 h 16"/>
                <a:gd name="T2" fmla="*/ 2147483647 w 25"/>
                <a:gd name="T3" fmla="*/ 0 h 16"/>
                <a:gd name="T4" fmla="*/ 2147483647 w 25"/>
                <a:gd name="T5" fmla="*/ 2147483647 h 16"/>
                <a:gd name="T6" fmla="*/ 2147483647 w 25"/>
                <a:gd name="T7" fmla="*/ 2147483647 h 16"/>
                <a:gd name="T8" fmla="*/ 0 w 25"/>
                <a:gd name="T9" fmla="*/ 2147483647 h 16"/>
                <a:gd name="T10" fmla="*/ 0 60000 65536"/>
                <a:gd name="T11" fmla="*/ 0 60000 65536"/>
                <a:gd name="T12" fmla="*/ 0 60000 65536"/>
                <a:gd name="T13" fmla="*/ 0 60000 65536"/>
                <a:gd name="T14" fmla="*/ 0 60000 65536"/>
                <a:gd name="T15" fmla="*/ 0 w 25"/>
                <a:gd name="T16" fmla="*/ 0 h 16"/>
                <a:gd name="T17" fmla="*/ 25 w 25"/>
                <a:gd name="T18" fmla="*/ 16 h 16"/>
              </a:gdLst>
              <a:ahLst/>
              <a:cxnLst>
                <a:cxn ang="T10">
                  <a:pos x="T0" y="T1"/>
                </a:cxn>
                <a:cxn ang="T11">
                  <a:pos x="T2" y="T3"/>
                </a:cxn>
                <a:cxn ang="T12">
                  <a:pos x="T4" y="T5"/>
                </a:cxn>
                <a:cxn ang="T13">
                  <a:pos x="T6" y="T7"/>
                </a:cxn>
                <a:cxn ang="T14">
                  <a:pos x="T8" y="T9"/>
                </a:cxn>
              </a:cxnLst>
              <a:rect l="T15" t="T16" r="T17" b="T18"/>
              <a:pathLst>
                <a:path w="25" h="16">
                  <a:moveTo>
                    <a:pt x="0" y="6"/>
                  </a:moveTo>
                  <a:lnTo>
                    <a:pt x="22" y="0"/>
                  </a:lnTo>
                  <a:lnTo>
                    <a:pt x="25" y="12"/>
                  </a:lnTo>
                  <a:lnTo>
                    <a:pt x="11" y="16"/>
                  </a:lnTo>
                  <a:lnTo>
                    <a:pt x="0" y="6"/>
                  </a:lnTo>
                  <a:close/>
                </a:path>
              </a:pathLst>
            </a:custGeom>
            <a:grpFill/>
            <a:ln w="6350">
              <a:solidFill>
                <a:schemeClr val="tx2"/>
              </a:solidFill>
              <a:round/>
              <a:headEnd/>
              <a:tailEnd/>
            </a:ln>
          </p:spPr>
          <p:txBody>
            <a:bodyPr/>
            <a:lstStyle/>
            <a:p>
              <a:endParaRPr lang="en-US"/>
            </a:p>
          </p:txBody>
        </p:sp>
        <p:sp>
          <p:nvSpPr>
            <p:cNvPr id="483" name="Freeform 1589"/>
            <p:cNvSpPr>
              <a:spLocks/>
            </p:cNvSpPr>
            <p:nvPr/>
          </p:nvSpPr>
          <p:spPr bwMode="auto">
            <a:xfrm>
              <a:off x="7391607" y="4439273"/>
              <a:ext cx="63718" cy="22756"/>
            </a:xfrm>
            <a:custGeom>
              <a:avLst/>
              <a:gdLst>
                <a:gd name="T0" fmla="*/ 2147483647 w 126"/>
                <a:gd name="T1" fmla="*/ 2147483647 h 46"/>
                <a:gd name="T2" fmla="*/ 0 w 126"/>
                <a:gd name="T3" fmla="*/ 2147483647 h 46"/>
                <a:gd name="T4" fmla="*/ 2147483647 w 126"/>
                <a:gd name="T5" fmla="*/ 2147483647 h 46"/>
                <a:gd name="T6" fmla="*/ 2147483647 w 126"/>
                <a:gd name="T7" fmla="*/ 2147483647 h 46"/>
                <a:gd name="T8" fmla="*/ 2147483647 w 126"/>
                <a:gd name="T9" fmla="*/ 0 h 46"/>
                <a:gd name="T10" fmla="*/ 2147483647 w 126"/>
                <a:gd name="T11" fmla="*/ 2147483647 h 46"/>
                <a:gd name="T12" fmla="*/ 2147483647 w 126"/>
                <a:gd name="T13" fmla="*/ 2147483647 h 46"/>
                <a:gd name="T14" fmla="*/ 2147483647 w 126"/>
                <a:gd name="T15" fmla="*/ 2147483647 h 46"/>
                <a:gd name="T16" fmla="*/ 2147483647 w 126"/>
                <a:gd name="T17" fmla="*/ 2147483647 h 46"/>
                <a:gd name="T18" fmla="*/ 2147483647 w 126"/>
                <a:gd name="T19" fmla="*/ 2147483647 h 46"/>
                <a:gd name="T20" fmla="*/ 2147483647 w 126"/>
                <a:gd name="T21" fmla="*/ 2147483647 h 46"/>
                <a:gd name="T22" fmla="*/ 2147483647 w 126"/>
                <a:gd name="T23" fmla="*/ 2147483647 h 46"/>
                <a:gd name="T24" fmla="*/ 2147483647 w 126"/>
                <a:gd name="T25" fmla="*/ 2147483647 h 46"/>
                <a:gd name="T26" fmla="*/ 2147483647 w 126"/>
                <a:gd name="T27" fmla="*/ 2147483647 h 46"/>
                <a:gd name="T28" fmla="*/ 2147483647 w 126"/>
                <a:gd name="T29" fmla="*/ 2147483647 h 46"/>
                <a:gd name="T30" fmla="*/ 2147483647 w 126"/>
                <a:gd name="T31" fmla="*/ 2147483647 h 46"/>
                <a:gd name="T32" fmla="*/ 2147483647 w 126"/>
                <a:gd name="T33" fmla="*/ 2147483647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46"/>
                <a:gd name="T53" fmla="*/ 126 w 126"/>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6" h="46">
                  <a:moveTo>
                    <a:pt x="2" y="30"/>
                  </a:moveTo>
                  <a:lnTo>
                    <a:pt x="0" y="18"/>
                  </a:lnTo>
                  <a:lnTo>
                    <a:pt x="13" y="2"/>
                  </a:lnTo>
                  <a:lnTo>
                    <a:pt x="55" y="3"/>
                  </a:lnTo>
                  <a:lnTo>
                    <a:pt x="69" y="0"/>
                  </a:lnTo>
                  <a:lnTo>
                    <a:pt x="84" y="9"/>
                  </a:lnTo>
                  <a:lnTo>
                    <a:pt x="110" y="11"/>
                  </a:lnTo>
                  <a:lnTo>
                    <a:pt x="119" y="27"/>
                  </a:lnTo>
                  <a:lnTo>
                    <a:pt x="125" y="29"/>
                  </a:lnTo>
                  <a:lnTo>
                    <a:pt x="126" y="39"/>
                  </a:lnTo>
                  <a:lnTo>
                    <a:pt x="123" y="46"/>
                  </a:lnTo>
                  <a:lnTo>
                    <a:pt x="76" y="23"/>
                  </a:lnTo>
                  <a:lnTo>
                    <a:pt x="57" y="27"/>
                  </a:lnTo>
                  <a:lnTo>
                    <a:pt x="41" y="20"/>
                  </a:lnTo>
                  <a:lnTo>
                    <a:pt x="26" y="29"/>
                  </a:lnTo>
                  <a:lnTo>
                    <a:pt x="10" y="16"/>
                  </a:lnTo>
                  <a:lnTo>
                    <a:pt x="2" y="30"/>
                  </a:lnTo>
                  <a:close/>
                </a:path>
              </a:pathLst>
            </a:custGeom>
            <a:grpFill/>
            <a:ln w="6350">
              <a:solidFill>
                <a:schemeClr val="tx2"/>
              </a:solidFill>
              <a:round/>
              <a:headEnd/>
              <a:tailEnd/>
            </a:ln>
          </p:spPr>
          <p:txBody>
            <a:bodyPr/>
            <a:lstStyle/>
            <a:p>
              <a:endParaRPr lang="en-US"/>
            </a:p>
          </p:txBody>
        </p:sp>
        <p:sp>
          <p:nvSpPr>
            <p:cNvPr id="484" name="Freeform 1590"/>
            <p:cNvSpPr>
              <a:spLocks/>
            </p:cNvSpPr>
            <p:nvPr/>
          </p:nvSpPr>
          <p:spPr bwMode="auto">
            <a:xfrm>
              <a:off x="7500839" y="4495406"/>
              <a:ext cx="3034" cy="6069"/>
            </a:xfrm>
            <a:custGeom>
              <a:avLst/>
              <a:gdLst>
                <a:gd name="T0" fmla="*/ 2147483647 w 7"/>
                <a:gd name="T1" fmla="*/ 2147483647 h 13"/>
                <a:gd name="T2" fmla="*/ 2147483647 w 7"/>
                <a:gd name="T3" fmla="*/ 0 h 13"/>
                <a:gd name="T4" fmla="*/ 0 w 7"/>
                <a:gd name="T5" fmla="*/ 2147483647 h 13"/>
                <a:gd name="T6" fmla="*/ 2147483647 w 7"/>
                <a:gd name="T7" fmla="*/ 2147483647 h 13"/>
                <a:gd name="T8" fmla="*/ 0 60000 65536"/>
                <a:gd name="T9" fmla="*/ 0 60000 65536"/>
                <a:gd name="T10" fmla="*/ 0 60000 65536"/>
                <a:gd name="T11" fmla="*/ 0 60000 65536"/>
                <a:gd name="T12" fmla="*/ 0 w 7"/>
                <a:gd name="T13" fmla="*/ 0 h 13"/>
                <a:gd name="T14" fmla="*/ 7 w 7"/>
                <a:gd name="T15" fmla="*/ 13 h 13"/>
              </a:gdLst>
              <a:ahLst/>
              <a:cxnLst>
                <a:cxn ang="T8">
                  <a:pos x="T0" y="T1"/>
                </a:cxn>
                <a:cxn ang="T9">
                  <a:pos x="T2" y="T3"/>
                </a:cxn>
                <a:cxn ang="T10">
                  <a:pos x="T4" y="T5"/>
                </a:cxn>
                <a:cxn ang="T11">
                  <a:pos x="T6" y="T7"/>
                </a:cxn>
              </a:cxnLst>
              <a:rect l="T12" t="T13" r="T14" b="T15"/>
              <a:pathLst>
                <a:path w="7" h="13">
                  <a:moveTo>
                    <a:pt x="2" y="1"/>
                  </a:moveTo>
                  <a:lnTo>
                    <a:pt x="7" y="0"/>
                  </a:lnTo>
                  <a:lnTo>
                    <a:pt x="0" y="13"/>
                  </a:lnTo>
                  <a:lnTo>
                    <a:pt x="2" y="1"/>
                  </a:lnTo>
                  <a:close/>
                </a:path>
              </a:pathLst>
            </a:custGeom>
            <a:grpFill/>
            <a:ln w="6350">
              <a:solidFill>
                <a:schemeClr val="tx2"/>
              </a:solidFill>
              <a:round/>
              <a:headEnd/>
              <a:tailEnd/>
            </a:ln>
          </p:spPr>
          <p:txBody>
            <a:bodyPr/>
            <a:lstStyle/>
            <a:p>
              <a:endParaRPr lang="en-US"/>
            </a:p>
          </p:txBody>
        </p:sp>
        <p:sp>
          <p:nvSpPr>
            <p:cNvPr id="485" name="Freeform 1591"/>
            <p:cNvSpPr>
              <a:spLocks/>
            </p:cNvSpPr>
            <p:nvPr/>
          </p:nvSpPr>
          <p:spPr bwMode="auto">
            <a:xfrm>
              <a:off x="7528148" y="4496923"/>
              <a:ext cx="9103" cy="18206"/>
            </a:xfrm>
            <a:custGeom>
              <a:avLst/>
              <a:gdLst>
                <a:gd name="T0" fmla="*/ 0 w 19"/>
                <a:gd name="T1" fmla="*/ 2147483647 h 40"/>
                <a:gd name="T2" fmla="*/ 2147483647 w 19"/>
                <a:gd name="T3" fmla="*/ 0 h 40"/>
                <a:gd name="T4" fmla="*/ 2147483647 w 19"/>
                <a:gd name="T5" fmla="*/ 2147483647 h 40"/>
                <a:gd name="T6" fmla="*/ 2147483647 w 19"/>
                <a:gd name="T7" fmla="*/ 2147483647 h 40"/>
                <a:gd name="T8" fmla="*/ 2147483647 w 19"/>
                <a:gd name="T9" fmla="*/ 2147483647 h 40"/>
                <a:gd name="T10" fmla="*/ 2147483647 w 19"/>
                <a:gd name="T11" fmla="*/ 2147483647 h 40"/>
                <a:gd name="T12" fmla="*/ 2147483647 w 19"/>
                <a:gd name="T13" fmla="*/ 2147483647 h 40"/>
                <a:gd name="T14" fmla="*/ 0 w 19"/>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40"/>
                <a:gd name="T26" fmla="*/ 19 w 19"/>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40">
                  <a:moveTo>
                    <a:pt x="0" y="14"/>
                  </a:moveTo>
                  <a:lnTo>
                    <a:pt x="8" y="0"/>
                  </a:lnTo>
                  <a:lnTo>
                    <a:pt x="15" y="2"/>
                  </a:lnTo>
                  <a:lnTo>
                    <a:pt x="19" y="11"/>
                  </a:lnTo>
                  <a:lnTo>
                    <a:pt x="17" y="40"/>
                  </a:lnTo>
                  <a:lnTo>
                    <a:pt x="4" y="32"/>
                  </a:lnTo>
                  <a:lnTo>
                    <a:pt x="5" y="16"/>
                  </a:lnTo>
                  <a:lnTo>
                    <a:pt x="0" y="14"/>
                  </a:lnTo>
                  <a:close/>
                </a:path>
              </a:pathLst>
            </a:custGeom>
            <a:grpFill/>
            <a:ln w="6350">
              <a:solidFill>
                <a:schemeClr val="tx2"/>
              </a:solidFill>
              <a:round/>
              <a:headEnd/>
              <a:tailEnd/>
            </a:ln>
          </p:spPr>
          <p:txBody>
            <a:bodyPr/>
            <a:lstStyle/>
            <a:p>
              <a:endParaRPr lang="en-US"/>
            </a:p>
          </p:txBody>
        </p:sp>
        <p:sp>
          <p:nvSpPr>
            <p:cNvPr id="486" name="Freeform 1592"/>
            <p:cNvSpPr>
              <a:spLocks/>
            </p:cNvSpPr>
            <p:nvPr/>
          </p:nvSpPr>
          <p:spPr bwMode="auto">
            <a:xfrm>
              <a:off x="7523596" y="4512095"/>
              <a:ext cx="9103" cy="15172"/>
            </a:xfrm>
            <a:custGeom>
              <a:avLst/>
              <a:gdLst>
                <a:gd name="T0" fmla="*/ 2147483647 w 17"/>
                <a:gd name="T1" fmla="*/ 0 h 29"/>
                <a:gd name="T2" fmla="*/ 2147483647 w 17"/>
                <a:gd name="T3" fmla="*/ 2147483647 h 29"/>
                <a:gd name="T4" fmla="*/ 2147483647 w 17"/>
                <a:gd name="T5" fmla="*/ 2147483647 h 29"/>
                <a:gd name="T6" fmla="*/ 2147483647 w 17"/>
                <a:gd name="T7" fmla="*/ 2147483647 h 29"/>
                <a:gd name="T8" fmla="*/ 0 w 17"/>
                <a:gd name="T9" fmla="*/ 2147483647 h 29"/>
                <a:gd name="T10" fmla="*/ 2147483647 w 17"/>
                <a:gd name="T11" fmla="*/ 2147483647 h 29"/>
                <a:gd name="T12" fmla="*/ 2147483647 w 17"/>
                <a:gd name="T13" fmla="*/ 2147483647 h 29"/>
                <a:gd name="T14" fmla="*/ 2147483647 w 17"/>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9"/>
                <a:gd name="T26" fmla="*/ 17 w 1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9">
                  <a:moveTo>
                    <a:pt x="4" y="0"/>
                  </a:moveTo>
                  <a:lnTo>
                    <a:pt x="17" y="14"/>
                  </a:lnTo>
                  <a:lnTo>
                    <a:pt x="13" y="28"/>
                  </a:lnTo>
                  <a:lnTo>
                    <a:pt x="7" y="29"/>
                  </a:lnTo>
                  <a:lnTo>
                    <a:pt x="0" y="17"/>
                  </a:lnTo>
                  <a:lnTo>
                    <a:pt x="2" y="14"/>
                  </a:lnTo>
                  <a:lnTo>
                    <a:pt x="6" y="19"/>
                  </a:lnTo>
                  <a:lnTo>
                    <a:pt x="4" y="0"/>
                  </a:lnTo>
                  <a:close/>
                </a:path>
              </a:pathLst>
            </a:custGeom>
            <a:grpFill/>
            <a:ln w="6350">
              <a:solidFill>
                <a:schemeClr val="tx2"/>
              </a:solidFill>
              <a:round/>
              <a:headEnd/>
              <a:tailEnd/>
            </a:ln>
          </p:spPr>
          <p:txBody>
            <a:bodyPr/>
            <a:lstStyle/>
            <a:p>
              <a:endParaRPr lang="en-US"/>
            </a:p>
          </p:txBody>
        </p:sp>
        <p:sp>
          <p:nvSpPr>
            <p:cNvPr id="487" name="Freeform 1593"/>
            <p:cNvSpPr>
              <a:spLocks/>
            </p:cNvSpPr>
            <p:nvPr/>
          </p:nvSpPr>
          <p:spPr bwMode="auto">
            <a:xfrm>
              <a:off x="7462912" y="4531817"/>
              <a:ext cx="9103" cy="19723"/>
            </a:xfrm>
            <a:custGeom>
              <a:avLst/>
              <a:gdLst>
                <a:gd name="T0" fmla="*/ 0 w 22"/>
                <a:gd name="T1" fmla="*/ 2147483647 h 38"/>
                <a:gd name="T2" fmla="*/ 2147483647 w 22"/>
                <a:gd name="T3" fmla="*/ 2147483647 h 38"/>
                <a:gd name="T4" fmla="*/ 2147483647 w 22"/>
                <a:gd name="T5" fmla="*/ 2147483647 h 38"/>
                <a:gd name="T6" fmla="*/ 2147483647 w 22"/>
                <a:gd name="T7" fmla="*/ 0 h 38"/>
                <a:gd name="T8" fmla="*/ 2147483647 w 22"/>
                <a:gd name="T9" fmla="*/ 2147483647 h 38"/>
                <a:gd name="T10" fmla="*/ 2147483647 w 22"/>
                <a:gd name="T11" fmla="*/ 2147483647 h 38"/>
                <a:gd name="T12" fmla="*/ 2147483647 w 22"/>
                <a:gd name="T13" fmla="*/ 2147483647 h 38"/>
                <a:gd name="T14" fmla="*/ 0 w 22"/>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38"/>
                <a:gd name="T26" fmla="*/ 22 w 22"/>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38">
                  <a:moveTo>
                    <a:pt x="0" y="26"/>
                  </a:moveTo>
                  <a:lnTo>
                    <a:pt x="3" y="25"/>
                  </a:lnTo>
                  <a:lnTo>
                    <a:pt x="2" y="15"/>
                  </a:lnTo>
                  <a:lnTo>
                    <a:pt x="15" y="0"/>
                  </a:lnTo>
                  <a:lnTo>
                    <a:pt x="22" y="2"/>
                  </a:lnTo>
                  <a:lnTo>
                    <a:pt x="22" y="18"/>
                  </a:lnTo>
                  <a:lnTo>
                    <a:pt x="9" y="38"/>
                  </a:lnTo>
                  <a:lnTo>
                    <a:pt x="0" y="26"/>
                  </a:lnTo>
                  <a:close/>
                </a:path>
              </a:pathLst>
            </a:custGeom>
            <a:grpFill/>
            <a:ln w="6350">
              <a:solidFill>
                <a:schemeClr val="tx2"/>
              </a:solidFill>
              <a:round/>
              <a:headEnd/>
              <a:tailEnd/>
            </a:ln>
          </p:spPr>
          <p:txBody>
            <a:bodyPr/>
            <a:lstStyle/>
            <a:p>
              <a:endParaRPr lang="en-US"/>
            </a:p>
          </p:txBody>
        </p:sp>
        <p:sp>
          <p:nvSpPr>
            <p:cNvPr id="488" name="Freeform 1594"/>
            <p:cNvSpPr>
              <a:spLocks/>
            </p:cNvSpPr>
            <p:nvPr/>
          </p:nvSpPr>
          <p:spPr bwMode="auto">
            <a:xfrm>
              <a:off x="7429535" y="4546988"/>
              <a:ext cx="3034" cy="4551"/>
            </a:xfrm>
            <a:custGeom>
              <a:avLst/>
              <a:gdLst>
                <a:gd name="T0" fmla="*/ 0 w 8"/>
                <a:gd name="T1" fmla="*/ 2147483647 h 9"/>
                <a:gd name="T2" fmla="*/ 2147483647 w 8"/>
                <a:gd name="T3" fmla="*/ 0 h 9"/>
                <a:gd name="T4" fmla="*/ 2147483647 w 8"/>
                <a:gd name="T5" fmla="*/ 2147483647 h 9"/>
                <a:gd name="T6" fmla="*/ 2147483647 w 8"/>
                <a:gd name="T7" fmla="*/ 2147483647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8" y="0"/>
                  </a:lnTo>
                  <a:lnTo>
                    <a:pt x="8" y="5"/>
                  </a:lnTo>
                  <a:lnTo>
                    <a:pt x="5" y="9"/>
                  </a:lnTo>
                  <a:lnTo>
                    <a:pt x="0" y="3"/>
                  </a:lnTo>
                  <a:close/>
                </a:path>
              </a:pathLst>
            </a:custGeom>
            <a:grpFill/>
            <a:ln w="6350">
              <a:solidFill>
                <a:schemeClr val="tx2"/>
              </a:solidFill>
              <a:round/>
              <a:headEnd/>
              <a:tailEnd/>
            </a:ln>
          </p:spPr>
          <p:txBody>
            <a:bodyPr/>
            <a:lstStyle/>
            <a:p>
              <a:endParaRPr lang="en-US"/>
            </a:p>
          </p:txBody>
        </p:sp>
        <p:sp>
          <p:nvSpPr>
            <p:cNvPr id="489" name="Freeform 1595"/>
            <p:cNvSpPr>
              <a:spLocks/>
            </p:cNvSpPr>
            <p:nvPr/>
          </p:nvSpPr>
          <p:spPr bwMode="auto">
            <a:xfrm>
              <a:off x="7405262" y="4531817"/>
              <a:ext cx="3034" cy="1517"/>
            </a:xfrm>
            <a:custGeom>
              <a:avLst/>
              <a:gdLst>
                <a:gd name="T0" fmla="*/ 0 w 4"/>
                <a:gd name="T1" fmla="*/ 2147483647 h 4"/>
                <a:gd name="T2" fmla="*/ 2147483647 w 4"/>
                <a:gd name="T3" fmla="*/ 0 h 4"/>
                <a:gd name="T4" fmla="*/ 2147483647 w 4"/>
                <a:gd name="T5" fmla="*/ 2147483647 h 4"/>
                <a:gd name="T6" fmla="*/ 0 w 4"/>
                <a:gd name="T7" fmla="*/ 2147483647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2"/>
                  </a:moveTo>
                  <a:lnTo>
                    <a:pt x="4" y="0"/>
                  </a:lnTo>
                  <a:lnTo>
                    <a:pt x="4" y="4"/>
                  </a:lnTo>
                  <a:lnTo>
                    <a:pt x="0" y="2"/>
                  </a:lnTo>
                  <a:close/>
                </a:path>
              </a:pathLst>
            </a:custGeom>
            <a:grpFill/>
            <a:ln w="6350">
              <a:solidFill>
                <a:schemeClr val="tx2"/>
              </a:solidFill>
              <a:round/>
              <a:headEnd/>
              <a:tailEnd/>
            </a:ln>
          </p:spPr>
          <p:txBody>
            <a:bodyPr/>
            <a:lstStyle/>
            <a:p>
              <a:endParaRPr lang="en-US"/>
            </a:p>
          </p:txBody>
        </p:sp>
        <p:sp>
          <p:nvSpPr>
            <p:cNvPr id="490" name="Freeform 1596"/>
            <p:cNvSpPr>
              <a:spLocks/>
            </p:cNvSpPr>
            <p:nvPr/>
          </p:nvSpPr>
          <p:spPr bwMode="auto">
            <a:xfrm>
              <a:off x="7347611" y="4540920"/>
              <a:ext cx="21239" cy="10620"/>
            </a:xfrm>
            <a:custGeom>
              <a:avLst/>
              <a:gdLst>
                <a:gd name="T0" fmla="*/ 2147483647 w 45"/>
                <a:gd name="T1" fmla="*/ 2147483647 h 22"/>
                <a:gd name="T2" fmla="*/ 0 w 45"/>
                <a:gd name="T3" fmla="*/ 2147483647 h 22"/>
                <a:gd name="T4" fmla="*/ 2147483647 w 45"/>
                <a:gd name="T5" fmla="*/ 2147483647 h 22"/>
                <a:gd name="T6" fmla="*/ 2147483647 w 45"/>
                <a:gd name="T7" fmla="*/ 2147483647 h 22"/>
                <a:gd name="T8" fmla="*/ 2147483647 w 45"/>
                <a:gd name="T9" fmla="*/ 0 h 22"/>
                <a:gd name="T10" fmla="*/ 2147483647 w 45"/>
                <a:gd name="T11" fmla="*/ 2147483647 h 22"/>
                <a:gd name="T12" fmla="*/ 2147483647 w 45"/>
                <a:gd name="T13" fmla="*/ 2147483647 h 22"/>
                <a:gd name="T14" fmla="*/ 2147483647 w 45"/>
                <a:gd name="T15" fmla="*/ 2147483647 h 22"/>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22"/>
                <a:gd name="T26" fmla="*/ 45 w 45"/>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22">
                  <a:moveTo>
                    <a:pt x="4" y="22"/>
                  </a:moveTo>
                  <a:lnTo>
                    <a:pt x="0" y="17"/>
                  </a:lnTo>
                  <a:lnTo>
                    <a:pt x="6" y="7"/>
                  </a:lnTo>
                  <a:lnTo>
                    <a:pt x="20" y="7"/>
                  </a:lnTo>
                  <a:lnTo>
                    <a:pt x="34" y="0"/>
                  </a:lnTo>
                  <a:lnTo>
                    <a:pt x="45" y="8"/>
                  </a:lnTo>
                  <a:lnTo>
                    <a:pt x="30" y="19"/>
                  </a:lnTo>
                  <a:lnTo>
                    <a:pt x="4" y="22"/>
                  </a:lnTo>
                  <a:close/>
                </a:path>
              </a:pathLst>
            </a:custGeom>
            <a:grpFill/>
            <a:ln w="6350">
              <a:solidFill>
                <a:schemeClr val="tx2"/>
              </a:solidFill>
              <a:round/>
              <a:headEnd/>
              <a:tailEnd/>
            </a:ln>
          </p:spPr>
          <p:txBody>
            <a:bodyPr/>
            <a:lstStyle/>
            <a:p>
              <a:endParaRPr lang="en-US"/>
            </a:p>
          </p:txBody>
        </p:sp>
        <p:sp>
          <p:nvSpPr>
            <p:cNvPr id="491" name="Freeform 1597"/>
            <p:cNvSpPr>
              <a:spLocks/>
            </p:cNvSpPr>
            <p:nvPr/>
          </p:nvSpPr>
          <p:spPr bwMode="auto">
            <a:xfrm>
              <a:off x="7296030" y="4559124"/>
              <a:ext cx="78890" cy="40963"/>
            </a:xfrm>
            <a:custGeom>
              <a:avLst/>
              <a:gdLst>
                <a:gd name="T0" fmla="*/ 2147483647 w 156"/>
                <a:gd name="T1" fmla="*/ 2147483647 h 86"/>
                <a:gd name="T2" fmla="*/ 2147483647 w 156"/>
                <a:gd name="T3" fmla="*/ 2147483647 h 86"/>
                <a:gd name="T4" fmla="*/ 2147483647 w 156"/>
                <a:gd name="T5" fmla="*/ 2147483647 h 86"/>
                <a:gd name="T6" fmla="*/ 2147483647 w 156"/>
                <a:gd name="T7" fmla="*/ 2147483647 h 86"/>
                <a:gd name="T8" fmla="*/ 2147483647 w 156"/>
                <a:gd name="T9" fmla="*/ 2147483647 h 86"/>
                <a:gd name="T10" fmla="*/ 0 w 156"/>
                <a:gd name="T11" fmla="*/ 2147483647 h 86"/>
                <a:gd name="T12" fmla="*/ 2147483647 w 156"/>
                <a:gd name="T13" fmla="*/ 2147483647 h 86"/>
                <a:gd name="T14" fmla="*/ 2147483647 w 156"/>
                <a:gd name="T15" fmla="*/ 2147483647 h 86"/>
                <a:gd name="T16" fmla="*/ 2147483647 w 156"/>
                <a:gd name="T17" fmla="*/ 2147483647 h 86"/>
                <a:gd name="T18" fmla="*/ 2147483647 w 156"/>
                <a:gd name="T19" fmla="*/ 2147483647 h 86"/>
                <a:gd name="T20" fmla="*/ 2147483647 w 156"/>
                <a:gd name="T21" fmla="*/ 2147483647 h 86"/>
                <a:gd name="T22" fmla="*/ 2147483647 w 156"/>
                <a:gd name="T23" fmla="*/ 0 h 86"/>
                <a:gd name="T24" fmla="*/ 2147483647 w 156"/>
                <a:gd name="T25" fmla="*/ 2147483647 h 86"/>
                <a:gd name="T26" fmla="*/ 2147483647 w 156"/>
                <a:gd name="T27" fmla="*/ 2147483647 h 86"/>
                <a:gd name="T28" fmla="*/ 2147483647 w 156"/>
                <a:gd name="T29" fmla="*/ 2147483647 h 86"/>
                <a:gd name="T30" fmla="*/ 2147483647 w 156"/>
                <a:gd name="T31" fmla="*/ 2147483647 h 86"/>
                <a:gd name="T32" fmla="*/ 2147483647 w 156"/>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6"/>
                <a:gd name="T52" fmla="*/ 0 h 86"/>
                <a:gd name="T53" fmla="*/ 156 w 156"/>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6" h="86">
                  <a:moveTo>
                    <a:pt x="67" y="45"/>
                  </a:moveTo>
                  <a:lnTo>
                    <a:pt x="63" y="58"/>
                  </a:lnTo>
                  <a:lnTo>
                    <a:pt x="50" y="73"/>
                  </a:lnTo>
                  <a:lnTo>
                    <a:pt x="16" y="85"/>
                  </a:lnTo>
                  <a:lnTo>
                    <a:pt x="4" y="86"/>
                  </a:lnTo>
                  <a:lnTo>
                    <a:pt x="0" y="82"/>
                  </a:lnTo>
                  <a:lnTo>
                    <a:pt x="5" y="75"/>
                  </a:lnTo>
                  <a:lnTo>
                    <a:pt x="6" y="55"/>
                  </a:lnTo>
                  <a:lnTo>
                    <a:pt x="11" y="48"/>
                  </a:lnTo>
                  <a:lnTo>
                    <a:pt x="53" y="30"/>
                  </a:lnTo>
                  <a:lnTo>
                    <a:pt x="67" y="13"/>
                  </a:lnTo>
                  <a:lnTo>
                    <a:pt x="150" y="0"/>
                  </a:lnTo>
                  <a:lnTo>
                    <a:pt x="156" y="2"/>
                  </a:lnTo>
                  <a:lnTo>
                    <a:pt x="153" y="15"/>
                  </a:lnTo>
                  <a:lnTo>
                    <a:pt x="84" y="39"/>
                  </a:lnTo>
                  <a:lnTo>
                    <a:pt x="71" y="48"/>
                  </a:lnTo>
                  <a:lnTo>
                    <a:pt x="67" y="45"/>
                  </a:lnTo>
                  <a:close/>
                </a:path>
              </a:pathLst>
            </a:custGeom>
            <a:grpFill/>
            <a:ln w="6350">
              <a:solidFill>
                <a:schemeClr val="tx2"/>
              </a:solidFill>
              <a:round/>
              <a:headEnd/>
              <a:tailEnd/>
            </a:ln>
          </p:spPr>
          <p:txBody>
            <a:bodyPr/>
            <a:lstStyle/>
            <a:p>
              <a:endParaRPr lang="en-US"/>
            </a:p>
          </p:txBody>
        </p:sp>
        <p:sp>
          <p:nvSpPr>
            <p:cNvPr id="492" name="Freeform 1598"/>
            <p:cNvSpPr>
              <a:spLocks/>
            </p:cNvSpPr>
            <p:nvPr/>
          </p:nvSpPr>
          <p:spPr bwMode="auto">
            <a:xfrm>
              <a:off x="7285409" y="4603122"/>
              <a:ext cx="9103" cy="9103"/>
            </a:xfrm>
            <a:custGeom>
              <a:avLst/>
              <a:gdLst>
                <a:gd name="T0" fmla="*/ 0 w 22"/>
                <a:gd name="T1" fmla="*/ 2147483647 h 18"/>
                <a:gd name="T2" fmla="*/ 0 w 22"/>
                <a:gd name="T3" fmla="*/ 2147483647 h 18"/>
                <a:gd name="T4" fmla="*/ 2147483647 w 22"/>
                <a:gd name="T5" fmla="*/ 0 h 18"/>
                <a:gd name="T6" fmla="*/ 2147483647 w 22"/>
                <a:gd name="T7" fmla="*/ 2147483647 h 18"/>
                <a:gd name="T8" fmla="*/ 2147483647 w 22"/>
                <a:gd name="T9" fmla="*/ 2147483647 h 18"/>
                <a:gd name="T10" fmla="*/ 0 w 22"/>
                <a:gd name="T11" fmla="*/ 2147483647 h 18"/>
                <a:gd name="T12" fmla="*/ 0 60000 65536"/>
                <a:gd name="T13" fmla="*/ 0 60000 65536"/>
                <a:gd name="T14" fmla="*/ 0 60000 65536"/>
                <a:gd name="T15" fmla="*/ 0 60000 65536"/>
                <a:gd name="T16" fmla="*/ 0 60000 65536"/>
                <a:gd name="T17" fmla="*/ 0 60000 65536"/>
                <a:gd name="T18" fmla="*/ 0 w 22"/>
                <a:gd name="T19" fmla="*/ 0 h 18"/>
                <a:gd name="T20" fmla="*/ 22 w 2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2" h="18">
                  <a:moveTo>
                    <a:pt x="0" y="17"/>
                  </a:moveTo>
                  <a:lnTo>
                    <a:pt x="0" y="12"/>
                  </a:lnTo>
                  <a:lnTo>
                    <a:pt x="22" y="0"/>
                  </a:lnTo>
                  <a:lnTo>
                    <a:pt x="15" y="13"/>
                  </a:lnTo>
                  <a:lnTo>
                    <a:pt x="9" y="18"/>
                  </a:lnTo>
                  <a:lnTo>
                    <a:pt x="0" y="17"/>
                  </a:lnTo>
                  <a:close/>
                </a:path>
              </a:pathLst>
            </a:custGeom>
            <a:grpFill/>
            <a:ln w="6350">
              <a:solidFill>
                <a:schemeClr val="tx2"/>
              </a:solidFill>
              <a:round/>
              <a:headEnd/>
              <a:tailEnd/>
            </a:ln>
          </p:spPr>
          <p:txBody>
            <a:bodyPr/>
            <a:lstStyle/>
            <a:p>
              <a:endParaRPr lang="en-US"/>
            </a:p>
          </p:txBody>
        </p:sp>
        <p:sp>
          <p:nvSpPr>
            <p:cNvPr id="493" name="Freeform 1599"/>
            <p:cNvSpPr>
              <a:spLocks/>
            </p:cNvSpPr>
            <p:nvPr/>
          </p:nvSpPr>
          <p:spPr bwMode="auto">
            <a:xfrm>
              <a:off x="7317269" y="4554574"/>
              <a:ext cx="15172" cy="6069"/>
            </a:xfrm>
            <a:custGeom>
              <a:avLst/>
              <a:gdLst>
                <a:gd name="T0" fmla="*/ 2147483647 w 28"/>
                <a:gd name="T1" fmla="*/ 2147483647 h 13"/>
                <a:gd name="T2" fmla="*/ 2147483647 w 28"/>
                <a:gd name="T3" fmla="*/ 0 h 13"/>
                <a:gd name="T4" fmla="*/ 2147483647 w 28"/>
                <a:gd name="T5" fmla="*/ 2147483647 h 13"/>
                <a:gd name="T6" fmla="*/ 2147483647 w 28"/>
                <a:gd name="T7" fmla="*/ 2147483647 h 13"/>
                <a:gd name="T8" fmla="*/ 2147483647 w 28"/>
                <a:gd name="T9" fmla="*/ 2147483647 h 13"/>
                <a:gd name="T10" fmla="*/ 0 w 28"/>
                <a:gd name="T11" fmla="*/ 2147483647 h 13"/>
                <a:gd name="T12" fmla="*/ 2147483647 w 28"/>
                <a:gd name="T13" fmla="*/ 2147483647 h 13"/>
                <a:gd name="T14" fmla="*/ 0 60000 65536"/>
                <a:gd name="T15" fmla="*/ 0 60000 65536"/>
                <a:gd name="T16" fmla="*/ 0 60000 65536"/>
                <a:gd name="T17" fmla="*/ 0 60000 65536"/>
                <a:gd name="T18" fmla="*/ 0 60000 65536"/>
                <a:gd name="T19" fmla="*/ 0 60000 65536"/>
                <a:gd name="T20" fmla="*/ 0 60000 65536"/>
                <a:gd name="T21" fmla="*/ 0 w 28"/>
                <a:gd name="T22" fmla="*/ 0 h 13"/>
                <a:gd name="T23" fmla="*/ 28 w 2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3">
                  <a:moveTo>
                    <a:pt x="1" y="2"/>
                  </a:moveTo>
                  <a:lnTo>
                    <a:pt x="24" y="0"/>
                  </a:lnTo>
                  <a:lnTo>
                    <a:pt x="28" y="5"/>
                  </a:lnTo>
                  <a:lnTo>
                    <a:pt x="20" y="12"/>
                  </a:lnTo>
                  <a:lnTo>
                    <a:pt x="5" y="13"/>
                  </a:lnTo>
                  <a:lnTo>
                    <a:pt x="0" y="10"/>
                  </a:lnTo>
                  <a:lnTo>
                    <a:pt x="1" y="2"/>
                  </a:lnTo>
                  <a:close/>
                </a:path>
              </a:pathLst>
            </a:custGeom>
            <a:grpFill/>
            <a:ln w="6350">
              <a:solidFill>
                <a:schemeClr val="tx2"/>
              </a:solidFill>
              <a:round/>
              <a:headEnd/>
              <a:tailEnd/>
            </a:ln>
          </p:spPr>
          <p:txBody>
            <a:bodyPr/>
            <a:lstStyle/>
            <a:p>
              <a:endParaRPr lang="en-US"/>
            </a:p>
          </p:txBody>
        </p:sp>
        <p:sp>
          <p:nvSpPr>
            <p:cNvPr id="494" name="Freeform 1600"/>
            <p:cNvSpPr>
              <a:spLocks/>
            </p:cNvSpPr>
            <p:nvPr/>
          </p:nvSpPr>
          <p:spPr bwMode="auto">
            <a:xfrm>
              <a:off x="7308166" y="4556090"/>
              <a:ext cx="3034" cy="6069"/>
            </a:xfrm>
            <a:custGeom>
              <a:avLst/>
              <a:gdLst>
                <a:gd name="T0" fmla="*/ 2147483647 w 11"/>
                <a:gd name="T1" fmla="*/ 2147483647 h 14"/>
                <a:gd name="T2" fmla="*/ 0 w 11"/>
                <a:gd name="T3" fmla="*/ 2147483647 h 14"/>
                <a:gd name="T4" fmla="*/ 2147483647 w 11"/>
                <a:gd name="T5" fmla="*/ 0 h 14"/>
                <a:gd name="T6" fmla="*/ 2147483647 w 11"/>
                <a:gd name="T7" fmla="*/ 2147483647 h 14"/>
                <a:gd name="T8" fmla="*/ 2147483647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1" y="10"/>
                  </a:moveTo>
                  <a:lnTo>
                    <a:pt x="0" y="6"/>
                  </a:lnTo>
                  <a:lnTo>
                    <a:pt x="11" y="0"/>
                  </a:lnTo>
                  <a:lnTo>
                    <a:pt x="7" y="14"/>
                  </a:lnTo>
                  <a:lnTo>
                    <a:pt x="1" y="10"/>
                  </a:lnTo>
                  <a:close/>
                </a:path>
              </a:pathLst>
            </a:custGeom>
            <a:grpFill/>
            <a:ln w="6350">
              <a:solidFill>
                <a:schemeClr val="tx2"/>
              </a:solidFill>
              <a:round/>
              <a:headEnd/>
              <a:tailEnd/>
            </a:ln>
          </p:spPr>
          <p:txBody>
            <a:bodyPr/>
            <a:lstStyle/>
            <a:p>
              <a:endParaRPr lang="en-US"/>
            </a:p>
          </p:txBody>
        </p:sp>
        <p:sp>
          <p:nvSpPr>
            <p:cNvPr id="495" name="Freeform 1601"/>
            <p:cNvSpPr>
              <a:spLocks/>
            </p:cNvSpPr>
            <p:nvPr/>
          </p:nvSpPr>
          <p:spPr bwMode="auto">
            <a:xfrm>
              <a:off x="7292996" y="4554574"/>
              <a:ext cx="9103" cy="9103"/>
            </a:xfrm>
            <a:custGeom>
              <a:avLst/>
              <a:gdLst>
                <a:gd name="T0" fmla="*/ 0 w 19"/>
                <a:gd name="T1" fmla="*/ 2147483647 h 17"/>
                <a:gd name="T2" fmla="*/ 2147483647 w 19"/>
                <a:gd name="T3" fmla="*/ 2147483647 h 17"/>
                <a:gd name="T4" fmla="*/ 2147483647 w 19"/>
                <a:gd name="T5" fmla="*/ 2147483647 h 17"/>
                <a:gd name="T6" fmla="*/ 2147483647 w 19"/>
                <a:gd name="T7" fmla="*/ 0 h 17"/>
                <a:gd name="T8" fmla="*/ 2147483647 w 19"/>
                <a:gd name="T9" fmla="*/ 2147483647 h 17"/>
                <a:gd name="T10" fmla="*/ 2147483647 w 19"/>
                <a:gd name="T11" fmla="*/ 2147483647 h 17"/>
                <a:gd name="T12" fmla="*/ 2147483647 w 19"/>
                <a:gd name="T13" fmla="*/ 2147483647 h 17"/>
                <a:gd name="T14" fmla="*/ 0 w 19"/>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7"/>
                <a:gd name="T26" fmla="*/ 19 w 19"/>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7">
                  <a:moveTo>
                    <a:pt x="0" y="15"/>
                  </a:moveTo>
                  <a:lnTo>
                    <a:pt x="4" y="2"/>
                  </a:lnTo>
                  <a:lnTo>
                    <a:pt x="9" y="7"/>
                  </a:lnTo>
                  <a:lnTo>
                    <a:pt x="17" y="0"/>
                  </a:lnTo>
                  <a:lnTo>
                    <a:pt x="19" y="4"/>
                  </a:lnTo>
                  <a:lnTo>
                    <a:pt x="12" y="14"/>
                  </a:lnTo>
                  <a:lnTo>
                    <a:pt x="7" y="17"/>
                  </a:lnTo>
                  <a:lnTo>
                    <a:pt x="0" y="15"/>
                  </a:lnTo>
                  <a:close/>
                </a:path>
              </a:pathLst>
            </a:custGeom>
            <a:grpFill/>
            <a:ln w="6350">
              <a:solidFill>
                <a:schemeClr val="tx2"/>
              </a:solidFill>
              <a:round/>
              <a:headEnd/>
              <a:tailEnd/>
            </a:ln>
          </p:spPr>
          <p:txBody>
            <a:bodyPr/>
            <a:lstStyle/>
            <a:p>
              <a:endParaRPr lang="en-US"/>
            </a:p>
          </p:txBody>
        </p:sp>
        <p:sp>
          <p:nvSpPr>
            <p:cNvPr id="496" name="Freeform 1602"/>
            <p:cNvSpPr>
              <a:spLocks/>
            </p:cNvSpPr>
            <p:nvPr/>
          </p:nvSpPr>
          <p:spPr bwMode="auto">
            <a:xfrm>
              <a:off x="7220174" y="4551540"/>
              <a:ext cx="66753" cy="19722"/>
            </a:xfrm>
            <a:custGeom>
              <a:avLst/>
              <a:gdLst>
                <a:gd name="T0" fmla="*/ 2147483647 w 135"/>
                <a:gd name="T1" fmla="*/ 2147483647 h 39"/>
                <a:gd name="T2" fmla="*/ 2147483647 w 135"/>
                <a:gd name="T3" fmla="*/ 2147483647 h 39"/>
                <a:gd name="T4" fmla="*/ 2147483647 w 135"/>
                <a:gd name="T5" fmla="*/ 2147483647 h 39"/>
                <a:gd name="T6" fmla="*/ 2147483647 w 135"/>
                <a:gd name="T7" fmla="*/ 2147483647 h 39"/>
                <a:gd name="T8" fmla="*/ 2147483647 w 135"/>
                <a:gd name="T9" fmla="*/ 2147483647 h 39"/>
                <a:gd name="T10" fmla="*/ 2147483647 w 135"/>
                <a:gd name="T11" fmla="*/ 2147483647 h 39"/>
                <a:gd name="T12" fmla="*/ 2147483647 w 135"/>
                <a:gd name="T13" fmla="*/ 2147483647 h 39"/>
                <a:gd name="T14" fmla="*/ 2147483647 w 135"/>
                <a:gd name="T15" fmla="*/ 0 h 39"/>
                <a:gd name="T16" fmla="*/ 2147483647 w 135"/>
                <a:gd name="T17" fmla="*/ 2147483647 h 39"/>
                <a:gd name="T18" fmla="*/ 2147483647 w 135"/>
                <a:gd name="T19" fmla="*/ 2147483647 h 39"/>
                <a:gd name="T20" fmla="*/ 2147483647 w 135"/>
                <a:gd name="T21" fmla="*/ 2147483647 h 39"/>
                <a:gd name="T22" fmla="*/ 2147483647 w 135"/>
                <a:gd name="T23" fmla="*/ 2147483647 h 39"/>
                <a:gd name="T24" fmla="*/ 2147483647 w 135"/>
                <a:gd name="T25" fmla="*/ 2147483647 h 39"/>
                <a:gd name="T26" fmla="*/ 0 w 135"/>
                <a:gd name="T27" fmla="*/ 2147483647 h 39"/>
                <a:gd name="T28" fmla="*/ 2147483647 w 135"/>
                <a:gd name="T29" fmla="*/ 2147483647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5"/>
                <a:gd name="T46" fmla="*/ 0 h 39"/>
                <a:gd name="T47" fmla="*/ 135 w 135"/>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5" h="39">
                  <a:moveTo>
                    <a:pt x="7" y="17"/>
                  </a:moveTo>
                  <a:lnTo>
                    <a:pt x="35" y="8"/>
                  </a:lnTo>
                  <a:lnTo>
                    <a:pt x="55" y="13"/>
                  </a:lnTo>
                  <a:lnTo>
                    <a:pt x="70" y="23"/>
                  </a:lnTo>
                  <a:lnTo>
                    <a:pt x="95" y="17"/>
                  </a:lnTo>
                  <a:lnTo>
                    <a:pt x="110" y="24"/>
                  </a:lnTo>
                  <a:lnTo>
                    <a:pt x="131" y="11"/>
                  </a:lnTo>
                  <a:lnTo>
                    <a:pt x="129" y="0"/>
                  </a:lnTo>
                  <a:lnTo>
                    <a:pt x="135" y="12"/>
                  </a:lnTo>
                  <a:lnTo>
                    <a:pt x="117" y="29"/>
                  </a:lnTo>
                  <a:lnTo>
                    <a:pt x="54" y="39"/>
                  </a:lnTo>
                  <a:lnTo>
                    <a:pt x="32" y="32"/>
                  </a:lnTo>
                  <a:lnTo>
                    <a:pt x="2" y="33"/>
                  </a:lnTo>
                  <a:lnTo>
                    <a:pt x="0" y="19"/>
                  </a:lnTo>
                  <a:lnTo>
                    <a:pt x="7" y="17"/>
                  </a:lnTo>
                  <a:close/>
                </a:path>
              </a:pathLst>
            </a:custGeom>
            <a:grpFill/>
            <a:ln w="6350">
              <a:solidFill>
                <a:schemeClr val="tx2"/>
              </a:solidFill>
              <a:round/>
              <a:headEnd/>
              <a:tailEnd/>
            </a:ln>
          </p:spPr>
          <p:txBody>
            <a:bodyPr/>
            <a:lstStyle/>
            <a:p>
              <a:endParaRPr lang="en-US"/>
            </a:p>
          </p:txBody>
        </p:sp>
        <p:sp>
          <p:nvSpPr>
            <p:cNvPr id="497" name="Freeform 1603"/>
            <p:cNvSpPr>
              <a:spLocks/>
            </p:cNvSpPr>
            <p:nvPr/>
          </p:nvSpPr>
          <p:spPr bwMode="auto">
            <a:xfrm>
              <a:off x="7201968" y="4578847"/>
              <a:ext cx="37928" cy="19722"/>
            </a:xfrm>
            <a:custGeom>
              <a:avLst/>
              <a:gdLst>
                <a:gd name="T0" fmla="*/ 2147483647 w 76"/>
                <a:gd name="T1" fmla="*/ 0 h 44"/>
                <a:gd name="T2" fmla="*/ 2147483647 w 76"/>
                <a:gd name="T3" fmla="*/ 2147483647 h 44"/>
                <a:gd name="T4" fmla="*/ 2147483647 w 76"/>
                <a:gd name="T5" fmla="*/ 2147483647 h 44"/>
                <a:gd name="T6" fmla="*/ 2147483647 w 76"/>
                <a:gd name="T7" fmla="*/ 2147483647 h 44"/>
                <a:gd name="T8" fmla="*/ 2147483647 w 76"/>
                <a:gd name="T9" fmla="*/ 2147483647 h 44"/>
                <a:gd name="T10" fmla="*/ 2147483647 w 76"/>
                <a:gd name="T11" fmla="*/ 2147483647 h 44"/>
                <a:gd name="T12" fmla="*/ 2147483647 w 76"/>
                <a:gd name="T13" fmla="*/ 2147483647 h 44"/>
                <a:gd name="T14" fmla="*/ 0 w 76"/>
                <a:gd name="T15" fmla="*/ 2147483647 h 44"/>
                <a:gd name="T16" fmla="*/ 2147483647 w 76"/>
                <a:gd name="T17" fmla="*/ 0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44"/>
                <a:gd name="T29" fmla="*/ 76 w 76"/>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44">
                  <a:moveTo>
                    <a:pt x="40" y="0"/>
                  </a:moveTo>
                  <a:lnTo>
                    <a:pt x="65" y="19"/>
                  </a:lnTo>
                  <a:lnTo>
                    <a:pt x="76" y="37"/>
                  </a:lnTo>
                  <a:lnTo>
                    <a:pt x="63" y="44"/>
                  </a:lnTo>
                  <a:lnTo>
                    <a:pt x="53" y="44"/>
                  </a:lnTo>
                  <a:lnTo>
                    <a:pt x="25" y="22"/>
                  </a:lnTo>
                  <a:lnTo>
                    <a:pt x="6" y="22"/>
                  </a:lnTo>
                  <a:lnTo>
                    <a:pt x="0" y="7"/>
                  </a:lnTo>
                  <a:lnTo>
                    <a:pt x="40" y="0"/>
                  </a:lnTo>
                  <a:close/>
                </a:path>
              </a:pathLst>
            </a:custGeom>
            <a:grpFill/>
            <a:ln w="6350">
              <a:solidFill>
                <a:schemeClr val="tx2"/>
              </a:solidFill>
              <a:round/>
              <a:headEnd/>
              <a:tailEnd/>
            </a:ln>
          </p:spPr>
          <p:txBody>
            <a:bodyPr/>
            <a:lstStyle/>
            <a:p>
              <a:endParaRPr lang="en-US"/>
            </a:p>
          </p:txBody>
        </p:sp>
        <p:sp>
          <p:nvSpPr>
            <p:cNvPr id="498" name="Freeform 1604"/>
            <p:cNvSpPr>
              <a:spLocks/>
            </p:cNvSpPr>
            <p:nvPr/>
          </p:nvSpPr>
          <p:spPr bwMode="auto">
            <a:xfrm>
              <a:off x="7153421" y="4551540"/>
              <a:ext cx="51582" cy="22756"/>
            </a:xfrm>
            <a:custGeom>
              <a:avLst/>
              <a:gdLst>
                <a:gd name="T0" fmla="*/ 2147483647 w 102"/>
                <a:gd name="T1" fmla="*/ 2147483647 h 43"/>
                <a:gd name="T2" fmla="*/ 2147483647 w 102"/>
                <a:gd name="T3" fmla="*/ 2147483647 h 43"/>
                <a:gd name="T4" fmla="*/ 2147483647 w 102"/>
                <a:gd name="T5" fmla="*/ 2147483647 h 43"/>
                <a:gd name="T6" fmla="*/ 2147483647 w 102"/>
                <a:gd name="T7" fmla="*/ 2147483647 h 43"/>
                <a:gd name="T8" fmla="*/ 2147483647 w 102"/>
                <a:gd name="T9" fmla="*/ 2147483647 h 43"/>
                <a:gd name="T10" fmla="*/ 2147483647 w 102"/>
                <a:gd name="T11" fmla="*/ 2147483647 h 43"/>
                <a:gd name="T12" fmla="*/ 2147483647 w 102"/>
                <a:gd name="T13" fmla="*/ 0 h 43"/>
                <a:gd name="T14" fmla="*/ 2147483647 w 102"/>
                <a:gd name="T15" fmla="*/ 2147483647 h 43"/>
                <a:gd name="T16" fmla="*/ 2147483647 w 102"/>
                <a:gd name="T17" fmla="*/ 2147483647 h 43"/>
                <a:gd name="T18" fmla="*/ 2147483647 w 102"/>
                <a:gd name="T19" fmla="*/ 2147483647 h 43"/>
                <a:gd name="T20" fmla="*/ 2147483647 w 102"/>
                <a:gd name="T21" fmla="*/ 2147483647 h 43"/>
                <a:gd name="T22" fmla="*/ 2147483647 w 102"/>
                <a:gd name="T23" fmla="*/ 2147483647 h 43"/>
                <a:gd name="T24" fmla="*/ 2147483647 w 102"/>
                <a:gd name="T25" fmla="*/ 2147483647 h 43"/>
                <a:gd name="T26" fmla="*/ 2147483647 w 102"/>
                <a:gd name="T27" fmla="*/ 2147483647 h 43"/>
                <a:gd name="T28" fmla="*/ 2147483647 w 102"/>
                <a:gd name="T29" fmla="*/ 2147483647 h 43"/>
                <a:gd name="T30" fmla="*/ 2147483647 w 102"/>
                <a:gd name="T31" fmla="*/ 2147483647 h 43"/>
                <a:gd name="T32" fmla="*/ 2147483647 w 102"/>
                <a:gd name="T33" fmla="*/ 2147483647 h 43"/>
                <a:gd name="T34" fmla="*/ 2147483647 w 102"/>
                <a:gd name="T35" fmla="*/ 2147483647 h 43"/>
                <a:gd name="T36" fmla="*/ 2147483647 w 102"/>
                <a:gd name="T37" fmla="*/ 2147483647 h 43"/>
                <a:gd name="T38" fmla="*/ 0 w 102"/>
                <a:gd name="T39" fmla="*/ 2147483647 h 43"/>
                <a:gd name="T40" fmla="*/ 2147483647 w 102"/>
                <a:gd name="T41" fmla="*/ 2147483647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
                <a:gd name="T64" fmla="*/ 0 h 43"/>
                <a:gd name="T65" fmla="*/ 102 w 102"/>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 h="43">
                  <a:moveTo>
                    <a:pt x="12" y="15"/>
                  </a:moveTo>
                  <a:lnTo>
                    <a:pt x="34" y="16"/>
                  </a:lnTo>
                  <a:lnTo>
                    <a:pt x="47" y="27"/>
                  </a:lnTo>
                  <a:lnTo>
                    <a:pt x="60" y="23"/>
                  </a:lnTo>
                  <a:lnTo>
                    <a:pt x="45" y="11"/>
                  </a:lnTo>
                  <a:lnTo>
                    <a:pt x="43" y="4"/>
                  </a:lnTo>
                  <a:lnTo>
                    <a:pt x="49" y="0"/>
                  </a:lnTo>
                  <a:lnTo>
                    <a:pt x="62" y="11"/>
                  </a:lnTo>
                  <a:lnTo>
                    <a:pt x="76" y="9"/>
                  </a:lnTo>
                  <a:lnTo>
                    <a:pt x="81" y="19"/>
                  </a:lnTo>
                  <a:lnTo>
                    <a:pt x="90" y="9"/>
                  </a:lnTo>
                  <a:lnTo>
                    <a:pt x="102" y="27"/>
                  </a:lnTo>
                  <a:lnTo>
                    <a:pt x="91" y="26"/>
                  </a:lnTo>
                  <a:lnTo>
                    <a:pt x="90" y="31"/>
                  </a:lnTo>
                  <a:lnTo>
                    <a:pt x="80" y="33"/>
                  </a:lnTo>
                  <a:lnTo>
                    <a:pt x="71" y="27"/>
                  </a:lnTo>
                  <a:lnTo>
                    <a:pt x="37" y="40"/>
                  </a:lnTo>
                  <a:lnTo>
                    <a:pt x="10" y="43"/>
                  </a:lnTo>
                  <a:lnTo>
                    <a:pt x="3" y="40"/>
                  </a:lnTo>
                  <a:lnTo>
                    <a:pt x="0" y="24"/>
                  </a:lnTo>
                  <a:lnTo>
                    <a:pt x="12" y="15"/>
                  </a:lnTo>
                  <a:close/>
                </a:path>
              </a:pathLst>
            </a:custGeom>
            <a:grpFill/>
            <a:ln w="6350">
              <a:solidFill>
                <a:schemeClr val="tx2"/>
              </a:solidFill>
              <a:round/>
              <a:headEnd/>
              <a:tailEnd/>
            </a:ln>
          </p:spPr>
          <p:txBody>
            <a:bodyPr/>
            <a:lstStyle/>
            <a:p>
              <a:endParaRPr lang="en-US"/>
            </a:p>
          </p:txBody>
        </p:sp>
        <p:sp>
          <p:nvSpPr>
            <p:cNvPr id="499" name="Freeform 1605"/>
            <p:cNvSpPr>
              <a:spLocks/>
            </p:cNvSpPr>
            <p:nvPr/>
          </p:nvSpPr>
          <p:spPr bwMode="auto">
            <a:xfrm>
              <a:off x="7135216" y="4556090"/>
              <a:ext cx="15172" cy="13654"/>
            </a:xfrm>
            <a:custGeom>
              <a:avLst/>
              <a:gdLst>
                <a:gd name="T0" fmla="*/ 2147483647 w 32"/>
                <a:gd name="T1" fmla="*/ 2147483647 h 29"/>
                <a:gd name="T2" fmla="*/ 2147483647 w 32"/>
                <a:gd name="T3" fmla="*/ 0 h 29"/>
                <a:gd name="T4" fmla="*/ 2147483647 w 32"/>
                <a:gd name="T5" fmla="*/ 2147483647 h 29"/>
                <a:gd name="T6" fmla="*/ 2147483647 w 32"/>
                <a:gd name="T7" fmla="*/ 2147483647 h 29"/>
                <a:gd name="T8" fmla="*/ 0 w 32"/>
                <a:gd name="T9" fmla="*/ 2147483647 h 29"/>
                <a:gd name="T10" fmla="*/ 2147483647 w 32"/>
                <a:gd name="T11" fmla="*/ 2147483647 h 29"/>
                <a:gd name="T12" fmla="*/ 0 60000 65536"/>
                <a:gd name="T13" fmla="*/ 0 60000 65536"/>
                <a:gd name="T14" fmla="*/ 0 60000 65536"/>
                <a:gd name="T15" fmla="*/ 0 60000 65536"/>
                <a:gd name="T16" fmla="*/ 0 60000 65536"/>
                <a:gd name="T17" fmla="*/ 0 60000 65536"/>
                <a:gd name="T18" fmla="*/ 0 w 32"/>
                <a:gd name="T19" fmla="*/ 0 h 29"/>
                <a:gd name="T20" fmla="*/ 32 w 3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2" h="29">
                  <a:moveTo>
                    <a:pt x="6" y="10"/>
                  </a:moveTo>
                  <a:lnTo>
                    <a:pt x="17" y="0"/>
                  </a:lnTo>
                  <a:lnTo>
                    <a:pt x="32" y="4"/>
                  </a:lnTo>
                  <a:lnTo>
                    <a:pt x="29" y="29"/>
                  </a:lnTo>
                  <a:lnTo>
                    <a:pt x="0" y="28"/>
                  </a:lnTo>
                  <a:lnTo>
                    <a:pt x="6" y="10"/>
                  </a:lnTo>
                  <a:close/>
                </a:path>
              </a:pathLst>
            </a:custGeom>
            <a:grpFill/>
            <a:ln w="6350">
              <a:solidFill>
                <a:schemeClr val="tx2"/>
              </a:solidFill>
              <a:round/>
              <a:headEnd/>
              <a:tailEnd/>
            </a:ln>
          </p:spPr>
          <p:txBody>
            <a:bodyPr/>
            <a:lstStyle/>
            <a:p>
              <a:endParaRPr lang="en-US"/>
            </a:p>
          </p:txBody>
        </p:sp>
        <p:sp>
          <p:nvSpPr>
            <p:cNvPr id="500" name="Freeform 1606"/>
            <p:cNvSpPr>
              <a:spLocks/>
            </p:cNvSpPr>
            <p:nvPr/>
          </p:nvSpPr>
          <p:spPr bwMode="auto">
            <a:xfrm>
              <a:off x="7104873" y="4551540"/>
              <a:ext cx="24273" cy="16688"/>
            </a:xfrm>
            <a:custGeom>
              <a:avLst/>
              <a:gdLst>
                <a:gd name="T0" fmla="*/ 2147483647 w 48"/>
                <a:gd name="T1" fmla="*/ 2147483647 h 32"/>
                <a:gd name="T2" fmla="*/ 2147483647 w 48"/>
                <a:gd name="T3" fmla="*/ 2147483647 h 32"/>
                <a:gd name="T4" fmla="*/ 2147483647 w 48"/>
                <a:gd name="T5" fmla="*/ 2147483647 h 32"/>
                <a:gd name="T6" fmla="*/ 2147483647 w 48"/>
                <a:gd name="T7" fmla="*/ 2147483647 h 32"/>
                <a:gd name="T8" fmla="*/ 2147483647 w 48"/>
                <a:gd name="T9" fmla="*/ 2147483647 h 32"/>
                <a:gd name="T10" fmla="*/ 2147483647 w 48"/>
                <a:gd name="T11" fmla="*/ 2147483647 h 32"/>
                <a:gd name="T12" fmla="*/ 2147483647 w 48"/>
                <a:gd name="T13" fmla="*/ 2147483647 h 32"/>
                <a:gd name="T14" fmla="*/ 0 w 48"/>
                <a:gd name="T15" fmla="*/ 2147483647 h 32"/>
                <a:gd name="T16" fmla="*/ 2147483647 w 48"/>
                <a:gd name="T17" fmla="*/ 0 h 32"/>
                <a:gd name="T18" fmla="*/ 2147483647 w 48"/>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32"/>
                <a:gd name="T32" fmla="*/ 48 w 48"/>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32">
                  <a:moveTo>
                    <a:pt x="20" y="1"/>
                  </a:moveTo>
                  <a:lnTo>
                    <a:pt x="35" y="1"/>
                  </a:lnTo>
                  <a:lnTo>
                    <a:pt x="47" y="10"/>
                  </a:lnTo>
                  <a:lnTo>
                    <a:pt x="48" y="16"/>
                  </a:lnTo>
                  <a:lnTo>
                    <a:pt x="34" y="24"/>
                  </a:lnTo>
                  <a:lnTo>
                    <a:pt x="29" y="32"/>
                  </a:lnTo>
                  <a:lnTo>
                    <a:pt x="16" y="15"/>
                  </a:lnTo>
                  <a:lnTo>
                    <a:pt x="0" y="10"/>
                  </a:lnTo>
                  <a:lnTo>
                    <a:pt x="1" y="0"/>
                  </a:lnTo>
                  <a:lnTo>
                    <a:pt x="20" y="1"/>
                  </a:lnTo>
                  <a:close/>
                </a:path>
              </a:pathLst>
            </a:custGeom>
            <a:grpFill/>
            <a:ln w="6350">
              <a:solidFill>
                <a:schemeClr val="tx2"/>
              </a:solidFill>
              <a:round/>
              <a:headEnd/>
              <a:tailEnd/>
            </a:ln>
          </p:spPr>
          <p:txBody>
            <a:bodyPr/>
            <a:lstStyle/>
            <a:p>
              <a:endParaRPr lang="en-US"/>
            </a:p>
          </p:txBody>
        </p:sp>
        <p:sp>
          <p:nvSpPr>
            <p:cNvPr id="501" name="Freeform 1607"/>
            <p:cNvSpPr>
              <a:spLocks/>
            </p:cNvSpPr>
            <p:nvPr/>
          </p:nvSpPr>
          <p:spPr bwMode="auto">
            <a:xfrm>
              <a:off x="7068462" y="4525748"/>
              <a:ext cx="25791" cy="7586"/>
            </a:xfrm>
            <a:custGeom>
              <a:avLst/>
              <a:gdLst>
                <a:gd name="T0" fmla="*/ 0 w 55"/>
                <a:gd name="T1" fmla="*/ 2147483647 h 16"/>
                <a:gd name="T2" fmla="*/ 2147483647 w 55"/>
                <a:gd name="T3" fmla="*/ 0 h 16"/>
                <a:gd name="T4" fmla="*/ 2147483647 w 55"/>
                <a:gd name="T5" fmla="*/ 2147483647 h 16"/>
                <a:gd name="T6" fmla="*/ 2147483647 w 55"/>
                <a:gd name="T7" fmla="*/ 2147483647 h 16"/>
                <a:gd name="T8" fmla="*/ 2147483647 w 55"/>
                <a:gd name="T9" fmla="*/ 2147483647 h 16"/>
                <a:gd name="T10" fmla="*/ 0 w 55"/>
                <a:gd name="T11" fmla="*/ 2147483647 h 16"/>
                <a:gd name="T12" fmla="*/ 0 60000 65536"/>
                <a:gd name="T13" fmla="*/ 0 60000 65536"/>
                <a:gd name="T14" fmla="*/ 0 60000 65536"/>
                <a:gd name="T15" fmla="*/ 0 60000 65536"/>
                <a:gd name="T16" fmla="*/ 0 60000 65536"/>
                <a:gd name="T17" fmla="*/ 0 60000 65536"/>
                <a:gd name="T18" fmla="*/ 0 w 55"/>
                <a:gd name="T19" fmla="*/ 0 h 16"/>
                <a:gd name="T20" fmla="*/ 55 w 5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55" h="16">
                  <a:moveTo>
                    <a:pt x="0" y="3"/>
                  </a:moveTo>
                  <a:lnTo>
                    <a:pt x="49" y="0"/>
                  </a:lnTo>
                  <a:lnTo>
                    <a:pt x="55" y="8"/>
                  </a:lnTo>
                  <a:lnTo>
                    <a:pt x="30" y="16"/>
                  </a:lnTo>
                  <a:lnTo>
                    <a:pt x="6" y="13"/>
                  </a:lnTo>
                  <a:lnTo>
                    <a:pt x="0" y="3"/>
                  </a:lnTo>
                  <a:close/>
                </a:path>
              </a:pathLst>
            </a:custGeom>
            <a:grpFill/>
            <a:ln w="6350">
              <a:solidFill>
                <a:schemeClr val="tx2"/>
              </a:solidFill>
              <a:round/>
              <a:headEnd/>
              <a:tailEnd/>
            </a:ln>
          </p:spPr>
          <p:txBody>
            <a:bodyPr/>
            <a:lstStyle/>
            <a:p>
              <a:endParaRPr lang="en-US"/>
            </a:p>
          </p:txBody>
        </p:sp>
        <p:sp>
          <p:nvSpPr>
            <p:cNvPr id="502" name="Freeform 1608"/>
            <p:cNvSpPr>
              <a:spLocks/>
            </p:cNvSpPr>
            <p:nvPr/>
          </p:nvSpPr>
          <p:spPr bwMode="auto">
            <a:xfrm>
              <a:off x="7120044" y="4524232"/>
              <a:ext cx="9103" cy="4550"/>
            </a:xfrm>
            <a:custGeom>
              <a:avLst/>
              <a:gdLst>
                <a:gd name="T0" fmla="*/ 0 w 14"/>
                <a:gd name="T1" fmla="*/ 2147483647 h 10"/>
                <a:gd name="T2" fmla="*/ 2147483647 w 14"/>
                <a:gd name="T3" fmla="*/ 0 h 10"/>
                <a:gd name="T4" fmla="*/ 2147483647 w 14"/>
                <a:gd name="T5" fmla="*/ 2147483647 h 10"/>
                <a:gd name="T6" fmla="*/ 2147483647 w 14"/>
                <a:gd name="T7" fmla="*/ 2147483647 h 10"/>
                <a:gd name="T8" fmla="*/ 0 w 14"/>
                <a:gd name="T9" fmla="*/ 2147483647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0" y="1"/>
                  </a:moveTo>
                  <a:lnTo>
                    <a:pt x="11" y="0"/>
                  </a:lnTo>
                  <a:lnTo>
                    <a:pt x="14" y="6"/>
                  </a:lnTo>
                  <a:lnTo>
                    <a:pt x="4" y="10"/>
                  </a:lnTo>
                  <a:lnTo>
                    <a:pt x="0" y="1"/>
                  </a:lnTo>
                  <a:close/>
                </a:path>
              </a:pathLst>
            </a:custGeom>
            <a:grpFill/>
            <a:ln w="6350">
              <a:solidFill>
                <a:schemeClr val="tx2"/>
              </a:solidFill>
              <a:round/>
              <a:headEnd/>
              <a:tailEnd/>
            </a:ln>
          </p:spPr>
          <p:txBody>
            <a:bodyPr/>
            <a:lstStyle/>
            <a:p>
              <a:endParaRPr lang="en-US"/>
            </a:p>
          </p:txBody>
        </p:sp>
        <p:sp>
          <p:nvSpPr>
            <p:cNvPr id="503" name="Freeform 1609"/>
            <p:cNvSpPr>
              <a:spLocks/>
            </p:cNvSpPr>
            <p:nvPr/>
          </p:nvSpPr>
          <p:spPr bwMode="auto">
            <a:xfrm>
              <a:off x="7198934" y="4343695"/>
              <a:ext cx="133506" cy="157780"/>
            </a:xfrm>
            <a:custGeom>
              <a:avLst/>
              <a:gdLst>
                <a:gd name="T0" fmla="*/ 2147483647 w 270"/>
                <a:gd name="T1" fmla="*/ 2147483647 h 315"/>
                <a:gd name="T2" fmla="*/ 2147483647 w 270"/>
                <a:gd name="T3" fmla="*/ 2147483647 h 315"/>
                <a:gd name="T4" fmla="*/ 2147483647 w 270"/>
                <a:gd name="T5" fmla="*/ 2147483647 h 315"/>
                <a:gd name="T6" fmla="*/ 2147483647 w 270"/>
                <a:gd name="T7" fmla="*/ 2147483647 h 315"/>
                <a:gd name="T8" fmla="*/ 2147483647 w 270"/>
                <a:gd name="T9" fmla="*/ 2147483647 h 315"/>
                <a:gd name="T10" fmla="*/ 2147483647 w 270"/>
                <a:gd name="T11" fmla="*/ 2147483647 h 315"/>
                <a:gd name="T12" fmla="*/ 2147483647 w 270"/>
                <a:gd name="T13" fmla="*/ 2147483647 h 315"/>
                <a:gd name="T14" fmla="*/ 2147483647 w 270"/>
                <a:gd name="T15" fmla="*/ 2147483647 h 315"/>
                <a:gd name="T16" fmla="*/ 2147483647 w 270"/>
                <a:gd name="T17" fmla="*/ 2147483647 h 315"/>
                <a:gd name="T18" fmla="*/ 2147483647 w 270"/>
                <a:gd name="T19" fmla="*/ 2147483647 h 315"/>
                <a:gd name="T20" fmla="*/ 2147483647 w 270"/>
                <a:gd name="T21" fmla="*/ 2147483647 h 315"/>
                <a:gd name="T22" fmla="*/ 2147483647 w 270"/>
                <a:gd name="T23" fmla="*/ 2147483647 h 315"/>
                <a:gd name="T24" fmla="*/ 2147483647 w 270"/>
                <a:gd name="T25" fmla="*/ 2147483647 h 315"/>
                <a:gd name="T26" fmla="*/ 2147483647 w 270"/>
                <a:gd name="T27" fmla="*/ 2147483647 h 315"/>
                <a:gd name="T28" fmla="*/ 2147483647 w 270"/>
                <a:gd name="T29" fmla="*/ 2147483647 h 315"/>
                <a:gd name="T30" fmla="*/ 2147483647 w 270"/>
                <a:gd name="T31" fmla="*/ 2147483647 h 315"/>
                <a:gd name="T32" fmla="*/ 2147483647 w 270"/>
                <a:gd name="T33" fmla="*/ 2147483647 h 315"/>
                <a:gd name="T34" fmla="*/ 2147483647 w 270"/>
                <a:gd name="T35" fmla="*/ 2147483647 h 315"/>
                <a:gd name="T36" fmla="*/ 2147483647 w 270"/>
                <a:gd name="T37" fmla="*/ 2147483647 h 315"/>
                <a:gd name="T38" fmla="*/ 2147483647 w 270"/>
                <a:gd name="T39" fmla="*/ 2147483647 h 315"/>
                <a:gd name="T40" fmla="*/ 2147483647 w 270"/>
                <a:gd name="T41" fmla="*/ 2147483647 h 315"/>
                <a:gd name="T42" fmla="*/ 2147483647 w 270"/>
                <a:gd name="T43" fmla="*/ 2147483647 h 315"/>
                <a:gd name="T44" fmla="*/ 2147483647 w 270"/>
                <a:gd name="T45" fmla="*/ 2147483647 h 315"/>
                <a:gd name="T46" fmla="*/ 2147483647 w 270"/>
                <a:gd name="T47" fmla="*/ 2147483647 h 315"/>
                <a:gd name="T48" fmla="*/ 2147483647 w 270"/>
                <a:gd name="T49" fmla="*/ 2147483647 h 315"/>
                <a:gd name="T50" fmla="*/ 2147483647 w 270"/>
                <a:gd name="T51" fmla="*/ 2147483647 h 315"/>
                <a:gd name="T52" fmla="*/ 2147483647 w 270"/>
                <a:gd name="T53" fmla="*/ 2147483647 h 315"/>
                <a:gd name="T54" fmla="*/ 2147483647 w 270"/>
                <a:gd name="T55" fmla="*/ 2147483647 h 315"/>
                <a:gd name="T56" fmla="*/ 2147483647 w 270"/>
                <a:gd name="T57" fmla="*/ 2147483647 h 315"/>
                <a:gd name="T58" fmla="*/ 2147483647 w 270"/>
                <a:gd name="T59" fmla="*/ 2147483647 h 315"/>
                <a:gd name="T60" fmla="*/ 2147483647 w 270"/>
                <a:gd name="T61" fmla="*/ 2147483647 h 315"/>
                <a:gd name="T62" fmla="*/ 2147483647 w 270"/>
                <a:gd name="T63" fmla="*/ 2147483647 h 315"/>
                <a:gd name="T64" fmla="*/ 2147483647 w 270"/>
                <a:gd name="T65" fmla="*/ 2147483647 h 315"/>
                <a:gd name="T66" fmla="*/ 2147483647 w 270"/>
                <a:gd name="T67" fmla="*/ 2147483647 h 315"/>
                <a:gd name="T68" fmla="*/ 2147483647 w 270"/>
                <a:gd name="T69" fmla="*/ 2147483647 h 315"/>
                <a:gd name="T70" fmla="*/ 2147483647 w 270"/>
                <a:gd name="T71" fmla="*/ 2147483647 h 315"/>
                <a:gd name="T72" fmla="*/ 2147483647 w 270"/>
                <a:gd name="T73" fmla="*/ 2147483647 h 315"/>
                <a:gd name="T74" fmla="*/ 2147483647 w 270"/>
                <a:gd name="T75" fmla="*/ 2147483647 h 315"/>
                <a:gd name="T76" fmla="*/ 2147483647 w 270"/>
                <a:gd name="T77" fmla="*/ 2147483647 h 315"/>
                <a:gd name="T78" fmla="*/ 2147483647 w 270"/>
                <a:gd name="T79" fmla="*/ 2147483647 h 315"/>
                <a:gd name="T80" fmla="*/ 2147483647 w 270"/>
                <a:gd name="T81" fmla="*/ 2147483647 h 315"/>
                <a:gd name="T82" fmla="*/ 2147483647 w 270"/>
                <a:gd name="T83" fmla="*/ 2147483647 h 315"/>
                <a:gd name="T84" fmla="*/ 2147483647 w 270"/>
                <a:gd name="T85" fmla="*/ 2147483647 h 31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0"/>
                <a:gd name="T130" fmla="*/ 0 h 315"/>
                <a:gd name="T131" fmla="*/ 270 w 270"/>
                <a:gd name="T132" fmla="*/ 315 h 31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0" h="315">
                  <a:moveTo>
                    <a:pt x="94" y="16"/>
                  </a:moveTo>
                  <a:lnTo>
                    <a:pt x="108" y="17"/>
                  </a:lnTo>
                  <a:lnTo>
                    <a:pt x="115" y="26"/>
                  </a:lnTo>
                  <a:lnTo>
                    <a:pt x="150" y="27"/>
                  </a:lnTo>
                  <a:lnTo>
                    <a:pt x="169" y="35"/>
                  </a:lnTo>
                  <a:lnTo>
                    <a:pt x="186" y="31"/>
                  </a:lnTo>
                  <a:lnTo>
                    <a:pt x="214" y="35"/>
                  </a:lnTo>
                  <a:lnTo>
                    <a:pt x="226" y="32"/>
                  </a:lnTo>
                  <a:lnTo>
                    <a:pt x="263" y="0"/>
                  </a:lnTo>
                  <a:lnTo>
                    <a:pt x="270" y="2"/>
                  </a:lnTo>
                  <a:lnTo>
                    <a:pt x="270" y="15"/>
                  </a:lnTo>
                  <a:lnTo>
                    <a:pt x="246" y="45"/>
                  </a:lnTo>
                  <a:lnTo>
                    <a:pt x="230" y="57"/>
                  </a:lnTo>
                  <a:lnTo>
                    <a:pt x="192" y="60"/>
                  </a:lnTo>
                  <a:lnTo>
                    <a:pt x="171" y="51"/>
                  </a:lnTo>
                  <a:lnTo>
                    <a:pt x="129" y="55"/>
                  </a:lnTo>
                  <a:lnTo>
                    <a:pt x="104" y="50"/>
                  </a:lnTo>
                  <a:lnTo>
                    <a:pt x="94" y="55"/>
                  </a:lnTo>
                  <a:lnTo>
                    <a:pt x="68" y="53"/>
                  </a:lnTo>
                  <a:lnTo>
                    <a:pt x="61" y="62"/>
                  </a:lnTo>
                  <a:lnTo>
                    <a:pt x="53" y="82"/>
                  </a:lnTo>
                  <a:lnTo>
                    <a:pt x="53" y="105"/>
                  </a:lnTo>
                  <a:lnTo>
                    <a:pt x="67" y="114"/>
                  </a:lnTo>
                  <a:lnTo>
                    <a:pt x="78" y="133"/>
                  </a:lnTo>
                  <a:lnTo>
                    <a:pt x="95" y="132"/>
                  </a:lnTo>
                  <a:lnTo>
                    <a:pt x="109" y="113"/>
                  </a:lnTo>
                  <a:lnTo>
                    <a:pt x="118" y="110"/>
                  </a:lnTo>
                  <a:lnTo>
                    <a:pt x="135" y="114"/>
                  </a:lnTo>
                  <a:lnTo>
                    <a:pt x="138" y="108"/>
                  </a:lnTo>
                  <a:lnTo>
                    <a:pt x="168" y="106"/>
                  </a:lnTo>
                  <a:lnTo>
                    <a:pt x="170" y="100"/>
                  </a:lnTo>
                  <a:lnTo>
                    <a:pt x="183" y="96"/>
                  </a:lnTo>
                  <a:lnTo>
                    <a:pt x="191" y="96"/>
                  </a:lnTo>
                  <a:lnTo>
                    <a:pt x="196" y="102"/>
                  </a:lnTo>
                  <a:lnTo>
                    <a:pt x="195" y="111"/>
                  </a:lnTo>
                  <a:lnTo>
                    <a:pt x="190" y="116"/>
                  </a:lnTo>
                  <a:lnTo>
                    <a:pt x="180" y="111"/>
                  </a:lnTo>
                  <a:lnTo>
                    <a:pt x="170" y="113"/>
                  </a:lnTo>
                  <a:lnTo>
                    <a:pt x="147" y="140"/>
                  </a:lnTo>
                  <a:lnTo>
                    <a:pt x="121" y="152"/>
                  </a:lnTo>
                  <a:lnTo>
                    <a:pt x="106" y="150"/>
                  </a:lnTo>
                  <a:lnTo>
                    <a:pt x="107" y="158"/>
                  </a:lnTo>
                  <a:lnTo>
                    <a:pt x="119" y="164"/>
                  </a:lnTo>
                  <a:lnTo>
                    <a:pt x="153" y="210"/>
                  </a:lnTo>
                  <a:lnTo>
                    <a:pt x="144" y="217"/>
                  </a:lnTo>
                  <a:lnTo>
                    <a:pt x="144" y="228"/>
                  </a:lnTo>
                  <a:lnTo>
                    <a:pt x="158" y="240"/>
                  </a:lnTo>
                  <a:lnTo>
                    <a:pt x="158" y="247"/>
                  </a:lnTo>
                  <a:lnTo>
                    <a:pt x="168" y="249"/>
                  </a:lnTo>
                  <a:lnTo>
                    <a:pt x="168" y="258"/>
                  </a:lnTo>
                  <a:lnTo>
                    <a:pt x="142" y="264"/>
                  </a:lnTo>
                  <a:lnTo>
                    <a:pt x="129" y="282"/>
                  </a:lnTo>
                  <a:lnTo>
                    <a:pt x="118" y="281"/>
                  </a:lnTo>
                  <a:lnTo>
                    <a:pt x="113" y="259"/>
                  </a:lnTo>
                  <a:lnTo>
                    <a:pt x="116" y="250"/>
                  </a:lnTo>
                  <a:lnTo>
                    <a:pt x="93" y="229"/>
                  </a:lnTo>
                  <a:lnTo>
                    <a:pt x="88" y="218"/>
                  </a:lnTo>
                  <a:lnTo>
                    <a:pt x="94" y="206"/>
                  </a:lnTo>
                  <a:lnTo>
                    <a:pt x="93" y="190"/>
                  </a:lnTo>
                  <a:lnTo>
                    <a:pt x="91" y="185"/>
                  </a:lnTo>
                  <a:lnTo>
                    <a:pt x="82" y="184"/>
                  </a:lnTo>
                  <a:lnTo>
                    <a:pt x="63" y="197"/>
                  </a:lnTo>
                  <a:lnTo>
                    <a:pt x="59" y="208"/>
                  </a:lnTo>
                  <a:lnTo>
                    <a:pt x="65" y="218"/>
                  </a:lnTo>
                  <a:lnTo>
                    <a:pt x="67" y="277"/>
                  </a:lnTo>
                  <a:lnTo>
                    <a:pt x="62" y="288"/>
                  </a:lnTo>
                  <a:lnTo>
                    <a:pt x="66" y="311"/>
                  </a:lnTo>
                  <a:lnTo>
                    <a:pt x="32" y="315"/>
                  </a:lnTo>
                  <a:lnTo>
                    <a:pt x="26" y="312"/>
                  </a:lnTo>
                  <a:lnTo>
                    <a:pt x="21" y="300"/>
                  </a:lnTo>
                  <a:lnTo>
                    <a:pt x="33" y="246"/>
                  </a:lnTo>
                  <a:lnTo>
                    <a:pt x="26" y="221"/>
                  </a:lnTo>
                  <a:lnTo>
                    <a:pt x="8" y="222"/>
                  </a:lnTo>
                  <a:lnTo>
                    <a:pt x="1" y="212"/>
                  </a:lnTo>
                  <a:lnTo>
                    <a:pt x="0" y="186"/>
                  </a:lnTo>
                  <a:lnTo>
                    <a:pt x="20" y="152"/>
                  </a:lnTo>
                  <a:lnTo>
                    <a:pt x="19" y="128"/>
                  </a:lnTo>
                  <a:lnTo>
                    <a:pt x="37" y="98"/>
                  </a:lnTo>
                  <a:lnTo>
                    <a:pt x="40" y="81"/>
                  </a:lnTo>
                  <a:lnTo>
                    <a:pt x="35" y="75"/>
                  </a:lnTo>
                  <a:lnTo>
                    <a:pt x="42" y="67"/>
                  </a:lnTo>
                  <a:lnTo>
                    <a:pt x="49" y="43"/>
                  </a:lnTo>
                  <a:lnTo>
                    <a:pt x="58" y="34"/>
                  </a:lnTo>
                  <a:lnTo>
                    <a:pt x="72" y="38"/>
                  </a:lnTo>
                  <a:lnTo>
                    <a:pt x="81" y="20"/>
                  </a:lnTo>
                  <a:lnTo>
                    <a:pt x="94" y="16"/>
                  </a:lnTo>
                  <a:close/>
                </a:path>
              </a:pathLst>
            </a:custGeom>
            <a:grpFill/>
            <a:ln w="6350">
              <a:solidFill>
                <a:schemeClr val="tx2"/>
              </a:solidFill>
              <a:round/>
              <a:headEnd/>
              <a:tailEnd/>
            </a:ln>
          </p:spPr>
          <p:txBody>
            <a:bodyPr/>
            <a:lstStyle/>
            <a:p>
              <a:endParaRPr lang="en-US"/>
            </a:p>
          </p:txBody>
        </p:sp>
        <p:sp>
          <p:nvSpPr>
            <p:cNvPr id="504" name="Freeform 1610"/>
            <p:cNvSpPr>
              <a:spLocks/>
            </p:cNvSpPr>
            <p:nvPr/>
          </p:nvSpPr>
          <p:spPr bwMode="auto">
            <a:xfrm>
              <a:off x="7262654" y="4489337"/>
              <a:ext cx="3034" cy="7586"/>
            </a:xfrm>
            <a:custGeom>
              <a:avLst/>
              <a:gdLst>
                <a:gd name="T0" fmla="*/ 0 w 9"/>
                <a:gd name="T1" fmla="*/ 2147483647 h 13"/>
                <a:gd name="T2" fmla="*/ 2147483647 w 9"/>
                <a:gd name="T3" fmla="*/ 0 h 13"/>
                <a:gd name="T4" fmla="*/ 2147483647 w 9"/>
                <a:gd name="T5" fmla="*/ 2147483647 h 13"/>
                <a:gd name="T6" fmla="*/ 2147483647 w 9"/>
                <a:gd name="T7" fmla="*/ 2147483647 h 13"/>
                <a:gd name="T8" fmla="*/ 0 w 9"/>
                <a:gd name="T9" fmla="*/ 2147483647 h 13"/>
                <a:gd name="T10" fmla="*/ 0 60000 65536"/>
                <a:gd name="T11" fmla="*/ 0 60000 65536"/>
                <a:gd name="T12" fmla="*/ 0 60000 65536"/>
                <a:gd name="T13" fmla="*/ 0 60000 65536"/>
                <a:gd name="T14" fmla="*/ 0 60000 65536"/>
                <a:gd name="T15" fmla="*/ 0 w 9"/>
                <a:gd name="T16" fmla="*/ 0 h 13"/>
                <a:gd name="T17" fmla="*/ 9 w 9"/>
                <a:gd name="T18" fmla="*/ 13 h 13"/>
              </a:gdLst>
              <a:ahLst/>
              <a:cxnLst>
                <a:cxn ang="T10">
                  <a:pos x="T0" y="T1"/>
                </a:cxn>
                <a:cxn ang="T11">
                  <a:pos x="T2" y="T3"/>
                </a:cxn>
                <a:cxn ang="T12">
                  <a:pos x="T4" y="T5"/>
                </a:cxn>
                <a:cxn ang="T13">
                  <a:pos x="T6" y="T7"/>
                </a:cxn>
                <a:cxn ang="T14">
                  <a:pos x="T8" y="T9"/>
                </a:cxn>
              </a:cxnLst>
              <a:rect l="T15" t="T16" r="T17" b="T18"/>
              <a:pathLst>
                <a:path w="9" h="13">
                  <a:moveTo>
                    <a:pt x="0" y="3"/>
                  </a:moveTo>
                  <a:lnTo>
                    <a:pt x="7" y="0"/>
                  </a:lnTo>
                  <a:lnTo>
                    <a:pt x="9" y="12"/>
                  </a:lnTo>
                  <a:lnTo>
                    <a:pt x="6" y="13"/>
                  </a:lnTo>
                  <a:lnTo>
                    <a:pt x="0" y="3"/>
                  </a:lnTo>
                  <a:close/>
                </a:path>
              </a:pathLst>
            </a:custGeom>
            <a:grpFill/>
            <a:ln w="6350">
              <a:solidFill>
                <a:schemeClr val="tx2"/>
              </a:solidFill>
              <a:round/>
              <a:headEnd/>
              <a:tailEnd/>
            </a:ln>
          </p:spPr>
          <p:txBody>
            <a:bodyPr/>
            <a:lstStyle/>
            <a:p>
              <a:endParaRPr lang="en-US"/>
            </a:p>
          </p:txBody>
        </p:sp>
        <p:sp>
          <p:nvSpPr>
            <p:cNvPr id="505" name="Freeform 1611"/>
            <p:cNvSpPr>
              <a:spLocks/>
            </p:cNvSpPr>
            <p:nvPr/>
          </p:nvSpPr>
          <p:spPr bwMode="auto">
            <a:xfrm>
              <a:off x="7270238" y="4480235"/>
              <a:ext cx="10620" cy="15172"/>
            </a:xfrm>
            <a:custGeom>
              <a:avLst/>
              <a:gdLst>
                <a:gd name="T0" fmla="*/ 2147483647 w 16"/>
                <a:gd name="T1" fmla="*/ 2147483647 h 31"/>
                <a:gd name="T2" fmla="*/ 2147483647 w 16"/>
                <a:gd name="T3" fmla="*/ 0 h 31"/>
                <a:gd name="T4" fmla="*/ 2147483647 w 16"/>
                <a:gd name="T5" fmla="*/ 2147483647 h 31"/>
                <a:gd name="T6" fmla="*/ 0 w 16"/>
                <a:gd name="T7" fmla="*/ 2147483647 h 31"/>
                <a:gd name="T8" fmla="*/ 2147483647 w 16"/>
                <a:gd name="T9" fmla="*/ 2147483647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2" y="3"/>
                  </a:moveTo>
                  <a:lnTo>
                    <a:pt x="16" y="0"/>
                  </a:lnTo>
                  <a:lnTo>
                    <a:pt x="13" y="31"/>
                  </a:lnTo>
                  <a:lnTo>
                    <a:pt x="0" y="29"/>
                  </a:lnTo>
                  <a:lnTo>
                    <a:pt x="2" y="3"/>
                  </a:lnTo>
                  <a:close/>
                </a:path>
              </a:pathLst>
            </a:custGeom>
            <a:grpFill/>
            <a:ln w="6350">
              <a:solidFill>
                <a:schemeClr val="tx2"/>
              </a:solidFill>
              <a:round/>
              <a:headEnd/>
              <a:tailEnd/>
            </a:ln>
          </p:spPr>
          <p:txBody>
            <a:bodyPr/>
            <a:lstStyle/>
            <a:p>
              <a:endParaRPr lang="en-US"/>
            </a:p>
          </p:txBody>
        </p:sp>
        <p:sp>
          <p:nvSpPr>
            <p:cNvPr id="506" name="Freeform 1612"/>
            <p:cNvSpPr>
              <a:spLocks/>
            </p:cNvSpPr>
            <p:nvPr/>
          </p:nvSpPr>
          <p:spPr bwMode="auto">
            <a:xfrm>
              <a:off x="7279341" y="4472650"/>
              <a:ext cx="10620" cy="28825"/>
            </a:xfrm>
            <a:custGeom>
              <a:avLst/>
              <a:gdLst>
                <a:gd name="T0" fmla="*/ 2147483647 w 23"/>
                <a:gd name="T1" fmla="*/ 2147483647 h 58"/>
                <a:gd name="T2" fmla="*/ 2147483647 w 23"/>
                <a:gd name="T3" fmla="*/ 0 h 58"/>
                <a:gd name="T4" fmla="*/ 2147483647 w 23"/>
                <a:gd name="T5" fmla="*/ 2147483647 h 58"/>
                <a:gd name="T6" fmla="*/ 2147483647 w 23"/>
                <a:gd name="T7" fmla="*/ 2147483647 h 58"/>
                <a:gd name="T8" fmla="*/ 2147483647 w 23"/>
                <a:gd name="T9" fmla="*/ 2147483647 h 58"/>
                <a:gd name="T10" fmla="*/ 2147483647 w 23"/>
                <a:gd name="T11" fmla="*/ 2147483647 h 58"/>
                <a:gd name="T12" fmla="*/ 0 w 23"/>
                <a:gd name="T13" fmla="*/ 2147483647 h 58"/>
                <a:gd name="T14" fmla="*/ 2147483647 w 23"/>
                <a:gd name="T15" fmla="*/ 2147483647 h 58"/>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58"/>
                <a:gd name="T26" fmla="*/ 23 w 23"/>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58">
                  <a:moveTo>
                    <a:pt x="5" y="30"/>
                  </a:moveTo>
                  <a:lnTo>
                    <a:pt x="13" y="0"/>
                  </a:lnTo>
                  <a:lnTo>
                    <a:pt x="23" y="19"/>
                  </a:lnTo>
                  <a:lnTo>
                    <a:pt x="14" y="28"/>
                  </a:lnTo>
                  <a:lnTo>
                    <a:pt x="22" y="45"/>
                  </a:lnTo>
                  <a:lnTo>
                    <a:pt x="5" y="58"/>
                  </a:lnTo>
                  <a:lnTo>
                    <a:pt x="0" y="48"/>
                  </a:lnTo>
                  <a:lnTo>
                    <a:pt x="5" y="30"/>
                  </a:lnTo>
                  <a:close/>
                </a:path>
              </a:pathLst>
            </a:custGeom>
            <a:grpFill/>
            <a:ln w="6350">
              <a:solidFill>
                <a:schemeClr val="tx2"/>
              </a:solidFill>
              <a:round/>
              <a:headEnd/>
              <a:tailEnd/>
            </a:ln>
          </p:spPr>
          <p:txBody>
            <a:bodyPr/>
            <a:lstStyle/>
            <a:p>
              <a:endParaRPr lang="en-US"/>
            </a:p>
          </p:txBody>
        </p:sp>
        <p:sp>
          <p:nvSpPr>
            <p:cNvPr id="507" name="Freeform 1613"/>
            <p:cNvSpPr>
              <a:spLocks/>
            </p:cNvSpPr>
            <p:nvPr/>
          </p:nvSpPr>
          <p:spPr bwMode="auto">
            <a:xfrm>
              <a:off x="7286927" y="4465064"/>
              <a:ext cx="3034" cy="4551"/>
            </a:xfrm>
            <a:custGeom>
              <a:avLst/>
              <a:gdLst>
                <a:gd name="T0" fmla="*/ 0 w 8"/>
                <a:gd name="T1" fmla="*/ 0 h 9"/>
                <a:gd name="T2" fmla="*/ 2147483647 w 8"/>
                <a:gd name="T3" fmla="*/ 0 h 9"/>
                <a:gd name="T4" fmla="*/ 2147483647 w 8"/>
                <a:gd name="T5" fmla="*/ 2147483647 h 9"/>
                <a:gd name="T6" fmla="*/ 2147483647 w 8"/>
                <a:gd name="T7" fmla="*/ 2147483647 h 9"/>
                <a:gd name="T8" fmla="*/ 0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0"/>
                  </a:moveTo>
                  <a:lnTo>
                    <a:pt x="7" y="0"/>
                  </a:lnTo>
                  <a:lnTo>
                    <a:pt x="8" y="9"/>
                  </a:lnTo>
                  <a:lnTo>
                    <a:pt x="1" y="7"/>
                  </a:lnTo>
                  <a:lnTo>
                    <a:pt x="0" y="0"/>
                  </a:lnTo>
                  <a:close/>
                </a:path>
              </a:pathLst>
            </a:custGeom>
            <a:grpFill/>
            <a:ln w="6350">
              <a:solidFill>
                <a:schemeClr val="tx2"/>
              </a:solidFill>
              <a:round/>
              <a:headEnd/>
              <a:tailEnd/>
            </a:ln>
          </p:spPr>
          <p:txBody>
            <a:bodyPr/>
            <a:lstStyle/>
            <a:p>
              <a:endParaRPr lang="en-US"/>
            </a:p>
          </p:txBody>
        </p:sp>
        <p:sp>
          <p:nvSpPr>
            <p:cNvPr id="508" name="Freeform 1614"/>
            <p:cNvSpPr>
              <a:spLocks/>
            </p:cNvSpPr>
            <p:nvPr/>
          </p:nvSpPr>
          <p:spPr bwMode="auto">
            <a:xfrm>
              <a:off x="7283893" y="4404379"/>
              <a:ext cx="6069" cy="9103"/>
            </a:xfrm>
            <a:custGeom>
              <a:avLst/>
              <a:gdLst>
                <a:gd name="T0" fmla="*/ 2147483647 w 14"/>
                <a:gd name="T1" fmla="*/ 0 h 18"/>
                <a:gd name="T2" fmla="*/ 2147483647 w 14"/>
                <a:gd name="T3" fmla="*/ 0 h 18"/>
                <a:gd name="T4" fmla="*/ 2147483647 w 14"/>
                <a:gd name="T5" fmla="*/ 2147483647 h 18"/>
                <a:gd name="T6" fmla="*/ 2147483647 w 14"/>
                <a:gd name="T7" fmla="*/ 2147483647 h 18"/>
                <a:gd name="T8" fmla="*/ 0 w 14"/>
                <a:gd name="T9" fmla="*/ 2147483647 h 18"/>
                <a:gd name="T10" fmla="*/ 0 w 14"/>
                <a:gd name="T11" fmla="*/ 2147483647 h 18"/>
                <a:gd name="T12" fmla="*/ 2147483647 w 14"/>
                <a:gd name="T13" fmla="*/ 0 h 18"/>
                <a:gd name="T14" fmla="*/ 0 60000 65536"/>
                <a:gd name="T15" fmla="*/ 0 60000 65536"/>
                <a:gd name="T16" fmla="*/ 0 60000 65536"/>
                <a:gd name="T17" fmla="*/ 0 60000 65536"/>
                <a:gd name="T18" fmla="*/ 0 60000 65536"/>
                <a:gd name="T19" fmla="*/ 0 60000 65536"/>
                <a:gd name="T20" fmla="*/ 0 60000 65536"/>
                <a:gd name="T21" fmla="*/ 0 w 14"/>
                <a:gd name="T22" fmla="*/ 0 h 18"/>
                <a:gd name="T23" fmla="*/ 14 w 1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8">
                  <a:moveTo>
                    <a:pt x="9" y="0"/>
                  </a:moveTo>
                  <a:lnTo>
                    <a:pt x="14" y="0"/>
                  </a:lnTo>
                  <a:lnTo>
                    <a:pt x="14" y="6"/>
                  </a:lnTo>
                  <a:lnTo>
                    <a:pt x="6" y="18"/>
                  </a:lnTo>
                  <a:lnTo>
                    <a:pt x="0" y="17"/>
                  </a:lnTo>
                  <a:lnTo>
                    <a:pt x="0" y="5"/>
                  </a:lnTo>
                  <a:lnTo>
                    <a:pt x="9" y="0"/>
                  </a:lnTo>
                  <a:close/>
                </a:path>
              </a:pathLst>
            </a:custGeom>
            <a:grpFill/>
            <a:ln w="6350">
              <a:solidFill>
                <a:schemeClr val="tx2"/>
              </a:solidFill>
              <a:round/>
              <a:headEnd/>
              <a:tailEnd/>
            </a:ln>
          </p:spPr>
          <p:txBody>
            <a:bodyPr/>
            <a:lstStyle/>
            <a:p>
              <a:endParaRPr lang="en-US"/>
            </a:p>
          </p:txBody>
        </p:sp>
        <p:sp>
          <p:nvSpPr>
            <p:cNvPr id="509" name="Freeform 1615"/>
            <p:cNvSpPr>
              <a:spLocks/>
            </p:cNvSpPr>
            <p:nvPr/>
          </p:nvSpPr>
          <p:spPr bwMode="auto">
            <a:xfrm>
              <a:off x="7289961" y="4407413"/>
              <a:ext cx="7585" cy="7586"/>
            </a:xfrm>
            <a:custGeom>
              <a:avLst/>
              <a:gdLst>
                <a:gd name="T0" fmla="*/ 0 w 13"/>
                <a:gd name="T1" fmla="*/ 2147483647 h 15"/>
                <a:gd name="T2" fmla="*/ 2147483647 w 13"/>
                <a:gd name="T3" fmla="*/ 0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0 60000 65536"/>
                <a:gd name="T15" fmla="*/ 0 60000 65536"/>
                <a:gd name="T16" fmla="*/ 0 60000 65536"/>
                <a:gd name="T17" fmla="*/ 0 60000 65536"/>
                <a:gd name="T18" fmla="*/ 0 60000 65536"/>
                <a:gd name="T19" fmla="*/ 0 60000 65536"/>
                <a:gd name="T20" fmla="*/ 0 60000 65536"/>
                <a:gd name="T21" fmla="*/ 0 w 13"/>
                <a:gd name="T22" fmla="*/ 0 h 15"/>
                <a:gd name="T23" fmla="*/ 13 w 13"/>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5">
                  <a:moveTo>
                    <a:pt x="0" y="6"/>
                  </a:moveTo>
                  <a:lnTo>
                    <a:pt x="7" y="0"/>
                  </a:lnTo>
                  <a:lnTo>
                    <a:pt x="13" y="2"/>
                  </a:lnTo>
                  <a:lnTo>
                    <a:pt x="10" y="14"/>
                  </a:lnTo>
                  <a:lnTo>
                    <a:pt x="4" y="11"/>
                  </a:lnTo>
                  <a:lnTo>
                    <a:pt x="2" y="15"/>
                  </a:lnTo>
                  <a:lnTo>
                    <a:pt x="0" y="6"/>
                  </a:lnTo>
                  <a:close/>
                </a:path>
              </a:pathLst>
            </a:custGeom>
            <a:grpFill/>
            <a:ln w="6350">
              <a:solidFill>
                <a:schemeClr val="tx2"/>
              </a:solidFill>
              <a:round/>
              <a:headEnd/>
              <a:tailEnd/>
            </a:ln>
          </p:spPr>
          <p:txBody>
            <a:bodyPr/>
            <a:lstStyle/>
            <a:p>
              <a:endParaRPr lang="en-US"/>
            </a:p>
          </p:txBody>
        </p:sp>
        <p:sp>
          <p:nvSpPr>
            <p:cNvPr id="510" name="Freeform 1616"/>
            <p:cNvSpPr>
              <a:spLocks/>
            </p:cNvSpPr>
            <p:nvPr/>
          </p:nvSpPr>
          <p:spPr bwMode="auto">
            <a:xfrm>
              <a:off x="7314235" y="4416516"/>
              <a:ext cx="21239" cy="7586"/>
            </a:xfrm>
            <a:custGeom>
              <a:avLst/>
              <a:gdLst>
                <a:gd name="T0" fmla="*/ 0 w 37"/>
                <a:gd name="T1" fmla="*/ 0 h 15"/>
                <a:gd name="T2" fmla="*/ 2147483647 w 37"/>
                <a:gd name="T3" fmla="*/ 2147483647 h 15"/>
                <a:gd name="T4" fmla="*/ 2147483647 w 37"/>
                <a:gd name="T5" fmla="*/ 2147483647 h 15"/>
                <a:gd name="T6" fmla="*/ 2147483647 w 37"/>
                <a:gd name="T7" fmla="*/ 2147483647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37" y="6"/>
                  </a:lnTo>
                  <a:lnTo>
                    <a:pt x="9" y="15"/>
                  </a:lnTo>
                  <a:lnTo>
                    <a:pt x="4" y="14"/>
                  </a:lnTo>
                  <a:lnTo>
                    <a:pt x="0" y="0"/>
                  </a:lnTo>
                  <a:close/>
                </a:path>
              </a:pathLst>
            </a:custGeom>
            <a:grpFill/>
            <a:ln w="6350">
              <a:solidFill>
                <a:schemeClr val="tx2"/>
              </a:solidFill>
              <a:round/>
              <a:headEnd/>
              <a:tailEnd/>
            </a:ln>
          </p:spPr>
          <p:txBody>
            <a:bodyPr/>
            <a:lstStyle/>
            <a:p>
              <a:endParaRPr lang="en-US"/>
            </a:p>
          </p:txBody>
        </p:sp>
        <p:sp>
          <p:nvSpPr>
            <p:cNvPr id="511" name="Freeform 1617"/>
            <p:cNvSpPr>
              <a:spLocks/>
            </p:cNvSpPr>
            <p:nvPr/>
          </p:nvSpPr>
          <p:spPr bwMode="auto">
            <a:xfrm>
              <a:off x="7338509" y="4418033"/>
              <a:ext cx="18206" cy="4550"/>
            </a:xfrm>
            <a:custGeom>
              <a:avLst/>
              <a:gdLst>
                <a:gd name="T0" fmla="*/ 0 w 38"/>
                <a:gd name="T1" fmla="*/ 2147483647 h 7"/>
                <a:gd name="T2" fmla="*/ 2147483647 w 38"/>
                <a:gd name="T3" fmla="*/ 0 h 7"/>
                <a:gd name="T4" fmla="*/ 2147483647 w 38"/>
                <a:gd name="T5" fmla="*/ 2147483647 h 7"/>
                <a:gd name="T6" fmla="*/ 0 w 38"/>
                <a:gd name="T7" fmla="*/ 2147483647 h 7"/>
                <a:gd name="T8" fmla="*/ 0 60000 65536"/>
                <a:gd name="T9" fmla="*/ 0 60000 65536"/>
                <a:gd name="T10" fmla="*/ 0 60000 65536"/>
                <a:gd name="T11" fmla="*/ 0 60000 65536"/>
                <a:gd name="T12" fmla="*/ 0 w 38"/>
                <a:gd name="T13" fmla="*/ 0 h 7"/>
                <a:gd name="T14" fmla="*/ 38 w 38"/>
                <a:gd name="T15" fmla="*/ 7 h 7"/>
              </a:gdLst>
              <a:ahLst/>
              <a:cxnLst>
                <a:cxn ang="T8">
                  <a:pos x="T0" y="T1"/>
                </a:cxn>
                <a:cxn ang="T9">
                  <a:pos x="T2" y="T3"/>
                </a:cxn>
                <a:cxn ang="T10">
                  <a:pos x="T4" y="T5"/>
                </a:cxn>
                <a:cxn ang="T11">
                  <a:pos x="T6" y="T7"/>
                </a:cxn>
              </a:cxnLst>
              <a:rect l="T12" t="T13" r="T14" b="T15"/>
              <a:pathLst>
                <a:path w="38" h="7">
                  <a:moveTo>
                    <a:pt x="0" y="2"/>
                  </a:moveTo>
                  <a:lnTo>
                    <a:pt x="38" y="0"/>
                  </a:lnTo>
                  <a:lnTo>
                    <a:pt x="5" y="7"/>
                  </a:lnTo>
                  <a:lnTo>
                    <a:pt x="0" y="2"/>
                  </a:lnTo>
                  <a:close/>
                </a:path>
              </a:pathLst>
            </a:custGeom>
            <a:grpFill/>
            <a:ln w="6350">
              <a:solidFill>
                <a:schemeClr val="tx2"/>
              </a:solidFill>
              <a:round/>
              <a:headEnd/>
              <a:tailEnd/>
            </a:ln>
          </p:spPr>
          <p:txBody>
            <a:bodyPr/>
            <a:lstStyle/>
            <a:p>
              <a:endParaRPr lang="en-US"/>
            </a:p>
          </p:txBody>
        </p:sp>
        <p:sp>
          <p:nvSpPr>
            <p:cNvPr id="512" name="Freeform 1618"/>
            <p:cNvSpPr>
              <a:spLocks/>
            </p:cNvSpPr>
            <p:nvPr/>
          </p:nvSpPr>
          <p:spPr bwMode="auto">
            <a:xfrm>
              <a:off x="7349128" y="4422585"/>
              <a:ext cx="3034" cy="9103"/>
            </a:xfrm>
            <a:custGeom>
              <a:avLst/>
              <a:gdLst>
                <a:gd name="T0" fmla="*/ 0 w 6"/>
                <a:gd name="T1" fmla="*/ 2147483647 h 20"/>
                <a:gd name="T2" fmla="*/ 2147483647 w 6"/>
                <a:gd name="T3" fmla="*/ 0 h 20"/>
                <a:gd name="T4" fmla="*/ 2147483647 w 6"/>
                <a:gd name="T5" fmla="*/ 2147483647 h 20"/>
                <a:gd name="T6" fmla="*/ 0 w 6"/>
                <a:gd name="T7" fmla="*/ 2147483647 h 20"/>
                <a:gd name="T8" fmla="*/ 0 60000 65536"/>
                <a:gd name="T9" fmla="*/ 0 60000 65536"/>
                <a:gd name="T10" fmla="*/ 0 60000 65536"/>
                <a:gd name="T11" fmla="*/ 0 60000 65536"/>
                <a:gd name="T12" fmla="*/ 0 w 6"/>
                <a:gd name="T13" fmla="*/ 0 h 20"/>
                <a:gd name="T14" fmla="*/ 6 w 6"/>
                <a:gd name="T15" fmla="*/ 20 h 20"/>
              </a:gdLst>
              <a:ahLst/>
              <a:cxnLst>
                <a:cxn ang="T8">
                  <a:pos x="T0" y="T1"/>
                </a:cxn>
                <a:cxn ang="T9">
                  <a:pos x="T2" y="T3"/>
                </a:cxn>
                <a:cxn ang="T10">
                  <a:pos x="T4" y="T5"/>
                </a:cxn>
                <a:cxn ang="T11">
                  <a:pos x="T6" y="T7"/>
                </a:cxn>
              </a:cxnLst>
              <a:rect l="T12" t="T13" r="T14" b="T15"/>
              <a:pathLst>
                <a:path w="6" h="20">
                  <a:moveTo>
                    <a:pt x="0" y="2"/>
                  </a:moveTo>
                  <a:lnTo>
                    <a:pt x="2" y="0"/>
                  </a:lnTo>
                  <a:lnTo>
                    <a:pt x="6" y="20"/>
                  </a:lnTo>
                  <a:lnTo>
                    <a:pt x="0" y="2"/>
                  </a:lnTo>
                  <a:close/>
                </a:path>
              </a:pathLst>
            </a:custGeom>
            <a:grpFill/>
            <a:ln w="6350">
              <a:solidFill>
                <a:schemeClr val="tx2"/>
              </a:solidFill>
              <a:round/>
              <a:headEnd/>
              <a:tailEnd/>
            </a:ln>
          </p:spPr>
          <p:txBody>
            <a:bodyPr/>
            <a:lstStyle/>
            <a:p>
              <a:endParaRPr lang="en-US"/>
            </a:p>
          </p:txBody>
        </p:sp>
        <p:sp>
          <p:nvSpPr>
            <p:cNvPr id="513" name="Freeform 1619"/>
            <p:cNvSpPr>
              <a:spLocks/>
            </p:cNvSpPr>
            <p:nvPr/>
          </p:nvSpPr>
          <p:spPr bwMode="auto">
            <a:xfrm>
              <a:off x="7350645" y="4443824"/>
              <a:ext cx="24273" cy="18206"/>
            </a:xfrm>
            <a:custGeom>
              <a:avLst/>
              <a:gdLst>
                <a:gd name="T0" fmla="*/ 0 w 50"/>
                <a:gd name="T1" fmla="*/ 2147483647 h 36"/>
                <a:gd name="T2" fmla="*/ 2147483647 w 50"/>
                <a:gd name="T3" fmla="*/ 2147483647 h 36"/>
                <a:gd name="T4" fmla="*/ 2147483647 w 50"/>
                <a:gd name="T5" fmla="*/ 0 h 36"/>
                <a:gd name="T6" fmla="*/ 2147483647 w 50"/>
                <a:gd name="T7" fmla="*/ 2147483647 h 36"/>
                <a:gd name="T8" fmla="*/ 2147483647 w 50"/>
                <a:gd name="T9" fmla="*/ 2147483647 h 36"/>
                <a:gd name="T10" fmla="*/ 2147483647 w 50"/>
                <a:gd name="T11" fmla="*/ 2147483647 h 36"/>
                <a:gd name="T12" fmla="*/ 2147483647 w 50"/>
                <a:gd name="T13" fmla="*/ 2147483647 h 36"/>
                <a:gd name="T14" fmla="*/ 2147483647 w 50"/>
                <a:gd name="T15" fmla="*/ 2147483647 h 36"/>
                <a:gd name="T16" fmla="*/ 2147483647 w 50"/>
                <a:gd name="T17" fmla="*/ 2147483647 h 36"/>
                <a:gd name="T18" fmla="*/ 0 w 5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36"/>
                <a:gd name="T32" fmla="*/ 50 w 50"/>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36">
                  <a:moveTo>
                    <a:pt x="0" y="3"/>
                  </a:moveTo>
                  <a:lnTo>
                    <a:pt x="3" y="7"/>
                  </a:lnTo>
                  <a:lnTo>
                    <a:pt x="29" y="0"/>
                  </a:lnTo>
                  <a:lnTo>
                    <a:pt x="48" y="13"/>
                  </a:lnTo>
                  <a:lnTo>
                    <a:pt x="50" y="23"/>
                  </a:lnTo>
                  <a:lnTo>
                    <a:pt x="47" y="29"/>
                  </a:lnTo>
                  <a:lnTo>
                    <a:pt x="31" y="36"/>
                  </a:lnTo>
                  <a:lnTo>
                    <a:pt x="21" y="33"/>
                  </a:lnTo>
                  <a:lnTo>
                    <a:pt x="6" y="22"/>
                  </a:lnTo>
                  <a:lnTo>
                    <a:pt x="0" y="3"/>
                  </a:lnTo>
                  <a:close/>
                </a:path>
              </a:pathLst>
            </a:custGeom>
            <a:grpFill/>
            <a:ln w="6350">
              <a:solidFill>
                <a:schemeClr val="tx2"/>
              </a:solidFill>
              <a:round/>
              <a:headEnd/>
              <a:tailEnd/>
            </a:ln>
          </p:spPr>
          <p:txBody>
            <a:bodyPr/>
            <a:lstStyle/>
            <a:p>
              <a:endParaRPr lang="en-US"/>
            </a:p>
          </p:txBody>
        </p:sp>
        <p:sp>
          <p:nvSpPr>
            <p:cNvPr id="514" name="Freeform 1620"/>
            <p:cNvSpPr>
              <a:spLocks/>
            </p:cNvSpPr>
            <p:nvPr/>
          </p:nvSpPr>
          <p:spPr bwMode="auto">
            <a:xfrm>
              <a:off x="7367333" y="4283010"/>
              <a:ext cx="3034" cy="12137"/>
            </a:xfrm>
            <a:custGeom>
              <a:avLst/>
              <a:gdLst>
                <a:gd name="T0" fmla="*/ 0 w 5"/>
                <a:gd name="T1" fmla="*/ 0 h 22"/>
                <a:gd name="T2" fmla="*/ 2147483647 w 5"/>
                <a:gd name="T3" fmla="*/ 2147483647 h 22"/>
                <a:gd name="T4" fmla="*/ 2147483647 w 5"/>
                <a:gd name="T5" fmla="*/ 2147483647 h 22"/>
                <a:gd name="T6" fmla="*/ 0 w 5"/>
                <a:gd name="T7" fmla="*/ 0 h 22"/>
                <a:gd name="T8" fmla="*/ 0 60000 65536"/>
                <a:gd name="T9" fmla="*/ 0 60000 65536"/>
                <a:gd name="T10" fmla="*/ 0 60000 65536"/>
                <a:gd name="T11" fmla="*/ 0 60000 65536"/>
                <a:gd name="T12" fmla="*/ 0 w 5"/>
                <a:gd name="T13" fmla="*/ 0 h 22"/>
                <a:gd name="T14" fmla="*/ 5 w 5"/>
                <a:gd name="T15" fmla="*/ 22 h 22"/>
              </a:gdLst>
              <a:ahLst/>
              <a:cxnLst>
                <a:cxn ang="T8">
                  <a:pos x="T0" y="T1"/>
                </a:cxn>
                <a:cxn ang="T9">
                  <a:pos x="T2" y="T3"/>
                </a:cxn>
                <a:cxn ang="T10">
                  <a:pos x="T4" y="T5"/>
                </a:cxn>
                <a:cxn ang="T11">
                  <a:pos x="T6" y="T7"/>
                </a:cxn>
              </a:cxnLst>
              <a:rect l="T12" t="T13" r="T14" b="T15"/>
              <a:pathLst>
                <a:path w="5" h="22">
                  <a:moveTo>
                    <a:pt x="0" y="0"/>
                  </a:moveTo>
                  <a:lnTo>
                    <a:pt x="5" y="12"/>
                  </a:lnTo>
                  <a:lnTo>
                    <a:pt x="2" y="22"/>
                  </a:lnTo>
                  <a:lnTo>
                    <a:pt x="0" y="0"/>
                  </a:lnTo>
                  <a:close/>
                </a:path>
              </a:pathLst>
            </a:custGeom>
            <a:grpFill/>
            <a:ln w="6350">
              <a:solidFill>
                <a:schemeClr val="tx2"/>
              </a:solidFill>
              <a:round/>
              <a:headEnd/>
              <a:tailEnd/>
            </a:ln>
          </p:spPr>
          <p:txBody>
            <a:bodyPr/>
            <a:lstStyle/>
            <a:p>
              <a:endParaRPr lang="en-US"/>
            </a:p>
          </p:txBody>
        </p:sp>
        <p:sp>
          <p:nvSpPr>
            <p:cNvPr id="515" name="Freeform 1621"/>
            <p:cNvSpPr>
              <a:spLocks/>
            </p:cNvSpPr>
            <p:nvPr/>
          </p:nvSpPr>
          <p:spPr bwMode="auto">
            <a:xfrm>
              <a:off x="7399193" y="4323973"/>
              <a:ext cx="7585" cy="13653"/>
            </a:xfrm>
            <a:custGeom>
              <a:avLst/>
              <a:gdLst>
                <a:gd name="T0" fmla="*/ 2147483647 w 16"/>
                <a:gd name="T1" fmla="*/ 0 h 26"/>
                <a:gd name="T2" fmla="*/ 2147483647 w 16"/>
                <a:gd name="T3" fmla="*/ 2147483647 h 26"/>
                <a:gd name="T4" fmla="*/ 2147483647 w 16"/>
                <a:gd name="T5" fmla="*/ 2147483647 h 26"/>
                <a:gd name="T6" fmla="*/ 2147483647 w 16"/>
                <a:gd name="T7" fmla="*/ 2147483647 h 26"/>
                <a:gd name="T8" fmla="*/ 0 w 16"/>
                <a:gd name="T9" fmla="*/ 2147483647 h 26"/>
                <a:gd name="T10" fmla="*/ 2147483647 w 16"/>
                <a:gd name="T11" fmla="*/ 0 h 26"/>
                <a:gd name="T12" fmla="*/ 0 60000 65536"/>
                <a:gd name="T13" fmla="*/ 0 60000 65536"/>
                <a:gd name="T14" fmla="*/ 0 60000 65536"/>
                <a:gd name="T15" fmla="*/ 0 60000 65536"/>
                <a:gd name="T16" fmla="*/ 0 60000 65536"/>
                <a:gd name="T17" fmla="*/ 0 60000 65536"/>
                <a:gd name="T18" fmla="*/ 0 w 16"/>
                <a:gd name="T19" fmla="*/ 0 h 26"/>
                <a:gd name="T20" fmla="*/ 16 w 1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6" h="26">
                  <a:moveTo>
                    <a:pt x="12" y="0"/>
                  </a:moveTo>
                  <a:lnTo>
                    <a:pt x="16" y="15"/>
                  </a:lnTo>
                  <a:lnTo>
                    <a:pt x="10" y="26"/>
                  </a:lnTo>
                  <a:lnTo>
                    <a:pt x="2" y="26"/>
                  </a:lnTo>
                  <a:lnTo>
                    <a:pt x="0" y="9"/>
                  </a:lnTo>
                  <a:lnTo>
                    <a:pt x="12" y="0"/>
                  </a:lnTo>
                  <a:close/>
                </a:path>
              </a:pathLst>
            </a:custGeom>
            <a:grpFill/>
            <a:ln w="6350">
              <a:solidFill>
                <a:schemeClr val="tx2"/>
              </a:solidFill>
              <a:round/>
              <a:headEnd/>
              <a:tailEnd/>
            </a:ln>
          </p:spPr>
          <p:txBody>
            <a:bodyPr/>
            <a:lstStyle/>
            <a:p>
              <a:endParaRPr lang="en-US"/>
            </a:p>
          </p:txBody>
        </p:sp>
        <p:sp>
          <p:nvSpPr>
            <p:cNvPr id="516" name="Freeform 1622"/>
            <p:cNvSpPr>
              <a:spLocks/>
            </p:cNvSpPr>
            <p:nvPr/>
          </p:nvSpPr>
          <p:spPr bwMode="auto">
            <a:xfrm>
              <a:off x="7377954" y="4333075"/>
              <a:ext cx="33376" cy="66753"/>
            </a:xfrm>
            <a:custGeom>
              <a:avLst/>
              <a:gdLst>
                <a:gd name="T0" fmla="*/ 2147483647 w 62"/>
                <a:gd name="T1" fmla="*/ 0 h 133"/>
                <a:gd name="T2" fmla="*/ 2147483647 w 62"/>
                <a:gd name="T3" fmla="*/ 2147483647 h 133"/>
                <a:gd name="T4" fmla="*/ 2147483647 w 62"/>
                <a:gd name="T5" fmla="*/ 2147483647 h 133"/>
                <a:gd name="T6" fmla="*/ 2147483647 w 62"/>
                <a:gd name="T7" fmla="*/ 2147483647 h 133"/>
                <a:gd name="T8" fmla="*/ 2147483647 w 62"/>
                <a:gd name="T9" fmla="*/ 2147483647 h 133"/>
                <a:gd name="T10" fmla="*/ 2147483647 w 62"/>
                <a:gd name="T11" fmla="*/ 2147483647 h 133"/>
                <a:gd name="T12" fmla="*/ 2147483647 w 62"/>
                <a:gd name="T13" fmla="*/ 2147483647 h 133"/>
                <a:gd name="T14" fmla="*/ 2147483647 w 62"/>
                <a:gd name="T15" fmla="*/ 2147483647 h 133"/>
                <a:gd name="T16" fmla="*/ 2147483647 w 62"/>
                <a:gd name="T17" fmla="*/ 2147483647 h 133"/>
                <a:gd name="T18" fmla="*/ 2147483647 w 62"/>
                <a:gd name="T19" fmla="*/ 2147483647 h 133"/>
                <a:gd name="T20" fmla="*/ 2147483647 w 62"/>
                <a:gd name="T21" fmla="*/ 2147483647 h 133"/>
                <a:gd name="T22" fmla="*/ 2147483647 w 62"/>
                <a:gd name="T23" fmla="*/ 2147483647 h 133"/>
                <a:gd name="T24" fmla="*/ 2147483647 w 62"/>
                <a:gd name="T25" fmla="*/ 2147483647 h 133"/>
                <a:gd name="T26" fmla="*/ 2147483647 w 62"/>
                <a:gd name="T27" fmla="*/ 2147483647 h 133"/>
                <a:gd name="T28" fmla="*/ 2147483647 w 62"/>
                <a:gd name="T29" fmla="*/ 2147483647 h 133"/>
                <a:gd name="T30" fmla="*/ 2147483647 w 62"/>
                <a:gd name="T31" fmla="*/ 2147483647 h 133"/>
                <a:gd name="T32" fmla="*/ 2147483647 w 62"/>
                <a:gd name="T33" fmla="*/ 2147483647 h 133"/>
                <a:gd name="T34" fmla="*/ 2147483647 w 62"/>
                <a:gd name="T35" fmla="*/ 2147483647 h 133"/>
                <a:gd name="T36" fmla="*/ 2147483647 w 62"/>
                <a:gd name="T37" fmla="*/ 2147483647 h 133"/>
                <a:gd name="T38" fmla="*/ 2147483647 w 62"/>
                <a:gd name="T39" fmla="*/ 2147483647 h 133"/>
                <a:gd name="T40" fmla="*/ 2147483647 w 62"/>
                <a:gd name="T41" fmla="*/ 2147483647 h 133"/>
                <a:gd name="T42" fmla="*/ 0 w 62"/>
                <a:gd name="T43" fmla="*/ 2147483647 h 133"/>
                <a:gd name="T44" fmla="*/ 2147483647 w 62"/>
                <a:gd name="T45" fmla="*/ 2147483647 h 133"/>
                <a:gd name="T46" fmla="*/ 2147483647 w 62"/>
                <a:gd name="T47" fmla="*/ 0 h 13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2"/>
                <a:gd name="T73" fmla="*/ 0 h 133"/>
                <a:gd name="T74" fmla="*/ 62 w 62"/>
                <a:gd name="T75" fmla="*/ 133 h 13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2" h="133">
                  <a:moveTo>
                    <a:pt x="24" y="0"/>
                  </a:moveTo>
                  <a:lnTo>
                    <a:pt x="28" y="4"/>
                  </a:lnTo>
                  <a:lnTo>
                    <a:pt x="21" y="16"/>
                  </a:lnTo>
                  <a:lnTo>
                    <a:pt x="27" y="28"/>
                  </a:lnTo>
                  <a:lnTo>
                    <a:pt x="27" y="41"/>
                  </a:lnTo>
                  <a:lnTo>
                    <a:pt x="12" y="57"/>
                  </a:lnTo>
                  <a:lnTo>
                    <a:pt x="18" y="58"/>
                  </a:lnTo>
                  <a:lnTo>
                    <a:pt x="44" y="31"/>
                  </a:lnTo>
                  <a:lnTo>
                    <a:pt x="52" y="30"/>
                  </a:lnTo>
                  <a:lnTo>
                    <a:pt x="58" y="38"/>
                  </a:lnTo>
                  <a:lnTo>
                    <a:pt x="58" y="48"/>
                  </a:lnTo>
                  <a:lnTo>
                    <a:pt x="41" y="63"/>
                  </a:lnTo>
                  <a:lnTo>
                    <a:pt x="54" y="71"/>
                  </a:lnTo>
                  <a:lnTo>
                    <a:pt x="62" y="84"/>
                  </a:lnTo>
                  <a:lnTo>
                    <a:pt x="29" y="74"/>
                  </a:lnTo>
                  <a:lnTo>
                    <a:pt x="25" y="79"/>
                  </a:lnTo>
                  <a:lnTo>
                    <a:pt x="25" y="107"/>
                  </a:lnTo>
                  <a:lnTo>
                    <a:pt x="43" y="132"/>
                  </a:lnTo>
                  <a:lnTo>
                    <a:pt x="39" y="133"/>
                  </a:lnTo>
                  <a:lnTo>
                    <a:pt x="17" y="107"/>
                  </a:lnTo>
                  <a:lnTo>
                    <a:pt x="10" y="62"/>
                  </a:lnTo>
                  <a:lnTo>
                    <a:pt x="0" y="46"/>
                  </a:lnTo>
                  <a:lnTo>
                    <a:pt x="8" y="19"/>
                  </a:lnTo>
                  <a:lnTo>
                    <a:pt x="24" y="0"/>
                  </a:lnTo>
                  <a:close/>
                </a:path>
              </a:pathLst>
            </a:custGeom>
            <a:grpFill/>
            <a:ln w="6350">
              <a:solidFill>
                <a:schemeClr val="tx2"/>
              </a:solidFill>
              <a:round/>
              <a:headEnd/>
              <a:tailEnd/>
            </a:ln>
          </p:spPr>
          <p:txBody>
            <a:bodyPr/>
            <a:lstStyle/>
            <a:p>
              <a:endParaRPr lang="en-US"/>
            </a:p>
          </p:txBody>
        </p:sp>
        <p:sp>
          <p:nvSpPr>
            <p:cNvPr id="517" name="Freeform 1623"/>
            <p:cNvSpPr>
              <a:spLocks/>
            </p:cNvSpPr>
            <p:nvPr/>
          </p:nvSpPr>
          <p:spPr bwMode="auto">
            <a:xfrm>
              <a:off x="7379470" y="4387691"/>
              <a:ext cx="10620" cy="10619"/>
            </a:xfrm>
            <a:custGeom>
              <a:avLst/>
              <a:gdLst>
                <a:gd name="T0" fmla="*/ 0 w 21"/>
                <a:gd name="T1" fmla="*/ 0 h 22"/>
                <a:gd name="T2" fmla="*/ 2147483647 w 21"/>
                <a:gd name="T3" fmla="*/ 0 h 22"/>
                <a:gd name="T4" fmla="*/ 2147483647 w 21"/>
                <a:gd name="T5" fmla="*/ 2147483647 h 22"/>
                <a:gd name="T6" fmla="*/ 2147483647 w 21"/>
                <a:gd name="T7" fmla="*/ 2147483647 h 22"/>
                <a:gd name="T8" fmla="*/ 2147483647 w 21"/>
                <a:gd name="T9" fmla="*/ 2147483647 h 22"/>
                <a:gd name="T10" fmla="*/ 0 w 21"/>
                <a:gd name="T11" fmla="*/ 0 h 22"/>
                <a:gd name="T12" fmla="*/ 0 60000 65536"/>
                <a:gd name="T13" fmla="*/ 0 60000 65536"/>
                <a:gd name="T14" fmla="*/ 0 60000 65536"/>
                <a:gd name="T15" fmla="*/ 0 60000 65536"/>
                <a:gd name="T16" fmla="*/ 0 60000 65536"/>
                <a:gd name="T17" fmla="*/ 0 60000 65536"/>
                <a:gd name="T18" fmla="*/ 0 w 21"/>
                <a:gd name="T19" fmla="*/ 0 h 22"/>
                <a:gd name="T20" fmla="*/ 21 w 2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1" h="22">
                  <a:moveTo>
                    <a:pt x="0" y="0"/>
                  </a:moveTo>
                  <a:lnTo>
                    <a:pt x="8" y="0"/>
                  </a:lnTo>
                  <a:lnTo>
                    <a:pt x="21" y="18"/>
                  </a:lnTo>
                  <a:lnTo>
                    <a:pt x="19" y="22"/>
                  </a:lnTo>
                  <a:lnTo>
                    <a:pt x="8" y="19"/>
                  </a:lnTo>
                  <a:lnTo>
                    <a:pt x="0" y="0"/>
                  </a:lnTo>
                  <a:close/>
                </a:path>
              </a:pathLst>
            </a:custGeom>
            <a:grpFill/>
            <a:ln w="6350">
              <a:solidFill>
                <a:schemeClr val="tx2"/>
              </a:solidFill>
              <a:round/>
              <a:headEnd/>
              <a:tailEnd/>
            </a:ln>
          </p:spPr>
          <p:txBody>
            <a:bodyPr/>
            <a:lstStyle/>
            <a:p>
              <a:endParaRPr lang="en-US"/>
            </a:p>
          </p:txBody>
        </p:sp>
        <p:sp>
          <p:nvSpPr>
            <p:cNvPr id="518" name="Freeform 1624"/>
            <p:cNvSpPr>
              <a:spLocks/>
            </p:cNvSpPr>
            <p:nvPr/>
          </p:nvSpPr>
          <p:spPr bwMode="auto">
            <a:xfrm>
              <a:off x="7377954" y="4410448"/>
              <a:ext cx="18206" cy="7586"/>
            </a:xfrm>
            <a:custGeom>
              <a:avLst/>
              <a:gdLst>
                <a:gd name="T0" fmla="*/ 0 w 33"/>
                <a:gd name="T1" fmla="*/ 2147483647 h 14"/>
                <a:gd name="T2" fmla="*/ 2147483647 w 33"/>
                <a:gd name="T3" fmla="*/ 0 h 14"/>
                <a:gd name="T4" fmla="*/ 2147483647 w 33"/>
                <a:gd name="T5" fmla="*/ 2147483647 h 14"/>
                <a:gd name="T6" fmla="*/ 2147483647 w 33"/>
                <a:gd name="T7" fmla="*/ 2147483647 h 14"/>
                <a:gd name="T8" fmla="*/ 2147483647 w 33"/>
                <a:gd name="T9" fmla="*/ 2147483647 h 14"/>
                <a:gd name="T10" fmla="*/ 0 w 33"/>
                <a:gd name="T11" fmla="*/ 2147483647 h 14"/>
                <a:gd name="T12" fmla="*/ 0 w 33"/>
                <a:gd name="T13" fmla="*/ 2147483647 h 14"/>
                <a:gd name="T14" fmla="*/ 0 60000 65536"/>
                <a:gd name="T15" fmla="*/ 0 60000 65536"/>
                <a:gd name="T16" fmla="*/ 0 60000 65536"/>
                <a:gd name="T17" fmla="*/ 0 60000 65536"/>
                <a:gd name="T18" fmla="*/ 0 60000 65536"/>
                <a:gd name="T19" fmla="*/ 0 60000 65536"/>
                <a:gd name="T20" fmla="*/ 0 60000 65536"/>
                <a:gd name="T21" fmla="*/ 0 w 33"/>
                <a:gd name="T22" fmla="*/ 0 h 14"/>
                <a:gd name="T23" fmla="*/ 33 w 3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14">
                  <a:moveTo>
                    <a:pt x="0" y="2"/>
                  </a:moveTo>
                  <a:lnTo>
                    <a:pt x="17" y="0"/>
                  </a:lnTo>
                  <a:lnTo>
                    <a:pt x="33" y="8"/>
                  </a:lnTo>
                  <a:lnTo>
                    <a:pt x="31" y="12"/>
                  </a:lnTo>
                  <a:lnTo>
                    <a:pt x="7" y="14"/>
                  </a:lnTo>
                  <a:lnTo>
                    <a:pt x="0" y="11"/>
                  </a:lnTo>
                  <a:lnTo>
                    <a:pt x="0" y="2"/>
                  </a:lnTo>
                  <a:close/>
                </a:path>
              </a:pathLst>
            </a:custGeom>
            <a:grpFill/>
            <a:ln w="6350">
              <a:solidFill>
                <a:schemeClr val="tx2"/>
              </a:solidFill>
              <a:round/>
              <a:headEnd/>
              <a:tailEnd/>
            </a:ln>
          </p:spPr>
          <p:txBody>
            <a:bodyPr/>
            <a:lstStyle/>
            <a:p>
              <a:endParaRPr lang="en-US"/>
            </a:p>
          </p:txBody>
        </p:sp>
        <p:sp>
          <p:nvSpPr>
            <p:cNvPr id="519" name="Freeform 1625"/>
            <p:cNvSpPr>
              <a:spLocks/>
            </p:cNvSpPr>
            <p:nvPr/>
          </p:nvSpPr>
          <p:spPr bwMode="auto">
            <a:xfrm>
              <a:off x="7396159" y="4454444"/>
              <a:ext cx="3034" cy="6069"/>
            </a:xfrm>
            <a:custGeom>
              <a:avLst/>
              <a:gdLst>
                <a:gd name="T0" fmla="*/ 2147483647 w 11"/>
                <a:gd name="T1" fmla="*/ 2147483647 h 13"/>
                <a:gd name="T2" fmla="*/ 0 w 11"/>
                <a:gd name="T3" fmla="*/ 2147483647 h 13"/>
                <a:gd name="T4" fmla="*/ 2147483647 w 11"/>
                <a:gd name="T5" fmla="*/ 0 h 13"/>
                <a:gd name="T6" fmla="*/ 2147483647 w 11"/>
                <a:gd name="T7" fmla="*/ 2147483647 h 13"/>
                <a:gd name="T8" fmla="*/ 2147483647 w 11"/>
                <a:gd name="T9" fmla="*/ 2147483647 h 13"/>
                <a:gd name="T10" fmla="*/ 0 60000 65536"/>
                <a:gd name="T11" fmla="*/ 0 60000 65536"/>
                <a:gd name="T12" fmla="*/ 0 60000 65536"/>
                <a:gd name="T13" fmla="*/ 0 60000 65536"/>
                <a:gd name="T14" fmla="*/ 0 60000 65536"/>
                <a:gd name="T15" fmla="*/ 0 w 11"/>
                <a:gd name="T16" fmla="*/ 0 h 13"/>
                <a:gd name="T17" fmla="*/ 11 w 11"/>
                <a:gd name="T18" fmla="*/ 13 h 13"/>
              </a:gdLst>
              <a:ahLst/>
              <a:cxnLst>
                <a:cxn ang="T10">
                  <a:pos x="T0" y="T1"/>
                </a:cxn>
                <a:cxn ang="T11">
                  <a:pos x="T2" y="T3"/>
                </a:cxn>
                <a:cxn ang="T12">
                  <a:pos x="T4" y="T5"/>
                </a:cxn>
                <a:cxn ang="T13">
                  <a:pos x="T6" y="T7"/>
                </a:cxn>
                <a:cxn ang="T14">
                  <a:pos x="T8" y="T9"/>
                </a:cxn>
              </a:cxnLst>
              <a:rect l="T15" t="T16" r="T17" b="T18"/>
              <a:pathLst>
                <a:path w="11" h="13">
                  <a:moveTo>
                    <a:pt x="1" y="13"/>
                  </a:moveTo>
                  <a:lnTo>
                    <a:pt x="0" y="5"/>
                  </a:lnTo>
                  <a:lnTo>
                    <a:pt x="11" y="0"/>
                  </a:lnTo>
                  <a:lnTo>
                    <a:pt x="9" y="10"/>
                  </a:lnTo>
                  <a:lnTo>
                    <a:pt x="1" y="13"/>
                  </a:lnTo>
                  <a:close/>
                </a:path>
              </a:pathLst>
            </a:custGeom>
            <a:grpFill/>
            <a:ln w="6350">
              <a:solidFill>
                <a:schemeClr val="tx2"/>
              </a:solidFill>
              <a:round/>
              <a:headEnd/>
              <a:tailEnd/>
            </a:ln>
          </p:spPr>
          <p:txBody>
            <a:bodyPr/>
            <a:lstStyle/>
            <a:p>
              <a:endParaRPr lang="en-US"/>
            </a:p>
          </p:txBody>
        </p:sp>
        <p:sp>
          <p:nvSpPr>
            <p:cNvPr id="520" name="Freeform 1626"/>
            <p:cNvSpPr>
              <a:spLocks/>
            </p:cNvSpPr>
            <p:nvPr/>
          </p:nvSpPr>
          <p:spPr bwMode="auto">
            <a:xfrm>
              <a:off x="8488481" y="4562159"/>
              <a:ext cx="1516" cy="3034"/>
            </a:xfrm>
            <a:custGeom>
              <a:avLst/>
              <a:gdLst>
                <a:gd name="T0" fmla="*/ 2147483647 w 1"/>
                <a:gd name="T1" fmla="*/ 0 h 6"/>
                <a:gd name="T2" fmla="*/ 0 w 1"/>
                <a:gd name="T3" fmla="*/ 2147483647 h 6"/>
                <a:gd name="T4" fmla="*/ 2147483647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1" y="0"/>
                  </a:moveTo>
                  <a:lnTo>
                    <a:pt x="0" y="6"/>
                  </a:lnTo>
                  <a:lnTo>
                    <a:pt x="1" y="0"/>
                  </a:lnTo>
                  <a:close/>
                </a:path>
              </a:pathLst>
            </a:custGeom>
            <a:grpFill/>
            <a:ln w="6350">
              <a:solidFill>
                <a:schemeClr val="tx2"/>
              </a:solidFill>
              <a:round/>
              <a:headEnd/>
              <a:tailEnd/>
            </a:ln>
          </p:spPr>
          <p:txBody>
            <a:bodyPr/>
            <a:lstStyle/>
            <a:p>
              <a:endParaRPr lang="en-US"/>
            </a:p>
          </p:txBody>
        </p:sp>
        <p:sp>
          <p:nvSpPr>
            <p:cNvPr id="521" name="Freeform 1627"/>
            <p:cNvSpPr>
              <a:spLocks/>
            </p:cNvSpPr>
            <p:nvPr/>
          </p:nvSpPr>
          <p:spPr bwMode="auto">
            <a:xfrm>
              <a:off x="8203264" y="4606156"/>
              <a:ext cx="6069" cy="6069"/>
            </a:xfrm>
            <a:custGeom>
              <a:avLst/>
              <a:gdLst>
                <a:gd name="T0" fmla="*/ 0 w 15"/>
                <a:gd name="T1" fmla="*/ 2147483647 h 10"/>
                <a:gd name="T2" fmla="*/ 2147483647 w 15"/>
                <a:gd name="T3" fmla="*/ 0 h 10"/>
                <a:gd name="T4" fmla="*/ 2147483647 w 15"/>
                <a:gd name="T5" fmla="*/ 2147483647 h 10"/>
                <a:gd name="T6" fmla="*/ 2147483647 w 15"/>
                <a:gd name="T7" fmla="*/ 2147483647 h 10"/>
                <a:gd name="T8" fmla="*/ 2147483647 w 15"/>
                <a:gd name="T9" fmla="*/ 2147483647 h 10"/>
                <a:gd name="T10" fmla="*/ 0 w 15"/>
                <a:gd name="T11" fmla="*/ 2147483647 h 10"/>
                <a:gd name="T12" fmla="*/ 0 60000 65536"/>
                <a:gd name="T13" fmla="*/ 0 60000 65536"/>
                <a:gd name="T14" fmla="*/ 0 60000 65536"/>
                <a:gd name="T15" fmla="*/ 0 60000 65536"/>
                <a:gd name="T16" fmla="*/ 0 60000 65536"/>
                <a:gd name="T17" fmla="*/ 0 60000 65536"/>
                <a:gd name="T18" fmla="*/ 0 w 15"/>
                <a:gd name="T19" fmla="*/ 0 h 10"/>
                <a:gd name="T20" fmla="*/ 15 w 1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5" h="10">
                  <a:moveTo>
                    <a:pt x="0" y="7"/>
                  </a:moveTo>
                  <a:lnTo>
                    <a:pt x="5" y="0"/>
                  </a:lnTo>
                  <a:lnTo>
                    <a:pt x="14" y="3"/>
                  </a:lnTo>
                  <a:lnTo>
                    <a:pt x="15" y="6"/>
                  </a:lnTo>
                  <a:lnTo>
                    <a:pt x="4" y="10"/>
                  </a:lnTo>
                  <a:lnTo>
                    <a:pt x="0" y="7"/>
                  </a:lnTo>
                  <a:close/>
                </a:path>
              </a:pathLst>
            </a:custGeom>
            <a:grpFill/>
            <a:ln w="6350">
              <a:solidFill>
                <a:schemeClr val="tx2"/>
              </a:solidFill>
              <a:round/>
              <a:headEnd/>
              <a:tailEnd/>
            </a:ln>
          </p:spPr>
          <p:txBody>
            <a:bodyPr/>
            <a:lstStyle/>
            <a:p>
              <a:endParaRPr lang="en-US"/>
            </a:p>
          </p:txBody>
        </p:sp>
        <p:sp>
          <p:nvSpPr>
            <p:cNvPr id="522" name="Freeform 1628"/>
            <p:cNvSpPr>
              <a:spLocks/>
            </p:cNvSpPr>
            <p:nvPr/>
          </p:nvSpPr>
          <p:spPr bwMode="auto">
            <a:xfrm>
              <a:off x="7139766" y="4449893"/>
              <a:ext cx="4551" cy="15172"/>
            </a:xfrm>
            <a:custGeom>
              <a:avLst/>
              <a:gdLst>
                <a:gd name="T0" fmla="*/ 2147483647 w 11"/>
                <a:gd name="T1" fmla="*/ 0 h 31"/>
                <a:gd name="T2" fmla="*/ 2147483647 w 11"/>
                <a:gd name="T3" fmla="*/ 2147483647 h 31"/>
                <a:gd name="T4" fmla="*/ 2147483647 w 11"/>
                <a:gd name="T5" fmla="*/ 2147483647 h 31"/>
                <a:gd name="T6" fmla="*/ 0 w 11"/>
                <a:gd name="T7" fmla="*/ 2147483647 h 31"/>
                <a:gd name="T8" fmla="*/ 2147483647 w 11"/>
                <a:gd name="T9" fmla="*/ 0 h 31"/>
                <a:gd name="T10" fmla="*/ 0 60000 65536"/>
                <a:gd name="T11" fmla="*/ 0 60000 65536"/>
                <a:gd name="T12" fmla="*/ 0 60000 65536"/>
                <a:gd name="T13" fmla="*/ 0 60000 65536"/>
                <a:gd name="T14" fmla="*/ 0 60000 65536"/>
                <a:gd name="T15" fmla="*/ 0 w 11"/>
                <a:gd name="T16" fmla="*/ 0 h 31"/>
                <a:gd name="T17" fmla="*/ 11 w 11"/>
                <a:gd name="T18" fmla="*/ 31 h 31"/>
              </a:gdLst>
              <a:ahLst/>
              <a:cxnLst>
                <a:cxn ang="T10">
                  <a:pos x="T0" y="T1"/>
                </a:cxn>
                <a:cxn ang="T11">
                  <a:pos x="T2" y="T3"/>
                </a:cxn>
                <a:cxn ang="T12">
                  <a:pos x="T4" y="T5"/>
                </a:cxn>
                <a:cxn ang="T13">
                  <a:pos x="T6" y="T7"/>
                </a:cxn>
                <a:cxn ang="T14">
                  <a:pos x="T8" y="T9"/>
                </a:cxn>
              </a:cxnLst>
              <a:rect l="T15" t="T16" r="T17" b="T18"/>
              <a:pathLst>
                <a:path w="11" h="31">
                  <a:moveTo>
                    <a:pt x="6" y="0"/>
                  </a:moveTo>
                  <a:lnTo>
                    <a:pt x="11" y="25"/>
                  </a:lnTo>
                  <a:lnTo>
                    <a:pt x="2" y="31"/>
                  </a:lnTo>
                  <a:lnTo>
                    <a:pt x="0" y="10"/>
                  </a:lnTo>
                  <a:lnTo>
                    <a:pt x="6" y="0"/>
                  </a:lnTo>
                  <a:close/>
                </a:path>
              </a:pathLst>
            </a:custGeom>
            <a:grpFill/>
            <a:ln w="6350">
              <a:solidFill>
                <a:schemeClr val="tx2"/>
              </a:solidFill>
              <a:round/>
              <a:headEnd/>
              <a:tailEnd/>
            </a:ln>
          </p:spPr>
          <p:txBody>
            <a:bodyPr/>
            <a:lstStyle/>
            <a:p>
              <a:endParaRPr lang="en-US"/>
            </a:p>
          </p:txBody>
        </p:sp>
        <p:sp>
          <p:nvSpPr>
            <p:cNvPr id="523" name="Freeform 1629"/>
            <p:cNvSpPr>
              <a:spLocks/>
            </p:cNvSpPr>
            <p:nvPr/>
          </p:nvSpPr>
          <p:spPr bwMode="auto">
            <a:xfrm>
              <a:off x="6874272" y="4346729"/>
              <a:ext cx="6069" cy="4551"/>
            </a:xfrm>
            <a:custGeom>
              <a:avLst/>
              <a:gdLst>
                <a:gd name="T0" fmla="*/ 2147483647 w 13"/>
                <a:gd name="T1" fmla="*/ 2147483647 h 9"/>
                <a:gd name="T2" fmla="*/ 2147483647 w 13"/>
                <a:gd name="T3" fmla="*/ 0 h 9"/>
                <a:gd name="T4" fmla="*/ 0 w 13"/>
                <a:gd name="T5" fmla="*/ 2147483647 h 9"/>
                <a:gd name="T6" fmla="*/ 0 w 13"/>
                <a:gd name="T7" fmla="*/ 2147483647 h 9"/>
                <a:gd name="T8" fmla="*/ 2147483647 w 13"/>
                <a:gd name="T9" fmla="*/ 2147483647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13" y="5"/>
                  </a:moveTo>
                  <a:lnTo>
                    <a:pt x="8" y="0"/>
                  </a:lnTo>
                  <a:lnTo>
                    <a:pt x="0" y="3"/>
                  </a:lnTo>
                  <a:lnTo>
                    <a:pt x="0" y="9"/>
                  </a:lnTo>
                  <a:lnTo>
                    <a:pt x="13" y="5"/>
                  </a:lnTo>
                  <a:close/>
                </a:path>
              </a:pathLst>
            </a:custGeom>
            <a:grpFill/>
            <a:ln w="6350">
              <a:solidFill>
                <a:schemeClr val="tx2"/>
              </a:solidFill>
              <a:round/>
              <a:headEnd/>
              <a:tailEnd/>
            </a:ln>
          </p:spPr>
          <p:txBody>
            <a:bodyPr/>
            <a:lstStyle/>
            <a:p>
              <a:endParaRPr lang="en-US"/>
            </a:p>
          </p:txBody>
        </p:sp>
        <p:sp>
          <p:nvSpPr>
            <p:cNvPr id="524" name="Freeform 1630"/>
            <p:cNvSpPr>
              <a:spLocks/>
            </p:cNvSpPr>
            <p:nvPr/>
          </p:nvSpPr>
          <p:spPr bwMode="auto">
            <a:xfrm>
              <a:off x="6758971" y="4207154"/>
              <a:ext cx="1516" cy="6069"/>
            </a:xfrm>
            <a:custGeom>
              <a:avLst/>
              <a:gdLst>
                <a:gd name="T0" fmla="*/ 0 w 4"/>
                <a:gd name="T1" fmla="*/ 0 h 12"/>
                <a:gd name="T2" fmla="*/ 0 w 4"/>
                <a:gd name="T3" fmla="*/ 2147483647 h 12"/>
                <a:gd name="T4" fmla="*/ 2147483647 w 4"/>
                <a:gd name="T5" fmla="*/ 2147483647 h 12"/>
                <a:gd name="T6" fmla="*/ 0 w 4"/>
                <a:gd name="T7" fmla="*/ 0 h 12"/>
                <a:gd name="T8" fmla="*/ 0 60000 65536"/>
                <a:gd name="T9" fmla="*/ 0 60000 65536"/>
                <a:gd name="T10" fmla="*/ 0 60000 65536"/>
                <a:gd name="T11" fmla="*/ 0 60000 65536"/>
                <a:gd name="T12" fmla="*/ 0 w 4"/>
                <a:gd name="T13" fmla="*/ 0 h 12"/>
                <a:gd name="T14" fmla="*/ 4 w 4"/>
                <a:gd name="T15" fmla="*/ 12 h 12"/>
              </a:gdLst>
              <a:ahLst/>
              <a:cxnLst>
                <a:cxn ang="T8">
                  <a:pos x="T0" y="T1"/>
                </a:cxn>
                <a:cxn ang="T9">
                  <a:pos x="T2" y="T3"/>
                </a:cxn>
                <a:cxn ang="T10">
                  <a:pos x="T4" y="T5"/>
                </a:cxn>
                <a:cxn ang="T11">
                  <a:pos x="T6" y="T7"/>
                </a:cxn>
              </a:cxnLst>
              <a:rect l="T12" t="T13" r="T14" b="T15"/>
              <a:pathLst>
                <a:path w="4" h="12">
                  <a:moveTo>
                    <a:pt x="0" y="0"/>
                  </a:moveTo>
                  <a:lnTo>
                    <a:pt x="0" y="12"/>
                  </a:lnTo>
                  <a:lnTo>
                    <a:pt x="4" y="3"/>
                  </a:lnTo>
                  <a:lnTo>
                    <a:pt x="0" y="0"/>
                  </a:lnTo>
                  <a:close/>
                </a:path>
              </a:pathLst>
            </a:custGeom>
            <a:grpFill/>
            <a:ln w="6350">
              <a:solidFill>
                <a:schemeClr val="tx2"/>
              </a:solidFill>
              <a:round/>
              <a:headEnd/>
              <a:tailEnd/>
            </a:ln>
          </p:spPr>
          <p:txBody>
            <a:bodyPr/>
            <a:lstStyle/>
            <a:p>
              <a:endParaRPr lang="en-US"/>
            </a:p>
          </p:txBody>
        </p:sp>
        <p:sp>
          <p:nvSpPr>
            <p:cNvPr id="525" name="Freeform 1631"/>
            <p:cNvSpPr>
              <a:spLocks/>
            </p:cNvSpPr>
            <p:nvPr/>
          </p:nvSpPr>
          <p:spPr bwMode="auto">
            <a:xfrm>
              <a:off x="6755937" y="4126747"/>
              <a:ext cx="6069" cy="6069"/>
            </a:xfrm>
            <a:custGeom>
              <a:avLst/>
              <a:gdLst>
                <a:gd name="T0" fmla="*/ 2147483647 w 10"/>
                <a:gd name="T1" fmla="*/ 0 h 11"/>
                <a:gd name="T2" fmla="*/ 0 w 10"/>
                <a:gd name="T3" fmla="*/ 2147483647 h 11"/>
                <a:gd name="T4" fmla="*/ 2147483647 w 10"/>
                <a:gd name="T5" fmla="*/ 2147483647 h 11"/>
                <a:gd name="T6" fmla="*/ 2147483647 w 10"/>
                <a:gd name="T7" fmla="*/ 0 h 11"/>
                <a:gd name="T8" fmla="*/ 0 60000 65536"/>
                <a:gd name="T9" fmla="*/ 0 60000 65536"/>
                <a:gd name="T10" fmla="*/ 0 60000 65536"/>
                <a:gd name="T11" fmla="*/ 0 60000 65536"/>
                <a:gd name="T12" fmla="*/ 0 w 10"/>
                <a:gd name="T13" fmla="*/ 0 h 11"/>
                <a:gd name="T14" fmla="*/ 10 w 10"/>
                <a:gd name="T15" fmla="*/ 11 h 11"/>
              </a:gdLst>
              <a:ahLst/>
              <a:cxnLst>
                <a:cxn ang="T8">
                  <a:pos x="T0" y="T1"/>
                </a:cxn>
                <a:cxn ang="T9">
                  <a:pos x="T2" y="T3"/>
                </a:cxn>
                <a:cxn ang="T10">
                  <a:pos x="T4" y="T5"/>
                </a:cxn>
                <a:cxn ang="T11">
                  <a:pos x="T6" y="T7"/>
                </a:cxn>
              </a:cxnLst>
              <a:rect l="T12" t="T13" r="T14" b="T15"/>
              <a:pathLst>
                <a:path w="10" h="11">
                  <a:moveTo>
                    <a:pt x="8" y="0"/>
                  </a:moveTo>
                  <a:lnTo>
                    <a:pt x="0" y="11"/>
                  </a:lnTo>
                  <a:lnTo>
                    <a:pt x="10" y="11"/>
                  </a:lnTo>
                  <a:lnTo>
                    <a:pt x="8" y="0"/>
                  </a:lnTo>
                  <a:close/>
                </a:path>
              </a:pathLst>
            </a:custGeom>
            <a:grpFill/>
            <a:ln w="6350">
              <a:solidFill>
                <a:schemeClr val="tx2"/>
              </a:solidFill>
              <a:round/>
              <a:headEnd/>
              <a:tailEnd/>
            </a:ln>
          </p:spPr>
          <p:txBody>
            <a:bodyPr/>
            <a:lstStyle/>
            <a:p>
              <a:endParaRPr lang="en-US"/>
            </a:p>
          </p:txBody>
        </p:sp>
        <p:sp>
          <p:nvSpPr>
            <p:cNvPr id="526" name="Freeform 1632"/>
            <p:cNvSpPr>
              <a:spLocks/>
            </p:cNvSpPr>
            <p:nvPr/>
          </p:nvSpPr>
          <p:spPr bwMode="auto">
            <a:xfrm>
              <a:off x="6755937" y="4128265"/>
              <a:ext cx="0" cy="6069"/>
            </a:xfrm>
            <a:custGeom>
              <a:avLst/>
              <a:gdLst>
                <a:gd name="T0" fmla="*/ 0 w 3"/>
                <a:gd name="T1" fmla="*/ 0 h 12"/>
                <a:gd name="T2" fmla="*/ 0 w 3"/>
                <a:gd name="T3" fmla="*/ 2147483647 h 12"/>
                <a:gd name="T4" fmla="*/ 0 w 3"/>
                <a:gd name="T5" fmla="*/ 0 h 12"/>
                <a:gd name="T6" fmla="*/ 0 60000 65536"/>
                <a:gd name="T7" fmla="*/ 0 60000 65536"/>
                <a:gd name="T8" fmla="*/ 0 60000 65536"/>
                <a:gd name="T9" fmla="*/ 0 w 3"/>
                <a:gd name="T10" fmla="*/ 0 h 12"/>
                <a:gd name="T11" fmla="*/ 0 w 3"/>
                <a:gd name="T12" fmla="*/ 12 h 12"/>
              </a:gdLst>
              <a:ahLst/>
              <a:cxnLst>
                <a:cxn ang="T6">
                  <a:pos x="T0" y="T1"/>
                </a:cxn>
                <a:cxn ang="T7">
                  <a:pos x="T2" y="T3"/>
                </a:cxn>
                <a:cxn ang="T8">
                  <a:pos x="T4" y="T5"/>
                </a:cxn>
              </a:cxnLst>
              <a:rect l="T9" t="T10" r="T11" b="T12"/>
              <a:pathLst>
                <a:path w="3" h="12">
                  <a:moveTo>
                    <a:pt x="3" y="0"/>
                  </a:moveTo>
                  <a:lnTo>
                    <a:pt x="0" y="12"/>
                  </a:lnTo>
                  <a:lnTo>
                    <a:pt x="3" y="0"/>
                  </a:lnTo>
                  <a:close/>
                </a:path>
              </a:pathLst>
            </a:custGeom>
            <a:grpFill/>
            <a:ln w="6350">
              <a:solidFill>
                <a:schemeClr val="tx2"/>
              </a:solidFill>
              <a:round/>
              <a:headEnd/>
              <a:tailEnd/>
            </a:ln>
          </p:spPr>
          <p:txBody>
            <a:bodyPr/>
            <a:lstStyle/>
            <a:p>
              <a:endParaRPr lang="en-US"/>
            </a:p>
          </p:txBody>
        </p:sp>
        <p:sp>
          <p:nvSpPr>
            <p:cNvPr id="527" name="Freeform 1633"/>
            <p:cNvSpPr>
              <a:spLocks/>
            </p:cNvSpPr>
            <p:nvPr/>
          </p:nvSpPr>
          <p:spPr bwMode="auto">
            <a:xfrm>
              <a:off x="6758971" y="4108543"/>
              <a:ext cx="1516" cy="7585"/>
            </a:xfrm>
            <a:custGeom>
              <a:avLst/>
              <a:gdLst>
                <a:gd name="T0" fmla="*/ 0 w 4"/>
                <a:gd name="T1" fmla="*/ 0 h 14"/>
                <a:gd name="T2" fmla="*/ 2147483647 w 4"/>
                <a:gd name="T3" fmla="*/ 2147483647 h 14"/>
                <a:gd name="T4" fmla="*/ 2147483647 w 4"/>
                <a:gd name="T5" fmla="*/ 2147483647 h 14"/>
                <a:gd name="T6" fmla="*/ 0 w 4"/>
                <a:gd name="T7" fmla="*/ 0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0"/>
                  </a:moveTo>
                  <a:lnTo>
                    <a:pt x="1" y="14"/>
                  </a:lnTo>
                  <a:lnTo>
                    <a:pt x="4" y="11"/>
                  </a:lnTo>
                  <a:lnTo>
                    <a:pt x="0" y="0"/>
                  </a:lnTo>
                  <a:close/>
                </a:path>
              </a:pathLst>
            </a:custGeom>
            <a:grpFill/>
            <a:ln w="6350">
              <a:solidFill>
                <a:schemeClr val="tx2"/>
              </a:solidFill>
              <a:round/>
              <a:headEnd/>
              <a:tailEnd/>
            </a:ln>
          </p:spPr>
          <p:txBody>
            <a:bodyPr/>
            <a:lstStyle/>
            <a:p>
              <a:endParaRPr lang="en-US"/>
            </a:p>
          </p:txBody>
        </p:sp>
        <p:sp>
          <p:nvSpPr>
            <p:cNvPr id="528" name="Freeform 1634"/>
            <p:cNvSpPr>
              <a:spLocks/>
            </p:cNvSpPr>
            <p:nvPr/>
          </p:nvSpPr>
          <p:spPr bwMode="auto">
            <a:xfrm>
              <a:off x="6658842" y="4225360"/>
              <a:ext cx="3034" cy="10620"/>
            </a:xfrm>
            <a:custGeom>
              <a:avLst/>
              <a:gdLst>
                <a:gd name="T0" fmla="*/ 2147483647 w 7"/>
                <a:gd name="T1" fmla="*/ 0 h 20"/>
                <a:gd name="T2" fmla="*/ 0 w 7"/>
                <a:gd name="T3" fmla="*/ 2147483647 h 20"/>
                <a:gd name="T4" fmla="*/ 2147483647 w 7"/>
                <a:gd name="T5" fmla="*/ 2147483647 h 20"/>
                <a:gd name="T6" fmla="*/ 2147483647 w 7"/>
                <a:gd name="T7" fmla="*/ 2147483647 h 20"/>
                <a:gd name="T8" fmla="*/ 2147483647 w 7"/>
                <a:gd name="T9" fmla="*/ 0 h 20"/>
                <a:gd name="T10" fmla="*/ 0 60000 65536"/>
                <a:gd name="T11" fmla="*/ 0 60000 65536"/>
                <a:gd name="T12" fmla="*/ 0 60000 65536"/>
                <a:gd name="T13" fmla="*/ 0 60000 65536"/>
                <a:gd name="T14" fmla="*/ 0 60000 65536"/>
                <a:gd name="T15" fmla="*/ 0 w 7"/>
                <a:gd name="T16" fmla="*/ 0 h 20"/>
                <a:gd name="T17" fmla="*/ 7 w 7"/>
                <a:gd name="T18" fmla="*/ 20 h 20"/>
              </a:gdLst>
              <a:ahLst/>
              <a:cxnLst>
                <a:cxn ang="T10">
                  <a:pos x="T0" y="T1"/>
                </a:cxn>
                <a:cxn ang="T11">
                  <a:pos x="T2" y="T3"/>
                </a:cxn>
                <a:cxn ang="T12">
                  <a:pos x="T4" y="T5"/>
                </a:cxn>
                <a:cxn ang="T13">
                  <a:pos x="T6" y="T7"/>
                </a:cxn>
                <a:cxn ang="T14">
                  <a:pos x="T8" y="T9"/>
                </a:cxn>
              </a:cxnLst>
              <a:rect l="T15" t="T16" r="T17" b="T18"/>
              <a:pathLst>
                <a:path w="7" h="20">
                  <a:moveTo>
                    <a:pt x="7" y="0"/>
                  </a:moveTo>
                  <a:lnTo>
                    <a:pt x="0" y="3"/>
                  </a:lnTo>
                  <a:lnTo>
                    <a:pt x="3" y="20"/>
                  </a:lnTo>
                  <a:lnTo>
                    <a:pt x="7" y="14"/>
                  </a:lnTo>
                  <a:lnTo>
                    <a:pt x="7" y="0"/>
                  </a:lnTo>
                  <a:close/>
                </a:path>
              </a:pathLst>
            </a:custGeom>
            <a:grpFill/>
            <a:ln w="6350">
              <a:solidFill>
                <a:schemeClr val="tx2"/>
              </a:solidFill>
              <a:round/>
              <a:headEnd/>
              <a:tailEnd/>
            </a:ln>
          </p:spPr>
          <p:txBody>
            <a:bodyPr/>
            <a:lstStyle/>
            <a:p>
              <a:endParaRPr lang="en-US"/>
            </a:p>
          </p:txBody>
        </p:sp>
        <p:sp>
          <p:nvSpPr>
            <p:cNvPr id="529" name="Freeform 1635"/>
            <p:cNvSpPr>
              <a:spLocks/>
            </p:cNvSpPr>
            <p:nvPr/>
          </p:nvSpPr>
          <p:spPr bwMode="auto">
            <a:xfrm>
              <a:off x="6555678" y="4319421"/>
              <a:ext cx="233635" cy="245772"/>
            </a:xfrm>
            <a:custGeom>
              <a:avLst/>
              <a:gdLst>
                <a:gd name="T0" fmla="*/ 2147483647 w 465"/>
                <a:gd name="T1" fmla="*/ 0 h 491"/>
                <a:gd name="T2" fmla="*/ 2147483647 w 465"/>
                <a:gd name="T3" fmla="*/ 2147483647 h 491"/>
                <a:gd name="T4" fmla="*/ 2147483647 w 465"/>
                <a:gd name="T5" fmla="*/ 2147483647 h 491"/>
                <a:gd name="T6" fmla="*/ 2147483647 w 465"/>
                <a:gd name="T7" fmla="*/ 2147483647 h 491"/>
                <a:gd name="T8" fmla="*/ 2147483647 w 465"/>
                <a:gd name="T9" fmla="*/ 2147483647 h 491"/>
                <a:gd name="T10" fmla="*/ 2147483647 w 465"/>
                <a:gd name="T11" fmla="*/ 2147483647 h 491"/>
                <a:gd name="T12" fmla="*/ 2147483647 w 465"/>
                <a:gd name="T13" fmla="*/ 2147483647 h 491"/>
                <a:gd name="T14" fmla="*/ 2147483647 w 465"/>
                <a:gd name="T15" fmla="*/ 2147483647 h 491"/>
                <a:gd name="T16" fmla="*/ 2147483647 w 465"/>
                <a:gd name="T17" fmla="*/ 2147483647 h 491"/>
                <a:gd name="T18" fmla="*/ 2147483647 w 465"/>
                <a:gd name="T19" fmla="*/ 2147483647 h 491"/>
                <a:gd name="T20" fmla="*/ 2147483647 w 465"/>
                <a:gd name="T21" fmla="*/ 2147483647 h 491"/>
                <a:gd name="T22" fmla="*/ 2147483647 w 465"/>
                <a:gd name="T23" fmla="*/ 2147483647 h 491"/>
                <a:gd name="T24" fmla="*/ 2147483647 w 465"/>
                <a:gd name="T25" fmla="*/ 2147483647 h 491"/>
                <a:gd name="T26" fmla="*/ 2147483647 w 465"/>
                <a:gd name="T27" fmla="*/ 2147483647 h 491"/>
                <a:gd name="T28" fmla="*/ 2147483647 w 465"/>
                <a:gd name="T29" fmla="*/ 2147483647 h 491"/>
                <a:gd name="T30" fmla="*/ 2147483647 w 465"/>
                <a:gd name="T31" fmla="*/ 2147483647 h 491"/>
                <a:gd name="T32" fmla="*/ 2147483647 w 465"/>
                <a:gd name="T33" fmla="*/ 2147483647 h 491"/>
                <a:gd name="T34" fmla="*/ 2147483647 w 465"/>
                <a:gd name="T35" fmla="*/ 2147483647 h 491"/>
                <a:gd name="T36" fmla="*/ 2147483647 w 465"/>
                <a:gd name="T37" fmla="*/ 2147483647 h 491"/>
                <a:gd name="T38" fmla="*/ 2147483647 w 465"/>
                <a:gd name="T39" fmla="*/ 2147483647 h 491"/>
                <a:gd name="T40" fmla="*/ 2147483647 w 465"/>
                <a:gd name="T41" fmla="*/ 2147483647 h 491"/>
                <a:gd name="T42" fmla="*/ 2147483647 w 465"/>
                <a:gd name="T43" fmla="*/ 2147483647 h 491"/>
                <a:gd name="T44" fmla="*/ 2147483647 w 465"/>
                <a:gd name="T45" fmla="*/ 2147483647 h 491"/>
                <a:gd name="T46" fmla="*/ 2147483647 w 465"/>
                <a:gd name="T47" fmla="*/ 2147483647 h 491"/>
                <a:gd name="T48" fmla="*/ 2147483647 w 465"/>
                <a:gd name="T49" fmla="*/ 2147483647 h 491"/>
                <a:gd name="T50" fmla="*/ 2147483647 w 465"/>
                <a:gd name="T51" fmla="*/ 2147483647 h 491"/>
                <a:gd name="T52" fmla="*/ 2147483647 w 465"/>
                <a:gd name="T53" fmla="*/ 2147483647 h 491"/>
                <a:gd name="T54" fmla="*/ 2147483647 w 465"/>
                <a:gd name="T55" fmla="*/ 2147483647 h 491"/>
                <a:gd name="T56" fmla="*/ 2147483647 w 465"/>
                <a:gd name="T57" fmla="*/ 2147483647 h 491"/>
                <a:gd name="T58" fmla="*/ 2147483647 w 465"/>
                <a:gd name="T59" fmla="*/ 2147483647 h 491"/>
                <a:gd name="T60" fmla="*/ 2147483647 w 465"/>
                <a:gd name="T61" fmla="*/ 2147483647 h 491"/>
                <a:gd name="T62" fmla="*/ 2147483647 w 465"/>
                <a:gd name="T63" fmla="*/ 2147483647 h 491"/>
                <a:gd name="T64" fmla="*/ 2147483647 w 465"/>
                <a:gd name="T65" fmla="*/ 2147483647 h 491"/>
                <a:gd name="T66" fmla="*/ 2147483647 w 465"/>
                <a:gd name="T67" fmla="*/ 2147483647 h 491"/>
                <a:gd name="T68" fmla="*/ 2147483647 w 465"/>
                <a:gd name="T69" fmla="*/ 2147483647 h 491"/>
                <a:gd name="T70" fmla="*/ 2147483647 w 465"/>
                <a:gd name="T71" fmla="*/ 2147483647 h 491"/>
                <a:gd name="T72" fmla="*/ 0 w 465"/>
                <a:gd name="T73" fmla="*/ 0 h 4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65"/>
                <a:gd name="T112" fmla="*/ 0 h 491"/>
                <a:gd name="T113" fmla="*/ 465 w 465"/>
                <a:gd name="T114" fmla="*/ 491 h 4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65" h="491">
                  <a:moveTo>
                    <a:pt x="0" y="0"/>
                  </a:moveTo>
                  <a:lnTo>
                    <a:pt x="21" y="0"/>
                  </a:lnTo>
                  <a:lnTo>
                    <a:pt x="32" y="11"/>
                  </a:lnTo>
                  <a:lnTo>
                    <a:pt x="47" y="16"/>
                  </a:lnTo>
                  <a:lnTo>
                    <a:pt x="101" y="20"/>
                  </a:lnTo>
                  <a:lnTo>
                    <a:pt x="113" y="30"/>
                  </a:lnTo>
                  <a:lnTo>
                    <a:pt x="134" y="62"/>
                  </a:lnTo>
                  <a:lnTo>
                    <a:pt x="153" y="79"/>
                  </a:lnTo>
                  <a:lnTo>
                    <a:pt x="181" y="92"/>
                  </a:lnTo>
                  <a:lnTo>
                    <a:pt x="203" y="114"/>
                  </a:lnTo>
                  <a:lnTo>
                    <a:pt x="206" y="122"/>
                  </a:lnTo>
                  <a:lnTo>
                    <a:pt x="216" y="125"/>
                  </a:lnTo>
                  <a:lnTo>
                    <a:pt x="232" y="145"/>
                  </a:lnTo>
                  <a:lnTo>
                    <a:pt x="241" y="150"/>
                  </a:lnTo>
                  <a:lnTo>
                    <a:pt x="244" y="143"/>
                  </a:lnTo>
                  <a:lnTo>
                    <a:pt x="251" y="143"/>
                  </a:lnTo>
                  <a:lnTo>
                    <a:pt x="265" y="165"/>
                  </a:lnTo>
                  <a:lnTo>
                    <a:pt x="292" y="176"/>
                  </a:lnTo>
                  <a:lnTo>
                    <a:pt x="300" y="189"/>
                  </a:lnTo>
                  <a:lnTo>
                    <a:pt x="303" y="190"/>
                  </a:lnTo>
                  <a:lnTo>
                    <a:pt x="304" y="182"/>
                  </a:lnTo>
                  <a:lnTo>
                    <a:pt x="316" y="194"/>
                  </a:lnTo>
                  <a:lnTo>
                    <a:pt x="337" y="196"/>
                  </a:lnTo>
                  <a:lnTo>
                    <a:pt x="338" y="203"/>
                  </a:lnTo>
                  <a:lnTo>
                    <a:pt x="332" y="205"/>
                  </a:lnTo>
                  <a:lnTo>
                    <a:pt x="336" y="221"/>
                  </a:lnTo>
                  <a:lnTo>
                    <a:pt x="353" y="217"/>
                  </a:lnTo>
                  <a:lnTo>
                    <a:pt x="362" y="225"/>
                  </a:lnTo>
                  <a:lnTo>
                    <a:pt x="367" y="237"/>
                  </a:lnTo>
                  <a:lnTo>
                    <a:pt x="356" y="247"/>
                  </a:lnTo>
                  <a:lnTo>
                    <a:pt x="364" y="251"/>
                  </a:lnTo>
                  <a:lnTo>
                    <a:pt x="354" y="268"/>
                  </a:lnTo>
                  <a:lnTo>
                    <a:pt x="357" y="274"/>
                  </a:lnTo>
                  <a:lnTo>
                    <a:pt x="372" y="282"/>
                  </a:lnTo>
                  <a:lnTo>
                    <a:pt x="382" y="285"/>
                  </a:lnTo>
                  <a:lnTo>
                    <a:pt x="393" y="285"/>
                  </a:lnTo>
                  <a:lnTo>
                    <a:pt x="400" y="320"/>
                  </a:lnTo>
                  <a:lnTo>
                    <a:pt x="417" y="328"/>
                  </a:lnTo>
                  <a:lnTo>
                    <a:pt x="412" y="340"/>
                  </a:lnTo>
                  <a:lnTo>
                    <a:pt x="419" y="341"/>
                  </a:lnTo>
                  <a:lnTo>
                    <a:pt x="448" y="343"/>
                  </a:lnTo>
                  <a:lnTo>
                    <a:pt x="463" y="366"/>
                  </a:lnTo>
                  <a:lnTo>
                    <a:pt x="465" y="374"/>
                  </a:lnTo>
                  <a:lnTo>
                    <a:pt x="458" y="399"/>
                  </a:lnTo>
                  <a:lnTo>
                    <a:pt x="461" y="405"/>
                  </a:lnTo>
                  <a:lnTo>
                    <a:pt x="454" y="488"/>
                  </a:lnTo>
                  <a:lnTo>
                    <a:pt x="435" y="476"/>
                  </a:lnTo>
                  <a:lnTo>
                    <a:pt x="431" y="485"/>
                  </a:lnTo>
                  <a:lnTo>
                    <a:pt x="426" y="487"/>
                  </a:lnTo>
                  <a:lnTo>
                    <a:pt x="410" y="476"/>
                  </a:lnTo>
                  <a:lnTo>
                    <a:pt x="404" y="477"/>
                  </a:lnTo>
                  <a:lnTo>
                    <a:pt x="410" y="489"/>
                  </a:lnTo>
                  <a:lnTo>
                    <a:pt x="406" y="491"/>
                  </a:lnTo>
                  <a:lnTo>
                    <a:pt x="369" y="453"/>
                  </a:lnTo>
                  <a:lnTo>
                    <a:pt x="313" y="415"/>
                  </a:lnTo>
                  <a:lnTo>
                    <a:pt x="301" y="392"/>
                  </a:lnTo>
                  <a:lnTo>
                    <a:pt x="248" y="339"/>
                  </a:lnTo>
                  <a:lnTo>
                    <a:pt x="244" y="320"/>
                  </a:lnTo>
                  <a:lnTo>
                    <a:pt x="230" y="290"/>
                  </a:lnTo>
                  <a:lnTo>
                    <a:pt x="217" y="266"/>
                  </a:lnTo>
                  <a:lnTo>
                    <a:pt x="202" y="253"/>
                  </a:lnTo>
                  <a:lnTo>
                    <a:pt x="195" y="239"/>
                  </a:lnTo>
                  <a:lnTo>
                    <a:pt x="174" y="228"/>
                  </a:lnTo>
                  <a:lnTo>
                    <a:pt x="155" y="168"/>
                  </a:lnTo>
                  <a:lnTo>
                    <a:pt x="141" y="152"/>
                  </a:lnTo>
                  <a:lnTo>
                    <a:pt x="108" y="140"/>
                  </a:lnTo>
                  <a:lnTo>
                    <a:pt x="102" y="116"/>
                  </a:lnTo>
                  <a:lnTo>
                    <a:pt x="96" y="114"/>
                  </a:lnTo>
                  <a:lnTo>
                    <a:pt x="80" y="92"/>
                  </a:lnTo>
                  <a:lnTo>
                    <a:pt x="66" y="80"/>
                  </a:lnTo>
                  <a:lnTo>
                    <a:pt x="58" y="80"/>
                  </a:lnTo>
                  <a:lnTo>
                    <a:pt x="13" y="36"/>
                  </a:lnTo>
                  <a:lnTo>
                    <a:pt x="2" y="17"/>
                  </a:lnTo>
                  <a:lnTo>
                    <a:pt x="0" y="0"/>
                  </a:lnTo>
                  <a:close/>
                </a:path>
              </a:pathLst>
            </a:custGeom>
            <a:grpFill/>
            <a:ln w="6350">
              <a:solidFill>
                <a:schemeClr val="tx2"/>
              </a:solidFill>
              <a:round/>
              <a:headEnd/>
              <a:tailEnd/>
            </a:ln>
          </p:spPr>
          <p:txBody>
            <a:bodyPr/>
            <a:lstStyle/>
            <a:p>
              <a:endParaRPr lang="en-US"/>
            </a:p>
          </p:txBody>
        </p:sp>
        <p:sp>
          <p:nvSpPr>
            <p:cNvPr id="530" name="Freeform 1636"/>
            <p:cNvSpPr>
              <a:spLocks/>
            </p:cNvSpPr>
            <p:nvPr/>
          </p:nvSpPr>
          <p:spPr bwMode="auto">
            <a:xfrm>
              <a:off x="6704355" y="4317904"/>
              <a:ext cx="15172" cy="12137"/>
            </a:xfrm>
            <a:custGeom>
              <a:avLst/>
              <a:gdLst>
                <a:gd name="T0" fmla="*/ 0 w 30"/>
                <a:gd name="T1" fmla="*/ 2147483647 h 23"/>
                <a:gd name="T2" fmla="*/ 2147483647 w 30"/>
                <a:gd name="T3" fmla="*/ 0 h 23"/>
                <a:gd name="T4" fmla="*/ 2147483647 w 30"/>
                <a:gd name="T5" fmla="*/ 2147483647 h 23"/>
                <a:gd name="T6" fmla="*/ 2147483647 w 30"/>
                <a:gd name="T7" fmla="*/ 2147483647 h 23"/>
                <a:gd name="T8" fmla="*/ 0 w 30"/>
                <a:gd name="T9" fmla="*/ 2147483647 h 23"/>
                <a:gd name="T10" fmla="*/ 0 60000 65536"/>
                <a:gd name="T11" fmla="*/ 0 60000 65536"/>
                <a:gd name="T12" fmla="*/ 0 60000 65536"/>
                <a:gd name="T13" fmla="*/ 0 60000 65536"/>
                <a:gd name="T14" fmla="*/ 0 60000 65536"/>
                <a:gd name="T15" fmla="*/ 0 w 30"/>
                <a:gd name="T16" fmla="*/ 0 h 23"/>
                <a:gd name="T17" fmla="*/ 30 w 30"/>
                <a:gd name="T18" fmla="*/ 23 h 23"/>
              </a:gdLst>
              <a:ahLst/>
              <a:cxnLst>
                <a:cxn ang="T10">
                  <a:pos x="T0" y="T1"/>
                </a:cxn>
                <a:cxn ang="T11">
                  <a:pos x="T2" y="T3"/>
                </a:cxn>
                <a:cxn ang="T12">
                  <a:pos x="T4" y="T5"/>
                </a:cxn>
                <a:cxn ang="T13">
                  <a:pos x="T6" y="T7"/>
                </a:cxn>
                <a:cxn ang="T14">
                  <a:pos x="T8" y="T9"/>
                </a:cxn>
              </a:cxnLst>
              <a:rect l="T15" t="T16" r="T17" b="T18"/>
              <a:pathLst>
                <a:path w="30" h="23">
                  <a:moveTo>
                    <a:pt x="0" y="5"/>
                  </a:moveTo>
                  <a:lnTo>
                    <a:pt x="3" y="0"/>
                  </a:lnTo>
                  <a:lnTo>
                    <a:pt x="27" y="16"/>
                  </a:lnTo>
                  <a:lnTo>
                    <a:pt x="30" y="23"/>
                  </a:lnTo>
                  <a:lnTo>
                    <a:pt x="0" y="5"/>
                  </a:lnTo>
                  <a:close/>
                </a:path>
              </a:pathLst>
            </a:custGeom>
            <a:grpFill/>
            <a:ln w="6350">
              <a:solidFill>
                <a:schemeClr val="tx2"/>
              </a:solidFill>
              <a:round/>
              <a:headEnd/>
              <a:tailEnd/>
            </a:ln>
          </p:spPr>
          <p:txBody>
            <a:bodyPr/>
            <a:lstStyle/>
            <a:p>
              <a:endParaRPr lang="en-US"/>
            </a:p>
          </p:txBody>
        </p:sp>
        <p:sp>
          <p:nvSpPr>
            <p:cNvPr id="531" name="Freeform 1637"/>
            <p:cNvSpPr>
              <a:spLocks/>
            </p:cNvSpPr>
            <p:nvPr/>
          </p:nvSpPr>
          <p:spPr bwMode="auto">
            <a:xfrm>
              <a:off x="6734697" y="4346729"/>
              <a:ext cx="15172" cy="19723"/>
            </a:xfrm>
            <a:custGeom>
              <a:avLst/>
              <a:gdLst>
                <a:gd name="T0" fmla="*/ 0 w 32"/>
                <a:gd name="T1" fmla="*/ 2147483647 h 39"/>
                <a:gd name="T2" fmla="*/ 2147483647 w 32"/>
                <a:gd name="T3" fmla="*/ 0 h 39"/>
                <a:gd name="T4" fmla="*/ 2147483647 w 32"/>
                <a:gd name="T5" fmla="*/ 2147483647 h 39"/>
                <a:gd name="T6" fmla="*/ 2147483647 w 32"/>
                <a:gd name="T7" fmla="*/ 2147483647 h 39"/>
                <a:gd name="T8" fmla="*/ 2147483647 w 32"/>
                <a:gd name="T9" fmla="*/ 2147483647 h 39"/>
                <a:gd name="T10" fmla="*/ 0 w 32"/>
                <a:gd name="T11" fmla="*/ 2147483647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6"/>
                  </a:moveTo>
                  <a:lnTo>
                    <a:pt x="10" y="0"/>
                  </a:lnTo>
                  <a:lnTo>
                    <a:pt x="32" y="22"/>
                  </a:lnTo>
                  <a:lnTo>
                    <a:pt x="31" y="39"/>
                  </a:lnTo>
                  <a:lnTo>
                    <a:pt x="27" y="39"/>
                  </a:lnTo>
                  <a:lnTo>
                    <a:pt x="0" y="6"/>
                  </a:lnTo>
                  <a:close/>
                </a:path>
              </a:pathLst>
            </a:custGeom>
            <a:grpFill/>
            <a:ln w="6350">
              <a:solidFill>
                <a:schemeClr val="tx2"/>
              </a:solidFill>
              <a:round/>
              <a:headEnd/>
              <a:tailEnd/>
            </a:ln>
          </p:spPr>
          <p:txBody>
            <a:bodyPr/>
            <a:lstStyle/>
            <a:p>
              <a:endParaRPr lang="en-US"/>
            </a:p>
          </p:txBody>
        </p:sp>
        <p:sp>
          <p:nvSpPr>
            <p:cNvPr id="532" name="Freeform 1638"/>
            <p:cNvSpPr>
              <a:spLocks/>
            </p:cNvSpPr>
            <p:nvPr/>
          </p:nvSpPr>
          <p:spPr bwMode="auto">
            <a:xfrm>
              <a:off x="6825724" y="4334592"/>
              <a:ext cx="9103" cy="7586"/>
            </a:xfrm>
            <a:custGeom>
              <a:avLst/>
              <a:gdLst>
                <a:gd name="T0" fmla="*/ 2147483647 w 14"/>
                <a:gd name="T1" fmla="*/ 2147483647 h 16"/>
                <a:gd name="T2" fmla="*/ 2147483647 w 14"/>
                <a:gd name="T3" fmla="*/ 2147483647 h 16"/>
                <a:gd name="T4" fmla="*/ 0 w 14"/>
                <a:gd name="T5" fmla="*/ 2147483647 h 16"/>
                <a:gd name="T6" fmla="*/ 2147483647 w 14"/>
                <a:gd name="T7" fmla="*/ 0 h 16"/>
                <a:gd name="T8" fmla="*/ 2147483647 w 14"/>
                <a:gd name="T9" fmla="*/ 2147483647 h 16"/>
                <a:gd name="T10" fmla="*/ 2147483647 w 14"/>
                <a:gd name="T11" fmla="*/ 2147483647 h 16"/>
                <a:gd name="T12" fmla="*/ 0 60000 65536"/>
                <a:gd name="T13" fmla="*/ 0 60000 65536"/>
                <a:gd name="T14" fmla="*/ 0 60000 65536"/>
                <a:gd name="T15" fmla="*/ 0 60000 65536"/>
                <a:gd name="T16" fmla="*/ 0 60000 65536"/>
                <a:gd name="T17" fmla="*/ 0 60000 65536"/>
                <a:gd name="T18" fmla="*/ 0 w 14"/>
                <a:gd name="T19" fmla="*/ 0 h 16"/>
                <a:gd name="T20" fmla="*/ 14 w 1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4" h="16">
                  <a:moveTo>
                    <a:pt x="11" y="16"/>
                  </a:moveTo>
                  <a:lnTo>
                    <a:pt x="4" y="13"/>
                  </a:lnTo>
                  <a:lnTo>
                    <a:pt x="0" y="3"/>
                  </a:lnTo>
                  <a:lnTo>
                    <a:pt x="10" y="0"/>
                  </a:lnTo>
                  <a:lnTo>
                    <a:pt x="14" y="4"/>
                  </a:lnTo>
                  <a:lnTo>
                    <a:pt x="11" y="16"/>
                  </a:lnTo>
                  <a:close/>
                </a:path>
              </a:pathLst>
            </a:custGeom>
            <a:grpFill/>
            <a:ln w="6350">
              <a:solidFill>
                <a:schemeClr val="tx2"/>
              </a:solidFill>
              <a:round/>
              <a:headEnd/>
              <a:tailEnd/>
            </a:ln>
          </p:spPr>
          <p:txBody>
            <a:bodyPr/>
            <a:lstStyle/>
            <a:p>
              <a:endParaRPr lang="en-US"/>
            </a:p>
          </p:txBody>
        </p:sp>
        <p:sp>
          <p:nvSpPr>
            <p:cNvPr id="533" name="Freeform 1639"/>
            <p:cNvSpPr>
              <a:spLocks/>
            </p:cNvSpPr>
            <p:nvPr/>
          </p:nvSpPr>
          <p:spPr bwMode="auto">
            <a:xfrm>
              <a:off x="6840896" y="4343695"/>
              <a:ext cx="7585" cy="7586"/>
            </a:xfrm>
            <a:custGeom>
              <a:avLst/>
              <a:gdLst>
                <a:gd name="T0" fmla="*/ 0 w 18"/>
                <a:gd name="T1" fmla="*/ 0 h 13"/>
                <a:gd name="T2" fmla="*/ 2147483647 w 18"/>
                <a:gd name="T3" fmla="*/ 2147483647 h 13"/>
                <a:gd name="T4" fmla="*/ 2147483647 w 18"/>
                <a:gd name="T5" fmla="*/ 2147483647 h 13"/>
                <a:gd name="T6" fmla="*/ 0 w 18"/>
                <a:gd name="T7" fmla="*/ 0 h 13"/>
                <a:gd name="T8" fmla="*/ 0 60000 65536"/>
                <a:gd name="T9" fmla="*/ 0 60000 65536"/>
                <a:gd name="T10" fmla="*/ 0 60000 65536"/>
                <a:gd name="T11" fmla="*/ 0 60000 65536"/>
                <a:gd name="T12" fmla="*/ 0 w 18"/>
                <a:gd name="T13" fmla="*/ 0 h 13"/>
                <a:gd name="T14" fmla="*/ 18 w 18"/>
                <a:gd name="T15" fmla="*/ 13 h 13"/>
              </a:gdLst>
              <a:ahLst/>
              <a:cxnLst>
                <a:cxn ang="T8">
                  <a:pos x="T0" y="T1"/>
                </a:cxn>
                <a:cxn ang="T9">
                  <a:pos x="T2" y="T3"/>
                </a:cxn>
                <a:cxn ang="T10">
                  <a:pos x="T4" y="T5"/>
                </a:cxn>
                <a:cxn ang="T11">
                  <a:pos x="T6" y="T7"/>
                </a:cxn>
              </a:cxnLst>
              <a:rect l="T12" t="T13" r="T14" b="T15"/>
              <a:pathLst>
                <a:path w="18" h="13">
                  <a:moveTo>
                    <a:pt x="0" y="0"/>
                  </a:moveTo>
                  <a:lnTo>
                    <a:pt x="15" y="2"/>
                  </a:lnTo>
                  <a:lnTo>
                    <a:pt x="18" y="13"/>
                  </a:lnTo>
                  <a:lnTo>
                    <a:pt x="0" y="0"/>
                  </a:lnTo>
                  <a:close/>
                </a:path>
              </a:pathLst>
            </a:custGeom>
            <a:grpFill/>
            <a:ln w="6350">
              <a:solidFill>
                <a:schemeClr val="tx2"/>
              </a:solidFill>
              <a:round/>
              <a:headEnd/>
              <a:tailEnd/>
            </a:ln>
          </p:spPr>
          <p:txBody>
            <a:bodyPr/>
            <a:lstStyle/>
            <a:p>
              <a:endParaRPr lang="en-US"/>
            </a:p>
          </p:txBody>
        </p:sp>
        <p:sp>
          <p:nvSpPr>
            <p:cNvPr id="534" name="Freeform 1640"/>
            <p:cNvSpPr>
              <a:spLocks/>
            </p:cNvSpPr>
            <p:nvPr/>
          </p:nvSpPr>
          <p:spPr bwMode="auto">
            <a:xfrm>
              <a:off x="6765040" y="4399828"/>
              <a:ext cx="15172" cy="16688"/>
            </a:xfrm>
            <a:custGeom>
              <a:avLst/>
              <a:gdLst>
                <a:gd name="T0" fmla="*/ 2147483647 w 27"/>
                <a:gd name="T1" fmla="*/ 0 h 34"/>
                <a:gd name="T2" fmla="*/ 2147483647 w 27"/>
                <a:gd name="T3" fmla="*/ 2147483647 h 34"/>
                <a:gd name="T4" fmla="*/ 2147483647 w 27"/>
                <a:gd name="T5" fmla="*/ 2147483647 h 34"/>
                <a:gd name="T6" fmla="*/ 2147483647 w 27"/>
                <a:gd name="T7" fmla="*/ 2147483647 h 34"/>
                <a:gd name="T8" fmla="*/ 2147483647 w 27"/>
                <a:gd name="T9" fmla="*/ 2147483647 h 34"/>
                <a:gd name="T10" fmla="*/ 0 w 27"/>
                <a:gd name="T11" fmla="*/ 2147483647 h 34"/>
                <a:gd name="T12" fmla="*/ 2147483647 w 27"/>
                <a:gd name="T13" fmla="*/ 0 h 34"/>
                <a:gd name="T14" fmla="*/ 0 60000 65536"/>
                <a:gd name="T15" fmla="*/ 0 60000 65536"/>
                <a:gd name="T16" fmla="*/ 0 60000 65536"/>
                <a:gd name="T17" fmla="*/ 0 60000 65536"/>
                <a:gd name="T18" fmla="*/ 0 60000 65536"/>
                <a:gd name="T19" fmla="*/ 0 60000 65536"/>
                <a:gd name="T20" fmla="*/ 0 60000 65536"/>
                <a:gd name="T21" fmla="*/ 0 w 27"/>
                <a:gd name="T22" fmla="*/ 0 h 34"/>
                <a:gd name="T23" fmla="*/ 27 w 27"/>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4">
                  <a:moveTo>
                    <a:pt x="3" y="0"/>
                  </a:moveTo>
                  <a:lnTo>
                    <a:pt x="14" y="1"/>
                  </a:lnTo>
                  <a:lnTo>
                    <a:pt x="27" y="34"/>
                  </a:lnTo>
                  <a:lnTo>
                    <a:pt x="17" y="34"/>
                  </a:lnTo>
                  <a:lnTo>
                    <a:pt x="6" y="24"/>
                  </a:lnTo>
                  <a:lnTo>
                    <a:pt x="0" y="8"/>
                  </a:lnTo>
                  <a:lnTo>
                    <a:pt x="3" y="0"/>
                  </a:lnTo>
                  <a:close/>
                </a:path>
              </a:pathLst>
            </a:custGeom>
            <a:grpFill/>
            <a:ln w="6350">
              <a:solidFill>
                <a:schemeClr val="tx2"/>
              </a:solidFill>
              <a:round/>
              <a:headEnd/>
              <a:tailEnd/>
            </a:ln>
          </p:spPr>
          <p:txBody>
            <a:bodyPr/>
            <a:lstStyle/>
            <a:p>
              <a:endParaRPr lang="en-US"/>
            </a:p>
          </p:txBody>
        </p:sp>
        <p:sp>
          <p:nvSpPr>
            <p:cNvPr id="535" name="Freeform 1641"/>
            <p:cNvSpPr>
              <a:spLocks/>
            </p:cNvSpPr>
            <p:nvPr/>
          </p:nvSpPr>
          <p:spPr bwMode="auto">
            <a:xfrm>
              <a:off x="6886409" y="4354315"/>
              <a:ext cx="9103" cy="6069"/>
            </a:xfrm>
            <a:custGeom>
              <a:avLst/>
              <a:gdLst>
                <a:gd name="T0" fmla="*/ 2147483647 w 15"/>
                <a:gd name="T1" fmla="*/ 2147483647 h 13"/>
                <a:gd name="T2" fmla="*/ 2147483647 w 15"/>
                <a:gd name="T3" fmla="*/ 2147483647 h 13"/>
                <a:gd name="T4" fmla="*/ 2147483647 w 15"/>
                <a:gd name="T5" fmla="*/ 2147483647 h 13"/>
                <a:gd name="T6" fmla="*/ 0 w 15"/>
                <a:gd name="T7" fmla="*/ 0 h 13"/>
                <a:gd name="T8" fmla="*/ 2147483647 w 15"/>
                <a:gd name="T9" fmla="*/ 2147483647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1" y="1"/>
                  </a:moveTo>
                  <a:lnTo>
                    <a:pt x="15" y="8"/>
                  </a:lnTo>
                  <a:lnTo>
                    <a:pt x="10" y="13"/>
                  </a:lnTo>
                  <a:lnTo>
                    <a:pt x="0" y="0"/>
                  </a:lnTo>
                  <a:lnTo>
                    <a:pt x="11" y="1"/>
                  </a:lnTo>
                  <a:close/>
                </a:path>
              </a:pathLst>
            </a:custGeom>
            <a:grpFill/>
            <a:ln w="6350">
              <a:solidFill>
                <a:schemeClr val="tx2"/>
              </a:solidFill>
              <a:round/>
              <a:headEnd/>
              <a:tailEnd/>
            </a:ln>
          </p:spPr>
          <p:txBody>
            <a:bodyPr/>
            <a:lstStyle/>
            <a:p>
              <a:endParaRPr lang="en-US"/>
            </a:p>
          </p:txBody>
        </p:sp>
        <p:sp>
          <p:nvSpPr>
            <p:cNvPr id="536" name="Freeform 1642"/>
            <p:cNvSpPr>
              <a:spLocks/>
            </p:cNvSpPr>
            <p:nvPr/>
          </p:nvSpPr>
          <p:spPr bwMode="auto">
            <a:xfrm>
              <a:off x="6889443" y="4387691"/>
              <a:ext cx="3034" cy="4550"/>
            </a:xfrm>
            <a:custGeom>
              <a:avLst/>
              <a:gdLst>
                <a:gd name="T0" fmla="*/ 0 w 11"/>
                <a:gd name="T1" fmla="*/ 2147483647 h 10"/>
                <a:gd name="T2" fmla="*/ 2147483647 w 11"/>
                <a:gd name="T3" fmla="*/ 0 h 10"/>
                <a:gd name="T4" fmla="*/ 2147483647 w 11"/>
                <a:gd name="T5" fmla="*/ 0 h 10"/>
                <a:gd name="T6" fmla="*/ 2147483647 w 11"/>
                <a:gd name="T7" fmla="*/ 2147483647 h 10"/>
                <a:gd name="T8" fmla="*/ 2147483647 w 11"/>
                <a:gd name="T9" fmla="*/ 2147483647 h 10"/>
                <a:gd name="T10" fmla="*/ 2147483647 w 11"/>
                <a:gd name="T11" fmla="*/ 2147483647 h 10"/>
                <a:gd name="T12" fmla="*/ 0 w 11"/>
                <a:gd name="T13" fmla="*/ 2147483647 h 10"/>
                <a:gd name="T14" fmla="*/ 0 60000 65536"/>
                <a:gd name="T15" fmla="*/ 0 60000 65536"/>
                <a:gd name="T16" fmla="*/ 0 60000 65536"/>
                <a:gd name="T17" fmla="*/ 0 60000 65536"/>
                <a:gd name="T18" fmla="*/ 0 60000 65536"/>
                <a:gd name="T19" fmla="*/ 0 60000 65536"/>
                <a:gd name="T20" fmla="*/ 0 60000 65536"/>
                <a:gd name="T21" fmla="*/ 0 w 11"/>
                <a:gd name="T22" fmla="*/ 0 h 10"/>
                <a:gd name="T23" fmla="*/ 11 w 11"/>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0">
                  <a:moveTo>
                    <a:pt x="0" y="5"/>
                  </a:moveTo>
                  <a:lnTo>
                    <a:pt x="5" y="0"/>
                  </a:lnTo>
                  <a:lnTo>
                    <a:pt x="9" y="0"/>
                  </a:lnTo>
                  <a:lnTo>
                    <a:pt x="11" y="5"/>
                  </a:lnTo>
                  <a:lnTo>
                    <a:pt x="9" y="10"/>
                  </a:lnTo>
                  <a:lnTo>
                    <a:pt x="2" y="9"/>
                  </a:lnTo>
                  <a:lnTo>
                    <a:pt x="0" y="5"/>
                  </a:lnTo>
                  <a:close/>
                </a:path>
              </a:pathLst>
            </a:custGeom>
            <a:grpFill/>
            <a:ln w="6350">
              <a:solidFill>
                <a:schemeClr val="tx2"/>
              </a:solidFill>
              <a:round/>
              <a:headEnd/>
              <a:tailEnd/>
            </a:ln>
          </p:spPr>
          <p:txBody>
            <a:bodyPr/>
            <a:lstStyle/>
            <a:p>
              <a:endParaRPr lang="en-US"/>
            </a:p>
          </p:txBody>
        </p:sp>
        <p:sp>
          <p:nvSpPr>
            <p:cNvPr id="537" name="Freeform 1643"/>
            <p:cNvSpPr>
              <a:spLocks/>
            </p:cNvSpPr>
            <p:nvPr/>
          </p:nvSpPr>
          <p:spPr bwMode="auto">
            <a:xfrm>
              <a:off x="6907648" y="4411966"/>
              <a:ext cx="31859" cy="33376"/>
            </a:xfrm>
            <a:custGeom>
              <a:avLst/>
              <a:gdLst>
                <a:gd name="T0" fmla="*/ 0 w 66"/>
                <a:gd name="T1" fmla="*/ 2147483647 h 67"/>
                <a:gd name="T2" fmla="*/ 2147483647 w 66"/>
                <a:gd name="T3" fmla="*/ 2147483647 h 67"/>
                <a:gd name="T4" fmla="*/ 2147483647 w 66"/>
                <a:gd name="T5" fmla="*/ 2147483647 h 67"/>
                <a:gd name="T6" fmla="*/ 2147483647 w 66"/>
                <a:gd name="T7" fmla="*/ 2147483647 h 67"/>
                <a:gd name="T8" fmla="*/ 2147483647 w 66"/>
                <a:gd name="T9" fmla="*/ 0 h 67"/>
                <a:gd name="T10" fmla="*/ 2147483647 w 66"/>
                <a:gd name="T11" fmla="*/ 0 h 67"/>
                <a:gd name="T12" fmla="*/ 2147483647 w 66"/>
                <a:gd name="T13" fmla="*/ 2147483647 h 67"/>
                <a:gd name="T14" fmla="*/ 2147483647 w 66"/>
                <a:gd name="T15" fmla="*/ 2147483647 h 67"/>
                <a:gd name="T16" fmla="*/ 2147483647 w 66"/>
                <a:gd name="T17" fmla="*/ 2147483647 h 67"/>
                <a:gd name="T18" fmla="*/ 2147483647 w 66"/>
                <a:gd name="T19" fmla="*/ 2147483647 h 67"/>
                <a:gd name="T20" fmla="*/ 2147483647 w 66"/>
                <a:gd name="T21" fmla="*/ 2147483647 h 67"/>
                <a:gd name="T22" fmla="*/ 2147483647 w 66"/>
                <a:gd name="T23" fmla="*/ 2147483647 h 67"/>
                <a:gd name="T24" fmla="*/ 0 w 66"/>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
                <a:gd name="T40" fmla="*/ 0 h 67"/>
                <a:gd name="T41" fmla="*/ 66 w 66"/>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 h="67">
                  <a:moveTo>
                    <a:pt x="0" y="17"/>
                  </a:moveTo>
                  <a:lnTo>
                    <a:pt x="11" y="3"/>
                  </a:lnTo>
                  <a:lnTo>
                    <a:pt x="20" y="3"/>
                  </a:lnTo>
                  <a:lnTo>
                    <a:pt x="25" y="9"/>
                  </a:lnTo>
                  <a:lnTo>
                    <a:pt x="27" y="0"/>
                  </a:lnTo>
                  <a:lnTo>
                    <a:pt x="32" y="0"/>
                  </a:lnTo>
                  <a:lnTo>
                    <a:pt x="48" y="38"/>
                  </a:lnTo>
                  <a:lnTo>
                    <a:pt x="66" y="43"/>
                  </a:lnTo>
                  <a:lnTo>
                    <a:pt x="65" y="65"/>
                  </a:lnTo>
                  <a:lnTo>
                    <a:pt x="61" y="67"/>
                  </a:lnTo>
                  <a:lnTo>
                    <a:pt x="41" y="55"/>
                  </a:lnTo>
                  <a:lnTo>
                    <a:pt x="26" y="27"/>
                  </a:lnTo>
                  <a:lnTo>
                    <a:pt x="0" y="17"/>
                  </a:lnTo>
                  <a:close/>
                </a:path>
              </a:pathLst>
            </a:custGeom>
            <a:grpFill/>
            <a:ln w="6350">
              <a:solidFill>
                <a:schemeClr val="tx2"/>
              </a:solidFill>
              <a:round/>
              <a:headEnd/>
              <a:tailEnd/>
            </a:ln>
          </p:spPr>
          <p:txBody>
            <a:bodyPr/>
            <a:lstStyle/>
            <a:p>
              <a:endParaRPr lang="en-US"/>
            </a:p>
          </p:txBody>
        </p:sp>
        <p:sp>
          <p:nvSpPr>
            <p:cNvPr id="538" name="Freeform 1644"/>
            <p:cNvSpPr>
              <a:spLocks/>
            </p:cNvSpPr>
            <p:nvPr/>
          </p:nvSpPr>
          <p:spPr bwMode="auto">
            <a:xfrm>
              <a:off x="6957712" y="4433205"/>
              <a:ext cx="15172" cy="13653"/>
            </a:xfrm>
            <a:custGeom>
              <a:avLst/>
              <a:gdLst>
                <a:gd name="T0" fmla="*/ 2147483647 w 29"/>
                <a:gd name="T1" fmla="*/ 0 h 27"/>
                <a:gd name="T2" fmla="*/ 2147483647 w 29"/>
                <a:gd name="T3" fmla="*/ 0 h 27"/>
                <a:gd name="T4" fmla="*/ 2147483647 w 29"/>
                <a:gd name="T5" fmla="*/ 2147483647 h 27"/>
                <a:gd name="T6" fmla="*/ 2147483647 w 29"/>
                <a:gd name="T7" fmla="*/ 2147483647 h 27"/>
                <a:gd name="T8" fmla="*/ 2147483647 w 29"/>
                <a:gd name="T9" fmla="*/ 2147483647 h 27"/>
                <a:gd name="T10" fmla="*/ 0 w 29"/>
                <a:gd name="T11" fmla="*/ 2147483647 h 27"/>
                <a:gd name="T12" fmla="*/ 2147483647 w 29"/>
                <a:gd name="T13" fmla="*/ 0 h 27"/>
                <a:gd name="T14" fmla="*/ 0 60000 65536"/>
                <a:gd name="T15" fmla="*/ 0 60000 65536"/>
                <a:gd name="T16" fmla="*/ 0 60000 65536"/>
                <a:gd name="T17" fmla="*/ 0 60000 65536"/>
                <a:gd name="T18" fmla="*/ 0 60000 65536"/>
                <a:gd name="T19" fmla="*/ 0 60000 65536"/>
                <a:gd name="T20" fmla="*/ 0 60000 65536"/>
                <a:gd name="T21" fmla="*/ 0 w 29"/>
                <a:gd name="T22" fmla="*/ 0 h 27"/>
                <a:gd name="T23" fmla="*/ 29 w 29"/>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7">
                  <a:moveTo>
                    <a:pt x="5" y="0"/>
                  </a:moveTo>
                  <a:lnTo>
                    <a:pt x="16" y="0"/>
                  </a:lnTo>
                  <a:lnTo>
                    <a:pt x="29" y="9"/>
                  </a:lnTo>
                  <a:lnTo>
                    <a:pt x="25" y="27"/>
                  </a:lnTo>
                  <a:lnTo>
                    <a:pt x="3" y="24"/>
                  </a:lnTo>
                  <a:lnTo>
                    <a:pt x="0" y="12"/>
                  </a:lnTo>
                  <a:lnTo>
                    <a:pt x="5" y="0"/>
                  </a:lnTo>
                  <a:close/>
                </a:path>
              </a:pathLst>
            </a:custGeom>
            <a:grpFill/>
            <a:ln w="6350">
              <a:solidFill>
                <a:schemeClr val="tx2"/>
              </a:solidFill>
              <a:round/>
              <a:headEnd/>
              <a:tailEnd/>
            </a:ln>
          </p:spPr>
          <p:txBody>
            <a:bodyPr/>
            <a:lstStyle/>
            <a:p>
              <a:endParaRPr lang="en-US"/>
            </a:p>
          </p:txBody>
        </p:sp>
        <p:sp>
          <p:nvSpPr>
            <p:cNvPr id="539" name="Freeform 1647"/>
            <p:cNvSpPr>
              <a:spLocks/>
            </p:cNvSpPr>
            <p:nvPr/>
          </p:nvSpPr>
          <p:spPr bwMode="auto">
            <a:xfrm>
              <a:off x="6634568" y="4090337"/>
              <a:ext cx="9103" cy="43995"/>
            </a:xfrm>
            <a:custGeom>
              <a:avLst/>
              <a:gdLst>
                <a:gd name="T0" fmla="*/ 2147483647 w 20"/>
                <a:gd name="T1" fmla="*/ 0 h 88"/>
                <a:gd name="T2" fmla="*/ 2147483647 w 20"/>
                <a:gd name="T3" fmla="*/ 2147483647 h 88"/>
                <a:gd name="T4" fmla="*/ 0 w 20"/>
                <a:gd name="T5" fmla="*/ 2147483647 h 88"/>
                <a:gd name="T6" fmla="*/ 2147483647 w 20"/>
                <a:gd name="T7" fmla="*/ 2147483647 h 88"/>
                <a:gd name="T8" fmla="*/ 2147483647 w 20"/>
                <a:gd name="T9" fmla="*/ 2147483647 h 88"/>
                <a:gd name="T10" fmla="*/ 2147483647 w 20"/>
                <a:gd name="T11" fmla="*/ 2147483647 h 88"/>
                <a:gd name="T12" fmla="*/ 2147483647 w 20"/>
                <a:gd name="T13" fmla="*/ 2147483647 h 88"/>
                <a:gd name="T14" fmla="*/ 2147483647 w 20"/>
                <a:gd name="T15" fmla="*/ 0 h 88"/>
                <a:gd name="T16" fmla="*/ 2147483647 w 20"/>
                <a:gd name="T17" fmla="*/ 0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88"/>
                <a:gd name="T29" fmla="*/ 20 w 20"/>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88">
                  <a:moveTo>
                    <a:pt x="16" y="0"/>
                  </a:moveTo>
                  <a:lnTo>
                    <a:pt x="7" y="57"/>
                  </a:lnTo>
                  <a:lnTo>
                    <a:pt x="0" y="72"/>
                  </a:lnTo>
                  <a:lnTo>
                    <a:pt x="5" y="88"/>
                  </a:lnTo>
                  <a:lnTo>
                    <a:pt x="9" y="86"/>
                  </a:lnTo>
                  <a:lnTo>
                    <a:pt x="15" y="23"/>
                  </a:lnTo>
                  <a:lnTo>
                    <a:pt x="19" y="20"/>
                  </a:lnTo>
                  <a:lnTo>
                    <a:pt x="20" y="0"/>
                  </a:lnTo>
                  <a:lnTo>
                    <a:pt x="16" y="0"/>
                  </a:lnTo>
                  <a:close/>
                </a:path>
              </a:pathLst>
            </a:custGeom>
            <a:grpFill/>
            <a:ln w="6350">
              <a:solidFill>
                <a:schemeClr val="tx2"/>
              </a:solidFill>
              <a:round/>
              <a:headEnd/>
              <a:tailEnd/>
            </a:ln>
          </p:spPr>
          <p:txBody>
            <a:bodyPr/>
            <a:lstStyle/>
            <a:p>
              <a:endParaRPr lang="en-US"/>
            </a:p>
          </p:txBody>
        </p:sp>
        <p:sp>
          <p:nvSpPr>
            <p:cNvPr id="540" name="Freeform 1648"/>
            <p:cNvSpPr>
              <a:spLocks/>
            </p:cNvSpPr>
            <p:nvPr/>
          </p:nvSpPr>
          <p:spPr bwMode="auto">
            <a:xfrm>
              <a:off x="6358454" y="4172261"/>
              <a:ext cx="45514" cy="81924"/>
            </a:xfrm>
            <a:custGeom>
              <a:avLst/>
              <a:gdLst>
                <a:gd name="T0" fmla="*/ 2147483647 w 92"/>
                <a:gd name="T1" fmla="*/ 0 h 166"/>
                <a:gd name="T2" fmla="*/ 2147483647 w 92"/>
                <a:gd name="T3" fmla="*/ 2147483647 h 166"/>
                <a:gd name="T4" fmla="*/ 2147483647 w 92"/>
                <a:gd name="T5" fmla="*/ 2147483647 h 166"/>
                <a:gd name="T6" fmla="*/ 2147483647 w 92"/>
                <a:gd name="T7" fmla="*/ 2147483647 h 166"/>
                <a:gd name="T8" fmla="*/ 2147483647 w 92"/>
                <a:gd name="T9" fmla="*/ 2147483647 h 166"/>
                <a:gd name="T10" fmla="*/ 0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0 h 1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2"/>
                <a:gd name="T49" fmla="*/ 0 h 166"/>
                <a:gd name="T50" fmla="*/ 92 w 92"/>
                <a:gd name="T51" fmla="*/ 166 h 1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2" h="166">
                  <a:moveTo>
                    <a:pt x="15" y="0"/>
                  </a:moveTo>
                  <a:lnTo>
                    <a:pt x="11" y="2"/>
                  </a:lnTo>
                  <a:lnTo>
                    <a:pt x="26" y="14"/>
                  </a:lnTo>
                  <a:lnTo>
                    <a:pt x="17" y="19"/>
                  </a:lnTo>
                  <a:lnTo>
                    <a:pt x="6" y="74"/>
                  </a:lnTo>
                  <a:lnTo>
                    <a:pt x="0" y="74"/>
                  </a:lnTo>
                  <a:lnTo>
                    <a:pt x="6" y="131"/>
                  </a:lnTo>
                  <a:lnTo>
                    <a:pt x="23" y="164"/>
                  </a:lnTo>
                  <a:lnTo>
                    <a:pt x="46" y="166"/>
                  </a:lnTo>
                  <a:lnTo>
                    <a:pt x="79" y="147"/>
                  </a:lnTo>
                  <a:lnTo>
                    <a:pt x="88" y="134"/>
                  </a:lnTo>
                  <a:lnTo>
                    <a:pt x="92" y="99"/>
                  </a:lnTo>
                  <a:lnTo>
                    <a:pt x="73" y="58"/>
                  </a:lnTo>
                  <a:lnTo>
                    <a:pt x="50" y="26"/>
                  </a:lnTo>
                  <a:lnTo>
                    <a:pt x="28" y="3"/>
                  </a:lnTo>
                  <a:lnTo>
                    <a:pt x="15" y="0"/>
                  </a:lnTo>
                  <a:close/>
                </a:path>
              </a:pathLst>
            </a:custGeom>
            <a:grpFill/>
            <a:ln w="6350">
              <a:solidFill>
                <a:schemeClr val="tx2"/>
              </a:solidFill>
              <a:round/>
              <a:headEnd/>
              <a:tailEnd/>
            </a:ln>
          </p:spPr>
          <p:txBody>
            <a:bodyPr/>
            <a:lstStyle/>
            <a:p>
              <a:endParaRPr lang="en-US"/>
            </a:p>
          </p:txBody>
        </p:sp>
        <p:sp>
          <p:nvSpPr>
            <p:cNvPr id="541" name="Freeform 1815"/>
            <p:cNvSpPr>
              <a:spLocks/>
            </p:cNvSpPr>
            <p:nvPr/>
          </p:nvSpPr>
          <p:spPr bwMode="auto">
            <a:xfrm>
              <a:off x="6846964" y="4152538"/>
              <a:ext cx="3034" cy="7586"/>
            </a:xfrm>
            <a:custGeom>
              <a:avLst/>
              <a:gdLst>
                <a:gd name="T0" fmla="*/ 0 w 7"/>
                <a:gd name="T1" fmla="*/ 2147483647 h 15"/>
                <a:gd name="T2" fmla="*/ 2147483647 w 7"/>
                <a:gd name="T3" fmla="*/ 2147483647 h 15"/>
                <a:gd name="T4" fmla="*/ 2147483647 w 7"/>
                <a:gd name="T5" fmla="*/ 0 h 15"/>
                <a:gd name="T6" fmla="*/ 0 w 7"/>
                <a:gd name="T7" fmla="*/ 2147483647 h 15"/>
                <a:gd name="T8" fmla="*/ 0 60000 65536"/>
                <a:gd name="T9" fmla="*/ 0 60000 65536"/>
                <a:gd name="T10" fmla="*/ 0 60000 65536"/>
                <a:gd name="T11" fmla="*/ 0 60000 65536"/>
                <a:gd name="T12" fmla="*/ 0 w 7"/>
                <a:gd name="T13" fmla="*/ 0 h 15"/>
                <a:gd name="T14" fmla="*/ 7 w 7"/>
                <a:gd name="T15" fmla="*/ 15 h 15"/>
              </a:gdLst>
              <a:ahLst/>
              <a:cxnLst>
                <a:cxn ang="T8">
                  <a:pos x="T0" y="T1"/>
                </a:cxn>
                <a:cxn ang="T9">
                  <a:pos x="T2" y="T3"/>
                </a:cxn>
                <a:cxn ang="T10">
                  <a:pos x="T4" y="T5"/>
                </a:cxn>
                <a:cxn ang="T11">
                  <a:pos x="T6" y="T7"/>
                </a:cxn>
              </a:cxnLst>
              <a:rect l="T12" t="T13" r="T14" b="T15"/>
              <a:pathLst>
                <a:path w="7" h="15">
                  <a:moveTo>
                    <a:pt x="0" y="5"/>
                  </a:moveTo>
                  <a:lnTo>
                    <a:pt x="7" y="15"/>
                  </a:lnTo>
                  <a:lnTo>
                    <a:pt x="4" y="0"/>
                  </a:lnTo>
                  <a:lnTo>
                    <a:pt x="0" y="5"/>
                  </a:lnTo>
                  <a:close/>
                </a:path>
              </a:pathLst>
            </a:custGeom>
            <a:grpFill/>
            <a:ln w="6350">
              <a:solidFill>
                <a:schemeClr val="tx2"/>
              </a:solidFill>
              <a:round/>
              <a:headEnd/>
              <a:tailEnd/>
            </a:ln>
          </p:spPr>
          <p:txBody>
            <a:bodyPr/>
            <a:lstStyle/>
            <a:p>
              <a:endParaRPr lang="en-US"/>
            </a:p>
          </p:txBody>
        </p:sp>
        <p:sp>
          <p:nvSpPr>
            <p:cNvPr id="542" name="Freeform 1374"/>
            <p:cNvSpPr>
              <a:spLocks/>
            </p:cNvSpPr>
            <p:nvPr/>
          </p:nvSpPr>
          <p:spPr bwMode="auto">
            <a:xfrm>
              <a:off x="5345021" y="3677683"/>
              <a:ext cx="7585" cy="9103"/>
            </a:xfrm>
            <a:custGeom>
              <a:avLst/>
              <a:gdLst>
                <a:gd name="T0" fmla="*/ 2147483647 w 16"/>
                <a:gd name="T1" fmla="*/ 2147483647 h 20"/>
                <a:gd name="T2" fmla="*/ 2147483647 w 16"/>
                <a:gd name="T3" fmla="*/ 2147483647 h 20"/>
                <a:gd name="T4" fmla="*/ 2147483647 w 16"/>
                <a:gd name="T5" fmla="*/ 2147483647 h 20"/>
                <a:gd name="T6" fmla="*/ 2147483647 w 16"/>
                <a:gd name="T7" fmla="*/ 2147483647 h 20"/>
                <a:gd name="T8" fmla="*/ 2147483647 w 16"/>
                <a:gd name="T9" fmla="*/ 0 h 20"/>
                <a:gd name="T10" fmla="*/ 0 w 16"/>
                <a:gd name="T11" fmla="*/ 2147483647 h 20"/>
                <a:gd name="T12" fmla="*/ 2147483647 w 16"/>
                <a:gd name="T13" fmla="*/ 2147483647 h 20"/>
                <a:gd name="T14" fmla="*/ 0 60000 65536"/>
                <a:gd name="T15" fmla="*/ 0 60000 65536"/>
                <a:gd name="T16" fmla="*/ 0 60000 65536"/>
                <a:gd name="T17" fmla="*/ 0 60000 65536"/>
                <a:gd name="T18" fmla="*/ 0 60000 65536"/>
                <a:gd name="T19" fmla="*/ 0 60000 65536"/>
                <a:gd name="T20" fmla="*/ 0 60000 65536"/>
                <a:gd name="T21" fmla="*/ 0 w 16"/>
                <a:gd name="T22" fmla="*/ 0 h 20"/>
                <a:gd name="T23" fmla="*/ 16 w 16"/>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0">
                  <a:moveTo>
                    <a:pt x="2" y="20"/>
                  </a:moveTo>
                  <a:lnTo>
                    <a:pt x="7" y="17"/>
                  </a:lnTo>
                  <a:lnTo>
                    <a:pt x="7" y="13"/>
                  </a:lnTo>
                  <a:lnTo>
                    <a:pt x="16" y="4"/>
                  </a:lnTo>
                  <a:lnTo>
                    <a:pt x="13" y="0"/>
                  </a:lnTo>
                  <a:lnTo>
                    <a:pt x="0" y="12"/>
                  </a:lnTo>
                  <a:lnTo>
                    <a:pt x="2" y="20"/>
                  </a:lnTo>
                  <a:close/>
                </a:path>
              </a:pathLst>
            </a:custGeom>
            <a:grpFill/>
            <a:ln w="6350">
              <a:solidFill>
                <a:schemeClr val="tx2"/>
              </a:solidFill>
              <a:round/>
              <a:headEnd/>
              <a:tailEnd/>
            </a:ln>
          </p:spPr>
          <p:txBody>
            <a:bodyPr/>
            <a:lstStyle/>
            <a:p>
              <a:endParaRPr lang="en-US"/>
            </a:p>
          </p:txBody>
        </p:sp>
        <p:sp>
          <p:nvSpPr>
            <p:cNvPr id="543" name="Freeform 1375"/>
            <p:cNvSpPr>
              <a:spLocks/>
            </p:cNvSpPr>
            <p:nvPr/>
          </p:nvSpPr>
          <p:spPr bwMode="auto">
            <a:xfrm>
              <a:off x="5345021" y="3633686"/>
              <a:ext cx="31859" cy="98613"/>
            </a:xfrm>
            <a:custGeom>
              <a:avLst/>
              <a:gdLst>
                <a:gd name="T0" fmla="*/ 0 w 62"/>
                <a:gd name="T1" fmla="*/ 2147483647 h 197"/>
                <a:gd name="T2" fmla="*/ 2147483647 w 62"/>
                <a:gd name="T3" fmla="*/ 2147483647 h 197"/>
                <a:gd name="T4" fmla="*/ 2147483647 w 62"/>
                <a:gd name="T5" fmla="*/ 2147483647 h 197"/>
                <a:gd name="T6" fmla="*/ 2147483647 w 62"/>
                <a:gd name="T7" fmla="*/ 2147483647 h 197"/>
                <a:gd name="T8" fmla="*/ 2147483647 w 62"/>
                <a:gd name="T9" fmla="*/ 2147483647 h 197"/>
                <a:gd name="T10" fmla="*/ 2147483647 w 62"/>
                <a:gd name="T11" fmla="*/ 2147483647 h 197"/>
                <a:gd name="T12" fmla="*/ 2147483647 w 62"/>
                <a:gd name="T13" fmla="*/ 2147483647 h 197"/>
                <a:gd name="T14" fmla="*/ 2147483647 w 62"/>
                <a:gd name="T15" fmla="*/ 2147483647 h 197"/>
                <a:gd name="T16" fmla="*/ 2147483647 w 62"/>
                <a:gd name="T17" fmla="*/ 2147483647 h 197"/>
                <a:gd name="T18" fmla="*/ 2147483647 w 62"/>
                <a:gd name="T19" fmla="*/ 0 h 197"/>
                <a:gd name="T20" fmla="*/ 2147483647 w 62"/>
                <a:gd name="T21" fmla="*/ 2147483647 h 197"/>
                <a:gd name="T22" fmla="*/ 2147483647 w 62"/>
                <a:gd name="T23" fmla="*/ 2147483647 h 197"/>
                <a:gd name="T24" fmla="*/ 2147483647 w 62"/>
                <a:gd name="T25" fmla="*/ 2147483647 h 197"/>
                <a:gd name="T26" fmla="*/ 2147483647 w 62"/>
                <a:gd name="T27" fmla="*/ 2147483647 h 197"/>
                <a:gd name="T28" fmla="*/ 2147483647 w 62"/>
                <a:gd name="T29" fmla="*/ 2147483647 h 197"/>
                <a:gd name="T30" fmla="*/ 2147483647 w 62"/>
                <a:gd name="T31" fmla="*/ 2147483647 h 197"/>
                <a:gd name="T32" fmla="*/ 2147483647 w 62"/>
                <a:gd name="T33" fmla="*/ 2147483647 h 197"/>
                <a:gd name="T34" fmla="*/ 2147483647 w 62"/>
                <a:gd name="T35" fmla="*/ 2147483647 h 197"/>
                <a:gd name="T36" fmla="*/ 2147483647 w 62"/>
                <a:gd name="T37" fmla="*/ 2147483647 h 197"/>
                <a:gd name="T38" fmla="*/ 2147483647 w 62"/>
                <a:gd name="T39" fmla="*/ 2147483647 h 197"/>
                <a:gd name="T40" fmla="*/ 2147483647 w 62"/>
                <a:gd name="T41" fmla="*/ 2147483647 h 197"/>
                <a:gd name="T42" fmla="*/ 2147483647 w 62"/>
                <a:gd name="T43" fmla="*/ 2147483647 h 197"/>
                <a:gd name="T44" fmla="*/ 2147483647 w 62"/>
                <a:gd name="T45" fmla="*/ 2147483647 h 197"/>
                <a:gd name="T46" fmla="*/ 2147483647 w 62"/>
                <a:gd name="T47" fmla="*/ 2147483647 h 197"/>
                <a:gd name="T48" fmla="*/ 2147483647 w 62"/>
                <a:gd name="T49" fmla="*/ 2147483647 h 197"/>
                <a:gd name="T50" fmla="*/ 2147483647 w 62"/>
                <a:gd name="T51" fmla="*/ 2147483647 h 197"/>
                <a:gd name="T52" fmla="*/ 2147483647 w 62"/>
                <a:gd name="T53" fmla="*/ 2147483647 h 197"/>
                <a:gd name="T54" fmla="*/ 2147483647 w 62"/>
                <a:gd name="T55" fmla="*/ 2147483647 h 197"/>
                <a:gd name="T56" fmla="*/ 2147483647 w 62"/>
                <a:gd name="T57" fmla="*/ 2147483647 h 197"/>
                <a:gd name="T58" fmla="*/ 2147483647 w 62"/>
                <a:gd name="T59" fmla="*/ 2147483647 h 197"/>
                <a:gd name="T60" fmla="*/ 0 w 62"/>
                <a:gd name="T61" fmla="*/ 2147483647 h 19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2"/>
                <a:gd name="T94" fmla="*/ 0 h 197"/>
                <a:gd name="T95" fmla="*/ 62 w 62"/>
                <a:gd name="T96" fmla="*/ 197 h 19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2" h="197">
                  <a:moveTo>
                    <a:pt x="0" y="108"/>
                  </a:moveTo>
                  <a:lnTo>
                    <a:pt x="5" y="105"/>
                  </a:lnTo>
                  <a:lnTo>
                    <a:pt x="5" y="101"/>
                  </a:lnTo>
                  <a:lnTo>
                    <a:pt x="14" y="92"/>
                  </a:lnTo>
                  <a:lnTo>
                    <a:pt x="11" y="88"/>
                  </a:lnTo>
                  <a:lnTo>
                    <a:pt x="17" y="80"/>
                  </a:lnTo>
                  <a:lnTo>
                    <a:pt x="21" y="68"/>
                  </a:lnTo>
                  <a:lnTo>
                    <a:pt x="38" y="9"/>
                  </a:lnTo>
                  <a:lnTo>
                    <a:pt x="58" y="11"/>
                  </a:lnTo>
                  <a:lnTo>
                    <a:pt x="59" y="0"/>
                  </a:lnTo>
                  <a:lnTo>
                    <a:pt x="62" y="2"/>
                  </a:lnTo>
                  <a:lnTo>
                    <a:pt x="59" y="30"/>
                  </a:lnTo>
                  <a:lnTo>
                    <a:pt x="59" y="45"/>
                  </a:lnTo>
                  <a:lnTo>
                    <a:pt x="52" y="38"/>
                  </a:lnTo>
                  <a:lnTo>
                    <a:pt x="42" y="38"/>
                  </a:lnTo>
                  <a:lnTo>
                    <a:pt x="33" y="53"/>
                  </a:lnTo>
                  <a:lnTo>
                    <a:pt x="34" y="73"/>
                  </a:lnTo>
                  <a:lnTo>
                    <a:pt x="45" y="75"/>
                  </a:lnTo>
                  <a:lnTo>
                    <a:pt x="36" y="79"/>
                  </a:lnTo>
                  <a:lnTo>
                    <a:pt x="30" y="97"/>
                  </a:lnTo>
                  <a:lnTo>
                    <a:pt x="33" y="100"/>
                  </a:lnTo>
                  <a:lnTo>
                    <a:pt x="50" y="91"/>
                  </a:lnTo>
                  <a:lnTo>
                    <a:pt x="55" y="93"/>
                  </a:lnTo>
                  <a:lnTo>
                    <a:pt x="54" y="112"/>
                  </a:lnTo>
                  <a:lnTo>
                    <a:pt x="42" y="139"/>
                  </a:lnTo>
                  <a:lnTo>
                    <a:pt x="34" y="195"/>
                  </a:lnTo>
                  <a:lnTo>
                    <a:pt x="31" y="197"/>
                  </a:lnTo>
                  <a:lnTo>
                    <a:pt x="22" y="174"/>
                  </a:lnTo>
                  <a:lnTo>
                    <a:pt x="15" y="149"/>
                  </a:lnTo>
                  <a:lnTo>
                    <a:pt x="6" y="124"/>
                  </a:lnTo>
                  <a:lnTo>
                    <a:pt x="0" y="108"/>
                  </a:lnTo>
                  <a:close/>
                </a:path>
              </a:pathLst>
            </a:custGeom>
            <a:grpFill/>
            <a:ln w="6350">
              <a:solidFill>
                <a:schemeClr val="tx2"/>
              </a:solidFill>
              <a:round/>
              <a:headEnd/>
              <a:tailEnd/>
            </a:ln>
          </p:spPr>
          <p:txBody>
            <a:bodyPr/>
            <a:lstStyle/>
            <a:p>
              <a:endParaRPr lang="en-US"/>
            </a:p>
          </p:txBody>
        </p:sp>
        <p:sp>
          <p:nvSpPr>
            <p:cNvPr id="544" name="Freeform 1377"/>
            <p:cNvSpPr>
              <a:spLocks/>
            </p:cNvSpPr>
            <p:nvPr/>
          </p:nvSpPr>
          <p:spPr bwMode="auto">
            <a:xfrm>
              <a:off x="5140211" y="3674649"/>
              <a:ext cx="239704" cy="236669"/>
            </a:xfrm>
            <a:custGeom>
              <a:avLst/>
              <a:gdLst>
                <a:gd name="T0" fmla="*/ 2147483647 w 481"/>
                <a:gd name="T1" fmla="*/ 2147483647 h 474"/>
                <a:gd name="T2" fmla="*/ 2147483647 w 481"/>
                <a:gd name="T3" fmla="*/ 2147483647 h 474"/>
                <a:gd name="T4" fmla="*/ 2147483647 w 481"/>
                <a:gd name="T5" fmla="*/ 2147483647 h 474"/>
                <a:gd name="T6" fmla="*/ 2147483647 w 481"/>
                <a:gd name="T7" fmla="*/ 2147483647 h 474"/>
                <a:gd name="T8" fmla="*/ 2147483647 w 481"/>
                <a:gd name="T9" fmla="*/ 2147483647 h 474"/>
                <a:gd name="T10" fmla="*/ 2147483647 w 481"/>
                <a:gd name="T11" fmla="*/ 2147483647 h 474"/>
                <a:gd name="T12" fmla="*/ 2147483647 w 481"/>
                <a:gd name="T13" fmla="*/ 2147483647 h 474"/>
                <a:gd name="T14" fmla="*/ 2147483647 w 481"/>
                <a:gd name="T15" fmla="*/ 2147483647 h 474"/>
                <a:gd name="T16" fmla="*/ 2147483647 w 481"/>
                <a:gd name="T17" fmla="*/ 2147483647 h 474"/>
                <a:gd name="T18" fmla="*/ 2147483647 w 481"/>
                <a:gd name="T19" fmla="*/ 2147483647 h 474"/>
                <a:gd name="T20" fmla="*/ 2147483647 w 481"/>
                <a:gd name="T21" fmla="*/ 2147483647 h 474"/>
                <a:gd name="T22" fmla="*/ 2147483647 w 481"/>
                <a:gd name="T23" fmla="*/ 2147483647 h 474"/>
                <a:gd name="T24" fmla="*/ 2147483647 w 481"/>
                <a:gd name="T25" fmla="*/ 2147483647 h 474"/>
                <a:gd name="T26" fmla="*/ 2147483647 w 481"/>
                <a:gd name="T27" fmla="*/ 2147483647 h 474"/>
                <a:gd name="T28" fmla="*/ 2147483647 w 481"/>
                <a:gd name="T29" fmla="*/ 2147483647 h 474"/>
                <a:gd name="T30" fmla="*/ 2147483647 w 481"/>
                <a:gd name="T31" fmla="*/ 2147483647 h 474"/>
                <a:gd name="T32" fmla="*/ 2147483647 w 481"/>
                <a:gd name="T33" fmla="*/ 2147483647 h 474"/>
                <a:gd name="T34" fmla="*/ 2147483647 w 481"/>
                <a:gd name="T35" fmla="*/ 2147483647 h 474"/>
                <a:gd name="T36" fmla="*/ 2147483647 w 481"/>
                <a:gd name="T37" fmla="*/ 2147483647 h 474"/>
                <a:gd name="T38" fmla="*/ 2147483647 w 481"/>
                <a:gd name="T39" fmla="*/ 2147483647 h 474"/>
                <a:gd name="T40" fmla="*/ 2147483647 w 481"/>
                <a:gd name="T41" fmla="*/ 2147483647 h 474"/>
                <a:gd name="T42" fmla="*/ 2147483647 w 481"/>
                <a:gd name="T43" fmla="*/ 2147483647 h 474"/>
                <a:gd name="T44" fmla="*/ 2147483647 w 481"/>
                <a:gd name="T45" fmla="*/ 2147483647 h 474"/>
                <a:gd name="T46" fmla="*/ 2147483647 w 481"/>
                <a:gd name="T47" fmla="*/ 2147483647 h 474"/>
                <a:gd name="T48" fmla="*/ 2147483647 w 481"/>
                <a:gd name="T49" fmla="*/ 2147483647 h 474"/>
                <a:gd name="T50" fmla="*/ 2147483647 w 481"/>
                <a:gd name="T51" fmla="*/ 2147483647 h 474"/>
                <a:gd name="T52" fmla="*/ 2147483647 w 481"/>
                <a:gd name="T53" fmla="*/ 2147483647 h 474"/>
                <a:gd name="T54" fmla="*/ 2147483647 w 481"/>
                <a:gd name="T55" fmla="*/ 2147483647 h 474"/>
                <a:gd name="T56" fmla="*/ 2147483647 w 481"/>
                <a:gd name="T57" fmla="*/ 2147483647 h 474"/>
                <a:gd name="T58" fmla="*/ 2147483647 w 481"/>
                <a:gd name="T59" fmla="*/ 2147483647 h 474"/>
                <a:gd name="T60" fmla="*/ 2147483647 w 481"/>
                <a:gd name="T61" fmla="*/ 2147483647 h 474"/>
                <a:gd name="T62" fmla="*/ 2147483647 w 481"/>
                <a:gd name="T63" fmla="*/ 2147483647 h 474"/>
                <a:gd name="T64" fmla="*/ 2147483647 w 481"/>
                <a:gd name="T65" fmla="*/ 2147483647 h 474"/>
                <a:gd name="T66" fmla="*/ 2147483647 w 481"/>
                <a:gd name="T67" fmla="*/ 2147483647 h 474"/>
                <a:gd name="T68" fmla="*/ 2147483647 w 481"/>
                <a:gd name="T69" fmla="*/ 2147483647 h 474"/>
                <a:gd name="T70" fmla="*/ 2147483647 w 481"/>
                <a:gd name="T71" fmla="*/ 2147483647 h 474"/>
                <a:gd name="T72" fmla="*/ 2147483647 w 481"/>
                <a:gd name="T73" fmla="*/ 2147483647 h 474"/>
                <a:gd name="T74" fmla="*/ 2147483647 w 481"/>
                <a:gd name="T75" fmla="*/ 2147483647 h 474"/>
                <a:gd name="T76" fmla="*/ 2147483647 w 481"/>
                <a:gd name="T77" fmla="*/ 2147483647 h 474"/>
                <a:gd name="T78" fmla="*/ 2147483647 w 481"/>
                <a:gd name="T79" fmla="*/ 2147483647 h 4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1"/>
                <a:gd name="T121" fmla="*/ 0 h 474"/>
                <a:gd name="T122" fmla="*/ 481 w 481"/>
                <a:gd name="T123" fmla="*/ 474 h 47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1" h="474">
                  <a:moveTo>
                    <a:pt x="412" y="25"/>
                  </a:moveTo>
                  <a:lnTo>
                    <a:pt x="410" y="17"/>
                  </a:lnTo>
                  <a:lnTo>
                    <a:pt x="386" y="30"/>
                  </a:lnTo>
                  <a:lnTo>
                    <a:pt x="368" y="32"/>
                  </a:lnTo>
                  <a:lnTo>
                    <a:pt x="364" y="27"/>
                  </a:lnTo>
                  <a:lnTo>
                    <a:pt x="342" y="31"/>
                  </a:lnTo>
                  <a:lnTo>
                    <a:pt x="335" y="23"/>
                  </a:lnTo>
                  <a:lnTo>
                    <a:pt x="327" y="20"/>
                  </a:lnTo>
                  <a:lnTo>
                    <a:pt x="327" y="21"/>
                  </a:lnTo>
                  <a:lnTo>
                    <a:pt x="315" y="4"/>
                  </a:lnTo>
                  <a:lnTo>
                    <a:pt x="305" y="10"/>
                  </a:lnTo>
                  <a:lnTo>
                    <a:pt x="284" y="9"/>
                  </a:lnTo>
                  <a:lnTo>
                    <a:pt x="278" y="6"/>
                  </a:lnTo>
                  <a:lnTo>
                    <a:pt x="255" y="17"/>
                  </a:lnTo>
                  <a:lnTo>
                    <a:pt x="263" y="8"/>
                  </a:lnTo>
                  <a:lnTo>
                    <a:pt x="245" y="11"/>
                  </a:lnTo>
                  <a:lnTo>
                    <a:pt x="188" y="41"/>
                  </a:lnTo>
                  <a:lnTo>
                    <a:pt x="98" y="10"/>
                  </a:lnTo>
                  <a:lnTo>
                    <a:pt x="54" y="2"/>
                  </a:lnTo>
                  <a:lnTo>
                    <a:pt x="28" y="6"/>
                  </a:lnTo>
                  <a:lnTo>
                    <a:pt x="21" y="0"/>
                  </a:lnTo>
                  <a:lnTo>
                    <a:pt x="15" y="1"/>
                  </a:lnTo>
                  <a:lnTo>
                    <a:pt x="7" y="16"/>
                  </a:lnTo>
                  <a:lnTo>
                    <a:pt x="11" y="66"/>
                  </a:lnTo>
                  <a:lnTo>
                    <a:pt x="0" y="79"/>
                  </a:lnTo>
                  <a:lnTo>
                    <a:pt x="2" y="95"/>
                  </a:lnTo>
                  <a:lnTo>
                    <a:pt x="9" y="106"/>
                  </a:lnTo>
                  <a:lnTo>
                    <a:pt x="7" y="116"/>
                  </a:lnTo>
                  <a:lnTo>
                    <a:pt x="20" y="129"/>
                  </a:lnTo>
                  <a:lnTo>
                    <a:pt x="20" y="172"/>
                  </a:lnTo>
                  <a:lnTo>
                    <a:pt x="20" y="214"/>
                  </a:lnTo>
                  <a:lnTo>
                    <a:pt x="20" y="257"/>
                  </a:lnTo>
                  <a:lnTo>
                    <a:pt x="20" y="299"/>
                  </a:lnTo>
                  <a:lnTo>
                    <a:pt x="20" y="340"/>
                  </a:lnTo>
                  <a:lnTo>
                    <a:pt x="20" y="382"/>
                  </a:lnTo>
                  <a:lnTo>
                    <a:pt x="21" y="422"/>
                  </a:lnTo>
                  <a:lnTo>
                    <a:pt x="21" y="463"/>
                  </a:lnTo>
                  <a:lnTo>
                    <a:pt x="54" y="463"/>
                  </a:lnTo>
                  <a:lnTo>
                    <a:pt x="87" y="463"/>
                  </a:lnTo>
                  <a:lnTo>
                    <a:pt x="121" y="463"/>
                  </a:lnTo>
                  <a:lnTo>
                    <a:pt x="154" y="463"/>
                  </a:lnTo>
                  <a:lnTo>
                    <a:pt x="188" y="463"/>
                  </a:lnTo>
                  <a:lnTo>
                    <a:pt x="220" y="463"/>
                  </a:lnTo>
                  <a:lnTo>
                    <a:pt x="254" y="463"/>
                  </a:lnTo>
                  <a:lnTo>
                    <a:pt x="287" y="463"/>
                  </a:lnTo>
                  <a:lnTo>
                    <a:pt x="294" y="454"/>
                  </a:lnTo>
                  <a:lnTo>
                    <a:pt x="300" y="455"/>
                  </a:lnTo>
                  <a:lnTo>
                    <a:pt x="296" y="463"/>
                  </a:lnTo>
                  <a:lnTo>
                    <a:pt x="333" y="464"/>
                  </a:lnTo>
                  <a:lnTo>
                    <a:pt x="372" y="464"/>
                  </a:lnTo>
                  <a:lnTo>
                    <a:pt x="386" y="474"/>
                  </a:lnTo>
                  <a:lnTo>
                    <a:pt x="408" y="473"/>
                  </a:lnTo>
                  <a:lnTo>
                    <a:pt x="413" y="454"/>
                  </a:lnTo>
                  <a:lnTo>
                    <a:pt x="437" y="448"/>
                  </a:lnTo>
                  <a:lnTo>
                    <a:pt x="447" y="424"/>
                  </a:lnTo>
                  <a:lnTo>
                    <a:pt x="458" y="427"/>
                  </a:lnTo>
                  <a:lnTo>
                    <a:pt x="474" y="412"/>
                  </a:lnTo>
                  <a:lnTo>
                    <a:pt x="468" y="376"/>
                  </a:lnTo>
                  <a:lnTo>
                    <a:pt x="481" y="374"/>
                  </a:lnTo>
                  <a:lnTo>
                    <a:pt x="456" y="348"/>
                  </a:lnTo>
                  <a:lnTo>
                    <a:pt x="407" y="254"/>
                  </a:lnTo>
                  <a:lnTo>
                    <a:pt x="397" y="220"/>
                  </a:lnTo>
                  <a:lnTo>
                    <a:pt x="385" y="201"/>
                  </a:lnTo>
                  <a:lnTo>
                    <a:pt x="384" y="183"/>
                  </a:lnTo>
                  <a:lnTo>
                    <a:pt x="361" y="161"/>
                  </a:lnTo>
                  <a:lnTo>
                    <a:pt x="349" y="138"/>
                  </a:lnTo>
                  <a:lnTo>
                    <a:pt x="346" y="118"/>
                  </a:lnTo>
                  <a:lnTo>
                    <a:pt x="336" y="103"/>
                  </a:lnTo>
                  <a:lnTo>
                    <a:pt x="343" y="83"/>
                  </a:lnTo>
                  <a:lnTo>
                    <a:pt x="351" y="107"/>
                  </a:lnTo>
                  <a:lnTo>
                    <a:pt x="372" y="138"/>
                  </a:lnTo>
                  <a:lnTo>
                    <a:pt x="375" y="153"/>
                  </a:lnTo>
                  <a:lnTo>
                    <a:pt x="408" y="190"/>
                  </a:lnTo>
                  <a:lnTo>
                    <a:pt x="424" y="184"/>
                  </a:lnTo>
                  <a:lnTo>
                    <a:pt x="425" y="167"/>
                  </a:lnTo>
                  <a:lnTo>
                    <a:pt x="443" y="114"/>
                  </a:lnTo>
                  <a:lnTo>
                    <a:pt x="434" y="91"/>
                  </a:lnTo>
                  <a:lnTo>
                    <a:pt x="427" y="66"/>
                  </a:lnTo>
                  <a:lnTo>
                    <a:pt x="418" y="41"/>
                  </a:lnTo>
                  <a:lnTo>
                    <a:pt x="412" y="25"/>
                  </a:lnTo>
                  <a:close/>
                </a:path>
              </a:pathLst>
            </a:custGeom>
            <a:grpFill/>
            <a:ln w="6350">
              <a:solidFill>
                <a:schemeClr val="tx2"/>
              </a:solidFill>
              <a:round/>
              <a:headEnd/>
              <a:tailEnd/>
            </a:ln>
          </p:spPr>
          <p:txBody>
            <a:bodyPr/>
            <a:lstStyle/>
            <a:p>
              <a:endParaRPr lang="en-US"/>
            </a:p>
          </p:txBody>
        </p:sp>
        <p:sp>
          <p:nvSpPr>
            <p:cNvPr id="545" name="Freeform 1384"/>
            <p:cNvSpPr>
              <a:spLocks/>
            </p:cNvSpPr>
            <p:nvPr/>
          </p:nvSpPr>
          <p:spPr bwMode="auto">
            <a:xfrm>
              <a:off x="4877751" y="4272391"/>
              <a:ext cx="408104" cy="397483"/>
            </a:xfrm>
            <a:custGeom>
              <a:avLst/>
              <a:gdLst>
                <a:gd name="T0" fmla="*/ 2147483647 w 820"/>
                <a:gd name="T1" fmla="*/ 2147483647 h 798"/>
                <a:gd name="T2" fmla="*/ 2147483647 w 820"/>
                <a:gd name="T3" fmla="*/ 2147483647 h 798"/>
                <a:gd name="T4" fmla="*/ 2147483647 w 820"/>
                <a:gd name="T5" fmla="*/ 2147483647 h 798"/>
                <a:gd name="T6" fmla="*/ 2147483647 w 820"/>
                <a:gd name="T7" fmla="*/ 2147483647 h 798"/>
                <a:gd name="T8" fmla="*/ 2147483647 w 820"/>
                <a:gd name="T9" fmla="*/ 2147483647 h 798"/>
                <a:gd name="T10" fmla="*/ 2147483647 w 820"/>
                <a:gd name="T11" fmla="*/ 2147483647 h 798"/>
                <a:gd name="T12" fmla="*/ 2147483647 w 820"/>
                <a:gd name="T13" fmla="*/ 2147483647 h 798"/>
                <a:gd name="T14" fmla="*/ 2147483647 w 820"/>
                <a:gd name="T15" fmla="*/ 2147483647 h 798"/>
                <a:gd name="T16" fmla="*/ 2147483647 w 820"/>
                <a:gd name="T17" fmla="*/ 0 h 798"/>
                <a:gd name="T18" fmla="*/ 2147483647 w 820"/>
                <a:gd name="T19" fmla="*/ 2147483647 h 798"/>
                <a:gd name="T20" fmla="*/ 2147483647 w 820"/>
                <a:gd name="T21" fmla="*/ 2147483647 h 798"/>
                <a:gd name="T22" fmla="*/ 2147483647 w 820"/>
                <a:gd name="T23" fmla="*/ 2147483647 h 798"/>
                <a:gd name="T24" fmla="*/ 2147483647 w 820"/>
                <a:gd name="T25" fmla="*/ 2147483647 h 798"/>
                <a:gd name="T26" fmla="*/ 2147483647 w 820"/>
                <a:gd name="T27" fmla="*/ 2147483647 h 798"/>
                <a:gd name="T28" fmla="*/ 2147483647 w 820"/>
                <a:gd name="T29" fmla="*/ 2147483647 h 798"/>
                <a:gd name="T30" fmla="*/ 2147483647 w 820"/>
                <a:gd name="T31" fmla="*/ 2147483647 h 798"/>
                <a:gd name="T32" fmla="*/ 2147483647 w 820"/>
                <a:gd name="T33" fmla="*/ 2147483647 h 798"/>
                <a:gd name="T34" fmla="*/ 2147483647 w 820"/>
                <a:gd name="T35" fmla="*/ 2147483647 h 798"/>
                <a:gd name="T36" fmla="*/ 2147483647 w 820"/>
                <a:gd name="T37" fmla="*/ 2147483647 h 798"/>
                <a:gd name="T38" fmla="*/ 2147483647 w 820"/>
                <a:gd name="T39" fmla="*/ 2147483647 h 798"/>
                <a:gd name="T40" fmla="*/ 2147483647 w 820"/>
                <a:gd name="T41" fmla="*/ 2147483647 h 798"/>
                <a:gd name="T42" fmla="*/ 2147483647 w 820"/>
                <a:gd name="T43" fmla="*/ 2147483647 h 798"/>
                <a:gd name="T44" fmla="*/ 2147483647 w 820"/>
                <a:gd name="T45" fmla="*/ 2147483647 h 798"/>
                <a:gd name="T46" fmla="*/ 2147483647 w 820"/>
                <a:gd name="T47" fmla="*/ 2147483647 h 798"/>
                <a:gd name="T48" fmla="*/ 2147483647 w 820"/>
                <a:gd name="T49" fmla="*/ 2147483647 h 798"/>
                <a:gd name="T50" fmla="*/ 2147483647 w 820"/>
                <a:gd name="T51" fmla="*/ 2147483647 h 798"/>
                <a:gd name="T52" fmla="*/ 2147483647 w 820"/>
                <a:gd name="T53" fmla="*/ 2147483647 h 798"/>
                <a:gd name="T54" fmla="*/ 0 w 820"/>
                <a:gd name="T55" fmla="*/ 2147483647 h 798"/>
                <a:gd name="T56" fmla="*/ 2147483647 w 820"/>
                <a:gd name="T57" fmla="*/ 2147483647 h 798"/>
                <a:gd name="T58" fmla="*/ 2147483647 w 820"/>
                <a:gd name="T59" fmla="*/ 2147483647 h 798"/>
                <a:gd name="T60" fmla="*/ 2147483647 w 820"/>
                <a:gd name="T61" fmla="*/ 2147483647 h 798"/>
                <a:gd name="T62" fmla="*/ 2147483647 w 820"/>
                <a:gd name="T63" fmla="*/ 2147483647 h 798"/>
                <a:gd name="T64" fmla="*/ 2147483647 w 820"/>
                <a:gd name="T65" fmla="*/ 2147483647 h 798"/>
                <a:gd name="T66" fmla="*/ 2147483647 w 820"/>
                <a:gd name="T67" fmla="*/ 2147483647 h 798"/>
                <a:gd name="T68" fmla="*/ 2147483647 w 820"/>
                <a:gd name="T69" fmla="*/ 2147483647 h 798"/>
                <a:gd name="T70" fmla="*/ 2147483647 w 820"/>
                <a:gd name="T71" fmla="*/ 2147483647 h 798"/>
                <a:gd name="T72" fmla="*/ 2147483647 w 820"/>
                <a:gd name="T73" fmla="*/ 2147483647 h 798"/>
                <a:gd name="T74" fmla="*/ 2147483647 w 820"/>
                <a:gd name="T75" fmla="*/ 2147483647 h 798"/>
                <a:gd name="T76" fmla="*/ 2147483647 w 820"/>
                <a:gd name="T77" fmla="*/ 2147483647 h 798"/>
                <a:gd name="T78" fmla="*/ 2147483647 w 820"/>
                <a:gd name="T79" fmla="*/ 2147483647 h 798"/>
                <a:gd name="T80" fmla="*/ 2147483647 w 820"/>
                <a:gd name="T81" fmla="*/ 2147483647 h 798"/>
                <a:gd name="T82" fmla="*/ 2147483647 w 820"/>
                <a:gd name="T83" fmla="*/ 2147483647 h 798"/>
                <a:gd name="T84" fmla="*/ 2147483647 w 820"/>
                <a:gd name="T85" fmla="*/ 2147483647 h 798"/>
                <a:gd name="T86" fmla="*/ 2147483647 w 820"/>
                <a:gd name="T87" fmla="*/ 2147483647 h 798"/>
                <a:gd name="T88" fmla="*/ 2147483647 w 820"/>
                <a:gd name="T89" fmla="*/ 2147483647 h 798"/>
                <a:gd name="T90" fmla="*/ 2147483647 w 820"/>
                <a:gd name="T91" fmla="*/ 2147483647 h 798"/>
                <a:gd name="T92" fmla="*/ 2147483647 w 820"/>
                <a:gd name="T93" fmla="*/ 2147483647 h 798"/>
                <a:gd name="T94" fmla="*/ 2147483647 w 820"/>
                <a:gd name="T95" fmla="*/ 2147483647 h 798"/>
                <a:gd name="T96" fmla="*/ 2147483647 w 820"/>
                <a:gd name="T97" fmla="*/ 2147483647 h 798"/>
                <a:gd name="T98" fmla="*/ 2147483647 w 820"/>
                <a:gd name="T99" fmla="*/ 2147483647 h 798"/>
                <a:gd name="T100" fmla="*/ 2147483647 w 820"/>
                <a:gd name="T101" fmla="*/ 2147483647 h 798"/>
                <a:gd name="T102" fmla="*/ 2147483647 w 820"/>
                <a:gd name="T103" fmla="*/ 2147483647 h 798"/>
                <a:gd name="T104" fmla="*/ 2147483647 w 820"/>
                <a:gd name="T105" fmla="*/ 2147483647 h 798"/>
                <a:gd name="T106" fmla="*/ 2147483647 w 820"/>
                <a:gd name="T107" fmla="*/ 2147483647 h 798"/>
                <a:gd name="T108" fmla="*/ 2147483647 w 820"/>
                <a:gd name="T109" fmla="*/ 2147483647 h 798"/>
                <a:gd name="T110" fmla="*/ 2147483647 w 820"/>
                <a:gd name="T111" fmla="*/ 2147483647 h 798"/>
                <a:gd name="T112" fmla="*/ 2147483647 w 820"/>
                <a:gd name="T113" fmla="*/ 2147483647 h 798"/>
                <a:gd name="T114" fmla="*/ 2147483647 w 820"/>
                <a:gd name="T115" fmla="*/ 2147483647 h 798"/>
                <a:gd name="T116" fmla="*/ 2147483647 w 820"/>
                <a:gd name="T117" fmla="*/ 2147483647 h 798"/>
                <a:gd name="T118" fmla="*/ 2147483647 w 820"/>
                <a:gd name="T119" fmla="*/ 2147483647 h 798"/>
                <a:gd name="T120" fmla="*/ 2147483647 w 820"/>
                <a:gd name="T121" fmla="*/ 2147483647 h 798"/>
                <a:gd name="T122" fmla="*/ 2147483647 w 820"/>
                <a:gd name="T123" fmla="*/ 2147483647 h 798"/>
                <a:gd name="T124" fmla="*/ 2147483647 w 820"/>
                <a:gd name="T125" fmla="*/ 2147483647 h 7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20"/>
                <a:gd name="T190" fmla="*/ 0 h 798"/>
                <a:gd name="T191" fmla="*/ 820 w 820"/>
                <a:gd name="T192" fmla="*/ 798 h 7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20" h="798">
                  <a:moveTo>
                    <a:pt x="786" y="173"/>
                  </a:moveTo>
                  <a:lnTo>
                    <a:pt x="786" y="161"/>
                  </a:lnTo>
                  <a:lnTo>
                    <a:pt x="820" y="131"/>
                  </a:lnTo>
                  <a:lnTo>
                    <a:pt x="805" y="121"/>
                  </a:lnTo>
                  <a:lnTo>
                    <a:pt x="799" y="111"/>
                  </a:lnTo>
                  <a:lnTo>
                    <a:pt x="803" y="70"/>
                  </a:lnTo>
                  <a:lnTo>
                    <a:pt x="799" y="70"/>
                  </a:lnTo>
                  <a:lnTo>
                    <a:pt x="748" y="28"/>
                  </a:lnTo>
                  <a:lnTo>
                    <a:pt x="738" y="36"/>
                  </a:lnTo>
                  <a:lnTo>
                    <a:pt x="709" y="32"/>
                  </a:lnTo>
                  <a:lnTo>
                    <a:pt x="699" y="41"/>
                  </a:lnTo>
                  <a:lnTo>
                    <a:pt x="680" y="34"/>
                  </a:lnTo>
                  <a:lnTo>
                    <a:pt x="658" y="4"/>
                  </a:lnTo>
                  <a:lnTo>
                    <a:pt x="636" y="4"/>
                  </a:lnTo>
                  <a:lnTo>
                    <a:pt x="630" y="13"/>
                  </a:lnTo>
                  <a:lnTo>
                    <a:pt x="619" y="7"/>
                  </a:lnTo>
                  <a:lnTo>
                    <a:pt x="615" y="13"/>
                  </a:lnTo>
                  <a:lnTo>
                    <a:pt x="604" y="0"/>
                  </a:lnTo>
                  <a:lnTo>
                    <a:pt x="574" y="7"/>
                  </a:lnTo>
                  <a:lnTo>
                    <a:pt x="558" y="3"/>
                  </a:lnTo>
                  <a:lnTo>
                    <a:pt x="556" y="13"/>
                  </a:lnTo>
                  <a:lnTo>
                    <a:pt x="540" y="15"/>
                  </a:lnTo>
                  <a:lnTo>
                    <a:pt x="530" y="8"/>
                  </a:lnTo>
                  <a:lnTo>
                    <a:pt x="478" y="26"/>
                  </a:lnTo>
                  <a:lnTo>
                    <a:pt x="457" y="19"/>
                  </a:lnTo>
                  <a:lnTo>
                    <a:pt x="446" y="26"/>
                  </a:lnTo>
                  <a:lnTo>
                    <a:pt x="445" y="39"/>
                  </a:lnTo>
                  <a:lnTo>
                    <a:pt x="439" y="41"/>
                  </a:lnTo>
                  <a:lnTo>
                    <a:pt x="399" y="41"/>
                  </a:lnTo>
                  <a:lnTo>
                    <a:pt x="369" y="29"/>
                  </a:lnTo>
                  <a:lnTo>
                    <a:pt x="363" y="35"/>
                  </a:lnTo>
                  <a:lnTo>
                    <a:pt x="357" y="34"/>
                  </a:lnTo>
                  <a:lnTo>
                    <a:pt x="333" y="6"/>
                  </a:lnTo>
                  <a:lnTo>
                    <a:pt x="311" y="4"/>
                  </a:lnTo>
                  <a:lnTo>
                    <a:pt x="284" y="33"/>
                  </a:lnTo>
                  <a:lnTo>
                    <a:pt x="282" y="65"/>
                  </a:lnTo>
                  <a:lnTo>
                    <a:pt x="273" y="67"/>
                  </a:lnTo>
                  <a:lnTo>
                    <a:pt x="270" y="96"/>
                  </a:lnTo>
                  <a:lnTo>
                    <a:pt x="247" y="143"/>
                  </a:lnTo>
                  <a:lnTo>
                    <a:pt x="233" y="253"/>
                  </a:lnTo>
                  <a:lnTo>
                    <a:pt x="193" y="287"/>
                  </a:lnTo>
                  <a:lnTo>
                    <a:pt x="175" y="315"/>
                  </a:lnTo>
                  <a:lnTo>
                    <a:pt x="168" y="331"/>
                  </a:lnTo>
                  <a:lnTo>
                    <a:pt x="166" y="364"/>
                  </a:lnTo>
                  <a:lnTo>
                    <a:pt x="153" y="392"/>
                  </a:lnTo>
                  <a:lnTo>
                    <a:pt x="113" y="427"/>
                  </a:lnTo>
                  <a:lnTo>
                    <a:pt x="96" y="433"/>
                  </a:lnTo>
                  <a:lnTo>
                    <a:pt x="87" y="431"/>
                  </a:lnTo>
                  <a:lnTo>
                    <a:pt x="84" y="412"/>
                  </a:lnTo>
                  <a:lnTo>
                    <a:pt x="64" y="416"/>
                  </a:lnTo>
                  <a:lnTo>
                    <a:pt x="53" y="432"/>
                  </a:lnTo>
                  <a:lnTo>
                    <a:pt x="43" y="434"/>
                  </a:lnTo>
                  <a:lnTo>
                    <a:pt x="29" y="427"/>
                  </a:lnTo>
                  <a:lnTo>
                    <a:pt x="13" y="440"/>
                  </a:lnTo>
                  <a:lnTo>
                    <a:pt x="7" y="473"/>
                  </a:lnTo>
                  <a:lnTo>
                    <a:pt x="0" y="476"/>
                  </a:lnTo>
                  <a:lnTo>
                    <a:pt x="1" y="494"/>
                  </a:lnTo>
                  <a:lnTo>
                    <a:pt x="41" y="476"/>
                  </a:lnTo>
                  <a:lnTo>
                    <a:pt x="74" y="476"/>
                  </a:lnTo>
                  <a:lnTo>
                    <a:pt x="105" y="475"/>
                  </a:lnTo>
                  <a:lnTo>
                    <a:pt x="138" y="475"/>
                  </a:lnTo>
                  <a:lnTo>
                    <a:pt x="169" y="474"/>
                  </a:lnTo>
                  <a:lnTo>
                    <a:pt x="185" y="487"/>
                  </a:lnTo>
                  <a:lnTo>
                    <a:pt x="199" y="539"/>
                  </a:lnTo>
                  <a:lnTo>
                    <a:pt x="225" y="570"/>
                  </a:lnTo>
                  <a:lnTo>
                    <a:pt x="235" y="574"/>
                  </a:lnTo>
                  <a:lnTo>
                    <a:pt x="273" y="567"/>
                  </a:lnTo>
                  <a:lnTo>
                    <a:pt x="302" y="568"/>
                  </a:lnTo>
                  <a:lnTo>
                    <a:pt x="312" y="525"/>
                  </a:lnTo>
                  <a:lnTo>
                    <a:pt x="366" y="521"/>
                  </a:lnTo>
                  <a:lnTo>
                    <a:pt x="363" y="538"/>
                  </a:lnTo>
                  <a:lnTo>
                    <a:pt x="403" y="538"/>
                  </a:lnTo>
                  <a:lnTo>
                    <a:pt x="408" y="547"/>
                  </a:lnTo>
                  <a:lnTo>
                    <a:pt x="413" y="608"/>
                  </a:lnTo>
                  <a:lnTo>
                    <a:pt x="410" y="631"/>
                  </a:lnTo>
                  <a:lnTo>
                    <a:pt x="422" y="679"/>
                  </a:lnTo>
                  <a:lnTo>
                    <a:pt x="417" y="703"/>
                  </a:lnTo>
                  <a:lnTo>
                    <a:pt x="431" y="712"/>
                  </a:lnTo>
                  <a:lnTo>
                    <a:pt x="441" y="698"/>
                  </a:lnTo>
                  <a:lnTo>
                    <a:pt x="467" y="697"/>
                  </a:lnTo>
                  <a:lnTo>
                    <a:pt x="498" y="696"/>
                  </a:lnTo>
                  <a:lnTo>
                    <a:pt x="506" y="691"/>
                  </a:lnTo>
                  <a:lnTo>
                    <a:pt x="518" y="689"/>
                  </a:lnTo>
                  <a:lnTo>
                    <a:pt x="527" y="712"/>
                  </a:lnTo>
                  <a:lnTo>
                    <a:pt x="555" y="702"/>
                  </a:lnTo>
                  <a:lnTo>
                    <a:pt x="567" y="721"/>
                  </a:lnTo>
                  <a:lnTo>
                    <a:pt x="600" y="736"/>
                  </a:lnTo>
                  <a:lnTo>
                    <a:pt x="638" y="730"/>
                  </a:lnTo>
                  <a:lnTo>
                    <a:pt x="653" y="745"/>
                  </a:lnTo>
                  <a:lnTo>
                    <a:pt x="681" y="753"/>
                  </a:lnTo>
                  <a:lnTo>
                    <a:pt x="694" y="773"/>
                  </a:lnTo>
                  <a:lnTo>
                    <a:pt x="715" y="790"/>
                  </a:lnTo>
                  <a:lnTo>
                    <a:pt x="730" y="793"/>
                  </a:lnTo>
                  <a:lnTo>
                    <a:pt x="740" y="791"/>
                  </a:lnTo>
                  <a:lnTo>
                    <a:pt x="751" y="798"/>
                  </a:lnTo>
                  <a:lnTo>
                    <a:pt x="749" y="751"/>
                  </a:lnTo>
                  <a:lnTo>
                    <a:pt x="719" y="752"/>
                  </a:lnTo>
                  <a:lnTo>
                    <a:pt x="701" y="732"/>
                  </a:lnTo>
                  <a:lnTo>
                    <a:pt x="716" y="673"/>
                  </a:lnTo>
                  <a:lnTo>
                    <a:pt x="717" y="654"/>
                  </a:lnTo>
                  <a:lnTo>
                    <a:pt x="714" y="624"/>
                  </a:lnTo>
                  <a:lnTo>
                    <a:pt x="714" y="613"/>
                  </a:lnTo>
                  <a:lnTo>
                    <a:pt x="721" y="606"/>
                  </a:lnTo>
                  <a:lnTo>
                    <a:pt x="723" y="595"/>
                  </a:lnTo>
                  <a:lnTo>
                    <a:pt x="728" y="590"/>
                  </a:lnTo>
                  <a:lnTo>
                    <a:pt x="786" y="577"/>
                  </a:lnTo>
                  <a:lnTo>
                    <a:pt x="781" y="549"/>
                  </a:lnTo>
                  <a:lnTo>
                    <a:pt x="752" y="527"/>
                  </a:lnTo>
                  <a:lnTo>
                    <a:pt x="737" y="501"/>
                  </a:lnTo>
                  <a:lnTo>
                    <a:pt x="736" y="469"/>
                  </a:lnTo>
                  <a:lnTo>
                    <a:pt x="732" y="457"/>
                  </a:lnTo>
                  <a:lnTo>
                    <a:pt x="727" y="445"/>
                  </a:lnTo>
                  <a:lnTo>
                    <a:pt x="732" y="413"/>
                  </a:lnTo>
                  <a:lnTo>
                    <a:pt x="730" y="405"/>
                  </a:lnTo>
                  <a:lnTo>
                    <a:pt x="727" y="407"/>
                  </a:lnTo>
                  <a:lnTo>
                    <a:pt x="727" y="394"/>
                  </a:lnTo>
                  <a:lnTo>
                    <a:pt x="735" y="368"/>
                  </a:lnTo>
                  <a:lnTo>
                    <a:pt x="733" y="349"/>
                  </a:lnTo>
                  <a:lnTo>
                    <a:pt x="727" y="340"/>
                  </a:lnTo>
                  <a:lnTo>
                    <a:pt x="722" y="326"/>
                  </a:lnTo>
                  <a:lnTo>
                    <a:pt x="733" y="308"/>
                  </a:lnTo>
                  <a:lnTo>
                    <a:pt x="751" y="280"/>
                  </a:lnTo>
                  <a:lnTo>
                    <a:pt x="753" y="242"/>
                  </a:lnTo>
                  <a:lnTo>
                    <a:pt x="755" y="231"/>
                  </a:lnTo>
                  <a:lnTo>
                    <a:pt x="761" y="206"/>
                  </a:lnTo>
                  <a:lnTo>
                    <a:pt x="786" y="173"/>
                  </a:lnTo>
                  <a:close/>
                </a:path>
              </a:pathLst>
            </a:custGeom>
            <a:grpFill/>
            <a:ln w="6350">
              <a:solidFill>
                <a:schemeClr val="tx2"/>
              </a:solidFill>
              <a:round/>
              <a:headEnd/>
              <a:tailEnd/>
            </a:ln>
          </p:spPr>
          <p:txBody>
            <a:bodyPr/>
            <a:lstStyle/>
            <a:p>
              <a:endParaRPr lang="en-US"/>
            </a:p>
          </p:txBody>
        </p:sp>
        <p:sp>
          <p:nvSpPr>
            <p:cNvPr id="546" name="Freeform 1385"/>
            <p:cNvSpPr>
              <a:spLocks/>
            </p:cNvSpPr>
            <p:nvPr/>
          </p:nvSpPr>
          <p:spPr bwMode="auto">
            <a:xfrm>
              <a:off x="4965743" y="4862547"/>
              <a:ext cx="351970" cy="307974"/>
            </a:xfrm>
            <a:custGeom>
              <a:avLst/>
              <a:gdLst>
                <a:gd name="T0" fmla="*/ 2147483647 w 705"/>
                <a:gd name="T1" fmla="*/ 2147483647 h 620"/>
                <a:gd name="T2" fmla="*/ 2147483647 w 705"/>
                <a:gd name="T3" fmla="*/ 2147483647 h 620"/>
                <a:gd name="T4" fmla="*/ 2147483647 w 705"/>
                <a:gd name="T5" fmla="*/ 2147483647 h 620"/>
                <a:gd name="T6" fmla="*/ 0 w 705"/>
                <a:gd name="T7" fmla="*/ 2147483647 h 620"/>
                <a:gd name="T8" fmla="*/ 2147483647 w 705"/>
                <a:gd name="T9" fmla="*/ 2147483647 h 620"/>
                <a:gd name="T10" fmla="*/ 2147483647 w 705"/>
                <a:gd name="T11" fmla="*/ 2147483647 h 620"/>
                <a:gd name="T12" fmla="*/ 2147483647 w 705"/>
                <a:gd name="T13" fmla="*/ 2147483647 h 620"/>
                <a:gd name="T14" fmla="*/ 2147483647 w 705"/>
                <a:gd name="T15" fmla="*/ 2147483647 h 620"/>
                <a:gd name="T16" fmla="*/ 2147483647 w 705"/>
                <a:gd name="T17" fmla="*/ 2147483647 h 620"/>
                <a:gd name="T18" fmla="*/ 2147483647 w 705"/>
                <a:gd name="T19" fmla="*/ 2147483647 h 620"/>
                <a:gd name="T20" fmla="*/ 2147483647 w 705"/>
                <a:gd name="T21" fmla="*/ 2147483647 h 620"/>
                <a:gd name="T22" fmla="*/ 2147483647 w 705"/>
                <a:gd name="T23" fmla="*/ 2147483647 h 620"/>
                <a:gd name="T24" fmla="*/ 2147483647 w 705"/>
                <a:gd name="T25" fmla="*/ 2147483647 h 620"/>
                <a:gd name="T26" fmla="*/ 2147483647 w 705"/>
                <a:gd name="T27" fmla="*/ 2147483647 h 620"/>
                <a:gd name="T28" fmla="*/ 2147483647 w 705"/>
                <a:gd name="T29" fmla="*/ 2147483647 h 620"/>
                <a:gd name="T30" fmla="*/ 2147483647 w 705"/>
                <a:gd name="T31" fmla="*/ 2147483647 h 620"/>
                <a:gd name="T32" fmla="*/ 2147483647 w 705"/>
                <a:gd name="T33" fmla="*/ 2147483647 h 620"/>
                <a:gd name="T34" fmla="*/ 2147483647 w 705"/>
                <a:gd name="T35" fmla="*/ 2147483647 h 620"/>
                <a:gd name="T36" fmla="*/ 2147483647 w 705"/>
                <a:gd name="T37" fmla="*/ 2147483647 h 620"/>
                <a:gd name="T38" fmla="*/ 2147483647 w 705"/>
                <a:gd name="T39" fmla="*/ 2147483647 h 620"/>
                <a:gd name="T40" fmla="*/ 2147483647 w 705"/>
                <a:gd name="T41" fmla="*/ 2147483647 h 620"/>
                <a:gd name="T42" fmla="*/ 2147483647 w 705"/>
                <a:gd name="T43" fmla="*/ 2147483647 h 620"/>
                <a:gd name="T44" fmla="*/ 2147483647 w 705"/>
                <a:gd name="T45" fmla="*/ 2147483647 h 620"/>
                <a:gd name="T46" fmla="*/ 2147483647 w 705"/>
                <a:gd name="T47" fmla="*/ 2147483647 h 620"/>
                <a:gd name="T48" fmla="*/ 2147483647 w 705"/>
                <a:gd name="T49" fmla="*/ 2147483647 h 620"/>
                <a:gd name="T50" fmla="*/ 2147483647 w 705"/>
                <a:gd name="T51" fmla="*/ 2147483647 h 620"/>
                <a:gd name="T52" fmla="*/ 2147483647 w 705"/>
                <a:gd name="T53" fmla="*/ 0 h 620"/>
                <a:gd name="T54" fmla="*/ 2147483647 w 705"/>
                <a:gd name="T55" fmla="*/ 2147483647 h 620"/>
                <a:gd name="T56" fmla="*/ 2147483647 w 705"/>
                <a:gd name="T57" fmla="*/ 2147483647 h 620"/>
                <a:gd name="T58" fmla="*/ 2147483647 w 705"/>
                <a:gd name="T59" fmla="*/ 2147483647 h 620"/>
                <a:gd name="T60" fmla="*/ 2147483647 w 705"/>
                <a:gd name="T61" fmla="*/ 2147483647 h 620"/>
                <a:gd name="T62" fmla="*/ 2147483647 w 705"/>
                <a:gd name="T63" fmla="*/ 2147483647 h 620"/>
                <a:gd name="T64" fmla="*/ 2147483647 w 705"/>
                <a:gd name="T65" fmla="*/ 2147483647 h 620"/>
                <a:gd name="T66" fmla="*/ 2147483647 w 705"/>
                <a:gd name="T67" fmla="*/ 2147483647 h 620"/>
                <a:gd name="T68" fmla="*/ 2147483647 w 705"/>
                <a:gd name="T69" fmla="*/ 2147483647 h 620"/>
                <a:gd name="T70" fmla="*/ 2147483647 w 705"/>
                <a:gd name="T71" fmla="*/ 2147483647 h 620"/>
                <a:gd name="T72" fmla="*/ 2147483647 w 705"/>
                <a:gd name="T73" fmla="*/ 2147483647 h 6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05"/>
                <a:gd name="T112" fmla="*/ 0 h 620"/>
                <a:gd name="T113" fmla="*/ 705 w 705"/>
                <a:gd name="T114" fmla="*/ 620 h 6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05" h="620">
                  <a:moveTo>
                    <a:pt x="109" y="331"/>
                  </a:moveTo>
                  <a:lnTo>
                    <a:pt x="53" y="331"/>
                  </a:lnTo>
                  <a:lnTo>
                    <a:pt x="45" y="321"/>
                  </a:lnTo>
                  <a:lnTo>
                    <a:pt x="45" y="312"/>
                  </a:lnTo>
                  <a:lnTo>
                    <a:pt x="25" y="298"/>
                  </a:lnTo>
                  <a:lnTo>
                    <a:pt x="16" y="298"/>
                  </a:lnTo>
                  <a:lnTo>
                    <a:pt x="7" y="313"/>
                  </a:lnTo>
                  <a:lnTo>
                    <a:pt x="0" y="315"/>
                  </a:lnTo>
                  <a:lnTo>
                    <a:pt x="40" y="414"/>
                  </a:lnTo>
                  <a:lnTo>
                    <a:pt x="76" y="477"/>
                  </a:lnTo>
                  <a:lnTo>
                    <a:pt x="78" y="509"/>
                  </a:lnTo>
                  <a:lnTo>
                    <a:pt x="70" y="522"/>
                  </a:lnTo>
                  <a:lnTo>
                    <a:pt x="61" y="518"/>
                  </a:lnTo>
                  <a:lnTo>
                    <a:pt x="59" y="532"/>
                  </a:lnTo>
                  <a:lnTo>
                    <a:pt x="66" y="536"/>
                  </a:lnTo>
                  <a:lnTo>
                    <a:pt x="65" y="542"/>
                  </a:lnTo>
                  <a:lnTo>
                    <a:pt x="83" y="570"/>
                  </a:lnTo>
                  <a:lnTo>
                    <a:pt x="80" y="588"/>
                  </a:lnTo>
                  <a:lnTo>
                    <a:pt x="85" y="604"/>
                  </a:lnTo>
                  <a:lnTo>
                    <a:pt x="87" y="589"/>
                  </a:lnTo>
                  <a:lnTo>
                    <a:pt x="100" y="589"/>
                  </a:lnTo>
                  <a:lnTo>
                    <a:pt x="99" y="603"/>
                  </a:lnTo>
                  <a:lnTo>
                    <a:pt x="117" y="604"/>
                  </a:lnTo>
                  <a:lnTo>
                    <a:pt x="120" y="613"/>
                  </a:lnTo>
                  <a:lnTo>
                    <a:pt x="130" y="618"/>
                  </a:lnTo>
                  <a:lnTo>
                    <a:pt x="152" y="620"/>
                  </a:lnTo>
                  <a:lnTo>
                    <a:pt x="167" y="609"/>
                  </a:lnTo>
                  <a:lnTo>
                    <a:pt x="231" y="603"/>
                  </a:lnTo>
                  <a:lnTo>
                    <a:pt x="232" y="597"/>
                  </a:lnTo>
                  <a:lnTo>
                    <a:pt x="247" y="587"/>
                  </a:lnTo>
                  <a:lnTo>
                    <a:pt x="261" y="585"/>
                  </a:lnTo>
                  <a:lnTo>
                    <a:pt x="286" y="591"/>
                  </a:lnTo>
                  <a:lnTo>
                    <a:pt x="309" y="584"/>
                  </a:lnTo>
                  <a:lnTo>
                    <a:pt x="360" y="594"/>
                  </a:lnTo>
                  <a:lnTo>
                    <a:pt x="366" y="584"/>
                  </a:lnTo>
                  <a:lnTo>
                    <a:pt x="398" y="588"/>
                  </a:lnTo>
                  <a:lnTo>
                    <a:pt x="396" y="576"/>
                  </a:lnTo>
                  <a:lnTo>
                    <a:pt x="402" y="572"/>
                  </a:lnTo>
                  <a:lnTo>
                    <a:pt x="442" y="570"/>
                  </a:lnTo>
                  <a:lnTo>
                    <a:pt x="460" y="560"/>
                  </a:lnTo>
                  <a:lnTo>
                    <a:pt x="521" y="512"/>
                  </a:lnTo>
                  <a:lnTo>
                    <a:pt x="560" y="463"/>
                  </a:lnTo>
                  <a:lnTo>
                    <a:pt x="586" y="440"/>
                  </a:lnTo>
                  <a:lnTo>
                    <a:pt x="643" y="343"/>
                  </a:lnTo>
                  <a:lnTo>
                    <a:pt x="686" y="305"/>
                  </a:lnTo>
                  <a:lnTo>
                    <a:pt x="705" y="221"/>
                  </a:lnTo>
                  <a:lnTo>
                    <a:pt x="671" y="221"/>
                  </a:lnTo>
                  <a:lnTo>
                    <a:pt x="669" y="176"/>
                  </a:lnTo>
                  <a:lnTo>
                    <a:pt x="665" y="104"/>
                  </a:lnTo>
                  <a:lnTo>
                    <a:pt x="650" y="28"/>
                  </a:lnTo>
                  <a:lnTo>
                    <a:pt x="632" y="14"/>
                  </a:lnTo>
                  <a:lnTo>
                    <a:pt x="617" y="9"/>
                  </a:lnTo>
                  <a:lnTo>
                    <a:pt x="588" y="9"/>
                  </a:lnTo>
                  <a:lnTo>
                    <a:pt x="562" y="0"/>
                  </a:lnTo>
                  <a:lnTo>
                    <a:pt x="553" y="3"/>
                  </a:lnTo>
                  <a:lnTo>
                    <a:pt x="503" y="32"/>
                  </a:lnTo>
                  <a:lnTo>
                    <a:pt x="475" y="55"/>
                  </a:lnTo>
                  <a:lnTo>
                    <a:pt x="453" y="83"/>
                  </a:lnTo>
                  <a:lnTo>
                    <a:pt x="437" y="102"/>
                  </a:lnTo>
                  <a:lnTo>
                    <a:pt x="404" y="131"/>
                  </a:lnTo>
                  <a:lnTo>
                    <a:pt x="389" y="163"/>
                  </a:lnTo>
                  <a:lnTo>
                    <a:pt x="355" y="172"/>
                  </a:lnTo>
                  <a:lnTo>
                    <a:pt x="315" y="157"/>
                  </a:lnTo>
                  <a:lnTo>
                    <a:pt x="295" y="159"/>
                  </a:lnTo>
                  <a:lnTo>
                    <a:pt x="245" y="218"/>
                  </a:lnTo>
                  <a:lnTo>
                    <a:pt x="218" y="225"/>
                  </a:lnTo>
                  <a:lnTo>
                    <a:pt x="182" y="220"/>
                  </a:lnTo>
                  <a:lnTo>
                    <a:pt x="179" y="212"/>
                  </a:lnTo>
                  <a:lnTo>
                    <a:pt x="188" y="186"/>
                  </a:lnTo>
                  <a:lnTo>
                    <a:pt x="185" y="168"/>
                  </a:lnTo>
                  <a:lnTo>
                    <a:pt x="146" y="126"/>
                  </a:lnTo>
                  <a:lnTo>
                    <a:pt x="146" y="177"/>
                  </a:lnTo>
                  <a:lnTo>
                    <a:pt x="146" y="231"/>
                  </a:lnTo>
                  <a:lnTo>
                    <a:pt x="146" y="307"/>
                  </a:lnTo>
                  <a:lnTo>
                    <a:pt x="109" y="331"/>
                  </a:lnTo>
                  <a:close/>
                </a:path>
              </a:pathLst>
            </a:custGeom>
            <a:grpFill/>
            <a:ln w="6350">
              <a:solidFill>
                <a:schemeClr val="tx2"/>
              </a:solidFill>
              <a:round/>
              <a:headEnd/>
              <a:tailEnd/>
            </a:ln>
          </p:spPr>
          <p:txBody>
            <a:bodyPr/>
            <a:lstStyle/>
            <a:p>
              <a:endParaRPr lang="en-US"/>
            </a:p>
          </p:txBody>
        </p:sp>
        <p:sp>
          <p:nvSpPr>
            <p:cNvPr id="547" name="Freeform 1386"/>
            <p:cNvSpPr>
              <a:spLocks/>
            </p:cNvSpPr>
            <p:nvPr/>
          </p:nvSpPr>
          <p:spPr bwMode="auto">
            <a:xfrm>
              <a:off x="5087112" y="4559124"/>
              <a:ext cx="248807" cy="212396"/>
            </a:xfrm>
            <a:custGeom>
              <a:avLst/>
              <a:gdLst>
                <a:gd name="T0" fmla="*/ 2147483647 w 502"/>
                <a:gd name="T1" fmla="*/ 2147483647 h 433"/>
                <a:gd name="T2" fmla="*/ 2147483647 w 502"/>
                <a:gd name="T3" fmla="*/ 2147483647 h 433"/>
                <a:gd name="T4" fmla="*/ 2147483647 w 502"/>
                <a:gd name="T5" fmla="*/ 2147483647 h 433"/>
                <a:gd name="T6" fmla="*/ 2147483647 w 502"/>
                <a:gd name="T7" fmla="*/ 2147483647 h 433"/>
                <a:gd name="T8" fmla="*/ 2147483647 w 502"/>
                <a:gd name="T9" fmla="*/ 2147483647 h 433"/>
                <a:gd name="T10" fmla="*/ 2147483647 w 502"/>
                <a:gd name="T11" fmla="*/ 2147483647 h 433"/>
                <a:gd name="T12" fmla="*/ 2147483647 w 502"/>
                <a:gd name="T13" fmla="*/ 2147483647 h 433"/>
                <a:gd name="T14" fmla="*/ 2147483647 w 502"/>
                <a:gd name="T15" fmla="*/ 2147483647 h 433"/>
                <a:gd name="T16" fmla="*/ 2147483647 w 502"/>
                <a:gd name="T17" fmla="*/ 2147483647 h 433"/>
                <a:gd name="T18" fmla="*/ 2147483647 w 502"/>
                <a:gd name="T19" fmla="*/ 2147483647 h 433"/>
                <a:gd name="T20" fmla="*/ 2147483647 w 502"/>
                <a:gd name="T21" fmla="*/ 2147483647 h 433"/>
                <a:gd name="T22" fmla="*/ 2147483647 w 502"/>
                <a:gd name="T23" fmla="*/ 2147483647 h 433"/>
                <a:gd name="T24" fmla="*/ 2147483647 w 502"/>
                <a:gd name="T25" fmla="*/ 2147483647 h 433"/>
                <a:gd name="T26" fmla="*/ 2147483647 w 502"/>
                <a:gd name="T27" fmla="*/ 2147483647 h 433"/>
                <a:gd name="T28" fmla="*/ 2147483647 w 502"/>
                <a:gd name="T29" fmla="*/ 2147483647 h 433"/>
                <a:gd name="T30" fmla="*/ 2147483647 w 502"/>
                <a:gd name="T31" fmla="*/ 2147483647 h 433"/>
                <a:gd name="T32" fmla="*/ 2147483647 w 502"/>
                <a:gd name="T33" fmla="*/ 0 h 433"/>
                <a:gd name="T34" fmla="*/ 2147483647 w 502"/>
                <a:gd name="T35" fmla="*/ 2147483647 h 433"/>
                <a:gd name="T36" fmla="*/ 2147483647 w 502"/>
                <a:gd name="T37" fmla="*/ 2147483647 h 433"/>
                <a:gd name="T38" fmla="*/ 2147483647 w 502"/>
                <a:gd name="T39" fmla="*/ 2147483647 h 433"/>
                <a:gd name="T40" fmla="*/ 2147483647 w 502"/>
                <a:gd name="T41" fmla="*/ 2147483647 h 433"/>
                <a:gd name="T42" fmla="*/ 2147483647 w 502"/>
                <a:gd name="T43" fmla="*/ 2147483647 h 433"/>
                <a:gd name="T44" fmla="*/ 2147483647 w 502"/>
                <a:gd name="T45" fmla="*/ 2147483647 h 433"/>
                <a:gd name="T46" fmla="*/ 2147483647 w 502"/>
                <a:gd name="T47" fmla="*/ 2147483647 h 433"/>
                <a:gd name="T48" fmla="*/ 2147483647 w 502"/>
                <a:gd name="T49" fmla="*/ 2147483647 h 433"/>
                <a:gd name="T50" fmla="*/ 2147483647 w 502"/>
                <a:gd name="T51" fmla="*/ 2147483647 h 433"/>
                <a:gd name="T52" fmla="*/ 2147483647 w 502"/>
                <a:gd name="T53" fmla="*/ 2147483647 h 433"/>
                <a:gd name="T54" fmla="*/ 2147483647 w 502"/>
                <a:gd name="T55" fmla="*/ 2147483647 h 433"/>
                <a:gd name="T56" fmla="*/ 2147483647 w 502"/>
                <a:gd name="T57" fmla="*/ 2147483647 h 433"/>
                <a:gd name="T58" fmla="*/ 2147483647 w 502"/>
                <a:gd name="T59" fmla="*/ 2147483647 h 433"/>
                <a:gd name="T60" fmla="*/ 2147483647 w 502"/>
                <a:gd name="T61" fmla="*/ 2147483647 h 433"/>
                <a:gd name="T62" fmla="*/ 0 w 502"/>
                <a:gd name="T63" fmla="*/ 2147483647 h 433"/>
                <a:gd name="T64" fmla="*/ 0 w 502"/>
                <a:gd name="T65" fmla="*/ 2147483647 h 433"/>
                <a:gd name="T66" fmla="*/ 2147483647 w 502"/>
                <a:gd name="T67" fmla="*/ 2147483647 h 433"/>
                <a:gd name="T68" fmla="*/ 2147483647 w 502"/>
                <a:gd name="T69" fmla="*/ 2147483647 h 433"/>
                <a:gd name="T70" fmla="*/ 2147483647 w 502"/>
                <a:gd name="T71" fmla="*/ 2147483647 h 433"/>
                <a:gd name="T72" fmla="*/ 2147483647 w 502"/>
                <a:gd name="T73" fmla="*/ 2147483647 h 433"/>
                <a:gd name="T74" fmla="*/ 2147483647 w 502"/>
                <a:gd name="T75" fmla="*/ 2147483647 h 43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433"/>
                <a:gd name="T116" fmla="*/ 502 w 502"/>
                <a:gd name="T117" fmla="*/ 433 h 43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433">
                  <a:moveTo>
                    <a:pt x="213" y="425"/>
                  </a:moveTo>
                  <a:lnTo>
                    <a:pt x="243" y="380"/>
                  </a:lnTo>
                  <a:lnTo>
                    <a:pt x="254" y="378"/>
                  </a:lnTo>
                  <a:lnTo>
                    <a:pt x="268" y="366"/>
                  </a:lnTo>
                  <a:lnTo>
                    <a:pt x="285" y="366"/>
                  </a:lnTo>
                  <a:lnTo>
                    <a:pt x="286" y="359"/>
                  </a:lnTo>
                  <a:lnTo>
                    <a:pt x="288" y="340"/>
                  </a:lnTo>
                  <a:lnTo>
                    <a:pt x="329" y="322"/>
                  </a:lnTo>
                  <a:lnTo>
                    <a:pt x="343" y="326"/>
                  </a:lnTo>
                  <a:lnTo>
                    <a:pt x="355" y="323"/>
                  </a:lnTo>
                  <a:lnTo>
                    <a:pt x="344" y="299"/>
                  </a:lnTo>
                  <a:lnTo>
                    <a:pt x="377" y="288"/>
                  </a:lnTo>
                  <a:lnTo>
                    <a:pt x="411" y="277"/>
                  </a:lnTo>
                  <a:lnTo>
                    <a:pt x="448" y="264"/>
                  </a:lnTo>
                  <a:lnTo>
                    <a:pt x="480" y="253"/>
                  </a:lnTo>
                  <a:lnTo>
                    <a:pt x="471" y="251"/>
                  </a:lnTo>
                  <a:lnTo>
                    <a:pt x="462" y="238"/>
                  </a:lnTo>
                  <a:lnTo>
                    <a:pt x="473" y="218"/>
                  </a:lnTo>
                  <a:lnTo>
                    <a:pt x="476" y="195"/>
                  </a:lnTo>
                  <a:lnTo>
                    <a:pt x="494" y="186"/>
                  </a:lnTo>
                  <a:lnTo>
                    <a:pt x="486" y="174"/>
                  </a:lnTo>
                  <a:lnTo>
                    <a:pt x="486" y="145"/>
                  </a:lnTo>
                  <a:lnTo>
                    <a:pt x="491" y="117"/>
                  </a:lnTo>
                  <a:lnTo>
                    <a:pt x="502" y="107"/>
                  </a:lnTo>
                  <a:lnTo>
                    <a:pt x="487" y="70"/>
                  </a:lnTo>
                  <a:lnTo>
                    <a:pt x="482" y="64"/>
                  </a:lnTo>
                  <a:lnTo>
                    <a:pt x="475" y="64"/>
                  </a:lnTo>
                  <a:lnTo>
                    <a:pt x="473" y="52"/>
                  </a:lnTo>
                  <a:lnTo>
                    <a:pt x="422" y="33"/>
                  </a:lnTo>
                  <a:lnTo>
                    <a:pt x="405" y="17"/>
                  </a:lnTo>
                  <a:lnTo>
                    <a:pt x="393" y="16"/>
                  </a:lnTo>
                  <a:lnTo>
                    <a:pt x="387" y="26"/>
                  </a:lnTo>
                  <a:lnTo>
                    <a:pt x="370" y="16"/>
                  </a:lnTo>
                  <a:lnTo>
                    <a:pt x="367" y="0"/>
                  </a:lnTo>
                  <a:lnTo>
                    <a:pt x="309" y="13"/>
                  </a:lnTo>
                  <a:lnTo>
                    <a:pt x="304" y="18"/>
                  </a:lnTo>
                  <a:lnTo>
                    <a:pt x="302" y="29"/>
                  </a:lnTo>
                  <a:lnTo>
                    <a:pt x="295" y="36"/>
                  </a:lnTo>
                  <a:lnTo>
                    <a:pt x="295" y="47"/>
                  </a:lnTo>
                  <a:lnTo>
                    <a:pt x="298" y="77"/>
                  </a:lnTo>
                  <a:lnTo>
                    <a:pt x="297" y="96"/>
                  </a:lnTo>
                  <a:lnTo>
                    <a:pt x="282" y="155"/>
                  </a:lnTo>
                  <a:lnTo>
                    <a:pt x="300" y="175"/>
                  </a:lnTo>
                  <a:lnTo>
                    <a:pt x="330" y="174"/>
                  </a:lnTo>
                  <a:lnTo>
                    <a:pt x="332" y="221"/>
                  </a:lnTo>
                  <a:lnTo>
                    <a:pt x="321" y="214"/>
                  </a:lnTo>
                  <a:lnTo>
                    <a:pt x="311" y="216"/>
                  </a:lnTo>
                  <a:lnTo>
                    <a:pt x="296" y="213"/>
                  </a:lnTo>
                  <a:lnTo>
                    <a:pt x="275" y="196"/>
                  </a:lnTo>
                  <a:lnTo>
                    <a:pt x="262" y="176"/>
                  </a:lnTo>
                  <a:lnTo>
                    <a:pt x="234" y="168"/>
                  </a:lnTo>
                  <a:lnTo>
                    <a:pt x="219" y="153"/>
                  </a:lnTo>
                  <a:lnTo>
                    <a:pt x="181" y="159"/>
                  </a:lnTo>
                  <a:lnTo>
                    <a:pt x="148" y="144"/>
                  </a:lnTo>
                  <a:lnTo>
                    <a:pt x="136" y="125"/>
                  </a:lnTo>
                  <a:lnTo>
                    <a:pt x="108" y="135"/>
                  </a:lnTo>
                  <a:lnTo>
                    <a:pt x="99" y="112"/>
                  </a:lnTo>
                  <a:lnTo>
                    <a:pt x="87" y="114"/>
                  </a:lnTo>
                  <a:lnTo>
                    <a:pt x="90" y="120"/>
                  </a:lnTo>
                  <a:lnTo>
                    <a:pt x="83" y="200"/>
                  </a:lnTo>
                  <a:lnTo>
                    <a:pt x="94" y="208"/>
                  </a:lnTo>
                  <a:lnTo>
                    <a:pt x="61" y="208"/>
                  </a:lnTo>
                  <a:lnTo>
                    <a:pt x="31" y="208"/>
                  </a:lnTo>
                  <a:lnTo>
                    <a:pt x="0" y="208"/>
                  </a:lnTo>
                  <a:lnTo>
                    <a:pt x="0" y="239"/>
                  </a:lnTo>
                  <a:lnTo>
                    <a:pt x="0" y="273"/>
                  </a:lnTo>
                  <a:lnTo>
                    <a:pt x="1" y="316"/>
                  </a:lnTo>
                  <a:lnTo>
                    <a:pt x="1" y="367"/>
                  </a:lnTo>
                  <a:lnTo>
                    <a:pt x="51" y="413"/>
                  </a:lnTo>
                  <a:lnTo>
                    <a:pt x="91" y="403"/>
                  </a:lnTo>
                  <a:lnTo>
                    <a:pt x="120" y="408"/>
                  </a:lnTo>
                  <a:lnTo>
                    <a:pt x="135" y="423"/>
                  </a:lnTo>
                  <a:lnTo>
                    <a:pt x="166" y="429"/>
                  </a:lnTo>
                  <a:lnTo>
                    <a:pt x="189" y="426"/>
                  </a:lnTo>
                  <a:lnTo>
                    <a:pt x="197" y="433"/>
                  </a:lnTo>
                  <a:lnTo>
                    <a:pt x="208" y="430"/>
                  </a:lnTo>
                  <a:lnTo>
                    <a:pt x="213" y="425"/>
                  </a:lnTo>
                  <a:close/>
                </a:path>
              </a:pathLst>
            </a:custGeom>
            <a:grpFill/>
            <a:ln w="6350">
              <a:solidFill>
                <a:schemeClr val="tx2"/>
              </a:solidFill>
              <a:round/>
              <a:headEnd/>
              <a:tailEnd/>
            </a:ln>
          </p:spPr>
          <p:txBody>
            <a:bodyPr/>
            <a:lstStyle/>
            <a:p>
              <a:endParaRPr lang="en-US"/>
            </a:p>
          </p:txBody>
        </p:sp>
        <p:sp>
          <p:nvSpPr>
            <p:cNvPr id="548" name="Freeform 1393"/>
            <p:cNvSpPr>
              <a:spLocks/>
            </p:cNvSpPr>
            <p:nvPr/>
          </p:nvSpPr>
          <p:spPr bwMode="auto">
            <a:xfrm>
              <a:off x="5527075" y="3973519"/>
              <a:ext cx="221499" cy="141092"/>
            </a:xfrm>
            <a:custGeom>
              <a:avLst/>
              <a:gdLst>
                <a:gd name="T0" fmla="*/ 2147483647 w 448"/>
                <a:gd name="T1" fmla="*/ 0 h 283"/>
                <a:gd name="T2" fmla="*/ 2147483647 w 448"/>
                <a:gd name="T3" fmla="*/ 2147483647 h 283"/>
                <a:gd name="T4" fmla="*/ 2147483647 w 448"/>
                <a:gd name="T5" fmla="*/ 2147483647 h 283"/>
                <a:gd name="T6" fmla="*/ 2147483647 w 448"/>
                <a:gd name="T7" fmla="*/ 2147483647 h 283"/>
                <a:gd name="T8" fmla="*/ 2147483647 w 448"/>
                <a:gd name="T9" fmla="*/ 2147483647 h 283"/>
                <a:gd name="T10" fmla="*/ 2147483647 w 448"/>
                <a:gd name="T11" fmla="*/ 2147483647 h 283"/>
                <a:gd name="T12" fmla="*/ 2147483647 w 448"/>
                <a:gd name="T13" fmla="*/ 2147483647 h 283"/>
                <a:gd name="T14" fmla="*/ 2147483647 w 448"/>
                <a:gd name="T15" fmla="*/ 2147483647 h 283"/>
                <a:gd name="T16" fmla="*/ 2147483647 w 448"/>
                <a:gd name="T17" fmla="*/ 2147483647 h 283"/>
                <a:gd name="T18" fmla="*/ 2147483647 w 448"/>
                <a:gd name="T19" fmla="*/ 2147483647 h 283"/>
                <a:gd name="T20" fmla="*/ 2147483647 w 448"/>
                <a:gd name="T21" fmla="*/ 2147483647 h 283"/>
                <a:gd name="T22" fmla="*/ 2147483647 w 448"/>
                <a:gd name="T23" fmla="*/ 2147483647 h 283"/>
                <a:gd name="T24" fmla="*/ 2147483647 w 448"/>
                <a:gd name="T25" fmla="*/ 2147483647 h 283"/>
                <a:gd name="T26" fmla="*/ 2147483647 w 448"/>
                <a:gd name="T27" fmla="*/ 2147483647 h 283"/>
                <a:gd name="T28" fmla="*/ 2147483647 w 448"/>
                <a:gd name="T29" fmla="*/ 2147483647 h 283"/>
                <a:gd name="T30" fmla="*/ 2147483647 w 448"/>
                <a:gd name="T31" fmla="*/ 2147483647 h 283"/>
                <a:gd name="T32" fmla="*/ 2147483647 w 448"/>
                <a:gd name="T33" fmla="*/ 2147483647 h 283"/>
                <a:gd name="T34" fmla="*/ 2147483647 w 448"/>
                <a:gd name="T35" fmla="*/ 2147483647 h 283"/>
                <a:gd name="T36" fmla="*/ 2147483647 w 448"/>
                <a:gd name="T37" fmla="*/ 2147483647 h 283"/>
                <a:gd name="T38" fmla="*/ 0 w 448"/>
                <a:gd name="T39" fmla="*/ 2147483647 h 283"/>
                <a:gd name="T40" fmla="*/ 2147483647 w 448"/>
                <a:gd name="T41" fmla="*/ 2147483647 h 283"/>
                <a:gd name="T42" fmla="*/ 2147483647 w 448"/>
                <a:gd name="T43" fmla="*/ 2147483647 h 283"/>
                <a:gd name="T44" fmla="*/ 2147483647 w 448"/>
                <a:gd name="T45" fmla="*/ 2147483647 h 283"/>
                <a:gd name="T46" fmla="*/ 2147483647 w 448"/>
                <a:gd name="T47" fmla="*/ 2147483647 h 283"/>
                <a:gd name="T48" fmla="*/ 2147483647 w 448"/>
                <a:gd name="T49" fmla="*/ 2147483647 h 283"/>
                <a:gd name="T50" fmla="*/ 2147483647 w 448"/>
                <a:gd name="T51" fmla="*/ 2147483647 h 283"/>
                <a:gd name="T52" fmla="*/ 2147483647 w 448"/>
                <a:gd name="T53" fmla="*/ 2147483647 h 283"/>
                <a:gd name="T54" fmla="*/ 2147483647 w 448"/>
                <a:gd name="T55" fmla="*/ 2147483647 h 283"/>
                <a:gd name="T56" fmla="*/ 2147483647 w 448"/>
                <a:gd name="T57" fmla="*/ 2147483647 h 283"/>
                <a:gd name="T58" fmla="*/ 2147483647 w 448"/>
                <a:gd name="T59" fmla="*/ 2147483647 h 283"/>
                <a:gd name="T60" fmla="*/ 2147483647 w 448"/>
                <a:gd name="T61" fmla="*/ 2147483647 h 283"/>
                <a:gd name="T62" fmla="*/ 2147483647 w 448"/>
                <a:gd name="T63" fmla="*/ 2147483647 h 283"/>
                <a:gd name="T64" fmla="*/ 2147483647 w 448"/>
                <a:gd name="T65" fmla="*/ 2147483647 h 283"/>
                <a:gd name="T66" fmla="*/ 2147483647 w 448"/>
                <a:gd name="T67" fmla="*/ 2147483647 h 283"/>
                <a:gd name="T68" fmla="*/ 2147483647 w 448"/>
                <a:gd name="T69" fmla="*/ 2147483647 h 283"/>
                <a:gd name="T70" fmla="*/ 2147483647 w 448"/>
                <a:gd name="T71" fmla="*/ 2147483647 h 283"/>
                <a:gd name="T72" fmla="*/ 2147483647 w 448"/>
                <a:gd name="T73" fmla="*/ 2147483647 h 283"/>
                <a:gd name="T74" fmla="*/ 2147483647 w 448"/>
                <a:gd name="T75" fmla="*/ 2147483647 h 283"/>
                <a:gd name="T76" fmla="*/ 2147483647 w 448"/>
                <a:gd name="T77" fmla="*/ 2147483647 h 283"/>
                <a:gd name="T78" fmla="*/ 2147483647 w 448"/>
                <a:gd name="T79" fmla="*/ 2147483647 h 283"/>
                <a:gd name="T80" fmla="*/ 2147483647 w 448"/>
                <a:gd name="T81" fmla="*/ 2147483647 h 283"/>
                <a:gd name="T82" fmla="*/ 2147483647 w 448"/>
                <a:gd name="T83" fmla="*/ 2147483647 h 283"/>
                <a:gd name="T84" fmla="*/ 2147483647 w 448"/>
                <a:gd name="T85" fmla="*/ 2147483647 h 283"/>
                <a:gd name="T86" fmla="*/ 2147483647 w 448"/>
                <a:gd name="T87" fmla="*/ 0 h 2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8"/>
                <a:gd name="T133" fmla="*/ 0 h 283"/>
                <a:gd name="T134" fmla="*/ 448 w 448"/>
                <a:gd name="T135" fmla="*/ 283 h 2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8" h="283">
                  <a:moveTo>
                    <a:pt x="404" y="0"/>
                  </a:moveTo>
                  <a:lnTo>
                    <a:pt x="370" y="8"/>
                  </a:lnTo>
                  <a:lnTo>
                    <a:pt x="335" y="16"/>
                  </a:lnTo>
                  <a:lnTo>
                    <a:pt x="301" y="24"/>
                  </a:lnTo>
                  <a:lnTo>
                    <a:pt x="266" y="32"/>
                  </a:lnTo>
                  <a:lnTo>
                    <a:pt x="240" y="62"/>
                  </a:lnTo>
                  <a:lnTo>
                    <a:pt x="212" y="92"/>
                  </a:lnTo>
                  <a:lnTo>
                    <a:pt x="186" y="123"/>
                  </a:lnTo>
                  <a:lnTo>
                    <a:pt x="157" y="152"/>
                  </a:lnTo>
                  <a:lnTo>
                    <a:pt x="157" y="104"/>
                  </a:lnTo>
                  <a:lnTo>
                    <a:pt x="118" y="90"/>
                  </a:lnTo>
                  <a:lnTo>
                    <a:pt x="79" y="76"/>
                  </a:lnTo>
                  <a:lnTo>
                    <a:pt x="35" y="87"/>
                  </a:lnTo>
                  <a:lnTo>
                    <a:pt x="16" y="102"/>
                  </a:lnTo>
                  <a:lnTo>
                    <a:pt x="11" y="113"/>
                  </a:lnTo>
                  <a:lnTo>
                    <a:pt x="3" y="117"/>
                  </a:lnTo>
                  <a:lnTo>
                    <a:pt x="6" y="139"/>
                  </a:lnTo>
                  <a:lnTo>
                    <a:pt x="1" y="147"/>
                  </a:lnTo>
                  <a:lnTo>
                    <a:pt x="4" y="164"/>
                  </a:lnTo>
                  <a:lnTo>
                    <a:pt x="0" y="166"/>
                  </a:lnTo>
                  <a:lnTo>
                    <a:pt x="9" y="177"/>
                  </a:lnTo>
                  <a:lnTo>
                    <a:pt x="18" y="221"/>
                  </a:lnTo>
                  <a:lnTo>
                    <a:pt x="24" y="231"/>
                  </a:lnTo>
                  <a:lnTo>
                    <a:pt x="26" y="260"/>
                  </a:lnTo>
                  <a:lnTo>
                    <a:pt x="38" y="280"/>
                  </a:lnTo>
                  <a:lnTo>
                    <a:pt x="55" y="283"/>
                  </a:lnTo>
                  <a:lnTo>
                    <a:pt x="97" y="278"/>
                  </a:lnTo>
                  <a:lnTo>
                    <a:pt x="122" y="266"/>
                  </a:lnTo>
                  <a:lnTo>
                    <a:pt x="136" y="251"/>
                  </a:lnTo>
                  <a:lnTo>
                    <a:pt x="180" y="251"/>
                  </a:lnTo>
                  <a:lnTo>
                    <a:pt x="199" y="244"/>
                  </a:lnTo>
                  <a:lnTo>
                    <a:pt x="224" y="227"/>
                  </a:lnTo>
                  <a:lnTo>
                    <a:pt x="255" y="226"/>
                  </a:lnTo>
                  <a:lnTo>
                    <a:pt x="263" y="221"/>
                  </a:lnTo>
                  <a:lnTo>
                    <a:pt x="278" y="201"/>
                  </a:lnTo>
                  <a:lnTo>
                    <a:pt x="300" y="191"/>
                  </a:lnTo>
                  <a:lnTo>
                    <a:pt x="374" y="170"/>
                  </a:lnTo>
                  <a:lnTo>
                    <a:pt x="390" y="159"/>
                  </a:lnTo>
                  <a:lnTo>
                    <a:pt x="413" y="153"/>
                  </a:lnTo>
                  <a:lnTo>
                    <a:pt x="413" y="139"/>
                  </a:lnTo>
                  <a:lnTo>
                    <a:pt x="418" y="127"/>
                  </a:lnTo>
                  <a:lnTo>
                    <a:pt x="448" y="107"/>
                  </a:lnTo>
                  <a:lnTo>
                    <a:pt x="426" y="54"/>
                  </a:lnTo>
                  <a:lnTo>
                    <a:pt x="404" y="0"/>
                  </a:lnTo>
                  <a:close/>
                </a:path>
              </a:pathLst>
            </a:custGeom>
            <a:grpFill/>
            <a:ln w="6350">
              <a:solidFill>
                <a:schemeClr val="tx2"/>
              </a:solidFill>
              <a:round/>
              <a:headEnd/>
              <a:tailEnd/>
            </a:ln>
          </p:spPr>
          <p:txBody>
            <a:bodyPr/>
            <a:lstStyle/>
            <a:p>
              <a:endParaRPr lang="en-US"/>
            </a:p>
          </p:txBody>
        </p:sp>
        <p:sp>
          <p:nvSpPr>
            <p:cNvPr id="549" name="Freeform 1394"/>
            <p:cNvSpPr>
              <a:spLocks/>
            </p:cNvSpPr>
            <p:nvPr/>
          </p:nvSpPr>
          <p:spPr bwMode="auto">
            <a:xfrm>
              <a:off x="5257028" y="4606156"/>
              <a:ext cx="230601" cy="365623"/>
            </a:xfrm>
            <a:custGeom>
              <a:avLst/>
              <a:gdLst>
                <a:gd name="T0" fmla="*/ 2147483647 w 460"/>
                <a:gd name="T1" fmla="*/ 2147483647 h 740"/>
                <a:gd name="T2" fmla="*/ 2147483647 w 460"/>
                <a:gd name="T3" fmla="*/ 2147483647 h 740"/>
                <a:gd name="T4" fmla="*/ 2147483647 w 460"/>
                <a:gd name="T5" fmla="*/ 2147483647 h 740"/>
                <a:gd name="T6" fmla="*/ 2147483647 w 460"/>
                <a:gd name="T7" fmla="*/ 2147483647 h 740"/>
                <a:gd name="T8" fmla="*/ 2147483647 w 460"/>
                <a:gd name="T9" fmla="*/ 2147483647 h 740"/>
                <a:gd name="T10" fmla="*/ 2147483647 w 460"/>
                <a:gd name="T11" fmla="*/ 2147483647 h 740"/>
                <a:gd name="T12" fmla="*/ 2147483647 w 460"/>
                <a:gd name="T13" fmla="*/ 2147483647 h 740"/>
                <a:gd name="T14" fmla="*/ 2147483647 w 460"/>
                <a:gd name="T15" fmla="*/ 2147483647 h 740"/>
                <a:gd name="T16" fmla="*/ 2147483647 w 460"/>
                <a:gd name="T17" fmla="*/ 2147483647 h 740"/>
                <a:gd name="T18" fmla="*/ 2147483647 w 460"/>
                <a:gd name="T19" fmla="*/ 2147483647 h 740"/>
                <a:gd name="T20" fmla="*/ 2147483647 w 460"/>
                <a:gd name="T21" fmla="*/ 2147483647 h 740"/>
                <a:gd name="T22" fmla="*/ 2147483647 w 460"/>
                <a:gd name="T23" fmla="*/ 2147483647 h 740"/>
                <a:gd name="T24" fmla="*/ 2147483647 w 460"/>
                <a:gd name="T25" fmla="*/ 2147483647 h 740"/>
                <a:gd name="T26" fmla="*/ 2147483647 w 460"/>
                <a:gd name="T27" fmla="*/ 2147483647 h 740"/>
                <a:gd name="T28" fmla="*/ 2147483647 w 460"/>
                <a:gd name="T29" fmla="*/ 2147483647 h 740"/>
                <a:gd name="T30" fmla="*/ 2147483647 w 460"/>
                <a:gd name="T31" fmla="*/ 2147483647 h 740"/>
                <a:gd name="T32" fmla="*/ 2147483647 w 460"/>
                <a:gd name="T33" fmla="*/ 2147483647 h 740"/>
                <a:gd name="T34" fmla="*/ 2147483647 w 460"/>
                <a:gd name="T35" fmla="*/ 2147483647 h 740"/>
                <a:gd name="T36" fmla="*/ 2147483647 w 460"/>
                <a:gd name="T37" fmla="*/ 2147483647 h 740"/>
                <a:gd name="T38" fmla="*/ 2147483647 w 460"/>
                <a:gd name="T39" fmla="*/ 2147483647 h 740"/>
                <a:gd name="T40" fmla="*/ 2147483647 w 460"/>
                <a:gd name="T41" fmla="*/ 2147483647 h 740"/>
                <a:gd name="T42" fmla="*/ 2147483647 w 460"/>
                <a:gd name="T43" fmla="*/ 2147483647 h 740"/>
                <a:gd name="T44" fmla="*/ 2147483647 w 460"/>
                <a:gd name="T45" fmla="*/ 2147483647 h 740"/>
                <a:gd name="T46" fmla="*/ 2147483647 w 460"/>
                <a:gd name="T47" fmla="*/ 2147483647 h 740"/>
                <a:gd name="T48" fmla="*/ 2147483647 w 460"/>
                <a:gd name="T49" fmla="*/ 2147483647 h 740"/>
                <a:gd name="T50" fmla="*/ 2147483647 w 460"/>
                <a:gd name="T51" fmla="*/ 2147483647 h 740"/>
                <a:gd name="T52" fmla="*/ 2147483647 w 460"/>
                <a:gd name="T53" fmla="*/ 2147483647 h 740"/>
                <a:gd name="T54" fmla="*/ 2147483647 w 460"/>
                <a:gd name="T55" fmla="*/ 2147483647 h 740"/>
                <a:gd name="T56" fmla="*/ 2147483647 w 460"/>
                <a:gd name="T57" fmla="*/ 2147483647 h 740"/>
                <a:gd name="T58" fmla="*/ 2147483647 w 460"/>
                <a:gd name="T59" fmla="*/ 2147483647 h 740"/>
                <a:gd name="T60" fmla="*/ 2147483647 w 460"/>
                <a:gd name="T61" fmla="*/ 2147483647 h 740"/>
                <a:gd name="T62" fmla="*/ 2147483647 w 460"/>
                <a:gd name="T63" fmla="*/ 2147483647 h 740"/>
                <a:gd name="T64" fmla="*/ 2147483647 w 460"/>
                <a:gd name="T65" fmla="*/ 2147483647 h 740"/>
                <a:gd name="T66" fmla="*/ 2147483647 w 460"/>
                <a:gd name="T67" fmla="*/ 2147483647 h 740"/>
                <a:gd name="T68" fmla="*/ 2147483647 w 460"/>
                <a:gd name="T69" fmla="*/ 2147483647 h 740"/>
                <a:gd name="T70" fmla="*/ 2147483647 w 460"/>
                <a:gd name="T71" fmla="*/ 2147483647 h 740"/>
                <a:gd name="T72" fmla="*/ 2147483647 w 460"/>
                <a:gd name="T73" fmla="*/ 2147483647 h 740"/>
                <a:gd name="T74" fmla="*/ 2147483647 w 460"/>
                <a:gd name="T75" fmla="*/ 2147483647 h 740"/>
                <a:gd name="T76" fmla="*/ 2147483647 w 460"/>
                <a:gd name="T77" fmla="*/ 2147483647 h 740"/>
                <a:gd name="T78" fmla="*/ 2147483647 w 460"/>
                <a:gd name="T79" fmla="*/ 2147483647 h 740"/>
                <a:gd name="T80" fmla="*/ 2147483647 w 460"/>
                <a:gd name="T81" fmla="*/ 2147483647 h 740"/>
                <a:gd name="T82" fmla="*/ 0 w 460"/>
                <a:gd name="T83" fmla="*/ 2147483647 h 740"/>
                <a:gd name="T84" fmla="*/ 2147483647 w 460"/>
                <a:gd name="T85" fmla="*/ 2147483647 h 740"/>
                <a:gd name="T86" fmla="*/ 2147483647 w 460"/>
                <a:gd name="T87" fmla="*/ 2147483647 h 740"/>
                <a:gd name="T88" fmla="*/ 2147483647 w 460"/>
                <a:gd name="T89" fmla="*/ 2147483647 h 740"/>
                <a:gd name="T90" fmla="*/ 2147483647 w 460"/>
                <a:gd name="T91" fmla="*/ 2147483647 h 740"/>
                <a:gd name="T92" fmla="*/ 2147483647 w 460"/>
                <a:gd name="T93" fmla="*/ 2147483647 h 740"/>
                <a:gd name="T94" fmla="*/ 2147483647 w 460"/>
                <a:gd name="T95" fmla="*/ 2147483647 h 740"/>
                <a:gd name="T96" fmla="*/ 2147483647 w 460"/>
                <a:gd name="T97" fmla="*/ 2147483647 h 740"/>
                <a:gd name="T98" fmla="*/ 2147483647 w 460"/>
                <a:gd name="T99" fmla="*/ 2147483647 h 740"/>
                <a:gd name="T100" fmla="*/ 2147483647 w 460"/>
                <a:gd name="T101" fmla="*/ 2147483647 h 740"/>
                <a:gd name="T102" fmla="*/ 2147483647 w 460"/>
                <a:gd name="T103" fmla="*/ 2147483647 h 740"/>
                <a:gd name="T104" fmla="*/ 2147483647 w 460"/>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0"/>
                <a:gd name="T160" fmla="*/ 0 h 740"/>
                <a:gd name="T161" fmla="*/ 460 w 460"/>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0" h="740">
                  <a:moveTo>
                    <a:pt x="210" y="137"/>
                  </a:moveTo>
                  <a:lnTo>
                    <a:pt x="203" y="89"/>
                  </a:lnTo>
                  <a:lnTo>
                    <a:pt x="215" y="51"/>
                  </a:lnTo>
                  <a:lnTo>
                    <a:pt x="246" y="52"/>
                  </a:lnTo>
                  <a:lnTo>
                    <a:pt x="261" y="47"/>
                  </a:lnTo>
                  <a:lnTo>
                    <a:pt x="278" y="57"/>
                  </a:lnTo>
                  <a:lnTo>
                    <a:pt x="299" y="51"/>
                  </a:lnTo>
                  <a:lnTo>
                    <a:pt x="330" y="51"/>
                  </a:lnTo>
                  <a:lnTo>
                    <a:pt x="343" y="40"/>
                  </a:lnTo>
                  <a:lnTo>
                    <a:pt x="361" y="37"/>
                  </a:lnTo>
                  <a:lnTo>
                    <a:pt x="371" y="42"/>
                  </a:lnTo>
                  <a:lnTo>
                    <a:pt x="386" y="41"/>
                  </a:lnTo>
                  <a:lnTo>
                    <a:pt x="430" y="24"/>
                  </a:lnTo>
                  <a:lnTo>
                    <a:pt x="451" y="8"/>
                  </a:lnTo>
                  <a:lnTo>
                    <a:pt x="452" y="0"/>
                  </a:lnTo>
                  <a:lnTo>
                    <a:pt x="454" y="8"/>
                  </a:lnTo>
                  <a:lnTo>
                    <a:pt x="460" y="11"/>
                  </a:lnTo>
                  <a:lnTo>
                    <a:pt x="460" y="26"/>
                  </a:lnTo>
                  <a:lnTo>
                    <a:pt x="445" y="61"/>
                  </a:lnTo>
                  <a:lnTo>
                    <a:pt x="449" y="106"/>
                  </a:lnTo>
                  <a:lnTo>
                    <a:pt x="443" y="110"/>
                  </a:lnTo>
                  <a:lnTo>
                    <a:pt x="448" y="118"/>
                  </a:lnTo>
                  <a:lnTo>
                    <a:pt x="448" y="166"/>
                  </a:lnTo>
                  <a:lnTo>
                    <a:pt x="454" y="166"/>
                  </a:lnTo>
                  <a:lnTo>
                    <a:pt x="457" y="172"/>
                  </a:lnTo>
                  <a:lnTo>
                    <a:pt x="452" y="178"/>
                  </a:lnTo>
                  <a:lnTo>
                    <a:pt x="459" y="181"/>
                  </a:lnTo>
                  <a:lnTo>
                    <a:pt x="459" y="188"/>
                  </a:lnTo>
                  <a:lnTo>
                    <a:pt x="446" y="211"/>
                  </a:lnTo>
                  <a:lnTo>
                    <a:pt x="452" y="213"/>
                  </a:lnTo>
                  <a:lnTo>
                    <a:pt x="450" y="225"/>
                  </a:lnTo>
                  <a:lnTo>
                    <a:pt x="426" y="252"/>
                  </a:lnTo>
                  <a:lnTo>
                    <a:pt x="414" y="259"/>
                  </a:lnTo>
                  <a:lnTo>
                    <a:pt x="418" y="263"/>
                  </a:lnTo>
                  <a:lnTo>
                    <a:pt x="414" y="270"/>
                  </a:lnTo>
                  <a:lnTo>
                    <a:pt x="390" y="285"/>
                  </a:lnTo>
                  <a:lnTo>
                    <a:pt x="386" y="293"/>
                  </a:lnTo>
                  <a:lnTo>
                    <a:pt x="351" y="302"/>
                  </a:lnTo>
                  <a:lnTo>
                    <a:pt x="317" y="319"/>
                  </a:lnTo>
                  <a:lnTo>
                    <a:pt x="295" y="336"/>
                  </a:lnTo>
                  <a:lnTo>
                    <a:pt x="293" y="343"/>
                  </a:lnTo>
                  <a:lnTo>
                    <a:pt x="280" y="348"/>
                  </a:lnTo>
                  <a:lnTo>
                    <a:pt x="285" y="353"/>
                  </a:lnTo>
                  <a:lnTo>
                    <a:pt x="266" y="376"/>
                  </a:lnTo>
                  <a:lnTo>
                    <a:pt x="263" y="375"/>
                  </a:lnTo>
                  <a:lnTo>
                    <a:pt x="260" y="367"/>
                  </a:lnTo>
                  <a:lnTo>
                    <a:pt x="255" y="379"/>
                  </a:lnTo>
                  <a:lnTo>
                    <a:pt x="209" y="422"/>
                  </a:lnTo>
                  <a:lnTo>
                    <a:pt x="201" y="424"/>
                  </a:lnTo>
                  <a:lnTo>
                    <a:pt x="200" y="455"/>
                  </a:lnTo>
                  <a:lnTo>
                    <a:pt x="213" y="468"/>
                  </a:lnTo>
                  <a:lnTo>
                    <a:pt x="214" y="472"/>
                  </a:lnTo>
                  <a:lnTo>
                    <a:pt x="228" y="529"/>
                  </a:lnTo>
                  <a:lnTo>
                    <a:pt x="232" y="524"/>
                  </a:lnTo>
                  <a:lnTo>
                    <a:pt x="235" y="528"/>
                  </a:lnTo>
                  <a:lnTo>
                    <a:pt x="232" y="574"/>
                  </a:lnTo>
                  <a:lnTo>
                    <a:pt x="223" y="611"/>
                  </a:lnTo>
                  <a:lnTo>
                    <a:pt x="224" y="619"/>
                  </a:lnTo>
                  <a:lnTo>
                    <a:pt x="232" y="605"/>
                  </a:lnTo>
                  <a:lnTo>
                    <a:pt x="230" y="618"/>
                  </a:lnTo>
                  <a:lnTo>
                    <a:pt x="214" y="641"/>
                  </a:lnTo>
                  <a:lnTo>
                    <a:pt x="203" y="650"/>
                  </a:lnTo>
                  <a:lnTo>
                    <a:pt x="151" y="668"/>
                  </a:lnTo>
                  <a:lnTo>
                    <a:pt x="118" y="686"/>
                  </a:lnTo>
                  <a:lnTo>
                    <a:pt x="104" y="706"/>
                  </a:lnTo>
                  <a:lnTo>
                    <a:pt x="115" y="719"/>
                  </a:lnTo>
                  <a:lnTo>
                    <a:pt x="123" y="710"/>
                  </a:lnTo>
                  <a:lnTo>
                    <a:pt x="121" y="740"/>
                  </a:lnTo>
                  <a:lnTo>
                    <a:pt x="87" y="740"/>
                  </a:lnTo>
                  <a:lnTo>
                    <a:pt x="85" y="695"/>
                  </a:lnTo>
                  <a:lnTo>
                    <a:pt x="81" y="623"/>
                  </a:lnTo>
                  <a:lnTo>
                    <a:pt x="66" y="547"/>
                  </a:lnTo>
                  <a:lnTo>
                    <a:pt x="69" y="524"/>
                  </a:lnTo>
                  <a:lnTo>
                    <a:pt x="88" y="505"/>
                  </a:lnTo>
                  <a:lnTo>
                    <a:pt x="123" y="426"/>
                  </a:lnTo>
                  <a:lnTo>
                    <a:pt x="115" y="380"/>
                  </a:lnTo>
                  <a:lnTo>
                    <a:pt x="127" y="347"/>
                  </a:lnTo>
                  <a:lnTo>
                    <a:pt x="128" y="311"/>
                  </a:lnTo>
                  <a:lnTo>
                    <a:pt x="119" y="276"/>
                  </a:lnTo>
                  <a:lnTo>
                    <a:pt x="113" y="268"/>
                  </a:lnTo>
                  <a:lnTo>
                    <a:pt x="55" y="246"/>
                  </a:lnTo>
                  <a:lnTo>
                    <a:pt x="11" y="244"/>
                  </a:lnTo>
                  <a:lnTo>
                    <a:pt x="11" y="228"/>
                  </a:lnTo>
                  <a:lnTo>
                    <a:pt x="0" y="204"/>
                  </a:lnTo>
                  <a:lnTo>
                    <a:pt x="33" y="193"/>
                  </a:lnTo>
                  <a:lnTo>
                    <a:pt x="67" y="182"/>
                  </a:lnTo>
                  <a:lnTo>
                    <a:pt x="104" y="169"/>
                  </a:lnTo>
                  <a:lnTo>
                    <a:pt x="136" y="158"/>
                  </a:lnTo>
                  <a:lnTo>
                    <a:pt x="155" y="183"/>
                  </a:lnTo>
                  <a:lnTo>
                    <a:pt x="189" y="178"/>
                  </a:lnTo>
                  <a:lnTo>
                    <a:pt x="195" y="183"/>
                  </a:lnTo>
                  <a:lnTo>
                    <a:pt x="199" y="213"/>
                  </a:lnTo>
                  <a:lnTo>
                    <a:pt x="187" y="242"/>
                  </a:lnTo>
                  <a:lnTo>
                    <a:pt x="193" y="258"/>
                  </a:lnTo>
                  <a:lnTo>
                    <a:pt x="222" y="286"/>
                  </a:lnTo>
                  <a:lnTo>
                    <a:pt x="220" y="295"/>
                  </a:lnTo>
                  <a:lnTo>
                    <a:pt x="229" y="295"/>
                  </a:lnTo>
                  <a:lnTo>
                    <a:pt x="230" y="281"/>
                  </a:lnTo>
                  <a:lnTo>
                    <a:pt x="225" y="270"/>
                  </a:lnTo>
                  <a:lnTo>
                    <a:pt x="229" y="258"/>
                  </a:lnTo>
                  <a:lnTo>
                    <a:pt x="252" y="245"/>
                  </a:lnTo>
                  <a:lnTo>
                    <a:pt x="255" y="222"/>
                  </a:lnTo>
                  <a:lnTo>
                    <a:pt x="252" y="211"/>
                  </a:lnTo>
                  <a:lnTo>
                    <a:pt x="256" y="198"/>
                  </a:lnTo>
                  <a:lnTo>
                    <a:pt x="251" y="182"/>
                  </a:lnTo>
                  <a:lnTo>
                    <a:pt x="210" y="137"/>
                  </a:lnTo>
                  <a:close/>
                </a:path>
              </a:pathLst>
            </a:custGeom>
            <a:grpFill/>
            <a:ln w="6350">
              <a:solidFill>
                <a:schemeClr val="tx2"/>
              </a:solidFill>
              <a:round/>
              <a:headEnd/>
              <a:tailEnd/>
            </a:ln>
          </p:spPr>
          <p:txBody>
            <a:bodyPr/>
            <a:lstStyle/>
            <a:p>
              <a:endParaRPr lang="en-US"/>
            </a:p>
          </p:txBody>
        </p:sp>
        <p:sp>
          <p:nvSpPr>
            <p:cNvPr id="550" name="Freeform 1395"/>
            <p:cNvSpPr>
              <a:spLocks/>
            </p:cNvSpPr>
            <p:nvPr/>
          </p:nvSpPr>
          <p:spPr bwMode="auto">
            <a:xfrm>
              <a:off x="5317713" y="4584916"/>
              <a:ext cx="68270" cy="166883"/>
            </a:xfrm>
            <a:custGeom>
              <a:avLst/>
              <a:gdLst>
                <a:gd name="T0" fmla="*/ 2147483647 w 138"/>
                <a:gd name="T1" fmla="*/ 2147483647 h 338"/>
                <a:gd name="T2" fmla="*/ 2147483647 w 138"/>
                <a:gd name="T3" fmla="*/ 2147483647 h 338"/>
                <a:gd name="T4" fmla="*/ 2147483647 w 138"/>
                <a:gd name="T5" fmla="*/ 2147483647 h 338"/>
                <a:gd name="T6" fmla="*/ 2147483647 w 138"/>
                <a:gd name="T7" fmla="*/ 2147483647 h 338"/>
                <a:gd name="T8" fmla="*/ 2147483647 w 138"/>
                <a:gd name="T9" fmla="*/ 2147483647 h 338"/>
                <a:gd name="T10" fmla="*/ 2147483647 w 138"/>
                <a:gd name="T11" fmla="*/ 2147483647 h 338"/>
                <a:gd name="T12" fmla="*/ 2147483647 w 138"/>
                <a:gd name="T13" fmla="*/ 2147483647 h 338"/>
                <a:gd name="T14" fmla="*/ 2147483647 w 138"/>
                <a:gd name="T15" fmla="*/ 2147483647 h 338"/>
                <a:gd name="T16" fmla="*/ 2147483647 w 138"/>
                <a:gd name="T17" fmla="*/ 2147483647 h 338"/>
                <a:gd name="T18" fmla="*/ 2147483647 w 138"/>
                <a:gd name="T19" fmla="*/ 2147483647 h 338"/>
                <a:gd name="T20" fmla="*/ 2147483647 w 138"/>
                <a:gd name="T21" fmla="*/ 2147483647 h 338"/>
                <a:gd name="T22" fmla="*/ 2147483647 w 138"/>
                <a:gd name="T23" fmla="*/ 2147483647 h 338"/>
                <a:gd name="T24" fmla="*/ 2147483647 w 138"/>
                <a:gd name="T25" fmla="*/ 2147483647 h 338"/>
                <a:gd name="T26" fmla="*/ 2147483647 w 138"/>
                <a:gd name="T27" fmla="*/ 2147483647 h 338"/>
                <a:gd name="T28" fmla="*/ 2147483647 w 138"/>
                <a:gd name="T29" fmla="*/ 2147483647 h 338"/>
                <a:gd name="T30" fmla="*/ 2147483647 w 138"/>
                <a:gd name="T31" fmla="*/ 2147483647 h 338"/>
                <a:gd name="T32" fmla="*/ 2147483647 w 138"/>
                <a:gd name="T33" fmla="*/ 2147483647 h 338"/>
                <a:gd name="T34" fmla="*/ 2147483647 w 138"/>
                <a:gd name="T35" fmla="*/ 0 h 338"/>
                <a:gd name="T36" fmla="*/ 2147483647 w 138"/>
                <a:gd name="T37" fmla="*/ 2147483647 h 338"/>
                <a:gd name="T38" fmla="*/ 2147483647 w 138"/>
                <a:gd name="T39" fmla="*/ 2147483647 h 338"/>
                <a:gd name="T40" fmla="*/ 2147483647 w 138"/>
                <a:gd name="T41" fmla="*/ 2147483647 h 338"/>
                <a:gd name="T42" fmla="*/ 2147483647 w 138"/>
                <a:gd name="T43" fmla="*/ 2147483647 h 338"/>
                <a:gd name="T44" fmla="*/ 2147483647 w 138"/>
                <a:gd name="T45" fmla="*/ 2147483647 h 338"/>
                <a:gd name="T46" fmla="*/ 2147483647 w 138"/>
                <a:gd name="T47" fmla="*/ 2147483647 h 338"/>
                <a:gd name="T48" fmla="*/ 2147483647 w 138"/>
                <a:gd name="T49" fmla="*/ 2147483647 h 338"/>
                <a:gd name="T50" fmla="*/ 2147483647 w 138"/>
                <a:gd name="T51" fmla="*/ 2147483647 h 338"/>
                <a:gd name="T52" fmla="*/ 2147483647 w 138"/>
                <a:gd name="T53" fmla="*/ 2147483647 h 338"/>
                <a:gd name="T54" fmla="*/ 2147483647 w 138"/>
                <a:gd name="T55" fmla="*/ 2147483647 h 338"/>
                <a:gd name="T56" fmla="*/ 0 w 138"/>
                <a:gd name="T57" fmla="*/ 2147483647 h 338"/>
                <a:gd name="T58" fmla="*/ 2147483647 w 138"/>
                <a:gd name="T59" fmla="*/ 2147483647 h 338"/>
                <a:gd name="T60" fmla="*/ 2147483647 w 138"/>
                <a:gd name="T61" fmla="*/ 2147483647 h 338"/>
                <a:gd name="T62" fmla="*/ 2147483647 w 138"/>
                <a:gd name="T63" fmla="*/ 2147483647 h 338"/>
                <a:gd name="T64" fmla="*/ 2147483647 w 138"/>
                <a:gd name="T65" fmla="*/ 2147483647 h 338"/>
                <a:gd name="T66" fmla="*/ 2147483647 w 138"/>
                <a:gd name="T67" fmla="*/ 2147483647 h 338"/>
                <a:gd name="T68" fmla="*/ 2147483647 w 138"/>
                <a:gd name="T69" fmla="*/ 2147483647 h 338"/>
                <a:gd name="T70" fmla="*/ 2147483647 w 138"/>
                <a:gd name="T71" fmla="*/ 2147483647 h 338"/>
                <a:gd name="T72" fmla="*/ 2147483647 w 138"/>
                <a:gd name="T73" fmla="*/ 2147483647 h 338"/>
                <a:gd name="T74" fmla="*/ 2147483647 w 138"/>
                <a:gd name="T75" fmla="*/ 2147483647 h 338"/>
                <a:gd name="T76" fmla="*/ 2147483647 w 138"/>
                <a:gd name="T77" fmla="*/ 2147483647 h 338"/>
                <a:gd name="T78" fmla="*/ 2147483647 w 138"/>
                <a:gd name="T79" fmla="*/ 2147483647 h 338"/>
                <a:gd name="T80" fmla="*/ 2147483647 w 138"/>
                <a:gd name="T81" fmla="*/ 2147483647 h 338"/>
                <a:gd name="T82" fmla="*/ 2147483647 w 138"/>
                <a:gd name="T83" fmla="*/ 2147483647 h 338"/>
                <a:gd name="T84" fmla="*/ 2147483647 w 138"/>
                <a:gd name="T85" fmla="*/ 2147483647 h 338"/>
                <a:gd name="T86" fmla="*/ 2147483647 w 138"/>
                <a:gd name="T87" fmla="*/ 2147483647 h 338"/>
                <a:gd name="T88" fmla="*/ 2147483647 w 138"/>
                <a:gd name="T89" fmla="*/ 2147483647 h 338"/>
                <a:gd name="T90" fmla="*/ 2147483647 w 138"/>
                <a:gd name="T91" fmla="*/ 2147483647 h 338"/>
                <a:gd name="T92" fmla="*/ 2147483647 w 138"/>
                <a:gd name="T93" fmla="*/ 2147483647 h 338"/>
                <a:gd name="T94" fmla="*/ 2147483647 w 138"/>
                <a:gd name="T95" fmla="*/ 2147483647 h 338"/>
                <a:gd name="T96" fmla="*/ 2147483647 w 138"/>
                <a:gd name="T97" fmla="*/ 2147483647 h 33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8"/>
                <a:gd name="T148" fmla="*/ 0 h 338"/>
                <a:gd name="T149" fmla="*/ 138 w 138"/>
                <a:gd name="T150" fmla="*/ 338 h 33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8" h="338">
                  <a:moveTo>
                    <a:pt x="92" y="180"/>
                  </a:moveTo>
                  <a:lnTo>
                    <a:pt x="92" y="189"/>
                  </a:lnTo>
                  <a:lnTo>
                    <a:pt x="100" y="194"/>
                  </a:lnTo>
                  <a:lnTo>
                    <a:pt x="107" y="219"/>
                  </a:lnTo>
                  <a:lnTo>
                    <a:pt x="92" y="204"/>
                  </a:lnTo>
                  <a:lnTo>
                    <a:pt x="88" y="211"/>
                  </a:lnTo>
                  <a:lnTo>
                    <a:pt x="79" y="208"/>
                  </a:lnTo>
                  <a:lnTo>
                    <a:pt x="80" y="191"/>
                  </a:lnTo>
                  <a:lnTo>
                    <a:pt x="72" y="181"/>
                  </a:lnTo>
                  <a:lnTo>
                    <a:pt x="64" y="147"/>
                  </a:lnTo>
                  <a:lnTo>
                    <a:pt x="54" y="127"/>
                  </a:lnTo>
                  <a:lnTo>
                    <a:pt x="66" y="100"/>
                  </a:lnTo>
                  <a:lnTo>
                    <a:pt x="65" y="44"/>
                  </a:lnTo>
                  <a:lnTo>
                    <a:pt x="50" y="25"/>
                  </a:lnTo>
                  <a:lnTo>
                    <a:pt x="53" y="12"/>
                  </a:lnTo>
                  <a:lnTo>
                    <a:pt x="45" y="8"/>
                  </a:lnTo>
                  <a:lnTo>
                    <a:pt x="33" y="11"/>
                  </a:lnTo>
                  <a:lnTo>
                    <a:pt x="11" y="0"/>
                  </a:lnTo>
                  <a:lnTo>
                    <a:pt x="13" y="12"/>
                  </a:lnTo>
                  <a:lnTo>
                    <a:pt x="20" y="12"/>
                  </a:lnTo>
                  <a:lnTo>
                    <a:pt x="25" y="18"/>
                  </a:lnTo>
                  <a:lnTo>
                    <a:pt x="40" y="55"/>
                  </a:lnTo>
                  <a:lnTo>
                    <a:pt x="29" y="65"/>
                  </a:lnTo>
                  <a:lnTo>
                    <a:pt x="24" y="93"/>
                  </a:lnTo>
                  <a:lnTo>
                    <a:pt x="24" y="122"/>
                  </a:lnTo>
                  <a:lnTo>
                    <a:pt x="32" y="134"/>
                  </a:lnTo>
                  <a:lnTo>
                    <a:pt x="14" y="143"/>
                  </a:lnTo>
                  <a:lnTo>
                    <a:pt x="11" y="166"/>
                  </a:lnTo>
                  <a:lnTo>
                    <a:pt x="0" y="186"/>
                  </a:lnTo>
                  <a:lnTo>
                    <a:pt x="9" y="199"/>
                  </a:lnTo>
                  <a:lnTo>
                    <a:pt x="18" y="201"/>
                  </a:lnTo>
                  <a:lnTo>
                    <a:pt x="37" y="226"/>
                  </a:lnTo>
                  <a:lnTo>
                    <a:pt x="71" y="221"/>
                  </a:lnTo>
                  <a:lnTo>
                    <a:pt x="77" y="226"/>
                  </a:lnTo>
                  <a:lnTo>
                    <a:pt x="81" y="256"/>
                  </a:lnTo>
                  <a:lnTo>
                    <a:pt x="69" y="285"/>
                  </a:lnTo>
                  <a:lnTo>
                    <a:pt x="75" y="301"/>
                  </a:lnTo>
                  <a:lnTo>
                    <a:pt x="104" y="329"/>
                  </a:lnTo>
                  <a:lnTo>
                    <a:pt x="102" y="338"/>
                  </a:lnTo>
                  <a:lnTo>
                    <a:pt x="111" y="338"/>
                  </a:lnTo>
                  <a:lnTo>
                    <a:pt x="112" y="324"/>
                  </a:lnTo>
                  <a:lnTo>
                    <a:pt x="107" y="313"/>
                  </a:lnTo>
                  <a:lnTo>
                    <a:pt x="111" y="301"/>
                  </a:lnTo>
                  <a:lnTo>
                    <a:pt x="134" y="288"/>
                  </a:lnTo>
                  <a:lnTo>
                    <a:pt x="137" y="265"/>
                  </a:lnTo>
                  <a:lnTo>
                    <a:pt x="134" y="254"/>
                  </a:lnTo>
                  <a:lnTo>
                    <a:pt x="138" y="241"/>
                  </a:lnTo>
                  <a:lnTo>
                    <a:pt x="133" y="225"/>
                  </a:lnTo>
                  <a:lnTo>
                    <a:pt x="92" y="180"/>
                  </a:lnTo>
                  <a:close/>
                </a:path>
              </a:pathLst>
            </a:custGeom>
            <a:grpFill/>
            <a:ln w="6350">
              <a:solidFill>
                <a:schemeClr val="tx2"/>
              </a:solidFill>
              <a:round/>
              <a:headEnd/>
              <a:tailEnd/>
            </a:ln>
          </p:spPr>
          <p:txBody>
            <a:bodyPr/>
            <a:lstStyle/>
            <a:p>
              <a:endParaRPr lang="en-US"/>
            </a:p>
          </p:txBody>
        </p:sp>
        <p:sp>
          <p:nvSpPr>
            <p:cNvPr id="551" name="Freeform 1396"/>
            <p:cNvSpPr>
              <a:spLocks/>
            </p:cNvSpPr>
            <p:nvPr/>
          </p:nvSpPr>
          <p:spPr bwMode="auto">
            <a:xfrm>
              <a:off x="5341987" y="4286044"/>
              <a:ext cx="169917" cy="197225"/>
            </a:xfrm>
            <a:custGeom>
              <a:avLst/>
              <a:gdLst>
                <a:gd name="T0" fmla="*/ 2147483647 w 342"/>
                <a:gd name="T1" fmla="*/ 2147483647 h 396"/>
                <a:gd name="T2" fmla="*/ 2147483647 w 342"/>
                <a:gd name="T3" fmla="*/ 2147483647 h 396"/>
                <a:gd name="T4" fmla="*/ 2147483647 w 342"/>
                <a:gd name="T5" fmla="*/ 2147483647 h 396"/>
                <a:gd name="T6" fmla="*/ 2147483647 w 342"/>
                <a:gd name="T7" fmla="*/ 2147483647 h 396"/>
                <a:gd name="T8" fmla="*/ 2147483647 w 342"/>
                <a:gd name="T9" fmla="*/ 2147483647 h 396"/>
                <a:gd name="T10" fmla="*/ 2147483647 w 342"/>
                <a:gd name="T11" fmla="*/ 2147483647 h 396"/>
                <a:gd name="T12" fmla="*/ 2147483647 w 342"/>
                <a:gd name="T13" fmla="*/ 2147483647 h 396"/>
                <a:gd name="T14" fmla="*/ 2147483647 w 342"/>
                <a:gd name="T15" fmla="*/ 2147483647 h 396"/>
                <a:gd name="T16" fmla="*/ 2147483647 w 342"/>
                <a:gd name="T17" fmla="*/ 2147483647 h 396"/>
                <a:gd name="T18" fmla="*/ 2147483647 w 342"/>
                <a:gd name="T19" fmla="*/ 2147483647 h 396"/>
                <a:gd name="T20" fmla="*/ 2147483647 w 342"/>
                <a:gd name="T21" fmla="*/ 2147483647 h 396"/>
                <a:gd name="T22" fmla="*/ 2147483647 w 342"/>
                <a:gd name="T23" fmla="*/ 2147483647 h 396"/>
                <a:gd name="T24" fmla="*/ 2147483647 w 342"/>
                <a:gd name="T25" fmla="*/ 2147483647 h 396"/>
                <a:gd name="T26" fmla="*/ 2147483647 w 342"/>
                <a:gd name="T27" fmla="*/ 2147483647 h 396"/>
                <a:gd name="T28" fmla="*/ 2147483647 w 342"/>
                <a:gd name="T29" fmla="*/ 2147483647 h 396"/>
                <a:gd name="T30" fmla="*/ 2147483647 w 342"/>
                <a:gd name="T31" fmla="*/ 2147483647 h 396"/>
                <a:gd name="T32" fmla="*/ 2147483647 w 342"/>
                <a:gd name="T33" fmla="*/ 2147483647 h 396"/>
                <a:gd name="T34" fmla="*/ 2147483647 w 342"/>
                <a:gd name="T35" fmla="*/ 2147483647 h 396"/>
                <a:gd name="T36" fmla="*/ 2147483647 w 342"/>
                <a:gd name="T37" fmla="*/ 2147483647 h 396"/>
                <a:gd name="T38" fmla="*/ 0 w 342"/>
                <a:gd name="T39" fmla="*/ 2147483647 h 396"/>
                <a:gd name="T40" fmla="*/ 2147483647 w 342"/>
                <a:gd name="T41" fmla="*/ 2147483647 h 396"/>
                <a:gd name="T42" fmla="*/ 2147483647 w 342"/>
                <a:gd name="T43" fmla="*/ 0 h 396"/>
                <a:gd name="T44" fmla="*/ 2147483647 w 342"/>
                <a:gd name="T45" fmla="*/ 2147483647 h 396"/>
                <a:gd name="T46" fmla="*/ 2147483647 w 342"/>
                <a:gd name="T47" fmla="*/ 2147483647 h 396"/>
                <a:gd name="T48" fmla="*/ 2147483647 w 342"/>
                <a:gd name="T49" fmla="*/ 2147483647 h 396"/>
                <a:gd name="T50" fmla="*/ 2147483647 w 342"/>
                <a:gd name="T51" fmla="*/ 2147483647 h 396"/>
                <a:gd name="T52" fmla="*/ 2147483647 w 342"/>
                <a:gd name="T53" fmla="*/ 2147483647 h 396"/>
                <a:gd name="T54" fmla="*/ 2147483647 w 342"/>
                <a:gd name="T55" fmla="*/ 2147483647 h 396"/>
                <a:gd name="T56" fmla="*/ 2147483647 w 342"/>
                <a:gd name="T57" fmla="*/ 2147483647 h 396"/>
                <a:gd name="T58" fmla="*/ 2147483647 w 342"/>
                <a:gd name="T59" fmla="*/ 2147483647 h 396"/>
                <a:gd name="T60" fmla="*/ 2147483647 w 342"/>
                <a:gd name="T61" fmla="*/ 2147483647 h 396"/>
                <a:gd name="T62" fmla="*/ 2147483647 w 342"/>
                <a:gd name="T63" fmla="*/ 2147483647 h 396"/>
                <a:gd name="T64" fmla="*/ 2147483647 w 342"/>
                <a:gd name="T65" fmla="*/ 2147483647 h 396"/>
                <a:gd name="T66" fmla="*/ 2147483647 w 342"/>
                <a:gd name="T67" fmla="*/ 2147483647 h 396"/>
                <a:gd name="T68" fmla="*/ 2147483647 w 342"/>
                <a:gd name="T69" fmla="*/ 2147483647 h 396"/>
                <a:gd name="T70" fmla="*/ 2147483647 w 342"/>
                <a:gd name="T71" fmla="*/ 2147483647 h 396"/>
                <a:gd name="T72" fmla="*/ 2147483647 w 342"/>
                <a:gd name="T73" fmla="*/ 2147483647 h 396"/>
                <a:gd name="T74" fmla="*/ 2147483647 w 342"/>
                <a:gd name="T75" fmla="*/ 2147483647 h 396"/>
                <a:gd name="T76" fmla="*/ 2147483647 w 342"/>
                <a:gd name="T77" fmla="*/ 2147483647 h 396"/>
                <a:gd name="T78" fmla="*/ 2147483647 w 342"/>
                <a:gd name="T79" fmla="*/ 2147483647 h 396"/>
                <a:gd name="T80" fmla="*/ 2147483647 w 342"/>
                <a:gd name="T81" fmla="*/ 2147483647 h 396"/>
                <a:gd name="T82" fmla="*/ 2147483647 w 342"/>
                <a:gd name="T83" fmla="*/ 2147483647 h 396"/>
                <a:gd name="T84" fmla="*/ 2147483647 w 342"/>
                <a:gd name="T85" fmla="*/ 2147483647 h 396"/>
                <a:gd name="T86" fmla="*/ 2147483647 w 342"/>
                <a:gd name="T87" fmla="*/ 2147483647 h 396"/>
                <a:gd name="T88" fmla="*/ 2147483647 w 342"/>
                <a:gd name="T89" fmla="*/ 2147483647 h 396"/>
                <a:gd name="T90" fmla="*/ 2147483647 w 342"/>
                <a:gd name="T91" fmla="*/ 2147483647 h 396"/>
                <a:gd name="T92" fmla="*/ 2147483647 w 342"/>
                <a:gd name="T93" fmla="*/ 2147483647 h 396"/>
                <a:gd name="T94" fmla="*/ 2147483647 w 342"/>
                <a:gd name="T95" fmla="*/ 2147483647 h 39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2"/>
                <a:gd name="T145" fmla="*/ 0 h 396"/>
                <a:gd name="T146" fmla="*/ 342 w 342"/>
                <a:gd name="T147" fmla="*/ 396 h 39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2" h="396">
                  <a:moveTo>
                    <a:pt x="12" y="237"/>
                  </a:moveTo>
                  <a:lnTo>
                    <a:pt x="6" y="230"/>
                  </a:lnTo>
                  <a:lnTo>
                    <a:pt x="12" y="220"/>
                  </a:lnTo>
                  <a:lnTo>
                    <a:pt x="21" y="220"/>
                  </a:lnTo>
                  <a:lnTo>
                    <a:pt x="28" y="215"/>
                  </a:lnTo>
                  <a:lnTo>
                    <a:pt x="37" y="211"/>
                  </a:lnTo>
                  <a:lnTo>
                    <a:pt x="37" y="208"/>
                  </a:lnTo>
                  <a:lnTo>
                    <a:pt x="29" y="207"/>
                  </a:lnTo>
                  <a:lnTo>
                    <a:pt x="21" y="209"/>
                  </a:lnTo>
                  <a:lnTo>
                    <a:pt x="16" y="211"/>
                  </a:lnTo>
                  <a:lnTo>
                    <a:pt x="9" y="212"/>
                  </a:lnTo>
                  <a:lnTo>
                    <a:pt x="7" y="205"/>
                  </a:lnTo>
                  <a:lnTo>
                    <a:pt x="1" y="198"/>
                  </a:lnTo>
                  <a:lnTo>
                    <a:pt x="2" y="187"/>
                  </a:lnTo>
                  <a:lnTo>
                    <a:pt x="43" y="132"/>
                  </a:lnTo>
                  <a:lnTo>
                    <a:pt x="46" y="105"/>
                  </a:lnTo>
                  <a:lnTo>
                    <a:pt x="43" y="78"/>
                  </a:lnTo>
                  <a:lnTo>
                    <a:pt x="25" y="64"/>
                  </a:lnTo>
                  <a:lnTo>
                    <a:pt x="16" y="28"/>
                  </a:lnTo>
                  <a:lnTo>
                    <a:pt x="0" y="22"/>
                  </a:lnTo>
                  <a:lnTo>
                    <a:pt x="23" y="1"/>
                  </a:lnTo>
                  <a:lnTo>
                    <a:pt x="82" y="0"/>
                  </a:lnTo>
                  <a:lnTo>
                    <a:pt x="116" y="3"/>
                  </a:lnTo>
                  <a:lnTo>
                    <a:pt x="168" y="35"/>
                  </a:lnTo>
                  <a:lnTo>
                    <a:pt x="215" y="47"/>
                  </a:lnTo>
                  <a:lnTo>
                    <a:pt x="233" y="47"/>
                  </a:lnTo>
                  <a:lnTo>
                    <a:pt x="252" y="37"/>
                  </a:lnTo>
                  <a:lnTo>
                    <a:pt x="263" y="24"/>
                  </a:lnTo>
                  <a:lnTo>
                    <a:pt x="295" y="17"/>
                  </a:lnTo>
                  <a:lnTo>
                    <a:pt x="320" y="30"/>
                  </a:lnTo>
                  <a:lnTo>
                    <a:pt x="342" y="29"/>
                  </a:lnTo>
                  <a:lnTo>
                    <a:pt x="323" y="58"/>
                  </a:lnTo>
                  <a:lnTo>
                    <a:pt x="304" y="77"/>
                  </a:lnTo>
                  <a:lnTo>
                    <a:pt x="304" y="117"/>
                  </a:lnTo>
                  <a:lnTo>
                    <a:pt x="304" y="155"/>
                  </a:lnTo>
                  <a:lnTo>
                    <a:pt x="304" y="195"/>
                  </a:lnTo>
                  <a:lnTo>
                    <a:pt x="304" y="234"/>
                  </a:lnTo>
                  <a:lnTo>
                    <a:pt x="327" y="267"/>
                  </a:lnTo>
                  <a:lnTo>
                    <a:pt x="316" y="280"/>
                  </a:lnTo>
                  <a:lnTo>
                    <a:pt x="305" y="283"/>
                  </a:lnTo>
                  <a:lnTo>
                    <a:pt x="297" y="299"/>
                  </a:lnTo>
                  <a:lnTo>
                    <a:pt x="284" y="306"/>
                  </a:lnTo>
                  <a:lnTo>
                    <a:pt x="277" y="312"/>
                  </a:lnTo>
                  <a:lnTo>
                    <a:pt x="247" y="381"/>
                  </a:lnTo>
                  <a:lnTo>
                    <a:pt x="233" y="396"/>
                  </a:lnTo>
                  <a:lnTo>
                    <a:pt x="172" y="358"/>
                  </a:lnTo>
                  <a:lnTo>
                    <a:pt x="163" y="325"/>
                  </a:lnTo>
                  <a:lnTo>
                    <a:pt x="12" y="237"/>
                  </a:lnTo>
                  <a:close/>
                </a:path>
              </a:pathLst>
            </a:custGeom>
            <a:grpFill/>
            <a:ln w="6350">
              <a:solidFill>
                <a:schemeClr val="tx2"/>
              </a:solidFill>
              <a:round/>
              <a:headEnd/>
              <a:tailEnd/>
            </a:ln>
          </p:spPr>
          <p:txBody>
            <a:bodyPr/>
            <a:lstStyle/>
            <a:p>
              <a:endParaRPr lang="en-US"/>
            </a:p>
          </p:txBody>
        </p:sp>
        <p:sp>
          <p:nvSpPr>
            <p:cNvPr id="552" name="Freeform 1397"/>
            <p:cNvSpPr>
              <a:spLocks/>
            </p:cNvSpPr>
            <p:nvPr/>
          </p:nvSpPr>
          <p:spPr bwMode="auto">
            <a:xfrm>
              <a:off x="5252477" y="4404379"/>
              <a:ext cx="229085" cy="230601"/>
            </a:xfrm>
            <a:custGeom>
              <a:avLst/>
              <a:gdLst>
                <a:gd name="T0" fmla="*/ 2147483647 w 466"/>
                <a:gd name="T1" fmla="*/ 2147483647 h 463"/>
                <a:gd name="T2" fmla="*/ 2147483647 w 466"/>
                <a:gd name="T3" fmla="*/ 2147483647 h 463"/>
                <a:gd name="T4" fmla="*/ 2147483647 w 466"/>
                <a:gd name="T5" fmla="*/ 2147483647 h 463"/>
                <a:gd name="T6" fmla="*/ 2147483647 w 466"/>
                <a:gd name="T7" fmla="*/ 2147483647 h 463"/>
                <a:gd name="T8" fmla="*/ 0 w 466"/>
                <a:gd name="T9" fmla="*/ 2147483647 h 463"/>
                <a:gd name="T10" fmla="*/ 2147483647 w 466"/>
                <a:gd name="T11" fmla="*/ 2147483647 h 463"/>
                <a:gd name="T12" fmla="*/ 2147483647 w 466"/>
                <a:gd name="T13" fmla="*/ 2147483647 h 463"/>
                <a:gd name="T14" fmla="*/ 2147483647 w 466"/>
                <a:gd name="T15" fmla="*/ 2147483647 h 463"/>
                <a:gd name="T16" fmla="*/ 2147483647 w 466"/>
                <a:gd name="T17" fmla="*/ 0 h 463"/>
                <a:gd name="T18" fmla="*/ 2147483647 w 466"/>
                <a:gd name="T19" fmla="*/ 2147483647 h 463"/>
                <a:gd name="T20" fmla="*/ 2147483647 w 466"/>
                <a:gd name="T21" fmla="*/ 2147483647 h 463"/>
                <a:gd name="T22" fmla="*/ 2147483647 w 466"/>
                <a:gd name="T23" fmla="*/ 2147483647 h 463"/>
                <a:gd name="T24" fmla="*/ 2147483647 w 466"/>
                <a:gd name="T25" fmla="*/ 2147483647 h 463"/>
                <a:gd name="T26" fmla="*/ 2147483647 w 466"/>
                <a:gd name="T27" fmla="*/ 2147483647 h 463"/>
                <a:gd name="T28" fmla="*/ 2147483647 w 466"/>
                <a:gd name="T29" fmla="*/ 2147483647 h 463"/>
                <a:gd name="T30" fmla="*/ 2147483647 w 466"/>
                <a:gd name="T31" fmla="*/ 2147483647 h 463"/>
                <a:gd name="T32" fmla="*/ 2147483647 w 466"/>
                <a:gd name="T33" fmla="*/ 2147483647 h 463"/>
                <a:gd name="T34" fmla="*/ 2147483647 w 466"/>
                <a:gd name="T35" fmla="*/ 2147483647 h 463"/>
                <a:gd name="T36" fmla="*/ 2147483647 w 466"/>
                <a:gd name="T37" fmla="*/ 2147483647 h 463"/>
                <a:gd name="T38" fmla="*/ 2147483647 w 466"/>
                <a:gd name="T39" fmla="*/ 2147483647 h 463"/>
                <a:gd name="T40" fmla="*/ 2147483647 w 466"/>
                <a:gd name="T41" fmla="*/ 2147483647 h 463"/>
                <a:gd name="T42" fmla="*/ 2147483647 w 466"/>
                <a:gd name="T43" fmla="*/ 2147483647 h 463"/>
                <a:gd name="T44" fmla="*/ 2147483647 w 466"/>
                <a:gd name="T45" fmla="*/ 2147483647 h 463"/>
                <a:gd name="T46" fmla="*/ 2147483647 w 466"/>
                <a:gd name="T47" fmla="*/ 2147483647 h 463"/>
                <a:gd name="T48" fmla="*/ 2147483647 w 466"/>
                <a:gd name="T49" fmla="*/ 2147483647 h 463"/>
                <a:gd name="T50" fmla="*/ 2147483647 w 466"/>
                <a:gd name="T51" fmla="*/ 2147483647 h 463"/>
                <a:gd name="T52" fmla="*/ 2147483647 w 466"/>
                <a:gd name="T53" fmla="*/ 2147483647 h 463"/>
                <a:gd name="T54" fmla="*/ 2147483647 w 466"/>
                <a:gd name="T55" fmla="*/ 2147483647 h 463"/>
                <a:gd name="T56" fmla="*/ 2147483647 w 466"/>
                <a:gd name="T57" fmla="*/ 2147483647 h 463"/>
                <a:gd name="T58" fmla="*/ 2147483647 w 466"/>
                <a:gd name="T59" fmla="*/ 2147483647 h 463"/>
                <a:gd name="T60" fmla="*/ 2147483647 w 466"/>
                <a:gd name="T61" fmla="*/ 2147483647 h 463"/>
                <a:gd name="T62" fmla="*/ 2147483647 w 466"/>
                <a:gd name="T63" fmla="*/ 2147483647 h 463"/>
                <a:gd name="T64" fmla="*/ 2147483647 w 466"/>
                <a:gd name="T65" fmla="*/ 2147483647 h 463"/>
                <a:gd name="T66" fmla="*/ 2147483647 w 466"/>
                <a:gd name="T67" fmla="*/ 2147483647 h 463"/>
                <a:gd name="T68" fmla="*/ 2147483647 w 466"/>
                <a:gd name="T69" fmla="*/ 2147483647 h 463"/>
                <a:gd name="T70" fmla="*/ 2147483647 w 466"/>
                <a:gd name="T71" fmla="*/ 2147483647 h 463"/>
                <a:gd name="T72" fmla="*/ 2147483647 w 466"/>
                <a:gd name="T73" fmla="*/ 2147483647 h 463"/>
                <a:gd name="T74" fmla="*/ 2147483647 w 466"/>
                <a:gd name="T75" fmla="*/ 2147483647 h 463"/>
                <a:gd name="T76" fmla="*/ 2147483647 w 466"/>
                <a:gd name="T77" fmla="*/ 2147483647 h 463"/>
                <a:gd name="T78" fmla="*/ 2147483647 w 466"/>
                <a:gd name="T79" fmla="*/ 2147483647 h 463"/>
                <a:gd name="T80" fmla="*/ 2147483647 w 466"/>
                <a:gd name="T81" fmla="*/ 2147483647 h 463"/>
                <a:gd name="T82" fmla="*/ 2147483647 w 466"/>
                <a:gd name="T83" fmla="*/ 2147483647 h 463"/>
                <a:gd name="T84" fmla="*/ 2147483647 w 466"/>
                <a:gd name="T85" fmla="*/ 2147483647 h 463"/>
                <a:gd name="T86" fmla="*/ 2147483647 w 466"/>
                <a:gd name="T87" fmla="*/ 2147483647 h 463"/>
                <a:gd name="T88" fmla="*/ 2147483647 w 466"/>
                <a:gd name="T89" fmla="*/ 2147483647 h 463"/>
                <a:gd name="T90" fmla="*/ 2147483647 w 466"/>
                <a:gd name="T91" fmla="*/ 2147483647 h 463"/>
                <a:gd name="T92" fmla="*/ 2147483647 w 466"/>
                <a:gd name="T93" fmla="*/ 2147483647 h 463"/>
                <a:gd name="T94" fmla="*/ 2147483647 w 466"/>
                <a:gd name="T95" fmla="*/ 2147483647 h 463"/>
                <a:gd name="T96" fmla="*/ 2147483647 w 466"/>
                <a:gd name="T97" fmla="*/ 2147483647 h 463"/>
                <a:gd name="T98" fmla="*/ 2147483647 w 466"/>
                <a:gd name="T99" fmla="*/ 2147483647 h 463"/>
                <a:gd name="T100" fmla="*/ 2147483647 w 466"/>
                <a:gd name="T101" fmla="*/ 2147483647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6"/>
                <a:gd name="T154" fmla="*/ 0 h 463"/>
                <a:gd name="T155" fmla="*/ 466 w 466"/>
                <a:gd name="T156" fmla="*/ 463 h 4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6" h="463">
                  <a:moveTo>
                    <a:pt x="63" y="327"/>
                  </a:moveTo>
                  <a:lnTo>
                    <a:pt x="39" y="276"/>
                  </a:lnTo>
                  <a:lnTo>
                    <a:pt x="39" y="259"/>
                  </a:lnTo>
                  <a:lnTo>
                    <a:pt x="25" y="244"/>
                  </a:lnTo>
                  <a:lnTo>
                    <a:pt x="8" y="234"/>
                  </a:lnTo>
                  <a:lnTo>
                    <a:pt x="4" y="223"/>
                  </a:lnTo>
                  <a:lnTo>
                    <a:pt x="12" y="213"/>
                  </a:lnTo>
                  <a:lnTo>
                    <a:pt x="8" y="182"/>
                  </a:lnTo>
                  <a:lnTo>
                    <a:pt x="1" y="175"/>
                  </a:lnTo>
                  <a:lnTo>
                    <a:pt x="0" y="146"/>
                  </a:lnTo>
                  <a:lnTo>
                    <a:pt x="23" y="139"/>
                  </a:lnTo>
                  <a:lnTo>
                    <a:pt x="50" y="95"/>
                  </a:lnTo>
                  <a:lnTo>
                    <a:pt x="48" y="83"/>
                  </a:lnTo>
                  <a:lnTo>
                    <a:pt x="38" y="74"/>
                  </a:lnTo>
                  <a:lnTo>
                    <a:pt x="43" y="60"/>
                  </a:lnTo>
                  <a:lnTo>
                    <a:pt x="54" y="42"/>
                  </a:lnTo>
                  <a:lnTo>
                    <a:pt x="35" y="2"/>
                  </a:lnTo>
                  <a:lnTo>
                    <a:pt x="93" y="0"/>
                  </a:lnTo>
                  <a:lnTo>
                    <a:pt x="94" y="4"/>
                  </a:lnTo>
                  <a:lnTo>
                    <a:pt x="93" y="21"/>
                  </a:lnTo>
                  <a:lnTo>
                    <a:pt x="90" y="31"/>
                  </a:lnTo>
                  <a:lnTo>
                    <a:pt x="89" y="47"/>
                  </a:lnTo>
                  <a:lnTo>
                    <a:pt x="92" y="64"/>
                  </a:lnTo>
                  <a:lnTo>
                    <a:pt x="92" y="70"/>
                  </a:lnTo>
                  <a:lnTo>
                    <a:pt x="96" y="77"/>
                  </a:lnTo>
                  <a:lnTo>
                    <a:pt x="102" y="74"/>
                  </a:lnTo>
                  <a:lnTo>
                    <a:pt x="105" y="68"/>
                  </a:lnTo>
                  <a:lnTo>
                    <a:pt x="109" y="68"/>
                  </a:lnTo>
                  <a:lnTo>
                    <a:pt x="108" y="61"/>
                  </a:lnTo>
                  <a:lnTo>
                    <a:pt x="112" y="56"/>
                  </a:lnTo>
                  <a:lnTo>
                    <a:pt x="116" y="58"/>
                  </a:lnTo>
                  <a:lnTo>
                    <a:pt x="123" y="67"/>
                  </a:lnTo>
                  <a:lnTo>
                    <a:pt x="128" y="70"/>
                  </a:lnTo>
                  <a:lnTo>
                    <a:pt x="133" y="67"/>
                  </a:lnTo>
                  <a:lnTo>
                    <a:pt x="137" y="68"/>
                  </a:lnTo>
                  <a:lnTo>
                    <a:pt x="139" y="83"/>
                  </a:lnTo>
                  <a:lnTo>
                    <a:pt x="144" y="79"/>
                  </a:lnTo>
                  <a:lnTo>
                    <a:pt x="143" y="73"/>
                  </a:lnTo>
                  <a:lnTo>
                    <a:pt x="146" y="66"/>
                  </a:lnTo>
                  <a:lnTo>
                    <a:pt x="149" y="65"/>
                  </a:lnTo>
                  <a:lnTo>
                    <a:pt x="158" y="65"/>
                  </a:lnTo>
                  <a:lnTo>
                    <a:pt x="162" y="64"/>
                  </a:lnTo>
                  <a:lnTo>
                    <a:pt x="168" y="62"/>
                  </a:lnTo>
                  <a:lnTo>
                    <a:pt x="176" y="56"/>
                  </a:lnTo>
                  <a:lnTo>
                    <a:pt x="177" y="54"/>
                  </a:lnTo>
                  <a:lnTo>
                    <a:pt x="175" y="50"/>
                  </a:lnTo>
                  <a:lnTo>
                    <a:pt x="164" y="51"/>
                  </a:lnTo>
                  <a:lnTo>
                    <a:pt x="157" y="48"/>
                  </a:lnTo>
                  <a:lnTo>
                    <a:pt x="159" y="46"/>
                  </a:lnTo>
                  <a:lnTo>
                    <a:pt x="166" y="41"/>
                  </a:lnTo>
                  <a:lnTo>
                    <a:pt x="164" y="38"/>
                  </a:lnTo>
                  <a:lnTo>
                    <a:pt x="166" y="36"/>
                  </a:lnTo>
                  <a:lnTo>
                    <a:pt x="171" y="36"/>
                  </a:lnTo>
                  <a:lnTo>
                    <a:pt x="172" y="33"/>
                  </a:lnTo>
                  <a:lnTo>
                    <a:pt x="176" y="27"/>
                  </a:lnTo>
                  <a:lnTo>
                    <a:pt x="177" y="24"/>
                  </a:lnTo>
                  <a:lnTo>
                    <a:pt x="182" y="23"/>
                  </a:lnTo>
                  <a:lnTo>
                    <a:pt x="184" y="15"/>
                  </a:lnTo>
                  <a:lnTo>
                    <a:pt x="188" y="17"/>
                  </a:lnTo>
                  <a:lnTo>
                    <a:pt x="189" y="13"/>
                  </a:lnTo>
                  <a:lnTo>
                    <a:pt x="186" y="8"/>
                  </a:lnTo>
                  <a:lnTo>
                    <a:pt x="189" y="3"/>
                  </a:lnTo>
                  <a:lnTo>
                    <a:pt x="197" y="0"/>
                  </a:lnTo>
                  <a:lnTo>
                    <a:pt x="348" y="88"/>
                  </a:lnTo>
                  <a:lnTo>
                    <a:pt x="357" y="121"/>
                  </a:lnTo>
                  <a:lnTo>
                    <a:pt x="418" y="159"/>
                  </a:lnTo>
                  <a:lnTo>
                    <a:pt x="397" y="220"/>
                  </a:lnTo>
                  <a:lnTo>
                    <a:pt x="398" y="230"/>
                  </a:lnTo>
                  <a:lnTo>
                    <a:pt x="428" y="264"/>
                  </a:lnTo>
                  <a:lnTo>
                    <a:pt x="420" y="289"/>
                  </a:lnTo>
                  <a:lnTo>
                    <a:pt x="422" y="299"/>
                  </a:lnTo>
                  <a:lnTo>
                    <a:pt x="422" y="310"/>
                  </a:lnTo>
                  <a:lnTo>
                    <a:pt x="417" y="311"/>
                  </a:lnTo>
                  <a:lnTo>
                    <a:pt x="416" y="316"/>
                  </a:lnTo>
                  <a:lnTo>
                    <a:pt x="426" y="337"/>
                  </a:lnTo>
                  <a:lnTo>
                    <a:pt x="423" y="341"/>
                  </a:lnTo>
                  <a:lnTo>
                    <a:pt x="433" y="356"/>
                  </a:lnTo>
                  <a:lnTo>
                    <a:pt x="441" y="390"/>
                  </a:lnTo>
                  <a:lnTo>
                    <a:pt x="466" y="406"/>
                  </a:lnTo>
                  <a:lnTo>
                    <a:pt x="465" y="414"/>
                  </a:lnTo>
                  <a:lnTo>
                    <a:pt x="444" y="430"/>
                  </a:lnTo>
                  <a:lnTo>
                    <a:pt x="400" y="447"/>
                  </a:lnTo>
                  <a:lnTo>
                    <a:pt x="385" y="448"/>
                  </a:lnTo>
                  <a:lnTo>
                    <a:pt x="375" y="443"/>
                  </a:lnTo>
                  <a:lnTo>
                    <a:pt x="357" y="446"/>
                  </a:lnTo>
                  <a:lnTo>
                    <a:pt x="344" y="457"/>
                  </a:lnTo>
                  <a:lnTo>
                    <a:pt x="313" y="457"/>
                  </a:lnTo>
                  <a:lnTo>
                    <a:pt x="292" y="463"/>
                  </a:lnTo>
                  <a:lnTo>
                    <a:pt x="275" y="453"/>
                  </a:lnTo>
                  <a:lnTo>
                    <a:pt x="260" y="458"/>
                  </a:lnTo>
                  <a:lnTo>
                    <a:pt x="229" y="457"/>
                  </a:lnTo>
                  <a:lnTo>
                    <a:pt x="217" y="440"/>
                  </a:lnTo>
                  <a:lnTo>
                    <a:pt x="209" y="388"/>
                  </a:lnTo>
                  <a:lnTo>
                    <a:pt x="196" y="374"/>
                  </a:lnTo>
                  <a:lnTo>
                    <a:pt x="187" y="371"/>
                  </a:lnTo>
                  <a:lnTo>
                    <a:pt x="185" y="375"/>
                  </a:lnTo>
                  <a:lnTo>
                    <a:pt x="177" y="371"/>
                  </a:lnTo>
                  <a:lnTo>
                    <a:pt x="165" y="374"/>
                  </a:lnTo>
                  <a:lnTo>
                    <a:pt x="143" y="363"/>
                  </a:lnTo>
                  <a:lnTo>
                    <a:pt x="92" y="344"/>
                  </a:lnTo>
                  <a:lnTo>
                    <a:pt x="75" y="328"/>
                  </a:lnTo>
                  <a:lnTo>
                    <a:pt x="63" y="327"/>
                  </a:lnTo>
                  <a:close/>
                </a:path>
              </a:pathLst>
            </a:custGeom>
            <a:grpFill/>
            <a:ln w="6350">
              <a:solidFill>
                <a:schemeClr val="tx2"/>
              </a:solidFill>
              <a:round/>
              <a:headEnd/>
              <a:tailEnd/>
            </a:ln>
          </p:spPr>
          <p:txBody>
            <a:bodyPr/>
            <a:lstStyle/>
            <a:p>
              <a:endParaRPr lang="en-US"/>
            </a:p>
          </p:txBody>
        </p:sp>
        <p:sp>
          <p:nvSpPr>
            <p:cNvPr id="553" name="Freeform 1398"/>
            <p:cNvSpPr>
              <a:spLocks/>
            </p:cNvSpPr>
            <p:nvPr/>
          </p:nvSpPr>
          <p:spPr bwMode="auto">
            <a:xfrm>
              <a:off x="4864096" y="4509060"/>
              <a:ext cx="270046" cy="262460"/>
            </a:xfrm>
            <a:custGeom>
              <a:avLst/>
              <a:gdLst>
                <a:gd name="T0" fmla="*/ 2147483647 w 544"/>
                <a:gd name="T1" fmla="*/ 2147483647 h 536"/>
                <a:gd name="T2" fmla="*/ 2147483647 w 544"/>
                <a:gd name="T3" fmla="*/ 2147483647 h 536"/>
                <a:gd name="T4" fmla="*/ 2147483647 w 544"/>
                <a:gd name="T5" fmla="*/ 2147483647 h 536"/>
                <a:gd name="T6" fmla="*/ 2147483647 w 544"/>
                <a:gd name="T7" fmla="*/ 2147483647 h 536"/>
                <a:gd name="T8" fmla="*/ 2147483647 w 544"/>
                <a:gd name="T9" fmla="*/ 2147483647 h 536"/>
                <a:gd name="T10" fmla="*/ 0 w 544"/>
                <a:gd name="T11" fmla="*/ 2147483647 h 536"/>
                <a:gd name="T12" fmla="*/ 2147483647 w 544"/>
                <a:gd name="T13" fmla="*/ 2147483647 h 536"/>
                <a:gd name="T14" fmla="*/ 2147483647 w 544"/>
                <a:gd name="T15" fmla="*/ 2147483647 h 536"/>
                <a:gd name="T16" fmla="*/ 2147483647 w 544"/>
                <a:gd name="T17" fmla="*/ 2147483647 h 536"/>
                <a:gd name="T18" fmla="*/ 2147483647 w 544"/>
                <a:gd name="T19" fmla="*/ 2147483647 h 536"/>
                <a:gd name="T20" fmla="*/ 2147483647 w 544"/>
                <a:gd name="T21" fmla="*/ 2147483647 h 536"/>
                <a:gd name="T22" fmla="*/ 2147483647 w 544"/>
                <a:gd name="T23" fmla="*/ 2147483647 h 536"/>
                <a:gd name="T24" fmla="*/ 2147483647 w 544"/>
                <a:gd name="T25" fmla="*/ 2147483647 h 536"/>
                <a:gd name="T26" fmla="*/ 2147483647 w 544"/>
                <a:gd name="T27" fmla="*/ 2147483647 h 536"/>
                <a:gd name="T28" fmla="*/ 2147483647 w 544"/>
                <a:gd name="T29" fmla="*/ 2147483647 h 536"/>
                <a:gd name="T30" fmla="*/ 2147483647 w 544"/>
                <a:gd name="T31" fmla="*/ 2147483647 h 536"/>
                <a:gd name="T32" fmla="*/ 2147483647 w 544"/>
                <a:gd name="T33" fmla="*/ 2147483647 h 536"/>
                <a:gd name="T34" fmla="*/ 2147483647 w 544"/>
                <a:gd name="T35" fmla="*/ 2147483647 h 536"/>
                <a:gd name="T36" fmla="*/ 2147483647 w 544"/>
                <a:gd name="T37" fmla="*/ 2147483647 h 536"/>
                <a:gd name="T38" fmla="*/ 2147483647 w 544"/>
                <a:gd name="T39" fmla="*/ 2147483647 h 536"/>
                <a:gd name="T40" fmla="*/ 2147483647 w 544"/>
                <a:gd name="T41" fmla="*/ 2147483647 h 536"/>
                <a:gd name="T42" fmla="*/ 2147483647 w 544"/>
                <a:gd name="T43" fmla="*/ 2147483647 h 536"/>
                <a:gd name="T44" fmla="*/ 2147483647 w 544"/>
                <a:gd name="T45" fmla="*/ 2147483647 h 536"/>
                <a:gd name="T46" fmla="*/ 2147483647 w 544"/>
                <a:gd name="T47" fmla="*/ 2147483647 h 536"/>
                <a:gd name="T48" fmla="*/ 2147483647 w 544"/>
                <a:gd name="T49" fmla="*/ 2147483647 h 536"/>
                <a:gd name="T50" fmla="*/ 2147483647 w 544"/>
                <a:gd name="T51" fmla="*/ 2147483647 h 536"/>
                <a:gd name="T52" fmla="*/ 2147483647 w 544"/>
                <a:gd name="T53" fmla="*/ 2147483647 h 536"/>
                <a:gd name="T54" fmla="*/ 2147483647 w 544"/>
                <a:gd name="T55" fmla="*/ 2147483647 h 536"/>
                <a:gd name="T56" fmla="*/ 2147483647 w 544"/>
                <a:gd name="T57" fmla="*/ 2147483647 h 536"/>
                <a:gd name="T58" fmla="*/ 2147483647 w 544"/>
                <a:gd name="T59" fmla="*/ 2147483647 h 536"/>
                <a:gd name="T60" fmla="*/ 2147483647 w 544"/>
                <a:gd name="T61" fmla="*/ 2147483647 h 536"/>
                <a:gd name="T62" fmla="*/ 2147483647 w 544"/>
                <a:gd name="T63" fmla="*/ 2147483647 h 536"/>
                <a:gd name="T64" fmla="*/ 2147483647 w 544"/>
                <a:gd name="T65" fmla="*/ 2147483647 h 536"/>
                <a:gd name="T66" fmla="*/ 2147483647 w 544"/>
                <a:gd name="T67" fmla="*/ 2147483647 h 536"/>
                <a:gd name="T68" fmla="*/ 2147483647 w 544"/>
                <a:gd name="T69" fmla="*/ 2147483647 h 536"/>
                <a:gd name="T70" fmla="*/ 2147483647 w 544"/>
                <a:gd name="T71" fmla="*/ 2147483647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290" y="504"/>
                  </a:moveTo>
                  <a:lnTo>
                    <a:pt x="242" y="504"/>
                  </a:lnTo>
                  <a:lnTo>
                    <a:pt x="194" y="504"/>
                  </a:lnTo>
                  <a:lnTo>
                    <a:pt x="147" y="504"/>
                  </a:lnTo>
                  <a:lnTo>
                    <a:pt x="99" y="504"/>
                  </a:lnTo>
                  <a:lnTo>
                    <a:pt x="74" y="485"/>
                  </a:lnTo>
                  <a:lnTo>
                    <a:pt x="66" y="484"/>
                  </a:lnTo>
                  <a:lnTo>
                    <a:pt x="48" y="484"/>
                  </a:lnTo>
                  <a:lnTo>
                    <a:pt x="28" y="497"/>
                  </a:lnTo>
                  <a:lnTo>
                    <a:pt x="21" y="492"/>
                  </a:lnTo>
                  <a:lnTo>
                    <a:pt x="2" y="503"/>
                  </a:lnTo>
                  <a:lnTo>
                    <a:pt x="0" y="474"/>
                  </a:lnTo>
                  <a:lnTo>
                    <a:pt x="5" y="481"/>
                  </a:lnTo>
                  <a:lnTo>
                    <a:pt x="5" y="440"/>
                  </a:lnTo>
                  <a:lnTo>
                    <a:pt x="12" y="434"/>
                  </a:lnTo>
                  <a:lnTo>
                    <a:pt x="20" y="407"/>
                  </a:lnTo>
                  <a:lnTo>
                    <a:pt x="34" y="346"/>
                  </a:lnTo>
                  <a:lnTo>
                    <a:pt x="42" y="326"/>
                  </a:lnTo>
                  <a:lnTo>
                    <a:pt x="54" y="315"/>
                  </a:lnTo>
                  <a:lnTo>
                    <a:pt x="55" y="305"/>
                  </a:lnTo>
                  <a:lnTo>
                    <a:pt x="71" y="297"/>
                  </a:lnTo>
                  <a:lnTo>
                    <a:pt x="86" y="279"/>
                  </a:lnTo>
                  <a:lnTo>
                    <a:pt x="91" y="258"/>
                  </a:lnTo>
                  <a:lnTo>
                    <a:pt x="92" y="226"/>
                  </a:lnTo>
                  <a:lnTo>
                    <a:pt x="96" y="220"/>
                  </a:lnTo>
                  <a:lnTo>
                    <a:pt x="93" y="205"/>
                  </a:lnTo>
                  <a:lnTo>
                    <a:pt x="75" y="182"/>
                  </a:lnTo>
                  <a:lnTo>
                    <a:pt x="64" y="146"/>
                  </a:lnTo>
                  <a:lnTo>
                    <a:pt x="74" y="130"/>
                  </a:lnTo>
                  <a:lnTo>
                    <a:pt x="71" y="106"/>
                  </a:lnTo>
                  <a:lnTo>
                    <a:pt x="52" y="54"/>
                  </a:lnTo>
                  <a:lnTo>
                    <a:pt x="32" y="20"/>
                  </a:lnTo>
                  <a:lnTo>
                    <a:pt x="72" y="2"/>
                  </a:lnTo>
                  <a:lnTo>
                    <a:pt x="105" y="2"/>
                  </a:lnTo>
                  <a:lnTo>
                    <a:pt x="136" y="1"/>
                  </a:lnTo>
                  <a:lnTo>
                    <a:pt x="169" y="1"/>
                  </a:lnTo>
                  <a:lnTo>
                    <a:pt x="200" y="0"/>
                  </a:lnTo>
                  <a:lnTo>
                    <a:pt x="216" y="13"/>
                  </a:lnTo>
                  <a:lnTo>
                    <a:pt x="230" y="65"/>
                  </a:lnTo>
                  <a:lnTo>
                    <a:pt x="256" y="96"/>
                  </a:lnTo>
                  <a:lnTo>
                    <a:pt x="266" y="100"/>
                  </a:lnTo>
                  <a:lnTo>
                    <a:pt x="304" y="93"/>
                  </a:lnTo>
                  <a:lnTo>
                    <a:pt x="333" y="94"/>
                  </a:lnTo>
                  <a:lnTo>
                    <a:pt x="343" y="51"/>
                  </a:lnTo>
                  <a:lnTo>
                    <a:pt x="397" y="47"/>
                  </a:lnTo>
                  <a:lnTo>
                    <a:pt x="394" y="64"/>
                  </a:lnTo>
                  <a:lnTo>
                    <a:pt x="434" y="64"/>
                  </a:lnTo>
                  <a:lnTo>
                    <a:pt x="439" y="73"/>
                  </a:lnTo>
                  <a:lnTo>
                    <a:pt x="444" y="134"/>
                  </a:lnTo>
                  <a:lnTo>
                    <a:pt x="441" y="157"/>
                  </a:lnTo>
                  <a:lnTo>
                    <a:pt x="453" y="205"/>
                  </a:lnTo>
                  <a:lnTo>
                    <a:pt x="448" y="229"/>
                  </a:lnTo>
                  <a:lnTo>
                    <a:pt x="462" y="238"/>
                  </a:lnTo>
                  <a:lnTo>
                    <a:pt x="472" y="224"/>
                  </a:lnTo>
                  <a:lnTo>
                    <a:pt x="498" y="223"/>
                  </a:lnTo>
                  <a:lnTo>
                    <a:pt x="529" y="222"/>
                  </a:lnTo>
                  <a:lnTo>
                    <a:pt x="537" y="217"/>
                  </a:lnTo>
                  <a:lnTo>
                    <a:pt x="540" y="223"/>
                  </a:lnTo>
                  <a:lnTo>
                    <a:pt x="533" y="303"/>
                  </a:lnTo>
                  <a:lnTo>
                    <a:pt x="544" y="311"/>
                  </a:lnTo>
                  <a:lnTo>
                    <a:pt x="511" y="311"/>
                  </a:lnTo>
                  <a:lnTo>
                    <a:pt x="481" y="311"/>
                  </a:lnTo>
                  <a:lnTo>
                    <a:pt x="450" y="311"/>
                  </a:lnTo>
                  <a:lnTo>
                    <a:pt x="450" y="344"/>
                  </a:lnTo>
                  <a:lnTo>
                    <a:pt x="450" y="376"/>
                  </a:lnTo>
                  <a:lnTo>
                    <a:pt x="451" y="419"/>
                  </a:lnTo>
                  <a:lnTo>
                    <a:pt x="451" y="470"/>
                  </a:lnTo>
                  <a:lnTo>
                    <a:pt x="501" y="516"/>
                  </a:lnTo>
                  <a:lnTo>
                    <a:pt x="425" y="536"/>
                  </a:lnTo>
                  <a:lnTo>
                    <a:pt x="364" y="524"/>
                  </a:lnTo>
                  <a:lnTo>
                    <a:pt x="320" y="525"/>
                  </a:lnTo>
                  <a:lnTo>
                    <a:pt x="307" y="521"/>
                  </a:lnTo>
                  <a:lnTo>
                    <a:pt x="290" y="504"/>
                  </a:lnTo>
                  <a:close/>
                </a:path>
              </a:pathLst>
            </a:custGeom>
            <a:grpFill/>
            <a:ln w="6350">
              <a:solidFill>
                <a:schemeClr val="tx2"/>
              </a:solidFill>
              <a:round/>
              <a:headEnd/>
              <a:tailEnd/>
            </a:ln>
          </p:spPr>
          <p:txBody>
            <a:bodyPr/>
            <a:lstStyle/>
            <a:p>
              <a:endParaRPr lang="en-US"/>
            </a:p>
          </p:txBody>
        </p:sp>
        <p:sp>
          <p:nvSpPr>
            <p:cNvPr id="554" name="Freeform 1399"/>
            <p:cNvSpPr>
              <a:spLocks/>
            </p:cNvSpPr>
            <p:nvPr/>
          </p:nvSpPr>
          <p:spPr bwMode="auto">
            <a:xfrm>
              <a:off x="5153865" y="4718422"/>
              <a:ext cx="166883" cy="157780"/>
            </a:xfrm>
            <a:custGeom>
              <a:avLst/>
              <a:gdLst>
                <a:gd name="T0" fmla="*/ 2147483647 w 337"/>
                <a:gd name="T1" fmla="*/ 2147483647 h 320"/>
                <a:gd name="T2" fmla="*/ 2147483647 w 337"/>
                <a:gd name="T3" fmla="*/ 2147483647 h 320"/>
                <a:gd name="T4" fmla="*/ 2147483647 w 337"/>
                <a:gd name="T5" fmla="*/ 2147483647 h 320"/>
                <a:gd name="T6" fmla="*/ 2147483647 w 337"/>
                <a:gd name="T7" fmla="*/ 2147483647 h 320"/>
                <a:gd name="T8" fmla="*/ 2147483647 w 337"/>
                <a:gd name="T9" fmla="*/ 2147483647 h 320"/>
                <a:gd name="T10" fmla="*/ 2147483647 w 337"/>
                <a:gd name="T11" fmla="*/ 2147483647 h 320"/>
                <a:gd name="T12" fmla="*/ 2147483647 w 337"/>
                <a:gd name="T13" fmla="*/ 2147483647 h 320"/>
                <a:gd name="T14" fmla="*/ 2147483647 w 337"/>
                <a:gd name="T15" fmla="*/ 2147483647 h 320"/>
                <a:gd name="T16" fmla="*/ 2147483647 w 337"/>
                <a:gd name="T17" fmla="*/ 2147483647 h 320"/>
                <a:gd name="T18" fmla="*/ 2147483647 w 337"/>
                <a:gd name="T19" fmla="*/ 2147483647 h 320"/>
                <a:gd name="T20" fmla="*/ 2147483647 w 337"/>
                <a:gd name="T21" fmla="*/ 2147483647 h 320"/>
                <a:gd name="T22" fmla="*/ 2147483647 w 337"/>
                <a:gd name="T23" fmla="*/ 0 h 320"/>
                <a:gd name="T24" fmla="*/ 2147483647 w 337"/>
                <a:gd name="T25" fmla="*/ 2147483647 h 320"/>
                <a:gd name="T26" fmla="*/ 2147483647 w 337"/>
                <a:gd name="T27" fmla="*/ 2147483647 h 320"/>
                <a:gd name="T28" fmla="*/ 2147483647 w 337"/>
                <a:gd name="T29" fmla="*/ 2147483647 h 320"/>
                <a:gd name="T30" fmla="*/ 2147483647 w 337"/>
                <a:gd name="T31" fmla="*/ 2147483647 h 320"/>
                <a:gd name="T32" fmla="*/ 2147483647 w 337"/>
                <a:gd name="T33" fmla="*/ 2147483647 h 320"/>
                <a:gd name="T34" fmla="*/ 2147483647 w 337"/>
                <a:gd name="T35" fmla="*/ 2147483647 h 320"/>
                <a:gd name="T36" fmla="*/ 2147483647 w 337"/>
                <a:gd name="T37" fmla="*/ 2147483647 h 320"/>
                <a:gd name="T38" fmla="*/ 2147483647 w 337"/>
                <a:gd name="T39" fmla="*/ 2147483647 h 320"/>
                <a:gd name="T40" fmla="*/ 2147483647 w 337"/>
                <a:gd name="T41" fmla="*/ 2147483647 h 320"/>
                <a:gd name="T42" fmla="*/ 2147483647 w 337"/>
                <a:gd name="T43" fmla="*/ 2147483647 h 320"/>
                <a:gd name="T44" fmla="*/ 2147483647 w 337"/>
                <a:gd name="T45" fmla="*/ 2147483647 h 320"/>
                <a:gd name="T46" fmla="*/ 2147483647 w 337"/>
                <a:gd name="T47" fmla="*/ 2147483647 h 320"/>
                <a:gd name="T48" fmla="*/ 2147483647 w 337"/>
                <a:gd name="T49" fmla="*/ 2147483647 h 320"/>
                <a:gd name="T50" fmla="*/ 2147483647 w 337"/>
                <a:gd name="T51" fmla="*/ 2147483647 h 320"/>
                <a:gd name="T52" fmla="*/ 2147483647 w 337"/>
                <a:gd name="T53" fmla="*/ 2147483647 h 320"/>
                <a:gd name="T54" fmla="*/ 2147483647 w 337"/>
                <a:gd name="T55" fmla="*/ 2147483647 h 320"/>
                <a:gd name="T56" fmla="*/ 2147483647 w 337"/>
                <a:gd name="T57" fmla="*/ 2147483647 h 320"/>
                <a:gd name="T58" fmla="*/ 2147483647 w 337"/>
                <a:gd name="T59" fmla="*/ 2147483647 h 320"/>
                <a:gd name="T60" fmla="*/ 2147483647 w 337"/>
                <a:gd name="T61" fmla="*/ 2147483647 h 320"/>
                <a:gd name="T62" fmla="*/ 2147483647 w 337"/>
                <a:gd name="T63" fmla="*/ 2147483647 h 320"/>
                <a:gd name="T64" fmla="*/ 2147483647 w 337"/>
                <a:gd name="T65" fmla="*/ 2147483647 h 320"/>
                <a:gd name="T66" fmla="*/ 2147483647 w 337"/>
                <a:gd name="T67" fmla="*/ 2147483647 h 320"/>
                <a:gd name="T68" fmla="*/ 2147483647 w 337"/>
                <a:gd name="T69" fmla="*/ 2147483647 h 320"/>
                <a:gd name="T70" fmla="*/ 2147483647 w 337"/>
                <a:gd name="T71" fmla="*/ 2147483647 h 320"/>
                <a:gd name="T72" fmla="*/ 2147483647 w 337"/>
                <a:gd name="T73" fmla="*/ 2147483647 h 320"/>
                <a:gd name="T74" fmla="*/ 2147483647 w 337"/>
                <a:gd name="T75" fmla="*/ 2147483647 h 320"/>
                <a:gd name="T76" fmla="*/ 2147483647 w 337"/>
                <a:gd name="T77" fmla="*/ 2147483647 h 320"/>
                <a:gd name="T78" fmla="*/ 0 w 337"/>
                <a:gd name="T79" fmla="*/ 2147483647 h 320"/>
                <a:gd name="T80" fmla="*/ 2147483647 w 337"/>
                <a:gd name="T81" fmla="*/ 2147483647 h 320"/>
                <a:gd name="T82" fmla="*/ 2147483647 w 337"/>
                <a:gd name="T83" fmla="*/ 2147483647 h 320"/>
                <a:gd name="T84" fmla="*/ 2147483647 w 337"/>
                <a:gd name="T85" fmla="*/ 2147483647 h 320"/>
                <a:gd name="T86" fmla="*/ 2147483647 w 337"/>
                <a:gd name="T87" fmla="*/ 2147483647 h 320"/>
                <a:gd name="T88" fmla="*/ 2147483647 w 337"/>
                <a:gd name="T89" fmla="*/ 2147483647 h 3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7"/>
                <a:gd name="T136" fmla="*/ 0 h 320"/>
                <a:gd name="T137" fmla="*/ 337 w 337"/>
                <a:gd name="T138" fmla="*/ 320 h 3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7" h="320">
                  <a:moveTo>
                    <a:pt x="78" y="103"/>
                  </a:moveTo>
                  <a:lnTo>
                    <a:pt x="88" y="99"/>
                  </a:lnTo>
                  <a:lnTo>
                    <a:pt x="106" y="77"/>
                  </a:lnTo>
                  <a:lnTo>
                    <a:pt x="122" y="68"/>
                  </a:lnTo>
                  <a:lnTo>
                    <a:pt x="124" y="61"/>
                  </a:lnTo>
                  <a:lnTo>
                    <a:pt x="141" y="54"/>
                  </a:lnTo>
                  <a:lnTo>
                    <a:pt x="153" y="57"/>
                  </a:lnTo>
                  <a:lnTo>
                    <a:pt x="159" y="49"/>
                  </a:lnTo>
                  <a:lnTo>
                    <a:pt x="150" y="44"/>
                  </a:lnTo>
                  <a:lnTo>
                    <a:pt x="151" y="37"/>
                  </a:lnTo>
                  <a:lnTo>
                    <a:pt x="153" y="18"/>
                  </a:lnTo>
                  <a:lnTo>
                    <a:pt x="194" y="0"/>
                  </a:lnTo>
                  <a:lnTo>
                    <a:pt x="208" y="4"/>
                  </a:lnTo>
                  <a:lnTo>
                    <a:pt x="220" y="1"/>
                  </a:lnTo>
                  <a:lnTo>
                    <a:pt x="220" y="17"/>
                  </a:lnTo>
                  <a:lnTo>
                    <a:pt x="264" y="19"/>
                  </a:lnTo>
                  <a:lnTo>
                    <a:pt x="322" y="41"/>
                  </a:lnTo>
                  <a:lnTo>
                    <a:pt x="328" y="49"/>
                  </a:lnTo>
                  <a:lnTo>
                    <a:pt x="337" y="84"/>
                  </a:lnTo>
                  <a:lnTo>
                    <a:pt x="336" y="120"/>
                  </a:lnTo>
                  <a:lnTo>
                    <a:pt x="324" y="153"/>
                  </a:lnTo>
                  <a:lnTo>
                    <a:pt x="332" y="199"/>
                  </a:lnTo>
                  <a:lnTo>
                    <a:pt x="297" y="278"/>
                  </a:lnTo>
                  <a:lnTo>
                    <a:pt x="278" y="297"/>
                  </a:lnTo>
                  <a:lnTo>
                    <a:pt x="275" y="320"/>
                  </a:lnTo>
                  <a:lnTo>
                    <a:pt x="257" y="306"/>
                  </a:lnTo>
                  <a:lnTo>
                    <a:pt x="242" y="301"/>
                  </a:lnTo>
                  <a:lnTo>
                    <a:pt x="213" y="301"/>
                  </a:lnTo>
                  <a:lnTo>
                    <a:pt x="187" y="292"/>
                  </a:lnTo>
                  <a:lnTo>
                    <a:pt x="178" y="295"/>
                  </a:lnTo>
                  <a:lnTo>
                    <a:pt x="152" y="281"/>
                  </a:lnTo>
                  <a:lnTo>
                    <a:pt x="131" y="280"/>
                  </a:lnTo>
                  <a:lnTo>
                    <a:pt x="117" y="269"/>
                  </a:lnTo>
                  <a:lnTo>
                    <a:pt x="109" y="228"/>
                  </a:lnTo>
                  <a:lnTo>
                    <a:pt x="74" y="198"/>
                  </a:lnTo>
                  <a:lnTo>
                    <a:pt x="61" y="195"/>
                  </a:lnTo>
                  <a:lnTo>
                    <a:pt x="38" y="171"/>
                  </a:lnTo>
                  <a:lnTo>
                    <a:pt x="21" y="136"/>
                  </a:lnTo>
                  <a:lnTo>
                    <a:pt x="2" y="112"/>
                  </a:lnTo>
                  <a:lnTo>
                    <a:pt x="0" y="101"/>
                  </a:lnTo>
                  <a:lnTo>
                    <a:pt x="31" y="107"/>
                  </a:lnTo>
                  <a:lnTo>
                    <a:pt x="54" y="104"/>
                  </a:lnTo>
                  <a:lnTo>
                    <a:pt x="62" y="111"/>
                  </a:lnTo>
                  <a:lnTo>
                    <a:pt x="73" y="108"/>
                  </a:lnTo>
                  <a:lnTo>
                    <a:pt x="78" y="103"/>
                  </a:lnTo>
                  <a:close/>
                </a:path>
              </a:pathLst>
            </a:custGeom>
            <a:grpFill/>
            <a:ln w="6350">
              <a:solidFill>
                <a:schemeClr val="tx2"/>
              </a:solidFill>
              <a:round/>
              <a:headEnd/>
              <a:tailEnd/>
            </a:ln>
          </p:spPr>
          <p:txBody>
            <a:bodyPr/>
            <a:lstStyle/>
            <a:p>
              <a:endParaRPr lang="en-US"/>
            </a:p>
          </p:txBody>
        </p:sp>
        <p:sp>
          <p:nvSpPr>
            <p:cNvPr id="555" name="Freeform 1400"/>
            <p:cNvSpPr>
              <a:spLocks/>
            </p:cNvSpPr>
            <p:nvPr/>
          </p:nvSpPr>
          <p:spPr bwMode="auto">
            <a:xfrm>
              <a:off x="5038565" y="4765452"/>
              <a:ext cx="203293" cy="209362"/>
            </a:xfrm>
            <a:custGeom>
              <a:avLst/>
              <a:gdLst>
                <a:gd name="T0" fmla="*/ 2147483647 w 407"/>
                <a:gd name="T1" fmla="*/ 2147483647 h 418"/>
                <a:gd name="T2" fmla="*/ 2147483647 w 407"/>
                <a:gd name="T3" fmla="*/ 2147483647 h 418"/>
                <a:gd name="T4" fmla="*/ 2147483647 w 407"/>
                <a:gd name="T5" fmla="*/ 2147483647 h 418"/>
                <a:gd name="T6" fmla="*/ 2147483647 w 407"/>
                <a:gd name="T7" fmla="*/ 2147483647 h 418"/>
                <a:gd name="T8" fmla="*/ 2147483647 w 407"/>
                <a:gd name="T9" fmla="*/ 2147483647 h 418"/>
                <a:gd name="T10" fmla="*/ 2147483647 w 407"/>
                <a:gd name="T11" fmla="*/ 2147483647 h 418"/>
                <a:gd name="T12" fmla="*/ 2147483647 w 407"/>
                <a:gd name="T13" fmla="*/ 2147483647 h 418"/>
                <a:gd name="T14" fmla="*/ 2147483647 w 407"/>
                <a:gd name="T15" fmla="*/ 2147483647 h 418"/>
                <a:gd name="T16" fmla="*/ 2147483647 w 407"/>
                <a:gd name="T17" fmla="*/ 2147483647 h 418"/>
                <a:gd name="T18" fmla="*/ 2147483647 w 407"/>
                <a:gd name="T19" fmla="*/ 2147483647 h 418"/>
                <a:gd name="T20" fmla="*/ 2147483647 w 407"/>
                <a:gd name="T21" fmla="*/ 2147483647 h 418"/>
                <a:gd name="T22" fmla="*/ 2147483647 w 407"/>
                <a:gd name="T23" fmla="*/ 0 h 418"/>
                <a:gd name="T24" fmla="*/ 2147483647 w 407"/>
                <a:gd name="T25" fmla="*/ 2147483647 h 418"/>
                <a:gd name="T26" fmla="*/ 2147483647 w 407"/>
                <a:gd name="T27" fmla="*/ 2147483647 h 418"/>
                <a:gd name="T28" fmla="*/ 2147483647 w 407"/>
                <a:gd name="T29" fmla="*/ 2147483647 h 418"/>
                <a:gd name="T30" fmla="*/ 2147483647 w 407"/>
                <a:gd name="T31" fmla="*/ 2147483647 h 418"/>
                <a:gd name="T32" fmla="*/ 2147483647 w 407"/>
                <a:gd name="T33" fmla="*/ 2147483647 h 418"/>
                <a:gd name="T34" fmla="*/ 2147483647 w 407"/>
                <a:gd name="T35" fmla="*/ 2147483647 h 418"/>
                <a:gd name="T36" fmla="*/ 2147483647 w 407"/>
                <a:gd name="T37" fmla="*/ 2147483647 h 418"/>
                <a:gd name="T38" fmla="*/ 2147483647 w 407"/>
                <a:gd name="T39" fmla="*/ 2147483647 h 418"/>
                <a:gd name="T40" fmla="*/ 2147483647 w 407"/>
                <a:gd name="T41" fmla="*/ 2147483647 h 418"/>
                <a:gd name="T42" fmla="*/ 2147483647 w 407"/>
                <a:gd name="T43" fmla="*/ 2147483647 h 418"/>
                <a:gd name="T44" fmla="*/ 2147483647 w 407"/>
                <a:gd name="T45" fmla="*/ 2147483647 h 418"/>
                <a:gd name="T46" fmla="*/ 2147483647 w 407"/>
                <a:gd name="T47" fmla="*/ 2147483647 h 418"/>
                <a:gd name="T48" fmla="*/ 2147483647 w 407"/>
                <a:gd name="T49" fmla="*/ 2147483647 h 418"/>
                <a:gd name="T50" fmla="*/ 0 w 407"/>
                <a:gd name="T51" fmla="*/ 2147483647 h 418"/>
                <a:gd name="T52" fmla="*/ 2147483647 w 407"/>
                <a:gd name="T53" fmla="*/ 2147483647 h 418"/>
                <a:gd name="T54" fmla="*/ 2147483647 w 407"/>
                <a:gd name="T55" fmla="*/ 2147483647 h 418"/>
                <a:gd name="T56" fmla="*/ 2147483647 w 407"/>
                <a:gd name="T57" fmla="*/ 2147483647 h 418"/>
                <a:gd name="T58" fmla="*/ 2147483647 w 407"/>
                <a:gd name="T59" fmla="*/ 2147483647 h 418"/>
                <a:gd name="T60" fmla="*/ 2147483647 w 407"/>
                <a:gd name="T61" fmla="*/ 2147483647 h 418"/>
                <a:gd name="T62" fmla="*/ 2147483647 w 407"/>
                <a:gd name="T63" fmla="*/ 2147483647 h 418"/>
                <a:gd name="T64" fmla="*/ 2147483647 w 407"/>
                <a:gd name="T65" fmla="*/ 2147483647 h 418"/>
                <a:gd name="T66" fmla="*/ 2147483647 w 407"/>
                <a:gd name="T67" fmla="*/ 2147483647 h 418"/>
                <a:gd name="T68" fmla="*/ 2147483647 w 407"/>
                <a:gd name="T69" fmla="*/ 2147483647 h 418"/>
                <a:gd name="T70" fmla="*/ 2147483647 w 407"/>
                <a:gd name="T71" fmla="*/ 2147483647 h 418"/>
                <a:gd name="T72" fmla="*/ 2147483647 w 407"/>
                <a:gd name="T73" fmla="*/ 2147483647 h 418"/>
                <a:gd name="T74" fmla="*/ 2147483647 w 407"/>
                <a:gd name="T75" fmla="*/ 2147483647 h 418"/>
                <a:gd name="T76" fmla="*/ 2147483647 w 407"/>
                <a:gd name="T77" fmla="*/ 2147483647 h 418"/>
                <a:gd name="T78" fmla="*/ 2147483647 w 407"/>
                <a:gd name="T79" fmla="*/ 2147483647 h 418"/>
                <a:gd name="T80" fmla="*/ 2147483647 w 407"/>
                <a:gd name="T81" fmla="*/ 2147483647 h 418"/>
                <a:gd name="T82" fmla="*/ 2147483647 w 407"/>
                <a:gd name="T83" fmla="*/ 2147483647 h 4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7"/>
                <a:gd name="T127" fmla="*/ 0 h 418"/>
                <a:gd name="T128" fmla="*/ 407 w 407"/>
                <a:gd name="T129" fmla="*/ 418 h 4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7" h="418">
                  <a:moveTo>
                    <a:pt x="407" y="196"/>
                  </a:moveTo>
                  <a:lnTo>
                    <a:pt x="381" y="182"/>
                  </a:lnTo>
                  <a:lnTo>
                    <a:pt x="360" y="181"/>
                  </a:lnTo>
                  <a:lnTo>
                    <a:pt x="346" y="170"/>
                  </a:lnTo>
                  <a:lnTo>
                    <a:pt x="338" y="129"/>
                  </a:lnTo>
                  <a:lnTo>
                    <a:pt x="303" y="99"/>
                  </a:lnTo>
                  <a:lnTo>
                    <a:pt x="290" y="96"/>
                  </a:lnTo>
                  <a:lnTo>
                    <a:pt x="267" y="72"/>
                  </a:lnTo>
                  <a:lnTo>
                    <a:pt x="250" y="37"/>
                  </a:lnTo>
                  <a:lnTo>
                    <a:pt x="231" y="13"/>
                  </a:lnTo>
                  <a:lnTo>
                    <a:pt x="229" y="2"/>
                  </a:lnTo>
                  <a:lnTo>
                    <a:pt x="214" y="0"/>
                  </a:lnTo>
                  <a:lnTo>
                    <a:pt x="205" y="8"/>
                  </a:lnTo>
                  <a:lnTo>
                    <a:pt x="184" y="14"/>
                  </a:lnTo>
                  <a:lnTo>
                    <a:pt x="159" y="38"/>
                  </a:lnTo>
                  <a:lnTo>
                    <a:pt x="151" y="17"/>
                  </a:lnTo>
                  <a:lnTo>
                    <a:pt x="130" y="13"/>
                  </a:lnTo>
                  <a:lnTo>
                    <a:pt x="44" y="31"/>
                  </a:lnTo>
                  <a:lnTo>
                    <a:pt x="44" y="73"/>
                  </a:lnTo>
                  <a:lnTo>
                    <a:pt x="44" y="105"/>
                  </a:lnTo>
                  <a:lnTo>
                    <a:pt x="44" y="144"/>
                  </a:lnTo>
                  <a:lnTo>
                    <a:pt x="44" y="189"/>
                  </a:lnTo>
                  <a:lnTo>
                    <a:pt x="5" y="187"/>
                  </a:lnTo>
                  <a:lnTo>
                    <a:pt x="1" y="191"/>
                  </a:lnTo>
                  <a:lnTo>
                    <a:pt x="1" y="256"/>
                  </a:lnTo>
                  <a:lnTo>
                    <a:pt x="0" y="319"/>
                  </a:lnTo>
                  <a:lnTo>
                    <a:pt x="39" y="361"/>
                  </a:lnTo>
                  <a:lnTo>
                    <a:pt x="42" y="379"/>
                  </a:lnTo>
                  <a:lnTo>
                    <a:pt x="33" y="405"/>
                  </a:lnTo>
                  <a:lnTo>
                    <a:pt x="36" y="413"/>
                  </a:lnTo>
                  <a:lnTo>
                    <a:pt x="72" y="418"/>
                  </a:lnTo>
                  <a:lnTo>
                    <a:pt x="99" y="411"/>
                  </a:lnTo>
                  <a:lnTo>
                    <a:pt x="149" y="352"/>
                  </a:lnTo>
                  <a:lnTo>
                    <a:pt x="169" y="350"/>
                  </a:lnTo>
                  <a:lnTo>
                    <a:pt x="209" y="365"/>
                  </a:lnTo>
                  <a:lnTo>
                    <a:pt x="243" y="356"/>
                  </a:lnTo>
                  <a:lnTo>
                    <a:pt x="258" y="324"/>
                  </a:lnTo>
                  <a:lnTo>
                    <a:pt x="291" y="295"/>
                  </a:lnTo>
                  <a:lnTo>
                    <a:pt x="307" y="276"/>
                  </a:lnTo>
                  <a:lnTo>
                    <a:pt x="329" y="248"/>
                  </a:lnTo>
                  <a:lnTo>
                    <a:pt x="357" y="225"/>
                  </a:lnTo>
                  <a:lnTo>
                    <a:pt x="407" y="196"/>
                  </a:lnTo>
                  <a:close/>
                </a:path>
              </a:pathLst>
            </a:custGeom>
            <a:grpFill/>
            <a:ln w="6350">
              <a:solidFill>
                <a:schemeClr val="tx2"/>
              </a:solidFill>
              <a:round/>
              <a:headEnd/>
              <a:tailEnd/>
            </a:ln>
          </p:spPr>
          <p:txBody>
            <a:bodyPr/>
            <a:lstStyle/>
            <a:p>
              <a:endParaRPr lang="en-US"/>
            </a:p>
          </p:txBody>
        </p:sp>
        <p:sp>
          <p:nvSpPr>
            <p:cNvPr id="556" name="Freeform 1401"/>
            <p:cNvSpPr>
              <a:spLocks/>
            </p:cNvSpPr>
            <p:nvPr/>
          </p:nvSpPr>
          <p:spPr bwMode="auto">
            <a:xfrm>
              <a:off x="4864096" y="4747247"/>
              <a:ext cx="289769" cy="279149"/>
            </a:xfrm>
            <a:custGeom>
              <a:avLst/>
              <a:gdLst>
                <a:gd name="T0" fmla="*/ 2147483647 w 583"/>
                <a:gd name="T1" fmla="*/ 2147483647 h 564"/>
                <a:gd name="T2" fmla="*/ 2147483647 w 583"/>
                <a:gd name="T3" fmla="*/ 2147483647 h 564"/>
                <a:gd name="T4" fmla="*/ 2147483647 w 583"/>
                <a:gd name="T5" fmla="*/ 2147483647 h 564"/>
                <a:gd name="T6" fmla="*/ 2147483647 w 583"/>
                <a:gd name="T7" fmla="*/ 2147483647 h 564"/>
                <a:gd name="T8" fmla="*/ 2147483647 w 583"/>
                <a:gd name="T9" fmla="*/ 2147483647 h 564"/>
                <a:gd name="T10" fmla="*/ 2147483647 w 583"/>
                <a:gd name="T11" fmla="*/ 2147483647 h 564"/>
                <a:gd name="T12" fmla="*/ 2147483647 w 583"/>
                <a:gd name="T13" fmla="*/ 0 h 564"/>
                <a:gd name="T14" fmla="*/ 2147483647 w 583"/>
                <a:gd name="T15" fmla="*/ 0 h 564"/>
                <a:gd name="T16" fmla="*/ 2147483647 w 583"/>
                <a:gd name="T17" fmla="*/ 2147483647 h 564"/>
                <a:gd name="T18" fmla="*/ 2147483647 w 583"/>
                <a:gd name="T19" fmla="*/ 2147483647 h 564"/>
                <a:gd name="T20" fmla="*/ 0 w 583"/>
                <a:gd name="T21" fmla="*/ 2147483647 h 564"/>
                <a:gd name="T22" fmla="*/ 2147483647 w 583"/>
                <a:gd name="T23" fmla="*/ 2147483647 h 564"/>
                <a:gd name="T24" fmla="*/ 2147483647 w 583"/>
                <a:gd name="T25" fmla="*/ 2147483647 h 564"/>
                <a:gd name="T26" fmla="*/ 2147483647 w 583"/>
                <a:gd name="T27" fmla="*/ 2147483647 h 564"/>
                <a:gd name="T28" fmla="*/ 2147483647 w 583"/>
                <a:gd name="T29" fmla="*/ 2147483647 h 564"/>
                <a:gd name="T30" fmla="*/ 2147483647 w 583"/>
                <a:gd name="T31" fmla="*/ 2147483647 h 564"/>
                <a:gd name="T32" fmla="*/ 2147483647 w 583"/>
                <a:gd name="T33" fmla="*/ 2147483647 h 564"/>
                <a:gd name="T34" fmla="*/ 2147483647 w 583"/>
                <a:gd name="T35" fmla="*/ 2147483647 h 564"/>
                <a:gd name="T36" fmla="*/ 2147483647 w 583"/>
                <a:gd name="T37" fmla="*/ 2147483647 h 564"/>
                <a:gd name="T38" fmla="*/ 2147483647 w 583"/>
                <a:gd name="T39" fmla="*/ 2147483647 h 564"/>
                <a:gd name="T40" fmla="*/ 2147483647 w 583"/>
                <a:gd name="T41" fmla="*/ 2147483647 h 564"/>
                <a:gd name="T42" fmla="*/ 2147483647 w 583"/>
                <a:gd name="T43" fmla="*/ 2147483647 h 564"/>
                <a:gd name="T44" fmla="*/ 2147483647 w 583"/>
                <a:gd name="T45" fmla="*/ 2147483647 h 564"/>
                <a:gd name="T46" fmla="*/ 2147483647 w 583"/>
                <a:gd name="T47" fmla="*/ 2147483647 h 564"/>
                <a:gd name="T48" fmla="*/ 2147483647 w 583"/>
                <a:gd name="T49" fmla="*/ 2147483647 h 564"/>
                <a:gd name="T50" fmla="*/ 2147483647 w 583"/>
                <a:gd name="T51" fmla="*/ 2147483647 h 564"/>
                <a:gd name="T52" fmla="*/ 2147483647 w 583"/>
                <a:gd name="T53" fmla="*/ 2147483647 h 564"/>
                <a:gd name="T54" fmla="*/ 2147483647 w 583"/>
                <a:gd name="T55" fmla="*/ 2147483647 h 564"/>
                <a:gd name="T56" fmla="*/ 2147483647 w 583"/>
                <a:gd name="T57" fmla="*/ 2147483647 h 564"/>
                <a:gd name="T58" fmla="*/ 2147483647 w 583"/>
                <a:gd name="T59" fmla="*/ 2147483647 h 564"/>
                <a:gd name="T60" fmla="*/ 2147483647 w 583"/>
                <a:gd name="T61" fmla="*/ 2147483647 h 564"/>
                <a:gd name="T62" fmla="*/ 2147483647 w 583"/>
                <a:gd name="T63" fmla="*/ 2147483647 h 564"/>
                <a:gd name="T64" fmla="*/ 2147483647 w 583"/>
                <a:gd name="T65" fmla="*/ 2147483647 h 564"/>
                <a:gd name="T66" fmla="*/ 2147483647 w 583"/>
                <a:gd name="T67" fmla="*/ 2147483647 h 564"/>
                <a:gd name="T68" fmla="*/ 2147483647 w 583"/>
                <a:gd name="T69" fmla="*/ 2147483647 h 564"/>
                <a:gd name="T70" fmla="*/ 2147483647 w 583"/>
                <a:gd name="T71" fmla="*/ 2147483647 h 564"/>
                <a:gd name="T72" fmla="*/ 2147483647 w 583"/>
                <a:gd name="T73" fmla="*/ 2147483647 h 564"/>
                <a:gd name="T74" fmla="*/ 2147483647 w 583"/>
                <a:gd name="T75" fmla="*/ 2147483647 h 564"/>
                <a:gd name="T76" fmla="*/ 2147483647 w 583"/>
                <a:gd name="T77" fmla="*/ 2147483647 h 564"/>
                <a:gd name="T78" fmla="*/ 2147483647 w 583"/>
                <a:gd name="T79" fmla="*/ 2147483647 h 564"/>
                <a:gd name="T80" fmla="*/ 2147483647 w 583"/>
                <a:gd name="T81" fmla="*/ 2147483647 h 564"/>
                <a:gd name="T82" fmla="*/ 2147483647 w 583"/>
                <a:gd name="T83" fmla="*/ 2147483647 h 564"/>
                <a:gd name="T84" fmla="*/ 2147483647 w 583"/>
                <a:gd name="T85" fmla="*/ 2147483647 h 564"/>
                <a:gd name="T86" fmla="*/ 2147483647 w 583"/>
                <a:gd name="T87" fmla="*/ 2147483647 h 564"/>
                <a:gd name="T88" fmla="*/ 2147483647 w 583"/>
                <a:gd name="T89" fmla="*/ 2147483647 h 564"/>
                <a:gd name="T90" fmla="*/ 2147483647 w 583"/>
                <a:gd name="T91" fmla="*/ 2147483647 h 564"/>
                <a:gd name="T92" fmla="*/ 2147483647 w 583"/>
                <a:gd name="T93" fmla="*/ 2147483647 h 564"/>
                <a:gd name="T94" fmla="*/ 2147483647 w 583"/>
                <a:gd name="T95" fmla="*/ 2147483647 h 564"/>
                <a:gd name="T96" fmla="*/ 2147483647 w 583"/>
                <a:gd name="T97" fmla="*/ 2147483647 h 564"/>
                <a:gd name="T98" fmla="*/ 2147483647 w 583"/>
                <a:gd name="T99" fmla="*/ 2147483647 h 564"/>
                <a:gd name="T100" fmla="*/ 2147483647 w 583"/>
                <a:gd name="T101" fmla="*/ 2147483647 h 564"/>
                <a:gd name="T102" fmla="*/ 2147483647 w 583"/>
                <a:gd name="T103" fmla="*/ 2147483647 h 564"/>
                <a:gd name="T104" fmla="*/ 2147483647 w 583"/>
                <a:gd name="T105" fmla="*/ 2147483647 h 564"/>
                <a:gd name="T106" fmla="*/ 2147483647 w 583"/>
                <a:gd name="T107" fmla="*/ 2147483647 h 564"/>
                <a:gd name="T108" fmla="*/ 2147483647 w 583"/>
                <a:gd name="T109" fmla="*/ 2147483647 h 5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3"/>
                <a:gd name="T166" fmla="*/ 0 h 564"/>
                <a:gd name="T167" fmla="*/ 583 w 583"/>
                <a:gd name="T168" fmla="*/ 564 h 5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3" h="564">
                  <a:moveTo>
                    <a:pt x="288" y="20"/>
                  </a:moveTo>
                  <a:lnTo>
                    <a:pt x="240" y="20"/>
                  </a:lnTo>
                  <a:lnTo>
                    <a:pt x="192" y="20"/>
                  </a:lnTo>
                  <a:lnTo>
                    <a:pt x="145" y="20"/>
                  </a:lnTo>
                  <a:lnTo>
                    <a:pt x="97" y="20"/>
                  </a:lnTo>
                  <a:lnTo>
                    <a:pt x="72" y="1"/>
                  </a:lnTo>
                  <a:lnTo>
                    <a:pt x="64" y="0"/>
                  </a:lnTo>
                  <a:lnTo>
                    <a:pt x="46" y="0"/>
                  </a:lnTo>
                  <a:lnTo>
                    <a:pt x="26" y="13"/>
                  </a:lnTo>
                  <a:lnTo>
                    <a:pt x="19" y="8"/>
                  </a:lnTo>
                  <a:lnTo>
                    <a:pt x="0" y="19"/>
                  </a:lnTo>
                  <a:lnTo>
                    <a:pt x="2" y="57"/>
                  </a:lnTo>
                  <a:lnTo>
                    <a:pt x="43" y="117"/>
                  </a:lnTo>
                  <a:lnTo>
                    <a:pt x="76" y="186"/>
                  </a:lnTo>
                  <a:lnTo>
                    <a:pt x="118" y="258"/>
                  </a:lnTo>
                  <a:lnTo>
                    <a:pt x="119" y="331"/>
                  </a:lnTo>
                  <a:lnTo>
                    <a:pt x="134" y="372"/>
                  </a:lnTo>
                  <a:lnTo>
                    <a:pt x="136" y="408"/>
                  </a:lnTo>
                  <a:lnTo>
                    <a:pt x="153" y="486"/>
                  </a:lnTo>
                  <a:lnTo>
                    <a:pt x="175" y="521"/>
                  </a:lnTo>
                  <a:lnTo>
                    <a:pt x="208" y="548"/>
                  </a:lnTo>
                  <a:lnTo>
                    <a:pt x="215" y="546"/>
                  </a:lnTo>
                  <a:lnTo>
                    <a:pt x="224" y="531"/>
                  </a:lnTo>
                  <a:lnTo>
                    <a:pt x="233" y="531"/>
                  </a:lnTo>
                  <a:lnTo>
                    <a:pt x="253" y="545"/>
                  </a:lnTo>
                  <a:lnTo>
                    <a:pt x="253" y="554"/>
                  </a:lnTo>
                  <a:lnTo>
                    <a:pt x="261" y="564"/>
                  </a:lnTo>
                  <a:lnTo>
                    <a:pt x="317" y="564"/>
                  </a:lnTo>
                  <a:lnTo>
                    <a:pt x="354" y="540"/>
                  </a:lnTo>
                  <a:lnTo>
                    <a:pt x="354" y="464"/>
                  </a:lnTo>
                  <a:lnTo>
                    <a:pt x="354" y="410"/>
                  </a:lnTo>
                  <a:lnTo>
                    <a:pt x="354" y="359"/>
                  </a:lnTo>
                  <a:lnTo>
                    <a:pt x="355" y="296"/>
                  </a:lnTo>
                  <a:lnTo>
                    <a:pt x="355" y="231"/>
                  </a:lnTo>
                  <a:lnTo>
                    <a:pt x="359" y="227"/>
                  </a:lnTo>
                  <a:lnTo>
                    <a:pt x="398" y="229"/>
                  </a:lnTo>
                  <a:lnTo>
                    <a:pt x="398" y="184"/>
                  </a:lnTo>
                  <a:lnTo>
                    <a:pt x="398" y="144"/>
                  </a:lnTo>
                  <a:lnTo>
                    <a:pt x="398" y="115"/>
                  </a:lnTo>
                  <a:lnTo>
                    <a:pt x="398" y="71"/>
                  </a:lnTo>
                  <a:lnTo>
                    <a:pt x="484" y="53"/>
                  </a:lnTo>
                  <a:lnTo>
                    <a:pt x="505" y="57"/>
                  </a:lnTo>
                  <a:lnTo>
                    <a:pt x="513" y="78"/>
                  </a:lnTo>
                  <a:lnTo>
                    <a:pt x="538" y="54"/>
                  </a:lnTo>
                  <a:lnTo>
                    <a:pt x="559" y="48"/>
                  </a:lnTo>
                  <a:lnTo>
                    <a:pt x="568" y="40"/>
                  </a:lnTo>
                  <a:lnTo>
                    <a:pt x="583" y="42"/>
                  </a:lnTo>
                  <a:lnTo>
                    <a:pt x="568" y="27"/>
                  </a:lnTo>
                  <a:lnTo>
                    <a:pt x="539" y="22"/>
                  </a:lnTo>
                  <a:lnTo>
                    <a:pt x="499" y="32"/>
                  </a:lnTo>
                  <a:lnTo>
                    <a:pt x="423" y="52"/>
                  </a:lnTo>
                  <a:lnTo>
                    <a:pt x="362" y="40"/>
                  </a:lnTo>
                  <a:lnTo>
                    <a:pt x="318" y="41"/>
                  </a:lnTo>
                  <a:lnTo>
                    <a:pt x="305" y="37"/>
                  </a:lnTo>
                  <a:lnTo>
                    <a:pt x="288" y="20"/>
                  </a:lnTo>
                  <a:close/>
                </a:path>
              </a:pathLst>
            </a:custGeom>
            <a:grpFill/>
            <a:ln w="6350">
              <a:solidFill>
                <a:schemeClr val="tx2"/>
              </a:solidFill>
              <a:round/>
              <a:headEnd/>
              <a:tailEnd/>
            </a:ln>
          </p:spPr>
          <p:txBody>
            <a:bodyPr/>
            <a:lstStyle/>
            <a:p>
              <a:endParaRPr lang="en-US"/>
            </a:p>
          </p:txBody>
        </p:sp>
        <p:sp>
          <p:nvSpPr>
            <p:cNvPr id="557" name="Freeform 1402"/>
            <p:cNvSpPr>
              <a:spLocks/>
            </p:cNvSpPr>
            <p:nvPr/>
          </p:nvSpPr>
          <p:spPr bwMode="auto">
            <a:xfrm>
              <a:off x="4616807" y="3870355"/>
              <a:ext cx="341350" cy="263978"/>
            </a:xfrm>
            <a:custGeom>
              <a:avLst/>
              <a:gdLst>
                <a:gd name="T0" fmla="*/ 2147483647 w 685"/>
                <a:gd name="T1" fmla="*/ 2147483647 h 530"/>
                <a:gd name="T2" fmla="*/ 2147483647 w 685"/>
                <a:gd name="T3" fmla="*/ 2147483647 h 530"/>
                <a:gd name="T4" fmla="*/ 2147483647 w 685"/>
                <a:gd name="T5" fmla="*/ 2147483647 h 530"/>
                <a:gd name="T6" fmla="*/ 2147483647 w 685"/>
                <a:gd name="T7" fmla="*/ 2147483647 h 530"/>
                <a:gd name="T8" fmla="*/ 2147483647 w 685"/>
                <a:gd name="T9" fmla="*/ 2147483647 h 530"/>
                <a:gd name="T10" fmla="*/ 0 w 685"/>
                <a:gd name="T11" fmla="*/ 2147483647 h 530"/>
                <a:gd name="T12" fmla="*/ 2147483647 w 685"/>
                <a:gd name="T13" fmla="*/ 2147483647 h 530"/>
                <a:gd name="T14" fmla="*/ 2147483647 w 685"/>
                <a:gd name="T15" fmla="*/ 2147483647 h 530"/>
                <a:gd name="T16" fmla="*/ 2147483647 w 685"/>
                <a:gd name="T17" fmla="*/ 2147483647 h 530"/>
                <a:gd name="T18" fmla="*/ 2147483647 w 685"/>
                <a:gd name="T19" fmla="*/ 2147483647 h 530"/>
                <a:gd name="T20" fmla="*/ 2147483647 w 685"/>
                <a:gd name="T21" fmla="*/ 2147483647 h 530"/>
                <a:gd name="T22" fmla="*/ 2147483647 w 685"/>
                <a:gd name="T23" fmla="*/ 2147483647 h 530"/>
                <a:gd name="T24" fmla="*/ 2147483647 w 685"/>
                <a:gd name="T25" fmla="*/ 2147483647 h 530"/>
                <a:gd name="T26" fmla="*/ 2147483647 w 685"/>
                <a:gd name="T27" fmla="*/ 2147483647 h 530"/>
                <a:gd name="T28" fmla="*/ 2147483647 w 685"/>
                <a:gd name="T29" fmla="*/ 2147483647 h 530"/>
                <a:gd name="T30" fmla="*/ 2147483647 w 685"/>
                <a:gd name="T31" fmla="*/ 2147483647 h 530"/>
                <a:gd name="T32" fmla="*/ 2147483647 w 685"/>
                <a:gd name="T33" fmla="*/ 2147483647 h 530"/>
                <a:gd name="T34" fmla="*/ 2147483647 w 685"/>
                <a:gd name="T35" fmla="*/ 2147483647 h 530"/>
                <a:gd name="T36" fmla="*/ 2147483647 w 685"/>
                <a:gd name="T37" fmla="*/ 2147483647 h 530"/>
                <a:gd name="T38" fmla="*/ 2147483647 w 685"/>
                <a:gd name="T39" fmla="*/ 2147483647 h 530"/>
                <a:gd name="T40" fmla="*/ 2147483647 w 685"/>
                <a:gd name="T41" fmla="*/ 2147483647 h 530"/>
                <a:gd name="T42" fmla="*/ 2147483647 w 685"/>
                <a:gd name="T43" fmla="*/ 2147483647 h 530"/>
                <a:gd name="T44" fmla="*/ 2147483647 w 685"/>
                <a:gd name="T45" fmla="*/ 2147483647 h 530"/>
                <a:gd name="T46" fmla="*/ 2147483647 w 685"/>
                <a:gd name="T47" fmla="*/ 2147483647 h 530"/>
                <a:gd name="T48" fmla="*/ 2147483647 w 685"/>
                <a:gd name="T49" fmla="*/ 2147483647 h 530"/>
                <a:gd name="T50" fmla="*/ 2147483647 w 685"/>
                <a:gd name="T51" fmla="*/ 2147483647 h 530"/>
                <a:gd name="T52" fmla="*/ 2147483647 w 685"/>
                <a:gd name="T53" fmla="*/ 2147483647 h 530"/>
                <a:gd name="T54" fmla="*/ 2147483647 w 685"/>
                <a:gd name="T55" fmla="*/ 2147483647 h 530"/>
                <a:gd name="T56" fmla="*/ 2147483647 w 685"/>
                <a:gd name="T57" fmla="*/ 2147483647 h 530"/>
                <a:gd name="T58" fmla="*/ 2147483647 w 685"/>
                <a:gd name="T59" fmla="*/ 2147483647 h 530"/>
                <a:gd name="T60" fmla="*/ 2147483647 w 685"/>
                <a:gd name="T61" fmla="*/ 0 h 530"/>
                <a:gd name="T62" fmla="*/ 2147483647 w 685"/>
                <a:gd name="T63" fmla="*/ 2147483647 h 530"/>
                <a:gd name="T64" fmla="*/ 2147483647 w 685"/>
                <a:gd name="T65" fmla="*/ 2147483647 h 530"/>
                <a:gd name="T66" fmla="*/ 2147483647 w 685"/>
                <a:gd name="T67" fmla="*/ 2147483647 h 530"/>
                <a:gd name="T68" fmla="*/ 2147483647 w 685"/>
                <a:gd name="T69" fmla="*/ 2147483647 h 530"/>
                <a:gd name="T70" fmla="*/ 2147483647 w 685"/>
                <a:gd name="T71" fmla="*/ 2147483647 h 530"/>
                <a:gd name="T72" fmla="*/ 2147483647 w 685"/>
                <a:gd name="T73" fmla="*/ 2147483647 h 530"/>
                <a:gd name="T74" fmla="*/ 2147483647 w 685"/>
                <a:gd name="T75" fmla="*/ 2147483647 h 5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85"/>
                <a:gd name="T115" fmla="*/ 0 h 530"/>
                <a:gd name="T116" fmla="*/ 685 w 685"/>
                <a:gd name="T117" fmla="*/ 530 h 5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85" h="530">
                  <a:moveTo>
                    <a:pt x="173" y="200"/>
                  </a:moveTo>
                  <a:lnTo>
                    <a:pt x="174" y="235"/>
                  </a:lnTo>
                  <a:lnTo>
                    <a:pt x="175" y="270"/>
                  </a:lnTo>
                  <a:lnTo>
                    <a:pt x="175" y="305"/>
                  </a:lnTo>
                  <a:lnTo>
                    <a:pt x="175" y="340"/>
                  </a:lnTo>
                  <a:lnTo>
                    <a:pt x="164" y="345"/>
                  </a:lnTo>
                  <a:lnTo>
                    <a:pt x="145" y="370"/>
                  </a:lnTo>
                  <a:lnTo>
                    <a:pt x="100" y="370"/>
                  </a:lnTo>
                  <a:lnTo>
                    <a:pt x="53" y="370"/>
                  </a:lnTo>
                  <a:lnTo>
                    <a:pt x="33" y="385"/>
                  </a:lnTo>
                  <a:lnTo>
                    <a:pt x="5" y="385"/>
                  </a:lnTo>
                  <a:lnTo>
                    <a:pt x="0" y="406"/>
                  </a:lnTo>
                  <a:lnTo>
                    <a:pt x="9" y="415"/>
                  </a:lnTo>
                  <a:lnTo>
                    <a:pt x="12" y="429"/>
                  </a:lnTo>
                  <a:lnTo>
                    <a:pt x="35" y="451"/>
                  </a:lnTo>
                  <a:lnTo>
                    <a:pt x="56" y="485"/>
                  </a:lnTo>
                  <a:lnTo>
                    <a:pt x="69" y="491"/>
                  </a:lnTo>
                  <a:lnTo>
                    <a:pt x="80" y="486"/>
                  </a:lnTo>
                  <a:lnTo>
                    <a:pt x="88" y="488"/>
                  </a:lnTo>
                  <a:lnTo>
                    <a:pt x="93" y="498"/>
                  </a:lnTo>
                  <a:lnTo>
                    <a:pt x="86" y="500"/>
                  </a:lnTo>
                  <a:lnTo>
                    <a:pt x="86" y="506"/>
                  </a:lnTo>
                  <a:lnTo>
                    <a:pt x="99" y="519"/>
                  </a:lnTo>
                  <a:lnTo>
                    <a:pt x="105" y="516"/>
                  </a:lnTo>
                  <a:lnTo>
                    <a:pt x="99" y="506"/>
                  </a:lnTo>
                  <a:lnTo>
                    <a:pt x="119" y="500"/>
                  </a:lnTo>
                  <a:lnTo>
                    <a:pt x="151" y="530"/>
                  </a:lnTo>
                  <a:lnTo>
                    <a:pt x="151" y="497"/>
                  </a:lnTo>
                  <a:lnTo>
                    <a:pt x="166" y="482"/>
                  </a:lnTo>
                  <a:lnTo>
                    <a:pt x="175" y="454"/>
                  </a:lnTo>
                  <a:lnTo>
                    <a:pt x="203" y="440"/>
                  </a:lnTo>
                  <a:lnTo>
                    <a:pt x="239" y="438"/>
                  </a:lnTo>
                  <a:lnTo>
                    <a:pt x="269" y="452"/>
                  </a:lnTo>
                  <a:lnTo>
                    <a:pt x="295" y="475"/>
                  </a:lnTo>
                  <a:lnTo>
                    <a:pt x="302" y="475"/>
                  </a:lnTo>
                  <a:lnTo>
                    <a:pt x="321" y="462"/>
                  </a:lnTo>
                  <a:lnTo>
                    <a:pt x="338" y="460"/>
                  </a:lnTo>
                  <a:lnTo>
                    <a:pt x="370" y="478"/>
                  </a:lnTo>
                  <a:lnTo>
                    <a:pt x="398" y="483"/>
                  </a:lnTo>
                  <a:lnTo>
                    <a:pt x="408" y="482"/>
                  </a:lnTo>
                  <a:lnTo>
                    <a:pt x="440" y="460"/>
                  </a:lnTo>
                  <a:lnTo>
                    <a:pt x="497" y="456"/>
                  </a:lnTo>
                  <a:lnTo>
                    <a:pt x="528" y="466"/>
                  </a:lnTo>
                  <a:lnTo>
                    <a:pt x="546" y="450"/>
                  </a:lnTo>
                  <a:lnTo>
                    <a:pt x="556" y="449"/>
                  </a:lnTo>
                  <a:lnTo>
                    <a:pt x="563" y="437"/>
                  </a:lnTo>
                  <a:lnTo>
                    <a:pt x="578" y="437"/>
                  </a:lnTo>
                  <a:lnTo>
                    <a:pt x="573" y="414"/>
                  </a:lnTo>
                  <a:lnTo>
                    <a:pt x="572" y="405"/>
                  </a:lnTo>
                  <a:lnTo>
                    <a:pt x="582" y="401"/>
                  </a:lnTo>
                  <a:lnTo>
                    <a:pt x="586" y="381"/>
                  </a:lnTo>
                  <a:lnTo>
                    <a:pt x="658" y="300"/>
                  </a:lnTo>
                  <a:lnTo>
                    <a:pt x="663" y="223"/>
                  </a:lnTo>
                  <a:lnTo>
                    <a:pt x="674" y="160"/>
                  </a:lnTo>
                  <a:lnTo>
                    <a:pt x="685" y="141"/>
                  </a:lnTo>
                  <a:lnTo>
                    <a:pt x="657" y="123"/>
                  </a:lnTo>
                  <a:lnTo>
                    <a:pt x="645" y="93"/>
                  </a:lnTo>
                  <a:lnTo>
                    <a:pt x="643" y="21"/>
                  </a:lnTo>
                  <a:lnTo>
                    <a:pt x="629" y="25"/>
                  </a:lnTo>
                  <a:lnTo>
                    <a:pt x="621" y="15"/>
                  </a:lnTo>
                  <a:lnTo>
                    <a:pt x="596" y="1"/>
                  </a:lnTo>
                  <a:lnTo>
                    <a:pt x="501" y="0"/>
                  </a:lnTo>
                  <a:lnTo>
                    <a:pt x="481" y="14"/>
                  </a:lnTo>
                  <a:lnTo>
                    <a:pt x="461" y="27"/>
                  </a:lnTo>
                  <a:lnTo>
                    <a:pt x="441" y="42"/>
                  </a:lnTo>
                  <a:lnTo>
                    <a:pt x="419" y="55"/>
                  </a:lnTo>
                  <a:lnTo>
                    <a:pt x="399" y="69"/>
                  </a:lnTo>
                  <a:lnTo>
                    <a:pt x="379" y="82"/>
                  </a:lnTo>
                  <a:lnTo>
                    <a:pt x="358" y="95"/>
                  </a:lnTo>
                  <a:lnTo>
                    <a:pt x="337" y="110"/>
                  </a:lnTo>
                  <a:lnTo>
                    <a:pt x="313" y="128"/>
                  </a:lnTo>
                  <a:lnTo>
                    <a:pt x="288" y="146"/>
                  </a:lnTo>
                  <a:lnTo>
                    <a:pt x="265" y="164"/>
                  </a:lnTo>
                  <a:lnTo>
                    <a:pt x="240" y="183"/>
                  </a:lnTo>
                  <a:lnTo>
                    <a:pt x="207" y="191"/>
                  </a:lnTo>
                  <a:lnTo>
                    <a:pt x="173" y="200"/>
                  </a:lnTo>
                  <a:close/>
                </a:path>
              </a:pathLst>
            </a:custGeom>
            <a:grpFill/>
            <a:ln w="6350">
              <a:solidFill>
                <a:schemeClr val="tx2"/>
              </a:solidFill>
              <a:round/>
              <a:headEnd/>
              <a:tailEnd/>
            </a:ln>
          </p:spPr>
          <p:txBody>
            <a:bodyPr/>
            <a:lstStyle/>
            <a:p>
              <a:endParaRPr lang="en-US"/>
            </a:p>
          </p:txBody>
        </p:sp>
        <p:sp>
          <p:nvSpPr>
            <p:cNvPr id="558" name="Freeform 1429"/>
            <p:cNvSpPr>
              <a:spLocks/>
            </p:cNvSpPr>
            <p:nvPr/>
          </p:nvSpPr>
          <p:spPr bwMode="auto">
            <a:xfrm>
              <a:off x="5443633" y="3522937"/>
              <a:ext cx="210879" cy="215430"/>
            </a:xfrm>
            <a:custGeom>
              <a:avLst/>
              <a:gdLst>
                <a:gd name="T0" fmla="*/ 2147483647 w 428"/>
                <a:gd name="T1" fmla="*/ 2147483647 h 430"/>
                <a:gd name="T2" fmla="*/ 2147483647 w 428"/>
                <a:gd name="T3" fmla="*/ 2147483647 h 430"/>
                <a:gd name="T4" fmla="*/ 2147483647 w 428"/>
                <a:gd name="T5" fmla="*/ 2147483647 h 430"/>
                <a:gd name="T6" fmla="*/ 2147483647 w 428"/>
                <a:gd name="T7" fmla="*/ 2147483647 h 430"/>
                <a:gd name="T8" fmla="*/ 2147483647 w 428"/>
                <a:gd name="T9" fmla="*/ 2147483647 h 430"/>
                <a:gd name="T10" fmla="*/ 2147483647 w 428"/>
                <a:gd name="T11" fmla="*/ 2147483647 h 430"/>
                <a:gd name="T12" fmla="*/ 2147483647 w 428"/>
                <a:gd name="T13" fmla="*/ 2147483647 h 430"/>
                <a:gd name="T14" fmla="*/ 2147483647 w 428"/>
                <a:gd name="T15" fmla="*/ 2147483647 h 430"/>
                <a:gd name="T16" fmla="*/ 2147483647 w 428"/>
                <a:gd name="T17" fmla="*/ 2147483647 h 430"/>
                <a:gd name="T18" fmla="*/ 2147483647 w 428"/>
                <a:gd name="T19" fmla="*/ 2147483647 h 430"/>
                <a:gd name="T20" fmla="*/ 2147483647 w 428"/>
                <a:gd name="T21" fmla="*/ 2147483647 h 430"/>
                <a:gd name="T22" fmla="*/ 2147483647 w 428"/>
                <a:gd name="T23" fmla="*/ 2147483647 h 430"/>
                <a:gd name="T24" fmla="*/ 2147483647 w 428"/>
                <a:gd name="T25" fmla="*/ 2147483647 h 430"/>
                <a:gd name="T26" fmla="*/ 2147483647 w 428"/>
                <a:gd name="T27" fmla="*/ 2147483647 h 430"/>
                <a:gd name="T28" fmla="*/ 2147483647 w 428"/>
                <a:gd name="T29" fmla="*/ 2147483647 h 430"/>
                <a:gd name="T30" fmla="*/ 2147483647 w 428"/>
                <a:gd name="T31" fmla="*/ 2147483647 h 430"/>
                <a:gd name="T32" fmla="*/ 2147483647 w 428"/>
                <a:gd name="T33" fmla="*/ 2147483647 h 430"/>
                <a:gd name="T34" fmla="*/ 2147483647 w 428"/>
                <a:gd name="T35" fmla="*/ 2147483647 h 430"/>
                <a:gd name="T36" fmla="*/ 2147483647 w 428"/>
                <a:gd name="T37" fmla="*/ 2147483647 h 430"/>
                <a:gd name="T38" fmla="*/ 2147483647 w 428"/>
                <a:gd name="T39" fmla="*/ 2147483647 h 430"/>
                <a:gd name="T40" fmla="*/ 2147483647 w 428"/>
                <a:gd name="T41" fmla="*/ 2147483647 h 430"/>
                <a:gd name="T42" fmla="*/ 2147483647 w 428"/>
                <a:gd name="T43" fmla="*/ 2147483647 h 430"/>
                <a:gd name="T44" fmla="*/ 2147483647 w 428"/>
                <a:gd name="T45" fmla="*/ 2147483647 h 430"/>
                <a:gd name="T46" fmla="*/ 2147483647 w 428"/>
                <a:gd name="T47" fmla="*/ 2147483647 h 430"/>
                <a:gd name="T48" fmla="*/ 2147483647 w 428"/>
                <a:gd name="T49" fmla="*/ 2147483647 h 430"/>
                <a:gd name="T50" fmla="*/ 2147483647 w 428"/>
                <a:gd name="T51" fmla="*/ 2147483647 h 430"/>
                <a:gd name="T52" fmla="*/ 2147483647 w 428"/>
                <a:gd name="T53" fmla="*/ 2147483647 h 430"/>
                <a:gd name="T54" fmla="*/ 2147483647 w 428"/>
                <a:gd name="T55" fmla="*/ 2147483647 h 430"/>
                <a:gd name="T56" fmla="*/ 2147483647 w 428"/>
                <a:gd name="T57" fmla="*/ 2147483647 h 430"/>
                <a:gd name="T58" fmla="*/ 2147483647 w 428"/>
                <a:gd name="T59" fmla="*/ 2147483647 h 430"/>
                <a:gd name="T60" fmla="*/ 2147483647 w 428"/>
                <a:gd name="T61" fmla="*/ 2147483647 h 430"/>
                <a:gd name="T62" fmla="*/ 2147483647 w 428"/>
                <a:gd name="T63" fmla="*/ 2147483647 h 430"/>
                <a:gd name="T64" fmla="*/ 2147483647 w 428"/>
                <a:gd name="T65" fmla="*/ 2147483647 h 430"/>
                <a:gd name="T66" fmla="*/ 2147483647 w 428"/>
                <a:gd name="T67" fmla="*/ 0 h 430"/>
                <a:gd name="T68" fmla="*/ 2147483647 w 428"/>
                <a:gd name="T69" fmla="*/ 2147483647 h 430"/>
                <a:gd name="T70" fmla="*/ 2147483647 w 428"/>
                <a:gd name="T71" fmla="*/ 2147483647 h 430"/>
                <a:gd name="T72" fmla="*/ 2147483647 w 428"/>
                <a:gd name="T73" fmla="*/ 2147483647 h 430"/>
                <a:gd name="T74" fmla="*/ 2147483647 w 428"/>
                <a:gd name="T75" fmla="*/ 2147483647 h 430"/>
                <a:gd name="T76" fmla="*/ 2147483647 w 428"/>
                <a:gd name="T77" fmla="*/ 2147483647 h 430"/>
                <a:gd name="T78" fmla="*/ 2147483647 w 428"/>
                <a:gd name="T79" fmla="*/ 2147483647 h 430"/>
                <a:gd name="T80" fmla="*/ 0 w 428"/>
                <a:gd name="T81" fmla="*/ 2147483647 h 430"/>
                <a:gd name="T82" fmla="*/ 2147483647 w 428"/>
                <a:gd name="T83" fmla="*/ 2147483647 h 430"/>
                <a:gd name="T84" fmla="*/ 2147483647 w 428"/>
                <a:gd name="T85" fmla="*/ 2147483647 h 430"/>
                <a:gd name="T86" fmla="*/ 2147483647 w 428"/>
                <a:gd name="T87" fmla="*/ 2147483647 h 430"/>
                <a:gd name="T88" fmla="*/ 2147483647 w 428"/>
                <a:gd name="T89" fmla="*/ 2147483647 h 430"/>
                <a:gd name="T90" fmla="*/ 2147483647 w 428"/>
                <a:gd name="T91" fmla="*/ 2147483647 h 430"/>
                <a:gd name="T92" fmla="*/ 2147483647 w 428"/>
                <a:gd name="T93" fmla="*/ 2147483647 h 430"/>
                <a:gd name="T94" fmla="*/ 2147483647 w 428"/>
                <a:gd name="T95" fmla="*/ 2147483647 h 430"/>
                <a:gd name="T96" fmla="*/ 2147483647 w 428"/>
                <a:gd name="T97" fmla="*/ 2147483647 h 430"/>
                <a:gd name="T98" fmla="*/ 2147483647 w 428"/>
                <a:gd name="T99" fmla="*/ 2147483647 h 4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8"/>
                <a:gd name="T151" fmla="*/ 0 h 430"/>
                <a:gd name="T152" fmla="*/ 428 w 428"/>
                <a:gd name="T153" fmla="*/ 430 h 4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8" h="430">
                  <a:moveTo>
                    <a:pt x="340" y="430"/>
                  </a:moveTo>
                  <a:lnTo>
                    <a:pt x="354" y="418"/>
                  </a:lnTo>
                  <a:lnTo>
                    <a:pt x="371" y="389"/>
                  </a:lnTo>
                  <a:lnTo>
                    <a:pt x="382" y="384"/>
                  </a:lnTo>
                  <a:lnTo>
                    <a:pt x="403" y="388"/>
                  </a:lnTo>
                  <a:lnTo>
                    <a:pt x="407" y="386"/>
                  </a:lnTo>
                  <a:lnTo>
                    <a:pt x="421" y="393"/>
                  </a:lnTo>
                  <a:lnTo>
                    <a:pt x="428" y="385"/>
                  </a:lnTo>
                  <a:lnTo>
                    <a:pt x="403" y="363"/>
                  </a:lnTo>
                  <a:lnTo>
                    <a:pt x="396" y="341"/>
                  </a:lnTo>
                  <a:lnTo>
                    <a:pt x="385" y="336"/>
                  </a:lnTo>
                  <a:lnTo>
                    <a:pt x="388" y="298"/>
                  </a:lnTo>
                  <a:lnTo>
                    <a:pt x="372" y="266"/>
                  </a:lnTo>
                  <a:lnTo>
                    <a:pt x="315" y="230"/>
                  </a:lnTo>
                  <a:lnTo>
                    <a:pt x="314" y="221"/>
                  </a:lnTo>
                  <a:lnTo>
                    <a:pt x="301" y="200"/>
                  </a:lnTo>
                  <a:lnTo>
                    <a:pt x="290" y="196"/>
                  </a:lnTo>
                  <a:lnTo>
                    <a:pt x="288" y="185"/>
                  </a:lnTo>
                  <a:lnTo>
                    <a:pt x="296" y="157"/>
                  </a:lnTo>
                  <a:lnTo>
                    <a:pt x="305" y="150"/>
                  </a:lnTo>
                  <a:lnTo>
                    <a:pt x="305" y="144"/>
                  </a:lnTo>
                  <a:lnTo>
                    <a:pt x="322" y="119"/>
                  </a:lnTo>
                  <a:lnTo>
                    <a:pt x="318" y="105"/>
                  </a:lnTo>
                  <a:lnTo>
                    <a:pt x="328" y="87"/>
                  </a:lnTo>
                  <a:lnTo>
                    <a:pt x="299" y="83"/>
                  </a:lnTo>
                  <a:lnTo>
                    <a:pt x="291" y="75"/>
                  </a:lnTo>
                  <a:lnTo>
                    <a:pt x="286" y="57"/>
                  </a:lnTo>
                  <a:lnTo>
                    <a:pt x="269" y="37"/>
                  </a:lnTo>
                  <a:lnTo>
                    <a:pt x="264" y="11"/>
                  </a:lnTo>
                  <a:lnTo>
                    <a:pt x="258" y="16"/>
                  </a:lnTo>
                  <a:lnTo>
                    <a:pt x="246" y="16"/>
                  </a:lnTo>
                  <a:lnTo>
                    <a:pt x="239" y="6"/>
                  </a:lnTo>
                  <a:lnTo>
                    <a:pt x="203" y="6"/>
                  </a:lnTo>
                  <a:lnTo>
                    <a:pt x="185" y="0"/>
                  </a:lnTo>
                  <a:lnTo>
                    <a:pt x="160" y="21"/>
                  </a:lnTo>
                  <a:lnTo>
                    <a:pt x="155" y="24"/>
                  </a:lnTo>
                  <a:lnTo>
                    <a:pt x="140" y="48"/>
                  </a:lnTo>
                  <a:lnTo>
                    <a:pt x="116" y="57"/>
                  </a:lnTo>
                  <a:lnTo>
                    <a:pt x="110" y="140"/>
                  </a:lnTo>
                  <a:lnTo>
                    <a:pt x="103" y="160"/>
                  </a:lnTo>
                  <a:lnTo>
                    <a:pt x="0" y="220"/>
                  </a:lnTo>
                  <a:lnTo>
                    <a:pt x="20" y="277"/>
                  </a:lnTo>
                  <a:lnTo>
                    <a:pt x="85" y="294"/>
                  </a:lnTo>
                  <a:lnTo>
                    <a:pt x="133" y="331"/>
                  </a:lnTo>
                  <a:lnTo>
                    <a:pt x="177" y="347"/>
                  </a:lnTo>
                  <a:lnTo>
                    <a:pt x="188" y="365"/>
                  </a:lnTo>
                  <a:lnTo>
                    <a:pt x="211" y="367"/>
                  </a:lnTo>
                  <a:lnTo>
                    <a:pt x="215" y="404"/>
                  </a:lnTo>
                  <a:lnTo>
                    <a:pt x="263" y="426"/>
                  </a:lnTo>
                  <a:lnTo>
                    <a:pt x="340" y="430"/>
                  </a:lnTo>
                  <a:close/>
                </a:path>
              </a:pathLst>
            </a:custGeom>
            <a:grpFill/>
            <a:ln w="6350">
              <a:solidFill>
                <a:schemeClr val="tx2"/>
              </a:solidFill>
              <a:round/>
              <a:headEnd/>
              <a:tailEnd/>
            </a:ln>
          </p:spPr>
          <p:txBody>
            <a:bodyPr/>
            <a:lstStyle/>
            <a:p>
              <a:endParaRPr lang="en-US"/>
            </a:p>
          </p:txBody>
        </p:sp>
        <p:sp>
          <p:nvSpPr>
            <p:cNvPr id="559" name="Freeform 1433"/>
            <p:cNvSpPr>
              <a:spLocks/>
            </p:cNvSpPr>
            <p:nvPr/>
          </p:nvSpPr>
          <p:spPr bwMode="auto">
            <a:xfrm>
              <a:off x="5360192" y="3633686"/>
              <a:ext cx="92543" cy="103163"/>
            </a:xfrm>
            <a:custGeom>
              <a:avLst/>
              <a:gdLst>
                <a:gd name="T0" fmla="*/ 2147483647 w 186"/>
                <a:gd name="T1" fmla="*/ 2147483647 h 209"/>
                <a:gd name="T2" fmla="*/ 2147483647 w 186"/>
                <a:gd name="T3" fmla="*/ 2147483647 h 209"/>
                <a:gd name="T4" fmla="*/ 2147483647 w 186"/>
                <a:gd name="T5" fmla="*/ 2147483647 h 209"/>
                <a:gd name="T6" fmla="*/ 2147483647 w 186"/>
                <a:gd name="T7" fmla="*/ 2147483647 h 209"/>
                <a:gd name="T8" fmla="*/ 2147483647 w 186"/>
                <a:gd name="T9" fmla="*/ 2147483647 h 209"/>
                <a:gd name="T10" fmla="*/ 2147483647 w 186"/>
                <a:gd name="T11" fmla="*/ 2147483647 h 209"/>
                <a:gd name="T12" fmla="*/ 2147483647 w 186"/>
                <a:gd name="T13" fmla="*/ 2147483647 h 209"/>
                <a:gd name="T14" fmla="*/ 2147483647 w 186"/>
                <a:gd name="T15" fmla="*/ 2147483647 h 209"/>
                <a:gd name="T16" fmla="*/ 2147483647 w 186"/>
                <a:gd name="T17" fmla="*/ 2147483647 h 209"/>
                <a:gd name="T18" fmla="*/ 2147483647 w 186"/>
                <a:gd name="T19" fmla="*/ 2147483647 h 209"/>
                <a:gd name="T20" fmla="*/ 2147483647 w 186"/>
                <a:gd name="T21" fmla="*/ 2147483647 h 209"/>
                <a:gd name="T22" fmla="*/ 2147483647 w 186"/>
                <a:gd name="T23" fmla="*/ 0 h 209"/>
                <a:gd name="T24" fmla="*/ 2147483647 w 186"/>
                <a:gd name="T25" fmla="*/ 2147483647 h 209"/>
                <a:gd name="T26" fmla="*/ 2147483647 w 186"/>
                <a:gd name="T27" fmla="*/ 2147483647 h 209"/>
                <a:gd name="T28" fmla="*/ 2147483647 w 186"/>
                <a:gd name="T29" fmla="*/ 2147483647 h 209"/>
                <a:gd name="T30" fmla="*/ 2147483647 w 186"/>
                <a:gd name="T31" fmla="*/ 2147483647 h 209"/>
                <a:gd name="T32" fmla="*/ 2147483647 w 186"/>
                <a:gd name="T33" fmla="*/ 2147483647 h 209"/>
                <a:gd name="T34" fmla="*/ 2147483647 w 186"/>
                <a:gd name="T35" fmla="*/ 2147483647 h 209"/>
                <a:gd name="T36" fmla="*/ 2147483647 w 186"/>
                <a:gd name="T37" fmla="*/ 2147483647 h 209"/>
                <a:gd name="T38" fmla="*/ 2147483647 w 186"/>
                <a:gd name="T39" fmla="*/ 2147483647 h 209"/>
                <a:gd name="T40" fmla="*/ 2147483647 w 186"/>
                <a:gd name="T41" fmla="*/ 2147483647 h 209"/>
                <a:gd name="T42" fmla="*/ 2147483647 w 186"/>
                <a:gd name="T43" fmla="*/ 2147483647 h 209"/>
                <a:gd name="T44" fmla="*/ 2147483647 w 186"/>
                <a:gd name="T45" fmla="*/ 2147483647 h 209"/>
                <a:gd name="T46" fmla="*/ 0 w 186"/>
                <a:gd name="T47" fmla="*/ 2147483647 h 209"/>
                <a:gd name="T48" fmla="*/ 2147483647 w 186"/>
                <a:gd name="T49" fmla="*/ 2147483647 h 209"/>
                <a:gd name="T50" fmla="*/ 2147483647 w 186"/>
                <a:gd name="T51" fmla="*/ 2147483647 h 209"/>
                <a:gd name="T52" fmla="*/ 2147483647 w 186"/>
                <a:gd name="T53" fmla="*/ 2147483647 h 209"/>
                <a:gd name="T54" fmla="*/ 2147483647 w 186"/>
                <a:gd name="T55" fmla="*/ 2147483647 h 209"/>
                <a:gd name="T56" fmla="*/ 2147483647 w 186"/>
                <a:gd name="T57" fmla="*/ 2147483647 h 209"/>
                <a:gd name="T58" fmla="*/ 2147483647 w 186"/>
                <a:gd name="T59" fmla="*/ 2147483647 h 209"/>
                <a:gd name="T60" fmla="*/ 2147483647 w 186"/>
                <a:gd name="T61" fmla="*/ 2147483647 h 20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209"/>
                <a:gd name="T95" fmla="*/ 186 w 186"/>
                <a:gd name="T96" fmla="*/ 209 h 20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209">
                  <a:moveTo>
                    <a:pt x="4" y="196"/>
                  </a:moveTo>
                  <a:lnTo>
                    <a:pt x="6" y="203"/>
                  </a:lnTo>
                  <a:lnTo>
                    <a:pt x="54" y="209"/>
                  </a:lnTo>
                  <a:lnTo>
                    <a:pt x="67" y="196"/>
                  </a:lnTo>
                  <a:lnTo>
                    <a:pt x="80" y="173"/>
                  </a:lnTo>
                  <a:lnTo>
                    <a:pt x="113" y="169"/>
                  </a:lnTo>
                  <a:lnTo>
                    <a:pt x="119" y="147"/>
                  </a:lnTo>
                  <a:lnTo>
                    <a:pt x="137" y="136"/>
                  </a:lnTo>
                  <a:lnTo>
                    <a:pt x="89" y="89"/>
                  </a:lnTo>
                  <a:lnTo>
                    <a:pt x="173" y="72"/>
                  </a:lnTo>
                  <a:lnTo>
                    <a:pt x="186" y="57"/>
                  </a:lnTo>
                  <a:lnTo>
                    <a:pt x="166" y="0"/>
                  </a:lnTo>
                  <a:lnTo>
                    <a:pt x="73" y="52"/>
                  </a:lnTo>
                  <a:lnTo>
                    <a:pt x="59" y="48"/>
                  </a:lnTo>
                  <a:lnTo>
                    <a:pt x="41" y="31"/>
                  </a:lnTo>
                  <a:lnTo>
                    <a:pt x="29" y="32"/>
                  </a:lnTo>
                  <a:lnTo>
                    <a:pt x="29" y="47"/>
                  </a:lnTo>
                  <a:lnTo>
                    <a:pt x="22" y="40"/>
                  </a:lnTo>
                  <a:lnTo>
                    <a:pt x="12" y="40"/>
                  </a:lnTo>
                  <a:lnTo>
                    <a:pt x="3" y="55"/>
                  </a:lnTo>
                  <a:lnTo>
                    <a:pt x="4" y="75"/>
                  </a:lnTo>
                  <a:lnTo>
                    <a:pt x="15" y="77"/>
                  </a:lnTo>
                  <a:lnTo>
                    <a:pt x="6" y="81"/>
                  </a:lnTo>
                  <a:lnTo>
                    <a:pt x="0" y="99"/>
                  </a:lnTo>
                  <a:lnTo>
                    <a:pt x="3" y="102"/>
                  </a:lnTo>
                  <a:lnTo>
                    <a:pt x="20" y="93"/>
                  </a:lnTo>
                  <a:lnTo>
                    <a:pt x="25" y="95"/>
                  </a:lnTo>
                  <a:lnTo>
                    <a:pt x="24" y="114"/>
                  </a:lnTo>
                  <a:lnTo>
                    <a:pt x="12" y="141"/>
                  </a:lnTo>
                  <a:lnTo>
                    <a:pt x="4" y="197"/>
                  </a:lnTo>
                  <a:lnTo>
                    <a:pt x="4" y="196"/>
                  </a:lnTo>
                  <a:close/>
                </a:path>
              </a:pathLst>
            </a:custGeom>
            <a:grpFill/>
            <a:ln w="6350">
              <a:solidFill>
                <a:schemeClr val="tx2"/>
              </a:solidFill>
              <a:round/>
              <a:headEnd/>
              <a:tailEnd/>
            </a:ln>
          </p:spPr>
          <p:txBody>
            <a:bodyPr/>
            <a:lstStyle/>
            <a:p>
              <a:endParaRPr lang="en-US"/>
            </a:p>
          </p:txBody>
        </p:sp>
        <p:sp>
          <p:nvSpPr>
            <p:cNvPr id="560" name="Freeform 1435"/>
            <p:cNvSpPr>
              <a:spLocks/>
            </p:cNvSpPr>
            <p:nvPr/>
          </p:nvSpPr>
          <p:spPr bwMode="auto">
            <a:xfrm>
              <a:off x="5375364" y="3527488"/>
              <a:ext cx="147160" cy="131989"/>
            </a:xfrm>
            <a:custGeom>
              <a:avLst/>
              <a:gdLst>
                <a:gd name="T0" fmla="*/ 2147483647 w 297"/>
                <a:gd name="T1" fmla="*/ 2147483647 h 264"/>
                <a:gd name="T2" fmla="*/ 2147483647 w 297"/>
                <a:gd name="T3" fmla="*/ 2147483647 h 264"/>
                <a:gd name="T4" fmla="*/ 2147483647 w 297"/>
                <a:gd name="T5" fmla="*/ 0 h 264"/>
                <a:gd name="T6" fmla="*/ 2147483647 w 297"/>
                <a:gd name="T7" fmla="*/ 2147483647 h 264"/>
                <a:gd name="T8" fmla="*/ 2147483647 w 297"/>
                <a:gd name="T9" fmla="*/ 2147483647 h 264"/>
                <a:gd name="T10" fmla="*/ 2147483647 w 297"/>
                <a:gd name="T11" fmla="*/ 2147483647 h 264"/>
                <a:gd name="T12" fmla="*/ 2147483647 w 297"/>
                <a:gd name="T13" fmla="*/ 2147483647 h 264"/>
                <a:gd name="T14" fmla="*/ 2147483647 w 297"/>
                <a:gd name="T15" fmla="*/ 2147483647 h 264"/>
                <a:gd name="T16" fmla="*/ 2147483647 w 297"/>
                <a:gd name="T17" fmla="*/ 2147483647 h 264"/>
                <a:gd name="T18" fmla="*/ 2147483647 w 297"/>
                <a:gd name="T19" fmla="*/ 2147483647 h 264"/>
                <a:gd name="T20" fmla="*/ 2147483647 w 297"/>
                <a:gd name="T21" fmla="*/ 2147483647 h 264"/>
                <a:gd name="T22" fmla="*/ 2147483647 w 297"/>
                <a:gd name="T23" fmla="*/ 2147483647 h 264"/>
                <a:gd name="T24" fmla="*/ 2147483647 w 297"/>
                <a:gd name="T25" fmla="*/ 2147483647 h 264"/>
                <a:gd name="T26" fmla="*/ 2147483647 w 297"/>
                <a:gd name="T27" fmla="*/ 2147483647 h 264"/>
                <a:gd name="T28" fmla="*/ 2147483647 w 297"/>
                <a:gd name="T29" fmla="*/ 2147483647 h 264"/>
                <a:gd name="T30" fmla="*/ 2147483647 w 297"/>
                <a:gd name="T31" fmla="*/ 2147483647 h 264"/>
                <a:gd name="T32" fmla="*/ 2147483647 w 297"/>
                <a:gd name="T33" fmla="*/ 2147483647 h 264"/>
                <a:gd name="T34" fmla="*/ 2147483647 w 297"/>
                <a:gd name="T35" fmla="*/ 2147483647 h 264"/>
                <a:gd name="T36" fmla="*/ 2147483647 w 297"/>
                <a:gd name="T37" fmla="*/ 2147483647 h 264"/>
                <a:gd name="T38" fmla="*/ 2147483647 w 297"/>
                <a:gd name="T39" fmla="*/ 2147483647 h 264"/>
                <a:gd name="T40" fmla="*/ 2147483647 w 297"/>
                <a:gd name="T41" fmla="*/ 2147483647 h 264"/>
                <a:gd name="T42" fmla="*/ 2147483647 w 297"/>
                <a:gd name="T43" fmla="*/ 2147483647 h 264"/>
                <a:gd name="T44" fmla="*/ 2147483647 w 297"/>
                <a:gd name="T45" fmla="*/ 2147483647 h 264"/>
                <a:gd name="T46" fmla="*/ 2147483647 w 297"/>
                <a:gd name="T47" fmla="*/ 2147483647 h 264"/>
                <a:gd name="T48" fmla="*/ 2147483647 w 297"/>
                <a:gd name="T49" fmla="*/ 2147483647 h 264"/>
                <a:gd name="T50" fmla="*/ 2147483647 w 297"/>
                <a:gd name="T51" fmla="*/ 2147483647 h 264"/>
                <a:gd name="T52" fmla="*/ 2147483647 w 297"/>
                <a:gd name="T53" fmla="*/ 2147483647 h 264"/>
                <a:gd name="T54" fmla="*/ 2147483647 w 297"/>
                <a:gd name="T55" fmla="*/ 2147483647 h 264"/>
                <a:gd name="T56" fmla="*/ 2147483647 w 297"/>
                <a:gd name="T57" fmla="*/ 2147483647 h 264"/>
                <a:gd name="T58" fmla="*/ 2147483647 w 297"/>
                <a:gd name="T59" fmla="*/ 2147483647 h 264"/>
                <a:gd name="T60" fmla="*/ 2147483647 w 297"/>
                <a:gd name="T61" fmla="*/ 2147483647 h 264"/>
                <a:gd name="T62" fmla="*/ 2147483647 w 297"/>
                <a:gd name="T63" fmla="*/ 2147483647 h 264"/>
                <a:gd name="T64" fmla="*/ 0 w 297"/>
                <a:gd name="T65" fmla="*/ 2147483647 h 264"/>
                <a:gd name="T66" fmla="*/ 2147483647 w 297"/>
                <a:gd name="T67" fmla="*/ 2147483647 h 264"/>
                <a:gd name="T68" fmla="*/ 2147483647 w 297"/>
                <a:gd name="T69" fmla="*/ 2147483647 h 264"/>
                <a:gd name="T70" fmla="*/ 2147483647 w 297"/>
                <a:gd name="T71" fmla="*/ 2147483647 h 264"/>
                <a:gd name="T72" fmla="*/ 2147483647 w 297"/>
                <a:gd name="T73" fmla="*/ 2147483647 h 264"/>
                <a:gd name="T74" fmla="*/ 2147483647 w 297"/>
                <a:gd name="T75" fmla="*/ 2147483647 h 264"/>
                <a:gd name="T76" fmla="*/ 2147483647 w 297"/>
                <a:gd name="T77" fmla="*/ 2147483647 h 264"/>
                <a:gd name="T78" fmla="*/ 2147483647 w 297"/>
                <a:gd name="T79" fmla="*/ 2147483647 h 264"/>
                <a:gd name="T80" fmla="*/ 2147483647 w 297"/>
                <a:gd name="T81" fmla="*/ 2147483647 h 264"/>
                <a:gd name="T82" fmla="*/ 2147483647 w 297"/>
                <a:gd name="T83" fmla="*/ 2147483647 h 264"/>
                <a:gd name="T84" fmla="*/ 2147483647 w 297"/>
                <a:gd name="T85" fmla="*/ 2147483647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7"/>
                <a:gd name="T130" fmla="*/ 0 h 264"/>
                <a:gd name="T131" fmla="*/ 297 w 297"/>
                <a:gd name="T132" fmla="*/ 264 h 26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7" h="264">
                  <a:moveTo>
                    <a:pt x="297" y="13"/>
                  </a:moveTo>
                  <a:lnTo>
                    <a:pt x="296" y="9"/>
                  </a:lnTo>
                  <a:lnTo>
                    <a:pt x="291" y="0"/>
                  </a:lnTo>
                  <a:lnTo>
                    <a:pt x="270" y="11"/>
                  </a:lnTo>
                  <a:lnTo>
                    <a:pt x="229" y="10"/>
                  </a:lnTo>
                  <a:lnTo>
                    <a:pt x="162" y="35"/>
                  </a:lnTo>
                  <a:lnTo>
                    <a:pt x="140" y="32"/>
                  </a:lnTo>
                  <a:lnTo>
                    <a:pt x="126" y="21"/>
                  </a:lnTo>
                  <a:lnTo>
                    <a:pt x="88" y="37"/>
                  </a:lnTo>
                  <a:lnTo>
                    <a:pt x="69" y="36"/>
                  </a:lnTo>
                  <a:lnTo>
                    <a:pt x="68" y="31"/>
                  </a:lnTo>
                  <a:lnTo>
                    <a:pt x="53" y="26"/>
                  </a:lnTo>
                  <a:lnTo>
                    <a:pt x="47" y="46"/>
                  </a:lnTo>
                  <a:lnTo>
                    <a:pt x="54" y="58"/>
                  </a:lnTo>
                  <a:lnTo>
                    <a:pt x="40" y="61"/>
                  </a:lnTo>
                  <a:lnTo>
                    <a:pt x="39" y="70"/>
                  </a:lnTo>
                  <a:lnTo>
                    <a:pt x="30" y="80"/>
                  </a:lnTo>
                  <a:lnTo>
                    <a:pt x="28" y="85"/>
                  </a:lnTo>
                  <a:lnTo>
                    <a:pt x="20" y="83"/>
                  </a:lnTo>
                  <a:lnTo>
                    <a:pt x="16" y="94"/>
                  </a:lnTo>
                  <a:lnTo>
                    <a:pt x="23" y="107"/>
                  </a:lnTo>
                  <a:lnTo>
                    <a:pt x="23" y="139"/>
                  </a:lnTo>
                  <a:lnTo>
                    <a:pt x="44" y="139"/>
                  </a:lnTo>
                  <a:lnTo>
                    <a:pt x="40" y="147"/>
                  </a:lnTo>
                  <a:lnTo>
                    <a:pt x="49" y="152"/>
                  </a:lnTo>
                  <a:lnTo>
                    <a:pt x="52" y="165"/>
                  </a:lnTo>
                  <a:lnTo>
                    <a:pt x="37" y="178"/>
                  </a:lnTo>
                  <a:lnTo>
                    <a:pt x="41" y="185"/>
                  </a:lnTo>
                  <a:lnTo>
                    <a:pt x="25" y="186"/>
                  </a:lnTo>
                  <a:lnTo>
                    <a:pt x="21" y="195"/>
                  </a:lnTo>
                  <a:lnTo>
                    <a:pt x="25" y="201"/>
                  </a:lnTo>
                  <a:lnTo>
                    <a:pt x="3" y="216"/>
                  </a:lnTo>
                  <a:lnTo>
                    <a:pt x="0" y="244"/>
                  </a:lnTo>
                  <a:lnTo>
                    <a:pt x="12" y="243"/>
                  </a:lnTo>
                  <a:lnTo>
                    <a:pt x="30" y="260"/>
                  </a:lnTo>
                  <a:lnTo>
                    <a:pt x="44" y="264"/>
                  </a:lnTo>
                  <a:lnTo>
                    <a:pt x="137" y="212"/>
                  </a:lnTo>
                  <a:lnTo>
                    <a:pt x="240" y="152"/>
                  </a:lnTo>
                  <a:lnTo>
                    <a:pt x="247" y="132"/>
                  </a:lnTo>
                  <a:lnTo>
                    <a:pt x="253" y="49"/>
                  </a:lnTo>
                  <a:lnTo>
                    <a:pt x="277" y="40"/>
                  </a:lnTo>
                  <a:lnTo>
                    <a:pt x="292" y="16"/>
                  </a:lnTo>
                  <a:lnTo>
                    <a:pt x="297" y="13"/>
                  </a:lnTo>
                  <a:close/>
                </a:path>
              </a:pathLst>
            </a:custGeom>
            <a:grpFill/>
            <a:ln w="6350">
              <a:solidFill>
                <a:schemeClr val="tx2"/>
              </a:solidFill>
              <a:round/>
              <a:headEnd/>
              <a:tailEnd/>
            </a:ln>
          </p:spPr>
          <p:txBody>
            <a:bodyPr/>
            <a:lstStyle/>
            <a:p>
              <a:endParaRPr lang="en-US"/>
            </a:p>
          </p:txBody>
        </p:sp>
        <p:sp>
          <p:nvSpPr>
            <p:cNvPr id="561" name="Freeform 1436"/>
            <p:cNvSpPr>
              <a:spLocks/>
            </p:cNvSpPr>
            <p:nvPr/>
          </p:nvSpPr>
          <p:spPr bwMode="auto">
            <a:xfrm>
              <a:off x="5363227" y="3595759"/>
              <a:ext cx="36411" cy="43995"/>
            </a:xfrm>
            <a:custGeom>
              <a:avLst/>
              <a:gdLst>
                <a:gd name="T0" fmla="*/ 0 w 73"/>
                <a:gd name="T1" fmla="*/ 2147483647 h 86"/>
                <a:gd name="T2" fmla="*/ 2147483647 w 73"/>
                <a:gd name="T3" fmla="*/ 2147483647 h 86"/>
                <a:gd name="T4" fmla="*/ 2147483647 w 73"/>
                <a:gd name="T5" fmla="*/ 2147483647 h 86"/>
                <a:gd name="T6" fmla="*/ 2147483647 w 73"/>
                <a:gd name="T7" fmla="*/ 0 h 86"/>
                <a:gd name="T8" fmla="*/ 2147483647 w 73"/>
                <a:gd name="T9" fmla="*/ 0 h 86"/>
                <a:gd name="T10" fmla="*/ 2147483647 w 73"/>
                <a:gd name="T11" fmla="*/ 2147483647 h 86"/>
                <a:gd name="T12" fmla="*/ 2147483647 w 73"/>
                <a:gd name="T13" fmla="*/ 2147483647 h 86"/>
                <a:gd name="T14" fmla="*/ 2147483647 w 73"/>
                <a:gd name="T15" fmla="*/ 2147483647 h 86"/>
                <a:gd name="T16" fmla="*/ 2147483647 w 73"/>
                <a:gd name="T17" fmla="*/ 2147483647 h 86"/>
                <a:gd name="T18" fmla="*/ 2147483647 w 73"/>
                <a:gd name="T19" fmla="*/ 2147483647 h 86"/>
                <a:gd name="T20" fmla="*/ 2147483647 w 73"/>
                <a:gd name="T21" fmla="*/ 2147483647 h 86"/>
                <a:gd name="T22" fmla="*/ 2147483647 w 73"/>
                <a:gd name="T23" fmla="*/ 2147483647 h 86"/>
                <a:gd name="T24" fmla="*/ 2147483647 w 73"/>
                <a:gd name="T25" fmla="*/ 2147483647 h 86"/>
                <a:gd name="T26" fmla="*/ 2147483647 w 73"/>
                <a:gd name="T27" fmla="*/ 2147483647 h 86"/>
                <a:gd name="T28" fmla="*/ 2147483647 w 73"/>
                <a:gd name="T29" fmla="*/ 2147483647 h 86"/>
                <a:gd name="T30" fmla="*/ 2147483647 w 73"/>
                <a:gd name="T31" fmla="*/ 2147483647 h 86"/>
                <a:gd name="T32" fmla="*/ 0 w 73"/>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
                <a:gd name="T52" fmla="*/ 0 h 86"/>
                <a:gd name="T53" fmla="*/ 73 w 73"/>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 h="86">
                  <a:moveTo>
                    <a:pt x="0" y="84"/>
                  </a:moveTo>
                  <a:lnTo>
                    <a:pt x="31" y="19"/>
                  </a:lnTo>
                  <a:lnTo>
                    <a:pt x="45" y="8"/>
                  </a:lnTo>
                  <a:lnTo>
                    <a:pt x="44" y="0"/>
                  </a:lnTo>
                  <a:lnTo>
                    <a:pt x="65" y="0"/>
                  </a:lnTo>
                  <a:lnTo>
                    <a:pt x="61" y="8"/>
                  </a:lnTo>
                  <a:lnTo>
                    <a:pt x="70" y="13"/>
                  </a:lnTo>
                  <a:lnTo>
                    <a:pt x="73" y="26"/>
                  </a:lnTo>
                  <a:lnTo>
                    <a:pt x="58" y="39"/>
                  </a:lnTo>
                  <a:lnTo>
                    <a:pt x="62" y="46"/>
                  </a:lnTo>
                  <a:lnTo>
                    <a:pt x="46" y="47"/>
                  </a:lnTo>
                  <a:lnTo>
                    <a:pt x="42" y="56"/>
                  </a:lnTo>
                  <a:lnTo>
                    <a:pt x="46" y="62"/>
                  </a:lnTo>
                  <a:lnTo>
                    <a:pt x="24" y="77"/>
                  </a:lnTo>
                  <a:lnTo>
                    <a:pt x="21" y="75"/>
                  </a:lnTo>
                  <a:lnTo>
                    <a:pt x="20" y="86"/>
                  </a:lnTo>
                  <a:lnTo>
                    <a:pt x="0" y="84"/>
                  </a:lnTo>
                  <a:close/>
                </a:path>
              </a:pathLst>
            </a:custGeom>
            <a:grpFill/>
            <a:ln w="6350">
              <a:solidFill>
                <a:schemeClr val="tx2"/>
              </a:solidFill>
              <a:round/>
              <a:headEnd/>
              <a:tailEnd/>
            </a:ln>
          </p:spPr>
          <p:txBody>
            <a:bodyPr/>
            <a:lstStyle/>
            <a:p>
              <a:endParaRPr lang="en-US"/>
            </a:p>
          </p:txBody>
        </p:sp>
        <p:sp>
          <p:nvSpPr>
            <p:cNvPr id="562" name="Freeform 1464"/>
            <p:cNvSpPr>
              <a:spLocks/>
            </p:cNvSpPr>
            <p:nvPr/>
          </p:nvSpPr>
          <p:spPr bwMode="auto">
            <a:xfrm>
              <a:off x="4773069" y="3527488"/>
              <a:ext cx="83441" cy="180537"/>
            </a:xfrm>
            <a:custGeom>
              <a:avLst/>
              <a:gdLst>
                <a:gd name="T0" fmla="*/ 2147483647 w 171"/>
                <a:gd name="T1" fmla="*/ 2147483647 h 363"/>
                <a:gd name="T2" fmla="*/ 2147483647 w 171"/>
                <a:gd name="T3" fmla="*/ 2147483647 h 363"/>
                <a:gd name="T4" fmla="*/ 2147483647 w 171"/>
                <a:gd name="T5" fmla="*/ 2147483647 h 363"/>
                <a:gd name="T6" fmla="*/ 2147483647 w 171"/>
                <a:gd name="T7" fmla="*/ 2147483647 h 363"/>
                <a:gd name="T8" fmla="*/ 2147483647 w 171"/>
                <a:gd name="T9" fmla="*/ 2147483647 h 363"/>
                <a:gd name="T10" fmla="*/ 2147483647 w 171"/>
                <a:gd name="T11" fmla="*/ 2147483647 h 363"/>
                <a:gd name="T12" fmla="*/ 0 w 171"/>
                <a:gd name="T13" fmla="*/ 2147483647 h 363"/>
                <a:gd name="T14" fmla="*/ 2147483647 w 171"/>
                <a:gd name="T15" fmla="*/ 2147483647 h 363"/>
                <a:gd name="T16" fmla="*/ 2147483647 w 171"/>
                <a:gd name="T17" fmla="*/ 2147483647 h 363"/>
                <a:gd name="T18" fmla="*/ 2147483647 w 171"/>
                <a:gd name="T19" fmla="*/ 2147483647 h 363"/>
                <a:gd name="T20" fmla="*/ 2147483647 w 171"/>
                <a:gd name="T21" fmla="*/ 2147483647 h 363"/>
                <a:gd name="T22" fmla="*/ 2147483647 w 171"/>
                <a:gd name="T23" fmla="*/ 2147483647 h 363"/>
                <a:gd name="T24" fmla="*/ 2147483647 w 171"/>
                <a:gd name="T25" fmla="*/ 2147483647 h 363"/>
                <a:gd name="T26" fmla="*/ 2147483647 w 171"/>
                <a:gd name="T27" fmla="*/ 2147483647 h 363"/>
                <a:gd name="T28" fmla="*/ 2147483647 w 171"/>
                <a:gd name="T29" fmla="*/ 2147483647 h 363"/>
                <a:gd name="T30" fmla="*/ 2147483647 w 171"/>
                <a:gd name="T31" fmla="*/ 2147483647 h 363"/>
                <a:gd name="T32" fmla="*/ 2147483647 w 171"/>
                <a:gd name="T33" fmla="*/ 2147483647 h 363"/>
                <a:gd name="T34" fmla="*/ 2147483647 w 171"/>
                <a:gd name="T35" fmla="*/ 2147483647 h 363"/>
                <a:gd name="T36" fmla="*/ 2147483647 w 171"/>
                <a:gd name="T37" fmla="*/ 2147483647 h 363"/>
                <a:gd name="T38" fmla="*/ 2147483647 w 171"/>
                <a:gd name="T39" fmla="*/ 2147483647 h 363"/>
                <a:gd name="T40" fmla="*/ 2147483647 w 171"/>
                <a:gd name="T41" fmla="*/ 2147483647 h 363"/>
                <a:gd name="T42" fmla="*/ 2147483647 w 171"/>
                <a:gd name="T43" fmla="*/ 2147483647 h 363"/>
                <a:gd name="T44" fmla="*/ 2147483647 w 171"/>
                <a:gd name="T45" fmla="*/ 2147483647 h 363"/>
                <a:gd name="T46" fmla="*/ 2147483647 w 171"/>
                <a:gd name="T47" fmla="*/ 2147483647 h 363"/>
                <a:gd name="T48" fmla="*/ 2147483647 w 171"/>
                <a:gd name="T49" fmla="*/ 2147483647 h 363"/>
                <a:gd name="T50" fmla="*/ 2147483647 w 171"/>
                <a:gd name="T51" fmla="*/ 2147483647 h 363"/>
                <a:gd name="T52" fmla="*/ 2147483647 w 171"/>
                <a:gd name="T53" fmla="*/ 2147483647 h 363"/>
                <a:gd name="T54" fmla="*/ 2147483647 w 171"/>
                <a:gd name="T55" fmla="*/ 2147483647 h 363"/>
                <a:gd name="T56" fmla="*/ 2147483647 w 171"/>
                <a:gd name="T57" fmla="*/ 2147483647 h 363"/>
                <a:gd name="T58" fmla="*/ 2147483647 w 171"/>
                <a:gd name="T59" fmla="*/ 2147483647 h 363"/>
                <a:gd name="T60" fmla="*/ 2147483647 w 171"/>
                <a:gd name="T61" fmla="*/ 2147483647 h 363"/>
                <a:gd name="T62" fmla="*/ 2147483647 w 171"/>
                <a:gd name="T63" fmla="*/ 2147483647 h 363"/>
                <a:gd name="T64" fmla="*/ 2147483647 w 171"/>
                <a:gd name="T65" fmla="*/ 2147483647 h 363"/>
                <a:gd name="T66" fmla="*/ 2147483647 w 171"/>
                <a:gd name="T67" fmla="*/ 2147483647 h 363"/>
                <a:gd name="T68" fmla="*/ 2147483647 w 171"/>
                <a:gd name="T69" fmla="*/ 2147483647 h 363"/>
                <a:gd name="T70" fmla="*/ 2147483647 w 171"/>
                <a:gd name="T71" fmla="*/ 2147483647 h 363"/>
                <a:gd name="T72" fmla="*/ 2147483647 w 171"/>
                <a:gd name="T73" fmla="*/ 2147483647 h 363"/>
                <a:gd name="T74" fmla="*/ 2147483647 w 171"/>
                <a:gd name="T75" fmla="*/ 2147483647 h 363"/>
                <a:gd name="T76" fmla="*/ 2147483647 w 171"/>
                <a:gd name="T77" fmla="*/ 2147483647 h 363"/>
                <a:gd name="T78" fmla="*/ 2147483647 w 171"/>
                <a:gd name="T79" fmla="*/ 2147483647 h 363"/>
                <a:gd name="T80" fmla="*/ 2147483647 w 171"/>
                <a:gd name="T81" fmla="*/ 2147483647 h 363"/>
                <a:gd name="T82" fmla="*/ 2147483647 w 171"/>
                <a:gd name="T83" fmla="*/ 2147483647 h 363"/>
                <a:gd name="T84" fmla="*/ 2147483647 w 171"/>
                <a:gd name="T85" fmla="*/ 2147483647 h 363"/>
                <a:gd name="T86" fmla="*/ 2147483647 w 171"/>
                <a:gd name="T87" fmla="*/ 0 h 363"/>
                <a:gd name="T88" fmla="*/ 2147483647 w 171"/>
                <a:gd name="T89" fmla="*/ 2147483647 h 363"/>
                <a:gd name="T90" fmla="*/ 2147483647 w 171"/>
                <a:gd name="T91" fmla="*/ 2147483647 h 3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1"/>
                <a:gd name="T139" fmla="*/ 0 h 363"/>
                <a:gd name="T140" fmla="*/ 171 w 171"/>
                <a:gd name="T141" fmla="*/ 363 h 3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1" h="363">
                  <a:moveTo>
                    <a:pt x="58" y="20"/>
                  </a:moveTo>
                  <a:lnTo>
                    <a:pt x="39" y="43"/>
                  </a:lnTo>
                  <a:lnTo>
                    <a:pt x="46" y="48"/>
                  </a:lnTo>
                  <a:lnTo>
                    <a:pt x="41" y="80"/>
                  </a:lnTo>
                  <a:lnTo>
                    <a:pt x="47" y="115"/>
                  </a:lnTo>
                  <a:lnTo>
                    <a:pt x="39" y="145"/>
                  </a:lnTo>
                  <a:lnTo>
                    <a:pt x="0" y="178"/>
                  </a:lnTo>
                  <a:lnTo>
                    <a:pt x="10" y="213"/>
                  </a:lnTo>
                  <a:lnTo>
                    <a:pt x="28" y="223"/>
                  </a:lnTo>
                  <a:lnTo>
                    <a:pt x="36" y="240"/>
                  </a:lnTo>
                  <a:lnTo>
                    <a:pt x="36" y="254"/>
                  </a:lnTo>
                  <a:lnTo>
                    <a:pt x="72" y="274"/>
                  </a:lnTo>
                  <a:lnTo>
                    <a:pt x="87" y="363"/>
                  </a:lnTo>
                  <a:lnTo>
                    <a:pt x="106" y="355"/>
                  </a:lnTo>
                  <a:lnTo>
                    <a:pt x="118" y="340"/>
                  </a:lnTo>
                  <a:lnTo>
                    <a:pt x="114" y="311"/>
                  </a:lnTo>
                  <a:lnTo>
                    <a:pt x="118" y="296"/>
                  </a:lnTo>
                  <a:lnTo>
                    <a:pt x="167" y="259"/>
                  </a:lnTo>
                  <a:lnTo>
                    <a:pt x="171" y="251"/>
                  </a:lnTo>
                  <a:lnTo>
                    <a:pt x="170" y="219"/>
                  </a:lnTo>
                  <a:lnTo>
                    <a:pt x="158" y="217"/>
                  </a:lnTo>
                  <a:lnTo>
                    <a:pt x="150" y="197"/>
                  </a:lnTo>
                  <a:lnTo>
                    <a:pt x="139" y="202"/>
                  </a:lnTo>
                  <a:lnTo>
                    <a:pt x="134" y="193"/>
                  </a:lnTo>
                  <a:lnTo>
                    <a:pt x="119" y="193"/>
                  </a:lnTo>
                  <a:lnTo>
                    <a:pt x="111" y="187"/>
                  </a:lnTo>
                  <a:lnTo>
                    <a:pt x="108" y="178"/>
                  </a:lnTo>
                  <a:lnTo>
                    <a:pt x="108" y="170"/>
                  </a:lnTo>
                  <a:lnTo>
                    <a:pt x="117" y="172"/>
                  </a:lnTo>
                  <a:lnTo>
                    <a:pt x="119" y="159"/>
                  </a:lnTo>
                  <a:lnTo>
                    <a:pt x="151" y="136"/>
                  </a:lnTo>
                  <a:lnTo>
                    <a:pt x="162" y="111"/>
                  </a:lnTo>
                  <a:lnTo>
                    <a:pt x="158" y="91"/>
                  </a:lnTo>
                  <a:lnTo>
                    <a:pt x="142" y="80"/>
                  </a:lnTo>
                  <a:lnTo>
                    <a:pt x="135" y="62"/>
                  </a:lnTo>
                  <a:lnTo>
                    <a:pt x="138" y="52"/>
                  </a:lnTo>
                  <a:lnTo>
                    <a:pt x="153" y="43"/>
                  </a:lnTo>
                  <a:lnTo>
                    <a:pt x="162" y="25"/>
                  </a:lnTo>
                  <a:lnTo>
                    <a:pt x="158" y="15"/>
                  </a:lnTo>
                  <a:lnTo>
                    <a:pt x="134" y="31"/>
                  </a:lnTo>
                  <a:lnTo>
                    <a:pt x="126" y="28"/>
                  </a:lnTo>
                  <a:lnTo>
                    <a:pt x="123" y="12"/>
                  </a:lnTo>
                  <a:lnTo>
                    <a:pt x="122" y="6"/>
                  </a:lnTo>
                  <a:lnTo>
                    <a:pt x="100" y="0"/>
                  </a:lnTo>
                  <a:lnTo>
                    <a:pt x="81" y="5"/>
                  </a:lnTo>
                  <a:lnTo>
                    <a:pt x="58" y="20"/>
                  </a:lnTo>
                  <a:close/>
                </a:path>
              </a:pathLst>
            </a:custGeom>
            <a:grpFill/>
            <a:ln w="6350">
              <a:solidFill>
                <a:schemeClr val="tx2"/>
              </a:solidFill>
              <a:round/>
              <a:headEnd/>
              <a:tailEnd/>
            </a:ln>
          </p:spPr>
          <p:txBody>
            <a:bodyPr/>
            <a:lstStyle/>
            <a:p>
              <a:endParaRPr lang="en-US"/>
            </a:p>
          </p:txBody>
        </p:sp>
        <p:sp>
          <p:nvSpPr>
            <p:cNvPr id="563" name="Freeform 1465"/>
            <p:cNvSpPr>
              <a:spLocks/>
            </p:cNvSpPr>
            <p:nvPr/>
          </p:nvSpPr>
          <p:spPr bwMode="auto">
            <a:xfrm>
              <a:off x="5393569" y="3994758"/>
              <a:ext cx="142609" cy="124403"/>
            </a:xfrm>
            <a:custGeom>
              <a:avLst/>
              <a:gdLst>
                <a:gd name="T0" fmla="*/ 2147483647 w 283"/>
                <a:gd name="T1" fmla="*/ 0 h 252"/>
                <a:gd name="T2" fmla="*/ 2147483647 w 283"/>
                <a:gd name="T3" fmla="*/ 2147483647 h 252"/>
                <a:gd name="T4" fmla="*/ 2147483647 w 283"/>
                <a:gd name="T5" fmla="*/ 2147483647 h 252"/>
                <a:gd name="T6" fmla="*/ 2147483647 w 283"/>
                <a:gd name="T7" fmla="*/ 2147483647 h 252"/>
                <a:gd name="T8" fmla="*/ 2147483647 w 283"/>
                <a:gd name="T9" fmla="*/ 2147483647 h 252"/>
                <a:gd name="T10" fmla="*/ 0 w 283"/>
                <a:gd name="T11" fmla="*/ 2147483647 h 252"/>
                <a:gd name="T12" fmla="*/ 2147483647 w 283"/>
                <a:gd name="T13" fmla="*/ 2147483647 h 252"/>
                <a:gd name="T14" fmla="*/ 2147483647 w 283"/>
                <a:gd name="T15" fmla="*/ 2147483647 h 252"/>
                <a:gd name="T16" fmla="*/ 2147483647 w 283"/>
                <a:gd name="T17" fmla="*/ 2147483647 h 252"/>
                <a:gd name="T18" fmla="*/ 2147483647 w 283"/>
                <a:gd name="T19" fmla="*/ 2147483647 h 252"/>
                <a:gd name="T20" fmla="*/ 2147483647 w 283"/>
                <a:gd name="T21" fmla="*/ 2147483647 h 252"/>
                <a:gd name="T22" fmla="*/ 2147483647 w 283"/>
                <a:gd name="T23" fmla="*/ 2147483647 h 252"/>
                <a:gd name="T24" fmla="*/ 2147483647 w 283"/>
                <a:gd name="T25" fmla="*/ 2147483647 h 252"/>
                <a:gd name="T26" fmla="*/ 2147483647 w 283"/>
                <a:gd name="T27" fmla="*/ 2147483647 h 252"/>
                <a:gd name="T28" fmla="*/ 2147483647 w 283"/>
                <a:gd name="T29" fmla="*/ 2147483647 h 252"/>
                <a:gd name="T30" fmla="*/ 2147483647 w 283"/>
                <a:gd name="T31" fmla="*/ 2147483647 h 252"/>
                <a:gd name="T32" fmla="*/ 2147483647 w 283"/>
                <a:gd name="T33" fmla="*/ 2147483647 h 252"/>
                <a:gd name="T34" fmla="*/ 2147483647 w 283"/>
                <a:gd name="T35" fmla="*/ 2147483647 h 252"/>
                <a:gd name="T36" fmla="*/ 2147483647 w 283"/>
                <a:gd name="T37" fmla="*/ 2147483647 h 252"/>
                <a:gd name="T38" fmla="*/ 2147483647 w 283"/>
                <a:gd name="T39" fmla="*/ 2147483647 h 252"/>
                <a:gd name="T40" fmla="*/ 2147483647 w 283"/>
                <a:gd name="T41" fmla="*/ 2147483647 h 252"/>
                <a:gd name="T42" fmla="*/ 2147483647 w 283"/>
                <a:gd name="T43" fmla="*/ 2147483647 h 252"/>
                <a:gd name="T44" fmla="*/ 2147483647 w 283"/>
                <a:gd name="T45" fmla="*/ 2147483647 h 252"/>
                <a:gd name="T46" fmla="*/ 2147483647 w 283"/>
                <a:gd name="T47" fmla="*/ 2147483647 h 252"/>
                <a:gd name="T48" fmla="*/ 2147483647 w 283"/>
                <a:gd name="T49" fmla="*/ 2147483647 h 252"/>
                <a:gd name="T50" fmla="*/ 2147483647 w 283"/>
                <a:gd name="T51" fmla="*/ 2147483647 h 252"/>
                <a:gd name="T52" fmla="*/ 2147483647 w 283"/>
                <a:gd name="T53" fmla="*/ 2147483647 h 252"/>
                <a:gd name="T54" fmla="*/ 2147483647 w 283"/>
                <a:gd name="T55" fmla="*/ 2147483647 h 252"/>
                <a:gd name="T56" fmla="*/ 2147483647 w 283"/>
                <a:gd name="T57" fmla="*/ 2147483647 h 252"/>
                <a:gd name="T58" fmla="*/ 2147483647 w 283"/>
                <a:gd name="T59" fmla="*/ 2147483647 h 252"/>
                <a:gd name="T60" fmla="*/ 2147483647 w 283"/>
                <a:gd name="T61" fmla="*/ 2147483647 h 252"/>
                <a:gd name="T62" fmla="*/ 2147483647 w 283"/>
                <a:gd name="T63" fmla="*/ 2147483647 h 252"/>
                <a:gd name="T64" fmla="*/ 2147483647 w 283"/>
                <a:gd name="T65" fmla="*/ 2147483647 h 252"/>
                <a:gd name="T66" fmla="*/ 2147483647 w 283"/>
                <a:gd name="T67" fmla="*/ 2147483647 h 252"/>
                <a:gd name="T68" fmla="*/ 2147483647 w 283"/>
                <a:gd name="T69" fmla="*/ 2147483647 h 252"/>
                <a:gd name="T70" fmla="*/ 2147483647 w 283"/>
                <a:gd name="T71" fmla="*/ 2147483647 h 252"/>
                <a:gd name="T72" fmla="*/ 2147483647 w 283"/>
                <a:gd name="T73" fmla="*/ 2147483647 h 252"/>
                <a:gd name="T74" fmla="*/ 2147483647 w 283"/>
                <a:gd name="T75" fmla="*/ 2147483647 h 252"/>
                <a:gd name="T76" fmla="*/ 2147483647 w 283"/>
                <a:gd name="T77" fmla="*/ 2147483647 h 252"/>
                <a:gd name="T78" fmla="*/ 2147483647 w 283"/>
                <a:gd name="T79" fmla="*/ 2147483647 h 252"/>
                <a:gd name="T80" fmla="*/ 2147483647 w 283"/>
                <a:gd name="T81" fmla="*/ 2147483647 h 252"/>
                <a:gd name="T82" fmla="*/ 2147483647 w 283"/>
                <a:gd name="T83" fmla="*/ 2147483647 h 252"/>
                <a:gd name="T84" fmla="*/ 2147483647 w 283"/>
                <a:gd name="T85" fmla="*/ 2147483647 h 252"/>
                <a:gd name="T86" fmla="*/ 2147483647 w 283"/>
                <a:gd name="T87" fmla="*/ 2147483647 h 252"/>
                <a:gd name="T88" fmla="*/ 2147483647 w 283"/>
                <a:gd name="T89" fmla="*/ 2147483647 h 252"/>
                <a:gd name="T90" fmla="*/ 2147483647 w 283"/>
                <a:gd name="T91" fmla="*/ 0 h 25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83"/>
                <a:gd name="T139" fmla="*/ 0 h 252"/>
                <a:gd name="T140" fmla="*/ 283 w 283"/>
                <a:gd name="T141" fmla="*/ 252 h 25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83" h="252">
                  <a:moveTo>
                    <a:pt x="86" y="0"/>
                  </a:moveTo>
                  <a:lnTo>
                    <a:pt x="78" y="19"/>
                  </a:lnTo>
                  <a:lnTo>
                    <a:pt x="46" y="33"/>
                  </a:lnTo>
                  <a:lnTo>
                    <a:pt x="35" y="42"/>
                  </a:lnTo>
                  <a:lnTo>
                    <a:pt x="24" y="43"/>
                  </a:lnTo>
                  <a:lnTo>
                    <a:pt x="0" y="141"/>
                  </a:lnTo>
                  <a:lnTo>
                    <a:pt x="2" y="169"/>
                  </a:lnTo>
                  <a:lnTo>
                    <a:pt x="21" y="171"/>
                  </a:lnTo>
                  <a:lnTo>
                    <a:pt x="26" y="163"/>
                  </a:lnTo>
                  <a:lnTo>
                    <a:pt x="32" y="163"/>
                  </a:lnTo>
                  <a:lnTo>
                    <a:pt x="44" y="178"/>
                  </a:lnTo>
                  <a:lnTo>
                    <a:pt x="59" y="144"/>
                  </a:lnTo>
                  <a:lnTo>
                    <a:pt x="74" y="153"/>
                  </a:lnTo>
                  <a:lnTo>
                    <a:pt x="81" y="164"/>
                  </a:lnTo>
                  <a:lnTo>
                    <a:pt x="102" y="161"/>
                  </a:lnTo>
                  <a:lnTo>
                    <a:pt x="106" y="154"/>
                  </a:lnTo>
                  <a:lnTo>
                    <a:pt x="116" y="163"/>
                  </a:lnTo>
                  <a:lnTo>
                    <a:pt x="128" y="158"/>
                  </a:lnTo>
                  <a:lnTo>
                    <a:pt x="144" y="164"/>
                  </a:lnTo>
                  <a:lnTo>
                    <a:pt x="157" y="162"/>
                  </a:lnTo>
                  <a:lnTo>
                    <a:pt x="182" y="175"/>
                  </a:lnTo>
                  <a:lnTo>
                    <a:pt x="201" y="199"/>
                  </a:lnTo>
                  <a:lnTo>
                    <a:pt x="223" y="216"/>
                  </a:lnTo>
                  <a:lnTo>
                    <a:pt x="234" y="234"/>
                  </a:lnTo>
                  <a:lnTo>
                    <a:pt x="254" y="252"/>
                  </a:lnTo>
                  <a:lnTo>
                    <a:pt x="283" y="234"/>
                  </a:lnTo>
                  <a:lnTo>
                    <a:pt x="256" y="217"/>
                  </a:lnTo>
                  <a:lnTo>
                    <a:pt x="249" y="200"/>
                  </a:lnTo>
                  <a:lnTo>
                    <a:pt x="241" y="197"/>
                  </a:lnTo>
                  <a:lnTo>
                    <a:pt x="236" y="188"/>
                  </a:lnTo>
                  <a:lnTo>
                    <a:pt x="225" y="185"/>
                  </a:lnTo>
                  <a:lnTo>
                    <a:pt x="207" y="157"/>
                  </a:lnTo>
                  <a:lnTo>
                    <a:pt x="185" y="150"/>
                  </a:lnTo>
                  <a:lnTo>
                    <a:pt x="174" y="139"/>
                  </a:lnTo>
                  <a:lnTo>
                    <a:pt x="160" y="141"/>
                  </a:lnTo>
                  <a:lnTo>
                    <a:pt x="153" y="129"/>
                  </a:lnTo>
                  <a:lnTo>
                    <a:pt x="153" y="120"/>
                  </a:lnTo>
                  <a:lnTo>
                    <a:pt x="147" y="116"/>
                  </a:lnTo>
                  <a:lnTo>
                    <a:pt x="142" y="119"/>
                  </a:lnTo>
                  <a:lnTo>
                    <a:pt x="145" y="130"/>
                  </a:lnTo>
                  <a:lnTo>
                    <a:pt x="139" y="129"/>
                  </a:lnTo>
                  <a:lnTo>
                    <a:pt x="134" y="113"/>
                  </a:lnTo>
                  <a:lnTo>
                    <a:pt x="128" y="110"/>
                  </a:lnTo>
                  <a:lnTo>
                    <a:pt x="118" y="93"/>
                  </a:lnTo>
                  <a:lnTo>
                    <a:pt x="102" y="24"/>
                  </a:lnTo>
                  <a:lnTo>
                    <a:pt x="86" y="0"/>
                  </a:lnTo>
                  <a:close/>
                </a:path>
              </a:pathLst>
            </a:custGeom>
            <a:grpFill/>
            <a:ln w="6350">
              <a:solidFill>
                <a:schemeClr val="tx2"/>
              </a:solidFill>
              <a:round/>
              <a:headEnd/>
              <a:tailEnd/>
            </a:ln>
          </p:spPr>
          <p:txBody>
            <a:bodyPr/>
            <a:lstStyle/>
            <a:p>
              <a:endParaRPr lang="en-US"/>
            </a:p>
          </p:txBody>
        </p:sp>
        <p:sp>
          <p:nvSpPr>
            <p:cNvPr id="564" name="Freeform 1466"/>
            <p:cNvSpPr>
              <a:spLocks/>
            </p:cNvSpPr>
            <p:nvPr/>
          </p:nvSpPr>
          <p:spPr bwMode="auto">
            <a:xfrm>
              <a:off x="5508869" y="4110059"/>
              <a:ext cx="33376" cy="42479"/>
            </a:xfrm>
            <a:custGeom>
              <a:avLst/>
              <a:gdLst>
                <a:gd name="T0" fmla="*/ 2147483647 w 65"/>
                <a:gd name="T1" fmla="*/ 0 h 82"/>
                <a:gd name="T2" fmla="*/ 2147483647 w 65"/>
                <a:gd name="T3" fmla="*/ 2147483647 h 82"/>
                <a:gd name="T4" fmla="*/ 2147483647 w 65"/>
                <a:gd name="T5" fmla="*/ 2147483647 h 82"/>
                <a:gd name="T6" fmla="*/ 2147483647 w 65"/>
                <a:gd name="T7" fmla="*/ 2147483647 h 82"/>
                <a:gd name="T8" fmla="*/ 0 w 65"/>
                <a:gd name="T9" fmla="*/ 2147483647 h 82"/>
                <a:gd name="T10" fmla="*/ 2147483647 w 65"/>
                <a:gd name="T11" fmla="*/ 2147483647 h 82"/>
                <a:gd name="T12" fmla="*/ 2147483647 w 65"/>
                <a:gd name="T13" fmla="*/ 2147483647 h 82"/>
                <a:gd name="T14" fmla="*/ 2147483647 w 65"/>
                <a:gd name="T15" fmla="*/ 2147483647 h 82"/>
                <a:gd name="T16" fmla="*/ 2147483647 w 65"/>
                <a:gd name="T17" fmla="*/ 2147483647 h 82"/>
                <a:gd name="T18" fmla="*/ 2147483647 w 65"/>
                <a:gd name="T19" fmla="*/ 2147483647 h 82"/>
                <a:gd name="T20" fmla="*/ 2147483647 w 65"/>
                <a:gd name="T21" fmla="*/ 2147483647 h 82"/>
                <a:gd name="T22" fmla="*/ 2147483647 w 65"/>
                <a:gd name="T23" fmla="*/ 2147483647 h 82"/>
                <a:gd name="T24" fmla="*/ 2147483647 w 65"/>
                <a:gd name="T25" fmla="*/ 2147483647 h 82"/>
                <a:gd name="T26" fmla="*/ 2147483647 w 65"/>
                <a:gd name="T27" fmla="*/ 2147483647 h 82"/>
                <a:gd name="T28" fmla="*/ 2147483647 w 65"/>
                <a:gd name="T29" fmla="*/ 2147483647 h 82"/>
                <a:gd name="T30" fmla="*/ 2147483647 w 65"/>
                <a:gd name="T31" fmla="*/ 2147483647 h 82"/>
                <a:gd name="T32" fmla="*/ 2147483647 w 65"/>
                <a:gd name="T33" fmla="*/ 2147483647 h 82"/>
                <a:gd name="T34" fmla="*/ 2147483647 w 65"/>
                <a:gd name="T35" fmla="*/ 0 h 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5"/>
                <a:gd name="T55" fmla="*/ 0 h 82"/>
                <a:gd name="T56" fmla="*/ 65 w 65"/>
                <a:gd name="T57" fmla="*/ 82 h 8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5" h="82">
                  <a:moveTo>
                    <a:pt x="51" y="0"/>
                  </a:moveTo>
                  <a:lnTo>
                    <a:pt x="22" y="18"/>
                  </a:lnTo>
                  <a:lnTo>
                    <a:pt x="17" y="22"/>
                  </a:lnTo>
                  <a:lnTo>
                    <a:pt x="11" y="49"/>
                  </a:lnTo>
                  <a:lnTo>
                    <a:pt x="0" y="68"/>
                  </a:lnTo>
                  <a:lnTo>
                    <a:pt x="6" y="81"/>
                  </a:lnTo>
                  <a:lnTo>
                    <a:pt x="23" y="81"/>
                  </a:lnTo>
                  <a:lnTo>
                    <a:pt x="35" y="75"/>
                  </a:lnTo>
                  <a:lnTo>
                    <a:pt x="46" y="82"/>
                  </a:lnTo>
                  <a:lnTo>
                    <a:pt x="60" y="58"/>
                  </a:lnTo>
                  <a:lnTo>
                    <a:pt x="55" y="54"/>
                  </a:lnTo>
                  <a:lnTo>
                    <a:pt x="34" y="59"/>
                  </a:lnTo>
                  <a:lnTo>
                    <a:pt x="29" y="55"/>
                  </a:lnTo>
                  <a:lnTo>
                    <a:pt x="36" y="55"/>
                  </a:lnTo>
                  <a:lnTo>
                    <a:pt x="41" y="46"/>
                  </a:lnTo>
                  <a:lnTo>
                    <a:pt x="65" y="34"/>
                  </a:lnTo>
                  <a:lnTo>
                    <a:pt x="64" y="17"/>
                  </a:lnTo>
                  <a:lnTo>
                    <a:pt x="51" y="0"/>
                  </a:lnTo>
                  <a:close/>
                </a:path>
              </a:pathLst>
            </a:custGeom>
            <a:grpFill/>
            <a:ln w="6350">
              <a:solidFill>
                <a:schemeClr val="tx2"/>
              </a:solidFill>
              <a:round/>
              <a:headEnd/>
              <a:tailEnd/>
            </a:ln>
          </p:spPr>
          <p:txBody>
            <a:bodyPr/>
            <a:lstStyle/>
            <a:p>
              <a:endParaRPr lang="en-US"/>
            </a:p>
          </p:txBody>
        </p:sp>
        <p:sp>
          <p:nvSpPr>
            <p:cNvPr id="565" name="Freeform 1467"/>
            <p:cNvSpPr>
              <a:spLocks/>
            </p:cNvSpPr>
            <p:nvPr/>
          </p:nvSpPr>
          <p:spPr bwMode="auto">
            <a:xfrm>
              <a:off x="4671423" y="4088820"/>
              <a:ext cx="251841" cy="206327"/>
            </a:xfrm>
            <a:custGeom>
              <a:avLst/>
              <a:gdLst>
                <a:gd name="T0" fmla="*/ 2147483647 w 504"/>
                <a:gd name="T1" fmla="*/ 2147483647 h 418"/>
                <a:gd name="T2" fmla="*/ 2147483647 w 504"/>
                <a:gd name="T3" fmla="*/ 2147483647 h 418"/>
                <a:gd name="T4" fmla="*/ 2147483647 w 504"/>
                <a:gd name="T5" fmla="*/ 2147483647 h 418"/>
                <a:gd name="T6" fmla="*/ 2147483647 w 504"/>
                <a:gd name="T7" fmla="*/ 2147483647 h 418"/>
                <a:gd name="T8" fmla="*/ 2147483647 w 504"/>
                <a:gd name="T9" fmla="*/ 2147483647 h 418"/>
                <a:gd name="T10" fmla="*/ 2147483647 w 504"/>
                <a:gd name="T11" fmla="*/ 2147483647 h 418"/>
                <a:gd name="T12" fmla="*/ 2147483647 w 504"/>
                <a:gd name="T13" fmla="*/ 2147483647 h 418"/>
                <a:gd name="T14" fmla="*/ 2147483647 w 504"/>
                <a:gd name="T15" fmla="*/ 2147483647 h 418"/>
                <a:gd name="T16" fmla="*/ 2147483647 w 504"/>
                <a:gd name="T17" fmla="*/ 2147483647 h 418"/>
                <a:gd name="T18" fmla="*/ 2147483647 w 504"/>
                <a:gd name="T19" fmla="*/ 2147483647 h 418"/>
                <a:gd name="T20" fmla="*/ 2147483647 w 504"/>
                <a:gd name="T21" fmla="*/ 2147483647 h 418"/>
                <a:gd name="T22" fmla="*/ 2147483647 w 504"/>
                <a:gd name="T23" fmla="*/ 2147483647 h 418"/>
                <a:gd name="T24" fmla="*/ 2147483647 w 504"/>
                <a:gd name="T25" fmla="*/ 2147483647 h 418"/>
                <a:gd name="T26" fmla="*/ 2147483647 w 504"/>
                <a:gd name="T27" fmla="*/ 2147483647 h 418"/>
                <a:gd name="T28" fmla="*/ 2147483647 w 504"/>
                <a:gd name="T29" fmla="*/ 2147483647 h 418"/>
                <a:gd name="T30" fmla="*/ 2147483647 w 504"/>
                <a:gd name="T31" fmla="*/ 2147483647 h 418"/>
                <a:gd name="T32" fmla="*/ 2147483647 w 504"/>
                <a:gd name="T33" fmla="*/ 2147483647 h 418"/>
                <a:gd name="T34" fmla="*/ 2147483647 w 504"/>
                <a:gd name="T35" fmla="*/ 2147483647 h 418"/>
                <a:gd name="T36" fmla="*/ 2147483647 w 504"/>
                <a:gd name="T37" fmla="*/ 0 h 418"/>
                <a:gd name="T38" fmla="*/ 2147483647 w 504"/>
                <a:gd name="T39" fmla="*/ 2147483647 h 418"/>
                <a:gd name="T40" fmla="*/ 2147483647 w 504"/>
                <a:gd name="T41" fmla="*/ 2147483647 h 418"/>
                <a:gd name="T42" fmla="*/ 2147483647 w 504"/>
                <a:gd name="T43" fmla="*/ 2147483647 h 418"/>
                <a:gd name="T44" fmla="*/ 2147483647 w 504"/>
                <a:gd name="T45" fmla="*/ 2147483647 h 418"/>
                <a:gd name="T46" fmla="*/ 2147483647 w 504"/>
                <a:gd name="T47" fmla="*/ 2147483647 h 418"/>
                <a:gd name="T48" fmla="*/ 2147483647 w 504"/>
                <a:gd name="T49" fmla="*/ 2147483647 h 418"/>
                <a:gd name="T50" fmla="*/ 2147483647 w 504"/>
                <a:gd name="T51" fmla="*/ 2147483647 h 418"/>
                <a:gd name="T52" fmla="*/ 2147483647 w 504"/>
                <a:gd name="T53" fmla="*/ 2147483647 h 418"/>
                <a:gd name="T54" fmla="*/ 2147483647 w 504"/>
                <a:gd name="T55" fmla="*/ 2147483647 h 418"/>
                <a:gd name="T56" fmla="*/ 2147483647 w 504"/>
                <a:gd name="T57" fmla="*/ 2147483647 h 418"/>
                <a:gd name="T58" fmla="*/ 2147483647 w 504"/>
                <a:gd name="T59" fmla="*/ 2147483647 h 418"/>
                <a:gd name="T60" fmla="*/ 2147483647 w 504"/>
                <a:gd name="T61" fmla="*/ 2147483647 h 418"/>
                <a:gd name="T62" fmla="*/ 2147483647 w 504"/>
                <a:gd name="T63" fmla="*/ 2147483647 h 418"/>
                <a:gd name="T64" fmla="*/ 2147483647 w 504"/>
                <a:gd name="T65" fmla="*/ 2147483647 h 418"/>
                <a:gd name="T66" fmla="*/ 0 w 504"/>
                <a:gd name="T67" fmla="*/ 2147483647 h 4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4"/>
                <a:gd name="T103" fmla="*/ 0 h 418"/>
                <a:gd name="T104" fmla="*/ 504 w 504"/>
                <a:gd name="T105" fmla="*/ 418 h 4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4" h="418">
                  <a:moveTo>
                    <a:pt x="5" y="328"/>
                  </a:moveTo>
                  <a:lnTo>
                    <a:pt x="68" y="327"/>
                  </a:lnTo>
                  <a:lnTo>
                    <a:pt x="91" y="337"/>
                  </a:lnTo>
                  <a:lnTo>
                    <a:pt x="99" y="349"/>
                  </a:lnTo>
                  <a:lnTo>
                    <a:pt x="110" y="365"/>
                  </a:lnTo>
                  <a:lnTo>
                    <a:pt x="118" y="367"/>
                  </a:lnTo>
                  <a:lnTo>
                    <a:pt x="114" y="369"/>
                  </a:lnTo>
                  <a:lnTo>
                    <a:pt x="118" y="393"/>
                  </a:lnTo>
                  <a:lnTo>
                    <a:pt x="132" y="409"/>
                  </a:lnTo>
                  <a:lnTo>
                    <a:pt x="144" y="412"/>
                  </a:lnTo>
                  <a:lnTo>
                    <a:pt x="149" y="411"/>
                  </a:lnTo>
                  <a:lnTo>
                    <a:pt x="151" y="418"/>
                  </a:lnTo>
                  <a:lnTo>
                    <a:pt x="165" y="411"/>
                  </a:lnTo>
                  <a:lnTo>
                    <a:pt x="177" y="411"/>
                  </a:lnTo>
                  <a:lnTo>
                    <a:pt x="189" y="399"/>
                  </a:lnTo>
                  <a:lnTo>
                    <a:pt x="208" y="407"/>
                  </a:lnTo>
                  <a:lnTo>
                    <a:pt x="235" y="406"/>
                  </a:lnTo>
                  <a:lnTo>
                    <a:pt x="239" y="390"/>
                  </a:lnTo>
                  <a:lnTo>
                    <a:pt x="246" y="396"/>
                  </a:lnTo>
                  <a:lnTo>
                    <a:pt x="261" y="371"/>
                  </a:lnTo>
                  <a:lnTo>
                    <a:pt x="264" y="348"/>
                  </a:lnTo>
                  <a:lnTo>
                    <a:pt x="278" y="327"/>
                  </a:lnTo>
                  <a:lnTo>
                    <a:pt x="291" y="317"/>
                  </a:lnTo>
                  <a:lnTo>
                    <a:pt x="295" y="305"/>
                  </a:lnTo>
                  <a:lnTo>
                    <a:pt x="338" y="301"/>
                  </a:lnTo>
                  <a:lnTo>
                    <a:pt x="359" y="321"/>
                  </a:lnTo>
                  <a:lnTo>
                    <a:pt x="375" y="319"/>
                  </a:lnTo>
                  <a:lnTo>
                    <a:pt x="402" y="265"/>
                  </a:lnTo>
                  <a:lnTo>
                    <a:pt x="412" y="235"/>
                  </a:lnTo>
                  <a:lnTo>
                    <a:pt x="433" y="216"/>
                  </a:lnTo>
                  <a:lnTo>
                    <a:pt x="443" y="171"/>
                  </a:lnTo>
                  <a:lnTo>
                    <a:pt x="462" y="125"/>
                  </a:lnTo>
                  <a:lnTo>
                    <a:pt x="472" y="113"/>
                  </a:lnTo>
                  <a:lnTo>
                    <a:pt x="504" y="95"/>
                  </a:lnTo>
                  <a:lnTo>
                    <a:pt x="503" y="70"/>
                  </a:lnTo>
                  <a:lnTo>
                    <a:pt x="490" y="58"/>
                  </a:lnTo>
                  <a:lnTo>
                    <a:pt x="490" y="30"/>
                  </a:lnTo>
                  <a:lnTo>
                    <a:pt x="465" y="0"/>
                  </a:lnTo>
                  <a:lnTo>
                    <a:pt x="450" y="0"/>
                  </a:lnTo>
                  <a:lnTo>
                    <a:pt x="443" y="12"/>
                  </a:lnTo>
                  <a:lnTo>
                    <a:pt x="433" y="13"/>
                  </a:lnTo>
                  <a:lnTo>
                    <a:pt x="415" y="29"/>
                  </a:lnTo>
                  <a:lnTo>
                    <a:pt x="384" y="19"/>
                  </a:lnTo>
                  <a:lnTo>
                    <a:pt x="327" y="23"/>
                  </a:lnTo>
                  <a:lnTo>
                    <a:pt x="295" y="45"/>
                  </a:lnTo>
                  <a:lnTo>
                    <a:pt x="285" y="46"/>
                  </a:lnTo>
                  <a:lnTo>
                    <a:pt x="257" y="41"/>
                  </a:lnTo>
                  <a:lnTo>
                    <a:pt x="225" y="23"/>
                  </a:lnTo>
                  <a:lnTo>
                    <a:pt x="208" y="25"/>
                  </a:lnTo>
                  <a:lnTo>
                    <a:pt x="189" y="38"/>
                  </a:lnTo>
                  <a:lnTo>
                    <a:pt x="182" y="38"/>
                  </a:lnTo>
                  <a:lnTo>
                    <a:pt x="156" y="15"/>
                  </a:lnTo>
                  <a:lnTo>
                    <a:pt x="126" y="1"/>
                  </a:lnTo>
                  <a:lnTo>
                    <a:pt x="90" y="3"/>
                  </a:lnTo>
                  <a:lnTo>
                    <a:pt x="62" y="17"/>
                  </a:lnTo>
                  <a:lnTo>
                    <a:pt x="53" y="45"/>
                  </a:lnTo>
                  <a:lnTo>
                    <a:pt x="38" y="60"/>
                  </a:lnTo>
                  <a:lnTo>
                    <a:pt x="38" y="93"/>
                  </a:lnTo>
                  <a:lnTo>
                    <a:pt x="34" y="106"/>
                  </a:lnTo>
                  <a:lnTo>
                    <a:pt x="43" y="121"/>
                  </a:lnTo>
                  <a:lnTo>
                    <a:pt x="46" y="146"/>
                  </a:lnTo>
                  <a:lnTo>
                    <a:pt x="37" y="154"/>
                  </a:lnTo>
                  <a:lnTo>
                    <a:pt x="41" y="164"/>
                  </a:lnTo>
                  <a:lnTo>
                    <a:pt x="38" y="171"/>
                  </a:lnTo>
                  <a:lnTo>
                    <a:pt x="20" y="187"/>
                  </a:lnTo>
                  <a:lnTo>
                    <a:pt x="18" y="207"/>
                  </a:lnTo>
                  <a:lnTo>
                    <a:pt x="5" y="231"/>
                  </a:lnTo>
                  <a:lnTo>
                    <a:pt x="0" y="295"/>
                  </a:lnTo>
                  <a:lnTo>
                    <a:pt x="5" y="328"/>
                  </a:lnTo>
                  <a:close/>
                </a:path>
              </a:pathLst>
            </a:custGeom>
            <a:grpFill/>
            <a:ln w="6350">
              <a:solidFill>
                <a:schemeClr val="tx2"/>
              </a:solidFill>
              <a:round/>
              <a:headEnd/>
              <a:tailEnd/>
            </a:ln>
          </p:spPr>
          <p:txBody>
            <a:bodyPr/>
            <a:lstStyle/>
            <a:p>
              <a:endParaRPr lang="en-US"/>
            </a:p>
          </p:txBody>
        </p:sp>
        <p:sp>
          <p:nvSpPr>
            <p:cNvPr id="566" name="Freeform 1468"/>
            <p:cNvSpPr>
              <a:spLocks/>
            </p:cNvSpPr>
            <p:nvPr/>
          </p:nvSpPr>
          <p:spPr bwMode="auto">
            <a:xfrm>
              <a:off x="4792792" y="4102474"/>
              <a:ext cx="166883" cy="247289"/>
            </a:xfrm>
            <a:custGeom>
              <a:avLst/>
              <a:gdLst>
                <a:gd name="T0" fmla="*/ 2147483647 w 330"/>
                <a:gd name="T1" fmla="*/ 2147483647 h 499"/>
                <a:gd name="T2" fmla="*/ 2147483647 w 330"/>
                <a:gd name="T3" fmla="*/ 2147483647 h 499"/>
                <a:gd name="T4" fmla="*/ 2147483647 w 330"/>
                <a:gd name="T5" fmla="*/ 2147483647 h 499"/>
                <a:gd name="T6" fmla="*/ 2147483647 w 330"/>
                <a:gd name="T7" fmla="*/ 2147483647 h 499"/>
                <a:gd name="T8" fmla="*/ 2147483647 w 330"/>
                <a:gd name="T9" fmla="*/ 2147483647 h 499"/>
                <a:gd name="T10" fmla="*/ 2147483647 w 330"/>
                <a:gd name="T11" fmla="*/ 2147483647 h 499"/>
                <a:gd name="T12" fmla="*/ 2147483647 w 330"/>
                <a:gd name="T13" fmla="*/ 2147483647 h 499"/>
                <a:gd name="T14" fmla="*/ 2147483647 w 330"/>
                <a:gd name="T15" fmla="*/ 2147483647 h 499"/>
                <a:gd name="T16" fmla="*/ 2147483647 w 330"/>
                <a:gd name="T17" fmla="*/ 2147483647 h 499"/>
                <a:gd name="T18" fmla="*/ 2147483647 w 330"/>
                <a:gd name="T19" fmla="*/ 2147483647 h 499"/>
                <a:gd name="T20" fmla="*/ 2147483647 w 330"/>
                <a:gd name="T21" fmla="*/ 2147483647 h 499"/>
                <a:gd name="T22" fmla="*/ 2147483647 w 330"/>
                <a:gd name="T23" fmla="*/ 2147483647 h 499"/>
                <a:gd name="T24" fmla="*/ 2147483647 w 330"/>
                <a:gd name="T25" fmla="*/ 2147483647 h 499"/>
                <a:gd name="T26" fmla="*/ 2147483647 w 330"/>
                <a:gd name="T27" fmla="*/ 2147483647 h 499"/>
                <a:gd name="T28" fmla="*/ 2147483647 w 330"/>
                <a:gd name="T29" fmla="*/ 2147483647 h 499"/>
                <a:gd name="T30" fmla="*/ 2147483647 w 330"/>
                <a:gd name="T31" fmla="*/ 2147483647 h 499"/>
                <a:gd name="T32" fmla="*/ 2147483647 w 330"/>
                <a:gd name="T33" fmla="*/ 2147483647 h 499"/>
                <a:gd name="T34" fmla="*/ 2147483647 w 330"/>
                <a:gd name="T35" fmla="*/ 2147483647 h 499"/>
                <a:gd name="T36" fmla="*/ 2147483647 w 330"/>
                <a:gd name="T37" fmla="*/ 2147483647 h 499"/>
                <a:gd name="T38" fmla="*/ 2147483647 w 330"/>
                <a:gd name="T39" fmla="*/ 2147483647 h 499"/>
                <a:gd name="T40" fmla="*/ 2147483647 w 330"/>
                <a:gd name="T41" fmla="*/ 2147483647 h 499"/>
                <a:gd name="T42" fmla="*/ 2147483647 w 330"/>
                <a:gd name="T43" fmla="*/ 2147483647 h 499"/>
                <a:gd name="T44" fmla="*/ 2147483647 w 330"/>
                <a:gd name="T45" fmla="*/ 2147483647 h 499"/>
                <a:gd name="T46" fmla="*/ 2147483647 w 330"/>
                <a:gd name="T47" fmla="*/ 2147483647 h 499"/>
                <a:gd name="T48" fmla="*/ 2147483647 w 330"/>
                <a:gd name="T49" fmla="*/ 2147483647 h 499"/>
                <a:gd name="T50" fmla="*/ 2147483647 w 330"/>
                <a:gd name="T51" fmla="*/ 2147483647 h 499"/>
                <a:gd name="T52" fmla="*/ 2147483647 w 330"/>
                <a:gd name="T53" fmla="*/ 2147483647 h 499"/>
                <a:gd name="T54" fmla="*/ 2147483647 w 330"/>
                <a:gd name="T55" fmla="*/ 0 h 499"/>
                <a:gd name="T56" fmla="*/ 2147483647 w 330"/>
                <a:gd name="T57" fmla="*/ 0 h 499"/>
                <a:gd name="T58" fmla="*/ 2147483647 w 330"/>
                <a:gd name="T59" fmla="*/ 2147483647 h 499"/>
                <a:gd name="T60" fmla="*/ 2147483647 w 330"/>
                <a:gd name="T61" fmla="*/ 2147483647 h 499"/>
                <a:gd name="T62" fmla="*/ 2147483647 w 330"/>
                <a:gd name="T63" fmla="*/ 2147483647 h 499"/>
                <a:gd name="T64" fmla="*/ 2147483647 w 330"/>
                <a:gd name="T65" fmla="*/ 2147483647 h 499"/>
                <a:gd name="T66" fmla="*/ 2147483647 w 330"/>
                <a:gd name="T67" fmla="*/ 2147483647 h 499"/>
                <a:gd name="T68" fmla="*/ 2147483647 w 330"/>
                <a:gd name="T69" fmla="*/ 2147483647 h 499"/>
                <a:gd name="T70" fmla="*/ 2147483647 w 330"/>
                <a:gd name="T71" fmla="*/ 2147483647 h 499"/>
                <a:gd name="T72" fmla="*/ 2147483647 w 330"/>
                <a:gd name="T73" fmla="*/ 2147483647 h 499"/>
                <a:gd name="T74" fmla="*/ 2147483647 w 330"/>
                <a:gd name="T75" fmla="*/ 2147483647 h 499"/>
                <a:gd name="T76" fmla="*/ 2147483647 w 330"/>
                <a:gd name="T77" fmla="*/ 2147483647 h 499"/>
                <a:gd name="T78" fmla="*/ 2147483647 w 330"/>
                <a:gd name="T79" fmla="*/ 2147483647 h 499"/>
                <a:gd name="T80" fmla="*/ 2147483647 w 330"/>
                <a:gd name="T81" fmla="*/ 2147483647 h 499"/>
                <a:gd name="T82" fmla="*/ 2147483647 w 330"/>
                <a:gd name="T83" fmla="*/ 2147483647 h 499"/>
                <a:gd name="T84" fmla="*/ 2147483647 w 330"/>
                <a:gd name="T85" fmla="*/ 2147483647 h 499"/>
                <a:gd name="T86" fmla="*/ 2147483647 w 330"/>
                <a:gd name="T87" fmla="*/ 2147483647 h 499"/>
                <a:gd name="T88" fmla="*/ 2147483647 w 330"/>
                <a:gd name="T89" fmla="*/ 2147483647 h 499"/>
                <a:gd name="T90" fmla="*/ 2147483647 w 330"/>
                <a:gd name="T91" fmla="*/ 2147483647 h 499"/>
                <a:gd name="T92" fmla="*/ 0 w 330"/>
                <a:gd name="T93" fmla="*/ 2147483647 h 499"/>
                <a:gd name="T94" fmla="*/ 2147483647 w 330"/>
                <a:gd name="T95" fmla="*/ 2147483647 h 499"/>
                <a:gd name="T96" fmla="*/ 2147483647 w 330"/>
                <a:gd name="T97" fmla="*/ 2147483647 h 499"/>
                <a:gd name="T98" fmla="*/ 2147483647 w 330"/>
                <a:gd name="T99" fmla="*/ 2147483647 h 499"/>
                <a:gd name="T100" fmla="*/ 2147483647 w 330"/>
                <a:gd name="T101" fmla="*/ 2147483647 h 499"/>
                <a:gd name="T102" fmla="*/ 2147483647 w 330"/>
                <a:gd name="T103" fmla="*/ 2147483647 h 499"/>
                <a:gd name="T104" fmla="*/ 2147483647 w 330"/>
                <a:gd name="T105" fmla="*/ 2147483647 h 499"/>
                <a:gd name="T106" fmla="*/ 2147483647 w 330"/>
                <a:gd name="T107" fmla="*/ 2147483647 h 499"/>
                <a:gd name="T108" fmla="*/ 2147483647 w 330"/>
                <a:gd name="T109" fmla="*/ 2147483647 h 499"/>
                <a:gd name="T110" fmla="*/ 2147483647 w 330"/>
                <a:gd name="T111" fmla="*/ 2147483647 h 499"/>
                <a:gd name="T112" fmla="*/ 2147483647 w 330"/>
                <a:gd name="T113" fmla="*/ 2147483647 h 4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30"/>
                <a:gd name="T172" fmla="*/ 0 h 499"/>
                <a:gd name="T173" fmla="*/ 330 w 330"/>
                <a:gd name="T174" fmla="*/ 499 h 4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30" h="499">
                  <a:moveTo>
                    <a:pt x="123" y="472"/>
                  </a:moveTo>
                  <a:lnTo>
                    <a:pt x="161" y="469"/>
                  </a:lnTo>
                  <a:lnTo>
                    <a:pt x="208" y="474"/>
                  </a:lnTo>
                  <a:lnTo>
                    <a:pt x="267" y="474"/>
                  </a:lnTo>
                  <a:lnTo>
                    <a:pt x="306" y="485"/>
                  </a:lnTo>
                  <a:lnTo>
                    <a:pt x="324" y="499"/>
                  </a:lnTo>
                  <a:lnTo>
                    <a:pt x="330" y="489"/>
                  </a:lnTo>
                  <a:lnTo>
                    <a:pt x="330" y="446"/>
                  </a:lnTo>
                  <a:lnTo>
                    <a:pt x="324" y="446"/>
                  </a:lnTo>
                  <a:lnTo>
                    <a:pt x="298" y="421"/>
                  </a:lnTo>
                  <a:lnTo>
                    <a:pt x="263" y="362"/>
                  </a:lnTo>
                  <a:lnTo>
                    <a:pt x="261" y="314"/>
                  </a:lnTo>
                  <a:lnTo>
                    <a:pt x="277" y="294"/>
                  </a:lnTo>
                  <a:lnTo>
                    <a:pt x="298" y="250"/>
                  </a:lnTo>
                  <a:lnTo>
                    <a:pt x="283" y="195"/>
                  </a:lnTo>
                  <a:lnTo>
                    <a:pt x="275" y="186"/>
                  </a:lnTo>
                  <a:lnTo>
                    <a:pt x="253" y="177"/>
                  </a:lnTo>
                  <a:lnTo>
                    <a:pt x="243" y="157"/>
                  </a:lnTo>
                  <a:lnTo>
                    <a:pt x="244" y="145"/>
                  </a:lnTo>
                  <a:lnTo>
                    <a:pt x="250" y="139"/>
                  </a:lnTo>
                  <a:lnTo>
                    <a:pt x="292" y="141"/>
                  </a:lnTo>
                  <a:lnTo>
                    <a:pt x="296" y="137"/>
                  </a:lnTo>
                  <a:lnTo>
                    <a:pt x="294" y="125"/>
                  </a:lnTo>
                  <a:lnTo>
                    <a:pt x="275" y="93"/>
                  </a:lnTo>
                  <a:lnTo>
                    <a:pt x="279" y="53"/>
                  </a:lnTo>
                  <a:lnTo>
                    <a:pt x="265" y="16"/>
                  </a:lnTo>
                  <a:lnTo>
                    <a:pt x="257" y="10"/>
                  </a:lnTo>
                  <a:lnTo>
                    <a:pt x="254" y="0"/>
                  </a:lnTo>
                  <a:lnTo>
                    <a:pt x="244" y="0"/>
                  </a:lnTo>
                  <a:lnTo>
                    <a:pt x="244" y="28"/>
                  </a:lnTo>
                  <a:lnTo>
                    <a:pt x="257" y="40"/>
                  </a:lnTo>
                  <a:lnTo>
                    <a:pt x="258" y="65"/>
                  </a:lnTo>
                  <a:lnTo>
                    <a:pt x="226" y="83"/>
                  </a:lnTo>
                  <a:lnTo>
                    <a:pt x="216" y="95"/>
                  </a:lnTo>
                  <a:lnTo>
                    <a:pt x="197" y="141"/>
                  </a:lnTo>
                  <a:lnTo>
                    <a:pt x="187" y="186"/>
                  </a:lnTo>
                  <a:lnTo>
                    <a:pt x="166" y="205"/>
                  </a:lnTo>
                  <a:lnTo>
                    <a:pt x="156" y="235"/>
                  </a:lnTo>
                  <a:lnTo>
                    <a:pt x="129" y="289"/>
                  </a:lnTo>
                  <a:lnTo>
                    <a:pt x="113" y="291"/>
                  </a:lnTo>
                  <a:lnTo>
                    <a:pt x="92" y="271"/>
                  </a:lnTo>
                  <a:lnTo>
                    <a:pt x="49" y="275"/>
                  </a:lnTo>
                  <a:lnTo>
                    <a:pt x="45" y="287"/>
                  </a:lnTo>
                  <a:lnTo>
                    <a:pt x="32" y="297"/>
                  </a:lnTo>
                  <a:lnTo>
                    <a:pt x="18" y="318"/>
                  </a:lnTo>
                  <a:lnTo>
                    <a:pt x="15" y="341"/>
                  </a:lnTo>
                  <a:lnTo>
                    <a:pt x="0" y="366"/>
                  </a:lnTo>
                  <a:lnTo>
                    <a:pt x="5" y="375"/>
                  </a:lnTo>
                  <a:lnTo>
                    <a:pt x="18" y="374"/>
                  </a:lnTo>
                  <a:lnTo>
                    <a:pt x="25" y="393"/>
                  </a:lnTo>
                  <a:lnTo>
                    <a:pt x="41" y="399"/>
                  </a:lnTo>
                  <a:lnTo>
                    <a:pt x="53" y="397"/>
                  </a:lnTo>
                  <a:lnTo>
                    <a:pt x="49" y="410"/>
                  </a:lnTo>
                  <a:lnTo>
                    <a:pt x="54" y="416"/>
                  </a:lnTo>
                  <a:lnTo>
                    <a:pt x="64" y="430"/>
                  </a:lnTo>
                  <a:lnTo>
                    <a:pt x="55" y="475"/>
                  </a:lnTo>
                  <a:lnTo>
                    <a:pt x="123" y="472"/>
                  </a:lnTo>
                  <a:close/>
                </a:path>
              </a:pathLst>
            </a:custGeom>
            <a:grpFill/>
            <a:ln w="6350">
              <a:solidFill>
                <a:schemeClr val="tx2"/>
              </a:solidFill>
              <a:round/>
              <a:headEnd/>
              <a:tailEnd/>
            </a:ln>
          </p:spPr>
          <p:txBody>
            <a:bodyPr/>
            <a:lstStyle/>
            <a:p>
              <a:endParaRPr lang="en-US"/>
            </a:p>
          </p:txBody>
        </p:sp>
        <p:sp>
          <p:nvSpPr>
            <p:cNvPr id="567" name="Freeform 1469"/>
            <p:cNvSpPr>
              <a:spLocks/>
            </p:cNvSpPr>
            <p:nvPr/>
          </p:nvSpPr>
          <p:spPr bwMode="auto">
            <a:xfrm>
              <a:off x="5237305" y="4405897"/>
              <a:ext cx="40963" cy="36411"/>
            </a:xfrm>
            <a:custGeom>
              <a:avLst/>
              <a:gdLst>
                <a:gd name="T0" fmla="*/ 2147483647 w 81"/>
                <a:gd name="T1" fmla="*/ 0 h 75"/>
                <a:gd name="T2" fmla="*/ 2147483647 w 81"/>
                <a:gd name="T3" fmla="*/ 2147483647 h 75"/>
                <a:gd name="T4" fmla="*/ 2147483647 w 81"/>
                <a:gd name="T5" fmla="*/ 2147483647 h 75"/>
                <a:gd name="T6" fmla="*/ 2147483647 w 81"/>
                <a:gd name="T7" fmla="*/ 2147483647 h 75"/>
                <a:gd name="T8" fmla="*/ 2147483647 w 81"/>
                <a:gd name="T9" fmla="*/ 2147483647 h 75"/>
                <a:gd name="T10" fmla="*/ 0 w 81"/>
                <a:gd name="T11" fmla="*/ 2147483647 h 75"/>
                <a:gd name="T12" fmla="*/ 2147483647 w 81"/>
                <a:gd name="T13" fmla="*/ 2147483647 h 75"/>
                <a:gd name="T14" fmla="*/ 2147483647 w 81"/>
                <a:gd name="T15" fmla="*/ 2147483647 h 75"/>
                <a:gd name="T16" fmla="*/ 2147483647 w 81"/>
                <a:gd name="T17" fmla="*/ 2147483647 h 75"/>
                <a:gd name="T18" fmla="*/ 2147483647 w 81"/>
                <a:gd name="T19" fmla="*/ 2147483647 h 75"/>
                <a:gd name="T20" fmla="*/ 2147483647 w 81"/>
                <a:gd name="T21" fmla="*/ 2147483647 h 75"/>
                <a:gd name="T22" fmla="*/ 2147483647 w 81"/>
                <a:gd name="T23" fmla="*/ 2147483647 h 75"/>
                <a:gd name="T24" fmla="*/ 2147483647 w 81"/>
                <a:gd name="T25" fmla="*/ 2147483647 h 75"/>
                <a:gd name="T26" fmla="*/ 2147483647 w 81"/>
                <a:gd name="T27" fmla="*/ 2147483647 h 75"/>
                <a:gd name="T28" fmla="*/ 2147483647 w 81"/>
                <a:gd name="T29" fmla="*/ 2147483647 h 75"/>
                <a:gd name="T30" fmla="*/ 2147483647 w 81"/>
                <a:gd name="T31" fmla="*/ 0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75"/>
                <a:gd name="T50" fmla="*/ 81 w 81"/>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75">
                  <a:moveTo>
                    <a:pt x="62" y="0"/>
                  </a:moveTo>
                  <a:lnTo>
                    <a:pt x="52" y="4"/>
                  </a:lnTo>
                  <a:lnTo>
                    <a:pt x="45" y="16"/>
                  </a:lnTo>
                  <a:lnTo>
                    <a:pt x="29" y="12"/>
                  </a:lnTo>
                  <a:lnTo>
                    <a:pt x="11" y="40"/>
                  </a:lnTo>
                  <a:lnTo>
                    <a:pt x="0" y="58"/>
                  </a:lnTo>
                  <a:lnTo>
                    <a:pt x="5" y="72"/>
                  </a:lnTo>
                  <a:lnTo>
                    <a:pt x="9" y="62"/>
                  </a:lnTo>
                  <a:lnTo>
                    <a:pt x="14" y="63"/>
                  </a:lnTo>
                  <a:lnTo>
                    <a:pt x="22" y="75"/>
                  </a:lnTo>
                  <a:lnTo>
                    <a:pt x="37" y="72"/>
                  </a:lnTo>
                  <a:lnTo>
                    <a:pt x="43" y="58"/>
                  </a:lnTo>
                  <a:lnTo>
                    <a:pt x="64" y="55"/>
                  </a:lnTo>
                  <a:lnTo>
                    <a:pt x="70" y="58"/>
                  </a:lnTo>
                  <a:lnTo>
                    <a:pt x="81" y="40"/>
                  </a:lnTo>
                  <a:lnTo>
                    <a:pt x="62" y="0"/>
                  </a:lnTo>
                  <a:close/>
                </a:path>
              </a:pathLst>
            </a:custGeom>
            <a:grpFill/>
            <a:ln w="6350">
              <a:solidFill>
                <a:schemeClr val="tx2"/>
              </a:solidFill>
              <a:round/>
              <a:headEnd/>
              <a:tailEnd/>
            </a:ln>
          </p:spPr>
          <p:txBody>
            <a:bodyPr/>
            <a:lstStyle/>
            <a:p>
              <a:endParaRPr lang="en-US"/>
            </a:p>
          </p:txBody>
        </p:sp>
        <p:sp>
          <p:nvSpPr>
            <p:cNvPr id="568" name="Freeform 1470"/>
            <p:cNvSpPr>
              <a:spLocks/>
            </p:cNvSpPr>
            <p:nvPr/>
          </p:nvSpPr>
          <p:spPr bwMode="auto">
            <a:xfrm>
              <a:off x="4923264" y="4147988"/>
              <a:ext cx="282183" cy="175985"/>
            </a:xfrm>
            <a:custGeom>
              <a:avLst/>
              <a:gdLst>
                <a:gd name="T0" fmla="*/ 2147483647 w 564"/>
                <a:gd name="T1" fmla="*/ 2147483647 h 354"/>
                <a:gd name="T2" fmla="*/ 2147483647 w 564"/>
                <a:gd name="T3" fmla="*/ 2147483647 h 354"/>
                <a:gd name="T4" fmla="*/ 2147483647 w 564"/>
                <a:gd name="T5" fmla="*/ 2147483647 h 354"/>
                <a:gd name="T6" fmla="*/ 2147483647 w 564"/>
                <a:gd name="T7" fmla="*/ 2147483647 h 354"/>
                <a:gd name="T8" fmla="*/ 2147483647 w 564"/>
                <a:gd name="T9" fmla="*/ 2147483647 h 354"/>
                <a:gd name="T10" fmla="*/ 2147483647 w 564"/>
                <a:gd name="T11" fmla="*/ 2147483647 h 354"/>
                <a:gd name="T12" fmla="*/ 2147483647 w 564"/>
                <a:gd name="T13" fmla="*/ 2147483647 h 354"/>
                <a:gd name="T14" fmla="*/ 2147483647 w 564"/>
                <a:gd name="T15" fmla="*/ 2147483647 h 354"/>
                <a:gd name="T16" fmla="*/ 2147483647 w 564"/>
                <a:gd name="T17" fmla="*/ 2147483647 h 354"/>
                <a:gd name="T18" fmla="*/ 2147483647 w 564"/>
                <a:gd name="T19" fmla="*/ 2147483647 h 354"/>
                <a:gd name="T20" fmla="*/ 2147483647 w 564"/>
                <a:gd name="T21" fmla="*/ 2147483647 h 354"/>
                <a:gd name="T22" fmla="*/ 2147483647 w 564"/>
                <a:gd name="T23" fmla="*/ 2147483647 h 354"/>
                <a:gd name="T24" fmla="*/ 2147483647 w 564"/>
                <a:gd name="T25" fmla="*/ 2147483647 h 354"/>
                <a:gd name="T26" fmla="*/ 2147483647 w 564"/>
                <a:gd name="T27" fmla="*/ 2147483647 h 354"/>
                <a:gd name="T28" fmla="*/ 2147483647 w 564"/>
                <a:gd name="T29" fmla="*/ 2147483647 h 354"/>
                <a:gd name="T30" fmla="*/ 2147483647 w 564"/>
                <a:gd name="T31" fmla="*/ 2147483647 h 354"/>
                <a:gd name="T32" fmla="*/ 0 w 564"/>
                <a:gd name="T33" fmla="*/ 2147483647 h 354"/>
                <a:gd name="T34" fmla="*/ 2147483647 w 564"/>
                <a:gd name="T35" fmla="*/ 2147483647 h 354"/>
                <a:gd name="T36" fmla="*/ 2147483647 w 564"/>
                <a:gd name="T37" fmla="*/ 2147483647 h 354"/>
                <a:gd name="T38" fmla="*/ 2147483647 w 564"/>
                <a:gd name="T39" fmla="*/ 2147483647 h 354"/>
                <a:gd name="T40" fmla="*/ 2147483647 w 564"/>
                <a:gd name="T41" fmla="*/ 2147483647 h 354"/>
                <a:gd name="T42" fmla="*/ 2147483647 w 564"/>
                <a:gd name="T43" fmla="*/ 2147483647 h 354"/>
                <a:gd name="T44" fmla="*/ 2147483647 w 564"/>
                <a:gd name="T45" fmla="*/ 2147483647 h 354"/>
                <a:gd name="T46" fmla="*/ 2147483647 w 564"/>
                <a:gd name="T47" fmla="*/ 2147483647 h 354"/>
                <a:gd name="T48" fmla="*/ 2147483647 w 564"/>
                <a:gd name="T49" fmla="*/ 2147483647 h 354"/>
                <a:gd name="T50" fmla="*/ 2147483647 w 564"/>
                <a:gd name="T51" fmla="*/ 2147483647 h 354"/>
                <a:gd name="T52" fmla="*/ 2147483647 w 564"/>
                <a:gd name="T53" fmla="*/ 2147483647 h 354"/>
                <a:gd name="T54" fmla="*/ 2147483647 w 564"/>
                <a:gd name="T55" fmla="*/ 2147483647 h 354"/>
                <a:gd name="T56" fmla="*/ 2147483647 w 564"/>
                <a:gd name="T57" fmla="*/ 2147483647 h 354"/>
                <a:gd name="T58" fmla="*/ 2147483647 w 564"/>
                <a:gd name="T59" fmla="*/ 2147483647 h 354"/>
                <a:gd name="T60" fmla="*/ 2147483647 w 564"/>
                <a:gd name="T61" fmla="*/ 2147483647 h 354"/>
                <a:gd name="T62" fmla="*/ 2147483647 w 564"/>
                <a:gd name="T63" fmla="*/ 2147483647 h 354"/>
                <a:gd name="T64" fmla="*/ 2147483647 w 564"/>
                <a:gd name="T65" fmla="*/ 2147483647 h 3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4"/>
                <a:gd name="T100" fmla="*/ 0 h 354"/>
                <a:gd name="T101" fmla="*/ 564 w 564"/>
                <a:gd name="T102" fmla="*/ 354 h 3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4" h="354">
                  <a:moveTo>
                    <a:pt x="564" y="254"/>
                  </a:moveTo>
                  <a:lnTo>
                    <a:pt x="542" y="254"/>
                  </a:lnTo>
                  <a:lnTo>
                    <a:pt x="536" y="263"/>
                  </a:lnTo>
                  <a:lnTo>
                    <a:pt x="525" y="257"/>
                  </a:lnTo>
                  <a:lnTo>
                    <a:pt x="521" y="263"/>
                  </a:lnTo>
                  <a:lnTo>
                    <a:pt x="510" y="250"/>
                  </a:lnTo>
                  <a:lnTo>
                    <a:pt x="480" y="257"/>
                  </a:lnTo>
                  <a:lnTo>
                    <a:pt x="464" y="253"/>
                  </a:lnTo>
                  <a:lnTo>
                    <a:pt x="462" y="263"/>
                  </a:lnTo>
                  <a:lnTo>
                    <a:pt x="446" y="265"/>
                  </a:lnTo>
                  <a:lnTo>
                    <a:pt x="436" y="258"/>
                  </a:lnTo>
                  <a:lnTo>
                    <a:pt x="384" y="276"/>
                  </a:lnTo>
                  <a:lnTo>
                    <a:pt x="363" y="269"/>
                  </a:lnTo>
                  <a:lnTo>
                    <a:pt x="352" y="276"/>
                  </a:lnTo>
                  <a:lnTo>
                    <a:pt x="351" y="289"/>
                  </a:lnTo>
                  <a:lnTo>
                    <a:pt x="345" y="291"/>
                  </a:lnTo>
                  <a:lnTo>
                    <a:pt x="305" y="291"/>
                  </a:lnTo>
                  <a:lnTo>
                    <a:pt x="275" y="279"/>
                  </a:lnTo>
                  <a:lnTo>
                    <a:pt x="269" y="285"/>
                  </a:lnTo>
                  <a:lnTo>
                    <a:pt x="263" y="284"/>
                  </a:lnTo>
                  <a:lnTo>
                    <a:pt x="239" y="256"/>
                  </a:lnTo>
                  <a:lnTo>
                    <a:pt x="217" y="254"/>
                  </a:lnTo>
                  <a:lnTo>
                    <a:pt x="190" y="283"/>
                  </a:lnTo>
                  <a:lnTo>
                    <a:pt x="188" y="315"/>
                  </a:lnTo>
                  <a:lnTo>
                    <a:pt x="179" y="317"/>
                  </a:lnTo>
                  <a:lnTo>
                    <a:pt x="150" y="330"/>
                  </a:lnTo>
                  <a:lnTo>
                    <a:pt x="123" y="317"/>
                  </a:lnTo>
                  <a:lnTo>
                    <a:pt x="108" y="319"/>
                  </a:lnTo>
                  <a:lnTo>
                    <a:pt x="89" y="331"/>
                  </a:lnTo>
                  <a:lnTo>
                    <a:pt x="69" y="354"/>
                  </a:lnTo>
                  <a:lnTo>
                    <a:pt x="63" y="354"/>
                  </a:lnTo>
                  <a:lnTo>
                    <a:pt x="37" y="329"/>
                  </a:lnTo>
                  <a:lnTo>
                    <a:pt x="2" y="270"/>
                  </a:lnTo>
                  <a:lnTo>
                    <a:pt x="0" y="222"/>
                  </a:lnTo>
                  <a:lnTo>
                    <a:pt x="16" y="202"/>
                  </a:lnTo>
                  <a:lnTo>
                    <a:pt x="37" y="158"/>
                  </a:lnTo>
                  <a:lnTo>
                    <a:pt x="64" y="155"/>
                  </a:lnTo>
                  <a:lnTo>
                    <a:pt x="83" y="146"/>
                  </a:lnTo>
                  <a:lnTo>
                    <a:pt x="89" y="139"/>
                  </a:lnTo>
                  <a:lnTo>
                    <a:pt x="104" y="151"/>
                  </a:lnTo>
                  <a:lnTo>
                    <a:pt x="143" y="132"/>
                  </a:lnTo>
                  <a:lnTo>
                    <a:pt x="180" y="130"/>
                  </a:lnTo>
                  <a:lnTo>
                    <a:pt x="199" y="106"/>
                  </a:lnTo>
                  <a:lnTo>
                    <a:pt x="192" y="97"/>
                  </a:lnTo>
                  <a:lnTo>
                    <a:pt x="194" y="91"/>
                  </a:lnTo>
                  <a:lnTo>
                    <a:pt x="257" y="82"/>
                  </a:lnTo>
                  <a:lnTo>
                    <a:pt x="263" y="74"/>
                  </a:lnTo>
                  <a:lnTo>
                    <a:pt x="280" y="68"/>
                  </a:lnTo>
                  <a:lnTo>
                    <a:pt x="285" y="58"/>
                  </a:lnTo>
                  <a:lnTo>
                    <a:pt x="314" y="32"/>
                  </a:lnTo>
                  <a:lnTo>
                    <a:pt x="314" y="20"/>
                  </a:lnTo>
                  <a:lnTo>
                    <a:pt x="323" y="7"/>
                  </a:lnTo>
                  <a:lnTo>
                    <a:pt x="356" y="0"/>
                  </a:lnTo>
                  <a:lnTo>
                    <a:pt x="389" y="44"/>
                  </a:lnTo>
                  <a:lnTo>
                    <a:pt x="393" y="56"/>
                  </a:lnTo>
                  <a:lnTo>
                    <a:pt x="389" y="93"/>
                  </a:lnTo>
                  <a:lnTo>
                    <a:pt x="397" y="100"/>
                  </a:lnTo>
                  <a:lnTo>
                    <a:pt x="416" y="103"/>
                  </a:lnTo>
                  <a:lnTo>
                    <a:pt x="421" y="115"/>
                  </a:lnTo>
                  <a:lnTo>
                    <a:pt x="446" y="120"/>
                  </a:lnTo>
                  <a:lnTo>
                    <a:pt x="460" y="130"/>
                  </a:lnTo>
                  <a:lnTo>
                    <a:pt x="465" y="150"/>
                  </a:lnTo>
                  <a:lnTo>
                    <a:pt x="509" y="183"/>
                  </a:lnTo>
                  <a:lnTo>
                    <a:pt x="522" y="215"/>
                  </a:lnTo>
                  <a:lnTo>
                    <a:pt x="554" y="232"/>
                  </a:lnTo>
                  <a:lnTo>
                    <a:pt x="564" y="254"/>
                  </a:lnTo>
                  <a:close/>
                </a:path>
              </a:pathLst>
            </a:custGeom>
            <a:grpFill/>
            <a:ln w="6350">
              <a:solidFill>
                <a:schemeClr val="tx2"/>
              </a:solidFill>
              <a:round/>
              <a:headEnd/>
              <a:tailEnd/>
            </a:ln>
          </p:spPr>
          <p:txBody>
            <a:bodyPr/>
            <a:lstStyle/>
            <a:p>
              <a:endParaRPr lang="en-US"/>
            </a:p>
          </p:txBody>
        </p:sp>
        <p:sp>
          <p:nvSpPr>
            <p:cNvPr id="569" name="Freeform 1471"/>
            <p:cNvSpPr>
              <a:spLocks/>
            </p:cNvSpPr>
            <p:nvPr/>
          </p:nvSpPr>
          <p:spPr bwMode="auto">
            <a:xfrm>
              <a:off x="4871682" y="4478718"/>
              <a:ext cx="21239" cy="30342"/>
            </a:xfrm>
            <a:custGeom>
              <a:avLst/>
              <a:gdLst>
                <a:gd name="T0" fmla="*/ 2147483647 w 42"/>
                <a:gd name="T1" fmla="*/ 2147483647 h 62"/>
                <a:gd name="T2" fmla="*/ 2147483647 w 42"/>
                <a:gd name="T3" fmla="*/ 2147483647 h 62"/>
                <a:gd name="T4" fmla="*/ 2147483647 w 42"/>
                <a:gd name="T5" fmla="*/ 2147483647 h 62"/>
                <a:gd name="T6" fmla="*/ 0 w 42"/>
                <a:gd name="T7" fmla="*/ 2147483647 h 62"/>
                <a:gd name="T8" fmla="*/ 2147483647 w 42"/>
                <a:gd name="T9" fmla="*/ 2147483647 h 62"/>
                <a:gd name="T10" fmla="*/ 2147483647 w 42"/>
                <a:gd name="T11" fmla="*/ 2147483647 h 62"/>
                <a:gd name="T12" fmla="*/ 2147483647 w 42"/>
                <a:gd name="T13" fmla="*/ 0 h 62"/>
                <a:gd name="T14" fmla="*/ 2147483647 w 42"/>
                <a:gd name="T15" fmla="*/ 2147483647 h 62"/>
                <a:gd name="T16" fmla="*/ 2147483647 w 42"/>
                <a:gd name="T17" fmla="*/ 2147483647 h 62"/>
                <a:gd name="T18" fmla="*/ 2147483647 w 42"/>
                <a:gd name="T19" fmla="*/ 2147483647 h 62"/>
                <a:gd name="T20" fmla="*/ 2147483647 w 42"/>
                <a:gd name="T21" fmla="*/ 2147483647 h 62"/>
                <a:gd name="T22" fmla="*/ 2147483647 w 42"/>
                <a:gd name="T23" fmla="*/ 2147483647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62"/>
                <a:gd name="T38" fmla="*/ 42 w 42"/>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62">
                  <a:moveTo>
                    <a:pt x="13" y="62"/>
                  </a:moveTo>
                  <a:lnTo>
                    <a:pt x="7" y="57"/>
                  </a:lnTo>
                  <a:lnTo>
                    <a:pt x="4" y="33"/>
                  </a:lnTo>
                  <a:lnTo>
                    <a:pt x="0" y="29"/>
                  </a:lnTo>
                  <a:lnTo>
                    <a:pt x="19" y="17"/>
                  </a:lnTo>
                  <a:lnTo>
                    <a:pt x="24" y="4"/>
                  </a:lnTo>
                  <a:lnTo>
                    <a:pt x="32" y="0"/>
                  </a:lnTo>
                  <a:lnTo>
                    <a:pt x="39" y="3"/>
                  </a:lnTo>
                  <a:lnTo>
                    <a:pt x="42" y="13"/>
                  </a:lnTo>
                  <a:lnTo>
                    <a:pt x="26" y="26"/>
                  </a:lnTo>
                  <a:lnTo>
                    <a:pt x="20" y="59"/>
                  </a:lnTo>
                  <a:lnTo>
                    <a:pt x="13" y="62"/>
                  </a:lnTo>
                  <a:close/>
                </a:path>
              </a:pathLst>
            </a:custGeom>
            <a:grpFill/>
            <a:ln w="6350">
              <a:solidFill>
                <a:schemeClr val="tx2"/>
              </a:solidFill>
              <a:round/>
              <a:headEnd/>
              <a:tailEnd/>
            </a:ln>
          </p:spPr>
          <p:txBody>
            <a:bodyPr/>
            <a:lstStyle/>
            <a:p>
              <a:endParaRPr lang="en-US"/>
            </a:p>
          </p:txBody>
        </p:sp>
        <p:sp>
          <p:nvSpPr>
            <p:cNvPr id="570" name="Freeform 1472"/>
            <p:cNvSpPr>
              <a:spLocks/>
            </p:cNvSpPr>
            <p:nvPr/>
          </p:nvSpPr>
          <p:spPr bwMode="auto">
            <a:xfrm>
              <a:off x="4804929" y="4336109"/>
              <a:ext cx="116818" cy="131988"/>
            </a:xfrm>
            <a:custGeom>
              <a:avLst/>
              <a:gdLst>
                <a:gd name="T0" fmla="*/ 2147483647 w 237"/>
                <a:gd name="T1" fmla="*/ 2147483647 h 268"/>
                <a:gd name="T2" fmla="*/ 2147483647 w 237"/>
                <a:gd name="T3" fmla="*/ 2147483647 h 268"/>
                <a:gd name="T4" fmla="*/ 2147483647 w 237"/>
                <a:gd name="T5" fmla="*/ 2147483647 h 268"/>
                <a:gd name="T6" fmla="*/ 2147483647 w 237"/>
                <a:gd name="T7" fmla="*/ 2147483647 h 268"/>
                <a:gd name="T8" fmla="*/ 2147483647 w 237"/>
                <a:gd name="T9" fmla="*/ 2147483647 h 268"/>
                <a:gd name="T10" fmla="*/ 2147483647 w 237"/>
                <a:gd name="T11" fmla="*/ 2147483647 h 268"/>
                <a:gd name="T12" fmla="*/ 2147483647 w 237"/>
                <a:gd name="T13" fmla="*/ 2147483647 h 268"/>
                <a:gd name="T14" fmla="*/ 2147483647 w 237"/>
                <a:gd name="T15" fmla="*/ 2147483647 h 268"/>
                <a:gd name="T16" fmla="*/ 2147483647 w 237"/>
                <a:gd name="T17" fmla="*/ 2147483647 h 268"/>
                <a:gd name="T18" fmla="*/ 2147483647 w 237"/>
                <a:gd name="T19" fmla="*/ 2147483647 h 268"/>
                <a:gd name="T20" fmla="*/ 2147483647 w 237"/>
                <a:gd name="T21" fmla="*/ 2147483647 h 268"/>
                <a:gd name="T22" fmla="*/ 2147483647 w 237"/>
                <a:gd name="T23" fmla="*/ 2147483647 h 268"/>
                <a:gd name="T24" fmla="*/ 0 w 237"/>
                <a:gd name="T25" fmla="*/ 2147483647 h 268"/>
                <a:gd name="T26" fmla="*/ 2147483647 w 237"/>
                <a:gd name="T27" fmla="*/ 2147483647 h 268"/>
                <a:gd name="T28" fmla="*/ 2147483647 w 237"/>
                <a:gd name="T29" fmla="*/ 2147483647 h 268"/>
                <a:gd name="T30" fmla="*/ 2147483647 w 237"/>
                <a:gd name="T31" fmla="*/ 2147483647 h 268"/>
                <a:gd name="T32" fmla="*/ 2147483647 w 237"/>
                <a:gd name="T33" fmla="*/ 2147483647 h 268"/>
                <a:gd name="T34" fmla="*/ 2147483647 w 237"/>
                <a:gd name="T35" fmla="*/ 2147483647 h 268"/>
                <a:gd name="T36" fmla="*/ 2147483647 w 237"/>
                <a:gd name="T37" fmla="*/ 2147483647 h 268"/>
                <a:gd name="T38" fmla="*/ 2147483647 w 237"/>
                <a:gd name="T39" fmla="*/ 2147483647 h 268"/>
                <a:gd name="T40" fmla="*/ 2147483647 w 237"/>
                <a:gd name="T41" fmla="*/ 2147483647 h 268"/>
                <a:gd name="T42" fmla="*/ 2147483647 w 237"/>
                <a:gd name="T43" fmla="*/ 2147483647 h 268"/>
                <a:gd name="T44" fmla="*/ 2147483647 w 237"/>
                <a:gd name="T45" fmla="*/ 2147483647 h 268"/>
                <a:gd name="T46" fmla="*/ 2147483647 w 237"/>
                <a:gd name="T47" fmla="*/ 2147483647 h 268"/>
                <a:gd name="T48" fmla="*/ 2147483647 w 237"/>
                <a:gd name="T49" fmla="*/ 2147483647 h 268"/>
                <a:gd name="T50" fmla="*/ 2147483647 w 237"/>
                <a:gd name="T51" fmla="*/ 2147483647 h 268"/>
                <a:gd name="T52" fmla="*/ 2147483647 w 237"/>
                <a:gd name="T53" fmla="*/ 2147483647 h 268"/>
                <a:gd name="T54" fmla="*/ 2147483647 w 237"/>
                <a:gd name="T55" fmla="*/ 2147483647 h 268"/>
                <a:gd name="T56" fmla="*/ 2147483647 w 237"/>
                <a:gd name="T57" fmla="*/ 2147483647 h 268"/>
                <a:gd name="T58" fmla="*/ 2147483647 w 237"/>
                <a:gd name="T59" fmla="*/ 2147483647 h 268"/>
                <a:gd name="T60" fmla="*/ 2147483647 w 237"/>
                <a:gd name="T61" fmla="*/ 2147483647 h 268"/>
                <a:gd name="T62" fmla="*/ 2147483647 w 237"/>
                <a:gd name="T63" fmla="*/ 2147483647 h 268"/>
                <a:gd name="T64" fmla="*/ 2147483647 w 237"/>
                <a:gd name="T65" fmla="*/ 2147483647 h 268"/>
                <a:gd name="T66" fmla="*/ 2147483647 w 237"/>
                <a:gd name="T67" fmla="*/ 2147483647 h 268"/>
                <a:gd name="T68" fmla="*/ 2147483647 w 237"/>
                <a:gd name="T69" fmla="*/ 2147483647 h 268"/>
                <a:gd name="T70" fmla="*/ 2147483647 w 237"/>
                <a:gd name="T71" fmla="*/ 2147483647 h 268"/>
                <a:gd name="T72" fmla="*/ 2147483647 w 237"/>
                <a:gd name="T73" fmla="*/ 2147483647 h 268"/>
                <a:gd name="T74" fmla="*/ 2147483647 w 237"/>
                <a:gd name="T75" fmla="*/ 2147483647 h 268"/>
                <a:gd name="T76" fmla="*/ 2147483647 w 237"/>
                <a:gd name="T77" fmla="*/ 2147483647 h 268"/>
                <a:gd name="T78" fmla="*/ 2147483647 w 237"/>
                <a:gd name="T79" fmla="*/ 2147483647 h 268"/>
                <a:gd name="T80" fmla="*/ 2147483647 w 237"/>
                <a:gd name="T81" fmla="*/ 0 h 268"/>
                <a:gd name="T82" fmla="*/ 2147483647 w 237"/>
                <a:gd name="T83" fmla="*/ 2147483647 h 2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7"/>
                <a:gd name="T127" fmla="*/ 0 h 268"/>
                <a:gd name="T128" fmla="*/ 237 w 237"/>
                <a:gd name="T129" fmla="*/ 268 h 26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7" h="268">
                  <a:moveTo>
                    <a:pt x="107" y="3"/>
                  </a:moveTo>
                  <a:lnTo>
                    <a:pt x="102" y="16"/>
                  </a:lnTo>
                  <a:lnTo>
                    <a:pt x="107" y="51"/>
                  </a:lnTo>
                  <a:lnTo>
                    <a:pt x="51" y="52"/>
                  </a:lnTo>
                  <a:lnTo>
                    <a:pt x="32" y="57"/>
                  </a:lnTo>
                  <a:lnTo>
                    <a:pt x="33" y="69"/>
                  </a:lnTo>
                  <a:lnTo>
                    <a:pt x="23" y="77"/>
                  </a:lnTo>
                  <a:lnTo>
                    <a:pt x="46" y="93"/>
                  </a:lnTo>
                  <a:lnTo>
                    <a:pt x="35" y="95"/>
                  </a:lnTo>
                  <a:lnTo>
                    <a:pt x="21" y="89"/>
                  </a:lnTo>
                  <a:lnTo>
                    <a:pt x="19" y="117"/>
                  </a:lnTo>
                  <a:lnTo>
                    <a:pt x="8" y="128"/>
                  </a:lnTo>
                  <a:lnTo>
                    <a:pt x="0" y="131"/>
                  </a:lnTo>
                  <a:lnTo>
                    <a:pt x="4" y="139"/>
                  </a:lnTo>
                  <a:lnTo>
                    <a:pt x="21" y="181"/>
                  </a:lnTo>
                  <a:lnTo>
                    <a:pt x="47" y="214"/>
                  </a:lnTo>
                  <a:lnTo>
                    <a:pt x="94" y="257"/>
                  </a:lnTo>
                  <a:lnTo>
                    <a:pt x="99" y="268"/>
                  </a:lnTo>
                  <a:lnTo>
                    <a:pt x="105" y="251"/>
                  </a:lnTo>
                  <a:lnTo>
                    <a:pt x="122" y="249"/>
                  </a:lnTo>
                  <a:lnTo>
                    <a:pt x="125" y="245"/>
                  </a:lnTo>
                  <a:lnTo>
                    <a:pt x="119" y="223"/>
                  </a:lnTo>
                  <a:lnTo>
                    <a:pt x="123" y="207"/>
                  </a:lnTo>
                  <a:lnTo>
                    <a:pt x="150" y="194"/>
                  </a:lnTo>
                  <a:lnTo>
                    <a:pt x="165" y="179"/>
                  </a:lnTo>
                  <a:lnTo>
                    <a:pt x="178" y="191"/>
                  </a:lnTo>
                  <a:lnTo>
                    <a:pt x="199" y="189"/>
                  </a:lnTo>
                  <a:lnTo>
                    <a:pt x="213" y="202"/>
                  </a:lnTo>
                  <a:lnTo>
                    <a:pt x="225" y="197"/>
                  </a:lnTo>
                  <a:lnTo>
                    <a:pt x="235" y="133"/>
                  </a:lnTo>
                  <a:lnTo>
                    <a:pt x="223" y="100"/>
                  </a:lnTo>
                  <a:lnTo>
                    <a:pt x="224" y="87"/>
                  </a:lnTo>
                  <a:lnTo>
                    <a:pt x="237" y="63"/>
                  </a:lnTo>
                  <a:lnTo>
                    <a:pt x="237" y="47"/>
                  </a:lnTo>
                  <a:lnTo>
                    <a:pt x="229" y="37"/>
                  </a:lnTo>
                  <a:lnTo>
                    <a:pt x="206" y="32"/>
                  </a:lnTo>
                  <a:lnTo>
                    <a:pt x="194" y="50"/>
                  </a:lnTo>
                  <a:lnTo>
                    <a:pt x="186" y="46"/>
                  </a:lnTo>
                  <a:lnTo>
                    <a:pt x="186" y="17"/>
                  </a:lnTo>
                  <a:lnTo>
                    <a:pt x="192" y="5"/>
                  </a:lnTo>
                  <a:lnTo>
                    <a:pt x="145" y="0"/>
                  </a:lnTo>
                  <a:lnTo>
                    <a:pt x="107" y="3"/>
                  </a:lnTo>
                  <a:close/>
                </a:path>
              </a:pathLst>
            </a:custGeom>
            <a:grpFill/>
            <a:ln w="6350">
              <a:solidFill>
                <a:schemeClr val="tx2"/>
              </a:solidFill>
              <a:round/>
              <a:headEnd/>
              <a:tailEnd/>
            </a:ln>
          </p:spPr>
          <p:txBody>
            <a:bodyPr/>
            <a:lstStyle/>
            <a:p>
              <a:endParaRPr lang="en-US"/>
            </a:p>
          </p:txBody>
        </p:sp>
        <p:sp>
          <p:nvSpPr>
            <p:cNvPr id="571" name="Freeform 1473"/>
            <p:cNvSpPr>
              <a:spLocks/>
            </p:cNvSpPr>
            <p:nvPr/>
          </p:nvSpPr>
          <p:spPr bwMode="auto">
            <a:xfrm>
              <a:off x="4851959" y="4305767"/>
              <a:ext cx="162332" cy="186605"/>
            </a:xfrm>
            <a:custGeom>
              <a:avLst/>
              <a:gdLst>
                <a:gd name="T0" fmla="*/ 2147483647 w 325"/>
                <a:gd name="T1" fmla="*/ 0 h 376"/>
                <a:gd name="T2" fmla="*/ 2147483647 w 325"/>
                <a:gd name="T3" fmla="*/ 2147483647 h 376"/>
                <a:gd name="T4" fmla="*/ 2147483647 w 325"/>
                <a:gd name="T5" fmla="*/ 0 h 376"/>
                <a:gd name="T6" fmla="*/ 2147483647 w 325"/>
                <a:gd name="T7" fmla="*/ 2147483647 h 376"/>
                <a:gd name="T8" fmla="*/ 2147483647 w 325"/>
                <a:gd name="T9" fmla="*/ 2147483647 h 376"/>
                <a:gd name="T10" fmla="*/ 2147483647 w 325"/>
                <a:gd name="T11" fmla="*/ 2147483647 h 376"/>
                <a:gd name="T12" fmla="*/ 2147483647 w 325"/>
                <a:gd name="T13" fmla="*/ 2147483647 h 376"/>
                <a:gd name="T14" fmla="*/ 2147483647 w 325"/>
                <a:gd name="T15" fmla="*/ 2147483647 h 376"/>
                <a:gd name="T16" fmla="*/ 2147483647 w 325"/>
                <a:gd name="T17" fmla="*/ 2147483647 h 376"/>
                <a:gd name="T18" fmla="*/ 2147483647 w 325"/>
                <a:gd name="T19" fmla="*/ 2147483647 h 376"/>
                <a:gd name="T20" fmla="*/ 2147483647 w 325"/>
                <a:gd name="T21" fmla="*/ 2147483647 h 376"/>
                <a:gd name="T22" fmla="*/ 2147483647 w 325"/>
                <a:gd name="T23" fmla="*/ 2147483647 h 376"/>
                <a:gd name="T24" fmla="*/ 2147483647 w 325"/>
                <a:gd name="T25" fmla="*/ 2147483647 h 376"/>
                <a:gd name="T26" fmla="*/ 2147483647 w 325"/>
                <a:gd name="T27" fmla="*/ 2147483647 h 376"/>
                <a:gd name="T28" fmla="*/ 2147483647 w 325"/>
                <a:gd name="T29" fmla="*/ 2147483647 h 376"/>
                <a:gd name="T30" fmla="*/ 2147483647 w 325"/>
                <a:gd name="T31" fmla="*/ 2147483647 h 376"/>
                <a:gd name="T32" fmla="*/ 2147483647 w 325"/>
                <a:gd name="T33" fmla="*/ 2147483647 h 376"/>
                <a:gd name="T34" fmla="*/ 2147483647 w 325"/>
                <a:gd name="T35" fmla="*/ 2147483647 h 376"/>
                <a:gd name="T36" fmla="*/ 2147483647 w 325"/>
                <a:gd name="T37" fmla="*/ 2147483647 h 376"/>
                <a:gd name="T38" fmla="*/ 2147483647 w 325"/>
                <a:gd name="T39" fmla="*/ 2147483647 h 376"/>
                <a:gd name="T40" fmla="*/ 2147483647 w 325"/>
                <a:gd name="T41" fmla="*/ 2147483647 h 376"/>
                <a:gd name="T42" fmla="*/ 2147483647 w 325"/>
                <a:gd name="T43" fmla="*/ 2147483647 h 376"/>
                <a:gd name="T44" fmla="*/ 2147483647 w 325"/>
                <a:gd name="T45" fmla="*/ 2147483647 h 376"/>
                <a:gd name="T46" fmla="*/ 2147483647 w 325"/>
                <a:gd name="T47" fmla="*/ 2147483647 h 376"/>
                <a:gd name="T48" fmla="*/ 2147483647 w 325"/>
                <a:gd name="T49" fmla="*/ 2147483647 h 376"/>
                <a:gd name="T50" fmla="*/ 2147483647 w 325"/>
                <a:gd name="T51" fmla="*/ 2147483647 h 376"/>
                <a:gd name="T52" fmla="*/ 2147483647 w 325"/>
                <a:gd name="T53" fmla="*/ 2147483647 h 376"/>
                <a:gd name="T54" fmla="*/ 2147483647 w 325"/>
                <a:gd name="T55" fmla="*/ 2147483647 h 376"/>
                <a:gd name="T56" fmla="*/ 2147483647 w 325"/>
                <a:gd name="T57" fmla="*/ 2147483647 h 376"/>
                <a:gd name="T58" fmla="*/ 2147483647 w 325"/>
                <a:gd name="T59" fmla="*/ 2147483647 h 376"/>
                <a:gd name="T60" fmla="*/ 2147483647 w 325"/>
                <a:gd name="T61" fmla="*/ 2147483647 h 376"/>
                <a:gd name="T62" fmla="*/ 2147483647 w 325"/>
                <a:gd name="T63" fmla="*/ 2147483647 h 376"/>
                <a:gd name="T64" fmla="*/ 0 w 325"/>
                <a:gd name="T65" fmla="*/ 2147483647 h 376"/>
                <a:gd name="T66" fmla="*/ 2147483647 w 325"/>
                <a:gd name="T67" fmla="*/ 2147483647 h 376"/>
                <a:gd name="T68" fmla="*/ 2147483647 w 325"/>
                <a:gd name="T69" fmla="*/ 2147483647 h 376"/>
                <a:gd name="T70" fmla="*/ 2147483647 w 325"/>
                <a:gd name="T71" fmla="*/ 2147483647 h 376"/>
                <a:gd name="T72" fmla="*/ 2147483647 w 325"/>
                <a:gd name="T73" fmla="*/ 2147483647 h 376"/>
                <a:gd name="T74" fmla="*/ 2147483647 w 325"/>
                <a:gd name="T75" fmla="*/ 2147483647 h 376"/>
                <a:gd name="T76" fmla="*/ 2147483647 w 325"/>
                <a:gd name="T77" fmla="*/ 2147483647 h 376"/>
                <a:gd name="T78" fmla="*/ 2147483647 w 325"/>
                <a:gd name="T79" fmla="*/ 2147483647 h 376"/>
                <a:gd name="T80" fmla="*/ 2147483647 w 325"/>
                <a:gd name="T81" fmla="*/ 2147483647 h 376"/>
                <a:gd name="T82" fmla="*/ 2147483647 w 325"/>
                <a:gd name="T83" fmla="*/ 2147483647 h 376"/>
                <a:gd name="T84" fmla="*/ 2147483647 w 325"/>
                <a:gd name="T85" fmla="*/ 2147483647 h 376"/>
                <a:gd name="T86" fmla="*/ 2147483647 w 325"/>
                <a:gd name="T87" fmla="*/ 2147483647 h 376"/>
                <a:gd name="T88" fmla="*/ 2147483647 w 325"/>
                <a:gd name="T89" fmla="*/ 2147483647 h 376"/>
                <a:gd name="T90" fmla="*/ 2147483647 w 325"/>
                <a:gd name="T91" fmla="*/ 2147483647 h 376"/>
                <a:gd name="T92" fmla="*/ 2147483647 w 325"/>
                <a:gd name="T93" fmla="*/ 2147483647 h 376"/>
                <a:gd name="T94" fmla="*/ 2147483647 w 325"/>
                <a:gd name="T95" fmla="*/ 2147483647 h 376"/>
                <a:gd name="T96" fmla="*/ 2147483647 w 325"/>
                <a:gd name="T97" fmla="*/ 2147483647 h 376"/>
                <a:gd name="T98" fmla="*/ 2147483647 w 325"/>
                <a:gd name="T99" fmla="*/ 2147483647 h 376"/>
                <a:gd name="T100" fmla="*/ 2147483647 w 325"/>
                <a:gd name="T101" fmla="*/ 2147483647 h 376"/>
                <a:gd name="T102" fmla="*/ 2147483647 w 325"/>
                <a:gd name="T103" fmla="*/ 2147483647 h 376"/>
                <a:gd name="T104" fmla="*/ 2147483647 w 325"/>
                <a:gd name="T105" fmla="*/ 2147483647 h 376"/>
                <a:gd name="T106" fmla="*/ 2147483647 w 325"/>
                <a:gd name="T107" fmla="*/ 2147483647 h 376"/>
                <a:gd name="T108" fmla="*/ 2147483647 w 325"/>
                <a:gd name="T109" fmla="*/ 2147483647 h 376"/>
                <a:gd name="T110" fmla="*/ 2147483647 w 325"/>
                <a:gd name="T111" fmla="*/ 2147483647 h 376"/>
                <a:gd name="T112" fmla="*/ 2147483647 w 325"/>
                <a:gd name="T113" fmla="*/ 0 h 37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5"/>
                <a:gd name="T172" fmla="*/ 0 h 376"/>
                <a:gd name="T173" fmla="*/ 325 w 325"/>
                <a:gd name="T174" fmla="*/ 376 h 37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5" h="376">
                  <a:moveTo>
                    <a:pt x="325" y="0"/>
                  </a:moveTo>
                  <a:lnTo>
                    <a:pt x="296" y="13"/>
                  </a:lnTo>
                  <a:lnTo>
                    <a:pt x="269" y="0"/>
                  </a:lnTo>
                  <a:lnTo>
                    <a:pt x="254" y="2"/>
                  </a:lnTo>
                  <a:lnTo>
                    <a:pt x="235" y="14"/>
                  </a:lnTo>
                  <a:lnTo>
                    <a:pt x="215" y="37"/>
                  </a:lnTo>
                  <a:lnTo>
                    <a:pt x="215" y="80"/>
                  </a:lnTo>
                  <a:lnTo>
                    <a:pt x="209" y="90"/>
                  </a:lnTo>
                  <a:lnTo>
                    <a:pt x="191" y="76"/>
                  </a:lnTo>
                  <a:lnTo>
                    <a:pt x="152" y="65"/>
                  </a:lnTo>
                  <a:lnTo>
                    <a:pt x="93" y="65"/>
                  </a:lnTo>
                  <a:lnTo>
                    <a:pt x="87" y="77"/>
                  </a:lnTo>
                  <a:lnTo>
                    <a:pt x="87" y="106"/>
                  </a:lnTo>
                  <a:lnTo>
                    <a:pt x="95" y="110"/>
                  </a:lnTo>
                  <a:lnTo>
                    <a:pt x="107" y="92"/>
                  </a:lnTo>
                  <a:lnTo>
                    <a:pt x="130" y="97"/>
                  </a:lnTo>
                  <a:lnTo>
                    <a:pt x="138" y="107"/>
                  </a:lnTo>
                  <a:lnTo>
                    <a:pt x="138" y="123"/>
                  </a:lnTo>
                  <a:lnTo>
                    <a:pt x="125" y="147"/>
                  </a:lnTo>
                  <a:lnTo>
                    <a:pt x="124" y="160"/>
                  </a:lnTo>
                  <a:lnTo>
                    <a:pt x="136" y="193"/>
                  </a:lnTo>
                  <a:lnTo>
                    <a:pt x="126" y="257"/>
                  </a:lnTo>
                  <a:lnTo>
                    <a:pt x="114" y="262"/>
                  </a:lnTo>
                  <a:lnTo>
                    <a:pt x="100" y="249"/>
                  </a:lnTo>
                  <a:lnTo>
                    <a:pt x="79" y="251"/>
                  </a:lnTo>
                  <a:lnTo>
                    <a:pt x="66" y="239"/>
                  </a:lnTo>
                  <a:lnTo>
                    <a:pt x="51" y="254"/>
                  </a:lnTo>
                  <a:lnTo>
                    <a:pt x="24" y="267"/>
                  </a:lnTo>
                  <a:lnTo>
                    <a:pt x="20" y="283"/>
                  </a:lnTo>
                  <a:lnTo>
                    <a:pt x="26" y="305"/>
                  </a:lnTo>
                  <a:lnTo>
                    <a:pt x="23" y="309"/>
                  </a:lnTo>
                  <a:lnTo>
                    <a:pt x="6" y="311"/>
                  </a:lnTo>
                  <a:lnTo>
                    <a:pt x="0" y="328"/>
                  </a:lnTo>
                  <a:lnTo>
                    <a:pt x="9" y="332"/>
                  </a:lnTo>
                  <a:lnTo>
                    <a:pt x="26" y="350"/>
                  </a:lnTo>
                  <a:lnTo>
                    <a:pt x="39" y="376"/>
                  </a:lnTo>
                  <a:lnTo>
                    <a:pt x="58" y="364"/>
                  </a:lnTo>
                  <a:lnTo>
                    <a:pt x="63" y="351"/>
                  </a:lnTo>
                  <a:lnTo>
                    <a:pt x="71" y="347"/>
                  </a:lnTo>
                  <a:lnTo>
                    <a:pt x="78" y="350"/>
                  </a:lnTo>
                  <a:lnTo>
                    <a:pt x="81" y="360"/>
                  </a:lnTo>
                  <a:lnTo>
                    <a:pt x="95" y="367"/>
                  </a:lnTo>
                  <a:lnTo>
                    <a:pt x="105" y="365"/>
                  </a:lnTo>
                  <a:lnTo>
                    <a:pt x="116" y="349"/>
                  </a:lnTo>
                  <a:lnTo>
                    <a:pt x="136" y="345"/>
                  </a:lnTo>
                  <a:lnTo>
                    <a:pt x="139" y="364"/>
                  </a:lnTo>
                  <a:lnTo>
                    <a:pt x="148" y="366"/>
                  </a:lnTo>
                  <a:lnTo>
                    <a:pt x="165" y="360"/>
                  </a:lnTo>
                  <a:lnTo>
                    <a:pt x="205" y="325"/>
                  </a:lnTo>
                  <a:lnTo>
                    <a:pt x="218" y="297"/>
                  </a:lnTo>
                  <a:lnTo>
                    <a:pt x="220" y="264"/>
                  </a:lnTo>
                  <a:lnTo>
                    <a:pt x="227" y="248"/>
                  </a:lnTo>
                  <a:lnTo>
                    <a:pt x="245" y="220"/>
                  </a:lnTo>
                  <a:lnTo>
                    <a:pt x="285" y="186"/>
                  </a:lnTo>
                  <a:lnTo>
                    <a:pt x="299" y="76"/>
                  </a:lnTo>
                  <a:lnTo>
                    <a:pt x="322" y="29"/>
                  </a:lnTo>
                  <a:lnTo>
                    <a:pt x="325" y="0"/>
                  </a:lnTo>
                  <a:close/>
                </a:path>
              </a:pathLst>
            </a:custGeom>
            <a:grpFill/>
            <a:ln w="6350">
              <a:solidFill>
                <a:schemeClr val="tx2"/>
              </a:solidFill>
              <a:round/>
              <a:headEnd/>
              <a:tailEnd/>
            </a:ln>
          </p:spPr>
          <p:txBody>
            <a:bodyPr/>
            <a:lstStyle/>
            <a:p>
              <a:endParaRPr lang="en-US"/>
            </a:p>
          </p:txBody>
        </p:sp>
        <p:sp>
          <p:nvSpPr>
            <p:cNvPr id="572" name="Freeform 1474"/>
            <p:cNvSpPr>
              <a:spLocks/>
            </p:cNvSpPr>
            <p:nvPr/>
          </p:nvSpPr>
          <p:spPr bwMode="auto">
            <a:xfrm>
              <a:off x="5238823" y="4431688"/>
              <a:ext cx="36411" cy="45514"/>
            </a:xfrm>
            <a:custGeom>
              <a:avLst/>
              <a:gdLst>
                <a:gd name="T0" fmla="*/ 2147483647 w 72"/>
                <a:gd name="T1" fmla="*/ 2147483647 h 89"/>
                <a:gd name="T2" fmla="*/ 2147483647 w 72"/>
                <a:gd name="T3" fmla="*/ 2147483647 h 89"/>
                <a:gd name="T4" fmla="*/ 2147483647 w 72"/>
                <a:gd name="T5" fmla="*/ 2147483647 h 89"/>
                <a:gd name="T6" fmla="*/ 2147483647 w 72"/>
                <a:gd name="T7" fmla="*/ 2147483647 h 89"/>
                <a:gd name="T8" fmla="*/ 0 w 72"/>
                <a:gd name="T9" fmla="*/ 2147483647 h 89"/>
                <a:gd name="T10" fmla="*/ 2147483647 w 72"/>
                <a:gd name="T11" fmla="*/ 2147483647 h 89"/>
                <a:gd name="T12" fmla="*/ 2147483647 w 72"/>
                <a:gd name="T13" fmla="*/ 2147483647 h 89"/>
                <a:gd name="T14" fmla="*/ 2147483647 w 72"/>
                <a:gd name="T15" fmla="*/ 2147483647 h 89"/>
                <a:gd name="T16" fmla="*/ 2147483647 w 72"/>
                <a:gd name="T17" fmla="*/ 2147483647 h 89"/>
                <a:gd name="T18" fmla="*/ 2147483647 w 72"/>
                <a:gd name="T19" fmla="*/ 2147483647 h 89"/>
                <a:gd name="T20" fmla="*/ 2147483647 w 72"/>
                <a:gd name="T21" fmla="*/ 0 h 89"/>
                <a:gd name="T22" fmla="*/ 2147483647 w 72"/>
                <a:gd name="T23" fmla="*/ 2147483647 h 89"/>
                <a:gd name="T24" fmla="*/ 2147483647 w 72"/>
                <a:gd name="T25" fmla="*/ 2147483647 h 89"/>
                <a:gd name="T26" fmla="*/ 2147483647 w 72"/>
                <a:gd name="T27" fmla="*/ 2147483647 h 89"/>
                <a:gd name="T28" fmla="*/ 2147483647 w 72"/>
                <a:gd name="T29" fmla="*/ 2147483647 h 89"/>
                <a:gd name="T30" fmla="*/ 2147483647 w 72"/>
                <a:gd name="T31" fmla="*/ 2147483647 h 89"/>
                <a:gd name="T32" fmla="*/ 2147483647 w 72"/>
                <a:gd name="T33" fmla="*/ 2147483647 h 89"/>
                <a:gd name="T34" fmla="*/ 2147483647 w 72"/>
                <a:gd name="T35" fmla="*/ 2147483647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89"/>
                <a:gd name="T56" fmla="*/ 72 w 72"/>
                <a:gd name="T57" fmla="*/ 89 h 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89">
                  <a:moveTo>
                    <a:pt x="16" y="88"/>
                  </a:moveTo>
                  <a:lnTo>
                    <a:pt x="7" y="66"/>
                  </a:lnTo>
                  <a:lnTo>
                    <a:pt x="8" y="45"/>
                  </a:lnTo>
                  <a:lnTo>
                    <a:pt x="6" y="26"/>
                  </a:lnTo>
                  <a:lnTo>
                    <a:pt x="0" y="17"/>
                  </a:lnTo>
                  <a:lnTo>
                    <a:pt x="4" y="7"/>
                  </a:lnTo>
                  <a:lnTo>
                    <a:pt x="9" y="8"/>
                  </a:lnTo>
                  <a:lnTo>
                    <a:pt x="17" y="20"/>
                  </a:lnTo>
                  <a:lnTo>
                    <a:pt x="32" y="17"/>
                  </a:lnTo>
                  <a:lnTo>
                    <a:pt x="38" y="3"/>
                  </a:lnTo>
                  <a:lnTo>
                    <a:pt x="59" y="0"/>
                  </a:lnTo>
                  <a:lnTo>
                    <a:pt x="65" y="3"/>
                  </a:lnTo>
                  <a:lnTo>
                    <a:pt x="60" y="17"/>
                  </a:lnTo>
                  <a:lnTo>
                    <a:pt x="70" y="26"/>
                  </a:lnTo>
                  <a:lnTo>
                    <a:pt x="72" y="38"/>
                  </a:lnTo>
                  <a:lnTo>
                    <a:pt x="45" y="82"/>
                  </a:lnTo>
                  <a:lnTo>
                    <a:pt x="22" y="89"/>
                  </a:lnTo>
                  <a:lnTo>
                    <a:pt x="16" y="88"/>
                  </a:lnTo>
                  <a:close/>
                </a:path>
              </a:pathLst>
            </a:custGeom>
            <a:grpFill/>
            <a:ln w="6350">
              <a:solidFill>
                <a:schemeClr val="tx2"/>
              </a:solidFill>
              <a:round/>
              <a:headEnd/>
              <a:tailEnd/>
            </a:ln>
          </p:spPr>
          <p:txBody>
            <a:bodyPr/>
            <a:lstStyle/>
            <a:p>
              <a:endParaRPr lang="en-US"/>
            </a:p>
          </p:txBody>
        </p:sp>
        <p:sp>
          <p:nvSpPr>
            <p:cNvPr id="573" name="Freeform 1475"/>
            <p:cNvSpPr>
              <a:spLocks/>
            </p:cNvSpPr>
            <p:nvPr/>
          </p:nvSpPr>
          <p:spPr bwMode="auto">
            <a:xfrm>
              <a:off x="4871682" y="4478718"/>
              <a:ext cx="21239" cy="30342"/>
            </a:xfrm>
            <a:custGeom>
              <a:avLst/>
              <a:gdLst>
                <a:gd name="T0" fmla="*/ 2147483647 w 42"/>
                <a:gd name="T1" fmla="*/ 2147483647 h 62"/>
                <a:gd name="T2" fmla="*/ 2147483647 w 42"/>
                <a:gd name="T3" fmla="*/ 2147483647 h 62"/>
                <a:gd name="T4" fmla="*/ 2147483647 w 42"/>
                <a:gd name="T5" fmla="*/ 2147483647 h 62"/>
                <a:gd name="T6" fmla="*/ 0 w 42"/>
                <a:gd name="T7" fmla="*/ 2147483647 h 62"/>
                <a:gd name="T8" fmla="*/ 2147483647 w 42"/>
                <a:gd name="T9" fmla="*/ 2147483647 h 62"/>
                <a:gd name="T10" fmla="*/ 2147483647 w 42"/>
                <a:gd name="T11" fmla="*/ 2147483647 h 62"/>
                <a:gd name="T12" fmla="*/ 2147483647 w 42"/>
                <a:gd name="T13" fmla="*/ 0 h 62"/>
                <a:gd name="T14" fmla="*/ 2147483647 w 42"/>
                <a:gd name="T15" fmla="*/ 2147483647 h 62"/>
                <a:gd name="T16" fmla="*/ 2147483647 w 42"/>
                <a:gd name="T17" fmla="*/ 2147483647 h 62"/>
                <a:gd name="T18" fmla="*/ 2147483647 w 42"/>
                <a:gd name="T19" fmla="*/ 2147483647 h 62"/>
                <a:gd name="T20" fmla="*/ 2147483647 w 42"/>
                <a:gd name="T21" fmla="*/ 2147483647 h 62"/>
                <a:gd name="T22" fmla="*/ 2147483647 w 42"/>
                <a:gd name="T23" fmla="*/ 2147483647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62"/>
                <a:gd name="T38" fmla="*/ 42 w 42"/>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62">
                  <a:moveTo>
                    <a:pt x="13" y="62"/>
                  </a:moveTo>
                  <a:lnTo>
                    <a:pt x="7" y="57"/>
                  </a:lnTo>
                  <a:lnTo>
                    <a:pt x="4" y="33"/>
                  </a:lnTo>
                  <a:lnTo>
                    <a:pt x="0" y="29"/>
                  </a:lnTo>
                  <a:lnTo>
                    <a:pt x="19" y="17"/>
                  </a:lnTo>
                  <a:lnTo>
                    <a:pt x="24" y="4"/>
                  </a:lnTo>
                  <a:lnTo>
                    <a:pt x="32" y="0"/>
                  </a:lnTo>
                  <a:lnTo>
                    <a:pt x="39" y="3"/>
                  </a:lnTo>
                  <a:lnTo>
                    <a:pt x="42" y="13"/>
                  </a:lnTo>
                  <a:lnTo>
                    <a:pt x="26" y="26"/>
                  </a:lnTo>
                  <a:lnTo>
                    <a:pt x="20" y="59"/>
                  </a:lnTo>
                  <a:lnTo>
                    <a:pt x="13" y="62"/>
                  </a:lnTo>
                  <a:close/>
                </a:path>
              </a:pathLst>
            </a:custGeom>
            <a:grpFill/>
            <a:ln w="6350">
              <a:solidFill>
                <a:schemeClr val="tx2"/>
              </a:solidFill>
              <a:round/>
              <a:headEnd/>
              <a:tailEnd/>
            </a:ln>
          </p:spPr>
          <p:txBody>
            <a:bodyPr/>
            <a:lstStyle/>
            <a:p>
              <a:endParaRPr lang="en-US"/>
            </a:p>
          </p:txBody>
        </p:sp>
        <p:sp>
          <p:nvSpPr>
            <p:cNvPr id="574" name="Freeform 1476"/>
            <p:cNvSpPr>
              <a:spLocks/>
            </p:cNvSpPr>
            <p:nvPr/>
          </p:nvSpPr>
          <p:spPr bwMode="auto">
            <a:xfrm>
              <a:off x="4814031" y="4337626"/>
              <a:ext cx="39445" cy="25792"/>
            </a:xfrm>
            <a:custGeom>
              <a:avLst/>
              <a:gdLst>
                <a:gd name="T0" fmla="*/ 2147483647 w 84"/>
                <a:gd name="T1" fmla="*/ 0 h 54"/>
                <a:gd name="T2" fmla="*/ 2147483647 w 84"/>
                <a:gd name="T3" fmla="*/ 2147483647 h 54"/>
                <a:gd name="T4" fmla="*/ 2147483647 w 84"/>
                <a:gd name="T5" fmla="*/ 2147483647 h 54"/>
                <a:gd name="T6" fmla="*/ 0 w 84"/>
                <a:gd name="T7" fmla="*/ 2147483647 h 54"/>
                <a:gd name="T8" fmla="*/ 2147483647 w 84"/>
                <a:gd name="T9" fmla="*/ 2147483647 h 54"/>
                <a:gd name="T10" fmla="*/ 2147483647 w 84"/>
                <a:gd name="T11" fmla="*/ 2147483647 h 54"/>
                <a:gd name="T12" fmla="*/ 2147483647 w 84"/>
                <a:gd name="T13" fmla="*/ 2147483647 h 54"/>
                <a:gd name="T14" fmla="*/ 2147483647 w 84"/>
                <a:gd name="T15" fmla="*/ 2147483647 h 54"/>
                <a:gd name="T16" fmla="*/ 2147483647 w 84"/>
                <a:gd name="T17" fmla="*/ 2147483647 h 54"/>
                <a:gd name="T18" fmla="*/ 2147483647 w 84"/>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4"/>
                <a:gd name="T31" fmla="*/ 0 h 54"/>
                <a:gd name="T32" fmla="*/ 84 w 84"/>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4" h="54">
                  <a:moveTo>
                    <a:pt x="84" y="0"/>
                  </a:moveTo>
                  <a:lnTo>
                    <a:pt x="16" y="3"/>
                  </a:lnTo>
                  <a:lnTo>
                    <a:pt x="9" y="30"/>
                  </a:lnTo>
                  <a:lnTo>
                    <a:pt x="0" y="44"/>
                  </a:lnTo>
                  <a:lnTo>
                    <a:pt x="11" y="50"/>
                  </a:lnTo>
                  <a:lnTo>
                    <a:pt x="9" y="54"/>
                  </a:lnTo>
                  <a:lnTo>
                    <a:pt x="28" y="49"/>
                  </a:lnTo>
                  <a:lnTo>
                    <a:pt x="84" y="48"/>
                  </a:lnTo>
                  <a:lnTo>
                    <a:pt x="79" y="13"/>
                  </a:lnTo>
                  <a:lnTo>
                    <a:pt x="84" y="0"/>
                  </a:lnTo>
                  <a:close/>
                </a:path>
              </a:pathLst>
            </a:custGeom>
            <a:grpFill/>
            <a:ln w="6350">
              <a:solidFill>
                <a:schemeClr val="tx2"/>
              </a:solidFill>
              <a:round/>
              <a:headEnd/>
              <a:tailEnd/>
            </a:ln>
          </p:spPr>
          <p:txBody>
            <a:bodyPr/>
            <a:lstStyle/>
            <a:p>
              <a:endParaRPr lang="en-US"/>
            </a:p>
          </p:txBody>
        </p:sp>
        <p:sp>
          <p:nvSpPr>
            <p:cNvPr id="575" name="Freeform 1477"/>
            <p:cNvSpPr>
              <a:spLocks/>
            </p:cNvSpPr>
            <p:nvPr/>
          </p:nvSpPr>
          <p:spPr bwMode="auto">
            <a:xfrm>
              <a:off x="5196344" y="5015777"/>
              <a:ext cx="48548" cy="50064"/>
            </a:xfrm>
            <a:custGeom>
              <a:avLst/>
              <a:gdLst>
                <a:gd name="T0" fmla="*/ 2147483647 w 99"/>
                <a:gd name="T1" fmla="*/ 2147483647 h 102"/>
                <a:gd name="T2" fmla="*/ 2147483647 w 99"/>
                <a:gd name="T3" fmla="*/ 2147483647 h 102"/>
                <a:gd name="T4" fmla="*/ 2147483647 w 99"/>
                <a:gd name="T5" fmla="*/ 2147483647 h 102"/>
                <a:gd name="T6" fmla="*/ 2147483647 w 99"/>
                <a:gd name="T7" fmla="*/ 2147483647 h 102"/>
                <a:gd name="T8" fmla="*/ 2147483647 w 99"/>
                <a:gd name="T9" fmla="*/ 2147483647 h 102"/>
                <a:gd name="T10" fmla="*/ 2147483647 w 99"/>
                <a:gd name="T11" fmla="*/ 2147483647 h 102"/>
                <a:gd name="T12" fmla="*/ 2147483647 w 99"/>
                <a:gd name="T13" fmla="*/ 2147483647 h 102"/>
                <a:gd name="T14" fmla="*/ 0 w 99"/>
                <a:gd name="T15" fmla="*/ 2147483647 h 102"/>
                <a:gd name="T16" fmla="*/ 2147483647 w 99"/>
                <a:gd name="T17" fmla="*/ 2147483647 h 102"/>
                <a:gd name="T18" fmla="*/ 2147483647 w 99"/>
                <a:gd name="T19" fmla="*/ 2147483647 h 102"/>
                <a:gd name="T20" fmla="*/ 2147483647 w 99"/>
                <a:gd name="T21" fmla="*/ 0 h 102"/>
                <a:gd name="T22" fmla="*/ 2147483647 w 99"/>
                <a:gd name="T23" fmla="*/ 2147483647 h 102"/>
                <a:gd name="T24" fmla="*/ 2147483647 w 99"/>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9"/>
                <a:gd name="T40" fmla="*/ 0 h 102"/>
                <a:gd name="T41" fmla="*/ 99 w 99"/>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9" h="102">
                  <a:moveTo>
                    <a:pt x="98" y="40"/>
                  </a:moveTo>
                  <a:lnTo>
                    <a:pt x="99" y="45"/>
                  </a:lnTo>
                  <a:lnTo>
                    <a:pt x="80" y="77"/>
                  </a:lnTo>
                  <a:lnTo>
                    <a:pt x="58" y="86"/>
                  </a:lnTo>
                  <a:lnTo>
                    <a:pt x="42" y="101"/>
                  </a:lnTo>
                  <a:lnTo>
                    <a:pt x="33" y="102"/>
                  </a:lnTo>
                  <a:lnTo>
                    <a:pt x="18" y="89"/>
                  </a:lnTo>
                  <a:lnTo>
                    <a:pt x="0" y="58"/>
                  </a:lnTo>
                  <a:lnTo>
                    <a:pt x="21" y="21"/>
                  </a:lnTo>
                  <a:lnTo>
                    <a:pt x="54" y="1"/>
                  </a:lnTo>
                  <a:lnTo>
                    <a:pt x="66" y="0"/>
                  </a:lnTo>
                  <a:lnTo>
                    <a:pt x="75" y="5"/>
                  </a:lnTo>
                  <a:lnTo>
                    <a:pt x="98" y="40"/>
                  </a:lnTo>
                  <a:close/>
                </a:path>
              </a:pathLst>
            </a:custGeom>
            <a:grpFill/>
            <a:ln w="6350">
              <a:solidFill>
                <a:schemeClr val="tx2"/>
              </a:solidFill>
              <a:round/>
              <a:headEnd/>
              <a:tailEnd/>
            </a:ln>
          </p:spPr>
          <p:txBody>
            <a:bodyPr/>
            <a:lstStyle/>
            <a:p>
              <a:endParaRPr lang="en-US"/>
            </a:p>
          </p:txBody>
        </p:sp>
        <p:sp>
          <p:nvSpPr>
            <p:cNvPr id="576" name="Freeform 1478"/>
            <p:cNvSpPr>
              <a:spLocks/>
            </p:cNvSpPr>
            <p:nvPr/>
          </p:nvSpPr>
          <p:spPr bwMode="auto">
            <a:xfrm>
              <a:off x="5275234" y="4947506"/>
              <a:ext cx="24273" cy="34894"/>
            </a:xfrm>
            <a:custGeom>
              <a:avLst/>
              <a:gdLst>
                <a:gd name="T0" fmla="*/ 2147483647 w 52"/>
                <a:gd name="T1" fmla="*/ 2147483647 h 71"/>
                <a:gd name="T2" fmla="*/ 2147483647 w 52"/>
                <a:gd name="T3" fmla="*/ 2147483647 h 71"/>
                <a:gd name="T4" fmla="*/ 2147483647 w 52"/>
                <a:gd name="T5" fmla="*/ 2147483647 h 71"/>
                <a:gd name="T6" fmla="*/ 2147483647 w 52"/>
                <a:gd name="T7" fmla="*/ 0 h 71"/>
                <a:gd name="T8" fmla="*/ 2147483647 w 52"/>
                <a:gd name="T9" fmla="*/ 2147483647 h 71"/>
                <a:gd name="T10" fmla="*/ 0 w 52"/>
                <a:gd name="T11" fmla="*/ 2147483647 h 71"/>
                <a:gd name="T12" fmla="*/ 2147483647 w 52"/>
                <a:gd name="T13" fmla="*/ 2147483647 h 71"/>
                <a:gd name="T14" fmla="*/ 2147483647 w 52"/>
                <a:gd name="T15" fmla="*/ 2147483647 h 71"/>
                <a:gd name="T16" fmla="*/ 2147483647 w 52"/>
                <a:gd name="T17" fmla="*/ 2147483647 h 71"/>
                <a:gd name="T18" fmla="*/ 2147483647 w 52"/>
                <a:gd name="T19" fmla="*/ 2147483647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71"/>
                <a:gd name="T32" fmla="*/ 52 w 52"/>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71">
                  <a:moveTo>
                    <a:pt x="52" y="50"/>
                  </a:moveTo>
                  <a:lnTo>
                    <a:pt x="50" y="5"/>
                  </a:lnTo>
                  <a:lnTo>
                    <a:pt x="44" y="12"/>
                  </a:lnTo>
                  <a:lnTo>
                    <a:pt x="26" y="0"/>
                  </a:lnTo>
                  <a:lnTo>
                    <a:pt x="15" y="7"/>
                  </a:lnTo>
                  <a:lnTo>
                    <a:pt x="0" y="43"/>
                  </a:lnTo>
                  <a:lnTo>
                    <a:pt x="9" y="68"/>
                  </a:lnTo>
                  <a:lnTo>
                    <a:pt x="28" y="70"/>
                  </a:lnTo>
                  <a:lnTo>
                    <a:pt x="38" y="71"/>
                  </a:lnTo>
                  <a:lnTo>
                    <a:pt x="52" y="50"/>
                  </a:lnTo>
                  <a:close/>
                </a:path>
              </a:pathLst>
            </a:custGeom>
            <a:grpFill/>
            <a:ln w="6350">
              <a:solidFill>
                <a:schemeClr val="tx2"/>
              </a:solidFill>
              <a:round/>
              <a:headEnd/>
              <a:tailEnd/>
            </a:ln>
          </p:spPr>
          <p:txBody>
            <a:bodyPr/>
            <a:lstStyle/>
            <a:p>
              <a:endParaRPr lang="en-US"/>
            </a:p>
          </p:txBody>
        </p:sp>
        <p:sp>
          <p:nvSpPr>
            <p:cNvPr id="577" name="Freeform 1479"/>
            <p:cNvSpPr>
              <a:spLocks/>
            </p:cNvSpPr>
            <p:nvPr/>
          </p:nvSpPr>
          <p:spPr bwMode="auto">
            <a:xfrm>
              <a:off x="4431719" y="4155572"/>
              <a:ext cx="130472" cy="136541"/>
            </a:xfrm>
            <a:custGeom>
              <a:avLst/>
              <a:gdLst>
                <a:gd name="T0" fmla="*/ 2147483647 w 265"/>
                <a:gd name="T1" fmla="*/ 2147483647 h 277"/>
                <a:gd name="T2" fmla="*/ 2147483647 w 265"/>
                <a:gd name="T3" fmla="*/ 2147483647 h 277"/>
                <a:gd name="T4" fmla="*/ 2147483647 w 265"/>
                <a:gd name="T5" fmla="*/ 2147483647 h 277"/>
                <a:gd name="T6" fmla="*/ 2147483647 w 265"/>
                <a:gd name="T7" fmla="*/ 2147483647 h 277"/>
                <a:gd name="T8" fmla="*/ 2147483647 w 265"/>
                <a:gd name="T9" fmla="*/ 2147483647 h 277"/>
                <a:gd name="T10" fmla="*/ 2147483647 w 265"/>
                <a:gd name="T11" fmla="*/ 2147483647 h 277"/>
                <a:gd name="T12" fmla="*/ 2147483647 w 265"/>
                <a:gd name="T13" fmla="*/ 2147483647 h 277"/>
                <a:gd name="T14" fmla="*/ 2147483647 w 265"/>
                <a:gd name="T15" fmla="*/ 2147483647 h 277"/>
                <a:gd name="T16" fmla="*/ 2147483647 w 265"/>
                <a:gd name="T17" fmla="*/ 2147483647 h 277"/>
                <a:gd name="T18" fmla="*/ 0 w 265"/>
                <a:gd name="T19" fmla="*/ 2147483647 h 277"/>
                <a:gd name="T20" fmla="*/ 2147483647 w 265"/>
                <a:gd name="T21" fmla="*/ 2147483647 h 277"/>
                <a:gd name="T22" fmla="*/ 2147483647 w 265"/>
                <a:gd name="T23" fmla="*/ 2147483647 h 277"/>
                <a:gd name="T24" fmla="*/ 2147483647 w 265"/>
                <a:gd name="T25" fmla="*/ 2147483647 h 277"/>
                <a:gd name="T26" fmla="*/ 2147483647 w 265"/>
                <a:gd name="T27" fmla="*/ 2147483647 h 277"/>
                <a:gd name="T28" fmla="*/ 2147483647 w 265"/>
                <a:gd name="T29" fmla="*/ 2147483647 h 277"/>
                <a:gd name="T30" fmla="*/ 2147483647 w 265"/>
                <a:gd name="T31" fmla="*/ 2147483647 h 277"/>
                <a:gd name="T32" fmla="*/ 2147483647 w 265"/>
                <a:gd name="T33" fmla="*/ 2147483647 h 277"/>
                <a:gd name="T34" fmla="*/ 2147483647 w 265"/>
                <a:gd name="T35" fmla="*/ 2147483647 h 277"/>
                <a:gd name="T36" fmla="*/ 2147483647 w 265"/>
                <a:gd name="T37" fmla="*/ 2147483647 h 277"/>
                <a:gd name="T38" fmla="*/ 2147483647 w 265"/>
                <a:gd name="T39" fmla="*/ 2147483647 h 277"/>
                <a:gd name="T40" fmla="*/ 2147483647 w 265"/>
                <a:gd name="T41" fmla="*/ 2147483647 h 277"/>
                <a:gd name="T42" fmla="*/ 2147483647 w 265"/>
                <a:gd name="T43" fmla="*/ 2147483647 h 277"/>
                <a:gd name="T44" fmla="*/ 2147483647 w 265"/>
                <a:gd name="T45" fmla="*/ 2147483647 h 277"/>
                <a:gd name="T46" fmla="*/ 2147483647 w 265"/>
                <a:gd name="T47" fmla="*/ 2147483647 h 277"/>
                <a:gd name="T48" fmla="*/ 2147483647 w 265"/>
                <a:gd name="T49" fmla="*/ 2147483647 h 277"/>
                <a:gd name="T50" fmla="*/ 2147483647 w 265"/>
                <a:gd name="T51" fmla="*/ 2147483647 h 277"/>
                <a:gd name="T52" fmla="*/ 2147483647 w 265"/>
                <a:gd name="T53" fmla="*/ 2147483647 h 277"/>
                <a:gd name="T54" fmla="*/ 2147483647 w 265"/>
                <a:gd name="T55" fmla="*/ 2147483647 h 277"/>
                <a:gd name="T56" fmla="*/ 2147483647 w 265"/>
                <a:gd name="T57" fmla="*/ 2147483647 h 277"/>
                <a:gd name="T58" fmla="*/ 2147483647 w 265"/>
                <a:gd name="T59" fmla="*/ 0 h 277"/>
                <a:gd name="T60" fmla="*/ 2147483647 w 265"/>
                <a:gd name="T61" fmla="*/ 2147483647 h 277"/>
                <a:gd name="T62" fmla="*/ 2147483647 w 265"/>
                <a:gd name="T63" fmla="*/ 2147483647 h 277"/>
                <a:gd name="T64" fmla="*/ 2147483647 w 265"/>
                <a:gd name="T65" fmla="*/ 2147483647 h 277"/>
                <a:gd name="T66" fmla="*/ 2147483647 w 265"/>
                <a:gd name="T67" fmla="*/ 2147483647 h 277"/>
                <a:gd name="T68" fmla="*/ 2147483647 w 265"/>
                <a:gd name="T69" fmla="*/ 2147483647 h 2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5"/>
                <a:gd name="T106" fmla="*/ 0 h 277"/>
                <a:gd name="T107" fmla="*/ 265 w 265"/>
                <a:gd name="T108" fmla="*/ 277 h 2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5" h="277">
                  <a:moveTo>
                    <a:pt x="25" y="22"/>
                  </a:moveTo>
                  <a:lnTo>
                    <a:pt x="17" y="35"/>
                  </a:lnTo>
                  <a:lnTo>
                    <a:pt x="17" y="54"/>
                  </a:lnTo>
                  <a:lnTo>
                    <a:pt x="29" y="59"/>
                  </a:lnTo>
                  <a:lnTo>
                    <a:pt x="28" y="69"/>
                  </a:lnTo>
                  <a:lnTo>
                    <a:pt x="35" y="74"/>
                  </a:lnTo>
                  <a:lnTo>
                    <a:pt x="27" y="85"/>
                  </a:lnTo>
                  <a:lnTo>
                    <a:pt x="34" y="86"/>
                  </a:lnTo>
                  <a:lnTo>
                    <a:pt x="38" y="105"/>
                  </a:lnTo>
                  <a:lnTo>
                    <a:pt x="26" y="98"/>
                  </a:lnTo>
                  <a:lnTo>
                    <a:pt x="13" y="100"/>
                  </a:lnTo>
                  <a:lnTo>
                    <a:pt x="13" y="109"/>
                  </a:lnTo>
                  <a:lnTo>
                    <a:pt x="22" y="111"/>
                  </a:lnTo>
                  <a:lnTo>
                    <a:pt x="25" y="117"/>
                  </a:lnTo>
                  <a:lnTo>
                    <a:pt x="17" y="138"/>
                  </a:lnTo>
                  <a:lnTo>
                    <a:pt x="3" y="140"/>
                  </a:lnTo>
                  <a:lnTo>
                    <a:pt x="5" y="151"/>
                  </a:lnTo>
                  <a:lnTo>
                    <a:pt x="13" y="158"/>
                  </a:lnTo>
                  <a:lnTo>
                    <a:pt x="10" y="171"/>
                  </a:lnTo>
                  <a:lnTo>
                    <a:pt x="0" y="185"/>
                  </a:lnTo>
                  <a:lnTo>
                    <a:pt x="26" y="193"/>
                  </a:lnTo>
                  <a:lnTo>
                    <a:pt x="36" y="208"/>
                  </a:lnTo>
                  <a:lnTo>
                    <a:pt x="48" y="212"/>
                  </a:lnTo>
                  <a:lnTo>
                    <a:pt x="52" y="234"/>
                  </a:lnTo>
                  <a:lnTo>
                    <a:pt x="44" y="246"/>
                  </a:lnTo>
                  <a:lnTo>
                    <a:pt x="44" y="274"/>
                  </a:lnTo>
                  <a:lnTo>
                    <a:pt x="57" y="277"/>
                  </a:lnTo>
                  <a:lnTo>
                    <a:pt x="106" y="255"/>
                  </a:lnTo>
                  <a:lnTo>
                    <a:pt x="164" y="244"/>
                  </a:lnTo>
                  <a:lnTo>
                    <a:pt x="203" y="241"/>
                  </a:lnTo>
                  <a:lnTo>
                    <a:pt x="236" y="247"/>
                  </a:lnTo>
                  <a:lnTo>
                    <a:pt x="242" y="242"/>
                  </a:lnTo>
                  <a:lnTo>
                    <a:pt x="254" y="242"/>
                  </a:lnTo>
                  <a:lnTo>
                    <a:pt x="252" y="221"/>
                  </a:lnTo>
                  <a:lnTo>
                    <a:pt x="242" y="215"/>
                  </a:lnTo>
                  <a:lnTo>
                    <a:pt x="233" y="181"/>
                  </a:lnTo>
                  <a:lnTo>
                    <a:pt x="234" y="166"/>
                  </a:lnTo>
                  <a:lnTo>
                    <a:pt x="244" y="152"/>
                  </a:lnTo>
                  <a:lnTo>
                    <a:pt x="253" y="119"/>
                  </a:lnTo>
                  <a:lnTo>
                    <a:pt x="265" y="108"/>
                  </a:lnTo>
                  <a:lnTo>
                    <a:pt x="257" y="73"/>
                  </a:lnTo>
                  <a:lnTo>
                    <a:pt x="252" y="70"/>
                  </a:lnTo>
                  <a:lnTo>
                    <a:pt x="256" y="64"/>
                  </a:lnTo>
                  <a:lnTo>
                    <a:pt x="255" y="53"/>
                  </a:lnTo>
                  <a:lnTo>
                    <a:pt x="246" y="53"/>
                  </a:lnTo>
                  <a:lnTo>
                    <a:pt x="233" y="34"/>
                  </a:lnTo>
                  <a:lnTo>
                    <a:pt x="229" y="37"/>
                  </a:lnTo>
                  <a:lnTo>
                    <a:pt x="213" y="33"/>
                  </a:lnTo>
                  <a:lnTo>
                    <a:pt x="186" y="41"/>
                  </a:lnTo>
                  <a:lnTo>
                    <a:pt x="181" y="48"/>
                  </a:lnTo>
                  <a:lnTo>
                    <a:pt x="174" y="42"/>
                  </a:lnTo>
                  <a:lnTo>
                    <a:pt x="168" y="45"/>
                  </a:lnTo>
                  <a:lnTo>
                    <a:pt x="155" y="36"/>
                  </a:lnTo>
                  <a:lnTo>
                    <a:pt x="144" y="17"/>
                  </a:lnTo>
                  <a:lnTo>
                    <a:pt x="135" y="18"/>
                  </a:lnTo>
                  <a:lnTo>
                    <a:pt x="128" y="11"/>
                  </a:lnTo>
                  <a:lnTo>
                    <a:pt x="120" y="11"/>
                  </a:lnTo>
                  <a:lnTo>
                    <a:pt x="109" y="21"/>
                  </a:lnTo>
                  <a:lnTo>
                    <a:pt x="102" y="20"/>
                  </a:lnTo>
                  <a:lnTo>
                    <a:pt x="100" y="0"/>
                  </a:lnTo>
                  <a:lnTo>
                    <a:pt x="92" y="1"/>
                  </a:lnTo>
                  <a:lnTo>
                    <a:pt x="90" y="6"/>
                  </a:lnTo>
                  <a:lnTo>
                    <a:pt x="82" y="3"/>
                  </a:lnTo>
                  <a:lnTo>
                    <a:pt x="80" y="16"/>
                  </a:lnTo>
                  <a:lnTo>
                    <a:pt x="67" y="18"/>
                  </a:lnTo>
                  <a:lnTo>
                    <a:pt x="65" y="24"/>
                  </a:lnTo>
                  <a:lnTo>
                    <a:pt x="56" y="18"/>
                  </a:lnTo>
                  <a:lnTo>
                    <a:pt x="51" y="21"/>
                  </a:lnTo>
                  <a:lnTo>
                    <a:pt x="44" y="11"/>
                  </a:lnTo>
                  <a:lnTo>
                    <a:pt x="25" y="22"/>
                  </a:lnTo>
                  <a:close/>
                </a:path>
              </a:pathLst>
            </a:custGeom>
            <a:grpFill/>
            <a:ln w="6350">
              <a:solidFill>
                <a:schemeClr val="tx2"/>
              </a:solidFill>
              <a:round/>
              <a:headEnd/>
              <a:tailEnd/>
            </a:ln>
          </p:spPr>
          <p:txBody>
            <a:bodyPr/>
            <a:lstStyle/>
            <a:p>
              <a:endParaRPr lang="en-US"/>
            </a:p>
          </p:txBody>
        </p:sp>
        <p:sp>
          <p:nvSpPr>
            <p:cNvPr id="578" name="Freeform 1480"/>
            <p:cNvSpPr>
              <a:spLocks/>
            </p:cNvSpPr>
            <p:nvPr/>
          </p:nvSpPr>
          <p:spPr bwMode="auto">
            <a:xfrm>
              <a:off x="4630460" y="4119162"/>
              <a:ext cx="65236" cy="133506"/>
            </a:xfrm>
            <a:custGeom>
              <a:avLst/>
              <a:gdLst>
                <a:gd name="T0" fmla="*/ 2147483647 w 130"/>
                <a:gd name="T1" fmla="*/ 2147483647 h 268"/>
                <a:gd name="T2" fmla="*/ 2147483647 w 130"/>
                <a:gd name="T3" fmla="*/ 2147483647 h 268"/>
                <a:gd name="T4" fmla="*/ 2147483647 w 130"/>
                <a:gd name="T5" fmla="*/ 2147483647 h 268"/>
                <a:gd name="T6" fmla="*/ 2147483647 w 130"/>
                <a:gd name="T7" fmla="*/ 2147483647 h 268"/>
                <a:gd name="T8" fmla="*/ 2147483647 w 130"/>
                <a:gd name="T9" fmla="*/ 2147483647 h 268"/>
                <a:gd name="T10" fmla="*/ 2147483647 w 130"/>
                <a:gd name="T11" fmla="*/ 2147483647 h 268"/>
                <a:gd name="T12" fmla="*/ 2147483647 w 130"/>
                <a:gd name="T13" fmla="*/ 2147483647 h 268"/>
                <a:gd name="T14" fmla="*/ 0 w 130"/>
                <a:gd name="T15" fmla="*/ 2147483647 h 268"/>
                <a:gd name="T16" fmla="*/ 2147483647 w 130"/>
                <a:gd name="T17" fmla="*/ 2147483647 h 268"/>
                <a:gd name="T18" fmla="*/ 2147483647 w 130"/>
                <a:gd name="T19" fmla="*/ 2147483647 h 268"/>
                <a:gd name="T20" fmla="*/ 2147483647 w 130"/>
                <a:gd name="T21" fmla="*/ 2147483647 h 268"/>
                <a:gd name="T22" fmla="*/ 2147483647 w 130"/>
                <a:gd name="T23" fmla="*/ 2147483647 h 268"/>
                <a:gd name="T24" fmla="*/ 2147483647 w 130"/>
                <a:gd name="T25" fmla="*/ 2147483647 h 268"/>
                <a:gd name="T26" fmla="*/ 2147483647 w 130"/>
                <a:gd name="T27" fmla="*/ 2147483647 h 268"/>
                <a:gd name="T28" fmla="*/ 2147483647 w 130"/>
                <a:gd name="T29" fmla="*/ 0 h 268"/>
                <a:gd name="T30" fmla="*/ 2147483647 w 130"/>
                <a:gd name="T31" fmla="*/ 2147483647 h 268"/>
                <a:gd name="T32" fmla="*/ 2147483647 w 130"/>
                <a:gd name="T33" fmla="*/ 2147483647 h 268"/>
                <a:gd name="T34" fmla="*/ 2147483647 w 130"/>
                <a:gd name="T35" fmla="*/ 2147483647 h 268"/>
                <a:gd name="T36" fmla="*/ 2147483647 w 130"/>
                <a:gd name="T37" fmla="*/ 2147483647 h 268"/>
                <a:gd name="T38" fmla="*/ 2147483647 w 130"/>
                <a:gd name="T39" fmla="*/ 2147483647 h 268"/>
                <a:gd name="T40" fmla="*/ 2147483647 w 130"/>
                <a:gd name="T41" fmla="*/ 2147483647 h 268"/>
                <a:gd name="T42" fmla="*/ 2147483647 w 130"/>
                <a:gd name="T43" fmla="*/ 2147483647 h 268"/>
                <a:gd name="T44" fmla="*/ 2147483647 w 130"/>
                <a:gd name="T45" fmla="*/ 2147483647 h 268"/>
                <a:gd name="T46" fmla="*/ 2147483647 w 130"/>
                <a:gd name="T47" fmla="*/ 2147483647 h 268"/>
                <a:gd name="T48" fmla="*/ 2147483647 w 130"/>
                <a:gd name="T49" fmla="*/ 2147483647 h 268"/>
                <a:gd name="T50" fmla="*/ 2147483647 w 130"/>
                <a:gd name="T51" fmla="*/ 2147483647 h 268"/>
                <a:gd name="T52" fmla="*/ 2147483647 w 130"/>
                <a:gd name="T53" fmla="*/ 2147483647 h 268"/>
                <a:gd name="T54" fmla="*/ 2147483647 w 130"/>
                <a:gd name="T55" fmla="*/ 2147483647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0"/>
                <a:gd name="T85" fmla="*/ 0 h 268"/>
                <a:gd name="T86" fmla="*/ 130 w 130"/>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0" h="268">
                  <a:moveTo>
                    <a:pt x="53" y="268"/>
                  </a:moveTo>
                  <a:lnTo>
                    <a:pt x="48" y="266"/>
                  </a:lnTo>
                  <a:lnTo>
                    <a:pt x="43" y="250"/>
                  </a:lnTo>
                  <a:lnTo>
                    <a:pt x="46" y="224"/>
                  </a:lnTo>
                  <a:lnTo>
                    <a:pt x="43" y="160"/>
                  </a:lnTo>
                  <a:lnTo>
                    <a:pt x="26" y="109"/>
                  </a:lnTo>
                  <a:lnTo>
                    <a:pt x="15" y="97"/>
                  </a:lnTo>
                  <a:lnTo>
                    <a:pt x="0" y="89"/>
                  </a:lnTo>
                  <a:lnTo>
                    <a:pt x="6" y="61"/>
                  </a:lnTo>
                  <a:lnTo>
                    <a:pt x="30" y="39"/>
                  </a:lnTo>
                  <a:lnTo>
                    <a:pt x="56" y="40"/>
                  </a:lnTo>
                  <a:lnTo>
                    <a:pt x="70" y="19"/>
                  </a:lnTo>
                  <a:lnTo>
                    <a:pt x="76" y="16"/>
                  </a:lnTo>
                  <a:lnTo>
                    <a:pt x="70" y="6"/>
                  </a:lnTo>
                  <a:lnTo>
                    <a:pt x="90" y="0"/>
                  </a:lnTo>
                  <a:lnTo>
                    <a:pt x="122" y="30"/>
                  </a:lnTo>
                  <a:lnTo>
                    <a:pt x="118" y="43"/>
                  </a:lnTo>
                  <a:lnTo>
                    <a:pt x="127" y="58"/>
                  </a:lnTo>
                  <a:lnTo>
                    <a:pt x="130" y="83"/>
                  </a:lnTo>
                  <a:lnTo>
                    <a:pt x="121" y="91"/>
                  </a:lnTo>
                  <a:lnTo>
                    <a:pt x="125" y="101"/>
                  </a:lnTo>
                  <a:lnTo>
                    <a:pt x="122" y="108"/>
                  </a:lnTo>
                  <a:lnTo>
                    <a:pt x="104" y="124"/>
                  </a:lnTo>
                  <a:lnTo>
                    <a:pt x="102" y="144"/>
                  </a:lnTo>
                  <a:lnTo>
                    <a:pt x="89" y="168"/>
                  </a:lnTo>
                  <a:lnTo>
                    <a:pt x="84" y="232"/>
                  </a:lnTo>
                  <a:lnTo>
                    <a:pt x="89" y="265"/>
                  </a:lnTo>
                  <a:lnTo>
                    <a:pt x="53" y="268"/>
                  </a:lnTo>
                  <a:close/>
                </a:path>
              </a:pathLst>
            </a:custGeom>
            <a:grpFill/>
            <a:ln w="6350">
              <a:solidFill>
                <a:schemeClr val="tx2"/>
              </a:solidFill>
              <a:round/>
              <a:headEnd/>
              <a:tailEnd/>
            </a:ln>
          </p:spPr>
          <p:txBody>
            <a:bodyPr/>
            <a:lstStyle/>
            <a:p>
              <a:endParaRPr lang="en-US"/>
            </a:p>
          </p:txBody>
        </p:sp>
        <p:sp>
          <p:nvSpPr>
            <p:cNvPr id="579" name="Freeform 1481"/>
            <p:cNvSpPr>
              <a:spLocks/>
            </p:cNvSpPr>
            <p:nvPr/>
          </p:nvSpPr>
          <p:spPr bwMode="auto">
            <a:xfrm>
              <a:off x="4369517" y="4201086"/>
              <a:ext cx="87993" cy="89510"/>
            </a:xfrm>
            <a:custGeom>
              <a:avLst/>
              <a:gdLst>
                <a:gd name="T0" fmla="*/ 0 w 177"/>
                <a:gd name="T1" fmla="*/ 2147483647 h 180"/>
                <a:gd name="T2" fmla="*/ 2147483647 w 177"/>
                <a:gd name="T3" fmla="*/ 2147483647 h 180"/>
                <a:gd name="T4" fmla="*/ 2147483647 w 177"/>
                <a:gd name="T5" fmla="*/ 2147483647 h 180"/>
                <a:gd name="T6" fmla="*/ 2147483647 w 177"/>
                <a:gd name="T7" fmla="*/ 2147483647 h 180"/>
                <a:gd name="T8" fmla="*/ 2147483647 w 177"/>
                <a:gd name="T9" fmla="*/ 2147483647 h 180"/>
                <a:gd name="T10" fmla="*/ 2147483647 w 177"/>
                <a:gd name="T11" fmla="*/ 2147483647 h 180"/>
                <a:gd name="T12" fmla="*/ 2147483647 w 177"/>
                <a:gd name="T13" fmla="*/ 0 h 180"/>
                <a:gd name="T14" fmla="*/ 2147483647 w 177"/>
                <a:gd name="T15" fmla="*/ 2147483647 h 180"/>
                <a:gd name="T16" fmla="*/ 2147483647 w 177"/>
                <a:gd name="T17" fmla="*/ 2147483647 h 180"/>
                <a:gd name="T18" fmla="*/ 2147483647 w 177"/>
                <a:gd name="T19" fmla="*/ 2147483647 h 180"/>
                <a:gd name="T20" fmla="*/ 2147483647 w 177"/>
                <a:gd name="T21" fmla="*/ 2147483647 h 180"/>
                <a:gd name="T22" fmla="*/ 2147483647 w 177"/>
                <a:gd name="T23" fmla="*/ 2147483647 h 180"/>
                <a:gd name="T24" fmla="*/ 2147483647 w 177"/>
                <a:gd name="T25" fmla="*/ 2147483647 h 180"/>
                <a:gd name="T26" fmla="*/ 2147483647 w 177"/>
                <a:gd name="T27" fmla="*/ 2147483647 h 180"/>
                <a:gd name="T28" fmla="*/ 2147483647 w 177"/>
                <a:gd name="T29" fmla="*/ 2147483647 h 180"/>
                <a:gd name="T30" fmla="*/ 2147483647 w 177"/>
                <a:gd name="T31" fmla="*/ 2147483647 h 180"/>
                <a:gd name="T32" fmla="*/ 2147483647 w 177"/>
                <a:gd name="T33" fmla="*/ 2147483647 h 180"/>
                <a:gd name="T34" fmla="*/ 2147483647 w 177"/>
                <a:gd name="T35" fmla="*/ 2147483647 h 180"/>
                <a:gd name="T36" fmla="*/ 2147483647 w 177"/>
                <a:gd name="T37" fmla="*/ 2147483647 h 180"/>
                <a:gd name="T38" fmla="*/ 2147483647 w 177"/>
                <a:gd name="T39" fmla="*/ 2147483647 h 180"/>
                <a:gd name="T40" fmla="*/ 2147483647 w 177"/>
                <a:gd name="T41" fmla="*/ 2147483647 h 180"/>
                <a:gd name="T42" fmla="*/ 2147483647 w 177"/>
                <a:gd name="T43" fmla="*/ 2147483647 h 180"/>
                <a:gd name="T44" fmla="*/ 2147483647 w 177"/>
                <a:gd name="T45" fmla="*/ 2147483647 h 180"/>
                <a:gd name="T46" fmla="*/ 2147483647 w 177"/>
                <a:gd name="T47" fmla="*/ 2147483647 h 180"/>
                <a:gd name="T48" fmla="*/ 2147483647 w 177"/>
                <a:gd name="T49" fmla="*/ 2147483647 h 180"/>
                <a:gd name="T50" fmla="*/ 2147483647 w 177"/>
                <a:gd name="T51" fmla="*/ 2147483647 h 180"/>
                <a:gd name="T52" fmla="*/ 2147483647 w 177"/>
                <a:gd name="T53" fmla="*/ 2147483647 h 180"/>
                <a:gd name="T54" fmla="*/ 2147483647 w 177"/>
                <a:gd name="T55" fmla="*/ 2147483647 h 180"/>
                <a:gd name="T56" fmla="*/ 2147483647 w 177"/>
                <a:gd name="T57" fmla="*/ 2147483647 h 180"/>
                <a:gd name="T58" fmla="*/ 2147483647 w 177"/>
                <a:gd name="T59" fmla="*/ 2147483647 h 180"/>
                <a:gd name="T60" fmla="*/ 2147483647 w 177"/>
                <a:gd name="T61" fmla="*/ 2147483647 h 180"/>
                <a:gd name="T62" fmla="*/ 0 w 177"/>
                <a:gd name="T63" fmla="*/ 2147483647 h 18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180"/>
                <a:gd name="T98" fmla="*/ 177 w 177"/>
                <a:gd name="T99" fmla="*/ 180 h 18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180">
                  <a:moveTo>
                    <a:pt x="0" y="69"/>
                  </a:moveTo>
                  <a:lnTo>
                    <a:pt x="9" y="56"/>
                  </a:lnTo>
                  <a:lnTo>
                    <a:pt x="38" y="34"/>
                  </a:lnTo>
                  <a:lnTo>
                    <a:pt x="38" y="22"/>
                  </a:lnTo>
                  <a:lnTo>
                    <a:pt x="51" y="16"/>
                  </a:lnTo>
                  <a:lnTo>
                    <a:pt x="49" y="8"/>
                  </a:lnTo>
                  <a:lnTo>
                    <a:pt x="58" y="0"/>
                  </a:lnTo>
                  <a:lnTo>
                    <a:pt x="64" y="6"/>
                  </a:lnTo>
                  <a:lnTo>
                    <a:pt x="74" y="1"/>
                  </a:lnTo>
                  <a:lnTo>
                    <a:pt x="84" y="11"/>
                  </a:lnTo>
                  <a:lnTo>
                    <a:pt x="90" y="34"/>
                  </a:lnTo>
                  <a:lnTo>
                    <a:pt x="85" y="54"/>
                  </a:lnTo>
                  <a:lnTo>
                    <a:pt x="94" y="51"/>
                  </a:lnTo>
                  <a:lnTo>
                    <a:pt x="106" y="59"/>
                  </a:lnTo>
                  <a:lnTo>
                    <a:pt x="113" y="57"/>
                  </a:lnTo>
                  <a:lnTo>
                    <a:pt x="120" y="39"/>
                  </a:lnTo>
                  <a:lnTo>
                    <a:pt x="128" y="46"/>
                  </a:lnTo>
                  <a:lnTo>
                    <a:pt x="130" y="57"/>
                  </a:lnTo>
                  <a:lnTo>
                    <a:pt x="138" y="64"/>
                  </a:lnTo>
                  <a:lnTo>
                    <a:pt x="135" y="77"/>
                  </a:lnTo>
                  <a:lnTo>
                    <a:pt x="125" y="91"/>
                  </a:lnTo>
                  <a:lnTo>
                    <a:pt x="151" y="99"/>
                  </a:lnTo>
                  <a:lnTo>
                    <a:pt x="161" y="114"/>
                  </a:lnTo>
                  <a:lnTo>
                    <a:pt x="173" y="118"/>
                  </a:lnTo>
                  <a:lnTo>
                    <a:pt x="177" y="140"/>
                  </a:lnTo>
                  <a:lnTo>
                    <a:pt x="169" y="152"/>
                  </a:lnTo>
                  <a:lnTo>
                    <a:pt x="169" y="180"/>
                  </a:lnTo>
                  <a:lnTo>
                    <a:pt x="130" y="170"/>
                  </a:lnTo>
                  <a:lnTo>
                    <a:pt x="93" y="149"/>
                  </a:lnTo>
                  <a:lnTo>
                    <a:pt x="48" y="107"/>
                  </a:lnTo>
                  <a:lnTo>
                    <a:pt x="26" y="98"/>
                  </a:lnTo>
                  <a:lnTo>
                    <a:pt x="0" y="69"/>
                  </a:lnTo>
                  <a:close/>
                </a:path>
              </a:pathLst>
            </a:custGeom>
            <a:grpFill/>
            <a:ln w="6350">
              <a:solidFill>
                <a:schemeClr val="tx2"/>
              </a:solidFill>
              <a:round/>
              <a:headEnd/>
              <a:tailEnd/>
            </a:ln>
          </p:spPr>
          <p:txBody>
            <a:bodyPr/>
            <a:lstStyle/>
            <a:p>
              <a:endParaRPr lang="en-US"/>
            </a:p>
          </p:txBody>
        </p:sp>
        <p:sp>
          <p:nvSpPr>
            <p:cNvPr id="580" name="Freeform 1482"/>
            <p:cNvSpPr>
              <a:spLocks/>
            </p:cNvSpPr>
            <p:nvPr/>
          </p:nvSpPr>
          <p:spPr bwMode="auto">
            <a:xfrm>
              <a:off x="4612255" y="4149504"/>
              <a:ext cx="45514" cy="107716"/>
            </a:xfrm>
            <a:custGeom>
              <a:avLst/>
              <a:gdLst>
                <a:gd name="T0" fmla="*/ 2147483647 w 89"/>
                <a:gd name="T1" fmla="*/ 2147483647 h 215"/>
                <a:gd name="T2" fmla="*/ 2147483647 w 89"/>
                <a:gd name="T3" fmla="*/ 2147483647 h 215"/>
                <a:gd name="T4" fmla="*/ 2147483647 w 89"/>
                <a:gd name="T5" fmla="*/ 2147483647 h 215"/>
                <a:gd name="T6" fmla="*/ 2147483647 w 89"/>
                <a:gd name="T7" fmla="*/ 2147483647 h 215"/>
                <a:gd name="T8" fmla="*/ 2147483647 w 89"/>
                <a:gd name="T9" fmla="*/ 2147483647 h 215"/>
                <a:gd name="T10" fmla="*/ 2147483647 w 89"/>
                <a:gd name="T11" fmla="*/ 2147483647 h 215"/>
                <a:gd name="T12" fmla="*/ 0 w 89"/>
                <a:gd name="T13" fmla="*/ 2147483647 h 215"/>
                <a:gd name="T14" fmla="*/ 2147483647 w 89"/>
                <a:gd name="T15" fmla="*/ 2147483647 h 215"/>
                <a:gd name="T16" fmla="*/ 2147483647 w 89"/>
                <a:gd name="T17" fmla="*/ 2147483647 h 215"/>
                <a:gd name="T18" fmla="*/ 0 w 89"/>
                <a:gd name="T19" fmla="*/ 2147483647 h 215"/>
                <a:gd name="T20" fmla="*/ 2147483647 w 89"/>
                <a:gd name="T21" fmla="*/ 2147483647 h 215"/>
                <a:gd name="T22" fmla="*/ 2147483647 w 89"/>
                <a:gd name="T23" fmla="*/ 2147483647 h 215"/>
                <a:gd name="T24" fmla="*/ 2147483647 w 89"/>
                <a:gd name="T25" fmla="*/ 0 h 215"/>
                <a:gd name="T26" fmla="*/ 2147483647 w 89"/>
                <a:gd name="T27" fmla="*/ 2147483647 h 215"/>
                <a:gd name="T28" fmla="*/ 2147483647 w 89"/>
                <a:gd name="T29" fmla="*/ 2147483647 h 215"/>
                <a:gd name="T30" fmla="*/ 2147483647 w 89"/>
                <a:gd name="T31" fmla="*/ 2147483647 h 215"/>
                <a:gd name="T32" fmla="*/ 2147483647 w 89"/>
                <a:gd name="T33" fmla="*/ 2147483647 h 215"/>
                <a:gd name="T34" fmla="*/ 2147483647 w 89"/>
                <a:gd name="T35" fmla="*/ 2147483647 h 215"/>
                <a:gd name="T36" fmla="*/ 2147483647 w 89"/>
                <a:gd name="T37" fmla="*/ 2147483647 h 215"/>
                <a:gd name="T38" fmla="*/ 2147483647 w 89"/>
                <a:gd name="T39" fmla="*/ 2147483647 h 215"/>
                <a:gd name="T40" fmla="*/ 2147483647 w 89"/>
                <a:gd name="T41" fmla="*/ 2147483647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9"/>
                <a:gd name="T64" fmla="*/ 0 h 215"/>
                <a:gd name="T65" fmla="*/ 89 w 89"/>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9" h="215">
                  <a:moveTo>
                    <a:pt x="89" y="207"/>
                  </a:moveTo>
                  <a:lnTo>
                    <a:pt x="59" y="215"/>
                  </a:lnTo>
                  <a:lnTo>
                    <a:pt x="42" y="200"/>
                  </a:lnTo>
                  <a:lnTo>
                    <a:pt x="33" y="184"/>
                  </a:lnTo>
                  <a:lnTo>
                    <a:pt x="27" y="73"/>
                  </a:lnTo>
                  <a:lnTo>
                    <a:pt x="18" y="35"/>
                  </a:lnTo>
                  <a:lnTo>
                    <a:pt x="0" y="15"/>
                  </a:lnTo>
                  <a:lnTo>
                    <a:pt x="6" y="4"/>
                  </a:lnTo>
                  <a:lnTo>
                    <a:pt x="1" y="3"/>
                  </a:lnTo>
                  <a:lnTo>
                    <a:pt x="0" y="1"/>
                  </a:lnTo>
                  <a:lnTo>
                    <a:pt x="15" y="2"/>
                  </a:lnTo>
                  <a:lnTo>
                    <a:pt x="26" y="3"/>
                  </a:lnTo>
                  <a:lnTo>
                    <a:pt x="42" y="0"/>
                  </a:lnTo>
                  <a:lnTo>
                    <a:pt x="36" y="28"/>
                  </a:lnTo>
                  <a:lnTo>
                    <a:pt x="51" y="36"/>
                  </a:lnTo>
                  <a:lnTo>
                    <a:pt x="62" y="48"/>
                  </a:lnTo>
                  <a:lnTo>
                    <a:pt x="79" y="99"/>
                  </a:lnTo>
                  <a:lnTo>
                    <a:pt x="82" y="163"/>
                  </a:lnTo>
                  <a:lnTo>
                    <a:pt x="79" y="189"/>
                  </a:lnTo>
                  <a:lnTo>
                    <a:pt x="84" y="205"/>
                  </a:lnTo>
                  <a:lnTo>
                    <a:pt x="89" y="207"/>
                  </a:lnTo>
                  <a:close/>
                </a:path>
              </a:pathLst>
            </a:custGeom>
            <a:grpFill/>
            <a:ln w="6350">
              <a:solidFill>
                <a:schemeClr val="tx2"/>
              </a:solidFill>
              <a:round/>
              <a:headEnd/>
              <a:tailEnd/>
            </a:ln>
          </p:spPr>
          <p:txBody>
            <a:bodyPr/>
            <a:lstStyle/>
            <a:p>
              <a:endParaRPr lang="en-US"/>
            </a:p>
          </p:txBody>
        </p:sp>
        <p:sp>
          <p:nvSpPr>
            <p:cNvPr id="581" name="Freeform 1483"/>
            <p:cNvSpPr>
              <a:spLocks/>
            </p:cNvSpPr>
            <p:nvPr/>
          </p:nvSpPr>
          <p:spPr bwMode="auto">
            <a:xfrm>
              <a:off x="4292144" y="4111577"/>
              <a:ext cx="157780" cy="119852"/>
            </a:xfrm>
            <a:custGeom>
              <a:avLst/>
              <a:gdLst>
                <a:gd name="T0" fmla="*/ 2147483647 w 317"/>
                <a:gd name="T1" fmla="*/ 2147483647 h 240"/>
                <a:gd name="T2" fmla="*/ 2147483647 w 317"/>
                <a:gd name="T3" fmla="*/ 2147483647 h 240"/>
                <a:gd name="T4" fmla="*/ 2147483647 w 317"/>
                <a:gd name="T5" fmla="*/ 2147483647 h 240"/>
                <a:gd name="T6" fmla="*/ 2147483647 w 317"/>
                <a:gd name="T7" fmla="*/ 2147483647 h 240"/>
                <a:gd name="T8" fmla="*/ 2147483647 w 317"/>
                <a:gd name="T9" fmla="*/ 2147483647 h 240"/>
                <a:gd name="T10" fmla="*/ 2147483647 w 317"/>
                <a:gd name="T11" fmla="*/ 2147483647 h 240"/>
                <a:gd name="T12" fmla="*/ 2147483647 w 317"/>
                <a:gd name="T13" fmla="*/ 2147483647 h 240"/>
                <a:gd name="T14" fmla="*/ 2147483647 w 317"/>
                <a:gd name="T15" fmla="*/ 2147483647 h 240"/>
                <a:gd name="T16" fmla="*/ 2147483647 w 317"/>
                <a:gd name="T17" fmla="*/ 2147483647 h 240"/>
                <a:gd name="T18" fmla="*/ 2147483647 w 317"/>
                <a:gd name="T19" fmla="*/ 2147483647 h 240"/>
                <a:gd name="T20" fmla="*/ 2147483647 w 317"/>
                <a:gd name="T21" fmla="*/ 2147483647 h 240"/>
                <a:gd name="T22" fmla="*/ 2147483647 w 317"/>
                <a:gd name="T23" fmla="*/ 2147483647 h 240"/>
                <a:gd name="T24" fmla="*/ 2147483647 w 317"/>
                <a:gd name="T25" fmla="*/ 2147483647 h 240"/>
                <a:gd name="T26" fmla="*/ 2147483647 w 317"/>
                <a:gd name="T27" fmla="*/ 2147483647 h 240"/>
                <a:gd name="T28" fmla="*/ 2147483647 w 317"/>
                <a:gd name="T29" fmla="*/ 2147483647 h 240"/>
                <a:gd name="T30" fmla="*/ 2147483647 w 317"/>
                <a:gd name="T31" fmla="*/ 2147483647 h 240"/>
                <a:gd name="T32" fmla="*/ 2147483647 w 317"/>
                <a:gd name="T33" fmla="*/ 2147483647 h 240"/>
                <a:gd name="T34" fmla="*/ 2147483647 w 317"/>
                <a:gd name="T35" fmla="*/ 2147483647 h 240"/>
                <a:gd name="T36" fmla="*/ 2147483647 w 317"/>
                <a:gd name="T37" fmla="*/ 2147483647 h 240"/>
                <a:gd name="T38" fmla="*/ 2147483647 w 317"/>
                <a:gd name="T39" fmla="*/ 2147483647 h 240"/>
                <a:gd name="T40" fmla="*/ 2147483647 w 317"/>
                <a:gd name="T41" fmla="*/ 2147483647 h 240"/>
                <a:gd name="T42" fmla="*/ 2147483647 w 317"/>
                <a:gd name="T43" fmla="*/ 2147483647 h 240"/>
                <a:gd name="T44" fmla="*/ 2147483647 w 317"/>
                <a:gd name="T45" fmla="*/ 2147483647 h 240"/>
                <a:gd name="T46" fmla="*/ 2147483647 w 317"/>
                <a:gd name="T47" fmla="*/ 2147483647 h 240"/>
                <a:gd name="T48" fmla="*/ 2147483647 w 317"/>
                <a:gd name="T49" fmla="*/ 2147483647 h 240"/>
                <a:gd name="T50" fmla="*/ 2147483647 w 317"/>
                <a:gd name="T51" fmla="*/ 2147483647 h 240"/>
                <a:gd name="T52" fmla="*/ 2147483647 w 317"/>
                <a:gd name="T53" fmla="*/ 2147483647 h 240"/>
                <a:gd name="T54" fmla="*/ 2147483647 w 317"/>
                <a:gd name="T55" fmla="*/ 2147483647 h 240"/>
                <a:gd name="T56" fmla="*/ 2147483647 w 317"/>
                <a:gd name="T57" fmla="*/ 2147483647 h 240"/>
                <a:gd name="T58" fmla="*/ 2147483647 w 317"/>
                <a:gd name="T59" fmla="*/ 2147483647 h 240"/>
                <a:gd name="T60" fmla="*/ 2147483647 w 317"/>
                <a:gd name="T61" fmla="*/ 2147483647 h 240"/>
                <a:gd name="T62" fmla="*/ 2147483647 w 317"/>
                <a:gd name="T63" fmla="*/ 2147483647 h 240"/>
                <a:gd name="T64" fmla="*/ 2147483647 w 317"/>
                <a:gd name="T65" fmla="*/ 2147483647 h 240"/>
                <a:gd name="T66" fmla="*/ 2147483647 w 317"/>
                <a:gd name="T67" fmla="*/ 2147483647 h 240"/>
                <a:gd name="T68" fmla="*/ 2147483647 w 317"/>
                <a:gd name="T69" fmla="*/ 2147483647 h 240"/>
                <a:gd name="T70" fmla="*/ 2147483647 w 317"/>
                <a:gd name="T71" fmla="*/ 2147483647 h 240"/>
                <a:gd name="T72" fmla="*/ 2147483647 w 317"/>
                <a:gd name="T73" fmla="*/ 2147483647 h 240"/>
                <a:gd name="T74" fmla="*/ 2147483647 w 317"/>
                <a:gd name="T75" fmla="*/ 2147483647 h 240"/>
                <a:gd name="T76" fmla="*/ 2147483647 w 317"/>
                <a:gd name="T77" fmla="*/ 2147483647 h 240"/>
                <a:gd name="T78" fmla="*/ 2147483647 w 317"/>
                <a:gd name="T79" fmla="*/ 2147483647 h 240"/>
                <a:gd name="T80" fmla="*/ 2147483647 w 317"/>
                <a:gd name="T81" fmla="*/ 2147483647 h 240"/>
                <a:gd name="T82" fmla="*/ 2147483647 w 317"/>
                <a:gd name="T83" fmla="*/ 2147483647 h 240"/>
                <a:gd name="T84" fmla="*/ 2147483647 w 317"/>
                <a:gd name="T85" fmla="*/ 0 h 2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7"/>
                <a:gd name="T130" fmla="*/ 0 h 240"/>
                <a:gd name="T131" fmla="*/ 317 w 317"/>
                <a:gd name="T132" fmla="*/ 240 h 2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7" h="240">
                  <a:moveTo>
                    <a:pt x="59" y="0"/>
                  </a:moveTo>
                  <a:lnTo>
                    <a:pt x="85" y="3"/>
                  </a:lnTo>
                  <a:lnTo>
                    <a:pt x="87" y="11"/>
                  </a:lnTo>
                  <a:lnTo>
                    <a:pt x="94" y="8"/>
                  </a:lnTo>
                  <a:lnTo>
                    <a:pt x="118" y="16"/>
                  </a:lnTo>
                  <a:lnTo>
                    <a:pt x="160" y="13"/>
                  </a:lnTo>
                  <a:lnTo>
                    <a:pt x="155" y="24"/>
                  </a:lnTo>
                  <a:lnTo>
                    <a:pt x="158" y="28"/>
                  </a:lnTo>
                  <a:lnTo>
                    <a:pt x="166" y="29"/>
                  </a:lnTo>
                  <a:lnTo>
                    <a:pt x="177" y="22"/>
                  </a:lnTo>
                  <a:lnTo>
                    <a:pt x="191" y="34"/>
                  </a:lnTo>
                  <a:lnTo>
                    <a:pt x="205" y="21"/>
                  </a:lnTo>
                  <a:lnTo>
                    <a:pt x="230" y="30"/>
                  </a:lnTo>
                  <a:lnTo>
                    <a:pt x="231" y="22"/>
                  </a:lnTo>
                  <a:lnTo>
                    <a:pt x="244" y="16"/>
                  </a:lnTo>
                  <a:lnTo>
                    <a:pt x="245" y="9"/>
                  </a:lnTo>
                  <a:lnTo>
                    <a:pt x="258" y="9"/>
                  </a:lnTo>
                  <a:lnTo>
                    <a:pt x="260" y="22"/>
                  </a:lnTo>
                  <a:lnTo>
                    <a:pt x="266" y="23"/>
                  </a:lnTo>
                  <a:lnTo>
                    <a:pt x="268" y="32"/>
                  </a:lnTo>
                  <a:lnTo>
                    <a:pt x="268" y="47"/>
                  </a:lnTo>
                  <a:lnTo>
                    <a:pt x="273" y="46"/>
                  </a:lnTo>
                  <a:lnTo>
                    <a:pt x="277" y="53"/>
                  </a:lnTo>
                  <a:lnTo>
                    <a:pt x="287" y="58"/>
                  </a:lnTo>
                  <a:lnTo>
                    <a:pt x="287" y="63"/>
                  </a:lnTo>
                  <a:lnTo>
                    <a:pt x="275" y="72"/>
                  </a:lnTo>
                  <a:lnTo>
                    <a:pt x="275" y="78"/>
                  </a:lnTo>
                  <a:lnTo>
                    <a:pt x="281" y="72"/>
                  </a:lnTo>
                  <a:lnTo>
                    <a:pt x="288" y="73"/>
                  </a:lnTo>
                  <a:lnTo>
                    <a:pt x="290" y="94"/>
                  </a:lnTo>
                  <a:lnTo>
                    <a:pt x="304" y="109"/>
                  </a:lnTo>
                  <a:lnTo>
                    <a:pt x="296" y="122"/>
                  </a:lnTo>
                  <a:lnTo>
                    <a:pt x="296" y="141"/>
                  </a:lnTo>
                  <a:lnTo>
                    <a:pt x="308" y="146"/>
                  </a:lnTo>
                  <a:lnTo>
                    <a:pt x="307" y="156"/>
                  </a:lnTo>
                  <a:lnTo>
                    <a:pt x="314" y="161"/>
                  </a:lnTo>
                  <a:lnTo>
                    <a:pt x="306" y="172"/>
                  </a:lnTo>
                  <a:lnTo>
                    <a:pt x="313" y="173"/>
                  </a:lnTo>
                  <a:lnTo>
                    <a:pt x="317" y="192"/>
                  </a:lnTo>
                  <a:lnTo>
                    <a:pt x="305" y="185"/>
                  </a:lnTo>
                  <a:lnTo>
                    <a:pt x="292" y="187"/>
                  </a:lnTo>
                  <a:lnTo>
                    <a:pt x="292" y="196"/>
                  </a:lnTo>
                  <a:lnTo>
                    <a:pt x="301" y="198"/>
                  </a:lnTo>
                  <a:lnTo>
                    <a:pt x="304" y="204"/>
                  </a:lnTo>
                  <a:lnTo>
                    <a:pt x="296" y="225"/>
                  </a:lnTo>
                  <a:lnTo>
                    <a:pt x="282" y="227"/>
                  </a:lnTo>
                  <a:lnTo>
                    <a:pt x="274" y="220"/>
                  </a:lnTo>
                  <a:lnTo>
                    <a:pt x="267" y="238"/>
                  </a:lnTo>
                  <a:lnTo>
                    <a:pt x="260" y="240"/>
                  </a:lnTo>
                  <a:lnTo>
                    <a:pt x="248" y="232"/>
                  </a:lnTo>
                  <a:lnTo>
                    <a:pt x="239" y="235"/>
                  </a:lnTo>
                  <a:lnTo>
                    <a:pt x="244" y="215"/>
                  </a:lnTo>
                  <a:lnTo>
                    <a:pt x="238" y="192"/>
                  </a:lnTo>
                  <a:lnTo>
                    <a:pt x="228" y="182"/>
                  </a:lnTo>
                  <a:lnTo>
                    <a:pt x="218" y="187"/>
                  </a:lnTo>
                  <a:lnTo>
                    <a:pt x="212" y="181"/>
                  </a:lnTo>
                  <a:lnTo>
                    <a:pt x="203" y="189"/>
                  </a:lnTo>
                  <a:lnTo>
                    <a:pt x="202" y="183"/>
                  </a:lnTo>
                  <a:lnTo>
                    <a:pt x="187" y="192"/>
                  </a:lnTo>
                  <a:lnTo>
                    <a:pt x="191" y="176"/>
                  </a:lnTo>
                  <a:lnTo>
                    <a:pt x="196" y="174"/>
                  </a:lnTo>
                  <a:lnTo>
                    <a:pt x="195" y="165"/>
                  </a:lnTo>
                  <a:lnTo>
                    <a:pt x="189" y="159"/>
                  </a:lnTo>
                  <a:lnTo>
                    <a:pt x="189" y="147"/>
                  </a:lnTo>
                  <a:lnTo>
                    <a:pt x="180" y="144"/>
                  </a:lnTo>
                  <a:lnTo>
                    <a:pt x="178" y="135"/>
                  </a:lnTo>
                  <a:lnTo>
                    <a:pt x="165" y="121"/>
                  </a:lnTo>
                  <a:lnTo>
                    <a:pt x="112" y="124"/>
                  </a:lnTo>
                  <a:lnTo>
                    <a:pt x="107" y="137"/>
                  </a:lnTo>
                  <a:lnTo>
                    <a:pt x="89" y="157"/>
                  </a:lnTo>
                  <a:lnTo>
                    <a:pt x="77" y="158"/>
                  </a:lnTo>
                  <a:lnTo>
                    <a:pt x="58" y="140"/>
                  </a:lnTo>
                  <a:lnTo>
                    <a:pt x="51" y="125"/>
                  </a:lnTo>
                  <a:lnTo>
                    <a:pt x="30" y="115"/>
                  </a:lnTo>
                  <a:lnTo>
                    <a:pt x="23" y="91"/>
                  </a:lnTo>
                  <a:lnTo>
                    <a:pt x="16" y="90"/>
                  </a:lnTo>
                  <a:lnTo>
                    <a:pt x="13" y="79"/>
                  </a:lnTo>
                  <a:lnTo>
                    <a:pt x="3" y="86"/>
                  </a:lnTo>
                  <a:lnTo>
                    <a:pt x="0" y="78"/>
                  </a:lnTo>
                  <a:lnTo>
                    <a:pt x="8" y="73"/>
                  </a:lnTo>
                  <a:lnTo>
                    <a:pt x="21" y="53"/>
                  </a:lnTo>
                  <a:lnTo>
                    <a:pt x="59" y="45"/>
                  </a:lnTo>
                  <a:lnTo>
                    <a:pt x="58" y="30"/>
                  </a:lnTo>
                  <a:lnTo>
                    <a:pt x="50" y="24"/>
                  </a:lnTo>
                  <a:lnTo>
                    <a:pt x="63" y="15"/>
                  </a:lnTo>
                  <a:lnTo>
                    <a:pt x="59" y="0"/>
                  </a:lnTo>
                  <a:close/>
                </a:path>
              </a:pathLst>
            </a:custGeom>
            <a:grpFill/>
            <a:ln w="6350">
              <a:solidFill>
                <a:schemeClr val="tx2"/>
              </a:solidFill>
              <a:round/>
              <a:headEnd/>
              <a:tailEnd/>
            </a:ln>
          </p:spPr>
          <p:txBody>
            <a:bodyPr/>
            <a:lstStyle/>
            <a:p>
              <a:endParaRPr lang="en-US"/>
            </a:p>
          </p:txBody>
        </p:sp>
        <p:sp>
          <p:nvSpPr>
            <p:cNvPr id="582" name="Freeform 1484"/>
            <p:cNvSpPr>
              <a:spLocks/>
            </p:cNvSpPr>
            <p:nvPr/>
          </p:nvSpPr>
          <p:spPr bwMode="auto">
            <a:xfrm>
              <a:off x="4548536" y="4149504"/>
              <a:ext cx="94061" cy="135023"/>
            </a:xfrm>
            <a:custGeom>
              <a:avLst/>
              <a:gdLst>
                <a:gd name="T0" fmla="*/ 2147483647 w 190"/>
                <a:gd name="T1" fmla="*/ 2147483647 h 274"/>
                <a:gd name="T2" fmla="*/ 2147483647 w 190"/>
                <a:gd name="T3" fmla="*/ 2147483647 h 274"/>
                <a:gd name="T4" fmla="*/ 2147483647 w 190"/>
                <a:gd name="T5" fmla="*/ 2147483647 h 274"/>
                <a:gd name="T6" fmla="*/ 2147483647 w 190"/>
                <a:gd name="T7" fmla="*/ 2147483647 h 274"/>
                <a:gd name="T8" fmla="*/ 2147483647 w 190"/>
                <a:gd name="T9" fmla="*/ 2147483647 h 274"/>
                <a:gd name="T10" fmla="*/ 2147483647 w 190"/>
                <a:gd name="T11" fmla="*/ 2147483647 h 274"/>
                <a:gd name="T12" fmla="*/ 2147483647 w 190"/>
                <a:gd name="T13" fmla="*/ 2147483647 h 274"/>
                <a:gd name="T14" fmla="*/ 2147483647 w 190"/>
                <a:gd name="T15" fmla="*/ 2147483647 h 274"/>
                <a:gd name="T16" fmla="*/ 2147483647 w 190"/>
                <a:gd name="T17" fmla="*/ 2147483647 h 274"/>
                <a:gd name="T18" fmla="*/ 2147483647 w 190"/>
                <a:gd name="T19" fmla="*/ 2147483647 h 274"/>
                <a:gd name="T20" fmla="*/ 2147483647 w 190"/>
                <a:gd name="T21" fmla="*/ 0 h 274"/>
                <a:gd name="T22" fmla="*/ 2147483647 w 190"/>
                <a:gd name="T23" fmla="*/ 2147483647 h 274"/>
                <a:gd name="T24" fmla="*/ 2147483647 w 190"/>
                <a:gd name="T25" fmla="*/ 2147483647 h 274"/>
                <a:gd name="T26" fmla="*/ 2147483647 w 190"/>
                <a:gd name="T27" fmla="*/ 2147483647 h 274"/>
                <a:gd name="T28" fmla="*/ 2147483647 w 190"/>
                <a:gd name="T29" fmla="*/ 2147483647 h 274"/>
                <a:gd name="T30" fmla="*/ 2147483647 w 190"/>
                <a:gd name="T31" fmla="*/ 2147483647 h 274"/>
                <a:gd name="T32" fmla="*/ 2147483647 w 190"/>
                <a:gd name="T33" fmla="*/ 2147483647 h 274"/>
                <a:gd name="T34" fmla="*/ 2147483647 w 190"/>
                <a:gd name="T35" fmla="*/ 2147483647 h 274"/>
                <a:gd name="T36" fmla="*/ 2147483647 w 190"/>
                <a:gd name="T37" fmla="*/ 2147483647 h 274"/>
                <a:gd name="T38" fmla="*/ 2147483647 w 190"/>
                <a:gd name="T39" fmla="*/ 2147483647 h 274"/>
                <a:gd name="T40" fmla="*/ 2147483647 w 190"/>
                <a:gd name="T41" fmla="*/ 2147483647 h 274"/>
                <a:gd name="T42" fmla="*/ 0 w 190"/>
                <a:gd name="T43" fmla="*/ 2147483647 h 274"/>
                <a:gd name="T44" fmla="*/ 2147483647 w 190"/>
                <a:gd name="T45" fmla="*/ 2147483647 h 274"/>
                <a:gd name="T46" fmla="*/ 2147483647 w 190"/>
                <a:gd name="T47" fmla="*/ 2147483647 h 274"/>
                <a:gd name="T48" fmla="*/ 2147483647 w 190"/>
                <a:gd name="T49" fmla="*/ 2147483647 h 274"/>
                <a:gd name="T50" fmla="*/ 2147483647 w 190"/>
                <a:gd name="T51" fmla="*/ 2147483647 h 274"/>
                <a:gd name="T52" fmla="*/ 2147483647 w 190"/>
                <a:gd name="T53" fmla="*/ 2147483647 h 274"/>
                <a:gd name="T54" fmla="*/ 2147483647 w 190"/>
                <a:gd name="T55" fmla="*/ 2147483647 h 274"/>
                <a:gd name="T56" fmla="*/ 2147483647 w 190"/>
                <a:gd name="T57" fmla="*/ 2147483647 h 274"/>
                <a:gd name="T58" fmla="*/ 2147483647 w 190"/>
                <a:gd name="T59" fmla="*/ 2147483647 h 274"/>
                <a:gd name="T60" fmla="*/ 2147483647 w 190"/>
                <a:gd name="T61" fmla="*/ 2147483647 h 274"/>
                <a:gd name="T62" fmla="*/ 2147483647 w 190"/>
                <a:gd name="T63" fmla="*/ 2147483647 h 274"/>
                <a:gd name="T64" fmla="*/ 2147483647 w 190"/>
                <a:gd name="T65" fmla="*/ 2147483647 h 274"/>
                <a:gd name="T66" fmla="*/ 2147483647 w 190"/>
                <a:gd name="T67" fmla="*/ 2147483647 h 2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0"/>
                <a:gd name="T103" fmla="*/ 0 h 274"/>
                <a:gd name="T104" fmla="*/ 190 w 190"/>
                <a:gd name="T105" fmla="*/ 274 h 2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0" h="274">
                  <a:moveTo>
                    <a:pt x="190" y="215"/>
                  </a:moveTo>
                  <a:lnTo>
                    <a:pt x="173" y="200"/>
                  </a:lnTo>
                  <a:lnTo>
                    <a:pt x="164" y="184"/>
                  </a:lnTo>
                  <a:lnTo>
                    <a:pt x="158" y="73"/>
                  </a:lnTo>
                  <a:lnTo>
                    <a:pt x="149" y="35"/>
                  </a:lnTo>
                  <a:lnTo>
                    <a:pt x="131" y="15"/>
                  </a:lnTo>
                  <a:lnTo>
                    <a:pt x="137" y="4"/>
                  </a:lnTo>
                  <a:lnTo>
                    <a:pt x="132" y="3"/>
                  </a:lnTo>
                  <a:lnTo>
                    <a:pt x="131" y="1"/>
                  </a:lnTo>
                  <a:lnTo>
                    <a:pt x="101" y="3"/>
                  </a:lnTo>
                  <a:lnTo>
                    <a:pt x="14" y="0"/>
                  </a:lnTo>
                  <a:lnTo>
                    <a:pt x="11" y="12"/>
                  </a:lnTo>
                  <a:lnTo>
                    <a:pt x="18" y="28"/>
                  </a:lnTo>
                  <a:lnTo>
                    <a:pt x="22" y="64"/>
                  </a:lnTo>
                  <a:lnTo>
                    <a:pt x="23" y="75"/>
                  </a:lnTo>
                  <a:lnTo>
                    <a:pt x="19" y="81"/>
                  </a:lnTo>
                  <a:lnTo>
                    <a:pt x="24" y="84"/>
                  </a:lnTo>
                  <a:lnTo>
                    <a:pt x="32" y="119"/>
                  </a:lnTo>
                  <a:lnTo>
                    <a:pt x="20" y="130"/>
                  </a:lnTo>
                  <a:lnTo>
                    <a:pt x="11" y="163"/>
                  </a:lnTo>
                  <a:lnTo>
                    <a:pt x="1" y="177"/>
                  </a:lnTo>
                  <a:lnTo>
                    <a:pt x="0" y="192"/>
                  </a:lnTo>
                  <a:lnTo>
                    <a:pt x="9" y="226"/>
                  </a:lnTo>
                  <a:lnTo>
                    <a:pt x="19" y="232"/>
                  </a:lnTo>
                  <a:lnTo>
                    <a:pt x="21" y="253"/>
                  </a:lnTo>
                  <a:lnTo>
                    <a:pt x="9" y="253"/>
                  </a:lnTo>
                  <a:lnTo>
                    <a:pt x="3" y="258"/>
                  </a:lnTo>
                  <a:lnTo>
                    <a:pt x="51" y="274"/>
                  </a:lnTo>
                  <a:lnTo>
                    <a:pt x="74" y="260"/>
                  </a:lnTo>
                  <a:lnTo>
                    <a:pt x="107" y="252"/>
                  </a:lnTo>
                  <a:lnTo>
                    <a:pt x="144" y="231"/>
                  </a:lnTo>
                  <a:lnTo>
                    <a:pt x="148" y="230"/>
                  </a:lnTo>
                  <a:lnTo>
                    <a:pt x="178" y="228"/>
                  </a:lnTo>
                  <a:lnTo>
                    <a:pt x="190" y="215"/>
                  </a:lnTo>
                  <a:close/>
                </a:path>
              </a:pathLst>
            </a:custGeom>
            <a:grpFill/>
            <a:ln w="6350">
              <a:solidFill>
                <a:schemeClr val="tx2"/>
              </a:solidFill>
              <a:round/>
              <a:headEnd/>
              <a:tailEnd/>
            </a:ln>
          </p:spPr>
          <p:txBody>
            <a:bodyPr/>
            <a:lstStyle/>
            <a:p>
              <a:endParaRPr lang="en-US"/>
            </a:p>
          </p:txBody>
        </p:sp>
        <p:sp>
          <p:nvSpPr>
            <p:cNvPr id="583" name="Freeform 1485"/>
            <p:cNvSpPr>
              <a:spLocks/>
            </p:cNvSpPr>
            <p:nvPr/>
          </p:nvSpPr>
          <p:spPr bwMode="auto">
            <a:xfrm>
              <a:off x="4255734" y="4087304"/>
              <a:ext cx="63718" cy="16688"/>
            </a:xfrm>
            <a:custGeom>
              <a:avLst/>
              <a:gdLst>
                <a:gd name="T0" fmla="*/ 2147483647 w 132"/>
                <a:gd name="T1" fmla="*/ 2147483647 h 36"/>
                <a:gd name="T2" fmla="*/ 2147483647 w 132"/>
                <a:gd name="T3" fmla="*/ 2147483647 h 36"/>
                <a:gd name="T4" fmla="*/ 2147483647 w 132"/>
                <a:gd name="T5" fmla="*/ 2147483647 h 36"/>
                <a:gd name="T6" fmla="*/ 2147483647 w 132"/>
                <a:gd name="T7" fmla="*/ 0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2147483647 h 36"/>
                <a:gd name="T20" fmla="*/ 2147483647 w 132"/>
                <a:gd name="T21" fmla="*/ 2147483647 h 36"/>
                <a:gd name="T22" fmla="*/ 2147483647 w 132"/>
                <a:gd name="T23" fmla="*/ 2147483647 h 36"/>
                <a:gd name="T24" fmla="*/ 2147483647 w 132"/>
                <a:gd name="T25" fmla="*/ 2147483647 h 36"/>
                <a:gd name="T26" fmla="*/ 2147483647 w 132"/>
                <a:gd name="T27" fmla="*/ 2147483647 h 36"/>
                <a:gd name="T28" fmla="*/ 0 w 132"/>
                <a:gd name="T29" fmla="*/ 2147483647 h 36"/>
                <a:gd name="T30" fmla="*/ 2147483647 w 132"/>
                <a:gd name="T31" fmla="*/ 2147483647 h 36"/>
                <a:gd name="T32" fmla="*/ 2147483647 w 132"/>
                <a:gd name="T33" fmla="*/ 2147483647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2"/>
                <a:gd name="T52" fmla="*/ 0 h 36"/>
                <a:gd name="T53" fmla="*/ 132 w 132"/>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2" h="36">
                  <a:moveTo>
                    <a:pt x="12" y="11"/>
                  </a:moveTo>
                  <a:lnTo>
                    <a:pt x="55" y="11"/>
                  </a:lnTo>
                  <a:lnTo>
                    <a:pt x="64" y="3"/>
                  </a:lnTo>
                  <a:lnTo>
                    <a:pt x="76" y="0"/>
                  </a:lnTo>
                  <a:lnTo>
                    <a:pt x="106" y="16"/>
                  </a:lnTo>
                  <a:lnTo>
                    <a:pt x="131" y="13"/>
                  </a:lnTo>
                  <a:lnTo>
                    <a:pt x="132" y="20"/>
                  </a:lnTo>
                  <a:lnTo>
                    <a:pt x="114" y="28"/>
                  </a:lnTo>
                  <a:lnTo>
                    <a:pt x="74" y="13"/>
                  </a:lnTo>
                  <a:lnTo>
                    <a:pt x="61" y="21"/>
                  </a:lnTo>
                  <a:lnTo>
                    <a:pt x="46" y="21"/>
                  </a:lnTo>
                  <a:lnTo>
                    <a:pt x="42" y="29"/>
                  </a:lnTo>
                  <a:lnTo>
                    <a:pt x="6" y="31"/>
                  </a:lnTo>
                  <a:lnTo>
                    <a:pt x="3" y="36"/>
                  </a:lnTo>
                  <a:lnTo>
                    <a:pt x="0" y="22"/>
                  </a:lnTo>
                  <a:lnTo>
                    <a:pt x="11" y="17"/>
                  </a:lnTo>
                  <a:lnTo>
                    <a:pt x="12" y="11"/>
                  </a:lnTo>
                  <a:close/>
                </a:path>
              </a:pathLst>
            </a:custGeom>
            <a:grpFill/>
            <a:ln w="6350">
              <a:solidFill>
                <a:schemeClr val="tx2"/>
              </a:solidFill>
              <a:round/>
              <a:headEnd/>
              <a:tailEnd/>
            </a:ln>
          </p:spPr>
          <p:txBody>
            <a:bodyPr/>
            <a:lstStyle/>
            <a:p>
              <a:endParaRPr lang="en-US"/>
            </a:p>
          </p:txBody>
        </p:sp>
        <p:sp>
          <p:nvSpPr>
            <p:cNvPr id="584" name="Freeform 1486"/>
            <p:cNvSpPr>
              <a:spLocks/>
            </p:cNvSpPr>
            <p:nvPr/>
          </p:nvSpPr>
          <p:spPr bwMode="auto">
            <a:xfrm>
              <a:off x="4255734" y="4111577"/>
              <a:ext cx="69787" cy="39445"/>
            </a:xfrm>
            <a:custGeom>
              <a:avLst/>
              <a:gdLst>
                <a:gd name="T0" fmla="*/ 2147483647 w 135"/>
                <a:gd name="T1" fmla="*/ 2147483647 h 78"/>
                <a:gd name="T2" fmla="*/ 2147483647 w 135"/>
                <a:gd name="T3" fmla="*/ 2147483647 h 78"/>
                <a:gd name="T4" fmla="*/ 2147483647 w 135"/>
                <a:gd name="T5" fmla="*/ 2147483647 h 78"/>
                <a:gd name="T6" fmla="*/ 2147483647 w 135"/>
                <a:gd name="T7" fmla="*/ 2147483647 h 78"/>
                <a:gd name="T8" fmla="*/ 2147483647 w 135"/>
                <a:gd name="T9" fmla="*/ 2147483647 h 78"/>
                <a:gd name="T10" fmla="*/ 2147483647 w 135"/>
                <a:gd name="T11" fmla="*/ 2147483647 h 78"/>
                <a:gd name="T12" fmla="*/ 2147483647 w 135"/>
                <a:gd name="T13" fmla="*/ 2147483647 h 78"/>
                <a:gd name="T14" fmla="*/ 2147483647 w 135"/>
                <a:gd name="T15" fmla="*/ 0 h 78"/>
                <a:gd name="T16" fmla="*/ 2147483647 w 135"/>
                <a:gd name="T17" fmla="*/ 2147483647 h 78"/>
                <a:gd name="T18" fmla="*/ 2147483647 w 135"/>
                <a:gd name="T19" fmla="*/ 2147483647 h 78"/>
                <a:gd name="T20" fmla="*/ 2147483647 w 135"/>
                <a:gd name="T21" fmla="*/ 2147483647 h 78"/>
                <a:gd name="T22" fmla="*/ 2147483647 w 135"/>
                <a:gd name="T23" fmla="*/ 2147483647 h 78"/>
                <a:gd name="T24" fmla="*/ 0 w 135"/>
                <a:gd name="T25" fmla="*/ 2147483647 h 78"/>
                <a:gd name="T26" fmla="*/ 2147483647 w 135"/>
                <a:gd name="T27" fmla="*/ 2147483647 h 78"/>
                <a:gd name="T28" fmla="*/ 2147483647 w 135"/>
                <a:gd name="T29" fmla="*/ 2147483647 h 78"/>
                <a:gd name="T30" fmla="*/ 2147483647 w 135"/>
                <a:gd name="T31" fmla="*/ 2147483647 h 78"/>
                <a:gd name="T32" fmla="*/ 2147483647 w 135"/>
                <a:gd name="T33" fmla="*/ 2147483647 h 78"/>
                <a:gd name="T34" fmla="*/ 2147483647 w 135"/>
                <a:gd name="T35" fmla="*/ 2147483647 h 78"/>
                <a:gd name="T36" fmla="*/ 2147483647 w 135"/>
                <a:gd name="T37" fmla="*/ 2147483647 h 78"/>
                <a:gd name="T38" fmla="*/ 2147483647 w 135"/>
                <a:gd name="T39" fmla="*/ 2147483647 h 78"/>
                <a:gd name="T40" fmla="*/ 2147483647 w 135"/>
                <a:gd name="T41" fmla="*/ 2147483647 h 78"/>
                <a:gd name="T42" fmla="*/ 2147483647 w 135"/>
                <a:gd name="T43" fmla="*/ 2147483647 h 78"/>
                <a:gd name="T44" fmla="*/ 2147483647 w 135"/>
                <a:gd name="T45" fmla="*/ 2147483647 h 78"/>
                <a:gd name="T46" fmla="*/ 2147483647 w 135"/>
                <a:gd name="T47" fmla="*/ 2147483647 h 78"/>
                <a:gd name="T48" fmla="*/ 2147483647 w 135"/>
                <a:gd name="T49" fmla="*/ 2147483647 h 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78"/>
                <a:gd name="T77" fmla="*/ 135 w 135"/>
                <a:gd name="T78" fmla="*/ 78 h 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78">
                  <a:moveTo>
                    <a:pt x="72" y="78"/>
                  </a:moveTo>
                  <a:lnTo>
                    <a:pt x="80" y="73"/>
                  </a:lnTo>
                  <a:lnTo>
                    <a:pt x="93" y="53"/>
                  </a:lnTo>
                  <a:lnTo>
                    <a:pt x="131" y="45"/>
                  </a:lnTo>
                  <a:lnTo>
                    <a:pt x="130" y="30"/>
                  </a:lnTo>
                  <a:lnTo>
                    <a:pt x="122" y="24"/>
                  </a:lnTo>
                  <a:lnTo>
                    <a:pt x="135" y="15"/>
                  </a:lnTo>
                  <a:lnTo>
                    <a:pt x="131" y="0"/>
                  </a:lnTo>
                  <a:lnTo>
                    <a:pt x="71" y="1"/>
                  </a:lnTo>
                  <a:lnTo>
                    <a:pt x="44" y="12"/>
                  </a:lnTo>
                  <a:lnTo>
                    <a:pt x="22" y="11"/>
                  </a:lnTo>
                  <a:lnTo>
                    <a:pt x="10" y="16"/>
                  </a:lnTo>
                  <a:lnTo>
                    <a:pt x="0" y="13"/>
                  </a:lnTo>
                  <a:lnTo>
                    <a:pt x="3" y="22"/>
                  </a:lnTo>
                  <a:lnTo>
                    <a:pt x="19" y="27"/>
                  </a:lnTo>
                  <a:lnTo>
                    <a:pt x="22" y="37"/>
                  </a:lnTo>
                  <a:lnTo>
                    <a:pt x="35" y="38"/>
                  </a:lnTo>
                  <a:lnTo>
                    <a:pt x="38" y="46"/>
                  </a:lnTo>
                  <a:lnTo>
                    <a:pt x="81" y="35"/>
                  </a:lnTo>
                  <a:lnTo>
                    <a:pt x="80" y="39"/>
                  </a:lnTo>
                  <a:lnTo>
                    <a:pt x="54" y="47"/>
                  </a:lnTo>
                  <a:lnTo>
                    <a:pt x="58" y="68"/>
                  </a:lnTo>
                  <a:lnTo>
                    <a:pt x="62" y="73"/>
                  </a:lnTo>
                  <a:lnTo>
                    <a:pt x="73" y="73"/>
                  </a:lnTo>
                  <a:lnTo>
                    <a:pt x="72" y="78"/>
                  </a:lnTo>
                  <a:close/>
                </a:path>
              </a:pathLst>
            </a:custGeom>
            <a:grpFill/>
            <a:ln w="6350">
              <a:solidFill>
                <a:schemeClr val="tx2"/>
              </a:solidFill>
              <a:round/>
              <a:headEnd/>
              <a:tailEnd/>
            </a:ln>
          </p:spPr>
          <p:txBody>
            <a:bodyPr/>
            <a:lstStyle/>
            <a:p>
              <a:endParaRPr lang="en-US"/>
            </a:p>
          </p:txBody>
        </p:sp>
        <p:sp>
          <p:nvSpPr>
            <p:cNvPr id="585" name="Freeform 1487"/>
            <p:cNvSpPr>
              <a:spLocks/>
            </p:cNvSpPr>
            <p:nvPr/>
          </p:nvSpPr>
          <p:spPr bwMode="auto">
            <a:xfrm>
              <a:off x="4331589" y="4172261"/>
              <a:ext cx="63718" cy="63718"/>
            </a:xfrm>
            <a:custGeom>
              <a:avLst/>
              <a:gdLst>
                <a:gd name="T0" fmla="*/ 2147483647 w 128"/>
                <a:gd name="T1" fmla="*/ 2147483647 h 129"/>
                <a:gd name="T2" fmla="*/ 2147483647 w 128"/>
                <a:gd name="T3" fmla="*/ 2147483647 h 129"/>
                <a:gd name="T4" fmla="*/ 2147483647 w 128"/>
                <a:gd name="T5" fmla="*/ 2147483647 h 129"/>
                <a:gd name="T6" fmla="*/ 2147483647 w 128"/>
                <a:gd name="T7" fmla="*/ 2147483647 h 129"/>
                <a:gd name="T8" fmla="*/ 2147483647 w 128"/>
                <a:gd name="T9" fmla="*/ 2147483647 h 129"/>
                <a:gd name="T10" fmla="*/ 2147483647 w 128"/>
                <a:gd name="T11" fmla="*/ 2147483647 h 129"/>
                <a:gd name="T12" fmla="*/ 2147483647 w 128"/>
                <a:gd name="T13" fmla="*/ 2147483647 h 129"/>
                <a:gd name="T14" fmla="*/ 2147483647 w 128"/>
                <a:gd name="T15" fmla="*/ 2147483647 h 129"/>
                <a:gd name="T16" fmla="*/ 2147483647 w 128"/>
                <a:gd name="T17" fmla="*/ 2147483647 h 129"/>
                <a:gd name="T18" fmla="*/ 2147483647 w 128"/>
                <a:gd name="T19" fmla="*/ 2147483647 h 129"/>
                <a:gd name="T20" fmla="*/ 2147483647 w 128"/>
                <a:gd name="T21" fmla="*/ 2147483647 h 129"/>
                <a:gd name="T22" fmla="*/ 2147483647 w 128"/>
                <a:gd name="T23" fmla="*/ 2147483647 h 129"/>
                <a:gd name="T24" fmla="*/ 2147483647 w 128"/>
                <a:gd name="T25" fmla="*/ 2147483647 h 129"/>
                <a:gd name="T26" fmla="*/ 2147483647 w 128"/>
                <a:gd name="T27" fmla="*/ 2147483647 h 129"/>
                <a:gd name="T28" fmla="*/ 2147483647 w 128"/>
                <a:gd name="T29" fmla="*/ 2147483647 h 129"/>
                <a:gd name="T30" fmla="*/ 2147483647 w 128"/>
                <a:gd name="T31" fmla="*/ 0 h 129"/>
                <a:gd name="T32" fmla="*/ 2147483647 w 128"/>
                <a:gd name="T33" fmla="*/ 2147483647 h 129"/>
                <a:gd name="T34" fmla="*/ 2147483647 w 128"/>
                <a:gd name="T35" fmla="*/ 2147483647 h 129"/>
                <a:gd name="T36" fmla="*/ 2147483647 w 128"/>
                <a:gd name="T37" fmla="*/ 2147483647 h 129"/>
                <a:gd name="T38" fmla="*/ 0 w 128"/>
                <a:gd name="T39" fmla="*/ 2147483647 h 129"/>
                <a:gd name="T40" fmla="*/ 2147483647 w 128"/>
                <a:gd name="T41" fmla="*/ 2147483647 h 129"/>
                <a:gd name="T42" fmla="*/ 2147483647 w 128"/>
                <a:gd name="T43" fmla="*/ 2147483647 h 129"/>
                <a:gd name="T44" fmla="*/ 2147483647 w 128"/>
                <a:gd name="T45" fmla="*/ 2147483647 h 129"/>
                <a:gd name="T46" fmla="*/ 2147483647 w 128"/>
                <a:gd name="T47" fmla="*/ 2147483647 h 129"/>
                <a:gd name="T48" fmla="*/ 2147483647 w 128"/>
                <a:gd name="T49" fmla="*/ 2147483647 h 129"/>
                <a:gd name="T50" fmla="*/ 2147483647 w 128"/>
                <a:gd name="T51" fmla="*/ 2147483647 h 129"/>
                <a:gd name="T52" fmla="*/ 2147483647 w 128"/>
                <a:gd name="T53" fmla="*/ 2147483647 h 129"/>
                <a:gd name="T54" fmla="*/ 2147483647 w 128"/>
                <a:gd name="T55" fmla="*/ 2147483647 h 129"/>
                <a:gd name="T56" fmla="*/ 2147483647 w 128"/>
                <a:gd name="T57" fmla="*/ 2147483647 h 1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8"/>
                <a:gd name="T88" fmla="*/ 0 h 129"/>
                <a:gd name="T89" fmla="*/ 128 w 128"/>
                <a:gd name="T90" fmla="*/ 129 h 12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8" h="129">
                  <a:moveTo>
                    <a:pt x="77" y="129"/>
                  </a:moveTo>
                  <a:lnTo>
                    <a:pt x="86" y="116"/>
                  </a:lnTo>
                  <a:lnTo>
                    <a:pt x="115" y="94"/>
                  </a:lnTo>
                  <a:lnTo>
                    <a:pt x="115" y="82"/>
                  </a:lnTo>
                  <a:lnTo>
                    <a:pt x="128" y="76"/>
                  </a:lnTo>
                  <a:lnTo>
                    <a:pt x="126" y="68"/>
                  </a:lnTo>
                  <a:lnTo>
                    <a:pt x="125" y="62"/>
                  </a:lnTo>
                  <a:lnTo>
                    <a:pt x="110" y="71"/>
                  </a:lnTo>
                  <a:lnTo>
                    <a:pt x="114" y="55"/>
                  </a:lnTo>
                  <a:lnTo>
                    <a:pt x="119" y="53"/>
                  </a:lnTo>
                  <a:lnTo>
                    <a:pt x="118" y="44"/>
                  </a:lnTo>
                  <a:lnTo>
                    <a:pt x="112" y="38"/>
                  </a:lnTo>
                  <a:lnTo>
                    <a:pt x="112" y="26"/>
                  </a:lnTo>
                  <a:lnTo>
                    <a:pt x="103" y="23"/>
                  </a:lnTo>
                  <a:lnTo>
                    <a:pt x="101" y="14"/>
                  </a:lnTo>
                  <a:lnTo>
                    <a:pt x="88" y="0"/>
                  </a:lnTo>
                  <a:lnTo>
                    <a:pt x="35" y="3"/>
                  </a:lnTo>
                  <a:lnTo>
                    <a:pt x="30" y="16"/>
                  </a:lnTo>
                  <a:lnTo>
                    <a:pt x="12" y="36"/>
                  </a:lnTo>
                  <a:lnTo>
                    <a:pt x="0" y="37"/>
                  </a:lnTo>
                  <a:lnTo>
                    <a:pt x="1" y="59"/>
                  </a:lnTo>
                  <a:lnTo>
                    <a:pt x="8" y="65"/>
                  </a:lnTo>
                  <a:lnTo>
                    <a:pt x="2" y="66"/>
                  </a:lnTo>
                  <a:lnTo>
                    <a:pt x="2" y="71"/>
                  </a:lnTo>
                  <a:lnTo>
                    <a:pt x="14" y="82"/>
                  </a:lnTo>
                  <a:lnTo>
                    <a:pt x="15" y="91"/>
                  </a:lnTo>
                  <a:lnTo>
                    <a:pt x="34" y="104"/>
                  </a:lnTo>
                  <a:lnTo>
                    <a:pt x="38" y="113"/>
                  </a:lnTo>
                  <a:lnTo>
                    <a:pt x="77" y="129"/>
                  </a:lnTo>
                  <a:close/>
                </a:path>
              </a:pathLst>
            </a:custGeom>
            <a:grpFill/>
            <a:ln w="6350">
              <a:solidFill>
                <a:schemeClr val="tx2"/>
              </a:solidFill>
              <a:round/>
              <a:headEnd/>
              <a:tailEnd/>
            </a:ln>
          </p:spPr>
          <p:txBody>
            <a:bodyPr/>
            <a:lstStyle/>
            <a:p>
              <a:endParaRPr lang="en-US"/>
            </a:p>
          </p:txBody>
        </p:sp>
        <p:sp>
          <p:nvSpPr>
            <p:cNvPr id="586" name="Freeform 1488"/>
            <p:cNvSpPr>
              <a:spLocks/>
            </p:cNvSpPr>
            <p:nvPr/>
          </p:nvSpPr>
          <p:spPr bwMode="auto">
            <a:xfrm>
              <a:off x="4240562" y="4023584"/>
              <a:ext cx="130472" cy="95578"/>
            </a:xfrm>
            <a:custGeom>
              <a:avLst/>
              <a:gdLst>
                <a:gd name="T0" fmla="*/ 2147483647 w 268"/>
                <a:gd name="T1" fmla="*/ 2147483647 h 191"/>
                <a:gd name="T2" fmla="*/ 2147483647 w 268"/>
                <a:gd name="T3" fmla="*/ 2147483647 h 191"/>
                <a:gd name="T4" fmla="*/ 2147483647 w 268"/>
                <a:gd name="T5" fmla="*/ 2147483647 h 191"/>
                <a:gd name="T6" fmla="*/ 2147483647 w 268"/>
                <a:gd name="T7" fmla="*/ 2147483647 h 191"/>
                <a:gd name="T8" fmla="*/ 2147483647 w 268"/>
                <a:gd name="T9" fmla="*/ 2147483647 h 191"/>
                <a:gd name="T10" fmla="*/ 2147483647 w 268"/>
                <a:gd name="T11" fmla="*/ 2147483647 h 191"/>
                <a:gd name="T12" fmla="*/ 2147483647 w 268"/>
                <a:gd name="T13" fmla="*/ 2147483647 h 191"/>
                <a:gd name="T14" fmla="*/ 2147483647 w 268"/>
                <a:gd name="T15" fmla="*/ 2147483647 h 191"/>
                <a:gd name="T16" fmla="*/ 2147483647 w 268"/>
                <a:gd name="T17" fmla="*/ 2147483647 h 191"/>
                <a:gd name="T18" fmla="*/ 2147483647 w 268"/>
                <a:gd name="T19" fmla="*/ 2147483647 h 191"/>
                <a:gd name="T20" fmla="*/ 2147483647 w 268"/>
                <a:gd name="T21" fmla="*/ 2147483647 h 191"/>
                <a:gd name="T22" fmla="*/ 2147483647 w 268"/>
                <a:gd name="T23" fmla="*/ 2147483647 h 191"/>
                <a:gd name="T24" fmla="*/ 2147483647 w 268"/>
                <a:gd name="T25" fmla="*/ 2147483647 h 191"/>
                <a:gd name="T26" fmla="*/ 2147483647 w 268"/>
                <a:gd name="T27" fmla="*/ 2147483647 h 191"/>
                <a:gd name="T28" fmla="*/ 2147483647 w 268"/>
                <a:gd name="T29" fmla="*/ 2147483647 h 191"/>
                <a:gd name="T30" fmla="*/ 2147483647 w 268"/>
                <a:gd name="T31" fmla="*/ 2147483647 h 191"/>
                <a:gd name="T32" fmla="*/ 2147483647 w 268"/>
                <a:gd name="T33" fmla="*/ 2147483647 h 191"/>
                <a:gd name="T34" fmla="*/ 0 w 268"/>
                <a:gd name="T35" fmla="*/ 2147483647 h 191"/>
                <a:gd name="T36" fmla="*/ 2147483647 w 268"/>
                <a:gd name="T37" fmla="*/ 2147483647 h 191"/>
                <a:gd name="T38" fmla="*/ 2147483647 w 268"/>
                <a:gd name="T39" fmla="*/ 2147483647 h 191"/>
                <a:gd name="T40" fmla="*/ 2147483647 w 268"/>
                <a:gd name="T41" fmla="*/ 2147483647 h 191"/>
                <a:gd name="T42" fmla="*/ 2147483647 w 268"/>
                <a:gd name="T43" fmla="*/ 2147483647 h 191"/>
                <a:gd name="T44" fmla="*/ 2147483647 w 268"/>
                <a:gd name="T45" fmla="*/ 2147483647 h 191"/>
                <a:gd name="T46" fmla="*/ 2147483647 w 268"/>
                <a:gd name="T47" fmla="*/ 2147483647 h 191"/>
                <a:gd name="T48" fmla="*/ 2147483647 w 268"/>
                <a:gd name="T49" fmla="*/ 0 h 191"/>
                <a:gd name="T50" fmla="*/ 2147483647 w 268"/>
                <a:gd name="T51" fmla="*/ 2147483647 h 191"/>
                <a:gd name="T52" fmla="*/ 2147483647 w 268"/>
                <a:gd name="T53" fmla="*/ 2147483647 h 191"/>
                <a:gd name="T54" fmla="*/ 2147483647 w 268"/>
                <a:gd name="T55" fmla="*/ 2147483647 h 191"/>
                <a:gd name="T56" fmla="*/ 2147483647 w 268"/>
                <a:gd name="T57" fmla="*/ 2147483647 h 191"/>
                <a:gd name="T58" fmla="*/ 2147483647 w 268"/>
                <a:gd name="T59" fmla="*/ 2147483647 h 191"/>
                <a:gd name="T60" fmla="*/ 2147483647 w 268"/>
                <a:gd name="T61" fmla="*/ 2147483647 h 191"/>
                <a:gd name="T62" fmla="*/ 2147483647 w 268"/>
                <a:gd name="T63" fmla="*/ 2147483647 h 191"/>
                <a:gd name="T64" fmla="*/ 2147483647 w 268"/>
                <a:gd name="T65" fmla="*/ 2147483647 h 191"/>
                <a:gd name="T66" fmla="*/ 2147483647 w 268"/>
                <a:gd name="T67" fmla="*/ 2147483647 h 191"/>
                <a:gd name="T68" fmla="*/ 2147483647 w 268"/>
                <a:gd name="T69" fmla="*/ 2147483647 h 191"/>
                <a:gd name="T70" fmla="*/ 2147483647 w 268"/>
                <a:gd name="T71" fmla="*/ 2147483647 h 191"/>
                <a:gd name="T72" fmla="*/ 2147483647 w 268"/>
                <a:gd name="T73" fmla="*/ 2147483647 h 191"/>
                <a:gd name="T74" fmla="*/ 2147483647 w 268"/>
                <a:gd name="T75" fmla="*/ 2147483647 h 191"/>
                <a:gd name="T76" fmla="*/ 2147483647 w 268"/>
                <a:gd name="T77" fmla="*/ 2147483647 h 191"/>
                <a:gd name="T78" fmla="*/ 2147483647 w 268"/>
                <a:gd name="T79" fmla="*/ 2147483647 h 191"/>
                <a:gd name="T80" fmla="*/ 2147483647 w 268"/>
                <a:gd name="T81" fmla="*/ 2147483647 h 191"/>
                <a:gd name="T82" fmla="*/ 2147483647 w 268"/>
                <a:gd name="T83" fmla="*/ 2147483647 h 191"/>
                <a:gd name="T84" fmla="*/ 2147483647 w 268"/>
                <a:gd name="T85" fmla="*/ 2147483647 h 191"/>
                <a:gd name="T86" fmla="*/ 2147483647 w 268"/>
                <a:gd name="T87" fmla="*/ 2147483647 h 191"/>
                <a:gd name="T88" fmla="*/ 2147483647 w 268"/>
                <a:gd name="T89" fmla="*/ 2147483647 h 191"/>
                <a:gd name="T90" fmla="*/ 2147483647 w 268"/>
                <a:gd name="T91" fmla="*/ 2147483647 h 191"/>
                <a:gd name="T92" fmla="*/ 2147483647 w 268"/>
                <a:gd name="T93" fmla="*/ 2147483647 h 191"/>
                <a:gd name="T94" fmla="*/ 2147483647 w 268"/>
                <a:gd name="T95" fmla="*/ 2147483647 h 191"/>
                <a:gd name="T96" fmla="*/ 2147483647 w 268"/>
                <a:gd name="T97" fmla="*/ 2147483647 h 191"/>
                <a:gd name="T98" fmla="*/ 2147483647 w 268"/>
                <a:gd name="T99" fmla="*/ 2147483647 h 191"/>
                <a:gd name="T100" fmla="*/ 2147483647 w 268"/>
                <a:gd name="T101" fmla="*/ 2147483647 h 1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8"/>
                <a:gd name="T154" fmla="*/ 0 h 191"/>
                <a:gd name="T155" fmla="*/ 268 w 268"/>
                <a:gd name="T156" fmla="*/ 191 h 1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8" h="191">
                  <a:moveTo>
                    <a:pt x="36" y="188"/>
                  </a:moveTo>
                  <a:lnTo>
                    <a:pt x="35" y="161"/>
                  </a:lnTo>
                  <a:lnTo>
                    <a:pt x="38" y="156"/>
                  </a:lnTo>
                  <a:lnTo>
                    <a:pt x="74" y="154"/>
                  </a:lnTo>
                  <a:lnTo>
                    <a:pt x="78" y="146"/>
                  </a:lnTo>
                  <a:lnTo>
                    <a:pt x="93" y="146"/>
                  </a:lnTo>
                  <a:lnTo>
                    <a:pt x="106" y="138"/>
                  </a:lnTo>
                  <a:lnTo>
                    <a:pt x="146" y="153"/>
                  </a:lnTo>
                  <a:lnTo>
                    <a:pt x="164" y="145"/>
                  </a:lnTo>
                  <a:lnTo>
                    <a:pt x="163" y="138"/>
                  </a:lnTo>
                  <a:lnTo>
                    <a:pt x="138" y="141"/>
                  </a:lnTo>
                  <a:lnTo>
                    <a:pt x="108" y="125"/>
                  </a:lnTo>
                  <a:lnTo>
                    <a:pt x="96" y="128"/>
                  </a:lnTo>
                  <a:lnTo>
                    <a:pt x="87" y="136"/>
                  </a:lnTo>
                  <a:lnTo>
                    <a:pt x="44" y="136"/>
                  </a:lnTo>
                  <a:lnTo>
                    <a:pt x="12" y="87"/>
                  </a:lnTo>
                  <a:lnTo>
                    <a:pt x="4" y="91"/>
                  </a:lnTo>
                  <a:lnTo>
                    <a:pt x="0" y="86"/>
                  </a:lnTo>
                  <a:lnTo>
                    <a:pt x="14" y="81"/>
                  </a:lnTo>
                  <a:lnTo>
                    <a:pt x="28" y="67"/>
                  </a:lnTo>
                  <a:lnTo>
                    <a:pt x="44" y="44"/>
                  </a:lnTo>
                  <a:lnTo>
                    <a:pt x="45" y="26"/>
                  </a:lnTo>
                  <a:lnTo>
                    <a:pt x="55" y="6"/>
                  </a:lnTo>
                  <a:lnTo>
                    <a:pt x="80" y="9"/>
                  </a:lnTo>
                  <a:lnTo>
                    <a:pt x="106" y="0"/>
                  </a:lnTo>
                  <a:lnTo>
                    <a:pt x="137" y="1"/>
                  </a:lnTo>
                  <a:lnTo>
                    <a:pt x="159" y="24"/>
                  </a:lnTo>
                  <a:lnTo>
                    <a:pt x="176" y="24"/>
                  </a:lnTo>
                  <a:lnTo>
                    <a:pt x="187" y="45"/>
                  </a:lnTo>
                  <a:lnTo>
                    <a:pt x="199" y="52"/>
                  </a:lnTo>
                  <a:lnTo>
                    <a:pt x="204" y="61"/>
                  </a:lnTo>
                  <a:lnTo>
                    <a:pt x="202" y="63"/>
                  </a:lnTo>
                  <a:lnTo>
                    <a:pt x="233" y="86"/>
                  </a:lnTo>
                  <a:lnTo>
                    <a:pt x="234" y="101"/>
                  </a:lnTo>
                  <a:lnTo>
                    <a:pt x="240" y="107"/>
                  </a:lnTo>
                  <a:lnTo>
                    <a:pt x="244" y="122"/>
                  </a:lnTo>
                  <a:lnTo>
                    <a:pt x="240" y="133"/>
                  </a:lnTo>
                  <a:lnTo>
                    <a:pt x="248" y="145"/>
                  </a:lnTo>
                  <a:lnTo>
                    <a:pt x="257" y="145"/>
                  </a:lnTo>
                  <a:lnTo>
                    <a:pt x="268" y="163"/>
                  </a:lnTo>
                  <a:lnTo>
                    <a:pt x="268" y="188"/>
                  </a:lnTo>
                  <a:lnTo>
                    <a:pt x="226" y="191"/>
                  </a:lnTo>
                  <a:lnTo>
                    <a:pt x="202" y="183"/>
                  </a:lnTo>
                  <a:lnTo>
                    <a:pt x="195" y="186"/>
                  </a:lnTo>
                  <a:lnTo>
                    <a:pt x="193" y="178"/>
                  </a:lnTo>
                  <a:lnTo>
                    <a:pt x="167" y="175"/>
                  </a:lnTo>
                  <a:lnTo>
                    <a:pt x="107" y="176"/>
                  </a:lnTo>
                  <a:lnTo>
                    <a:pt x="80" y="187"/>
                  </a:lnTo>
                  <a:lnTo>
                    <a:pt x="58" y="186"/>
                  </a:lnTo>
                  <a:lnTo>
                    <a:pt x="46" y="191"/>
                  </a:lnTo>
                  <a:lnTo>
                    <a:pt x="36" y="188"/>
                  </a:lnTo>
                  <a:close/>
                </a:path>
              </a:pathLst>
            </a:custGeom>
            <a:grpFill/>
            <a:ln w="6350">
              <a:solidFill>
                <a:schemeClr val="tx2"/>
              </a:solidFill>
              <a:round/>
              <a:headEnd/>
              <a:tailEnd/>
            </a:ln>
          </p:spPr>
          <p:txBody>
            <a:bodyPr/>
            <a:lstStyle/>
            <a:p>
              <a:endParaRPr lang="en-US"/>
            </a:p>
          </p:txBody>
        </p:sp>
        <p:sp>
          <p:nvSpPr>
            <p:cNvPr id="587" name="Freeform 1493"/>
            <p:cNvSpPr>
              <a:spLocks/>
            </p:cNvSpPr>
            <p:nvPr/>
          </p:nvSpPr>
          <p:spPr bwMode="auto">
            <a:xfrm>
              <a:off x="4810997" y="3636720"/>
              <a:ext cx="339834" cy="326179"/>
            </a:xfrm>
            <a:custGeom>
              <a:avLst/>
              <a:gdLst>
                <a:gd name="T0" fmla="*/ 2147483647 w 683"/>
                <a:gd name="T1" fmla="*/ 2147483647 h 655"/>
                <a:gd name="T2" fmla="*/ 2147483647 w 683"/>
                <a:gd name="T3" fmla="*/ 2147483647 h 655"/>
                <a:gd name="T4" fmla="*/ 2147483647 w 683"/>
                <a:gd name="T5" fmla="*/ 2147483647 h 655"/>
                <a:gd name="T6" fmla="*/ 2147483647 w 683"/>
                <a:gd name="T7" fmla="*/ 2147483647 h 655"/>
                <a:gd name="T8" fmla="*/ 2147483647 w 683"/>
                <a:gd name="T9" fmla="*/ 2147483647 h 655"/>
                <a:gd name="T10" fmla="*/ 2147483647 w 683"/>
                <a:gd name="T11" fmla="*/ 2147483647 h 655"/>
                <a:gd name="T12" fmla="*/ 2147483647 w 683"/>
                <a:gd name="T13" fmla="*/ 2147483647 h 655"/>
                <a:gd name="T14" fmla="*/ 2147483647 w 683"/>
                <a:gd name="T15" fmla="*/ 2147483647 h 655"/>
                <a:gd name="T16" fmla="*/ 2147483647 w 683"/>
                <a:gd name="T17" fmla="*/ 2147483647 h 655"/>
                <a:gd name="T18" fmla="*/ 2147483647 w 683"/>
                <a:gd name="T19" fmla="*/ 2147483647 h 655"/>
                <a:gd name="T20" fmla="*/ 2147483647 w 683"/>
                <a:gd name="T21" fmla="*/ 2147483647 h 655"/>
                <a:gd name="T22" fmla="*/ 2147483647 w 683"/>
                <a:gd name="T23" fmla="*/ 2147483647 h 655"/>
                <a:gd name="T24" fmla="*/ 2147483647 w 683"/>
                <a:gd name="T25" fmla="*/ 2147483647 h 655"/>
                <a:gd name="T26" fmla="*/ 2147483647 w 683"/>
                <a:gd name="T27" fmla="*/ 2147483647 h 655"/>
                <a:gd name="T28" fmla="*/ 2147483647 w 683"/>
                <a:gd name="T29" fmla="*/ 2147483647 h 655"/>
                <a:gd name="T30" fmla="*/ 2147483647 w 683"/>
                <a:gd name="T31" fmla="*/ 2147483647 h 655"/>
                <a:gd name="T32" fmla="*/ 2147483647 w 683"/>
                <a:gd name="T33" fmla="*/ 0 h 655"/>
                <a:gd name="T34" fmla="*/ 2147483647 w 683"/>
                <a:gd name="T35" fmla="*/ 2147483647 h 655"/>
                <a:gd name="T36" fmla="*/ 2147483647 w 683"/>
                <a:gd name="T37" fmla="*/ 2147483647 h 655"/>
                <a:gd name="T38" fmla="*/ 2147483647 w 683"/>
                <a:gd name="T39" fmla="*/ 2147483647 h 655"/>
                <a:gd name="T40" fmla="*/ 2147483647 w 683"/>
                <a:gd name="T41" fmla="*/ 2147483647 h 655"/>
                <a:gd name="T42" fmla="*/ 2147483647 w 683"/>
                <a:gd name="T43" fmla="*/ 2147483647 h 655"/>
                <a:gd name="T44" fmla="*/ 2147483647 w 683"/>
                <a:gd name="T45" fmla="*/ 2147483647 h 655"/>
                <a:gd name="T46" fmla="*/ 2147483647 w 683"/>
                <a:gd name="T47" fmla="*/ 2147483647 h 655"/>
                <a:gd name="T48" fmla="*/ 2147483647 w 683"/>
                <a:gd name="T49" fmla="*/ 2147483647 h 655"/>
                <a:gd name="T50" fmla="*/ 2147483647 w 683"/>
                <a:gd name="T51" fmla="*/ 2147483647 h 655"/>
                <a:gd name="T52" fmla="*/ 2147483647 w 683"/>
                <a:gd name="T53" fmla="*/ 2147483647 h 655"/>
                <a:gd name="T54" fmla="*/ 2147483647 w 683"/>
                <a:gd name="T55" fmla="*/ 2147483647 h 655"/>
                <a:gd name="T56" fmla="*/ 2147483647 w 683"/>
                <a:gd name="T57" fmla="*/ 2147483647 h 655"/>
                <a:gd name="T58" fmla="*/ 2147483647 w 683"/>
                <a:gd name="T59" fmla="*/ 2147483647 h 655"/>
                <a:gd name="T60" fmla="*/ 2147483647 w 683"/>
                <a:gd name="T61" fmla="*/ 2147483647 h 655"/>
                <a:gd name="T62" fmla="*/ 2147483647 w 683"/>
                <a:gd name="T63" fmla="*/ 2147483647 h 655"/>
                <a:gd name="T64" fmla="*/ 2147483647 w 683"/>
                <a:gd name="T65" fmla="*/ 2147483647 h 655"/>
                <a:gd name="T66" fmla="*/ 2147483647 w 683"/>
                <a:gd name="T67" fmla="*/ 2147483647 h 655"/>
                <a:gd name="T68" fmla="*/ 2147483647 w 683"/>
                <a:gd name="T69" fmla="*/ 2147483647 h 655"/>
                <a:gd name="T70" fmla="*/ 2147483647 w 683"/>
                <a:gd name="T71" fmla="*/ 2147483647 h 655"/>
                <a:gd name="T72" fmla="*/ 2147483647 w 683"/>
                <a:gd name="T73" fmla="*/ 2147483647 h 655"/>
                <a:gd name="T74" fmla="*/ 2147483647 w 683"/>
                <a:gd name="T75" fmla="*/ 2147483647 h 655"/>
                <a:gd name="T76" fmla="*/ 2147483647 w 683"/>
                <a:gd name="T77" fmla="*/ 2147483647 h 655"/>
                <a:gd name="T78" fmla="*/ 2147483647 w 683"/>
                <a:gd name="T79" fmla="*/ 2147483647 h 65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3"/>
                <a:gd name="T121" fmla="*/ 0 h 655"/>
                <a:gd name="T122" fmla="*/ 683 w 683"/>
                <a:gd name="T123" fmla="*/ 655 h 65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3" h="655">
                  <a:moveTo>
                    <a:pt x="641" y="655"/>
                  </a:moveTo>
                  <a:lnTo>
                    <a:pt x="598" y="632"/>
                  </a:lnTo>
                  <a:lnTo>
                    <a:pt x="554" y="610"/>
                  </a:lnTo>
                  <a:lnTo>
                    <a:pt x="512" y="589"/>
                  </a:lnTo>
                  <a:lnTo>
                    <a:pt x="468" y="566"/>
                  </a:lnTo>
                  <a:lnTo>
                    <a:pt x="424" y="544"/>
                  </a:lnTo>
                  <a:lnTo>
                    <a:pt x="382" y="522"/>
                  </a:lnTo>
                  <a:lnTo>
                    <a:pt x="339" y="499"/>
                  </a:lnTo>
                  <a:lnTo>
                    <a:pt x="295" y="477"/>
                  </a:lnTo>
                  <a:lnTo>
                    <a:pt x="251" y="491"/>
                  </a:lnTo>
                  <a:lnTo>
                    <a:pt x="237" y="495"/>
                  </a:lnTo>
                  <a:lnTo>
                    <a:pt x="229" y="485"/>
                  </a:lnTo>
                  <a:lnTo>
                    <a:pt x="204" y="471"/>
                  </a:lnTo>
                  <a:lnTo>
                    <a:pt x="109" y="470"/>
                  </a:lnTo>
                  <a:lnTo>
                    <a:pt x="91" y="431"/>
                  </a:lnTo>
                  <a:lnTo>
                    <a:pt x="68" y="421"/>
                  </a:lnTo>
                  <a:lnTo>
                    <a:pt x="44" y="420"/>
                  </a:lnTo>
                  <a:lnTo>
                    <a:pt x="33" y="408"/>
                  </a:lnTo>
                  <a:lnTo>
                    <a:pt x="30" y="384"/>
                  </a:lnTo>
                  <a:lnTo>
                    <a:pt x="4" y="344"/>
                  </a:lnTo>
                  <a:lnTo>
                    <a:pt x="5" y="337"/>
                  </a:lnTo>
                  <a:lnTo>
                    <a:pt x="20" y="330"/>
                  </a:lnTo>
                  <a:lnTo>
                    <a:pt x="24" y="269"/>
                  </a:lnTo>
                  <a:lnTo>
                    <a:pt x="17" y="192"/>
                  </a:lnTo>
                  <a:lnTo>
                    <a:pt x="0" y="165"/>
                  </a:lnTo>
                  <a:lnTo>
                    <a:pt x="1" y="151"/>
                  </a:lnTo>
                  <a:lnTo>
                    <a:pt x="9" y="144"/>
                  </a:lnTo>
                  <a:lnTo>
                    <a:pt x="28" y="136"/>
                  </a:lnTo>
                  <a:lnTo>
                    <a:pt x="40" y="121"/>
                  </a:lnTo>
                  <a:lnTo>
                    <a:pt x="36" y="92"/>
                  </a:lnTo>
                  <a:lnTo>
                    <a:pt x="40" y="77"/>
                  </a:lnTo>
                  <a:lnTo>
                    <a:pt x="89" y="40"/>
                  </a:lnTo>
                  <a:lnTo>
                    <a:pt x="93" y="32"/>
                  </a:lnTo>
                  <a:lnTo>
                    <a:pt x="92" y="0"/>
                  </a:lnTo>
                  <a:lnTo>
                    <a:pt x="132" y="18"/>
                  </a:lnTo>
                  <a:lnTo>
                    <a:pt x="164" y="15"/>
                  </a:lnTo>
                  <a:lnTo>
                    <a:pt x="196" y="20"/>
                  </a:lnTo>
                  <a:lnTo>
                    <a:pt x="253" y="43"/>
                  </a:lnTo>
                  <a:lnTo>
                    <a:pt x="258" y="47"/>
                  </a:lnTo>
                  <a:lnTo>
                    <a:pt x="261" y="67"/>
                  </a:lnTo>
                  <a:lnTo>
                    <a:pt x="280" y="92"/>
                  </a:lnTo>
                  <a:lnTo>
                    <a:pt x="291" y="96"/>
                  </a:lnTo>
                  <a:lnTo>
                    <a:pt x="360" y="111"/>
                  </a:lnTo>
                  <a:lnTo>
                    <a:pt x="384" y="122"/>
                  </a:lnTo>
                  <a:lnTo>
                    <a:pt x="402" y="140"/>
                  </a:lnTo>
                  <a:lnTo>
                    <a:pt x="414" y="146"/>
                  </a:lnTo>
                  <a:lnTo>
                    <a:pt x="440" y="139"/>
                  </a:lnTo>
                  <a:lnTo>
                    <a:pt x="455" y="126"/>
                  </a:lnTo>
                  <a:lnTo>
                    <a:pt x="465" y="103"/>
                  </a:lnTo>
                  <a:lnTo>
                    <a:pt x="456" y="78"/>
                  </a:lnTo>
                  <a:lnTo>
                    <a:pt x="458" y="56"/>
                  </a:lnTo>
                  <a:lnTo>
                    <a:pt x="503" y="20"/>
                  </a:lnTo>
                  <a:lnTo>
                    <a:pt x="550" y="13"/>
                  </a:lnTo>
                  <a:lnTo>
                    <a:pt x="585" y="25"/>
                  </a:lnTo>
                  <a:lnTo>
                    <a:pt x="592" y="29"/>
                  </a:lnTo>
                  <a:lnTo>
                    <a:pt x="591" y="43"/>
                  </a:lnTo>
                  <a:lnTo>
                    <a:pt x="599" y="49"/>
                  </a:lnTo>
                  <a:lnTo>
                    <a:pt x="625" y="54"/>
                  </a:lnTo>
                  <a:lnTo>
                    <a:pt x="672" y="62"/>
                  </a:lnTo>
                  <a:lnTo>
                    <a:pt x="683" y="77"/>
                  </a:lnTo>
                  <a:lnTo>
                    <a:pt x="677" y="78"/>
                  </a:lnTo>
                  <a:lnTo>
                    <a:pt x="669" y="93"/>
                  </a:lnTo>
                  <a:lnTo>
                    <a:pt x="673" y="143"/>
                  </a:lnTo>
                  <a:lnTo>
                    <a:pt x="662" y="156"/>
                  </a:lnTo>
                  <a:lnTo>
                    <a:pt x="664" y="172"/>
                  </a:lnTo>
                  <a:lnTo>
                    <a:pt x="671" y="183"/>
                  </a:lnTo>
                  <a:lnTo>
                    <a:pt x="669" y="193"/>
                  </a:lnTo>
                  <a:lnTo>
                    <a:pt x="682" y="206"/>
                  </a:lnTo>
                  <a:lnTo>
                    <a:pt x="682" y="249"/>
                  </a:lnTo>
                  <a:lnTo>
                    <a:pt x="682" y="291"/>
                  </a:lnTo>
                  <a:lnTo>
                    <a:pt x="682" y="334"/>
                  </a:lnTo>
                  <a:lnTo>
                    <a:pt x="682" y="376"/>
                  </a:lnTo>
                  <a:lnTo>
                    <a:pt x="682" y="417"/>
                  </a:lnTo>
                  <a:lnTo>
                    <a:pt x="682" y="459"/>
                  </a:lnTo>
                  <a:lnTo>
                    <a:pt x="683" y="499"/>
                  </a:lnTo>
                  <a:lnTo>
                    <a:pt x="683" y="540"/>
                  </a:lnTo>
                  <a:lnTo>
                    <a:pt x="682" y="583"/>
                  </a:lnTo>
                  <a:lnTo>
                    <a:pt x="682" y="628"/>
                  </a:lnTo>
                  <a:lnTo>
                    <a:pt x="641" y="628"/>
                  </a:lnTo>
                  <a:lnTo>
                    <a:pt x="641" y="655"/>
                  </a:lnTo>
                  <a:close/>
                </a:path>
              </a:pathLst>
            </a:custGeom>
            <a:grpFill/>
            <a:ln w="6350">
              <a:solidFill>
                <a:schemeClr val="tx2"/>
              </a:solidFill>
              <a:round/>
              <a:headEnd/>
              <a:tailEnd/>
            </a:ln>
          </p:spPr>
          <p:txBody>
            <a:bodyPr/>
            <a:lstStyle/>
            <a:p>
              <a:endParaRPr lang="en-US"/>
            </a:p>
          </p:txBody>
        </p:sp>
        <p:sp>
          <p:nvSpPr>
            <p:cNvPr id="588" name="Freeform 1494"/>
            <p:cNvSpPr>
              <a:spLocks/>
            </p:cNvSpPr>
            <p:nvPr/>
          </p:nvSpPr>
          <p:spPr bwMode="auto">
            <a:xfrm>
              <a:off x="4898990" y="3873389"/>
              <a:ext cx="230601" cy="353488"/>
            </a:xfrm>
            <a:custGeom>
              <a:avLst/>
              <a:gdLst>
                <a:gd name="T0" fmla="*/ 2147483647 w 461"/>
                <a:gd name="T1" fmla="*/ 2147483647 h 710"/>
                <a:gd name="T2" fmla="*/ 2147483647 w 461"/>
                <a:gd name="T3" fmla="*/ 2147483647 h 710"/>
                <a:gd name="T4" fmla="*/ 2147483647 w 461"/>
                <a:gd name="T5" fmla="*/ 2147483647 h 710"/>
                <a:gd name="T6" fmla="*/ 2147483647 w 461"/>
                <a:gd name="T7" fmla="*/ 2147483647 h 710"/>
                <a:gd name="T8" fmla="*/ 2147483647 w 461"/>
                <a:gd name="T9" fmla="*/ 2147483647 h 710"/>
                <a:gd name="T10" fmla="*/ 2147483647 w 461"/>
                <a:gd name="T11" fmla="*/ 2147483647 h 710"/>
                <a:gd name="T12" fmla="*/ 2147483647 w 461"/>
                <a:gd name="T13" fmla="*/ 2147483647 h 710"/>
                <a:gd name="T14" fmla="*/ 2147483647 w 461"/>
                <a:gd name="T15" fmla="*/ 2147483647 h 710"/>
                <a:gd name="T16" fmla="*/ 2147483647 w 461"/>
                <a:gd name="T17" fmla="*/ 2147483647 h 710"/>
                <a:gd name="T18" fmla="*/ 2147483647 w 461"/>
                <a:gd name="T19" fmla="*/ 2147483647 h 710"/>
                <a:gd name="T20" fmla="*/ 2147483647 w 461"/>
                <a:gd name="T21" fmla="*/ 2147483647 h 710"/>
                <a:gd name="T22" fmla="*/ 2147483647 w 461"/>
                <a:gd name="T23" fmla="*/ 2147483647 h 710"/>
                <a:gd name="T24" fmla="*/ 2147483647 w 461"/>
                <a:gd name="T25" fmla="*/ 2147483647 h 710"/>
                <a:gd name="T26" fmla="*/ 2147483647 w 461"/>
                <a:gd name="T27" fmla="*/ 2147483647 h 710"/>
                <a:gd name="T28" fmla="*/ 2147483647 w 461"/>
                <a:gd name="T29" fmla="*/ 2147483647 h 710"/>
                <a:gd name="T30" fmla="*/ 2147483647 w 461"/>
                <a:gd name="T31" fmla="*/ 2147483647 h 710"/>
                <a:gd name="T32" fmla="*/ 2147483647 w 461"/>
                <a:gd name="T33" fmla="*/ 2147483647 h 710"/>
                <a:gd name="T34" fmla="*/ 2147483647 w 461"/>
                <a:gd name="T35" fmla="*/ 2147483647 h 710"/>
                <a:gd name="T36" fmla="*/ 2147483647 w 461"/>
                <a:gd name="T37" fmla="*/ 2147483647 h 710"/>
                <a:gd name="T38" fmla="*/ 2147483647 w 461"/>
                <a:gd name="T39" fmla="*/ 2147483647 h 710"/>
                <a:gd name="T40" fmla="*/ 2147483647 w 461"/>
                <a:gd name="T41" fmla="*/ 2147483647 h 710"/>
                <a:gd name="T42" fmla="*/ 2147483647 w 461"/>
                <a:gd name="T43" fmla="*/ 2147483647 h 710"/>
                <a:gd name="T44" fmla="*/ 2147483647 w 461"/>
                <a:gd name="T45" fmla="*/ 2147483647 h 710"/>
                <a:gd name="T46" fmla="*/ 2147483647 w 461"/>
                <a:gd name="T47" fmla="*/ 2147483647 h 710"/>
                <a:gd name="T48" fmla="*/ 2147483647 w 461"/>
                <a:gd name="T49" fmla="*/ 2147483647 h 710"/>
                <a:gd name="T50" fmla="*/ 2147483647 w 461"/>
                <a:gd name="T51" fmla="*/ 2147483647 h 710"/>
                <a:gd name="T52" fmla="*/ 2147483647 w 461"/>
                <a:gd name="T53" fmla="*/ 2147483647 h 710"/>
                <a:gd name="T54" fmla="*/ 2147483647 w 461"/>
                <a:gd name="T55" fmla="*/ 2147483647 h 710"/>
                <a:gd name="T56" fmla="*/ 2147483647 w 461"/>
                <a:gd name="T57" fmla="*/ 2147483647 h 710"/>
                <a:gd name="T58" fmla="*/ 2147483647 w 461"/>
                <a:gd name="T59" fmla="*/ 2147483647 h 710"/>
                <a:gd name="T60" fmla="*/ 2147483647 w 461"/>
                <a:gd name="T61" fmla="*/ 2147483647 h 710"/>
                <a:gd name="T62" fmla="*/ 2147483647 w 461"/>
                <a:gd name="T63" fmla="*/ 2147483647 h 710"/>
                <a:gd name="T64" fmla="*/ 2147483647 w 461"/>
                <a:gd name="T65" fmla="*/ 2147483647 h 710"/>
                <a:gd name="T66" fmla="*/ 2147483647 w 461"/>
                <a:gd name="T67" fmla="*/ 2147483647 h 710"/>
                <a:gd name="T68" fmla="*/ 2147483647 w 461"/>
                <a:gd name="T69" fmla="*/ 2147483647 h 7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1"/>
                <a:gd name="T106" fmla="*/ 0 h 710"/>
                <a:gd name="T107" fmla="*/ 461 w 461"/>
                <a:gd name="T108" fmla="*/ 710 h 7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1" h="710">
                  <a:moveTo>
                    <a:pt x="461" y="178"/>
                  </a:moveTo>
                  <a:lnTo>
                    <a:pt x="461" y="220"/>
                  </a:lnTo>
                  <a:lnTo>
                    <a:pt x="461" y="262"/>
                  </a:lnTo>
                  <a:lnTo>
                    <a:pt x="460" y="303"/>
                  </a:lnTo>
                  <a:lnTo>
                    <a:pt x="460" y="345"/>
                  </a:lnTo>
                  <a:lnTo>
                    <a:pt x="415" y="349"/>
                  </a:lnTo>
                  <a:lnTo>
                    <a:pt x="408" y="372"/>
                  </a:lnTo>
                  <a:lnTo>
                    <a:pt x="387" y="401"/>
                  </a:lnTo>
                  <a:lnTo>
                    <a:pt x="387" y="421"/>
                  </a:lnTo>
                  <a:lnTo>
                    <a:pt x="377" y="428"/>
                  </a:lnTo>
                  <a:lnTo>
                    <a:pt x="376" y="448"/>
                  </a:lnTo>
                  <a:lnTo>
                    <a:pt x="368" y="468"/>
                  </a:lnTo>
                  <a:lnTo>
                    <a:pt x="368" y="480"/>
                  </a:lnTo>
                  <a:lnTo>
                    <a:pt x="388" y="476"/>
                  </a:lnTo>
                  <a:lnTo>
                    <a:pt x="391" y="501"/>
                  </a:lnTo>
                  <a:lnTo>
                    <a:pt x="411" y="543"/>
                  </a:lnTo>
                  <a:lnTo>
                    <a:pt x="411" y="549"/>
                  </a:lnTo>
                  <a:lnTo>
                    <a:pt x="404" y="552"/>
                  </a:lnTo>
                  <a:lnTo>
                    <a:pt x="371" y="559"/>
                  </a:lnTo>
                  <a:lnTo>
                    <a:pt x="362" y="572"/>
                  </a:lnTo>
                  <a:lnTo>
                    <a:pt x="362" y="584"/>
                  </a:lnTo>
                  <a:lnTo>
                    <a:pt x="333" y="610"/>
                  </a:lnTo>
                  <a:lnTo>
                    <a:pt x="328" y="620"/>
                  </a:lnTo>
                  <a:lnTo>
                    <a:pt x="311" y="626"/>
                  </a:lnTo>
                  <a:lnTo>
                    <a:pt x="305" y="634"/>
                  </a:lnTo>
                  <a:lnTo>
                    <a:pt x="242" y="643"/>
                  </a:lnTo>
                  <a:lnTo>
                    <a:pt x="240" y="649"/>
                  </a:lnTo>
                  <a:lnTo>
                    <a:pt x="247" y="658"/>
                  </a:lnTo>
                  <a:lnTo>
                    <a:pt x="228" y="682"/>
                  </a:lnTo>
                  <a:lnTo>
                    <a:pt x="191" y="684"/>
                  </a:lnTo>
                  <a:lnTo>
                    <a:pt x="152" y="703"/>
                  </a:lnTo>
                  <a:lnTo>
                    <a:pt x="137" y="691"/>
                  </a:lnTo>
                  <a:lnTo>
                    <a:pt x="131" y="698"/>
                  </a:lnTo>
                  <a:lnTo>
                    <a:pt x="112" y="707"/>
                  </a:lnTo>
                  <a:lnTo>
                    <a:pt x="85" y="710"/>
                  </a:lnTo>
                  <a:lnTo>
                    <a:pt x="70" y="655"/>
                  </a:lnTo>
                  <a:lnTo>
                    <a:pt x="62" y="646"/>
                  </a:lnTo>
                  <a:lnTo>
                    <a:pt x="40" y="637"/>
                  </a:lnTo>
                  <a:lnTo>
                    <a:pt x="30" y="617"/>
                  </a:lnTo>
                  <a:lnTo>
                    <a:pt x="31" y="605"/>
                  </a:lnTo>
                  <a:lnTo>
                    <a:pt x="37" y="599"/>
                  </a:lnTo>
                  <a:lnTo>
                    <a:pt x="79" y="601"/>
                  </a:lnTo>
                  <a:lnTo>
                    <a:pt x="83" y="597"/>
                  </a:lnTo>
                  <a:lnTo>
                    <a:pt x="81" y="585"/>
                  </a:lnTo>
                  <a:lnTo>
                    <a:pt x="62" y="553"/>
                  </a:lnTo>
                  <a:lnTo>
                    <a:pt x="66" y="513"/>
                  </a:lnTo>
                  <a:lnTo>
                    <a:pt x="52" y="476"/>
                  </a:lnTo>
                  <a:lnTo>
                    <a:pt x="44" y="470"/>
                  </a:lnTo>
                  <a:lnTo>
                    <a:pt x="41" y="460"/>
                  </a:lnTo>
                  <a:lnTo>
                    <a:pt x="31" y="460"/>
                  </a:lnTo>
                  <a:lnTo>
                    <a:pt x="6" y="430"/>
                  </a:lnTo>
                  <a:lnTo>
                    <a:pt x="1" y="407"/>
                  </a:lnTo>
                  <a:lnTo>
                    <a:pt x="0" y="398"/>
                  </a:lnTo>
                  <a:lnTo>
                    <a:pt x="10" y="394"/>
                  </a:lnTo>
                  <a:lnTo>
                    <a:pt x="14" y="374"/>
                  </a:lnTo>
                  <a:lnTo>
                    <a:pt x="86" y="293"/>
                  </a:lnTo>
                  <a:lnTo>
                    <a:pt x="91" y="216"/>
                  </a:lnTo>
                  <a:lnTo>
                    <a:pt x="102" y="153"/>
                  </a:lnTo>
                  <a:lnTo>
                    <a:pt x="113" y="134"/>
                  </a:lnTo>
                  <a:lnTo>
                    <a:pt x="85" y="116"/>
                  </a:lnTo>
                  <a:lnTo>
                    <a:pt x="73" y="86"/>
                  </a:lnTo>
                  <a:lnTo>
                    <a:pt x="71" y="14"/>
                  </a:lnTo>
                  <a:lnTo>
                    <a:pt x="115" y="0"/>
                  </a:lnTo>
                  <a:lnTo>
                    <a:pt x="159" y="22"/>
                  </a:lnTo>
                  <a:lnTo>
                    <a:pt x="202" y="45"/>
                  </a:lnTo>
                  <a:lnTo>
                    <a:pt x="244" y="67"/>
                  </a:lnTo>
                  <a:lnTo>
                    <a:pt x="288" y="89"/>
                  </a:lnTo>
                  <a:lnTo>
                    <a:pt x="332" y="112"/>
                  </a:lnTo>
                  <a:lnTo>
                    <a:pt x="374" y="133"/>
                  </a:lnTo>
                  <a:lnTo>
                    <a:pt x="418" y="155"/>
                  </a:lnTo>
                  <a:lnTo>
                    <a:pt x="461" y="178"/>
                  </a:lnTo>
                  <a:close/>
                </a:path>
              </a:pathLst>
            </a:custGeom>
            <a:grpFill/>
            <a:ln w="6350">
              <a:solidFill>
                <a:schemeClr val="tx2"/>
              </a:solidFill>
              <a:round/>
              <a:headEnd/>
              <a:tailEnd/>
            </a:ln>
          </p:spPr>
          <p:txBody>
            <a:bodyPr/>
            <a:lstStyle/>
            <a:p>
              <a:endParaRPr lang="en-US"/>
            </a:p>
          </p:txBody>
        </p:sp>
        <p:sp>
          <p:nvSpPr>
            <p:cNvPr id="589" name="Freeform 1495"/>
            <p:cNvSpPr>
              <a:spLocks/>
            </p:cNvSpPr>
            <p:nvPr/>
          </p:nvSpPr>
          <p:spPr bwMode="auto">
            <a:xfrm>
              <a:off x="4337658" y="3566933"/>
              <a:ext cx="257910" cy="203293"/>
            </a:xfrm>
            <a:custGeom>
              <a:avLst/>
              <a:gdLst>
                <a:gd name="T0" fmla="*/ 2147483647 w 515"/>
                <a:gd name="T1" fmla="*/ 2147483647 h 413"/>
                <a:gd name="T2" fmla="*/ 2147483647 w 515"/>
                <a:gd name="T3" fmla="*/ 2147483647 h 413"/>
                <a:gd name="T4" fmla="*/ 2147483647 w 515"/>
                <a:gd name="T5" fmla="*/ 2147483647 h 413"/>
                <a:gd name="T6" fmla="*/ 2147483647 w 515"/>
                <a:gd name="T7" fmla="*/ 2147483647 h 413"/>
                <a:gd name="T8" fmla="*/ 0 w 515"/>
                <a:gd name="T9" fmla="*/ 2147483647 h 413"/>
                <a:gd name="T10" fmla="*/ 2147483647 w 515"/>
                <a:gd name="T11" fmla="*/ 2147483647 h 413"/>
                <a:gd name="T12" fmla="*/ 2147483647 w 515"/>
                <a:gd name="T13" fmla="*/ 2147483647 h 413"/>
                <a:gd name="T14" fmla="*/ 2147483647 w 515"/>
                <a:gd name="T15" fmla="*/ 2147483647 h 413"/>
                <a:gd name="T16" fmla="*/ 2147483647 w 515"/>
                <a:gd name="T17" fmla="*/ 2147483647 h 413"/>
                <a:gd name="T18" fmla="*/ 2147483647 w 515"/>
                <a:gd name="T19" fmla="*/ 2147483647 h 413"/>
                <a:gd name="T20" fmla="*/ 2147483647 w 515"/>
                <a:gd name="T21" fmla="*/ 2147483647 h 413"/>
                <a:gd name="T22" fmla="*/ 2147483647 w 515"/>
                <a:gd name="T23" fmla="*/ 2147483647 h 413"/>
                <a:gd name="T24" fmla="*/ 2147483647 w 515"/>
                <a:gd name="T25" fmla="*/ 2147483647 h 413"/>
                <a:gd name="T26" fmla="*/ 2147483647 w 515"/>
                <a:gd name="T27" fmla="*/ 2147483647 h 413"/>
                <a:gd name="T28" fmla="*/ 2147483647 w 515"/>
                <a:gd name="T29" fmla="*/ 2147483647 h 413"/>
                <a:gd name="T30" fmla="*/ 2147483647 w 515"/>
                <a:gd name="T31" fmla="*/ 2147483647 h 413"/>
                <a:gd name="T32" fmla="*/ 2147483647 w 515"/>
                <a:gd name="T33" fmla="*/ 2147483647 h 413"/>
                <a:gd name="T34" fmla="*/ 2147483647 w 515"/>
                <a:gd name="T35" fmla="*/ 2147483647 h 413"/>
                <a:gd name="T36" fmla="*/ 2147483647 w 515"/>
                <a:gd name="T37" fmla="*/ 2147483647 h 413"/>
                <a:gd name="T38" fmla="*/ 2147483647 w 515"/>
                <a:gd name="T39" fmla="*/ 2147483647 h 413"/>
                <a:gd name="T40" fmla="*/ 2147483647 w 515"/>
                <a:gd name="T41" fmla="*/ 2147483647 h 413"/>
                <a:gd name="T42" fmla="*/ 2147483647 w 515"/>
                <a:gd name="T43" fmla="*/ 2147483647 h 413"/>
                <a:gd name="T44" fmla="*/ 2147483647 w 515"/>
                <a:gd name="T45" fmla="*/ 0 h 413"/>
                <a:gd name="T46" fmla="*/ 2147483647 w 515"/>
                <a:gd name="T47" fmla="*/ 2147483647 h 413"/>
                <a:gd name="T48" fmla="*/ 2147483647 w 515"/>
                <a:gd name="T49" fmla="*/ 2147483647 h 413"/>
                <a:gd name="T50" fmla="*/ 2147483647 w 515"/>
                <a:gd name="T51" fmla="*/ 2147483647 h 413"/>
                <a:gd name="T52" fmla="*/ 2147483647 w 515"/>
                <a:gd name="T53" fmla="*/ 2147483647 h 413"/>
                <a:gd name="T54" fmla="*/ 2147483647 w 515"/>
                <a:gd name="T55" fmla="*/ 2147483647 h 413"/>
                <a:gd name="T56" fmla="*/ 2147483647 w 515"/>
                <a:gd name="T57" fmla="*/ 2147483647 h 413"/>
                <a:gd name="T58" fmla="*/ 2147483647 w 515"/>
                <a:gd name="T59" fmla="*/ 2147483647 h 413"/>
                <a:gd name="T60" fmla="*/ 2147483647 w 515"/>
                <a:gd name="T61" fmla="*/ 2147483647 h 413"/>
                <a:gd name="T62" fmla="*/ 2147483647 w 515"/>
                <a:gd name="T63" fmla="*/ 2147483647 h 413"/>
                <a:gd name="T64" fmla="*/ 2147483647 w 515"/>
                <a:gd name="T65" fmla="*/ 2147483647 h 413"/>
                <a:gd name="T66" fmla="*/ 2147483647 w 515"/>
                <a:gd name="T67" fmla="*/ 2147483647 h 413"/>
                <a:gd name="T68" fmla="*/ 2147483647 w 515"/>
                <a:gd name="T69" fmla="*/ 2147483647 h 413"/>
                <a:gd name="T70" fmla="*/ 2147483647 w 515"/>
                <a:gd name="T71" fmla="*/ 2147483647 h 413"/>
                <a:gd name="T72" fmla="*/ 2147483647 w 515"/>
                <a:gd name="T73" fmla="*/ 2147483647 h 413"/>
                <a:gd name="T74" fmla="*/ 2147483647 w 515"/>
                <a:gd name="T75" fmla="*/ 2147483647 h 413"/>
                <a:gd name="T76" fmla="*/ 2147483647 w 515"/>
                <a:gd name="T77" fmla="*/ 2147483647 h 413"/>
                <a:gd name="T78" fmla="*/ 2147483647 w 515"/>
                <a:gd name="T79" fmla="*/ 2147483647 h 413"/>
                <a:gd name="T80" fmla="*/ 2147483647 w 515"/>
                <a:gd name="T81" fmla="*/ 2147483647 h 413"/>
                <a:gd name="T82" fmla="*/ 2147483647 w 515"/>
                <a:gd name="T83" fmla="*/ 2147483647 h 413"/>
                <a:gd name="T84" fmla="*/ 2147483647 w 515"/>
                <a:gd name="T85" fmla="*/ 2147483647 h 413"/>
                <a:gd name="T86" fmla="*/ 2147483647 w 515"/>
                <a:gd name="T87" fmla="*/ 2147483647 h 413"/>
                <a:gd name="T88" fmla="*/ 2147483647 w 515"/>
                <a:gd name="T89" fmla="*/ 2147483647 h 413"/>
                <a:gd name="T90" fmla="*/ 2147483647 w 515"/>
                <a:gd name="T91" fmla="*/ 2147483647 h 413"/>
                <a:gd name="T92" fmla="*/ 2147483647 w 515"/>
                <a:gd name="T93" fmla="*/ 2147483647 h 413"/>
                <a:gd name="T94" fmla="*/ 2147483647 w 515"/>
                <a:gd name="T95" fmla="*/ 2147483647 h 413"/>
                <a:gd name="T96" fmla="*/ 2147483647 w 515"/>
                <a:gd name="T97" fmla="*/ 2147483647 h 413"/>
                <a:gd name="T98" fmla="*/ 2147483647 w 515"/>
                <a:gd name="T99" fmla="*/ 2147483647 h 413"/>
                <a:gd name="T100" fmla="*/ 2147483647 w 515"/>
                <a:gd name="T101" fmla="*/ 2147483647 h 413"/>
                <a:gd name="T102" fmla="*/ 2147483647 w 515"/>
                <a:gd name="T103" fmla="*/ 2147483647 h 413"/>
                <a:gd name="T104" fmla="*/ 2147483647 w 515"/>
                <a:gd name="T105" fmla="*/ 2147483647 h 413"/>
                <a:gd name="T106" fmla="*/ 2147483647 w 515"/>
                <a:gd name="T107" fmla="*/ 2147483647 h 413"/>
                <a:gd name="T108" fmla="*/ 2147483647 w 515"/>
                <a:gd name="T109" fmla="*/ 2147483647 h 413"/>
                <a:gd name="T110" fmla="*/ 2147483647 w 515"/>
                <a:gd name="T111" fmla="*/ 2147483647 h 413"/>
                <a:gd name="T112" fmla="*/ 2147483647 w 515"/>
                <a:gd name="T113" fmla="*/ 2147483647 h 413"/>
                <a:gd name="T114" fmla="*/ 2147483647 w 515"/>
                <a:gd name="T115" fmla="*/ 2147483647 h 413"/>
                <a:gd name="T116" fmla="*/ 2147483647 w 515"/>
                <a:gd name="T117" fmla="*/ 2147483647 h 413"/>
                <a:gd name="T118" fmla="*/ 2147483647 w 515"/>
                <a:gd name="T119" fmla="*/ 2147483647 h 413"/>
                <a:gd name="T120" fmla="*/ 2147483647 w 515"/>
                <a:gd name="T121" fmla="*/ 2147483647 h 413"/>
                <a:gd name="T122" fmla="*/ 2147483647 w 515"/>
                <a:gd name="T123" fmla="*/ 2147483647 h 413"/>
                <a:gd name="T124" fmla="*/ 2147483647 w 515"/>
                <a:gd name="T125" fmla="*/ 2147483647 h 41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5"/>
                <a:gd name="T190" fmla="*/ 0 h 413"/>
                <a:gd name="T191" fmla="*/ 515 w 515"/>
                <a:gd name="T192" fmla="*/ 413 h 41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5" h="413">
                  <a:moveTo>
                    <a:pt x="188" y="413"/>
                  </a:moveTo>
                  <a:lnTo>
                    <a:pt x="141" y="413"/>
                  </a:lnTo>
                  <a:lnTo>
                    <a:pt x="94" y="413"/>
                  </a:lnTo>
                  <a:lnTo>
                    <a:pt x="47" y="413"/>
                  </a:lnTo>
                  <a:lnTo>
                    <a:pt x="0" y="413"/>
                  </a:lnTo>
                  <a:lnTo>
                    <a:pt x="3" y="405"/>
                  </a:lnTo>
                  <a:lnTo>
                    <a:pt x="59" y="390"/>
                  </a:lnTo>
                  <a:lnTo>
                    <a:pt x="78" y="372"/>
                  </a:lnTo>
                  <a:lnTo>
                    <a:pt x="116" y="343"/>
                  </a:lnTo>
                  <a:lnTo>
                    <a:pt x="130" y="323"/>
                  </a:lnTo>
                  <a:lnTo>
                    <a:pt x="143" y="299"/>
                  </a:lnTo>
                  <a:lnTo>
                    <a:pt x="142" y="283"/>
                  </a:lnTo>
                  <a:lnTo>
                    <a:pt x="134" y="269"/>
                  </a:lnTo>
                  <a:lnTo>
                    <a:pt x="138" y="233"/>
                  </a:lnTo>
                  <a:lnTo>
                    <a:pt x="152" y="207"/>
                  </a:lnTo>
                  <a:lnTo>
                    <a:pt x="162" y="201"/>
                  </a:lnTo>
                  <a:lnTo>
                    <a:pt x="167" y="176"/>
                  </a:lnTo>
                  <a:lnTo>
                    <a:pt x="198" y="137"/>
                  </a:lnTo>
                  <a:lnTo>
                    <a:pt x="245" y="116"/>
                  </a:lnTo>
                  <a:lnTo>
                    <a:pt x="272" y="94"/>
                  </a:lnTo>
                  <a:lnTo>
                    <a:pt x="287" y="69"/>
                  </a:lnTo>
                  <a:lnTo>
                    <a:pt x="308" y="9"/>
                  </a:lnTo>
                  <a:lnTo>
                    <a:pt x="328" y="0"/>
                  </a:lnTo>
                  <a:lnTo>
                    <a:pt x="346" y="26"/>
                  </a:lnTo>
                  <a:lnTo>
                    <a:pt x="373" y="40"/>
                  </a:lnTo>
                  <a:lnTo>
                    <a:pt x="431" y="32"/>
                  </a:lnTo>
                  <a:lnTo>
                    <a:pt x="451" y="42"/>
                  </a:lnTo>
                  <a:lnTo>
                    <a:pt x="456" y="42"/>
                  </a:lnTo>
                  <a:lnTo>
                    <a:pt x="473" y="44"/>
                  </a:lnTo>
                  <a:lnTo>
                    <a:pt x="470" y="47"/>
                  </a:lnTo>
                  <a:lnTo>
                    <a:pt x="469" y="52"/>
                  </a:lnTo>
                  <a:lnTo>
                    <a:pt x="483" y="59"/>
                  </a:lnTo>
                  <a:lnTo>
                    <a:pt x="479" y="63"/>
                  </a:lnTo>
                  <a:lnTo>
                    <a:pt x="485" y="71"/>
                  </a:lnTo>
                  <a:lnTo>
                    <a:pt x="482" y="76"/>
                  </a:lnTo>
                  <a:lnTo>
                    <a:pt x="487" y="93"/>
                  </a:lnTo>
                  <a:lnTo>
                    <a:pt x="484" y="110"/>
                  </a:lnTo>
                  <a:lnTo>
                    <a:pt x="491" y="120"/>
                  </a:lnTo>
                  <a:lnTo>
                    <a:pt x="488" y="133"/>
                  </a:lnTo>
                  <a:lnTo>
                    <a:pt x="493" y="149"/>
                  </a:lnTo>
                  <a:lnTo>
                    <a:pt x="500" y="162"/>
                  </a:lnTo>
                  <a:lnTo>
                    <a:pt x="515" y="173"/>
                  </a:lnTo>
                  <a:lnTo>
                    <a:pt x="506" y="182"/>
                  </a:lnTo>
                  <a:lnTo>
                    <a:pt x="508" y="193"/>
                  </a:lnTo>
                  <a:lnTo>
                    <a:pt x="435" y="193"/>
                  </a:lnTo>
                  <a:lnTo>
                    <a:pt x="431" y="208"/>
                  </a:lnTo>
                  <a:lnTo>
                    <a:pt x="395" y="217"/>
                  </a:lnTo>
                  <a:lnTo>
                    <a:pt x="393" y="226"/>
                  </a:lnTo>
                  <a:lnTo>
                    <a:pt x="399" y="230"/>
                  </a:lnTo>
                  <a:lnTo>
                    <a:pt x="394" y="242"/>
                  </a:lnTo>
                  <a:lnTo>
                    <a:pt x="404" y="246"/>
                  </a:lnTo>
                  <a:lnTo>
                    <a:pt x="403" y="252"/>
                  </a:lnTo>
                  <a:lnTo>
                    <a:pt x="350" y="272"/>
                  </a:lnTo>
                  <a:lnTo>
                    <a:pt x="332" y="295"/>
                  </a:lnTo>
                  <a:lnTo>
                    <a:pt x="318" y="305"/>
                  </a:lnTo>
                  <a:lnTo>
                    <a:pt x="277" y="309"/>
                  </a:lnTo>
                  <a:lnTo>
                    <a:pt x="274" y="320"/>
                  </a:lnTo>
                  <a:lnTo>
                    <a:pt x="253" y="317"/>
                  </a:lnTo>
                  <a:lnTo>
                    <a:pt x="234" y="332"/>
                  </a:lnTo>
                  <a:lnTo>
                    <a:pt x="224" y="333"/>
                  </a:lnTo>
                  <a:lnTo>
                    <a:pt x="208" y="343"/>
                  </a:lnTo>
                  <a:lnTo>
                    <a:pt x="188" y="359"/>
                  </a:lnTo>
                  <a:lnTo>
                    <a:pt x="188" y="413"/>
                  </a:lnTo>
                  <a:close/>
                </a:path>
              </a:pathLst>
            </a:custGeom>
            <a:grpFill/>
            <a:ln w="6350">
              <a:solidFill>
                <a:schemeClr val="tx2"/>
              </a:solidFill>
              <a:round/>
              <a:headEnd/>
              <a:tailEnd/>
            </a:ln>
          </p:spPr>
          <p:txBody>
            <a:bodyPr/>
            <a:lstStyle/>
            <a:p>
              <a:endParaRPr lang="en-US"/>
            </a:p>
          </p:txBody>
        </p:sp>
        <p:sp>
          <p:nvSpPr>
            <p:cNvPr id="590" name="Freeform 1496"/>
            <p:cNvSpPr>
              <a:spLocks/>
            </p:cNvSpPr>
            <p:nvPr/>
          </p:nvSpPr>
          <p:spPr bwMode="auto">
            <a:xfrm>
              <a:off x="4252699" y="3782362"/>
              <a:ext cx="257910" cy="285217"/>
            </a:xfrm>
            <a:custGeom>
              <a:avLst/>
              <a:gdLst>
                <a:gd name="T0" fmla="*/ 2147483647 w 519"/>
                <a:gd name="T1" fmla="*/ 2147483647 h 574"/>
                <a:gd name="T2" fmla="*/ 2147483647 w 519"/>
                <a:gd name="T3" fmla="*/ 2147483647 h 574"/>
                <a:gd name="T4" fmla="*/ 2147483647 w 519"/>
                <a:gd name="T5" fmla="*/ 2147483647 h 574"/>
                <a:gd name="T6" fmla="*/ 2147483647 w 519"/>
                <a:gd name="T7" fmla="*/ 2147483647 h 574"/>
                <a:gd name="T8" fmla="*/ 2147483647 w 519"/>
                <a:gd name="T9" fmla="*/ 2147483647 h 574"/>
                <a:gd name="T10" fmla="*/ 2147483647 w 519"/>
                <a:gd name="T11" fmla="*/ 2147483647 h 574"/>
                <a:gd name="T12" fmla="*/ 2147483647 w 519"/>
                <a:gd name="T13" fmla="*/ 2147483647 h 574"/>
                <a:gd name="T14" fmla="*/ 2147483647 w 519"/>
                <a:gd name="T15" fmla="*/ 2147483647 h 574"/>
                <a:gd name="T16" fmla="*/ 2147483647 w 519"/>
                <a:gd name="T17" fmla="*/ 2147483647 h 574"/>
                <a:gd name="T18" fmla="*/ 2147483647 w 519"/>
                <a:gd name="T19" fmla="*/ 2147483647 h 574"/>
                <a:gd name="T20" fmla="*/ 2147483647 w 519"/>
                <a:gd name="T21" fmla="*/ 2147483647 h 574"/>
                <a:gd name="T22" fmla="*/ 2147483647 w 519"/>
                <a:gd name="T23" fmla="*/ 2147483647 h 574"/>
                <a:gd name="T24" fmla="*/ 2147483647 w 519"/>
                <a:gd name="T25" fmla="*/ 2147483647 h 574"/>
                <a:gd name="T26" fmla="*/ 2147483647 w 519"/>
                <a:gd name="T27" fmla="*/ 2147483647 h 574"/>
                <a:gd name="T28" fmla="*/ 2147483647 w 519"/>
                <a:gd name="T29" fmla="*/ 2147483647 h 574"/>
                <a:gd name="T30" fmla="*/ 2147483647 w 519"/>
                <a:gd name="T31" fmla="*/ 2147483647 h 574"/>
                <a:gd name="T32" fmla="*/ 2147483647 w 519"/>
                <a:gd name="T33" fmla="*/ 2147483647 h 574"/>
                <a:gd name="T34" fmla="*/ 2147483647 w 519"/>
                <a:gd name="T35" fmla="*/ 2147483647 h 574"/>
                <a:gd name="T36" fmla="*/ 0 w 519"/>
                <a:gd name="T37" fmla="*/ 2147483647 h 574"/>
                <a:gd name="T38" fmla="*/ 2147483647 w 519"/>
                <a:gd name="T39" fmla="*/ 2147483647 h 574"/>
                <a:gd name="T40" fmla="*/ 2147483647 w 519"/>
                <a:gd name="T41" fmla="*/ 2147483647 h 574"/>
                <a:gd name="T42" fmla="*/ 2147483647 w 519"/>
                <a:gd name="T43" fmla="*/ 2147483647 h 574"/>
                <a:gd name="T44" fmla="*/ 2147483647 w 519"/>
                <a:gd name="T45" fmla="*/ 2147483647 h 574"/>
                <a:gd name="T46" fmla="*/ 2147483647 w 519"/>
                <a:gd name="T47" fmla="*/ 2147483647 h 574"/>
                <a:gd name="T48" fmla="*/ 2147483647 w 519"/>
                <a:gd name="T49" fmla="*/ 2147483647 h 574"/>
                <a:gd name="T50" fmla="*/ 2147483647 w 519"/>
                <a:gd name="T51" fmla="*/ 2147483647 h 574"/>
                <a:gd name="T52" fmla="*/ 2147483647 w 519"/>
                <a:gd name="T53" fmla="*/ 2147483647 h 574"/>
                <a:gd name="T54" fmla="*/ 2147483647 w 519"/>
                <a:gd name="T55" fmla="*/ 2147483647 h 574"/>
                <a:gd name="T56" fmla="*/ 2147483647 w 519"/>
                <a:gd name="T57" fmla="*/ 2147483647 h 574"/>
                <a:gd name="T58" fmla="*/ 2147483647 w 519"/>
                <a:gd name="T59" fmla="*/ 2147483647 h 574"/>
                <a:gd name="T60" fmla="*/ 2147483647 w 519"/>
                <a:gd name="T61" fmla="*/ 2147483647 h 574"/>
                <a:gd name="T62" fmla="*/ 2147483647 w 519"/>
                <a:gd name="T63" fmla="*/ 2147483647 h 574"/>
                <a:gd name="T64" fmla="*/ 2147483647 w 519"/>
                <a:gd name="T65" fmla="*/ 2147483647 h 5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9"/>
                <a:gd name="T100" fmla="*/ 0 h 574"/>
                <a:gd name="T101" fmla="*/ 519 w 519"/>
                <a:gd name="T102" fmla="*/ 574 h 5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9" h="574">
                  <a:moveTo>
                    <a:pt x="295" y="539"/>
                  </a:moveTo>
                  <a:lnTo>
                    <a:pt x="344" y="540"/>
                  </a:lnTo>
                  <a:lnTo>
                    <a:pt x="392" y="541"/>
                  </a:lnTo>
                  <a:lnTo>
                    <a:pt x="442" y="542"/>
                  </a:lnTo>
                  <a:lnTo>
                    <a:pt x="491" y="542"/>
                  </a:lnTo>
                  <a:lnTo>
                    <a:pt x="500" y="506"/>
                  </a:lnTo>
                  <a:lnTo>
                    <a:pt x="483" y="501"/>
                  </a:lnTo>
                  <a:lnTo>
                    <a:pt x="478" y="453"/>
                  </a:lnTo>
                  <a:lnTo>
                    <a:pt x="473" y="404"/>
                  </a:lnTo>
                  <a:lnTo>
                    <a:pt x="468" y="356"/>
                  </a:lnTo>
                  <a:lnTo>
                    <a:pt x="464" y="307"/>
                  </a:lnTo>
                  <a:lnTo>
                    <a:pt x="459" y="257"/>
                  </a:lnTo>
                  <a:lnTo>
                    <a:pt x="453" y="207"/>
                  </a:lnTo>
                  <a:lnTo>
                    <a:pt x="448" y="158"/>
                  </a:lnTo>
                  <a:lnTo>
                    <a:pt x="443" y="108"/>
                  </a:lnTo>
                  <a:lnTo>
                    <a:pt x="481" y="108"/>
                  </a:lnTo>
                  <a:lnTo>
                    <a:pt x="519" y="108"/>
                  </a:lnTo>
                  <a:lnTo>
                    <a:pt x="480" y="82"/>
                  </a:lnTo>
                  <a:lnTo>
                    <a:pt x="440" y="54"/>
                  </a:lnTo>
                  <a:lnTo>
                    <a:pt x="401" y="28"/>
                  </a:lnTo>
                  <a:lnTo>
                    <a:pt x="361" y="0"/>
                  </a:lnTo>
                  <a:lnTo>
                    <a:pt x="358" y="59"/>
                  </a:lnTo>
                  <a:lnTo>
                    <a:pt x="324" y="59"/>
                  </a:lnTo>
                  <a:lnTo>
                    <a:pt x="290" y="58"/>
                  </a:lnTo>
                  <a:lnTo>
                    <a:pt x="256" y="58"/>
                  </a:lnTo>
                  <a:lnTo>
                    <a:pt x="222" y="58"/>
                  </a:lnTo>
                  <a:lnTo>
                    <a:pt x="222" y="94"/>
                  </a:lnTo>
                  <a:lnTo>
                    <a:pt x="221" y="136"/>
                  </a:lnTo>
                  <a:lnTo>
                    <a:pt x="221" y="177"/>
                  </a:lnTo>
                  <a:lnTo>
                    <a:pt x="180" y="188"/>
                  </a:lnTo>
                  <a:lnTo>
                    <a:pt x="169" y="203"/>
                  </a:lnTo>
                  <a:lnTo>
                    <a:pt x="171" y="234"/>
                  </a:lnTo>
                  <a:lnTo>
                    <a:pt x="174" y="273"/>
                  </a:lnTo>
                  <a:lnTo>
                    <a:pt x="135" y="273"/>
                  </a:lnTo>
                  <a:lnTo>
                    <a:pt x="94" y="274"/>
                  </a:lnTo>
                  <a:lnTo>
                    <a:pt x="53" y="274"/>
                  </a:lnTo>
                  <a:lnTo>
                    <a:pt x="14" y="274"/>
                  </a:lnTo>
                  <a:lnTo>
                    <a:pt x="0" y="292"/>
                  </a:lnTo>
                  <a:lnTo>
                    <a:pt x="9" y="290"/>
                  </a:lnTo>
                  <a:lnTo>
                    <a:pt x="18" y="310"/>
                  </a:lnTo>
                  <a:lnTo>
                    <a:pt x="25" y="310"/>
                  </a:lnTo>
                  <a:lnTo>
                    <a:pt x="32" y="323"/>
                  </a:lnTo>
                  <a:lnTo>
                    <a:pt x="34" y="339"/>
                  </a:lnTo>
                  <a:lnTo>
                    <a:pt x="33" y="345"/>
                  </a:lnTo>
                  <a:lnTo>
                    <a:pt x="22" y="366"/>
                  </a:lnTo>
                  <a:lnTo>
                    <a:pt x="36" y="386"/>
                  </a:lnTo>
                  <a:lnTo>
                    <a:pt x="40" y="406"/>
                  </a:lnTo>
                  <a:lnTo>
                    <a:pt x="40" y="445"/>
                  </a:lnTo>
                  <a:lnTo>
                    <a:pt x="19" y="514"/>
                  </a:lnTo>
                  <a:lnTo>
                    <a:pt x="29" y="494"/>
                  </a:lnTo>
                  <a:lnTo>
                    <a:pt x="54" y="497"/>
                  </a:lnTo>
                  <a:lnTo>
                    <a:pt x="80" y="488"/>
                  </a:lnTo>
                  <a:lnTo>
                    <a:pt x="111" y="489"/>
                  </a:lnTo>
                  <a:lnTo>
                    <a:pt x="133" y="512"/>
                  </a:lnTo>
                  <a:lnTo>
                    <a:pt x="150" y="512"/>
                  </a:lnTo>
                  <a:lnTo>
                    <a:pt x="161" y="533"/>
                  </a:lnTo>
                  <a:lnTo>
                    <a:pt x="173" y="540"/>
                  </a:lnTo>
                  <a:lnTo>
                    <a:pt x="178" y="549"/>
                  </a:lnTo>
                  <a:lnTo>
                    <a:pt x="176" y="551"/>
                  </a:lnTo>
                  <a:lnTo>
                    <a:pt x="207" y="574"/>
                  </a:lnTo>
                  <a:lnTo>
                    <a:pt x="225" y="556"/>
                  </a:lnTo>
                  <a:lnTo>
                    <a:pt x="239" y="524"/>
                  </a:lnTo>
                  <a:lnTo>
                    <a:pt x="250" y="528"/>
                  </a:lnTo>
                  <a:lnTo>
                    <a:pt x="260" y="553"/>
                  </a:lnTo>
                  <a:lnTo>
                    <a:pt x="274" y="556"/>
                  </a:lnTo>
                  <a:lnTo>
                    <a:pt x="295" y="539"/>
                  </a:lnTo>
                  <a:close/>
                </a:path>
              </a:pathLst>
            </a:custGeom>
            <a:grpFill/>
            <a:ln w="6350">
              <a:solidFill>
                <a:schemeClr val="tx2"/>
              </a:solidFill>
              <a:round/>
              <a:headEnd/>
              <a:tailEnd/>
            </a:ln>
          </p:spPr>
          <p:txBody>
            <a:bodyPr/>
            <a:lstStyle/>
            <a:p>
              <a:endParaRPr lang="en-US"/>
            </a:p>
          </p:txBody>
        </p:sp>
        <p:sp>
          <p:nvSpPr>
            <p:cNvPr id="591" name="Freeform 1497"/>
            <p:cNvSpPr>
              <a:spLocks/>
            </p:cNvSpPr>
            <p:nvPr/>
          </p:nvSpPr>
          <p:spPr bwMode="auto">
            <a:xfrm>
              <a:off x="4252699" y="3770226"/>
              <a:ext cx="179020" cy="156263"/>
            </a:xfrm>
            <a:custGeom>
              <a:avLst/>
              <a:gdLst>
                <a:gd name="T0" fmla="*/ 2147483647 w 361"/>
                <a:gd name="T1" fmla="*/ 2147483647 h 314"/>
                <a:gd name="T2" fmla="*/ 2147483647 w 361"/>
                <a:gd name="T3" fmla="*/ 2147483647 h 314"/>
                <a:gd name="T4" fmla="*/ 2147483647 w 361"/>
                <a:gd name="T5" fmla="*/ 2147483647 h 314"/>
                <a:gd name="T6" fmla="*/ 2147483647 w 361"/>
                <a:gd name="T7" fmla="*/ 2147483647 h 314"/>
                <a:gd name="T8" fmla="*/ 2147483647 w 361"/>
                <a:gd name="T9" fmla="*/ 2147483647 h 314"/>
                <a:gd name="T10" fmla="*/ 2147483647 w 361"/>
                <a:gd name="T11" fmla="*/ 2147483647 h 314"/>
                <a:gd name="T12" fmla="*/ 2147483647 w 361"/>
                <a:gd name="T13" fmla="*/ 2147483647 h 314"/>
                <a:gd name="T14" fmla="*/ 2147483647 w 361"/>
                <a:gd name="T15" fmla="*/ 2147483647 h 314"/>
                <a:gd name="T16" fmla="*/ 2147483647 w 361"/>
                <a:gd name="T17" fmla="*/ 2147483647 h 314"/>
                <a:gd name="T18" fmla="*/ 2147483647 w 361"/>
                <a:gd name="T19" fmla="*/ 2147483647 h 314"/>
                <a:gd name="T20" fmla="*/ 2147483647 w 361"/>
                <a:gd name="T21" fmla="*/ 2147483647 h 314"/>
                <a:gd name="T22" fmla="*/ 2147483647 w 361"/>
                <a:gd name="T23" fmla="*/ 2147483647 h 314"/>
                <a:gd name="T24" fmla="*/ 2147483647 w 361"/>
                <a:gd name="T25" fmla="*/ 2147483647 h 314"/>
                <a:gd name="T26" fmla="*/ 2147483647 w 361"/>
                <a:gd name="T27" fmla="*/ 2147483647 h 314"/>
                <a:gd name="T28" fmla="*/ 2147483647 w 361"/>
                <a:gd name="T29" fmla="*/ 2147483647 h 314"/>
                <a:gd name="T30" fmla="*/ 2147483647 w 361"/>
                <a:gd name="T31" fmla="*/ 2147483647 h 314"/>
                <a:gd name="T32" fmla="*/ 0 w 361"/>
                <a:gd name="T33" fmla="*/ 2147483647 h 314"/>
                <a:gd name="T34" fmla="*/ 2147483647 w 361"/>
                <a:gd name="T35" fmla="*/ 2147483647 h 314"/>
                <a:gd name="T36" fmla="*/ 2147483647 w 361"/>
                <a:gd name="T37" fmla="*/ 2147483647 h 314"/>
                <a:gd name="T38" fmla="*/ 2147483647 w 361"/>
                <a:gd name="T39" fmla="*/ 2147483647 h 314"/>
                <a:gd name="T40" fmla="*/ 2147483647 w 361"/>
                <a:gd name="T41" fmla="*/ 2147483647 h 314"/>
                <a:gd name="T42" fmla="*/ 2147483647 w 361"/>
                <a:gd name="T43" fmla="*/ 2147483647 h 314"/>
                <a:gd name="T44" fmla="*/ 2147483647 w 361"/>
                <a:gd name="T45" fmla="*/ 2147483647 h 314"/>
                <a:gd name="T46" fmla="*/ 2147483647 w 361"/>
                <a:gd name="T47" fmla="*/ 2147483647 h 314"/>
                <a:gd name="T48" fmla="*/ 2147483647 w 361"/>
                <a:gd name="T49" fmla="*/ 2147483647 h 314"/>
                <a:gd name="T50" fmla="*/ 2147483647 w 361"/>
                <a:gd name="T51" fmla="*/ 2147483647 h 314"/>
                <a:gd name="T52" fmla="*/ 2147483647 w 361"/>
                <a:gd name="T53" fmla="*/ 2147483647 h 314"/>
                <a:gd name="T54" fmla="*/ 2147483647 w 361"/>
                <a:gd name="T55" fmla="*/ 2147483647 h 314"/>
                <a:gd name="T56" fmla="*/ 2147483647 w 361"/>
                <a:gd name="T57" fmla="*/ 0 h 314"/>
                <a:gd name="T58" fmla="*/ 2147483647 w 361"/>
                <a:gd name="T59" fmla="*/ 0 h 314"/>
                <a:gd name="T60" fmla="*/ 2147483647 w 361"/>
                <a:gd name="T61" fmla="*/ 0 h 314"/>
                <a:gd name="T62" fmla="*/ 2147483647 w 361"/>
                <a:gd name="T63" fmla="*/ 0 h 314"/>
                <a:gd name="T64" fmla="*/ 2147483647 w 361"/>
                <a:gd name="T65" fmla="*/ 0 h 314"/>
                <a:gd name="T66" fmla="*/ 2147483647 w 361"/>
                <a:gd name="T67" fmla="*/ 2147483647 h 314"/>
                <a:gd name="T68" fmla="*/ 2147483647 w 361"/>
                <a:gd name="T69" fmla="*/ 2147483647 h 3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1"/>
                <a:gd name="T106" fmla="*/ 0 h 314"/>
                <a:gd name="T107" fmla="*/ 361 w 361"/>
                <a:gd name="T108" fmla="*/ 314 h 3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1" h="314">
                  <a:moveTo>
                    <a:pt x="358" y="81"/>
                  </a:moveTo>
                  <a:lnTo>
                    <a:pt x="324" y="81"/>
                  </a:lnTo>
                  <a:lnTo>
                    <a:pt x="290" y="80"/>
                  </a:lnTo>
                  <a:lnTo>
                    <a:pt x="256" y="80"/>
                  </a:lnTo>
                  <a:lnTo>
                    <a:pt x="222" y="80"/>
                  </a:lnTo>
                  <a:lnTo>
                    <a:pt x="222" y="116"/>
                  </a:lnTo>
                  <a:lnTo>
                    <a:pt x="221" y="158"/>
                  </a:lnTo>
                  <a:lnTo>
                    <a:pt x="221" y="199"/>
                  </a:lnTo>
                  <a:lnTo>
                    <a:pt x="180" y="210"/>
                  </a:lnTo>
                  <a:lnTo>
                    <a:pt x="169" y="225"/>
                  </a:lnTo>
                  <a:lnTo>
                    <a:pt x="171" y="256"/>
                  </a:lnTo>
                  <a:lnTo>
                    <a:pt x="174" y="295"/>
                  </a:lnTo>
                  <a:lnTo>
                    <a:pt x="135" y="295"/>
                  </a:lnTo>
                  <a:lnTo>
                    <a:pt x="94" y="296"/>
                  </a:lnTo>
                  <a:lnTo>
                    <a:pt x="53" y="296"/>
                  </a:lnTo>
                  <a:lnTo>
                    <a:pt x="14" y="296"/>
                  </a:lnTo>
                  <a:lnTo>
                    <a:pt x="0" y="314"/>
                  </a:lnTo>
                  <a:lnTo>
                    <a:pt x="4" y="278"/>
                  </a:lnTo>
                  <a:lnTo>
                    <a:pt x="13" y="258"/>
                  </a:lnTo>
                  <a:lnTo>
                    <a:pt x="22" y="254"/>
                  </a:lnTo>
                  <a:lnTo>
                    <a:pt x="38" y="222"/>
                  </a:lnTo>
                  <a:lnTo>
                    <a:pt x="36" y="215"/>
                  </a:lnTo>
                  <a:lnTo>
                    <a:pt x="57" y="179"/>
                  </a:lnTo>
                  <a:lnTo>
                    <a:pt x="95" y="128"/>
                  </a:lnTo>
                  <a:lnTo>
                    <a:pt x="109" y="78"/>
                  </a:lnTo>
                  <a:lnTo>
                    <a:pt x="121" y="62"/>
                  </a:lnTo>
                  <a:lnTo>
                    <a:pt x="150" y="45"/>
                  </a:lnTo>
                  <a:lnTo>
                    <a:pt x="158" y="27"/>
                  </a:lnTo>
                  <a:lnTo>
                    <a:pt x="172" y="0"/>
                  </a:lnTo>
                  <a:lnTo>
                    <a:pt x="219" y="0"/>
                  </a:lnTo>
                  <a:lnTo>
                    <a:pt x="266" y="0"/>
                  </a:lnTo>
                  <a:lnTo>
                    <a:pt x="313" y="0"/>
                  </a:lnTo>
                  <a:lnTo>
                    <a:pt x="360" y="0"/>
                  </a:lnTo>
                  <a:lnTo>
                    <a:pt x="361" y="22"/>
                  </a:lnTo>
                  <a:lnTo>
                    <a:pt x="358" y="81"/>
                  </a:lnTo>
                  <a:close/>
                </a:path>
              </a:pathLst>
            </a:custGeom>
            <a:grpFill/>
            <a:ln w="6350">
              <a:solidFill>
                <a:schemeClr val="tx2"/>
              </a:solidFill>
              <a:round/>
              <a:headEnd/>
              <a:tailEnd/>
            </a:ln>
          </p:spPr>
          <p:txBody>
            <a:bodyPr/>
            <a:lstStyle/>
            <a:p>
              <a:endParaRPr lang="en-US"/>
            </a:p>
          </p:txBody>
        </p:sp>
        <p:sp>
          <p:nvSpPr>
            <p:cNvPr id="592" name="Freeform 1498"/>
            <p:cNvSpPr>
              <a:spLocks/>
            </p:cNvSpPr>
            <p:nvPr/>
          </p:nvSpPr>
          <p:spPr bwMode="auto">
            <a:xfrm>
              <a:off x="4431719" y="3533557"/>
              <a:ext cx="433894" cy="439963"/>
            </a:xfrm>
            <a:custGeom>
              <a:avLst/>
              <a:gdLst>
                <a:gd name="T0" fmla="*/ 2147483647 w 873"/>
                <a:gd name="T1" fmla="*/ 2147483647 h 885"/>
                <a:gd name="T2" fmla="*/ 2147483647 w 873"/>
                <a:gd name="T3" fmla="*/ 2147483647 h 885"/>
                <a:gd name="T4" fmla="*/ 2147483647 w 873"/>
                <a:gd name="T5" fmla="*/ 2147483647 h 885"/>
                <a:gd name="T6" fmla="*/ 2147483647 w 873"/>
                <a:gd name="T7" fmla="*/ 2147483647 h 885"/>
                <a:gd name="T8" fmla="*/ 2147483647 w 873"/>
                <a:gd name="T9" fmla="*/ 2147483647 h 885"/>
                <a:gd name="T10" fmla="*/ 2147483647 w 873"/>
                <a:gd name="T11" fmla="*/ 2147483647 h 885"/>
                <a:gd name="T12" fmla="*/ 2147483647 w 873"/>
                <a:gd name="T13" fmla="*/ 2147483647 h 885"/>
                <a:gd name="T14" fmla="*/ 2147483647 w 873"/>
                <a:gd name="T15" fmla="*/ 2147483647 h 885"/>
                <a:gd name="T16" fmla="*/ 2147483647 w 873"/>
                <a:gd name="T17" fmla="*/ 2147483647 h 885"/>
                <a:gd name="T18" fmla="*/ 2147483647 w 873"/>
                <a:gd name="T19" fmla="*/ 2147483647 h 885"/>
                <a:gd name="T20" fmla="*/ 2147483647 w 873"/>
                <a:gd name="T21" fmla="*/ 2147483647 h 885"/>
                <a:gd name="T22" fmla="*/ 2147483647 w 873"/>
                <a:gd name="T23" fmla="*/ 2147483647 h 885"/>
                <a:gd name="T24" fmla="*/ 2147483647 w 873"/>
                <a:gd name="T25" fmla="*/ 2147483647 h 885"/>
                <a:gd name="T26" fmla="*/ 2147483647 w 873"/>
                <a:gd name="T27" fmla="*/ 2147483647 h 885"/>
                <a:gd name="T28" fmla="*/ 2147483647 w 873"/>
                <a:gd name="T29" fmla="*/ 2147483647 h 885"/>
                <a:gd name="T30" fmla="*/ 2147483647 w 873"/>
                <a:gd name="T31" fmla="*/ 2147483647 h 885"/>
                <a:gd name="T32" fmla="*/ 2147483647 w 873"/>
                <a:gd name="T33" fmla="*/ 2147483647 h 885"/>
                <a:gd name="T34" fmla="*/ 2147483647 w 873"/>
                <a:gd name="T35" fmla="*/ 2147483647 h 885"/>
                <a:gd name="T36" fmla="*/ 2147483647 w 873"/>
                <a:gd name="T37" fmla="*/ 2147483647 h 885"/>
                <a:gd name="T38" fmla="*/ 2147483647 w 873"/>
                <a:gd name="T39" fmla="*/ 2147483647 h 885"/>
                <a:gd name="T40" fmla="*/ 2147483647 w 873"/>
                <a:gd name="T41" fmla="*/ 2147483647 h 885"/>
                <a:gd name="T42" fmla="*/ 2147483647 w 873"/>
                <a:gd name="T43" fmla="*/ 2147483647 h 885"/>
                <a:gd name="T44" fmla="*/ 2147483647 w 873"/>
                <a:gd name="T45" fmla="*/ 2147483647 h 885"/>
                <a:gd name="T46" fmla="*/ 2147483647 w 873"/>
                <a:gd name="T47" fmla="*/ 2147483647 h 885"/>
                <a:gd name="T48" fmla="*/ 2147483647 w 873"/>
                <a:gd name="T49" fmla="*/ 2147483647 h 885"/>
                <a:gd name="T50" fmla="*/ 2147483647 w 873"/>
                <a:gd name="T51" fmla="*/ 2147483647 h 885"/>
                <a:gd name="T52" fmla="*/ 2147483647 w 873"/>
                <a:gd name="T53" fmla="*/ 2147483647 h 885"/>
                <a:gd name="T54" fmla="*/ 2147483647 w 873"/>
                <a:gd name="T55" fmla="*/ 2147483647 h 885"/>
                <a:gd name="T56" fmla="*/ 2147483647 w 873"/>
                <a:gd name="T57" fmla="*/ 2147483647 h 885"/>
                <a:gd name="T58" fmla="*/ 2147483647 w 873"/>
                <a:gd name="T59" fmla="*/ 2147483647 h 885"/>
                <a:gd name="T60" fmla="*/ 2147483647 w 873"/>
                <a:gd name="T61" fmla="*/ 2147483647 h 885"/>
                <a:gd name="T62" fmla="*/ 2147483647 w 873"/>
                <a:gd name="T63" fmla="*/ 2147483647 h 885"/>
                <a:gd name="T64" fmla="*/ 2147483647 w 873"/>
                <a:gd name="T65" fmla="*/ 0 h 885"/>
                <a:gd name="T66" fmla="*/ 2147483647 w 873"/>
                <a:gd name="T67" fmla="*/ 2147483647 h 885"/>
                <a:gd name="T68" fmla="*/ 2147483647 w 873"/>
                <a:gd name="T69" fmla="*/ 2147483647 h 885"/>
                <a:gd name="T70" fmla="*/ 2147483647 w 873"/>
                <a:gd name="T71" fmla="*/ 2147483647 h 885"/>
                <a:gd name="T72" fmla="*/ 2147483647 w 873"/>
                <a:gd name="T73" fmla="*/ 2147483647 h 885"/>
                <a:gd name="T74" fmla="*/ 2147483647 w 873"/>
                <a:gd name="T75" fmla="*/ 2147483647 h 885"/>
                <a:gd name="T76" fmla="*/ 2147483647 w 873"/>
                <a:gd name="T77" fmla="*/ 2147483647 h 885"/>
                <a:gd name="T78" fmla="*/ 2147483647 w 873"/>
                <a:gd name="T79" fmla="*/ 2147483647 h 885"/>
                <a:gd name="T80" fmla="*/ 2147483647 w 873"/>
                <a:gd name="T81" fmla="*/ 2147483647 h 885"/>
                <a:gd name="T82" fmla="*/ 2147483647 w 873"/>
                <a:gd name="T83" fmla="*/ 2147483647 h 885"/>
                <a:gd name="T84" fmla="*/ 2147483647 w 873"/>
                <a:gd name="T85" fmla="*/ 2147483647 h 885"/>
                <a:gd name="T86" fmla="*/ 2147483647 w 873"/>
                <a:gd name="T87" fmla="*/ 2147483647 h 885"/>
                <a:gd name="T88" fmla="*/ 2147483647 w 873"/>
                <a:gd name="T89" fmla="*/ 2147483647 h 885"/>
                <a:gd name="T90" fmla="*/ 2147483647 w 873"/>
                <a:gd name="T91" fmla="*/ 2147483647 h 885"/>
                <a:gd name="T92" fmla="*/ 2147483647 w 873"/>
                <a:gd name="T93" fmla="*/ 2147483647 h 885"/>
                <a:gd name="T94" fmla="*/ 2147483647 w 873"/>
                <a:gd name="T95" fmla="*/ 2147483647 h 885"/>
                <a:gd name="T96" fmla="*/ 2147483647 w 873"/>
                <a:gd name="T97" fmla="*/ 2147483647 h 885"/>
                <a:gd name="T98" fmla="*/ 2147483647 w 873"/>
                <a:gd name="T99" fmla="*/ 2147483647 h 885"/>
                <a:gd name="T100" fmla="*/ 2147483647 w 873"/>
                <a:gd name="T101" fmla="*/ 2147483647 h 885"/>
                <a:gd name="T102" fmla="*/ 2147483647 w 873"/>
                <a:gd name="T103" fmla="*/ 2147483647 h 885"/>
                <a:gd name="T104" fmla="*/ 2147483647 w 873"/>
                <a:gd name="T105" fmla="*/ 2147483647 h 885"/>
                <a:gd name="T106" fmla="*/ 2147483647 w 873"/>
                <a:gd name="T107" fmla="*/ 2147483647 h 885"/>
                <a:gd name="T108" fmla="*/ 2147483647 w 873"/>
                <a:gd name="T109" fmla="*/ 2147483647 h 885"/>
                <a:gd name="T110" fmla="*/ 2147483647 w 873"/>
                <a:gd name="T111" fmla="*/ 2147483647 h 885"/>
                <a:gd name="T112" fmla="*/ 0 w 873"/>
                <a:gd name="T113" fmla="*/ 2147483647 h 8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73"/>
                <a:gd name="T172" fmla="*/ 0 h 885"/>
                <a:gd name="T173" fmla="*/ 873 w 873"/>
                <a:gd name="T174" fmla="*/ 885 h 88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73" h="885">
                  <a:moveTo>
                    <a:pt x="1" y="499"/>
                  </a:moveTo>
                  <a:lnTo>
                    <a:pt x="41" y="527"/>
                  </a:lnTo>
                  <a:lnTo>
                    <a:pt x="80" y="553"/>
                  </a:lnTo>
                  <a:lnTo>
                    <a:pt x="120" y="581"/>
                  </a:lnTo>
                  <a:lnTo>
                    <a:pt x="159" y="607"/>
                  </a:lnTo>
                  <a:lnTo>
                    <a:pt x="192" y="629"/>
                  </a:lnTo>
                  <a:lnTo>
                    <a:pt x="224" y="652"/>
                  </a:lnTo>
                  <a:lnTo>
                    <a:pt x="256" y="674"/>
                  </a:lnTo>
                  <a:lnTo>
                    <a:pt x="287" y="695"/>
                  </a:lnTo>
                  <a:lnTo>
                    <a:pt x="320" y="718"/>
                  </a:lnTo>
                  <a:lnTo>
                    <a:pt x="351" y="740"/>
                  </a:lnTo>
                  <a:lnTo>
                    <a:pt x="383" y="761"/>
                  </a:lnTo>
                  <a:lnTo>
                    <a:pt x="415" y="782"/>
                  </a:lnTo>
                  <a:lnTo>
                    <a:pt x="418" y="799"/>
                  </a:lnTo>
                  <a:lnTo>
                    <a:pt x="438" y="808"/>
                  </a:lnTo>
                  <a:lnTo>
                    <a:pt x="448" y="822"/>
                  </a:lnTo>
                  <a:lnTo>
                    <a:pt x="466" y="825"/>
                  </a:lnTo>
                  <a:lnTo>
                    <a:pt x="473" y="834"/>
                  </a:lnTo>
                  <a:lnTo>
                    <a:pt x="505" y="844"/>
                  </a:lnTo>
                  <a:lnTo>
                    <a:pt x="509" y="862"/>
                  </a:lnTo>
                  <a:lnTo>
                    <a:pt x="504" y="878"/>
                  </a:lnTo>
                  <a:lnTo>
                    <a:pt x="511" y="885"/>
                  </a:lnTo>
                  <a:lnTo>
                    <a:pt x="545" y="877"/>
                  </a:lnTo>
                  <a:lnTo>
                    <a:pt x="579" y="868"/>
                  </a:lnTo>
                  <a:lnTo>
                    <a:pt x="612" y="860"/>
                  </a:lnTo>
                  <a:lnTo>
                    <a:pt x="637" y="841"/>
                  </a:lnTo>
                  <a:lnTo>
                    <a:pt x="660" y="823"/>
                  </a:lnTo>
                  <a:lnTo>
                    <a:pt x="685" y="805"/>
                  </a:lnTo>
                  <a:lnTo>
                    <a:pt x="709" y="787"/>
                  </a:lnTo>
                  <a:lnTo>
                    <a:pt x="730" y="772"/>
                  </a:lnTo>
                  <a:lnTo>
                    <a:pt x="751" y="759"/>
                  </a:lnTo>
                  <a:lnTo>
                    <a:pt x="771" y="746"/>
                  </a:lnTo>
                  <a:lnTo>
                    <a:pt x="791" y="732"/>
                  </a:lnTo>
                  <a:lnTo>
                    <a:pt x="813" y="719"/>
                  </a:lnTo>
                  <a:lnTo>
                    <a:pt x="833" y="704"/>
                  </a:lnTo>
                  <a:lnTo>
                    <a:pt x="853" y="691"/>
                  </a:lnTo>
                  <a:lnTo>
                    <a:pt x="873" y="677"/>
                  </a:lnTo>
                  <a:lnTo>
                    <a:pt x="855" y="638"/>
                  </a:lnTo>
                  <a:lnTo>
                    <a:pt x="832" y="628"/>
                  </a:lnTo>
                  <a:lnTo>
                    <a:pt x="808" y="627"/>
                  </a:lnTo>
                  <a:lnTo>
                    <a:pt x="797" y="615"/>
                  </a:lnTo>
                  <a:lnTo>
                    <a:pt x="794" y="591"/>
                  </a:lnTo>
                  <a:lnTo>
                    <a:pt x="768" y="551"/>
                  </a:lnTo>
                  <a:lnTo>
                    <a:pt x="769" y="544"/>
                  </a:lnTo>
                  <a:lnTo>
                    <a:pt x="784" y="537"/>
                  </a:lnTo>
                  <a:lnTo>
                    <a:pt x="788" y="476"/>
                  </a:lnTo>
                  <a:lnTo>
                    <a:pt x="781" y="399"/>
                  </a:lnTo>
                  <a:lnTo>
                    <a:pt x="764" y="372"/>
                  </a:lnTo>
                  <a:lnTo>
                    <a:pt x="765" y="358"/>
                  </a:lnTo>
                  <a:lnTo>
                    <a:pt x="773" y="351"/>
                  </a:lnTo>
                  <a:lnTo>
                    <a:pt x="758" y="262"/>
                  </a:lnTo>
                  <a:lnTo>
                    <a:pt x="722" y="242"/>
                  </a:lnTo>
                  <a:lnTo>
                    <a:pt x="722" y="228"/>
                  </a:lnTo>
                  <a:lnTo>
                    <a:pt x="714" y="211"/>
                  </a:lnTo>
                  <a:lnTo>
                    <a:pt x="696" y="201"/>
                  </a:lnTo>
                  <a:lnTo>
                    <a:pt x="686" y="166"/>
                  </a:lnTo>
                  <a:lnTo>
                    <a:pt x="725" y="133"/>
                  </a:lnTo>
                  <a:lnTo>
                    <a:pt x="733" y="103"/>
                  </a:lnTo>
                  <a:lnTo>
                    <a:pt x="727" y="68"/>
                  </a:lnTo>
                  <a:lnTo>
                    <a:pt x="732" y="36"/>
                  </a:lnTo>
                  <a:lnTo>
                    <a:pt x="725" y="31"/>
                  </a:lnTo>
                  <a:lnTo>
                    <a:pt x="744" y="8"/>
                  </a:lnTo>
                  <a:lnTo>
                    <a:pt x="707" y="13"/>
                  </a:lnTo>
                  <a:lnTo>
                    <a:pt x="684" y="1"/>
                  </a:lnTo>
                  <a:lnTo>
                    <a:pt x="670" y="11"/>
                  </a:lnTo>
                  <a:lnTo>
                    <a:pt x="643" y="0"/>
                  </a:lnTo>
                  <a:lnTo>
                    <a:pt x="637" y="9"/>
                  </a:lnTo>
                  <a:lnTo>
                    <a:pt x="599" y="22"/>
                  </a:lnTo>
                  <a:lnTo>
                    <a:pt x="584" y="13"/>
                  </a:lnTo>
                  <a:lnTo>
                    <a:pt x="540" y="11"/>
                  </a:lnTo>
                  <a:lnTo>
                    <a:pt x="521" y="19"/>
                  </a:lnTo>
                  <a:lnTo>
                    <a:pt x="502" y="16"/>
                  </a:lnTo>
                  <a:lnTo>
                    <a:pt x="487" y="27"/>
                  </a:lnTo>
                  <a:lnTo>
                    <a:pt x="427" y="32"/>
                  </a:lnTo>
                  <a:lnTo>
                    <a:pt x="385" y="51"/>
                  </a:lnTo>
                  <a:lnTo>
                    <a:pt x="381" y="57"/>
                  </a:lnTo>
                  <a:lnTo>
                    <a:pt x="375" y="64"/>
                  </a:lnTo>
                  <a:lnTo>
                    <a:pt x="336" y="72"/>
                  </a:lnTo>
                  <a:lnTo>
                    <a:pt x="314" y="96"/>
                  </a:lnTo>
                  <a:lnTo>
                    <a:pt x="285" y="108"/>
                  </a:lnTo>
                  <a:lnTo>
                    <a:pt x="282" y="111"/>
                  </a:lnTo>
                  <a:lnTo>
                    <a:pt x="281" y="116"/>
                  </a:lnTo>
                  <a:lnTo>
                    <a:pt x="295" y="123"/>
                  </a:lnTo>
                  <a:lnTo>
                    <a:pt x="291" y="127"/>
                  </a:lnTo>
                  <a:lnTo>
                    <a:pt x="297" y="135"/>
                  </a:lnTo>
                  <a:lnTo>
                    <a:pt x="294" y="140"/>
                  </a:lnTo>
                  <a:lnTo>
                    <a:pt x="299" y="157"/>
                  </a:lnTo>
                  <a:lnTo>
                    <a:pt x="296" y="174"/>
                  </a:lnTo>
                  <a:lnTo>
                    <a:pt x="303" y="184"/>
                  </a:lnTo>
                  <a:lnTo>
                    <a:pt x="300" y="197"/>
                  </a:lnTo>
                  <a:lnTo>
                    <a:pt x="305" y="213"/>
                  </a:lnTo>
                  <a:lnTo>
                    <a:pt x="312" y="226"/>
                  </a:lnTo>
                  <a:lnTo>
                    <a:pt x="327" y="237"/>
                  </a:lnTo>
                  <a:lnTo>
                    <a:pt x="318" y="246"/>
                  </a:lnTo>
                  <a:lnTo>
                    <a:pt x="320" y="257"/>
                  </a:lnTo>
                  <a:lnTo>
                    <a:pt x="247" y="257"/>
                  </a:lnTo>
                  <a:lnTo>
                    <a:pt x="243" y="272"/>
                  </a:lnTo>
                  <a:lnTo>
                    <a:pt x="207" y="281"/>
                  </a:lnTo>
                  <a:lnTo>
                    <a:pt x="205" y="290"/>
                  </a:lnTo>
                  <a:lnTo>
                    <a:pt x="211" y="294"/>
                  </a:lnTo>
                  <a:lnTo>
                    <a:pt x="206" y="306"/>
                  </a:lnTo>
                  <a:lnTo>
                    <a:pt x="216" y="310"/>
                  </a:lnTo>
                  <a:lnTo>
                    <a:pt x="215" y="316"/>
                  </a:lnTo>
                  <a:lnTo>
                    <a:pt x="162" y="336"/>
                  </a:lnTo>
                  <a:lnTo>
                    <a:pt x="144" y="359"/>
                  </a:lnTo>
                  <a:lnTo>
                    <a:pt x="130" y="369"/>
                  </a:lnTo>
                  <a:lnTo>
                    <a:pt x="89" y="373"/>
                  </a:lnTo>
                  <a:lnTo>
                    <a:pt x="86" y="384"/>
                  </a:lnTo>
                  <a:lnTo>
                    <a:pt x="65" y="381"/>
                  </a:lnTo>
                  <a:lnTo>
                    <a:pt x="46" y="396"/>
                  </a:lnTo>
                  <a:lnTo>
                    <a:pt x="36" y="397"/>
                  </a:lnTo>
                  <a:lnTo>
                    <a:pt x="20" y="407"/>
                  </a:lnTo>
                  <a:lnTo>
                    <a:pt x="0" y="423"/>
                  </a:lnTo>
                  <a:lnTo>
                    <a:pt x="0" y="477"/>
                  </a:lnTo>
                  <a:lnTo>
                    <a:pt x="1" y="499"/>
                  </a:lnTo>
                  <a:close/>
                </a:path>
              </a:pathLst>
            </a:custGeom>
            <a:grpFill/>
            <a:ln w="6350">
              <a:solidFill>
                <a:schemeClr val="tx2"/>
              </a:solidFill>
              <a:round/>
              <a:headEnd/>
              <a:tailEnd/>
            </a:ln>
          </p:spPr>
          <p:txBody>
            <a:bodyPr/>
            <a:lstStyle/>
            <a:p>
              <a:endParaRPr lang="en-US"/>
            </a:p>
          </p:txBody>
        </p:sp>
        <p:sp>
          <p:nvSpPr>
            <p:cNvPr id="593" name="Freeform 1499"/>
            <p:cNvSpPr>
              <a:spLocks/>
            </p:cNvSpPr>
            <p:nvPr/>
          </p:nvSpPr>
          <p:spPr bwMode="auto">
            <a:xfrm>
              <a:off x="4355864" y="3836979"/>
              <a:ext cx="345902" cy="330731"/>
            </a:xfrm>
            <a:custGeom>
              <a:avLst/>
              <a:gdLst>
                <a:gd name="T0" fmla="*/ 2147483647 w 700"/>
                <a:gd name="T1" fmla="*/ 2147483647 h 666"/>
                <a:gd name="T2" fmla="*/ 2147483647 w 700"/>
                <a:gd name="T3" fmla="*/ 2147483647 h 666"/>
                <a:gd name="T4" fmla="*/ 2147483647 w 700"/>
                <a:gd name="T5" fmla="*/ 2147483647 h 666"/>
                <a:gd name="T6" fmla="*/ 2147483647 w 700"/>
                <a:gd name="T7" fmla="*/ 2147483647 h 666"/>
                <a:gd name="T8" fmla="*/ 2147483647 w 700"/>
                <a:gd name="T9" fmla="*/ 2147483647 h 666"/>
                <a:gd name="T10" fmla="*/ 2147483647 w 700"/>
                <a:gd name="T11" fmla="*/ 2147483647 h 666"/>
                <a:gd name="T12" fmla="*/ 2147483647 w 700"/>
                <a:gd name="T13" fmla="*/ 2147483647 h 666"/>
                <a:gd name="T14" fmla="*/ 2147483647 w 700"/>
                <a:gd name="T15" fmla="*/ 0 h 666"/>
                <a:gd name="T16" fmla="*/ 2147483647 w 700"/>
                <a:gd name="T17" fmla="*/ 2147483647 h 666"/>
                <a:gd name="T18" fmla="*/ 2147483647 w 700"/>
                <a:gd name="T19" fmla="*/ 2147483647 h 666"/>
                <a:gd name="T20" fmla="*/ 2147483647 w 700"/>
                <a:gd name="T21" fmla="*/ 2147483647 h 666"/>
                <a:gd name="T22" fmla="*/ 2147483647 w 700"/>
                <a:gd name="T23" fmla="*/ 2147483647 h 666"/>
                <a:gd name="T24" fmla="*/ 2147483647 w 700"/>
                <a:gd name="T25" fmla="*/ 2147483647 h 666"/>
                <a:gd name="T26" fmla="*/ 2147483647 w 700"/>
                <a:gd name="T27" fmla="*/ 2147483647 h 666"/>
                <a:gd name="T28" fmla="*/ 2147483647 w 700"/>
                <a:gd name="T29" fmla="*/ 2147483647 h 666"/>
                <a:gd name="T30" fmla="*/ 2147483647 w 700"/>
                <a:gd name="T31" fmla="*/ 2147483647 h 666"/>
                <a:gd name="T32" fmla="*/ 2147483647 w 700"/>
                <a:gd name="T33" fmla="*/ 2147483647 h 666"/>
                <a:gd name="T34" fmla="*/ 2147483647 w 700"/>
                <a:gd name="T35" fmla="*/ 2147483647 h 666"/>
                <a:gd name="T36" fmla="*/ 2147483647 w 700"/>
                <a:gd name="T37" fmla="*/ 2147483647 h 666"/>
                <a:gd name="T38" fmla="*/ 2147483647 w 700"/>
                <a:gd name="T39" fmla="*/ 2147483647 h 666"/>
                <a:gd name="T40" fmla="*/ 2147483647 w 700"/>
                <a:gd name="T41" fmla="*/ 2147483647 h 666"/>
                <a:gd name="T42" fmla="*/ 2147483647 w 700"/>
                <a:gd name="T43" fmla="*/ 2147483647 h 666"/>
                <a:gd name="T44" fmla="*/ 2147483647 w 700"/>
                <a:gd name="T45" fmla="*/ 2147483647 h 666"/>
                <a:gd name="T46" fmla="*/ 2147483647 w 700"/>
                <a:gd name="T47" fmla="*/ 2147483647 h 666"/>
                <a:gd name="T48" fmla="*/ 2147483647 w 700"/>
                <a:gd name="T49" fmla="*/ 2147483647 h 666"/>
                <a:gd name="T50" fmla="*/ 2147483647 w 700"/>
                <a:gd name="T51" fmla="*/ 2147483647 h 666"/>
                <a:gd name="T52" fmla="*/ 2147483647 w 700"/>
                <a:gd name="T53" fmla="*/ 2147483647 h 666"/>
                <a:gd name="T54" fmla="*/ 2147483647 w 700"/>
                <a:gd name="T55" fmla="*/ 2147483647 h 666"/>
                <a:gd name="T56" fmla="*/ 2147483647 w 700"/>
                <a:gd name="T57" fmla="*/ 2147483647 h 666"/>
                <a:gd name="T58" fmla="*/ 2147483647 w 700"/>
                <a:gd name="T59" fmla="*/ 2147483647 h 666"/>
                <a:gd name="T60" fmla="*/ 2147483647 w 700"/>
                <a:gd name="T61" fmla="*/ 2147483647 h 666"/>
                <a:gd name="T62" fmla="*/ 2147483647 w 700"/>
                <a:gd name="T63" fmla="*/ 2147483647 h 666"/>
                <a:gd name="T64" fmla="*/ 2147483647 w 700"/>
                <a:gd name="T65" fmla="*/ 2147483647 h 666"/>
                <a:gd name="T66" fmla="*/ 2147483647 w 700"/>
                <a:gd name="T67" fmla="*/ 2147483647 h 666"/>
                <a:gd name="T68" fmla="*/ 2147483647 w 700"/>
                <a:gd name="T69" fmla="*/ 2147483647 h 666"/>
                <a:gd name="T70" fmla="*/ 2147483647 w 700"/>
                <a:gd name="T71" fmla="*/ 2147483647 h 666"/>
                <a:gd name="T72" fmla="*/ 2147483647 w 700"/>
                <a:gd name="T73" fmla="*/ 2147483647 h 666"/>
                <a:gd name="T74" fmla="*/ 2147483647 w 700"/>
                <a:gd name="T75" fmla="*/ 2147483647 h 666"/>
                <a:gd name="T76" fmla="*/ 2147483647 w 700"/>
                <a:gd name="T77" fmla="*/ 2147483647 h 666"/>
                <a:gd name="T78" fmla="*/ 2147483647 w 700"/>
                <a:gd name="T79" fmla="*/ 2147483647 h 666"/>
                <a:gd name="T80" fmla="*/ 2147483647 w 700"/>
                <a:gd name="T81" fmla="*/ 2147483647 h 666"/>
                <a:gd name="T82" fmla="*/ 2147483647 w 700"/>
                <a:gd name="T83" fmla="*/ 2147483647 h 666"/>
                <a:gd name="T84" fmla="*/ 2147483647 w 700"/>
                <a:gd name="T85" fmla="*/ 2147483647 h 666"/>
                <a:gd name="T86" fmla="*/ 2147483647 w 700"/>
                <a:gd name="T87" fmla="*/ 2147483647 h 666"/>
                <a:gd name="T88" fmla="*/ 2147483647 w 700"/>
                <a:gd name="T89" fmla="*/ 2147483647 h 666"/>
                <a:gd name="T90" fmla="*/ 2147483647 w 700"/>
                <a:gd name="T91" fmla="*/ 2147483647 h 666"/>
                <a:gd name="T92" fmla="*/ 2147483647 w 700"/>
                <a:gd name="T93" fmla="*/ 2147483647 h 666"/>
                <a:gd name="T94" fmla="*/ 2147483647 w 700"/>
                <a:gd name="T95" fmla="*/ 2147483647 h 666"/>
                <a:gd name="T96" fmla="*/ 2147483647 w 700"/>
                <a:gd name="T97" fmla="*/ 2147483647 h 666"/>
                <a:gd name="T98" fmla="*/ 2147483647 w 700"/>
                <a:gd name="T99" fmla="*/ 2147483647 h 666"/>
                <a:gd name="T100" fmla="*/ 2147483647 w 700"/>
                <a:gd name="T101" fmla="*/ 2147483647 h 666"/>
                <a:gd name="T102" fmla="*/ 2147483647 w 700"/>
                <a:gd name="T103" fmla="*/ 2147483647 h 666"/>
                <a:gd name="T104" fmla="*/ 2147483647 w 700"/>
                <a:gd name="T105" fmla="*/ 2147483647 h 6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00"/>
                <a:gd name="T160" fmla="*/ 0 h 666"/>
                <a:gd name="T161" fmla="*/ 700 w 700"/>
                <a:gd name="T162" fmla="*/ 666 h 6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00" h="666">
                  <a:moveTo>
                    <a:pt x="88" y="431"/>
                  </a:moveTo>
                  <a:lnTo>
                    <a:pt x="137" y="432"/>
                  </a:lnTo>
                  <a:lnTo>
                    <a:pt x="185" y="433"/>
                  </a:lnTo>
                  <a:lnTo>
                    <a:pt x="235" y="434"/>
                  </a:lnTo>
                  <a:lnTo>
                    <a:pt x="284" y="434"/>
                  </a:lnTo>
                  <a:lnTo>
                    <a:pt x="293" y="398"/>
                  </a:lnTo>
                  <a:lnTo>
                    <a:pt x="276" y="393"/>
                  </a:lnTo>
                  <a:lnTo>
                    <a:pt x="271" y="345"/>
                  </a:lnTo>
                  <a:lnTo>
                    <a:pt x="266" y="296"/>
                  </a:lnTo>
                  <a:lnTo>
                    <a:pt x="261" y="248"/>
                  </a:lnTo>
                  <a:lnTo>
                    <a:pt x="257" y="199"/>
                  </a:lnTo>
                  <a:lnTo>
                    <a:pt x="252" y="149"/>
                  </a:lnTo>
                  <a:lnTo>
                    <a:pt x="246" y="99"/>
                  </a:lnTo>
                  <a:lnTo>
                    <a:pt x="241" y="50"/>
                  </a:lnTo>
                  <a:lnTo>
                    <a:pt x="236" y="0"/>
                  </a:lnTo>
                  <a:lnTo>
                    <a:pt x="273" y="0"/>
                  </a:lnTo>
                  <a:lnTo>
                    <a:pt x="312" y="0"/>
                  </a:lnTo>
                  <a:lnTo>
                    <a:pt x="345" y="22"/>
                  </a:lnTo>
                  <a:lnTo>
                    <a:pt x="377" y="45"/>
                  </a:lnTo>
                  <a:lnTo>
                    <a:pt x="409" y="67"/>
                  </a:lnTo>
                  <a:lnTo>
                    <a:pt x="440" y="88"/>
                  </a:lnTo>
                  <a:lnTo>
                    <a:pt x="473" y="111"/>
                  </a:lnTo>
                  <a:lnTo>
                    <a:pt x="504" y="133"/>
                  </a:lnTo>
                  <a:lnTo>
                    <a:pt x="536" y="154"/>
                  </a:lnTo>
                  <a:lnTo>
                    <a:pt x="568" y="175"/>
                  </a:lnTo>
                  <a:lnTo>
                    <a:pt x="571" y="192"/>
                  </a:lnTo>
                  <a:lnTo>
                    <a:pt x="591" y="201"/>
                  </a:lnTo>
                  <a:lnTo>
                    <a:pt x="601" y="215"/>
                  </a:lnTo>
                  <a:lnTo>
                    <a:pt x="619" y="218"/>
                  </a:lnTo>
                  <a:lnTo>
                    <a:pt x="626" y="227"/>
                  </a:lnTo>
                  <a:lnTo>
                    <a:pt x="658" y="237"/>
                  </a:lnTo>
                  <a:lnTo>
                    <a:pt x="662" y="255"/>
                  </a:lnTo>
                  <a:lnTo>
                    <a:pt x="657" y="271"/>
                  </a:lnTo>
                  <a:lnTo>
                    <a:pt x="664" y="278"/>
                  </a:lnTo>
                  <a:lnTo>
                    <a:pt x="698" y="270"/>
                  </a:lnTo>
                  <a:lnTo>
                    <a:pt x="699" y="305"/>
                  </a:lnTo>
                  <a:lnTo>
                    <a:pt x="700" y="340"/>
                  </a:lnTo>
                  <a:lnTo>
                    <a:pt x="700" y="375"/>
                  </a:lnTo>
                  <a:lnTo>
                    <a:pt x="700" y="410"/>
                  </a:lnTo>
                  <a:lnTo>
                    <a:pt x="689" y="415"/>
                  </a:lnTo>
                  <a:lnTo>
                    <a:pt x="670" y="440"/>
                  </a:lnTo>
                  <a:lnTo>
                    <a:pt x="625" y="440"/>
                  </a:lnTo>
                  <a:lnTo>
                    <a:pt x="578" y="440"/>
                  </a:lnTo>
                  <a:lnTo>
                    <a:pt x="558" y="455"/>
                  </a:lnTo>
                  <a:lnTo>
                    <a:pt x="530" y="455"/>
                  </a:lnTo>
                  <a:lnTo>
                    <a:pt x="488" y="463"/>
                  </a:lnTo>
                  <a:lnTo>
                    <a:pt x="416" y="517"/>
                  </a:lnTo>
                  <a:lnTo>
                    <a:pt x="356" y="536"/>
                  </a:lnTo>
                  <a:lnTo>
                    <a:pt x="340" y="575"/>
                  </a:lnTo>
                  <a:lnTo>
                    <a:pt x="306" y="610"/>
                  </a:lnTo>
                  <a:lnTo>
                    <a:pt x="298" y="631"/>
                  </a:lnTo>
                  <a:lnTo>
                    <a:pt x="298" y="659"/>
                  </a:lnTo>
                  <a:lnTo>
                    <a:pt x="289" y="660"/>
                  </a:lnTo>
                  <a:lnTo>
                    <a:pt x="282" y="653"/>
                  </a:lnTo>
                  <a:lnTo>
                    <a:pt x="274" y="653"/>
                  </a:lnTo>
                  <a:lnTo>
                    <a:pt x="263" y="663"/>
                  </a:lnTo>
                  <a:lnTo>
                    <a:pt x="256" y="662"/>
                  </a:lnTo>
                  <a:lnTo>
                    <a:pt x="254" y="642"/>
                  </a:lnTo>
                  <a:lnTo>
                    <a:pt x="246" y="643"/>
                  </a:lnTo>
                  <a:lnTo>
                    <a:pt x="244" y="648"/>
                  </a:lnTo>
                  <a:lnTo>
                    <a:pt x="236" y="645"/>
                  </a:lnTo>
                  <a:lnTo>
                    <a:pt x="234" y="658"/>
                  </a:lnTo>
                  <a:lnTo>
                    <a:pt x="221" y="660"/>
                  </a:lnTo>
                  <a:lnTo>
                    <a:pt x="219" y="666"/>
                  </a:lnTo>
                  <a:lnTo>
                    <a:pt x="210" y="660"/>
                  </a:lnTo>
                  <a:lnTo>
                    <a:pt x="205" y="663"/>
                  </a:lnTo>
                  <a:lnTo>
                    <a:pt x="198" y="653"/>
                  </a:lnTo>
                  <a:lnTo>
                    <a:pt x="179" y="664"/>
                  </a:lnTo>
                  <a:lnTo>
                    <a:pt x="165" y="649"/>
                  </a:lnTo>
                  <a:lnTo>
                    <a:pt x="163" y="628"/>
                  </a:lnTo>
                  <a:lnTo>
                    <a:pt x="156" y="627"/>
                  </a:lnTo>
                  <a:lnTo>
                    <a:pt x="150" y="633"/>
                  </a:lnTo>
                  <a:lnTo>
                    <a:pt x="150" y="627"/>
                  </a:lnTo>
                  <a:lnTo>
                    <a:pt x="162" y="618"/>
                  </a:lnTo>
                  <a:lnTo>
                    <a:pt x="162" y="613"/>
                  </a:lnTo>
                  <a:lnTo>
                    <a:pt x="152" y="608"/>
                  </a:lnTo>
                  <a:lnTo>
                    <a:pt x="148" y="601"/>
                  </a:lnTo>
                  <a:lnTo>
                    <a:pt x="143" y="602"/>
                  </a:lnTo>
                  <a:lnTo>
                    <a:pt x="143" y="587"/>
                  </a:lnTo>
                  <a:lnTo>
                    <a:pt x="141" y="578"/>
                  </a:lnTo>
                  <a:lnTo>
                    <a:pt x="135" y="577"/>
                  </a:lnTo>
                  <a:lnTo>
                    <a:pt x="133" y="564"/>
                  </a:lnTo>
                  <a:lnTo>
                    <a:pt x="120" y="564"/>
                  </a:lnTo>
                  <a:lnTo>
                    <a:pt x="119" y="571"/>
                  </a:lnTo>
                  <a:lnTo>
                    <a:pt x="106" y="577"/>
                  </a:lnTo>
                  <a:lnTo>
                    <a:pt x="105" y="585"/>
                  </a:lnTo>
                  <a:lnTo>
                    <a:pt x="80" y="576"/>
                  </a:lnTo>
                  <a:lnTo>
                    <a:pt x="66" y="589"/>
                  </a:lnTo>
                  <a:lnTo>
                    <a:pt x="52" y="577"/>
                  </a:lnTo>
                  <a:lnTo>
                    <a:pt x="41" y="584"/>
                  </a:lnTo>
                  <a:lnTo>
                    <a:pt x="33" y="583"/>
                  </a:lnTo>
                  <a:lnTo>
                    <a:pt x="30" y="579"/>
                  </a:lnTo>
                  <a:lnTo>
                    <a:pt x="35" y="568"/>
                  </a:lnTo>
                  <a:lnTo>
                    <a:pt x="35" y="543"/>
                  </a:lnTo>
                  <a:lnTo>
                    <a:pt x="24" y="525"/>
                  </a:lnTo>
                  <a:lnTo>
                    <a:pt x="15" y="525"/>
                  </a:lnTo>
                  <a:lnTo>
                    <a:pt x="7" y="513"/>
                  </a:lnTo>
                  <a:lnTo>
                    <a:pt x="11" y="502"/>
                  </a:lnTo>
                  <a:lnTo>
                    <a:pt x="7" y="487"/>
                  </a:lnTo>
                  <a:lnTo>
                    <a:pt x="1" y="481"/>
                  </a:lnTo>
                  <a:lnTo>
                    <a:pt x="0" y="466"/>
                  </a:lnTo>
                  <a:lnTo>
                    <a:pt x="18" y="448"/>
                  </a:lnTo>
                  <a:lnTo>
                    <a:pt x="32" y="416"/>
                  </a:lnTo>
                  <a:lnTo>
                    <a:pt x="43" y="420"/>
                  </a:lnTo>
                  <a:lnTo>
                    <a:pt x="53" y="445"/>
                  </a:lnTo>
                  <a:lnTo>
                    <a:pt x="67" y="448"/>
                  </a:lnTo>
                  <a:lnTo>
                    <a:pt x="88" y="431"/>
                  </a:lnTo>
                  <a:close/>
                </a:path>
              </a:pathLst>
            </a:custGeom>
            <a:grpFill/>
            <a:ln w="6350">
              <a:solidFill>
                <a:schemeClr val="tx2"/>
              </a:solidFill>
              <a:round/>
              <a:headEnd/>
              <a:tailEnd/>
            </a:ln>
          </p:spPr>
          <p:txBody>
            <a:bodyPr/>
            <a:lstStyle/>
            <a:p>
              <a:endParaRPr lang="en-US"/>
            </a:p>
          </p:txBody>
        </p:sp>
        <p:sp>
          <p:nvSpPr>
            <p:cNvPr id="594" name="Freeform 1500"/>
            <p:cNvSpPr>
              <a:spLocks/>
            </p:cNvSpPr>
            <p:nvPr/>
          </p:nvSpPr>
          <p:spPr bwMode="auto">
            <a:xfrm>
              <a:off x="4504540" y="4061512"/>
              <a:ext cx="160814" cy="118335"/>
            </a:xfrm>
            <a:custGeom>
              <a:avLst/>
              <a:gdLst>
                <a:gd name="T0" fmla="*/ 2147483647 w 326"/>
                <a:gd name="T1" fmla="*/ 2147483647 h 240"/>
                <a:gd name="T2" fmla="*/ 2147483647 w 326"/>
                <a:gd name="T3" fmla="*/ 2147483647 h 240"/>
                <a:gd name="T4" fmla="*/ 2147483647 w 326"/>
                <a:gd name="T5" fmla="*/ 2147483647 h 240"/>
                <a:gd name="T6" fmla="*/ 2147483647 w 326"/>
                <a:gd name="T7" fmla="*/ 2147483647 h 240"/>
                <a:gd name="T8" fmla="*/ 2147483647 w 326"/>
                <a:gd name="T9" fmla="*/ 2147483647 h 240"/>
                <a:gd name="T10" fmla="*/ 2147483647 w 326"/>
                <a:gd name="T11" fmla="*/ 2147483647 h 240"/>
                <a:gd name="T12" fmla="*/ 2147483647 w 326"/>
                <a:gd name="T13" fmla="*/ 2147483647 h 240"/>
                <a:gd name="T14" fmla="*/ 2147483647 w 326"/>
                <a:gd name="T15" fmla="*/ 2147483647 h 240"/>
                <a:gd name="T16" fmla="*/ 2147483647 w 326"/>
                <a:gd name="T17" fmla="*/ 2147483647 h 240"/>
                <a:gd name="T18" fmla="*/ 2147483647 w 326"/>
                <a:gd name="T19" fmla="*/ 2147483647 h 240"/>
                <a:gd name="T20" fmla="*/ 2147483647 w 326"/>
                <a:gd name="T21" fmla="*/ 2147483647 h 240"/>
                <a:gd name="T22" fmla="*/ 2147483647 w 326"/>
                <a:gd name="T23" fmla="*/ 2147483647 h 240"/>
                <a:gd name="T24" fmla="*/ 2147483647 w 326"/>
                <a:gd name="T25" fmla="*/ 2147483647 h 240"/>
                <a:gd name="T26" fmla="*/ 2147483647 w 326"/>
                <a:gd name="T27" fmla="*/ 2147483647 h 240"/>
                <a:gd name="T28" fmla="*/ 2147483647 w 326"/>
                <a:gd name="T29" fmla="*/ 2147483647 h 240"/>
                <a:gd name="T30" fmla="*/ 2147483647 w 326"/>
                <a:gd name="T31" fmla="*/ 2147483647 h 240"/>
                <a:gd name="T32" fmla="*/ 2147483647 w 326"/>
                <a:gd name="T33" fmla="*/ 2147483647 h 240"/>
                <a:gd name="T34" fmla="*/ 2147483647 w 326"/>
                <a:gd name="T35" fmla="*/ 2147483647 h 240"/>
                <a:gd name="T36" fmla="*/ 2147483647 w 326"/>
                <a:gd name="T37" fmla="*/ 2147483647 h 240"/>
                <a:gd name="T38" fmla="*/ 2147483647 w 326"/>
                <a:gd name="T39" fmla="*/ 2147483647 h 240"/>
                <a:gd name="T40" fmla="*/ 2147483647 w 326"/>
                <a:gd name="T41" fmla="*/ 2147483647 h 240"/>
                <a:gd name="T42" fmla="*/ 2147483647 w 326"/>
                <a:gd name="T43" fmla="*/ 2147483647 h 240"/>
                <a:gd name="T44" fmla="*/ 2147483647 w 326"/>
                <a:gd name="T45" fmla="*/ 2147483647 h 240"/>
                <a:gd name="T46" fmla="*/ 2147483647 w 326"/>
                <a:gd name="T47" fmla="*/ 0 h 240"/>
                <a:gd name="T48" fmla="*/ 2147483647 w 326"/>
                <a:gd name="T49" fmla="*/ 2147483647 h 240"/>
                <a:gd name="T50" fmla="*/ 2147483647 w 326"/>
                <a:gd name="T51" fmla="*/ 2147483647 h 240"/>
                <a:gd name="T52" fmla="*/ 2147483647 w 326"/>
                <a:gd name="T53" fmla="*/ 2147483647 h 240"/>
                <a:gd name="T54" fmla="*/ 2147483647 w 326"/>
                <a:gd name="T55" fmla="*/ 2147483647 h 240"/>
                <a:gd name="T56" fmla="*/ 2147483647 w 326"/>
                <a:gd name="T57" fmla="*/ 2147483647 h 240"/>
                <a:gd name="T58" fmla="*/ 0 w 326"/>
                <a:gd name="T59" fmla="*/ 2147483647 h 240"/>
                <a:gd name="T60" fmla="*/ 0 w 326"/>
                <a:gd name="T61" fmla="*/ 2147483647 h 240"/>
                <a:gd name="T62" fmla="*/ 2147483647 w 326"/>
                <a:gd name="T63" fmla="*/ 2147483647 h 240"/>
                <a:gd name="T64" fmla="*/ 2147483647 w 326"/>
                <a:gd name="T65" fmla="*/ 2147483647 h 240"/>
                <a:gd name="T66" fmla="*/ 2147483647 w 326"/>
                <a:gd name="T67" fmla="*/ 2147483647 h 240"/>
                <a:gd name="T68" fmla="*/ 2147483647 w 326"/>
                <a:gd name="T69" fmla="*/ 2147483647 h 240"/>
                <a:gd name="T70" fmla="*/ 2147483647 w 326"/>
                <a:gd name="T71" fmla="*/ 2147483647 h 240"/>
                <a:gd name="T72" fmla="*/ 2147483647 w 326"/>
                <a:gd name="T73" fmla="*/ 2147483647 h 240"/>
                <a:gd name="T74" fmla="*/ 2147483647 w 326"/>
                <a:gd name="T75" fmla="*/ 2147483647 h 240"/>
                <a:gd name="T76" fmla="*/ 2147483647 w 326"/>
                <a:gd name="T77" fmla="*/ 2147483647 h 240"/>
                <a:gd name="T78" fmla="*/ 2147483647 w 326"/>
                <a:gd name="T79" fmla="*/ 2147483647 h 240"/>
                <a:gd name="T80" fmla="*/ 2147483647 w 326"/>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240"/>
                <a:gd name="T125" fmla="*/ 326 w 326"/>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240">
                  <a:moveTo>
                    <a:pt x="111" y="240"/>
                  </a:moveTo>
                  <a:lnTo>
                    <a:pt x="107" y="204"/>
                  </a:lnTo>
                  <a:lnTo>
                    <a:pt x="100" y="188"/>
                  </a:lnTo>
                  <a:lnTo>
                    <a:pt x="103" y="176"/>
                  </a:lnTo>
                  <a:lnTo>
                    <a:pt x="190" y="179"/>
                  </a:lnTo>
                  <a:lnTo>
                    <a:pt x="220" y="177"/>
                  </a:lnTo>
                  <a:lnTo>
                    <a:pt x="235" y="178"/>
                  </a:lnTo>
                  <a:lnTo>
                    <a:pt x="246" y="179"/>
                  </a:lnTo>
                  <a:lnTo>
                    <a:pt x="262" y="176"/>
                  </a:lnTo>
                  <a:lnTo>
                    <a:pt x="286" y="154"/>
                  </a:lnTo>
                  <a:lnTo>
                    <a:pt x="312" y="155"/>
                  </a:lnTo>
                  <a:lnTo>
                    <a:pt x="326" y="134"/>
                  </a:lnTo>
                  <a:lnTo>
                    <a:pt x="313" y="121"/>
                  </a:lnTo>
                  <a:lnTo>
                    <a:pt x="313" y="115"/>
                  </a:lnTo>
                  <a:lnTo>
                    <a:pt x="320" y="113"/>
                  </a:lnTo>
                  <a:lnTo>
                    <a:pt x="315" y="103"/>
                  </a:lnTo>
                  <a:lnTo>
                    <a:pt x="307" y="101"/>
                  </a:lnTo>
                  <a:lnTo>
                    <a:pt x="296" y="106"/>
                  </a:lnTo>
                  <a:lnTo>
                    <a:pt x="283" y="100"/>
                  </a:lnTo>
                  <a:lnTo>
                    <a:pt x="262" y="66"/>
                  </a:lnTo>
                  <a:lnTo>
                    <a:pt x="239" y="44"/>
                  </a:lnTo>
                  <a:lnTo>
                    <a:pt x="236" y="30"/>
                  </a:lnTo>
                  <a:lnTo>
                    <a:pt x="227" y="21"/>
                  </a:lnTo>
                  <a:lnTo>
                    <a:pt x="232" y="0"/>
                  </a:lnTo>
                  <a:lnTo>
                    <a:pt x="190" y="8"/>
                  </a:lnTo>
                  <a:lnTo>
                    <a:pt x="118" y="62"/>
                  </a:lnTo>
                  <a:lnTo>
                    <a:pt x="58" y="81"/>
                  </a:lnTo>
                  <a:lnTo>
                    <a:pt x="42" y="120"/>
                  </a:lnTo>
                  <a:lnTo>
                    <a:pt x="8" y="155"/>
                  </a:lnTo>
                  <a:lnTo>
                    <a:pt x="0" y="176"/>
                  </a:lnTo>
                  <a:lnTo>
                    <a:pt x="0" y="204"/>
                  </a:lnTo>
                  <a:lnTo>
                    <a:pt x="11" y="223"/>
                  </a:lnTo>
                  <a:lnTo>
                    <a:pt x="24" y="232"/>
                  </a:lnTo>
                  <a:lnTo>
                    <a:pt x="30" y="229"/>
                  </a:lnTo>
                  <a:lnTo>
                    <a:pt x="37" y="235"/>
                  </a:lnTo>
                  <a:lnTo>
                    <a:pt x="42" y="228"/>
                  </a:lnTo>
                  <a:lnTo>
                    <a:pt x="69" y="220"/>
                  </a:lnTo>
                  <a:lnTo>
                    <a:pt x="85" y="224"/>
                  </a:lnTo>
                  <a:lnTo>
                    <a:pt x="89" y="221"/>
                  </a:lnTo>
                  <a:lnTo>
                    <a:pt x="102" y="240"/>
                  </a:lnTo>
                  <a:lnTo>
                    <a:pt x="111" y="240"/>
                  </a:lnTo>
                  <a:close/>
                </a:path>
              </a:pathLst>
            </a:custGeom>
            <a:grpFill/>
            <a:ln w="6350">
              <a:solidFill>
                <a:schemeClr val="tx2"/>
              </a:solidFill>
              <a:round/>
              <a:headEnd/>
              <a:tailEnd/>
            </a:ln>
          </p:spPr>
          <p:txBody>
            <a:bodyPr/>
            <a:lstStyle/>
            <a:p>
              <a:endParaRPr lang="en-US"/>
            </a:p>
          </p:txBody>
        </p:sp>
        <p:sp>
          <p:nvSpPr>
            <p:cNvPr id="595" name="Freeform 1501"/>
            <p:cNvSpPr>
              <a:spLocks/>
            </p:cNvSpPr>
            <p:nvPr/>
          </p:nvSpPr>
          <p:spPr bwMode="auto">
            <a:xfrm>
              <a:off x="5252477" y="4298181"/>
              <a:ext cx="112266" cy="115300"/>
            </a:xfrm>
            <a:custGeom>
              <a:avLst/>
              <a:gdLst>
                <a:gd name="T0" fmla="*/ 2147483647 w 229"/>
                <a:gd name="T1" fmla="*/ 2147483647 h 233"/>
                <a:gd name="T2" fmla="*/ 2147483647 w 229"/>
                <a:gd name="T3" fmla="*/ 2147483647 h 233"/>
                <a:gd name="T4" fmla="*/ 2147483647 w 229"/>
                <a:gd name="T5" fmla="*/ 2147483647 h 233"/>
                <a:gd name="T6" fmla="*/ 2147483647 w 229"/>
                <a:gd name="T7" fmla="*/ 2147483647 h 233"/>
                <a:gd name="T8" fmla="*/ 2147483647 w 229"/>
                <a:gd name="T9" fmla="*/ 2147483647 h 233"/>
                <a:gd name="T10" fmla="*/ 2147483647 w 229"/>
                <a:gd name="T11" fmla="*/ 2147483647 h 233"/>
                <a:gd name="T12" fmla="*/ 2147483647 w 229"/>
                <a:gd name="T13" fmla="*/ 2147483647 h 233"/>
                <a:gd name="T14" fmla="*/ 2147483647 w 229"/>
                <a:gd name="T15" fmla="*/ 2147483647 h 233"/>
                <a:gd name="T16" fmla="*/ 2147483647 w 229"/>
                <a:gd name="T17" fmla="*/ 2147483647 h 233"/>
                <a:gd name="T18" fmla="*/ 2147483647 w 229"/>
                <a:gd name="T19" fmla="*/ 2147483647 h 233"/>
                <a:gd name="T20" fmla="*/ 2147483647 w 229"/>
                <a:gd name="T21" fmla="*/ 2147483647 h 233"/>
                <a:gd name="T22" fmla="*/ 2147483647 w 229"/>
                <a:gd name="T23" fmla="*/ 2147483647 h 233"/>
                <a:gd name="T24" fmla="*/ 2147483647 w 229"/>
                <a:gd name="T25" fmla="*/ 2147483647 h 233"/>
                <a:gd name="T26" fmla="*/ 2147483647 w 229"/>
                <a:gd name="T27" fmla="*/ 2147483647 h 233"/>
                <a:gd name="T28" fmla="*/ 2147483647 w 229"/>
                <a:gd name="T29" fmla="*/ 2147483647 h 233"/>
                <a:gd name="T30" fmla="*/ 2147483647 w 229"/>
                <a:gd name="T31" fmla="*/ 2147483647 h 233"/>
                <a:gd name="T32" fmla="*/ 2147483647 w 229"/>
                <a:gd name="T33" fmla="*/ 0 h 233"/>
                <a:gd name="T34" fmla="*/ 2147483647 w 229"/>
                <a:gd name="T35" fmla="*/ 2147483647 h 233"/>
                <a:gd name="T36" fmla="*/ 2147483647 w 229"/>
                <a:gd name="T37" fmla="*/ 2147483647 h 233"/>
                <a:gd name="T38" fmla="*/ 2147483647 w 229"/>
                <a:gd name="T39" fmla="*/ 2147483647 h 233"/>
                <a:gd name="T40" fmla="*/ 2147483647 w 229"/>
                <a:gd name="T41" fmla="*/ 2147483647 h 233"/>
                <a:gd name="T42" fmla="*/ 2147483647 w 229"/>
                <a:gd name="T43" fmla="*/ 2147483647 h 233"/>
                <a:gd name="T44" fmla="*/ 2147483647 w 229"/>
                <a:gd name="T45" fmla="*/ 2147483647 h 233"/>
                <a:gd name="T46" fmla="*/ 2147483647 w 229"/>
                <a:gd name="T47" fmla="*/ 2147483647 h 233"/>
                <a:gd name="T48" fmla="*/ 2147483647 w 229"/>
                <a:gd name="T49" fmla="*/ 2147483647 h 233"/>
                <a:gd name="T50" fmla="*/ 2147483647 w 229"/>
                <a:gd name="T51" fmla="*/ 2147483647 h 233"/>
                <a:gd name="T52" fmla="*/ 2147483647 w 229"/>
                <a:gd name="T53" fmla="*/ 2147483647 h 233"/>
                <a:gd name="T54" fmla="*/ 2147483647 w 229"/>
                <a:gd name="T55" fmla="*/ 2147483647 h 233"/>
                <a:gd name="T56" fmla="*/ 2147483647 w 229"/>
                <a:gd name="T57" fmla="*/ 2147483647 h 233"/>
                <a:gd name="T58" fmla="*/ 2147483647 w 229"/>
                <a:gd name="T59" fmla="*/ 2147483647 h 233"/>
                <a:gd name="T60" fmla="*/ 2147483647 w 229"/>
                <a:gd name="T61" fmla="*/ 2147483647 h 233"/>
                <a:gd name="T62" fmla="*/ 2147483647 w 229"/>
                <a:gd name="T63" fmla="*/ 2147483647 h 233"/>
                <a:gd name="T64" fmla="*/ 2147483647 w 229"/>
                <a:gd name="T65" fmla="*/ 2147483647 h 233"/>
                <a:gd name="T66" fmla="*/ 2147483647 w 229"/>
                <a:gd name="T67" fmla="*/ 2147483647 h 233"/>
                <a:gd name="T68" fmla="*/ 2147483647 w 229"/>
                <a:gd name="T69" fmla="*/ 2147483647 h 233"/>
                <a:gd name="T70" fmla="*/ 2147483647 w 229"/>
                <a:gd name="T71" fmla="*/ 2147483647 h 233"/>
                <a:gd name="T72" fmla="*/ 2147483647 w 229"/>
                <a:gd name="T73" fmla="*/ 2147483647 h 233"/>
                <a:gd name="T74" fmla="*/ 2147483647 w 229"/>
                <a:gd name="T75" fmla="*/ 2147483647 h 233"/>
                <a:gd name="T76" fmla="*/ 2147483647 w 229"/>
                <a:gd name="T77" fmla="*/ 2147483647 h 233"/>
                <a:gd name="T78" fmla="*/ 2147483647 w 229"/>
                <a:gd name="T79" fmla="*/ 2147483647 h 233"/>
                <a:gd name="T80" fmla="*/ 2147483647 w 229"/>
                <a:gd name="T81" fmla="*/ 2147483647 h 233"/>
                <a:gd name="T82" fmla="*/ 2147483647 w 229"/>
                <a:gd name="T83" fmla="*/ 2147483647 h 233"/>
                <a:gd name="T84" fmla="*/ 2147483647 w 229"/>
                <a:gd name="T85" fmla="*/ 2147483647 h 233"/>
                <a:gd name="T86" fmla="*/ 2147483647 w 229"/>
                <a:gd name="T87" fmla="*/ 2147483647 h 233"/>
                <a:gd name="T88" fmla="*/ 2147483647 w 229"/>
                <a:gd name="T89" fmla="*/ 2147483647 h 233"/>
                <a:gd name="T90" fmla="*/ 0 w 229"/>
                <a:gd name="T91" fmla="*/ 2147483647 h 233"/>
                <a:gd name="T92" fmla="*/ 2147483647 w 229"/>
                <a:gd name="T93" fmla="*/ 2147483647 h 233"/>
                <a:gd name="T94" fmla="*/ 2147483647 w 229"/>
                <a:gd name="T95" fmla="*/ 2147483647 h 233"/>
                <a:gd name="T96" fmla="*/ 2147483647 w 229"/>
                <a:gd name="T97" fmla="*/ 2147483647 h 233"/>
                <a:gd name="T98" fmla="*/ 2147483647 w 229"/>
                <a:gd name="T99" fmla="*/ 214748364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9"/>
                <a:gd name="T151" fmla="*/ 0 h 233"/>
                <a:gd name="T152" fmla="*/ 229 w 229"/>
                <a:gd name="T153" fmla="*/ 233 h 23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9" h="233">
                  <a:moveTo>
                    <a:pt x="35" y="122"/>
                  </a:moveTo>
                  <a:lnTo>
                    <a:pt x="36" y="128"/>
                  </a:lnTo>
                  <a:lnTo>
                    <a:pt x="41" y="129"/>
                  </a:lnTo>
                  <a:lnTo>
                    <a:pt x="56" y="110"/>
                  </a:lnTo>
                  <a:lnTo>
                    <a:pt x="69" y="103"/>
                  </a:lnTo>
                  <a:lnTo>
                    <a:pt x="74" y="95"/>
                  </a:lnTo>
                  <a:lnTo>
                    <a:pt x="73" y="80"/>
                  </a:lnTo>
                  <a:lnTo>
                    <a:pt x="69" y="80"/>
                  </a:lnTo>
                  <a:lnTo>
                    <a:pt x="54" y="70"/>
                  </a:lnTo>
                  <a:lnTo>
                    <a:pt x="48" y="60"/>
                  </a:lnTo>
                  <a:lnTo>
                    <a:pt x="52" y="19"/>
                  </a:lnTo>
                  <a:lnTo>
                    <a:pt x="58" y="14"/>
                  </a:lnTo>
                  <a:lnTo>
                    <a:pt x="95" y="14"/>
                  </a:lnTo>
                  <a:lnTo>
                    <a:pt x="100" y="21"/>
                  </a:lnTo>
                  <a:lnTo>
                    <a:pt x="135" y="12"/>
                  </a:lnTo>
                  <a:lnTo>
                    <a:pt x="162" y="13"/>
                  </a:lnTo>
                  <a:lnTo>
                    <a:pt x="183" y="0"/>
                  </a:lnTo>
                  <a:lnTo>
                    <a:pt x="199" y="6"/>
                  </a:lnTo>
                  <a:lnTo>
                    <a:pt x="208" y="42"/>
                  </a:lnTo>
                  <a:lnTo>
                    <a:pt x="226" y="56"/>
                  </a:lnTo>
                  <a:lnTo>
                    <a:pt x="229" y="83"/>
                  </a:lnTo>
                  <a:lnTo>
                    <a:pt x="226" y="110"/>
                  </a:lnTo>
                  <a:lnTo>
                    <a:pt x="185" y="165"/>
                  </a:lnTo>
                  <a:lnTo>
                    <a:pt x="183" y="167"/>
                  </a:lnTo>
                  <a:lnTo>
                    <a:pt x="175" y="165"/>
                  </a:lnTo>
                  <a:lnTo>
                    <a:pt x="169" y="167"/>
                  </a:lnTo>
                  <a:lnTo>
                    <a:pt x="159" y="163"/>
                  </a:lnTo>
                  <a:lnTo>
                    <a:pt x="154" y="159"/>
                  </a:lnTo>
                  <a:lnTo>
                    <a:pt x="144" y="173"/>
                  </a:lnTo>
                  <a:lnTo>
                    <a:pt x="138" y="170"/>
                  </a:lnTo>
                  <a:lnTo>
                    <a:pt x="129" y="169"/>
                  </a:lnTo>
                  <a:lnTo>
                    <a:pt x="125" y="167"/>
                  </a:lnTo>
                  <a:lnTo>
                    <a:pt x="124" y="171"/>
                  </a:lnTo>
                  <a:lnTo>
                    <a:pt x="120" y="173"/>
                  </a:lnTo>
                  <a:lnTo>
                    <a:pt x="115" y="171"/>
                  </a:lnTo>
                  <a:lnTo>
                    <a:pt x="112" y="176"/>
                  </a:lnTo>
                  <a:lnTo>
                    <a:pt x="104" y="179"/>
                  </a:lnTo>
                  <a:lnTo>
                    <a:pt x="96" y="181"/>
                  </a:lnTo>
                  <a:lnTo>
                    <a:pt x="95" y="185"/>
                  </a:lnTo>
                  <a:lnTo>
                    <a:pt x="96" y="190"/>
                  </a:lnTo>
                  <a:lnTo>
                    <a:pt x="87" y="211"/>
                  </a:lnTo>
                  <a:lnTo>
                    <a:pt x="91" y="215"/>
                  </a:lnTo>
                  <a:lnTo>
                    <a:pt x="33" y="217"/>
                  </a:lnTo>
                  <a:lnTo>
                    <a:pt x="23" y="221"/>
                  </a:lnTo>
                  <a:lnTo>
                    <a:pt x="16" y="233"/>
                  </a:lnTo>
                  <a:lnTo>
                    <a:pt x="0" y="229"/>
                  </a:lnTo>
                  <a:lnTo>
                    <a:pt x="2" y="191"/>
                  </a:lnTo>
                  <a:lnTo>
                    <a:pt x="4" y="180"/>
                  </a:lnTo>
                  <a:lnTo>
                    <a:pt x="10" y="155"/>
                  </a:lnTo>
                  <a:lnTo>
                    <a:pt x="35" y="122"/>
                  </a:lnTo>
                  <a:close/>
                </a:path>
              </a:pathLst>
            </a:custGeom>
            <a:grpFill/>
            <a:ln w="6350">
              <a:solidFill>
                <a:schemeClr val="tx2"/>
              </a:solidFill>
              <a:round/>
              <a:headEnd/>
              <a:tailEnd/>
            </a:ln>
          </p:spPr>
          <p:txBody>
            <a:bodyPr/>
            <a:lstStyle/>
            <a:p>
              <a:endParaRPr lang="en-US"/>
            </a:p>
          </p:txBody>
        </p:sp>
        <p:sp>
          <p:nvSpPr>
            <p:cNvPr id="596" name="Freeform 1502"/>
            <p:cNvSpPr>
              <a:spLocks/>
            </p:cNvSpPr>
            <p:nvPr/>
          </p:nvSpPr>
          <p:spPr bwMode="auto">
            <a:xfrm>
              <a:off x="5084078" y="3879458"/>
              <a:ext cx="355004" cy="429344"/>
            </a:xfrm>
            <a:custGeom>
              <a:avLst/>
              <a:gdLst>
                <a:gd name="T0" fmla="*/ 2147483647 w 713"/>
                <a:gd name="T1" fmla="*/ 2147483647 h 862"/>
                <a:gd name="T2" fmla="*/ 2147483647 w 713"/>
                <a:gd name="T3" fmla="*/ 2147483647 h 862"/>
                <a:gd name="T4" fmla="*/ 2147483647 w 713"/>
                <a:gd name="T5" fmla="*/ 2147483647 h 862"/>
                <a:gd name="T6" fmla="*/ 2147483647 w 713"/>
                <a:gd name="T7" fmla="*/ 2147483647 h 862"/>
                <a:gd name="T8" fmla="*/ 2147483647 w 713"/>
                <a:gd name="T9" fmla="*/ 2147483647 h 862"/>
                <a:gd name="T10" fmla="*/ 0 w 713"/>
                <a:gd name="T11" fmla="*/ 2147483647 h 862"/>
                <a:gd name="T12" fmla="*/ 2147483647 w 713"/>
                <a:gd name="T13" fmla="*/ 2147483647 h 862"/>
                <a:gd name="T14" fmla="*/ 2147483647 w 713"/>
                <a:gd name="T15" fmla="*/ 2147483647 h 862"/>
                <a:gd name="T16" fmla="*/ 2147483647 w 713"/>
                <a:gd name="T17" fmla="*/ 2147483647 h 862"/>
                <a:gd name="T18" fmla="*/ 2147483647 w 713"/>
                <a:gd name="T19" fmla="*/ 2147483647 h 862"/>
                <a:gd name="T20" fmla="*/ 2147483647 w 713"/>
                <a:gd name="T21" fmla="*/ 2147483647 h 862"/>
                <a:gd name="T22" fmla="*/ 2147483647 w 713"/>
                <a:gd name="T23" fmla="*/ 2147483647 h 862"/>
                <a:gd name="T24" fmla="*/ 2147483647 w 713"/>
                <a:gd name="T25" fmla="*/ 2147483647 h 862"/>
                <a:gd name="T26" fmla="*/ 2147483647 w 713"/>
                <a:gd name="T27" fmla="*/ 2147483647 h 862"/>
                <a:gd name="T28" fmla="*/ 2147483647 w 713"/>
                <a:gd name="T29" fmla="*/ 2147483647 h 862"/>
                <a:gd name="T30" fmla="*/ 2147483647 w 713"/>
                <a:gd name="T31" fmla="*/ 2147483647 h 862"/>
                <a:gd name="T32" fmla="*/ 2147483647 w 713"/>
                <a:gd name="T33" fmla="*/ 2147483647 h 862"/>
                <a:gd name="T34" fmla="*/ 2147483647 w 713"/>
                <a:gd name="T35" fmla="*/ 2147483647 h 862"/>
                <a:gd name="T36" fmla="*/ 2147483647 w 713"/>
                <a:gd name="T37" fmla="*/ 2147483647 h 862"/>
                <a:gd name="T38" fmla="*/ 2147483647 w 713"/>
                <a:gd name="T39" fmla="*/ 2147483647 h 862"/>
                <a:gd name="T40" fmla="*/ 2147483647 w 713"/>
                <a:gd name="T41" fmla="*/ 2147483647 h 862"/>
                <a:gd name="T42" fmla="*/ 2147483647 w 713"/>
                <a:gd name="T43" fmla="*/ 2147483647 h 862"/>
                <a:gd name="T44" fmla="*/ 2147483647 w 713"/>
                <a:gd name="T45" fmla="*/ 2147483647 h 862"/>
                <a:gd name="T46" fmla="*/ 2147483647 w 713"/>
                <a:gd name="T47" fmla="*/ 2147483647 h 862"/>
                <a:gd name="T48" fmla="*/ 2147483647 w 713"/>
                <a:gd name="T49" fmla="*/ 2147483647 h 862"/>
                <a:gd name="T50" fmla="*/ 2147483647 w 713"/>
                <a:gd name="T51" fmla="*/ 2147483647 h 862"/>
                <a:gd name="T52" fmla="*/ 2147483647 w 713"/>
                <a:gd name="T53" fmla="*/ 2147483647 h 862"/>
                <a:gd name="T54" fmla="*/ 2147483647 w 713"/>
                <a:gd name="T55" fmla="*/ 2147483647 h 862"/>
                <a:gd name="T56" fmla="*/ 2147483647 w 713"/>
                <a:gd name="T57" fmla="*/ 2147483647 h 862"/>
                <a:gd name="T58" fmla="*/ 2147483647 w 713"/>
                <a:gd name="T59" fmla="*/ 2147483647 h 862"/>
                <a:gd name="T60" fmla="*/ 2147483647 w 713"/>
                <a:gd name="T61" fmla="*/ 2147483647 h 862"/>
                <a:gd name="T62" fmla="*/ 2147483647 w 713"/>
                <a:gd name="T63" fmla="*/ 2147483647 h 862"/>
                <a:gd name="T64" fmla="*/ 2147483647 w 713"/>
                <a:gd name="T65" fmla="*/ 2147483647 h 862"/>
                <a:gd name="T66" fmla="*/ 2147483647 w 713"/>
                <a:gd name="T67" fmla="*/ 2147483647 h 862"/>
                <a:gd name="T68" fmla="*/ 2147483647 w 713"/>
                <a:gd name="T69" fmla="*/ 2147483647 h 862"/>
                <a:gd name="T70" fmla="*/ 2147483647 w 713"/>
                <a:gd name="T71" fmla="*/ 2147483647 h 862"/>
                <a:gd name="T72" fmla="*/ 2147483647 w 713"/>
                <a:gd name="T73" fmla="*/ 2147483647 h 862"/>
                <a:gd name="T74" fmla="*/ 2147483647 w 713"/>
                <a:gd name="T75" fmla="*/ 2147483647 h 862"/>
                <a:gd name="T76" fmla="*/ 2147483647 w 713"/>
                <a:gd name="T77" fmla="*/ 2147483647 h 862"/>
                <a:gd name="T78" fmla="*/ 2147483647 w 713"/>
                <a:gd name="T79" fmla="*/ 2147483647 h 862"/>
                <a:gd name="T80" fmla="*/ 2147483647 w 713"/>
                <a:gd name="T81" fmla="*/ 2147483647 h 862"/>
                <a:gd name="T82" fmla="*/ 2147483647 w 713"/>
                <a:gd name="T83" fmla="*/ 2147483647 h 862"/>
                <a:gd name="T84" fmla="*/ 2147483647 w 713"/>
                <a:gd name="T85" fmla="*/ 2147483647 h 862"/>
                <a:gd name="T86" fmla="*/ 2147483647 w 713"/>
                <a:gd name="T87" fmla="*/ 2147483647 h 862"/>
                <a:gd name="T88" fmla="*/ 2147483647 w 713"/>
                <a:gd name="T89" fmla="*/ 2147483647 h 862"/>
                <a:gd name="T90" fmla="*/ 2147483647 w 713"/>
                <a:gd name="T91" fmla="*/ 2147483647 h 862"/>
                <a:gd name="T92" fmla="*/ 2147483647 w 713"/>
                <a:gd name="T93" fmla="*/ 2147483647 h 862"/>
                <a:gd name="T94" fmla="*/ 2147483647 w 713"/>
                <a:gd name="T95" fmla="*/ 2147483647 h 862"/>
                <a:gd name="T96" fmla="*/ 2147483647 w 713"/>
                <a:gd name="T97" fmla="*/ 2147483647 h 862"/>
                <a:gd name="T98" fmla="*/ 2147483647 w 713"/>
                <a:gd name="T99" fmla="*/ 2147483647 h 862"/>
                <a:gd name="T100" fmla="*/ 2147483647 w 713"/>
                <a:gd name="T101" fmla="*/ 2147483647 h 862"/>
                <a:gd name="T102" fmla="*/ 2147483647 w 713"/>
                <a:gd name="T103" fmla="*/ 2147483647 h 862"/>
                <a:gd name="T104" fmla="*/ 2147483647 w 713"/>
                <a:gd name="T105" fmla="*/ 2147483647 h 8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13"/>
                <a:gd name="T160" fmla="*/ 0 h 862"/>
                <a:gd name="T161" fmla="*/ 713 w 713"/>
                <a:gd name="T162" fmla="*/ 862 h 8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13" h="862">
                  <a:moveTo>
                    <a:pt x="93" y="166"/>
                  </a:moveTo>
                  <a:lnTo>
                    <a:pt x="93" y="208"/>
                  </a:lnTo>
                  <a:lnTo>
                    <a:pt x="93" y="250"/>
                  </a:lnTo>
                  <a:lnTo>
                    <a:pt x="92" y="291"/>
                  </a:lnTo>
                  <a:lnTo>
                    <a:pt x="92" y="333"/>
                  </a:lnTo>
                  <a:lnTo>
                    <a:pt x="47" y="337"/>
                  </a:lnTo>
                  <a:lnTo>
                    <a:pt x="40" y="360"/>
                  </a:lnTo>
                  <a:lnTo>
                    <a:pt x="19" y="389"/>
                  </a:lnTo>
                  <a:lnTo>
                    <a:pt x="19" y="409"/>
                  </a:lnTo>
                  <a:lnTo>
                    <a:pt x="9" y="416"/>
                  </a:lnTo>
                  <a:lnTo>
                    <a:pt x="8" y="436"/>
                  </a:lnTo>
                  <a:lnTo>
                    <a:pt x="0" y="456"/>
                  </a:lnTo>
                  <a:lnTo>
                    <a:pt x="0" y="468"/>
                  </a:lnTo>
                  <a:lnTo>
                    <a:pt x="20" y="464"/>
                  </a:lnTo>
                  <a:lnTo>
                    <a:pt x="23" y="489"/>
                  </a:lnTo>
                  <a:lnTo>
                    <a:pt x="43" y="531"/>
                  </a:lnTo>
                  <a:lnTo>
                    <a:pt x="43" y="537"/>
                  </a:lnTo>
                  <a:lnTo>
                    <a:pt x="36" y="540"/>
                  </a:lnTo>
                  <a:lnTo>
                    <a:pt x="69" y="584"/>
                  </a:lnTo>
                  <a:lnTo>
                    <a:pt x="73" y="596"/>
                  </a:lnTo>
                  <a:lnTo>
                    <a:pt x="69" y="633"/>
                  </a:lnTo>
                  <a:lnTo>
                    <a:pt x="77" y="640"/>
                  </a:lnTo>
                  <a:lnTo>
                    <a:pt x="96" y="643"/>
                  </a:lnTo>
                  <a:lnTo>
                    <a:pt x="101" y="655"/>
                  </a:lnTo>
                  <a:lnTo>
                    <a:pt x="126" y="660"/>
                  </a:lnTo>
                  <a:lnTo>
                    <a:pt x="140" y="670"/>
                  </a:lnTo>
                  <a:lnTo>
                    <a:pt x="145" y="690"/>
                  </a:lnTo>
                  <a:lnTo>
                    <a:pt x="189" y="723"/>
                  </a:lnTo>
                  <a:lnTo>
                    <a:pt x="202" y="755"/>
                  </a:lnTo>
                  <a:lnTo>
                    <a:pt x="234" y="772"/>
                  </a:lnTo>
                  <a:lnTo>
                    <a:pt x="244" y="794"/>
                  </a:lnTo>
                  <a:lnTo>
                    <a:pt x="266" y="824"/>
                  </a:lnTo>
                  <a:lnTo>
                    <a:pt x="285" y="831"/>
                  </a:lnTo>
                  <a:lnTo>
                    <a:pt x="295" y="822"/>
                  </a:lnTo>
                  <a:lnTo>
                    <a:pt x="324" y="826"/>
                  </a:lnTo>
                  <a:lnTo>
                    <a:pt x="334" y="818"/>
                  </a:lnTo>
                  <a:lnTo>
                    <a:pt x="385" y="860"/>
                  </a:lnTo>
                  <a:lnTo>
                    <a:pt x="389" y="860"/>
                  </a:lnTo>
                  <a:lnTo>
                    <a:pt x="395" y="855"/>
                  </a:lnTo>
                  <a:lnTo>
                    <a:pt x="432" y="855"/>
                  </a:lnTo>
                  <a:lnTo>
                    <a:pt x="437" y="862"/>
                  </a:lnTo>
                  <a:lnTo>
                    <a:pt x="472" y="853"/>
                  </a:lnTo>
                  <a:lnTo>
                    <a:pt x="499" y="854"/>
                  </a:lnTo>
                  <a:lnTo>
                    <a:pt x="520" y="841"/>
                  </a:lnTo>
                  <a:lnTo>
                    <a:pt x="543" y="820"/>
                  </a:lnTo>
                  <a:lnTo>
                    <a:pt x="602" y="819"/>
                  </a:lnTo>
                  <a:lnTo>
                    <a:pt x="603" y="788"/>
                  </a:lnTo>
                  <a:lnTo>
                    <a:pt x="572" y="776"/>
                  </a:lnTo>
                  <a:lnTo>
                    <a:pt x="553" y="731"/>
                  </a:lnTo>
                  <a:lnTo>
                    <a:pt x="529" y="714"/>
                  </a:lnTo>
                  <a:lnTo>
                    <a:pt x="516" y="691"/>
                  </a:lnTo>
                  <a:lnTo>
                    <a:pt x="478" y="677"/>
                  </a:lnTo>
                  <a:lnTo>
                    <a:pt x="487" y="667"/>
                  </a:lnTo>
                  <a:lnTo>
                    <a:pt x="487" y="655"/>
                  </a:lnTo>
                  <a:lnTo>
                    <a:pt x="512" y="655"/>
                  </a:lnTo>
                  <a:lnTo>
                    <a:pt x="527" y="645"/>
                  </a:lnTo>
                  <a:lnTo>
                    <a:pt x="531" y="564"/>
                  </a:lnTo>
                  <a:lnTo>
                    <a:pt x="535" y="566"/>
                  </a:lnTo>
                  <a:lnTo>
                    <a:pt x="543" y="550"/>
                  </a:lnTo>
                  <a:lnTo>
                    <a:pt x="561" y="543"/>
                  </a:lnTo>
                  <a:lnTo>
                    <a:pt x="568" y="512"/>
                  </a:lnTo>
                  <a:lnTo>
                    <a:pt x="595" y="473"/>
                  </a:lnTo>
                  <a:lnTo>
                    <a:pt x="616" y="458"/>
                  </a:lnTo>
                  <a:lnTo>
                    <a:pt x="629" y="411"/>
                  </a:lnTo>
                  <a:lnTo>
                    <a:pt x="629" y="400"/>
                  </a:lnTo>
                  <a:lnTo>
                    <a:pt x="627" y="372"/>
                  </a:lnTo>
                  <a:lnTo>
                    <a:pt x="651" y="274"/>
                  </a:lnTo>
                  <a:lnTo>
                    <a:pt x="662" y="273"/>
                  </a:lnTo>
                  <a:lnTo>
                    <a:pt x="673" y="264"/>
                  </a:lnTo>
                  <a:lnTo>
                    <a:pt x="705" y="250"/>
                  </a:lnTo>
                  <a:lnTo>
                    <a:pt x="713" y="231"/>
                  </a:lnTo>
                  <a:lnTo>
                    <a:pt x="710" y="223"/>
                  </a:lnTo>
                  <a:lnTo>
                    <a:pt x="700" y="222"/>
                  </a:lnTo>
                  <a:lnTo>
                    <a:pt x="692" y="208"/>
                  </a:lnTo>
                  <a:lnTo>
                    <a:pt x="675" y="202"/>
                  </a:lnTo>
                  <a:lnTo>
                    <a:pt x="666" y="192"/>
                  </a:lnTo>
                  <a:lnTo>
                    <a:pt x="658" y="149"/>
                  </a:lnTo>
                  <a:lnTo>
                    <a:pt x="659" y="93"/>
                  </a:lnTo>
                  <a:lnTo>
                    <a:pt x="646" y="73"/>
                  </a:lnTo>
                  <a:lnTo>
                    <a:pt x="643" y="51"/>
                  </a:lnTo>
                  <a:lnTo>
                    <a:pt x="619" y="25"/>
                  </a:lnTo>
                  <a:lnTo>
                    <a:pt x="598" y="15"/>
                  </a:lnTo>
                  <a:lnTo>
                    <a:pt x="588" y="0"/>
                  </a:lnTo>
                  <a:lnTo>
                    <a:pt x="572" y="15"/>
                  </a:lnTo>
                  <a:lnTo>
                    <a:pt x="561" y="12"/>
                  </a:lnTo>
                  <a:lnTo>
                    <a:pt x="551" y="36"/>
                  </a:lnTo>
                  <a:lnTo>
                    <a:pt x="527" y="42"/>
                  </a:lnTo>
                  <a:lnTo>
                    <a:pt x="522" y="61"/>
                  </a:lnTo>
                  <a:lnTo>
                    <a:pt x="500" y="62"/>
                  </a:lnTo>
                  <a:lnTo>
                    <a:pt x="486" y="52"/>
                  </a:lnTo>
                  <a:lnTo>
                    <a:pt x="447" y="52"/>
                  </a:lnTo>
                  <a:lnTo>
                    <a:pt x="410" y="51"/>
                  </a:lnTo>
                  <a:lnTo>
                    <a:pt x="414" y="43"/>
                  </a:lnTo>
                  <a:lnTo>
                    <a:pt x="408" y="42"/>
                  </a:lnTo>
                  <a:lnTo>
                    <a:pt x="401" y="51"/>
                  </a:lnTo>
                  <a:lnTo>
                    <a:pt x="368" y="51"/>
                  </a:lnTo>
                  <a:lnTo>
                    <a:pt x="334" y="51"/>
                  </a:lnTo>
                  <a:lnTo>
                    <a:pt x="302" y="51"/>
                  </a:lnTo>
                  <a:lnTo>
                    <a:pt x="268" y="51"/>
                  </a:lnTo>
                  <a:lnTo>
                    <a:pt x="235" y="51"/>
                  </a:lnTo>
                  <a:lnTo>
                    <a:pt x="201" y="51"/>
                  </a:lnTo>
                  <a:lnTo>
                    <a:pt x="168" y="51"/>
                  </a:lnTo>
                  <a:lnTo>
                    <a:pt x="135" y="51"/>
                  </a:lnTo>
                  <a:lnTo>
                    <a:pt x="134" y="94"/>
                  </a:lnTo>
                  <a:lnTo>
                    <a:pt x="134" y="139"/>
                  </a:lnTo>
                  <a:lnTo>
                    <a:pt x="93" y="139"/>
                  </a:lnTo>
                  <a:lnTo>
                    <a:pt x="93" y="166"/>
                  </a:lnTo>
                  <a:close/>
                </a:path>
              </a:pathLst>
            </a:custGeom>
            <a:grpFill/>
            <a:ln w="6350">
              <a:solidFill>
                <a:schemeClr val="tx2"/>
              </a:solidFill>
              <a:round/>
              <a:headEnd/>
              <a:tailEnd/>
            </a:ln>
          </p:spPr>
          <p:txBody>
            <a:bodyPr/>
            <a:lstStyle/>
            <a:p>
              <a:endParaRPr lang="en-US"/>
            </a:p>
          </p:txBody>
        </p:sp>
        <p:sp>
          <p:nvSpPr>
            <p:cNvPr id="597" name="Freeform 1503"/>
            <p:cNvSpPr>
              <a:spLocks/>
            </p:cNvSpPr>
            <p:nvPr/>
          </p:nvSpPr>
          <p:spPr bwMode="auto">
            <a:xfrm>
              <a:off x="5493699" y="4129782"/>
              <a:ext cx="218465" cy="289768"/>
            </a:xfrm>
            <a:custGeom>
              <a:avLst/>
              <a:gdLst>
                <a:gd name="T0" fmla="*/ 2147483647 w 441"/>
                <a:gd name="T1" fmla="*/ 2147483647 h 582"/>
                <a:gd name="T2" fmla="*/ 2147483647 w 441"/>
                <a:gd name="T3" fmla="*/ 2147483647 h 582"/>
                <a:gd name="T4" fmla="*/ 2147483647 w 441"/>
                <a:gd name="T5" fmla="*/ 2147483647 h 582"/>
                <a:gd name="T6" fmla="*/ 2147483647 w 441"/>
                <a:gd name="T7" fmla="*/ 2147483647 h 582"/>
                <a:gd name="T8" fmla="*/ 2147483647 w 441"/>
                <a:gd name="T9" fmla="*/ 2147483647 h 582"/>
                <a:gd name="T10" fmla="*/ 2147483647 w 441"/>
                <a:gd name="T11" fmla="*/ 2147483647 h 582"/>
                <a:gd name="T12" fmla="*/ 0 w 441"/>
                <a:gd name="T13" fmla="*/ 2147483647 h 582"/>
                <a:gd name="T14" fmla="*/ 0 w 441"/>
                <a:gd name="T15" fmla="*/ 2147483647 h 582"/>
                <a:gd name="T16" fmla="*/ 2147483647 w 441"/>
                <a:gd name="T17" fmla="*/ 2147483647 h 582"/>
                <a:gd name="T18" fmla="*/ 2147483647 w 441"/>
                <a:gd name="T19" fmla="*/ 2147483647 h 582"/>
                <a:gd name="T20" fmla="*/ 2147483647 w 441"/>
                <a:gd name="T21" fmla="*/ 2147483647 h 582"/>
                <a:gd name="T22" fmla="*/ 2147483647 w 441"/>
                <a:gd name="T23" fmla="*/ 2147483647 h 582"/>
                <a:gd name="T24" fmla="*/ 2147483647 w 441"/>
                <a:gd name="T25" fmla="*/ 2147483647 h 582"/>
                <a:gd name="T26" fmla="*/ 2147483647 w 441"/>
                <a:gd name="T27" fmla="*/ 2147483647 h 582"/>
                <a:gd name="T28" fmla="*/ 2147483647 w 441"/>
                <a:gd name="T29" fmla="*/ 2147483647 h 582"/>
                <a:gd name="T30" fmla="*/ 2147483647 w 441"/>
                <a:gd name="T31" fmla="*/ 2147483647 h 582"/>
                <a:gd name="T32" fmla="*/ 2147483647 w 441"/>
                <a:gd name="T33" fmla="*/ 2147483647 h 582"/>
                <a:gd name="T34" fmla="*/ 2147483647 w 441"/>
                <a:gd name="T35" fmla="*/ 2147483647 h 582"/>
                <a:gd name="T36" fmla="*/ 2147483647 w 441"/>
                <a:gd name="T37" fmla="*/ 2147483647 h 582"/>
                <a:gd name="T38" fmla="*/ 2147483647 w 441"/>
                <a:gd name="T39" fmla="*/ 2147483647 h 582"/>
                <a:gd name="T40" fmla="*/ 2147483647 w 441"/>
                <a:gd name="T41" fmla="*/ 0 h 582"/>
                <a:gd name="T42" fmla="*/ 2147483647 w 441"/>
                <a:gd name="T43" fmla="*/ 2147483647 h 582"/>
                <a:gd name="T44" fmla="*/ 2147483647 w 441"/>
                <a:gd name="T45" fmla="*/ 2147483647 h 582"/>
                <a:gd name="T46" fmla="*/ 2147483647 w 441"/>
                <a:gd name="T47" fmla="*/ 2147483647 h 582"/>
                <a:gd name="T48" fmla="*/ 2147483647 w 441"/>
                <a:gd name="T49" fmla="*/ 2147483647 h 582"/>
                <a:gd name="T50" fmla="*/ 2147483647 w 441"/>
                <a:gd name="T51" fmla="*/ 2147483647 h 582"/>
                <a:gd name="T52" fmla="*/ 2147483647 w 441"/>
                <a:gd name="T53" fmla="*/ 2147483647 h 582"/>
                <a:gd name="T54" fmla="*/ 2147483647 w 441"/>
                <a:gd name="T55" fmla="*/ 2147483647 h 582"/>
                <a:gd name="T56" fmla="*/ 2147483647 w 441"/>
                <a:gd name="T57" fmla="*/ 2147483647 h 582"/>
                <a:gd name="T58" fmla="*/ 2147483647 w 441"/>
                <a:gd name="T59" fmla="*/ 2147483647 h 582"/>
                <a:gd name="T60" fmla="*/ 2147483647 w 441"/>
                <a:gd name="T61" fmla="*/ 2147483647 h 582"/>
                <a:gd name="T62" fmla="*/ 2147483647 w 441"/>
                <a:gd name="T63" fmla="*/ 2147483647 h 5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582"/>
                <a:gd name="T98" fmla="*/ 441 w 441"/>
                <a:gd name="T99" fmla="*/ 582 h 58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582">
                  <a:moveTo>
                    <a:pt x="294" y="178"/>
                  </a:moveTo>
                  <a:lnTo>
                    <a:pt x="264" y="209"/>
                  </a:lnTo>
                  <a:lnTo>
                    <a:pt x="233" y="239"/>
                  </a:lnTo>
                  <a:lnTo>
                    <a:pt x="203" y="268"/>
                  </a:lnTo>
                  <a:lnTo>
                    <a:pt x="173" y="299"/>
                  </a:lnTo>
                  <a:lnTo>
                    <a:pt x="122" y="299"/>
                  </a:lnTo>
                  <a:lnTo>
                    <a:pt x="100" y="310"/>
                  </a:lnTo>
                  <a:lnTo>
                    <a:pt x="79" y="326"/>
                  </a:lnTo>
                  <a:lnTo>
                    <a:pt x="54" y="333"/>
                  </a:lnTo>
                  <a:lnTo>
                    <a:pt x="50" y="335"/>
                  </a:lnTo>
                  <a:lnTo>
                    <a:pt x="38" y="344"/>
                  </a:lnTo>
                  <a:lnTo>
                    <a:pt x="19" y="373"/>
                  </a:lnTo>
                  <a:lnTo>
                    <a:pt x="0" y="392"/>
                  </a:lnTo>
                  <a:lnTo>
                    <a:pt x="0" y="432"/>
                  </a:lnTo>
                  <a:lnTo>
                    <a:pt x="0" y="470"/>
                  </a:lnTo>
                  <a:lnTo>
                    <a:pt x="0" y="510"/>
                  </a:lnTo>
                  <a:lnTo>
                    <a:pt x="0" y="549"/>
                  </a:lnTo>
                  <a:lnTo>
                    <a:pt x="23" y="582"/>
                  </a:lnTo>
                  <a:lnTo>
                    <a:pt x="63" y="535"/>
                  </a:lnTo>
                  <a:lnTo>
                    <a:pt x="68" y="519"/>
                  </a:lnTo>
                  <a:lnTo>
                    <a:pt x="80" y="518"/>
                  </a:lnTo>
                  <a:lnTo>
                    <a:pt x="109" y="487"/>
                  </a:lnTo>
                  <a:lnTo>
                    <a:pt x="169" y="435"/>
                  </a:lnTo>
                  <a:lnTo>
                    <a:pt x="207" y="418"/>
                  </a:lnTo>
                  <a:lnTo>
                    <a:pt x="233" y="387"/>
                  </a:lnTo>
                  <a:lnTo>
                    <a:pt x="285" y="340"/>
                  </a:lnTo>
                  <a:lnTo>
                    <a:pt x="310" y="298"/>
                  </a:lnTo>
                  <a:lnTo>
                    <a:pt x="338" y="270"/>
                  </a:lnTo>
                  <a:lnTo>
                    <a:pt x="351" y="233"/>
                  </a:lnTo>
                  <a:lnTo>
                    <a:pt x="377" y="186"/>
                  </a:lnTo>
                  <a:lnTo>
                    <a:pt x="380" y="172"/>
                  </a:lnTo>
                  <a:lnTo>
                    <a:pt x="391" y="161"/>
                  </a:lnTo>
                  <a:lnTo>
                    <a:pt x="415" y="122"/>
                  </a:lnTo>
                  <a:lnTo>
                    <a:pt x="424" y="72"/>
                  </a:lnTo>
                  <a:lnTo>
                    <a:pt x="441" y="70"/>
                  </a:lnTo>
                  <a:lnTo>
                    <a:pt x="435" y="65"/>
                  </a:lnTo>
                  <a:lnTo>
                    <a:pt x="428" y="66"/>
                  </a:lnTo>
                  <a:lnTo>
                    <a:pt x="434" y="59"/>
                  </a:lnTo>
                  <a:lnTo>
                    <a:pt x="435" y="37"/>
                  </a:lnTo>
                  <a:lnTo>
                    <a:pt x="430" y="26"/>
                  </a:lnTo>
                  <a:lnTo>
                    <a:pt x="438" y="7"/>
                  </a:lnTo>
                  <a:lnTo>
                    <a:pt x="413" y="0"/>
                  </a:lnTo>
                  <a:lnTo>
                    <a:pt x="389" y="17"/>
                  </a:lnTo>
                  <a:lnTo>
                    <a:pt x="351" y="24"/>
                  </a:lnTo>
                  <a:lnTo>
                    <a:pt x="338" y="29"/>
                  </a:lnTo>
                  <a:lnTo>
                    <a:pt x="323" y="27"/>
                  </a:lnTo>
                  <a:lnTo>
                    <a:pt x="309" y="34"/>
                  </a:lnTo>
                  <a:lnTo>
                    <a:pt x="269" y="35"/>
                  </a:lnTo>
                  <a:lnTo>
                    <a:pt x="236" y="53"/>
                  </a:lnTo>
                  <a:lnTo>
                    <a:pt x="202" y="46"/>
                  </a:lnTo>
                  <a:lnTo>
                    <a:pt x="169" y="65"/>
                  </a:lnTo>
                  <a:lnTo>
                    <a:pt x="146" y="66"/>
                  </a:lnTo>
                  <a:lnTo>
                    <a:pt x="130" y="58"/>
                  </a:lnTo>
                  <a:lnTo>
                    <a:pt x="95" y="19"/>
                  </a:lnTo>
                  <a:lnTo>
                    <a:pt x="81" y="43"/>
                  </a:lnTo>
                  <a:lnTo>
                    <a:pt x="76" y="52"/>
                  </a:lnTo>
                  <a:lnTo>
                    <a:pt x="80" y="69"/>
                  </a:lnTo>
                  <a:lnTo>
                    <a:pt x="109" y="104"/>
                  </a:lnTo>
                  <a:lnTo>
                    <a:pt x="130" y="122"/>
                  </a:lnTo>
                  <a:lnTo>
                    <a:pt x="162" y="133"/>
                  </a:lnTo>
                  <a:lnTo>
                    <a:pt x="195" y="144"/>
                  </a:lnTo>
                  <a:lnTo>
                    <a:pt x="227" y="157"/>
                  </a:lnTo>
                  <a:lnTo>
                    <a:pt x="261" y="168"/>
                  </a:lnTo>
                  <a:lnTo>
                    <a:pt x="303" y="167"/>
                  </a:lnTo>
                  <a:lnTo>
                    <a:pt x="294" y="178"/>
                  </a:lnTo>
                  <a:close/>
                </a:path>
              </a:pathLst>
            </a:custGeom>
            <a:grpFill/>
            <a:ln w="6350">
              <a:solidFill>
                <a:schemeClr val="tx2"/>
              </a:solidFill>
              <a:round/>
              <a:headEnd/>
              <a:tailEnd/>
            </a:ln>
          </p:spPr>
          <p:txBody>
            <a:bodyPr/>
            <a:lstStyle/>
            <a:p>
              <a:endParaRPr lang="en-US"/>
            </a:p>
          </p:txBody>
        </p:sp>
        <p:sp>
          <p:nvSpPr>
            <p:cNvPr id="598" name="Freeform 1504"/>
            <p:cNvSpPr>
              <a:spLocks/>
            </p:cNvSpPr>
            <p:nvPr/>
          </p:nvSpPr>
          <p:spPr bwMode="auto">
            <a:xfrm>
              <a:off x="5320748" y="4066063"/>
              <a:ext cx="324662" cy="244254"/>
            </a:xfrm>
            <a:custGeom>
              <a:avLst/>
              <a:gdLst>
                <a:gd name="T0" fmla="*/ 2147483647 w 649"/>
                <a:gd name="T1" fmla="*/ 2147483647 h 491"/>
                <a:gd name="T2" fmla="*/ 2147483647 w 649"/>
                <a:gd name="T3" fmla="*/ 2147483647 h 491"/>
                <a:gd name="T4" fmla="*/ 2147483647 w 649"/>
                <a:gd name="T5" fmla="*/ 2147483647 h 491"/>
                <a:gd name="T6" fmla="*/ 2147483647 w 649"/>
                <a:gd name="T7" fmla="*/ 2147483647 h 491"/>
                <a:gd name="T8" fmla="*/ 2147483647 w 649"/>
                <a:gd name="T9" fmla="*/ 2147483647 h 491"/>
                <a:gd name="T10" fmla="*/ 2147483647 w 649"/>
                <a:gd name="T11" fmla="*/ 2147483647 h 491"/>
                <a:gd name="T12" fmla="*/ 2147483647 w 649"/>
                <a:gd name="T13" fmla="*/ 2147483647 h 491"/>
                <a:gd name="T14" fmla="*/ 2147483647 w 649"/>
                <a:gd name="T15" fmla="*/ 2147483647 h 491"/>
                <a:gd name="T16" fmla="*/ 2147483647 w 649"/>
                <a:gd name="T17" fmla="*/ 2147483647 h 491"/>
                <a:gd name="T18" fmla="*/ 2147483647 w 649"/>
                <a:gd name="T19" fmla="*/ 2147483647 h 491"/>
                <a:gd name="T20" fmla="*/ 2147483647 w 649"/>
                <a:gd name="T21" fmla="*/ 2147483647 h 491"/>
                <a:gd name="T22" fmla="*/ 2147483647 w 649"/>
                <a:gd name="T23" fmla="*/ 2147483647 h 491"/>
                <a:gd name="T24" fmla="*/ 0 w 649"/>
                <a:gd name="T25" fmla="*/ 2147483647 h 491"/>
                <a:gd name="T26" fmla="*/ 2147483647 w 649"/>
                <a:gd name="T27" fmla="*/ 2147483647 h 491"/>
                <a:gd name="T28" fmla="*/ 2147483647 w 649"/>
                <a:gd name="T29" fmla="*/ 2147483647 h 491"/>
                <a:gd name="T30" fmla="*/ 2147483647 w 649"/>
                <a:gd name="T31" fmla="*/ 2147483647 h 491"/>
                <a:gd name="T32" fmla="*/ 2147483647 w 649"/>
                <a:gd name="T33" fmla="*/ 2147483647 h 491"/>
                <a:gd name="T34" fmla="*/ 2147483647 w 649"/>
                <a:gd name="T35" fmla="*/ 2147483647 h 491"/>
                <a:gd name="T36" fmla="*/ 2147483647 w 649"/>
                <a:gd name="T37" fmla="*/ 2147483647 h 491"/>
                <a:gd name="T38" fmla="*/ 2147483647 w 649"/>
                <a:gd name="T39" fmla="*/ 2147483647 h 491"/>
                <a:gd name="T40" fmla="*/ 2147483647 w 649"/>
                <a:gd name="T41" fmla="*/ 2147483647 h 491"/>
                <a:gd name="T42" fmla="*/ 2147483647 w 649"/>
                <a:gd name="T43" fmla="*/ 0 h 491"/>
                <a:gd name="T44" fmla="*/ 2147483647 w 649"/>
                <a:gd name="T45" fmla="*/ 2147483647 h 491"/>
                <a:gd name="T46" fmla="*/ 2147483647 w 649"/>
                <a:gd name="T47" fmla="*/ 2147483647 h 491"/>
                <a:gd name="T48" fmla="*/ 2147483647 w 649"/>
                <a:gd name="T49" fmla="*/ 2147483647 h 491"/>
                <a:gd name="T50" fmla="*/ 2147483647 w 649"/>
                <a:gd name="T51" fmla="*/ 2147483647 h 491"/>
                <a:gd name="T52" fmla="*/ 2147483647 w 649"/>
                <a:gd name="T53" fmla="*/ 2147483647 h 491"/>
                <a:gd name="T54" fmla="*/ 2147483647 w 649"/>
                <a:gd name="T55" fmla="*/ 2147483647 h 491"/>
                <a:gd name="T56" fmla="*/ 2147483647 w 649"/>
                <a:gd name="T57" fmla="*/ 2147483647 h 491"/>
                <a:gd name="T58" fmla="*/ 2147483647 w 649"/>
                <a:gd name="T59" fmla="*/ 2147483647 h 491"/>
                <a:gd name="T60" fmla="*/ 2147483647 w 649"/>
                <a:gd name="T61" fmla="*/ 2147483647 h 491"/>
                <a:gd name="T62" fmla="*/ 2147483647 w 649"/>
                <a:gd name="T63" fmla="*/ 2147483647 h 491"/>
                <a:gd name="T64" fmla="*/ 2147483647 w 649"/>
                <a:gd name="T65" fmla="*/ 2147483647 h 491"/>
                <a:gd name="T66" fmla="*/ 2147483647 w 649"/>
                <a:gd name="T67" fmla="*/ 2147483647 h 491"/>
                <a:gd name="T68" fmla="*/ 2147483647 w 649"/>
                <a:gd name="T69" fmla="*/ 2147483647 h 491"/>
                <a:gd name="T70" fmla="*/ 2147483647 w 649"/>
                <a:gd name="T71" fmla="*/ 2147483647 h 491"/>
                <a:gd name="T72" fmla="*/ 2147483647 w 649"/>
                <a:gd name="T73" fmla="*/ 2147483647 h 4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49"/>
                <a:gd name="T112" fmla="*/ 0 h 491"/>
                <a:gd name="T113" fmla="*/ 649 w 649"/>
                <a:gd name="T114" fmla="*/ 491 h 4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49" h="491">
                  <a:moveTo>
                    <a:pt x="640" y="307"/>
                  </a:moveTo>
                  <a:lnTo>
                    <a:pt x="610" y="338"/>
                  </a:lnTo>
                  <a:lnTo>
                    <a:pt x="579" y="368"/>
                  </a:lnTo>
                  <a:lnTo>
                    <a:pt x="549" y="397"/>
                  </a:lnTo>
                  <a:lnTo>
                    <a:pt x="519" y="428"/>
                  </a:lnTo>
                  <a:lnTo>
                    <a:pt x="468" y="428"/>
                  </a:lnTo>
                  <a:lnTo>
                    <a:pt x="446" y="439"/>
                  </a:lnTo>
                  <a:lnTo>
                    <a:pt x="425" y="455"/>
                  </a:lnTo>
                  <a:lnTo>
                    <a:pt x="400" y="462"/>
                  </a:lnTo>
                  <a:lnTo>
                    <a:pt x="396" y="464"/>
                  </a:lnTo>
                  <a:lnTo>
                    <a:pt x="384" y="473"/>
                  </a:lnTo>
                  <a:lnTo>
                    <a:pt x="362" y="474"/>
                  </a:lnTo>
                  <a:lnTo>
                    <a:pt x="337" y="461"/>
                  </a:lnTo>
                  <a:lnTo>
                    <a:pt x="305" y="468"/>
                  </a:lnTo>
                  <a:lnTo>
                    <a:pt x="294" y="481"/>
                  </a:lnTo>
                  <a:lnTo>
                    <a:pt x="275" y="491"/>
                  </a:lnTo>
                  <a:lnTo>
                    <a:pt x="257" y="491"/>
                  </a:lnTo>
                  <a:lnTo>
                    <a:pt x="210" y="479"/>
                  </a:lnTo>
                  <a:lnTo>
                    <a:pt x="158" y="447"/>
                  </a:lnTo>
                  <a:lnTo>
                    <a:pt x="124" y="444"/>
                  </a:lnTo>
                  <a:lnTo>
                    <a:pt x="125" y="413"/>
                  </a:lnTo>
                  <a:lnTo>
                    <a:pt x="94" y="401"/>
                  </a:lnTo>
                  <a:lnTo>
                    <a:pt x="75" y="356"/>
                  </a:lnTo>
                  <a:lnTo>
                    <a:pt x="51" y="339"/>
                  </a:lnTo>
                  <a:lnTo>
                    <a:pt x="38" y="316"/>
                  </a:lnTo>
                  <a:lnTo>
                    <a:pt x="0" y="302"/>
                  </a:lnTo>
                  <a:lnTo>
                    <a:pt x="9" y="292"/>
                  </a:lnTo>
                  <a:lnTo>
                    <a:pt x="9" y="280"/>
                  </a:lnTo>
                  <a:lnTo>
                    <a:pt x="34" y="280"/>
                  </a:lnTo>
                  <a:lnTo>
                    <a:pt x="49" y="270"/>
                  </a:lnTo>
                  <a:lnTo>
                    <a:pt x="53" y="189"/>
                  </a:lnTo>
                  <a:lnTo>
                    <a:pt x="57" y="191"/>
                  </a:lnTo>
                  <a:lnTo>
                    <a:pt x="65" y="175"/>
                  </a:lnTo>
                  <a:lnTo>
                    <a:pt x="83" y="168"/>
                  </a:lnTo>
                  <a:lnTo>
                    <a:pt x="90" y="137"/>
                  </a:lnTo>
                  <a:lnTo>
                    <a:pt x="117" y="98"/>
                  </a:lnTo>
                  <a:lnTo>
                    <a:pt x="138" y="83"/>
                  </a:lnTo>
                  <a:lnTo>
                    <a:pt x="151" y="36"/>
                  </a:lnTo>
                  <a:lnTo>
                    <a:pt x="151" y="25"/>
                  </a:lnTo>
                  <a:lnTo>
                    <a:pt x="170" y="27"/>
                  </a:lnTo>
                  <a:lnTo>
                    <a:pt x="175" y="19"/>
                  </a:lnTo>
                  <a:lnTo>
                    <a:pt x="181" y="19"/>
                  </a:lnTo>
                  <a:lnTo>
                    <a:pt x="193" y="34"/>
                  </a:lnTo>
                  <a:lnTo>
                    <a:pt x="208" y="0"/>
                  </a:lnTo>
                  <a:lnTo>
                    <a:pt x="223" y="9"/>
                  </a:lnTo>
                  <a:lnTo>
                    <a:pt x="230" y="20"/>
                  </a:lnTo>
                  <a:lnTo>
                    <a:pt x="251" y="17"/>
                  </a:lnTo>
                  <a:lnTo>
                    <a:pt x="255" y="10"/>
                  </a:lnTo>
                  <a:lnTo>
                    <a:pt x="265" y="19"/>
                  </a:lnTo>
                  <a:lnTo>
                    <a:pt x="277" y="14"/>
                  </a:lnTo>
                  <a:lnTo>
                    <a:pt x="293" y="20"/>
                  </a:lnTo>
                  <a:lnTo>
                    <a:pt x="306" y="18"/>
                  </a:lnTo>
                  <a:lnTo>
                    <a:pt x="331" y="31"/>
                  </a:lnTo>
                  <a:lnTo>
                    <a:pt x="350" y="55"/>
                  </a:lnTo>
                  <a:lnTo>
                    <a:pt x="372" y="72"/>
                  </a:lnTo>
                  <a:lnTo>
                    <a:pt x="383" y="90"/>
                  </a:lnTo>
                  <a:lnTo>
                    <a:pt x="403" y="108"/>
                  </a:lnTo>
                  <a:lnTo>
                    <a:pt x="398" y="112"/>
                  </a:lnTo>
                  <a:lnTo>
                    <a:pt x="392" y="139"/>
                  </a:lnTo>
                  <a:lnTo>
                    <a:pt x="381" y="158"/>
                  </a:lnTo>
                  <a:lnTo>
                    <a:pt x="387" y="171"/>
                  </a:lnTo>
                  <a:lnTo>
                    <a:pt x="404" y="171"/>
                  </a:lnTo>
                  <a:lnTo>
                    <a:pt x="416" y="165"/>
                  </a:lnTo>
                  <a:lnTo>
                    <a:pt x="427" y="172"/>
                  </a:lnTo>
                  <a:lnTo>
                    <a:pt x="422" y="181"/>
                  </a:lnTo>
                  <a:lnTo>
                    <a:pt x="426" y="198"/>
                  </a:lnTo>
                  <a:lnTo>
                    <a:pt x="455" y="233"/>
                  </a:lnTo>
                  <a:lnTo>
                    <a:pt x="476" y="251"/>
                  </a:lnTo>
                  <a:lnTo>
                    <a:pt x="508" y="262"/>
                  </a:lnTo>
                  <a:lnTo>
                    <a:pt x="541" y="273"/>
                  </a:lnTo>
                  <a:lnTo>
                    <a:pt x="573" y="286"/>
                  </a:lnTo>
                  <a:lnTo>
                    <a:pt x="607" y="297"/>
                  </a:lnTo>
                  <a:lnTo>
                    <a:pt x="649" y="296"/>
                  </a:lnTo>
                  <a:lnTo>
                    <a:pt x="640" y="307"/>
                  </a:lnTo>
                  <a:close/>
                </a:path>
              </a:pathLst>
            </a:custGeom>
            <a:grpFill/>
            <a:ln w="6350">
              <a:solidFill>
                <a:schemeClr val="tx2"/>
              </a:solidFill>
              <a:round/>
              <a:headEnd/>
              <a:tailEnd/>
            </a:ln>
          </p:spPr>
          <p:txBody>
            <a:bodyPr/>
            <a:lstStyle/>
            <a:p>
              <a:endParaRPr lang="en-US"/>
            </a:p>
          </p:txBody>
        </p:sp>
        <p:sp>
          <p:nvSpPr>
            <p:cNvPr id="599" name="Freeform 1505"/>
            <p:cNvSpPr>
              <a:spLocks/>
            </p:cNvSpPr>
            <p:nvPr/>
          </p:nvSpPr>
          <p:spPr bwMode="auto">
            <a:xfrm>
              <a:off x="5355641" y="3662511"/>
              <a:ext cx="452100" cy="386863"/>
            </a:xfrm>
            <a:custGeom>
              <a:avLst/>
              <a:gdLst>
                <a:gd name="T0" fmla="*/ 2147483647 w 908"/>
                <a:gd name="T1" fmla="*/ 2147483647 h 781"/>
                <a:gd name="T2" fmla="*/ 2147483647 w 908"/>
                <a:gd name="T3" fmla="*/ 2147483647 h 781"/>
                <a:gd name="T4" fmla="*/ 2147483647 w 908"/>
                <a:gd name="T5" fmla="*/ 2147483647 h 781"/>
                <a:gd name="T6" fmla="*/ 2147483647 w 908"/>
                <a:gd name="T7" fmla="*/ 2147483647 h 781"/>
                <a:gd name="T8" fmla="*/ 2147483647 w 908"/>
                <a:gd name="T9" fmla="*/ 2147483647 h 781"/>
                <a:gd name="T10" fmla="*/ 2147483647 w 908"/>
                <a:gd name="T11" fmla="*/ 2147483647 h 781"/>
                <a:gd name="T12" fmla="*/ 2147483647 w 908"/>
                <a:gd name="T13" fmla="*/ 2147483647 h 781"/>
                <a:gd name="T14" fmla="*/ 2147483647 w 908"/>
                <a:gd name="T15" fmla="*/ 2147483647 h 781"/>
                <a:gd name="T16" fmla="*/ 2147483647 w 908"/>
                <a:gd name="T17" fmla="*/ 2147483647 h 781"/>
                <a:gd name="T18" fmla="*/ 2147483647 w 908"/>
                <a:gd name="T19" fmla="*/ 2147483647 h 781"/>
                <a:gd name="T20" fmla="*/ 2147483647 w 908"/>
                <a:gd name="T21" fmla="*/ 2147483647 h 781"/>
                <a:gd name="T22" fmla="*/ 2147483647 w 908"/>
                <a:gd name="T23" fmla="*/ 2147483647 h 781"/>
                <a:gd name="T24" fmla="*/ 2147483647 w 908"/>
                <a:gd name="T25" fmla="*/ 2147483647 h 781"/>
                <a:gd name="T26" fmla="*/ 2147483647 w 908"/>
                <a:gd name="T27" fmla="*/ 2147483647 h 781"/>
                <a:gd name="T28" fmla="*/ 2147483647 w 908"/>
                <a:gd name="T29" fmla="*/ 0 h 781"/>
                <a:gd name="T30" fmla="*/ 2147483647 w 908"/>
                <a:gd name="T31" fmla="*/ 2147483647 h 781"/>
                <a:gd name="T32" fmla="*/ 2147483647 w 908"/>
                <a:gd name="T33" fmla="*/ 2147483647 h 781"/>
                <a:gd name="T34" fmla="*/ 2147483647 w 908"/>
                <a:gd name="T35" fmla="*/ 2147483647 h 781"/>
                <a:gd name="T36" fmla="*/ 2147483647 w 908"/>
                <a:gd name="T37" fmla="*/ 2147483647 h 781"/>
                <a:gd name="T38" fmla="*/ 2147483647 w 908"/>
                <a:gd name="T39" fmla="*/ 2147483647 h 781"/>
                <a:gd name="T40" fmla="*/ 0 w 908"/>
                <a:gd name="T41" fmla="*/ 2147483647 h 781"/>
                <a:gd name="T42" fmla="*/ 2147483647 w 908"/>
                <a:gd name="T43" fmla="*/ 2147483647 h 781"/>
                <a:gd name="T44" fmla="*/ 2147483647 w 908"/>
                <a:gd name="T45" fmla="*/ 2147483647 h 781"/>
                <a:gd name="T46" fmla="*/ 2147483647 w 908"/>
                <a:gd name="T47" fmla="*/ 2147483647 h 781"/>
                <a:gd name="T48" fmla="*/ 2147483647 w 908"/>
                <a:gd name="T49" fmla="*/ 2147483647 h 781"/>
                <a:gd name="T50" fmla="*/ 2147483647 w 908"/>
                <a:gd name="T51" fmla="*/ 2147483647 h 781"/>
                <a:gd name="T52" fmla="*/ 2147483647 w 908"/>
                <a:gd name="T53" fmla="*/ 2147483647 h 781"/>
                <a:gd name="T54" fmla="*/ 2147483647 w 908"/>
                <a:gd name="T55" fmla="*/ 2147483647 h 781"/>
                <a:gd name="T56" fmla="*/ 2147483647 w 908"/>
                <a:gd name="T57" fmla="*/ 2147483647 h 781"/>
                <a:gd name="T58" fmla="*/ 2147483647 w 908"/>
                <a:gd name="T59" fmla="*/ 2147483647 h 781"/>
                <a:gd name="T60" fmla="*/ 2147483647 w 908"/>
                <a:gd name="T61" fmla="*/ 2147483647 h 781"/>
                <a:gd name="T62" fmla="*/ 2147483647 w 908"/>
                <a:gd name="T63" fmla="*/ 2147483647 h 781"/>
                <a:gd name="T64" fmla="*/ 2147483647 w 908"/>
                <a:gd name="T65" fmla="*/ 2147483647 h 781"/>
                <a:gd name="T66" fmla="*/ 2147483647 w 908"/>
                <a:gd name="T67" fmla="*/ 2147483647 h 781"/>
                <a:gd name="T68" fmla="*/ 2147483647 w 908"/>
                <a:gd name="T69" fmla="*/ 2147483647 h 781"/>
                <a:gd name="T70" fmla="*/ 2147483647 w 908"/>
                <a:gd name="T71" fmla="*/ 2147483647 h 781"/>
                <a:gd name="T72" fmla="*/ 2147483647 w 908"/>
                <a:gd name="T73" fmla="*/ 2147483647 h 781"/>
                <a:gd name="T74" fmla="*/ 2147483647 w 908"/>
                <a:gd name="T75" fmla="*/ 2147483647 h 781"/>
                <a:gd name="T76" fmla="*/ 2147483647 w 908"/>
                <a:gd name="T77" fmla="*/ 2147483647 h 781"/>
                <a:gd name="T78" fmla="*/ 2147483647 w 908"/>
                <a:gd name="T79" fmla="*/ 2147483647 h 781"/>
                <a:gd name="T80" fmla="*/ 2147483647 w 908"/>
                <a:gd name="T81" fmla="*/ 2147483647 h 781"/>
                <a:gd name="T82" fmla="*/ 2147483647 w 908"/>
                <a:gd name="T83" fmla="*/ 2147483647 h 781"/>
                <a:gd name="T84" fmla="*/ 2147483647 w 908"/>
                <a:gd name="T85" fmla="*/ 2147483647 h 781"/>
                <a:gd name="T86" fmla="*/ 2147483647 w 908"/>
                <a:gd name="T87" fmla="*/ 2147483647 h 7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8"/>
                <a:gd name="T133" fmla="*/ 0 h 781"/>
                <a:gd name="T134" fmla="*/ 908 w 908"/>
                <a:gd name="T135" fmla="*/ 781 h 7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8" h="781">
                  <a:moveTo>
                    <a:pt x="878" y="469"/>
                  </a:moveTo>
                  <a:lnTo>
                    <a:pt x="846" y="463"/>
                  </a:lnTo>
                  <a:lnTo>
                    <a:pt x="813" y="458"/>
                  </a:lnTo>
                  <a:lnTo>
                    <a:pt x="781" y="451"/>
                  </a:lnTo>
                  <a:lnTo>
                    <a:pt x="749" y="445"/>
                  </a:lnTo>
                  <a:lnTo>
                    <a:pt x="736" y="407"/>
                  </a:lnTo>
                  <a:lnTo>
                    <a:pt x="710" y="385"/>
                  </a:lnTo>
                  <a:lnTo>
                    <a:pt x="707" y="373"/>
                  </a:lnTo>
                  <a:lnTo>
                    <a:pt x="696" y="363"/>
                  </a:lnTo>
                  <a:lnTo>
                    <a:pt x="686" y="347"/>
                  </a:lnTo>
                  <a:lnTo>
                    <a:pt x="683" y="333"/>
                  </a:lnTo>
                  <a:lnTo>
                    <a:pt x="667" y="312"/>
                  </a:lnTo>
                  <a:lnTo>
                    <a:pt x="671" y="294"/>
                  </a:lnTo>
                  <a:lnTo>
                    <a:pt x="664" y="280"/>
                  </a:lnTo>
                  <a:lnTo>
                    <a:pt x="664" y="270"/>
                  </a:lnTo>
                  <a:lnTo>
                    <a:pt x="633" y="249"/>
                  </a:lnTo>
                  <a:lnTo>
                    <a:pt x="631" y="235"/>
                  </a:lnTo>
                  <a:lnTo>
                    <a:pt x="609" y="215"/>
                  </a:lnTo>
                  <a:lnTo>
                    <a:pt x="591" y="182"/>
                  </a:lnTo>
                  <a:lnTo>
                    <a:pt x="565" y="182"/>
                  </a:lnTo>
                  <a:lnTo>
                    <a:pt x="552" y="164"/>
                  </a:lnTo>
                  <a:lnTo>
                    <a:pt x="515" y="153"/>
                  </a:lnTo>
                  <a:lnTo>
                    <a:pt x="438" y="149"/>
                  </a:lnTo>
                  <a:lnTo>
                    <a:pt x="390" y="127"/>
                  </a:lnTo>
                  <a:lnTo>
                    <a:pt x="386" y="90"/>
                  </a:lnTo>
                  <a:lnTo>
                    <a:pt x="363" y="88"/>
                  </a:lnTo>
                  <a:lnTo>
                    <a:pt x="352" y="70"/>
                  </a:lnTo>
                  <a:lnTo>
                    <a:pt x="308" y="54"/>
                  </a:lnTo>
                  <a:lnTo>
                    <a:pt x="260" y="17"/>
                  </a:lnTo>
                  <a:lnTo>
                    <a:pt x="195" y="0"/>
                  </a:lnTo>
                  <a:lnTo>
                    <a:pt x="182" y="15"/>
                  </a:lnTo>
                  <a:lnTo>
                    <a:pt x="98" y="32"/>
                  </a:lnTo>
                  <a:lnTo>
                    <a:pt x="146" y="79"/>
                  </a:lnTo>
                  <a:lnTo>
                    <a:pt x="128" y="90"/>
                  </a:lnTo>
                  <a:lnTo>
                    <a:pt x="122" y="112"/>
                  </a:lnTo>
                  <a:lnTo>
                    <a:pt x="89" y="116"/>
                  </a:lnTo>
                  <a:lnTo>
                    <a:pt x="76" y="139"/>
                  </a:lnTo>
                  <a:lnTo>
                    <a:pt x="63" y="152"/>
                  </a:lnTo>
                  <a:lnTo>
                    <a:pt x="15" y="146"/>
                  </a:lnTo>
                  <a:lnTo>
                    <a:pt x="13" y="139"/>
                  </a:lnTo>
                  <a:lnTo>
                    <a:pt x="9" y="183"/>
                  </a:lnTo>
                  <a:lnTo>
                    <a:pt x="0" y="205"/>
                  </a:lnTo>
                  <a:lnTo>
                    <a:pt x="5" y="201"/>
                  </a:lnTo>
                  <a:lnTo>
                    <a:pt x="24" y="206"/>
                  </a:lnTo>
                  <a:lnTo>
                    <a:pt x="47" y="251"/>
                  </a:lnTo>
                  <a:lnTo>
                    <a:pt x="68" y="274"/>
                  </a:lnTo>
                  <a:lnTo>
                    <a:pt x="85" y="310"/>
                  </a:lnTo>
                  <a:lnTo>
                    <a:pt x="103" y="332"/>
                  </a:lnTo>
                  <a:lnTo>
                    <a:pt x="110" y="364"/>
                  </a:lnTo>
                  <a:lnTo>
                    <a:pt x="121" y="382"/>
                  </a:lnTo>
                  <a:lnTo>
                    <a:pt x="138" y="386"/>
                  </a:lnTo>
                  <a:lnTo>
                    <a:pt x="162" y="407"/>
                  </a:lnTo>
                  <a:lnTo>
                    <a:pt x="192" y="473"/>
                  </a:lnTo>
                  <a:lnTo>
                    <a:pt x="188" y="495"/>
                  </a:lnTo>
                  <a:lnTo>
                    <a:pt x="203" y="551"/>
                  </a:lnTo>
                  <a:lnTo>
                    <a:pt x="248" y="579"/>
                  </a:lnTo>
                  <a:lnTo>
                    <a:pt x="270" y="606"/>
                  </a:lnTo>
                  <a:lnTo>
                    <a:pt x="281" y="640"/>
                  </a:lnTo>
                  <a:lnTo>
                    <a:pt x="302" y="675"/>
                  </a:lnTo>
                  <a:lnTo>
                    <a:pt x="327" y="696"/>
                  </a:lnTo>
                  <a:lnTo>
                    <a:pt x="330" y="709"/>
                  </a:lnTo>
                  <a:lnTo>
                    <a:pt x="346" y="732"/>
                  </a:lnTo>
                  <a:lnTo>
                    <a:pt x="348" y="746"/>
                  </a:lnTo>
                  <a:lnTo>
                    <a:pt x="356" y="742"/>
                  </a:lnTo>
                  <a:lnTo>
                    <a:pt x="361" y="731"/>
                  </a:lnTo>
                  <a:lnTo>
                    <a:pt x="380" y="716"/>
                  </a:lnTo>
                  <a:lnTo>
                    <a:pt x="424" y="705"/>
                  </a:lnTo>
                  <a:lnTo>
                    <a:pt x="463" y="719"/>
                  </a:lnTo>
                  <a:lnTo>
                    <a:pt x="502" y="733"/>
                  </a:lnTo>
                  <a:lnTo>
                    <a:pt x="502" y="781"/>
                  </a:lnTo>
                  <a:lnTo>
                    <a:pt x="531" y="752"/>
                  </a:lnTo>
                  <a:lnTo>
                    <a:pt x="557" y="721"/>
                  </a:lnTo>
                  <a:lnTo>
                    <a:pt x="585" y="691"/>
                  </a:lnTo>
                  <a:lnTo>
                    <a:pt x="611" y="661"/>
                  </a:lnTo>
                  <a:lnTo>
                    <a:pt x="646" y="653"/>
                  </a:lnTo>
                  <a:lnTo>
                    <a:pt x="680" y="645"/>
                  </a:lnTo>
                  <a:lnTo>
                    <a:pt x="715" y="637"/>
                  </a:lnTo>
                  <a:lnTo>
                    <a:pt x="749" y="629"/>
                  </a:lnTo>
                  <a:lnTo>
                    <a:pt x="781" y="618"/>
                  </a:lnTo>
                  <a:lnTo>
                    <a:pt x="813" y="606"/>
                  </a:lnTo>
                  <a:lnTo>
                    <a:pt x="846" y="594"/>
                  </a:lnTo>
                  <a:lnTo>
                    <a:pt x="877" y="583"/>
                  </a:lnTo>
                  <a:lnTo>
                    <a:pt x="885" y="560"/>
                  </a:lnTo>
                  <a:lnTo>
                    <a:pt x="892" y="538"/>
                  </a:lnTo>
                  <a:lnTo>
                    <a:pt x="901" y="514"/>
                  </a:lnTo>
                  <a:lnTo>
                    <a:pt x="908" y="492"/>
                  </a:lnTo>
                  <a:lnTo>
                    <a:pt x="886" y="460"/>
                  </a:lnTo>
                  <a:lnTo>
                    <a:pt x="878" y="469"/>
                  </a:lnTo>
                  <a:close/>
                </a:path>
              </a:pathLst>
            </a:custGeom>
            <a:grpFill/>
            <a:ln w="6350">
              <a:solidFill>
                <a:schemeClr val="tx2"/>
              </a:solidFill>
              <a:round/>
              <a:headEnd/>
              <a:tailEnd/>
            </a:ln>
          </p:spPr>
          <p:txBody>
            <a:bodyPr/>
            <a:lstStyle/>
            <a:p>
              <a:endParaRPr lang="en-US"/>
            </a:p>
          </p:txBody>
        </p:sp>
        <p:sp>
          <p:nvSpPr>
            <p:cNvPr id="600" name="Freeform 1714"/>
            <p:cNvSpPr>
              <a:spLocks/>
            </p:cNvSpPr>
            <p:nvPr/>
          </p:nvSpPr>
          <p:spPr bwMode="auto">
            <a:xfrm>
              <a:off x="5536178" y="4082751"/>
              <a:ext cx="1516" cy="1517"/>
            </a:xfrm>
            <a:custGeom>
              <a:avLst/>
              <a:gdLst>
                <a:gd name="T0" fmla="*/ 2147483647 w 3"/>
                <a:gd name="T1" fmla="*/ 0 h 4"/>
                <a:gd name="T2" fmla="*/ 0 w 3"/>
                <a:gd name="T3" fmla="*/ 2147483647 h 4"/>
                <a:gd name="T4" fmla="*/ 2147483647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0"/>
                  </a:moveTo>
                  <a:lnTo>
                    <a:pt x="0" y="4"/>
                  </a:lnTo>
                  <a:lnTo>
                    <a:pt x="3" y="0"/>
                  </a:lnTo>
                  <a:close/>
                </a:path>
              </a:pathLst>
            </a:custGeom>
            <a:grpFill/>
            <a:ln w="6350">
              <a:solidFill>
                <a:schemeClr val="tx2"/>
              </a:solidFill>
              <a:round/>
              <a:headEnd/>
              <a:tailEnd/>
            </a:ln>
          </p:spPr>
          <p:txBody>
            <a:bodyPr/>
            <a:lstStyle/>
            <a:p>
              <a:endParaRPr lang="en-US"/>
            </a:p>
          </p:txBody>
        </p:sp>
        <p:sp>
          <p:nvSpPr>
            <p:cNvPr id="601" name="Freeform 1715"/>
            <p:cNvSpPr>
              <a:spLocks/>
            </p:cNvSpPr>
            <p:nvPr/>
          </p:nvSpPr>
          <p:spPr bwMode="auto">
            <a:xfrm>
              <a:off x="5536178" y="4076683"/>
              <a:ext cx="1516" cy="1517"/>
            </a:xfrm>
            <a:custGeom>
              <a:avLst/>
              <a:gdLst>
                <a:gd name="T0" fmla="*/ 0 w 5"/>
                <a:gd name="T1" fmla="*/ 2147483647 h 4"/>
                <a:gd name="T2" fmla="*/ 2147483647 w 5"/>
                <a:gd name="T3" fmla="*/ 2147483647 h 4"/>
                <a:gd name="T4" fmla="*/ 2147483647 w 5"/>
                <a:gd name="T5" fmla="*/ 0 h 4"/>
                <a:gd name="T6" fmla="*/ 0 w 5"/>
                <a:gd name="T7" fmla="*/ 2147483647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0" y="3"/>
                  </a:moveTo>
                  <a:lnTo>
                    <a:pt x="5" y="4"/>
                  </a:lnTo>
                  <a:lnTo>
                    <a:pt x="3" y="0"/>
                  </a:lnTo>
                  <a:lnTo>
                    <a:pt x="0" y="3"/>
                  </a:lnTo>
                  <a:close/>
                </a:path>
              </a:pathLst>
            </a:custGeom>
            <a:grpFill/>
            <a:ln w="6350">
              <a:solidFill>
                <a:schemeClr val="tx2"/>
              </a:solidFill>
              <a:round/>
              <a:headEnd/>
              <a:tailEnd/>
            </a:ln>
          </p:spPr>
          <p:txBody>
            <a:bodyPr/>
            <a:lstStyle/>
            <a:p>
              <a:endParaRPr lang="en-US"/>
            </a:p>
          </p:txBody>
        </p:sp>
        <p:sp>
          <p:nvSpPr>
            <p:cNvPr id="602" name="Freeform 1718"/>
            <p:cNvSpPr>
              <a:spLocks/>
            </p:cNvSpPr>
            <p:nvPr/>
          </p:nvSpPr>
          <p:spPr bwMode="auto">
            <a:xfrm>
              <a:off x="5517972" y="4011447"/>
              <a:ext cx="3034" cy="4550"/>
            </a:xfrm>
            <a:custGeom>
              <a:avLst/>
              <a:gdLst>
                <a:gd name="T0" fmla="*/ 2147483647 w 6"/>
                <a:gd name="T1" fmla="*/ 2147483647 h 8"/>
                <a:gd name="T2" fmla="*/ 0 w 6"/>
                <a:gd name="T3" fmla="*/ 0 h 8"/>
                <a:gd name="T4" fmla="*/ 2147483647 w 6"/>
                <a:gd name="T5" fmla="*/ 2147483647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6" y="8"/>
                  </a:moveTo>
                  <a:lnTo>
                    <a:pt x="0" y="0"/>
                  </a:lnTo>
                  <a:lnTo>
                    <a:pt x="6" y="8"/>
                  </a:lnTo>
                  <a:close/>
                </a:path>
              </a:pathLst>
            </a:custGeom>
            <a:grpFill/>
            <a:ln w="6350">
              <a:solidFill>
                <a:schemeClr val="tx2"/>
              </a:solidFill>
              <a:round/>
              <a:headEnd/>
              <a:tailEnd/>
            </a:ln>
          </p:spPr>
          <p:txBody>
            <a:bodyPr/>
            <a:lstStyle/>
            <a:p>
              <a:endParaRPr lang="en-US"/>
            </a:p>
          </p:txBody>
        </p:sp>
        <p:sp>
          <p:nvSpPr>
            <p:cNvPr id="603" name="Freeform 1719"/>
            <p:cNvSpPr>
              <a:spLocks/>
            </p:cNvSpPr>
            <p:nvPr/>
          </p:nvSpPr>
          <p:spPr bwMode="auto">
            <a:xfrm>
              <a:off x="5517972" y="4009930"/>
              <a:ext cx="3034" cy="4551"/>
            </a:xfrm>
            <a:custGeom>
              <a:avLst/>
              <a:gdLst>
                <a:gd name="T0" fmla="*/ 0 w 6"/>
                <a:gd name="T1" fmla="*/ 0 h 7"/>
                <a:gd name="T2" fmla="*/ 2147483647 w 6"/>
                <a:gd name="T3" fmla="*/ 2147483647 h 7"/>
                <a:gd name="T4" fmla="*/ 0 w 6"/>
                <a:gd name="T5" fmla="*/ 0 h 7"/>
                <a:gd name="T6" fmla="*/ 0 60000 65536"/>
                <a:gd name="T7" fmla="*/ 0 60000 65536"/>
                <a:gd name="T8" fmla="*/ 0 60000 65536"/>
                <a:gd name="T9" fmla="*/ 0 w 6"/>
                <a:gd name="T10" fmla="*/ 0 h 7"/>
                <a:gd name="T11" fmla="*/ 6 w 6"/>
                <a:gd name="T12" fmla="*/ 7 h 7"/>
              </a:gdLst>
              <a:ahLst/>
              <a:cxnLst>
                <a:cxn ang="T6">
                  <a:pos x="T0" y="T1"/>
                </a:cxn>
                <a:cxn ang="T7">
                  <a:pos x="T2" y="T3"/>
                </a:cxn>
                <a:cxn ang="T8">
                  <a:pos x="T4" y="T5"/>
                </a:cxn>
              </a:cxnLst>
              <a:rect l="T9" t="T10" r="T11" b="T12"/>
              <a:pathLst>
                <a:path w="6" h="7">
                  <a:moveTo>
                    <a:pt x="0" y="0"/>
                  </a:moveTo>
                  <a:lnTo>
                    <a:pt x="6" y="7"/>
                  </a:lnTo>
                  <a:lnTo>
                    <a:pt x="0" y="0"/>
                  </a:lnTo>
                  <a:close/>
                </a:path>
              </a:pathLst>
            </a:custGeom>
            <a:grpFill/>
            <a:ln w="6350">
              <a:solidFill>
                <a:schemeClr val="tx2"/>
              </a:solidFill>
              <a:round/>
              <a:headEnd/>
              <a:tailEnd/>
            </a:ln>
          </p:spPr>
          <p:txBody>
            <a:bodyPr/>
            <a:lstStyle/>
            <a:p>
              <a:endParaRPr lang="en-US"/>
            </a:p>
          </p:txBody>
        </p:sp>
        <p:sp>
          <p:nvSpPr>
            <p:cNvPr id="604" name="Freeform 1720"/>
            <p:cNvSpPr>
              <a:spLocks/>
            </p:cNvSpPr>
            <p:nvPr/>
          </p:nvSpPr>
          <p:spPr bwMode="auto">
            <a:xfrm>
              <a:off x="5521006" y="4014481"/>
              <a:ext cx="1516" cy="3034"/>
            </a:xfrm>
            <a:custGeom>
              <a:avLst/>
              <a:gdLst>
                <a:gd name="T0" fmla="*/ 2147483647 w 3"/>
                <a:gd name="T1" fmla="*/ 2147483647 h 6"/>
                <a:gd name="T2" fmla="*/ 0 w 3"/>
                <a:gd name="T3" fmla="*/ 0 h 6"/>
                <a:gd name="T4" fmla="*/ 2147483647 w 3"/>
                <a:gd name="T5" fmla="*/ 2147483647 h 6"/>
                <a:gd name="T6" fmla="*/ 0 60000 65536"/>
                <a:gd name="T7" fmla="*/ 0 60000 65536"/>
                <a:gd name="T8" fmla="*/ 0 60000 65536"/>
                <a:gd name="T9" fmla="*/ 0 w 3"/>
                <a:gd name="T10" fmla="*/ 0 h 6"/>
                <a:gd name="T11" fmla="*/ 3 w 3"/>
                <a:gd name="T12" fmla="*/ 6 h 6"/>
              </a:gdLst>
              <a:ahLst/>
              <a:cxnLst>
                <a:cxn ang="T6">
                  <a:pos x="T0" y="T1"/>
                </a:cxn>
                <a:cxn ang="T7">
                  <a:pos x="T2" y="T3"/>
                </a:cxn>
                <a:cxn ang="T8">
                  <a:pos x="T4" y="T5"/>
                </a:cxn>
              </a:cxnLst>
              <a:rect l="T9" t="T10" r="T11" b="T12"/>
              <a:pathLst>
                <a:path w="3" h="6">
                  <a:moveTo>
                    <a:pt x="3" y="6"/>
                  </a:moveTo>
                  <a:lnTo>
                    <a:pt x="0" y="0"/>
                  </a:lnTo>
                  <a:lnTo>
                    <a:pt x="3" y="6"/>
                  </a:lnTo>
                  <a:close/>
                </a:path>
              </a:pathLst>
            </a:custGeom>
            <a:grpFill/>
            <a:ln w="6350">
              <a:solidFill>
                <a:schemeClr val="tx2"/>
              </a:solidFill>
              <a:round/>
              <a:headEnd/>
              <a:tailEnd/>
            </a:ln>
          </p:spPr>
          <p:txBody>
            <a:bodyPr/>
            <a:lstStyle/>
            <a:p>
              <a:endParaRPr lang="en-US"/>
            </a:p>
          </p:txBody>
        </p:sp>
        <p:sp>
          <p:nvSpPr>
            <p:cNvPr id="605" name="Freeform 1722"/>
            <p:cNvSpPr>
              <a:spLocks/>
            </p:cNvSpPr>
            <p:nvPr/>
          </p:nvSpPr>
          <p:spPr bwMode="auto">
            <a:xfrm>
              <a:off x="5175104" y="3485009"/>
              <a:ext cx="6069" cy="10620"/>
            </a:xfrm>
            <a:custGeom>
              <a:avLst/>
              <a:gdLst>
                <a:gd name="T0" fmla="*/ 2147483647 w 10"/>
                <a:gd name="T1" fmla="*/ 2147483647 h 22"/>
                <a:gd name="T2" fmla="*/ 2147483647 w 10"/>
                <a:gd name="T3" fmla="*/ 2147483647 h 22"/>
                <a:gd name="T4" fmla="*/ 2147483647 w 10"/>
                <a:gd name="T5" fmla="*/ 2147483647 h 22"/>
                <a:gd name="T6" fmla="*/ 0 w 10"/>
                <a:gd name="T7" fmla="*/ 0 h 22"/>
                <a:gd name="T8" fmla="*/ 2147483647 w 10"/>
                <a:gd name="T9" fmla="*/ 2147483647 h 22"/>
                <a:gd name="T10" fmla="*/ 0 60000 65536"/>
                <a:gd name="T11" fmla="*/ 0 60000 65536"/>
                <a:gd name="T12" fmla="*/ 0 60000 65536"/>
                <a:gd name="T13" fmla="*/ 0 60000 65536"/>
                <a:gd name="T14" fmla="*/ 0 60000 65536"/>
                <a:gd name="T15" fmla="*/ 0 w 10"/>
                <a:gd name="T16" fmla="*/ 0 h 22"/>
                <a:gd name="T17" fmla="*/ 10 w 10"/>
                <a:gd name="T18" fmla="*/ 22 h 22"/>
              </a:gdLst>
              <a:ahLst/>
              <a:cxnLst>
                <a:cxn ang="T10">
                  <a:pos x="T0" y="T1"/>
                </a:cxn>
                <a:cxn ang="T11">
                  <a:pos x="T2" y="T3"/>
                </a:cxn>
                <a:cxn ang="T12">
                  <a:pos x="T4" y="T5"/>
                </a:cxn>
                <a:cxn ang="T13">
                  <a:pos x="T6" y="T7"/>
                </a:cxn>
                <a:cxn ang="T14">
                  <a:pos x="T8" y="T9"/>
                </a:cxn>
              </a:cxnLst>
              <a:rect l="T15" t="T16" r="T17" b="T18"/>
              <a:pathLst>
                <a:path w="10" h="22">
                  <a:moveTo>
                    <a:pt x="3" y="22"/>
                  </a:moveTo>
                  <a:lnTo>
                    <a:pt x="8" y="18"/>
                  </a:lnTo>
                  <a:lnTo>
                    <a:pt x="10" y="4"/>
                  </a:lnTo>
                  <a:lnTo>
                    <a:pt x="0" y="0"/>
                  </a:lnTo>
                  <a:lnTo>
                    <a:pt x="3" y="22"/>
                  </a:lnTo>
                  <a:close/>
                </a:path>
              </a:pathLst>
            </a:custGeom>
            <a:grpFill/>
            <a:ln w="6350">
              <a:solidFill>
                <a:schemeClr val="tx2"/>
              </a:solidFill>
              <a:round/>
              <a:headEnd/>
              <a:tailEnd/>
            </a:ln>
          </p:spPr>
          <p:txBody>
            <a:bodyPr/>
            <a:lstStyle/>
            <a:p>
              <a:endParaRPr lang="en-US"/>
            </a:p>
          </p:txBody>
        </p:sp>
        <p:sp>
          <p:nvSpPr>
            <p:cNvPr id="606" name="Freeform 1723"/>
            <p:cNvSpPr>
              <a:spLocks/>
            </p:cNvSpPr>
            <p:nvPr/>
          </p:nvSpPr>
          <p:spPr bwMode="auto">
            <a:xfrm>
              <a:off x="5214550" y="3542659"/>
              <a:ext cx="15172" cy="15172"/>
            </a:xfrm>
            <a:custGeom>
              <a:avLst/>
              <a:gdLst>
                <a:gd name="T0" fmla="*/ 2147483647 w 24"/>
                <a:gd name="T1" fmla="*/ 2147483647 h 28"/>
                <a:gd name="T2" fmla="*/ 2147483647 w 24"/>
                <a:gd name="T3" fmla="*/ 0 h 28"/>
                <a:gd name="T4" fmla="*/ 0 w 24"/>
                <a:gd name="T5" fmla="*/ 2147483647 h 28"/>
                <a:gd name="T6" fmla="*/ 0 w 24"/>
                <a:gd name="T7" fmla="*/ 2147483647 h 28"/>
                <a:gd name="T8" fmla="*/ 2147483647 w 24"/>
                <a:gd name="T9" fmla="*/ 2147483647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3" y="20"/>
                  </a:moveTo>
                  <a:lnTo>
                    <a:pt x="24" y="0"/>
                  </a:lnTo>
                  <a:lnTo>
                    <a:pt x="0" y="14"/>
                  </a:lnTo>
                  <a:lnTo>
                    <a:pt x="0" y="28"/>
                  </a:lnTo>
                  <a:lnTo>
                    <a:pt x="13" y="20"/>
                  </a:lnTo>
                  <a:close/>
                </a:path>
              </a:pathLst>
            </a:custGeom>
            <a:grpFill/>
            <a:ln w="6350">
              <a:solidFill>
                <a:schemeClr val="tx2"/>
              </a:solidFill>
              <a:round/>
              <a:headEnd/>
              <a:tailEnd/>
            </a:ln>
          </p:spPr>
          <p:txBody>
            <a:bodyPr/>
            <a:lstStyle/>
            <a:p>
              <a:endParaRPr lang="en-US"/>
            </a:p>
          </p:txBody>
        </p:sp>
        <p:sp>
          <p:nvSpPr>
            <p:cNvPr id="607" name="Freeform 1724"/>
            <p:cNvSpPr>
              <a:spLocks/>
            </p:cNvSpPr>
            <p:nvPr/>
          </p:nvSpPr>
          <p:spPr bwMode="auto">
            <a:xfrm>
              <a:off x="5314679" y="3562381"/>
              <a:ext cx="48548" cy="28825"/>
            </a:xfrm>
            <a:custGeom>
              <a:avLst/>
              <a:gdLst>
                <a:gd name="T0" fmla="*/ 2147483647 w 100"/>
                <a:gd name="T1" fmla="*/ 2147483647 h 58"/>
                <a:gd name="T2" fmla="*/ 2147483647 w 100"/>
                <a:gd name="T3" fmla="*/ 0 h 58"/>
                <a:gd name="T4" fmla="*/ 2147483647 w 100"/>
                <a:gd name="T5" fmla="*/ 2147483647 h 58"/>
                <a:gd name="T6" fmla="*/ 2147483647 w 100"/>
                <a:gd name="T7" fmla="*/ 2147483647 h 58"/>
                <a:gd name="T8" fmla="*/ 2147483647 w 100"/>
                <a:gd name="T9" fmla="*/ 2147483647 h 58"/>
                <a:gd name="T10" fmla="*/ 2147483647 w 100"/>
                <a:gd name="T11" fmla="*/ 2147483647 h 58"/>
                <a:gd name="T12" fmla="*/ 0 w 100"/>
                <a:gd name="T13" fmla="*/ 2147483647 h 58"/>
                <a:gd name="T14" fmla="*/ 2147483647 w 100"/>
                <a:gd name="T15" fmla="*/ 2147483647 h 58"/>
                <a:gd name="T16" fmla="*/ 2147483647 w 100"/>
                <a:gd name="T17" fmla="*/ 2147483647 h 58"/>
                <a:gd name="T18" fmla="*/ 2147483647 w 100"/>
                <a:gd name="T19" fmla="*/ 2147483647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0"/>
                <a:gd name="T31" fmla="*/ 0 h 58"/>
                <a:gd name="T32" fmla="*/ 100 w 100"/>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0" h="58">
                  <a:moveTo>
                    <a:pt x="73" y="13"/>
                  </a:moveTo>
                  <a:lnTo>
                    <a:pt x="100" y="0"/>
                  </a:lnTo>
                  <a:lnTo>
                    <a:pt x="86" y="17"/>
                  </a:lnTo>
                  <a:lnTo>
                    <a:pt x="73" y="40"/>
                  </a:lnTo>
                  <a:lnTo>
                    <a:pt x="34" y="58"/>
                  </a:lnTo>
                  <a:lnTo>
                    <a:pt x="9" y="52"/>
                  </a:lnTo>
                  <a:lnTo>
                    <a:pt x="0" y="36"/>
                  </a:lnTo>
                  <a:lnTo>
                    <a:pt x="30" y="26"/>
                  </a:lnTo>
                  <a:lnTo>
                    <a:pt x="31" y="19"/>
                  </a:lnTo>
                  <a:lnTo>
                    <a:pt x="73" y="13"/>
                  </a:lnTo>
                  <a:close/>
                </a:path>
              </a:pathLst>
            </a:custGeom>
            <a:grpFill/>
            <a:ln w="6350">
              <a:solidFill>
                <a:schemeClr val="tx2"/>
              </a:solidFill>
              <a:round/>
              <a:headEnd/>
              <a:tailEnd/>
            </a:ln>
          </p:spPr>
          <p:txBody>
            <a:bodyPr/>
            <a:lstStyle/>
            <a:p>
              <a:endParaRPr lang="en-US"/>
            </a:p>
          </p:txBody>
        </p:sp>
        <p:sp>
          <p:nvSpPr>
            <p:cNvPr id="608" name="Freeform 1727"/>
            <p:cNvSpPr>
              <a:spLocks/>
            </p:cNvSpPr>
            <p:nvPr/>
          </p:nvSpPr>
          <p:spPr bwMode="auto">
            <a:xfrm>
              <a:off x="5126557" y="3565416"/>
              <a:ext cx="57651" cy="19722"/>
            </a:xfrm>
            <a:custGeom>
              <a:avLst/>
              <a:gdLst>
                <a:gd name="T0" fmla="*/ 2147483647 w 118"/>
                <a:gd name="T1" fmla="*/ 2147483647 h 37"/>
                <a:gd name="T2" fmla="*/ 2147483647 w 118"/>
                <a:gd name="T3" fmla="*/ 2147483647 h 37"/>
                <a:gd name="T4" fmla="*/ 2147483647 w 118"/>
                <a:gd name="T5" fmla="*/ 2147483647 h 37"/>
                <a:gd name="T6" fmla="*/ 2147483647 w 118"/>
                <a:gd name="T7" fmla="*/ 2147483647 h 37"/>
                <a:gd name="T8" fmla="*/ 2147483647 w 118"/>
                <a:gd name="T9" fmla="*/ 2147483647 h 37"/>
                <a:gd name="T10" fmla="*/ 2147483647 w 118"/>
                <a:gd name="T11" fmla="*/ 0 h 37"/>
                <a:gd name="T12" fmla="*/ 2147483647 w 118"/>
                <a:gd name="T13" fmla="*/ 2147483647 h 37"/>
                <a:gd name="T14" fmla="*/ 2147483647 w 118"/>
                <a:gd name="T15" fmla="*/ 2147483647 h 37"/>
                <a:gd name="T16" fmla="*/ 0 w 118"/>
                <a:gd name="T17" fmla="*/ 2147483647 h 37"/>
                <a:gd name="T18" fmla="*/ 2147483647 w 118"/>
                <a:gd name="T19" fmla="*/ 2147483647 h 37"/>
                <a:gd name="T20" fmla="*/ 2147483647 w 118"/>
                <a:gd name="T21" fmla="*/ 2147483647 h 37"/>
                <a:gd name="T22" fmla="*/ 2147483647 w 118"/>
                <a:gd name="T23" fmla="*/ 2147483647 h 37"/>
                <a:gd name="T24" fmla="*/ 2147483647 w 118"/>
                <a:gd name="T25" fmla="*/ 2147483647 h 37"/>
                <a:gd name="T26" fmla="*/ 2147483647 w 118"/>
                <a:gd name="T27" fmla="*/ 2147483647 h 37"/>
                <a:gd name="T28" fmla="*/ 2147483647 w 118"/>
                <a:gd name="T29" fmla="*/ 2147483647 h 37"/>
                <a:gd name="T30" fmla="*/ 2147483647 w 118"/>
                <a:gd name="T31" fmla="*/ 2147483647 h 37"/>
                <a:gd name="T32" fmla="*/ 2147483647 w 118"/>
                <a:gd name="T33" fmla="*/ 2147483647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8"/>
                <a:gd name="T52" fmla="*/ 0 h 37"/>
                <a:gd name="T53" fmla="*/ 118 w 118"/>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8" h="37">
                  <a:moveTo>
                    <a:pt x="65" y="12"/>
                  </a:moveTo>
                  <a:lnTo>
                    <a:pt x="36" y="14"/>
                  </a:lnTo>
                  <a:lnTo>
                    <a:pt x="26" y="9"/>
                  </a:lnTo>
                  <a:lnTo>
                    <a:pt x="25" y="1"/>
                  </a:lnTo>
                  <a:lnTo>
                    <a:pt x="20" y="5"/>
                  </a:lnTo>
                  <a:lnTo>
                    <a:pt x="8" y="0"/>
                  </a:lnTo>
                  <a:lnTo>
                    <a:pt x="6" y="6"/>
                  </a:lnTo>
                  <a:lnTo>
                    <a:pt x="2" y="4"/>
                  </a:lnTo>
                  <a:lnTo>
                    <a:pt x="0" y="22"/>
                  </a:lnTo>
                  <a:lnTo>
                    <a:pt x="40" y="24"/>
                  </a:lnTo>
                  <a:lnTo>
                    <a:pt x="54" y="37"/>
                  </a:lnTo>
                  <a:lnTo>
                    <a:pt x="104" y="30"/>
                  </a:lnTo>
                  <a:lnTo>
                    <a:pt x="112" y="34"/>
                  </a:lnTo>
                  <a:lnTo>
                    <a:pt x="118" y="18"/>
                  </a:lnTo>
                  <a:lnTo>
                    <a:pt x="103" y="24"/>
                  </a:lnTo>
                  <a:lnTo>
                    <a:pt x="93" y="16"/>
                  </a:lnTo>
                  <a:lnTo>
                    <a:pt x="65" y="12"/>
                  </a:lnTo>
                  <a:close/>
                </a:path>
              </a:pathLst>
            </a:custGeom>
            <a:grpFill/>
            <a:ln w="6350">
              <a:solidFill>
                <a:schemeClr val="tx2"/>
              </a:solidFill>
              <a:round/>
              <a:headEnd/>
              <a:tailEnd/>
            </a:ln>
          </p:spPr>
          <p:txBody>
            <a:bodyPr/>
            <a:lstStyle/>
            <a:p>
              <a:endParaRPr lang="en-US"/>
            </a:p>
          </p:txBody>
        </p:sp>
        <p:sp>
          <p:nvSpPr>
            <p:cNvPr id="609" name="Freeform 1728"/>
            <p:cNvSpPr>
              <a:spLocks/>
            </p:cNvSpPr>
            <p:nvPr/>
          </p:nvSpPr>
          <p:spPr bwMode="auto">
            <a:xfrm>
              <a:off x="5150831" y="3501697"/>
              <a:ext cx="6069" cy="9103"/>
            </a:xfrm>
            <a:custGeom>
              <a:avLst/>
              <a:gdLst>
                <a:gd name="T0" fmla="*/ 2147483647 w 11"/>
                <a:gd name="T1" fmla="*/ 2147483647 h 17"/>
                <a:gd name="T2" fmla="*/ 2147483647 w 11"/>
                <a:gd name="T3" fmla="*/ 2147483647 h 17"/>
                <a:gd name="T4" fmla="*/ 0 w 11"/>
                <a:gd name="T5" fmla="*/ 0 h 17"/>
                <a:gd name="T6" fmla="*/ 2147483647 w 11"/>
                <a:gd name="T7" fmla="*/ 2147483647 h 17"/>
                <a:gd name="T8" fmla="*/ 0 60000 65536"/>
                <a:gd name="T9" fmla="*/ 0 60000 65536"/>
                <a:gd name="T10" fmla="*/ 0 60000 65536"/>
                <a:gd name="T11" fmla="*/ 0 60000 65536"/>
                <a:gd name="T12" fmla="*/ 0 w 11"/>
                <a:gd name="T13" fmla="*/ 0 h 17"/>
                <a:gd name="T14" fmla="*/ 11 w 11"/>
                <a:gd name="T15" fmla="*/ 17 h 17"/>
              </a:gdLst>
              <a:ahLst/>
              <a:cxnLst>
                <a:cxn ang="T8">
                  <a:pos x="T0" y="T1"/>
                </a:cxn>
                <a:cxn ang="T9">
                  <a:pos x="T2" y="T3"/>
                </a:cxn>
                <a:cxn ang="T10">
                  <a:pos x="T4" y="T5"/>
                </a:cxn>
                <a:cxn ang="T11">
                  <a:pos x="T6" y="T7"/>
                </a:cxn>
              </a:cxnLst>
              <a:rect l="T12" t="T13" r="T14" b="T15"/>
              <a:pathLst>
                <a:path w="11" h="17">
                  <a:moveTo>
                    <a:pt x="10" y="17"/>
                  </a:moveTo>
                  <a:lnTo>
                    <a:pt x="11" y="5"/>
                  </a:lnTo>
                  <a:lnTo>
                    <a:pt x="0" y="0"/>
                  </a:lnTo>
                  <a:lnTo>
                    <a:pt x="10" y="17"/>
                  </a:lnTo>
                  <a:close/>
                </a:path>
              </a:pathLst>
            </a:custGeom>
            <a:grpFill/>
            <a:ln w="6350">
              <a:solidFill>
                <a:schemeClr val="tx2"/>
              </a:solidFill>
              <a:round/>
              <a:headEnd/>
              <a:tailEnd/>
            </a:ln>
          </p:spPr>
          <p:txBody>
            <a:bodyPr/>
            <a:lstStyle/>
            <a:p>
              <a:endParaRPr lang="en-US"/>
            </a:p>
          </p:txBody>
        </p:sp>
        <p:sp>
          <p:nvSpPr>
            <p:cNvPr id="610" name="Freeform 1729"/>
            <p:cNvSpPr>
              <a:spLocks/>
            </p:cNvSpPr>
            <p:nvPr/>
          </p:nvSpPr>
          <p:spPr bwMode="auto">
            <a:xfrm>
              <a:off x="5166002" y="3524454"/>
              <a:ext cx="3034" cy="6069"/>
            </a:xfrm>
            <a:custGeom>
              <a:avLst/>
              <a:gdLst>
                <a:gd name="T0" fmla="*/ 2147483647 w 8"/>
                <a:gd name="T1" fmla="*/ 2147483647 h 14"/>
                <a:gd name="T2" fmla="*/ 2147483647 w 8"/>
                <a:gd name="T3" fmla="*/ 2147483647 h 14"/>
                <a:gd name="T4" fmla="*/ 2147483647 w 8"/>
                <a:gd name="T5" fmla="*/ 0 h 14"/>
                <a:gd name="T6" fmla="*/ 0 w 8"/>
                <a:gd name="T7" fmla="*/ 2147483647 h 14"/>
                <a:gd name="T8" fmla="*/ 2147483647 w 8"/>
                <a:gd name="T9" fmla="*/ 2147483647 h 14"/>
                <a:gd name="T10" fmla="*/ 0 60000 65536"/>
                <a:gd name="T11" fmla="*/ 0 60000 65536"/>
                <a:gd name="T12" fmla="*/ 0 60000 65536"/>
                <a:gd name="T13" fmla="*/ 0 60000 65536"/>
                <a:gd name="T14" fmla="*/ 0 60000 65536"/>
                <a:gd name="T15" fmla="*/ 0 w 8"/>
                <a:gd name="T16" fmla="*/ 0 h 14"/>
                <a:gd name="T17" fmla="*/ 8 w 8"/>
                <a:gd name="T18" fmla="*/ 14 h 14"/>
              </a:gdLst>
              <a:ahLst/>
              <a:cxnLst>
                <a:cxn ang="T10">
                  <a:pos x="T0" y="T1"/>
                </a:cxn>
                <a:cxn ang="T11">
                  <a:pos x="T2" y="T3"/>
                </a:cxn>
                <a:cxn ang="T12">
                  <a:pos x="T4" y="T5"/>
                </a:cxn>
                <a:cxn ang="T13">
                  <a:pos x="T6" y="T7"/>
                </a:cxn>
                <a:cxn ang="T14">
                  <a:pos x="T8" y="T9"/>
                </a:cxn>
              </a:cxnLst>
              <a:rect l="T15" t="T16" r="T17" b="T18"/>
              <a:pathLst>
                <a:path w="8" h="14">
                  <a:moveTo>
                    <a:pt x="2" y="14"/>
                  </a:moveTo>
                  <a:lnTo>
                    <a:pt x="7" y="13"/>
                  </a:lnTo>
                  <a:lnTo>
                    <a:pt x="8" y="0"/>
                  </a:lnTo>
                  <a:lnTo>
                    <a:pt x="0" y="5"/>
                  </a:lnTo>
                  <a:lnTo>
                    <a:pt x="2" y="14"/>
                  </a:lnTo>
                  <a:close/>
                </a:path>
              </a:pathLst>
            </a:custGeom>
            <a:grpFill/>
            <a:ln w="6350">
              <a:solidFill>
                <a:schemeClr val="tx2"/>
              </a:solidFill>
              <a:round/>
              <a:headEnd/>
              <a:tailEnd/>
            </a:ln>
          </p:spPr>
          <p:txBody>
            <a:bodyPr/>
            <a:lstStyle/>
            <a:p>
              <a:endParaRPr lang="en-US"/>
            </a:p>
          </p:txBody>
        </p:sp>
        <p:sp>
          <p:nvSpPr>
            <p:cNvPr id="611" name="Freeform 1730"/>
            <p:cNvSpPr>
              <a:spLocks/>
            </p:cNvSpPr>
            <p:nvPr/>
          </p:nvSpPr>
          <p:spPr bwMode="auto">
            <a:xfrm>
              <a:off x="5074975" y="3494112"/>
              <a:ext cx="48548" cy="50065"/>
            </a:xfrm>
            <a:custGeom>
              <a:avLst/>
              <a:gdLst>
                <a:gd name="T0" fmla="*/ 2147483647 w 99"/>
                <a:gd name="T1" fmla="*/ 0 h 102"/>
                <a:gd name="T2" fmla="*/ 2147483647 w 99"/>
                <a:gd name="T3" fmla="*/ 2147483647 h 102"/>
                <a:gd name="T4" fmla="*/ 2147483647 w 99"/>
                <a:gd name="T5" fmla="*/ 2147483647 h 102"/>
                <a:gd name="T6" fmla="*/ 0 w 99"/>
                <a:gd name="T7" fmla="*/ 2147483647 h 102"/>
                <a:gd name="T8" fmla="*/ 2147483647 w 99"/>
                <a:gd name="T9" fmla="*/ 2147483647 h 102"/>
                <a:gd name="T10" fmla="*/ 2147483647 w 99"/>
                <a:gd name="T11" fmla="*/ 2147483647 h 102"/>
                <a:gd name="T12" fmla="*/ 2147483647 w 99"/>
                <a:gd name="T13" fmla="*/ 2147483647 h 102"/>
                <a:gd name="T14" fmla="*/ 2147483647 w 99"/>
                <a:gd name="T15" fmla="*/ 2147483647 h 102"/>
                <a:gd name="T16" fmla="*/ 2147483647 w 99"/>
                <a:gd name="T17" fmla="*/ 2147483647 h 102"/>
                <a:gd name="T18" fmla="*/ 2147483647 w 99"/>
                <a:gd name="T19" fmla="*/ 2147483647 h 102"/>
                <a:gd name="T20" fmla="*/ 2147483647 w 99"/>
                <a:gd name="T21" fmla="*/ 2147483647 h 102"/>
                <a:gd name="T22" fmla="*/ 2147483647 w 99"/>
                <a:gd name="T23" fmla="*/ 2147483647 h 102"/>
                <a:gd name="T24" fmla="*/ 2147483647 w 99"/>
                <a:gd name="T25" fmla="*/ 2147483647 h 102"/>
                <a:gd name="T26" fmla="*/ 2147483647 w 99"/>
                <a:gd name="T27" fmla="*/ 2147483647 h 102"/>
                <a:gd name="T28" fmla="*/ 2147483647 w 99"/>
                <a:gd name="T29" fmla="*/ 2147483647 h 102"/>
                <a:gd name="T30" fmla="*/ 2147483647 w 99"/>
                <a:gd name="T31" fmla="*/ 2147483647 h 102"/>
                <a:gd name="T32" fmla="*/ 2147483647 w 99"/>
                <a:gd name="T33" fmla="*/ 2147483647 h 102"/>
                <a:gd name="T34" fmla="*/ 2147483647 w 99"/>
                <a:gd name="T35" fmla="*/ 2147483647 h 102"/>
                <a:gd name="T36" fmla="*/ 2147483647 w 99"/>
                <a:gd name="T37" fmla="*/ 2147483647 h 102"/>
                <a:gd name="T38" fmla="*/ 2147483647 w 99"/>
                <a:gd name="T39" fmla="*/ 2147483647 h 102"/>
                <a:gd name="T40" fmla="*/ 2147483647 w 99"/>
                <a:gd name="T41" fmla="*/ 2147483647 h 102"/>
                <a:gd name="T42" fmla="*/ 2147483647 w 99"/>
                <a:gd name="T43" fmla="*/ 2147483647 h 102"/>
                <a:gd name="T44" fmla="*/ 2147483647 w 99"/>
                <a:gd name="T45" fmla="*/ 0 h 1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02"/>
                <a:gd name="T71" fmla="*/ 99 w 99"/>
                <a:gd name="T72" fmla="*/ 102 h 10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02">
                  <a:moveTo>
                    <a:pt x="38" y="0"/>
                  </a:moveTo>
                  <a:lnTo>
                    <a:pt x="16" y="10"/>
                  </a:lnTo>
                  <a:lnTo>
                    <a:pt x="10" y="7"/>
                  </a:lnTo>
                  <a:lnTo>
                    <a:pt x="0" y="29"/>
                  </a:lnTo>
                  <a:lnTo>
                    <a:pt x="22" y="54"/>
                  </a:lnTo>
                  <a:lnTo>
                    <a:pt x="20" y="78"/>
                  </a:lnTo>
                  <a:lnTo>
                    <a:pt x="30" y="85"/>
                  </a:lnTo>
                  <a:lnTo>
                    <a:pt x="37" y="69"/>
                  </a:lnTo>
                  <a:lnTo>
                    <a:pt x="47" y="81"/>
                  </a:lnTo>
                  <a:lnTo>
                    <a:pt x="52" y="102"/>
                  </a:lnTo>
                  <a:lnTo>
                    <a:pt x="56" y="102"/>
                  </a:lnTo>
                  <a:lnTo>
                    <a:pt x="59" y="87"/>
                  </a:lnTo>
                  <a:lnTo>
                    <a:pt x="66" y="84"/>
                  </a:lnTo>
                  <a:lnTo>
                    <a:pt x="84" y="101"/>
                  </a:lnTo>
                  <a:lnTo>
                    <a:pt x="77" y="60"/>
                  </a:lnTo>
                  <a:lnTo>
                    <a:pt x="69" y="42"/>
                  </a:lnTo>
                  <a:lnTo>
                    <a:pt x="84" y="56"/>
                  </a:lnTo>
                  <a:lnTo>
                    <a:pt x="99" y="49"/>
                  </a:lnTo>
                  <a:lnTo>
                    <a:pt x="98" y="44"/>
                  </a:lnTo>
                  <a:lnTo>
                    <a:pt x="89" y="37"/>
                  </a:lnTo>
                  <a:lnTo>
                    <a:pt x="84" y="20"/>
                  </a:lnTo>
                  <a:lnTo>
                    <a:pt x="77" y="16"/>
                  </a:lnTo>
                  <a:lnTo>
                    <a:pt x="38" y="0"/>
                  </a:lnTo>
                  <a:close/>
                </a:path>
              </a:pathLst>
            </a:custGeom>
            <a:grpFill/>
            <a:ln w="6350">
              <a:solidFill>
                <a:schemeClr val="tx2"/>
              </a:solidFill>
              <a:round/>
              <a:headEnd/>
              <a:tailEnd/>
            </a:ln>
          </p:spPr>
          <p:txBody>
            <a:bodyPr/>
            <a:lstStyle/>
            <a:p>
              <a:endParaRPr lang="en-US"/>
            </a:p>
          </p:txBody>
        </p:sp>
        <p:sp>
          <p:nvSpPr>
            <p:cNvPr id="612" name="Freeform 1731"/>
            <p:cNvSpPr>
              <a:spLocks/>
            </p:cNvSpPr>
            <p:nvPr/>
          </p:nvSpPr>
          <p:spPr bwMode="auto">
            <a:xfrm>
              <a:off x="5058287" y="3491077"/>
              <a:ext cx="9103" cy="10620"/>
            </a:xfrm>
            <a:custGeom>
              <a:avLst/>
              <a:gdLst>
                <a:gd name="T0" fmla="*/ 2147483647 w 19"/>
                <a:gd name="T1" fmla="*/ 2147483647 h 19"/>
                <a:gd name="T2" fmla="*/ 2147483647 w 19"/>
                <a:gd name="T3" fmla="*/ 2147483647 h 19"/>
                <a:gd name="T4" fmla="*/ 2147483647 w 19"/>
                <a:gd name="T5" fmla="*/ 0 h 19"/>
                <a:gd name="T6" fmla="*/ 0 w 19"/>
                <a:gd name="T7" fmla="*/ 2147483647 h 19"/>
                <a:gd name="T8" fmla="*/ 2147483647 w 19"/>
                <a:gd name="T9" fmla="*/ 2147483647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6" y="19"/>
                  </a:moveTo>
                  <a:lnTo>
                    <a:pt x="19" y="12"/>
                  </a:lnTo>
                  <a:lnTo>
                    <a:pt x="10" y="0"/>
                  </a:lnTo>
                  <a:lnTo>
                    <a:pt x="0" y="9"/>
                  </a:lnTo>
                  <a:lnTo>
                    <a:pt x="16" y="19"/>
                  </a:lnTo>
                  <a:close/>
                </a:path>
              </a:pathLst>
            </a:custGeom>
            <a:grpFill/>
            <a:ln w="6350">
              <a:solidFill>
                <a:schemeClr val="tx2"/>
              </a:solidFill>
              <a:round/>
              <a:headEnd/>
              <a:tailEnd/>
            </a:ln>
          </p:spPr>
          <p:txBody>
            <a:bodyPr/>
            <a:lstStyle/>
            <a:p>
              <a:endParaRPr lang="en-US"/>
            </a:p>
          </p:txBody>
        </p:sp>
        <p:sp>
          <p:nvSpPr>
            <p:cNvPr id="613" name="Freeform 1732"/>
            <p:cNvSpPr>
              <a:spLocks/>
            </p:cNvSpPr>
            <p:nvPr/>
          </p:nvSpPr>
          <p:spPr bwMode="auto">
            <a:xfrm>
              <a:off x="5114420" y="3474390"/>
              <a:ext cx="33376" cy="28825"/>
            </a:xfrm>
            <a:custGeom>
              <a:avLst/>
              <a:gdLst>
                <a:gd name="T0" fmla="*/ 2147483647 w 71"/>
                <a:gd name="T1" fmla="*/ 2147483647 h 59"/>
                <a:gd name="T2" fmla="*/ 2147483647 w 71"/>
                <a:gd name="T3" fmla="*/ 2147483647 h 59"/>
                <a:gd name="T4" fmla="*/ 2147483647 w 71"/>
                <a:gd name="T5" fmla="*/ 2147483647 h 59"/>
                <a:gd name="T6" fmla="*/ 2147483647 w 71"/>
                <a:gd name="T7" fmla="*/ 2147483647 h 59"/>
                <a:gd name="T8" fmla="*/ 2147483647 w 71"/>
                <a:gd name="T9" fmla="*/ 2147483647 h 59"/>
                <a:gd name="T10" fmla="*/ 2147483647 w 71"/>
                <a:gd name="T11" fmla="*/ 0 h 59"/>
                <a:gd name="T12" fmla="*/ 0 w 71"/>
                <a:gd name="T13" fmla="*/ 2147483647 h 59"/>
                <a:gd name="T14" fmla="*/ 2147483647 w 71"/>
                <a:gd name="T15" fmla="*/ 2147483647 h 59"/>
                <a:gd name="T16" fmla="*/ 2147483647 w 71"/>
                <a:gd name="T17" fmla="*/ 2147483647 h 59"/>
                <a:gd name="T18" fmla="*/ 2147483647 w 71"/>
                <a:gd name="T19" fmla="*/ 2147483647 h 59"/>
                <a:gd name="T20" fmla="*/ 2147483647 w 71"/>
                <a:gd name="T21" fmla="*/ 2147483647 h 59"/>
                <a:gd name="T22" fmla="*/ 2147483647 w 71"/>
                <a:gd name="T23" fmla="*/ 2147483647 h 59"/>
                <a:gd name="T24" fmla="*/ 2147483647 w 71"/>
                <a:gd name="T25" fmla="*/ 214748364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59"/>
                <a:gd name="T41" fmla="*/ 71 w 71"/>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59">
                  <a:moveTo>
                    <a:pt x="69" y="52"/>
                  </a:moveTo>
                  <a:lnTo>
                    <a:pt x="71" y="48"/>
                  </a:lnTo>
                  <a:lnTo>
                    <a:pt x="58" y="44"/>
                  </a:lnTo>
                  <a:lnTo>
                    <a:pt x="50" y="21"/>
                  </a:lnTo>
                  <a:lnTo>
                    <a:pt x="29" y="15"/>
                  </a:lnTo>
                  <a:lnTo>
                    <a:pt x="15" y="0"/>
                  </a:lnTo>
                  <a:lnTo>
                    <a:pt x="0" y="10"/>
                  </a:lnTo>
                  <a:lnTo>
                    <a:pt x="8" y="10"/>
                  </a:lnTo>
                  <a:lnTo>
                    <a:pt x="26" y="30"/>
                  </a:lnTo>
                  <a:lnTo>
                    <a:pt x="50" y="43"/>
                  </a:lnTo>
                  <a:lnTo>
                    <a:pt x="59" y="58"/>
                  </a:lnTo>
                  <a:lnTo>
                    <a:pt x="69" y="59"/>
                  </a:lnTo>
                  <a:lnTo>
                    <a:pt x="69" y="52"/>
                  </a:lnTo>
                  <a:close/>
                </a:path>
              </a:pathLst>
            </a:custGeom>
            <a:grpFill/>
            <a:ln w="6350">
              <a:solidFill>
                <a:schemeClr val="tx2"/>
              </a:solidFill>
              <a:round/>
              <a:headEnd/>
              <a:tailEnd/>
            </a:ln>
          </p:spPr>
          <p:txBody>
            <a:bodyPr/>
            <a:lstStyle/>
            <a:p>
              <a:endParaRPr lang="en-US"/>
            </a:p>
          </p:txBody>
        </p:sp>
        <p:sp>
          <p:nvSpPr>
            <p:cNvPr id="614" name="Freeform 1737"/>
            <p:cNvSpPr>
              <a:spLocks/>
            </p:cNvSpPr>
            <p:nvPr/>
          </p:nvSpPr>
          <p:spPr bwMode="auto">
            <a:xfrm>
              <a:off x="4889887" y="3494112"/>
              <a:ext cx="66753" cy="42479"/>
            </a:xfrm>
            <a:custGeom>
              <a:avLst/>
              <a:gdLst>
                <a:gd name="T0" fmla="*/ 2147483647 w 134"/>
                <a:gd name="T1" fmla="*/ 0 h 87"/>
                <a:gd name="T2" fmla="*/ 2147483647 w 134"/>
                <a:gd name="T3" fmla="*/ 2147483647 h 87"/>
                <a:gd name="T4" fmla="*/ 2147483647 w 134"/>
                <a:gd name="T5" fmla="*/ 2147483647 h 87"/>
                <a:gd name="T6" fmla="*/ 2147483647 w 134"/>
                <a:gd name="T7" fmla="*/ 2147483647 h 87"/>
                <a:gd name="T8" fmla="*/ 2147483647 w 134"/>
                <a:gd name="T9" fmla="*/ 2147483647 h 87"/>
                <a:gd name="T10" fmla="*/ 2147483647 w 134"/>
                <a:gd name="T11" fmla="*/ 2147483647 h 87"/>
                <a:gd name="T12" fmla="*/ 2147483647 w 134"/>
                <a:gd name="T13" fmla="*/ 2147483647 h 87"/>
                <a:gd name="T14" fmla="*/ 0 w 134"/>
                <a:gd name="T15" fmla="*/ 2147483647 h 87"/>
                <a:gd name="T16" fmla="*/ 2147483647 w 134"/>
                <a:gd name="T17" fmla="*/ 2147483647 h 87"/>
                <a:gd name="T18" fmla="*/ 2147483647 w 134"/>
                <a:gd name="T19" fmla="*/ 2147483647 h 87"/>
                <a:gd name="T20" fmla="*/ 2147483647 w 134"/>
                <a:gd name="T21" fmla="*/ 2147483647 h 87"/>
                <a:gd name="T22" fmla="*/ 2147483647 w 134"/>
                <a:gd name="T23" fmla="*/ 2147483647 h 87"/>
                <a:gd name="T24" fmla="*/ 2147483647 w 134"/>
                <a:gd name="T25" fmla="*/ 0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4"/>
                <a:gd name="T40" fmla="*/ 0 h 87"/>
                <a:gd name="T41" fmla="*/ 134 w 134"/>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4" h="87">
                  <a:moveTo>
                    <a:pt x="134" y="0"/>
                  </a:moveTo>
                  <a:lnTo>
                    <a:pt x="112" y="48"/>
                  </a:lnTo>
                  <a:lnTo>
                    <a:pt x="119" y="68"/>
                  </a:lnTo>
                  <a:lnTo>
                    <a:pt x="114" y="87"/>
                  </a:lnTo>
                  <a:lnTo>
                    <a:pt x="92" y="85"/>
                  </a:lnTo>
                  <a:lnTo>
                    <a:pt x="77" y="69"/>
                  </a:lnTo>
                  <a:lnTo>
                    <a:pt x="6" y="38"/>
                  </a:lnTo>
                  <a:lnTo>
                    <a:pt x="0" y="22"/>
                  </a:lnTo>
                  <a:lnTo>
                    <a:pt x="8" y="8"/>
                  </a:lnTo>
                  <a:lnTo>
                    <a:pt x="15" y="13"/>
                  </a:lnTo>
                  <a:lnTo>
                    <a:pt x="32" y="5"/>
                  </a:lnTo>
                  <a:lnTo>
                    <a:pt x="52" y="18"/>
                  </a:lnTo>
                  <a:lnTo>
                    <a:pt x="134" y="0"/>
                  </a:lnTo>
                  <a:close/>
                </a:path>
              </a:pathLst>
            </a:custGeom>
            <a:grpFill/>
            <a:ln w="6350">
              <a:solidFill>
                <a:schemeClr val="tx2"/>
              </a:solidFill>
              <a:round/>
              <a:headEnd/>
              <a:tailEnd/>
            </a:ln>
          </p:spPr>
          <p:txBody>
            <a:bodyPr/>
            <a:lstStyle/>
            <a:p>
              <a:endParaRPr lang="en-US"/>
            </a:p>
          </p:txBody>
        </p:sp>
        <p:sp>
          <p:nvSpPr>
            <p:cNvPr id="615" name="Freeform 1740"/>
            <p:cNvSpPr>
              <a:spLocks/>
            </p:cNvSpPr>
            <p:nvPr/>
          </p:nvSpPr>
          <p:spPr bwMode="auto">
            <a:xfrm>
              <a:off x="4650183" y="3472872"/>
              <a:ext cx="9103" cy="4551"/>
            </a:xfrm>
            <a:custGeom>
              <a:avLst/>
              <a:gdLst>
                <a:gd name="T0" fmla="*/ 2147483647 w 14"/>
                <a:gd name="T1" fmla="*/ 0 h 10"/>
                <a:gd name="T2" fmla="*/ 2147483647 w 14"/>
                <a:gd name="T3" fmla="*/ 2147483647 h 10"/>
                <a:gd name="T4" fmla="*/ 2147483647 w 14"/>
                <a:gd name="T5" fmla="*/ 2147483647 h 10"/>
                <a:gd name="T6" fmla="*/ 0 w 14"/>
                <a:gd name="T7" fmla="*/ 2147483647 h 10"/>
                <a:gd name="T8" fmla="*/ 2147483647 w 14"/>
                <a:gd name="T9" fmla="*/ 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10" y="0"/>
                  </a:moveTo>
                  <a:lnTo>
                    <a:pt x="14" y="5"/>
                  </a:lnTo>
                  <a:lnTo>
                    <a:pt x="9" y="10"/>
                  </a:lnTo>
                  <a:lnTo>
                    <a:pt x="0" y="9"/>
                  </a:lnTo>
                  <a:lnTo>
                    <a:pt x="10" y="0"/>
                  </a:lnTo>
                  <a:close/>
                </a:path>
              </a:pathLst>
            </a:custGeom>
            <a:grpFill/>
            <a:ln w="6350">
              <a:solidFill>
                <a:schemeClr val="tx2"/>
              </a:solidFill>
              <a:round/>
              <a:headEnd/>
              <a:tailEnd/>
            </a:ln>
          </p:spPr>
          <p:txBody>
            <a:bodyPr/>
            <a:lstStyle/>
            <a:p>
              <a:endParaRPr lang="en-US"/>
            </a:p>
          </p:txBody>
        </p:sp>
        <p:sp>
          <p:nvSpPr>
            <p:cNvPr id="616" name="Freeform 1778"/>
            <p:cNvSpPr>
              <a:spLocks/>
            </p:cNvSpPr>
            <p:nvPr/>
          </p:nvSpPr>
          <p:spPr bwMode="auto">
            <a:xfrm>
              <a:off x="4313383" y="3739883"/>
              <a:ext cx="15172" cy="13654"/>
            </a:xfrm>
            <a:custGeom>
              <a:avLst/>
              <a:gdLst>
                <a:gd name="T0" fmla="*/ 2147483647 w 23"/>
                <a:gd name="T1" fmla="*/ 2147483647 h 31"/>
                <a:gd name="T2" fmla="*/ 2147483647 w 23"/>
                <a:gd name="T3" fmla="*/ 0 h 31"/>
                <a:gd name="T4" fmla="*/ 2147483647 w 23"/>
                <a:gd name="T5" fmla="*/ 2147483647 h 31"/>
                <a:gd name="T6" fmla="*/ 0 w 23"/>
                <a:gd name="T7" fmla="*/ 2147483647 h 31"/>
                <a:gd name="T8" fmla="*/ 2147483647 w 23"/>
                <a:gd name="T9" fmla="*/ 2147483647 h 31"/>
                <a:gd name="T10" fmla="*/ 2147483647 w 23"/>
                <a:gd name="T11" fmla="*/ 2147483647 h 31"/>
                <a:gd name="T12" fmla="*/ 0 60000 65536"/>
                <a:gd name="T13" fmla="*/ 0 60000 65536"/>
                <a:gd name="T14" fmla="*/ 0 60000 65536"/>
                <a:gd name="T15" fmla="*/ 0 60000 65536"/>
                <a:gd name="T16" fmla="*/ 0 60000 65536"/>
                <a:gd name="T17" fmla="*/ 0 60000 65536"/>
                <a:gd name="T18" fmla="*/ 0 w 23"/>
                <a:gd name="T19" fmla="*/ 0 h 31"/>
                <a:gd name="T20" fmla="*/ 23 w 23"/>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3" h="31">
                  <a:moveTo>
                    <a:pt x="23" y="1"/>
                  </a:moveTo>
                  <a:lnTo>
                    <a:pt x="18" y="0"/>
                  </a:lnTo>
                  <a:lnTo>
                    <a:pt x="6" y="27"/>
                  </a:lnTo>
                  <a:lnTo>
                    <a:pt x="0" y="31"/>
                  </a:lnTo>
                  <a:lnTo>
                    <a:pt x="20" y="20"/>
                  </a:lnTo>
                  <a:lnTo>
                    <a:pt x="23" y="1"/>
                  </a:lnTo>
                  <a:close/>
                </a:path>
              </a:pathLst>
            </a:custGeom>
            <a:grpFill/>
            <a:ln w="6350">
              <a:solidFill>
                <a:schemeClr val="tx2"/>
              </a:solidFill>
              <a:round/>
              <a:headEnd/>
              <a:tailEnd/>
            </a:ln>
          </p:spPr>
          <p:txBody>
            <a:bodyPr/>
            <a:lstStyle/>
            <a:p>
              <a:endParaRPr lang="en-US"/>
            </a:p>
          </p:txBody>
        </p:sp>
        <p:sp>
          <p:nvSpPr>
            <p:cNvPr id="617" name="Freeform 1779"/>
            <p:cNvSpPr>
              <a:spLocks/>
            </p:cNvSpPr>
            <p:nvPr/>
          </p:nvSpPr>
          <p:spPr bwMode="auto">
            <a:xfrm>
              <a:off x="4328555" y="3727747"/>
              <a:ext cx="7585" cy="7586"/>
            </a:xfrm>
            <a:custGeom>
              <a:avLst/>
              <a:gdLst>
                <a:gd name="T0" fmla="*/ 2147483647 w 17"/>
                <a:gd name="T1" fmla="*/ 0 h 15"/>
                <a:gd name="T2" fmla="*/ 2147483647 w 17"/>
                <a:gd name="T3" fmla="*/ 2147483647 h 15"/>
                <a:gd name="T4" fmla="*/ 0 w 17"/>
                <a:gd name="T5" fmla="*/ 2147483647 h 15"/>
                <a:gd name="T6" fmla="*/ 2147483647 w 17"/>
                <a:gd name="T7" fmla="*/ 2147483647 h 15"/>
                <a:gd name="T8" fmla="*/ 2147483647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17" y="0"/>
                  </a:moveTo>
                  <a:lnTo>
                    <a:pt x="4" y="7"/>
                  </a:lnTo>
                  <a:lnTo>
                    <a:pt x="0" y="15"/>
                  </a:lnTo>
                  <a:lnTo>
                    <a:pt x="12" y="11"/>
                  </a:lnTo>
                  <a:lnTo>
                    <a:pt x="17" y="0"/>
                  </a:lnTo>
                  <a:close/>
                </a:path>
              </a:pathLst>
            </a:custGeom>
            <a:grpFill/>
            <a:ln w="6350">
              <a:solidFill>
                <a:schemeClr val="tx2"/>
              </a:solidFill>
              <a:round/>
              <a:headEnd/>
              <a:tailEnd/>
            </a:ln>
          </p:spPr>
          <p:txBody>
            <a:bodyPr/>
            <a:lstStyle/>
            <a:p>
              <a:endParaRPr lang="en-US"/>
            </a:p>
          </p:txBody>
        </p:sp>
        <p:sp>
          <p:nvSpPr>
            <p:cNvPr id="618" name="Freeform 1780"/>
            <p:cNvSpPr>
              <a:spLocks/>
            </p:cNvSpPr>
            <p:nvPr/>
          </p:nvSpPr>
          <p:spPr bwMode="auto">
            <a:xfrm>
              <a:off x="4847409" y="3609412"/>
              <a:ext cx="6069" cy="4551"/>
            </a:xfrm>
            <a:custGeom>
              <a:avLst/>
              <a:gdLst>
                <a:gd name="T0" fmla="*/ 2147483647 w 9"/>
                <a:gd name="T1" fmla="*/ 0 h 9"/>
                <a:gd name="T2" fmla="*/ 2147483647 w 9"/>
                <a:gd name="T3" fmla="*/ 2147483647 h 9"/>
                <a:gd name="T4" fmla="*/ 0 w 9"/>
                <a:gd name="T5" fmla="*/ 2147483647 h 9"/>
                <a:gd name="T6" fmla="*/ 0 w 9"/>
                <a:gd name="T7" fmla="*/ 2147483647 h 9"/>
                <a:gd name="T8" fmla="*/ 2147483647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7" y="0"/>
                  </a:moveTo>
                  <a:lnTo>
                    <a:pt x="9" y="9"/>
                  </a:lnTo>
                  <a:lnTo>
                    <a:pt x="0" y="9"/>
                  </a:lnTo>
                  <a:lnTo>
                    <a:pt x="0" y="2"/>
                  </a:lnTo>
                  <a:lnTo>
                    <a:pt x="7" y="0"/>
                  </a:lnTo>
                  <a:close/>
                </a:path>
              </a:pathLst>
            </a:custGeom>
            <a:grpFill/>
            <a:ln w="6350">
              <a:solidFill>
                <a:schemeClr val="tx2"/>
              </a:solidFill>
              <a:round/>
              <a:headEnd/>
              <a:tailEnd/>
            </a:ln>
          </p:spPr>
          <p:txBody>
            <a:bodyPr/>
            <a:lstStyle/>
            <a:p>
              <a:endParaRPr lang="en-US"/>
            </a:p>
          </p:txBody>
        </p:sp>
        <p:sp>
          <p:nvSpPr>
            <p:cNvPr id="619" name="Freeform 1781"/>
            <p:cNvSpPr>
              <a:spLocks/>
            </p:cNvSpPr>
            <p:nvPr/>
          </p:nvSpPr>
          <p:spPr bwMode="auto">
            <a:xfrm>
              <a:off x="5475493" y="4029653"/>
              <a:ext cx="3034" cy="3034"/>
            </a:xfrm>
            <a:custGeom>
              <a:avLst/>
              <a:gdLst>
                <a:gd name="T0" fmla="*/ 2147483647 w 7"/>
                <a:gd name="T1" fmla="*/ 0 h 5"/>
                <a:gd name="T2" fmla="*/ 0 w 7"/>
                <a:gd name="T3" fmla="*/ 2147483647 h 5"/>
                <a:gd name="T4" fmla="*/ 2147483647 w 7"/>
                <a:gd name="T5" fmla="*/ 2147483647 h 5"/>
                <a:gd name="T6" fmla="*/ 2147483647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4" y="0"/>
                  </a:moveTo>
                  <a:lnTo>
                    <a:pt x="0" y="3"/>
                  </a:lnTo>
                  <a:lnTo>
                    <a:pt x="7" y="5"/>
                  </a:lnTo>
                  <a:lnTo>
                    <a:pt x="4" y="0"/>
                  </a:lnTo>
                  <a:close/>
                </a:path>
              </a:pathLst>
            </a:custGeom>
            <a:grpFill/>
            <a:ln w="6350">
              <a:solidFill>
                <a:schemeClr val="tx2"/>
              </a:solidFill>
              <a:round/>
              <a:headEnd/>
              <a:tailEnd/>
            </a:ln>
          </p:spPr>
          <p:txBody>
            <a:bodyPr/>
            <a:lstStyle/>
            <a:p>
              <a:endParaRPr lang="en-US"/>
            </a:p>
          </p:txBody>
        </p:sp>
        <p:sp>
          <p:nvSpPr>
            <p:cNvPr id="620" name="Freeform 1782"/>
            <p:cNvSpPr>
              <a:spLocks/>
            </p:cNvSpPr>
            <p:nvPr/>
          </p:nvSpPr>
          <p:spPr bwMode="auto">
            <a:xfrm>
              <a:off x="5475493" y="4034203"/>
              <a:ext cx="12137" cy="7586"/>
            </a:xfrm>
            <a:custGeom>
              <a:avLst/>
              <a:gdLst>
                <a:gd name="T0" fmla="*/ 2147483647 w 22"/>
                <a:gd name="T1" fmla="*/ 2147483647 h 13"/>
                <a:gd name="T2" fmla="*/ 2147483647 w 22"/>
                <a:gd name="T3" fmla="*/ 0 h 13"/>
                <a:gd name="T4" fmla="*/ 0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3"/>
                <a:gd name="T29" fmla="*/ 22 w 22"/>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3">
                  <a:moveTo>
                    <a:pt x="14" y="7"/>
                  </a:moveTo>
                  <a:lnTo>
                    <a:pt x="7" y="0"/>
                  </a:lnTo>
                  <a:lnTo>
                    <a:pt x="0" y="3"/>
                  </a:lnTo>
                  <a:lnTo>
                    <a:pt x="5" y="5"/>
                  </a:lnTo>
                  <a:lnTo>
                    <a:pt x="6" y="9"/>
                  </a:lnTo>
                  <a:lnTo>
                    <a:pt x="2" y="9"/>
                  </a:lnTo>
                  <a:lnTo>
                    <a:pt x="5" y="11"/>
                  </a:lnTo>
                  <a:lnTo>
                    <a:pt x="22" y="13"/>
                  </a:lnTo>
                  <a:lnTo>
                    <a:pt x="14" y="7"/>
                  </a:lnTo>
                  <a:close/>
                </a:path>
              </a:pathLst>
            </a:custGeom>
            <a:grpFill/>
            <a:ln w="6350">
              <a:solidFill>
                <a:schemeClr val="tx2"/>
              </a:solidFill>
              <a:round/>
              <a:headEnd/>
              <a:tailEnd/>
            </a:ln>
          </p:spPr>
          <p:txBody>
            <a:bodyPr/>
            <a:lstStyle/>
            <a:p>
              <a:endParaRPr lang="en-US"/>
            </a:p>
          </p:txBody>
        </p:sp>
        <p:sp>
          <p:nvSpPr>
            <p:cNvPr id="621" name="Freeform 1783"/>
            <p:cNvSpPr>
              <a:spLocks/>
            </p:cNvSpPr>
            <p:nvPr/>
          </p:nvSpPr>
          <p:spPr bwMode="auto">
            <a:xfrm>
              <a:off x="5548314" y="4616775"/>
              <a:ext cx="3034" cy="13654"/>
            </a:xfrm>
            <a:custGeom>
              <a:avLst/>
              <a:gdLst>
                <a:gd name="T0" fmla="*/ 2147483647 w 9"/>
                <a:gd name="T1" fmla="*/ 0 h 25"/>
                <a:gd name="T2" fmla="*/ 2147483647 w 9"/>
                <a:gd name="T3" fmla="*/ 2147483647 h 25"/>
                <a:gd name="T4" fmla="*/ 0 w 9"/>
                <a:gd name="T5" fmla="*/ 2147483647 h 25"/>
                <a:gd name="T6" fmla="*/ 0 w 9"/>
                <a:gd name="T7" fmla="*/ 2147483647 h 25"/>
                <a:gd name="T8" fmla="*/ 2147483647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6" y="0"/>
                  </a:moveTo>
                  <a:lnTo>
                    <a:pt x="9" y="25"/>
                  </a:lnTo>
                  <a:lnTo>
                    <a:pt x="0" y="15"/>
                  </a:lnTo>
                  <a:lnTo>
                    <a:pt x="0" y="3"/>
                  </a:lnTo>
                  <a:lnTo>
                    <a:pt x="6" y="0"/>
                  </a:lnTo>
                  <a:close/>
                </a:path>
              </a:pathLst>
            </a:custGeom>
            <a:grpFill/>
            <a:ln w="6350">
              <a:solidFill>
                <a:schemeClr val="tx2"/>
              </a:solidFill>
              <a:round/>
              <a:headEnd/>
              <a:tailEnd/>
            </a:ln>
          </p:spPr>
          <p:txBody>
            <a:bodyPr/>
            <a:lstStyle/>
            <a:p>
              <a:endParaRPr lang="en-US"/>
            </a:p>
          </p:txBody>
        </p:sp>
        <p:sp>
          <p:nvSpPr>
            <p:cNvPr id="622" name="Freeform 1784"/>
            <p:cNvSpPr>
              <a:spLocks/>
            </p:cNvSpPr>
            <p:nvPr/>
          </p:nvSpPr>
          <p:spPr bwMode="auto">
            <a:xfrm>
              <a:off x="5557417" y="4638014"/>
              <a:ext cx="6069" cy="3034"/>
            </a:xfrm>
            <a:custGeom>
              <a:avLst/>
              <a:gdLst>
                <a:gd name="T0" fmla="*/ 2147483647 w 11"/>
                <a:gd name="T1" fmla="*/ 2147483647 h 5"/>
                <a:gd name="T2" fmla="*/ 0 w 11"/>
                <a:gd name="T3" fmla="*/ 0 h 5"/>
                <a:gd name="T4" fmla="*/ 2147483647 w 11"/>
                <a:gd name="T5" fmla="*/ 2147483647 h 5"/>
                <a:gd name="T6" fmla="*/ 0 60000 65536"/>
                <a:gd name="T7" fmla="*/ 0 60000 65536"/>
                <a:gd name="T8" fmla="*/ 0 60000 65536"/>
                <a:gd name="T9" fmla="*/ 0 w 11"/>
                <a:gd name="T10" fmla="*/ 0 h 5"/>
                <a:gd name="T11" fmla="*/ 11 w 11"/>
                <a:gd name="T12" fmla="*/ 5 h 5"/>
              </a:gdLst>
              <a:ahLst/>
              <a:cxnLst>
                <a:cxn ang="T6">
                  <a:pos x="T0" y="T1"/>
                </a:cxn>
                <a:cxn ang="T7">
                  <a:pos x="T2" y="T3"/>
                </a:cxn>
                <a:cxn ang="T8">
                  <a:pos x="T4" y="T5"/>
                </a:cxn>
              </a:cxnLst>
              <a:rect l="T9" t="T10" r="T11" b="T12"/>
              <a:pathLst>
                <a:path w="11" h="5">
                  <a:moveTo>
                    <a:pt x="11" y="5"/>
                  </a:moveTo>
                  <a:lnTo>
                    <a:pt x="0" y="0"/>
                  </a:lnTo>
                  <a:lnTo>
                    <a:pt x="11" y="5"/>
                  </a:lnTo>
                  <a:close/>
                </a:path>
              </a:pathLst>
            </a:custGeom>
            <a:grpFill/>
            <a:ln w="6350">
              <a:solidFill>
                <a:schemeClr val="tx2"/>
              </a:solidFill>
              <a:round/>
              <a:headEnd/>
              <a:tailEnd/>
            </a:ln>
          </p:spPr>
          <p:txBody>
            <a:bodyPr/>
            <a:lstStyle/>
            <a:p>
              <a:endParaRPr lang="en-US"/>
            </a:p>
          </p:txBody>
        </p:sp>
        <p:sp>
          <p:nvSpPr>
            <p:cNvPr id="623" name="Freeform 1787"/>
            <p:cNvSpPr>
              <a:spLocks/>
            </p:cNvSpPr>
            <p:nvPr/>
          </p:nvSpPr>
          <p:spPr bwMode="auto">
            <a:xfrm>
              <a:off x="5475493" y="4480235"/>
              <a:ext cx="1516" cy="10620"/>
            </a:xfrm>
            <a:custGeom>
              <a:avLst/>
              <a:gdLst>
                <a:gd name="T0" fmla="*/ 2147483647 w 6"/>
                <a:gd name="T1" fmla="*/ 2147483647 h 22"/>
                <a:gd name="T2" fmla="*/ 2147483647 w 6"/>
                <a:gd name="T3" fmla="*/ 2147483647 h 22"/>
                <a:gd name="T4" fmla="*/ 0 w 6"/>
                <a:gd name="T5" fmla="*/ 2147483647 h 22"/>
                <a:gd name="T6" fmla="*/ 0 w 6"/>
                <a:gd name="T7" fmla="*/ 0 h 22"/>
                <a:gd name="T8" fmla="*/ 2147483647 w 6"/>
                <a:gd name="T9" fmla="*/ 0 h 22"/>
                <a:gd name="T10" fmla="*/ 2147483647 w 6"/>
                <a:gd name="T11" fmla="*/ 2147483647 h 22"/>
                <a:gd name="T12" fmla="*/ 0 60000 65536"/>
                <a:gd name="T13" fmla="*/ 0 60000 65536"/>
                <a:gd name="T14" fmla="*/ 0 60000 65536"/>
                <a:gd name="T15" fmla="*/ 0 60000 65536"/>
                <a:gd name="T16" fmla="*/ 0 60000 65536"/>
                <a:gd name="T17" fmla="*/ 0 60000 65536"/>
                <a:gd name="T18" fmla="*/ 0 w 6"/>
                <a:gd name="T19" fmla="*/ 0 h 22"/>
                <a:gd name="T20" fmla="*/ 6 w 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6" h="22">
                  <a:moveTo>
                    <a:pt x="6" y="8"/>
                  </a:moveTo>
                  <a:lnTo>
                    <a:pt x="4" y="22"/>
                  </a:lnTo>
                  <a:lnTo>
                    <a:pt x="0" y="19"/>
                  </a:lnTo>
                  <a:lnTo>
                    <a:pt x="0" y="0"/>
                  </a:lnTo>
                  <a:lnTo>
                    <a:pt x="5" y="0"/>
                  </a:lnTo>
                  <a:lnTo>
                    <a:pt x="6" y="8"/>
                  </a:lnTo>
                  <a:close/>
                </a:path>
              </a:pathLst>
            </a:custGeom>
            <a:grpFill/>
            <a:ln w="6350">
              <a:solidFill>
                <a:schemeClr val="tx2"/>
              </a:solidFill>
              <a:round/>
              <a:headEnd/>
              <a:tailEnd/>
            </a:ln>
          </p:spPr>
          <p:txBody>
            <a:bodyPr/>
            <a:lstStyle/>
            <a:p>
              <a:endParaRPr lang="en-US"/>
            </a:p>
          </p:txBody>
        </p:sp>
        <p:sp>
          <p:nvSpPr>
            <p:cNvPr id="624" name="Freeform 1788"/>
            <p:cNvSpPr>
              <a:spLocks/>
            </p:cNvSpPr>
            <p:nvPr/>
          </p:nvSpPr>
          <p:spPr bwMode="auto">
            <a:xfrm>
              <a:off x="5466390" y="4498440"/>
              <a:ext cx="3034" cy="13654"/>
            </a:xfrm>
            <a:custGeom>
              <a:avLst/>
              <a:gdLst>
                <a:gd name="T0" fmla="*/ 0 w 10"/>
                <a:gd name="T1" fmla="*/ 0 h 29"/>
                <a:gd name="T2" fmla="*/ 2147483647 w 10"/>
                <a:gd name="T3" fmla="*/ 2147483647 h 29"/>
                <a:gd name="T4" fmla="*/ 0 w 10"/>
                <a:gd name="T5" fmla="*/ 2147483647 h 29"/>
                <a:gd name="T6" fmla="*/ 0 w 10"/>
                <a:gd name="T7" fmla="*/ 0 h 29"/>
                <a:gd name="T8" fmla="*/ 0 60000 65536"/>
                <a:gd name="T9" fmla="*/ 0 60000 65536"/>
                <a:gd name="T10" fmla="*/ 0 60000 65536"/>
                <a:gd name="T11" fmla="*/ 0 60000 65536"/>
                <a:gd name="T12" fmla="*/ 0 w 10"/>
                <a:gd name="T13" fmla="*/ 0 h 29"/>
                <a:gd name="T14" fmla="*/ 10 w 10"/>
                <a:gd name="T15" fmla="*/ 29 h 29"/>
              </a:gdLst>
              <a:ahLst/>
              <a:cxnLst>
                <a:cxn ang="T8">
                  <a:pos x="T0" y="T1"/>
                </a:cxn>
                <a:cxn ang="T9">
                  <a:pos x="T2" y="T3"/>
                </a:cxn>
                <a:cxn ang="T10">
                  <a:pos x="T4" y="T5"/>
                </a:cxn>
                <a:cxn ang="T11">
                  <a:pos x="T6" y="T7"/>
                </a:cxn>
              </a:cxnLst>
              <a:rect l="T12" t="T13" r="T14" b="T15"/>
              <a:pathLst>
                <a:path w="10" h="29">
                  <a:moveTo>
                    <a:pt x="0" y="0"/>
                  </a:moveTo>
                  <a:lnTo>
                    <a:pt x="10" y="29"/>
                  </a:lnTo>
                  <a:lnTo>
                    <a:pt x="0" y="22"/>
                  </a:lnTo>
                  <a:lnTo>
                    <a:pt x="0" y="0"/>
                  </a:lnTo>
                  <a:close/>
                </a:path>
              </a:pathLst>
            </a:custGeom>
            <a:grpFill/>
            <a:ln w="6350">
              <a:solidFill>
                <a:schemeClr val="tx2"/>
              </a:solidFill>
              <a:round/>
              <a:headEnd/>
              <a:tailEnd/>
            </a:ln>
          </p:spPr>
          <p:txBody>
            <a:bodyPr/>
            <a:lstStyle/>
            <a:p>
              <a:endParaRPr lang="en-US"/>
            </a:p>
          </p:txBody>
        </p:sp>
        <p:sp>
          <p:nvSpPr>
            <p:cNvPr id="625" name="Freeform 1790"/>
            <p:cNvSpPr>
              <a:spLocks/>
            </p:cNvSpPr>
            <p:nvPr/>
          </p:nvSpPr>
          <p:spPr bwMode="auto">
            <a:xfrm>
              <a:off x="5545280" y="4636498"/>
              <a:ext cx="154745" cy="301905"/>
            </a:xfrm>
            <a:custGeom>
              <a:avLst/>
              <a:gdLst>
                <a:gd name="T0" fmla="*/ 2147483647 w 307"/>
                <a:gd name="T1" fmla="*/ 2147483647 h 609"/>
                <a:gd name="T2" fmla="*/ 2147483647 w 307"/>
                <a:gd name="T3" fmla="*/ 2147483647 h 609"/>
                <a:gd name="T4" fmla="*/ 2147483647 w 307"/>
                <a:gd name="T5" fmla="*/ 2147483647 h 609"/>
                <a:gd name="T6" fmla="*/ 2147483647 w 307"/>
                <a:gd name="T7" fmla="*/ 2147483647 h 609"/>
                <a:gd name="T8" fmla="*/ 2147483647 w 307"/>
                <a:gd name="T9" fmla="*/ 2147483647 h 609"/>
                <a:gd name="T10" fmla="*/ 2147483647 w 307"/>
                <a:gd name="T11" fmla="*/ 2147483647 h 609"/>
                <a:gd name="T12" fmla="*/ 2147483647 w 307"/>
                <a:gd name="T13" fmla="*/ 2147483647 h 609"/>
                <a:gd name="T14" fmla="*/ 2147483647 w 307"/>
                <a:gd name="T15" fmla="*/ 2147483647 h 609"/>
                <a:gd name="T16" fmla="*/ 2147483647 w 307"/>
                <a:gd name="T17" fmla="*/ 2147483647 h 609"/>
                <a:gd name="T18" fmla="*/ 2147483647 w 307"/>
                <a:gd name="T19" fmla="*/ 2147483647 h 609"/>
                <a:gd name="T20" fmla="*/ 2147483647 w 307"/>
                <a:gd name="T21" fmla="*/ 2147483647 h 609"/>
                <a:gd name="T22" fmla="*/ 2147483647 w 307"/>
                <a:gd name="T23" fmla="*/ 2147483647 h 609"/>
                <a:gd name="T24" fmla="*/ 2147483647 w 307"/>
                <a:gd name="T25" fmla="*/ 2147483647 h 609"/>
                <a:gd name="T26" fmla="*/ 2147483647 w 307"/>
                <a:gd name="T27" fmla="*/ 2147483647 h 609"/>
                <a:gd name="T28" fmla="*/ 2147483647 w 307"/>
                <a:gd name="T29" fmla="*/ 2147483647 h 609"/>
                <a:gd name="T30" fmla="*/ 2147483647 w 307"/>
                <a:gd name="T31" fmla="*/ 2147483647 h 609"/>
                <a:gd name="T32" fmla="*/ 2147483647 w 307"/>
                <a:gd name="T33" fmla="*/ 2147483647 h 609"/>
                <a:gd name="T34" fmla="*/ 2147483647 w 307"/>
                <a:gd name="T35" fmla="*/ 2147483647 h 609"/>
                <a:gd name="T36" fmla="*/ 2147483647 w 307"/>
                <a:gd name="T37" fmla="*/ 0 h 609"/>
                <a:gd name="T38" fmla="*/ 2147483647 w 307"/>
                <a:gd name="T39" fmla="*/ 2147483647 h 609"/>
                <a:gd name="T40" fmla="*/ 2147483647 w 307"/>
                <a:gd name="T41" fmla="*/ 2147483647 h 609"/>
                <a:gd name="T42" fmla="*/ 2147483647 w 307"/>
                <a:gd name="T43" fmla="*/ 2147483647 h 609"/>
                <a:gd name="T44" fmla="*/ 2147483647 w 307"/>
                <a:gd name="T45" fmla="*/ 2147483647 h 609"/>
                <a:gd name="T46" fmla="*/ 2147483647 w 307"/>
                <a:gd name="T47" fmla="*/ 2147483647 h 609"/>
                <a:gd name="T48" fmla="*/ 2147483647 w 307"/>
                <a:gd name="T49" fmla="*/ 2147483647 h 609"/>
                <a:gd name="T50" fmla="*/ 2147483647 w 307"/>
                <a:gd name="T51" fmla="*/ 2147483647 h 609"/>
                <a:gd name="T52" fmla="*/ 2147483647 w 307"/>
                <a:gd name="T53" fmla="*/ 2147483647 h 609"/>
                <a:gd name="T54" fmla="*/ 2147483647 w 307"/>
                <a:gd name="T55" fmla="*/ 2147483647 h 609"/>
                <a:gd name="T56" fmla="*/ 2147483647 w 307"/>
                <a:gd name="T57" fmla="*/ 2147483647 h 609"/>
                <a:gd name="T58" fmla="*/ 2147483647 w 307"/>
                <a:gd name="T59" fmla="*/ 2147483647 h 609"/>
                <a:gd name="T60" fmla="*/ 0 w 307"/>
                <a:gd name="T61" fmla="*/ 2147483647 h 609"/>
                <a:gd name="T62" fmla="*/ 2147483647 w 307"/>
                <a:gd name="T63" fmla="*/ 2147483647 h 609"/>
                <a:gd name="T64" fmla="*/ 2147483647 w 307"/>
                <a:gd name="T65" fmla="*/ 2147483647 h 609"/>
                <a:gd name="T66" fmla="*/ 2147483647 w 307"/>
                <a:gd name="T67" fmla="*/ 2147483647 h 609"/>
                <a:gd name="T68" fmla="*/ 2147483647 w 307"/>
                <a:gd name="T69" fmla="*/ 2147483647 h 609"/>
                <a:gd name="T70" fmla="*/ 2147483647 w 307"/>
                <a:gd name="T71" fmla="*/ 2147483647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609"/>
                <a:gd name="T110" fmla="*/ 307 w 307"/>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609">
                  <a:moveTo>
                    <a:pt x="50" y="180"/>
                  </a:moveTo>
                  <a:lnTo>
                    <a:pt x="54" y="176"/>
                  </a:lnTo>
                  <a:lnTo>
                    <a:pt x="72" y="177"/>
                  </a:lnTo>
                  <a:lnTo>
                    <a:pt x="84" y="168"/>
                  </a:lnTo>
                  <a:lnTo>
                    <a:pt x="89" y="174"/>
                  </a:lnTo>
                  <a:lnTo>
                    <a:pt x="93" y="169"/>
                  </a:lnTo>
                  <a:lnTo>
                    <a:pt x="98" y="171"/>
                  </a:lnTo>
                  <a:lnTo>
                    <a:pt x="103" y="159"/>
                  </a:lnTo>
                  <a:lnTo>
                    <a:pt x="114" y="160"/>
                  </a:lnTo>
                  <a:lnTo>
                    <a:pt x="119" y="156"/>
                  </a:lnTo>
                  <a:lnTo>
                    <a:pt x="133" y="171"/>
                  </a:lnTo>
                  <a:lnTo>
                    <a:pt x="145" y="172"/>
                  </a:lnTo>
                  <a:lnTo>
                    <a:pt x="134" y="157"/>
                  </a:lnTo>
                  <a:lnTo>
                    <a:pt x="135" y="149"/>
                  </a:lnTo>
                  <a:lnTo>
                    <a:pt x="155" y="135"/>
                  </a:lnTo>
                  <a:lnTo>
                    <a:pt x="160" y="137"/>
                  </a:lnTo>
                  <a:lnTo>
                    <a:pt x="161" y="148"/>
                  </a:lnTo>
                  <a:lnTo>
                    <a:pt x="172" y="145"/>
                  </a:lnTo>
                  <a:lnTo>
                    <a:pt x="164" y="131"/>
                  </a:lnTo>
                  <a:lnTo>
                    <a:pt x="174" y="116"/>
                  </a:lnTo>
                  <a:lnTo>
                    <a:pt x="180" y="110"/>
                  </a:lnTo>
                  <a:lnTo>
                    <a:pt x="180" y="125"/>
                  </a:lnTo>
                  <a:lnTo>
                    <a:pt x="192" y="110"/>
                  </a:lnTo>
                  <a:lnTo>
                    <a:pt x="204" y="109"/>
                  </a:lnTo>
                  <a:lnTo>
                    <a:pt x="190" y="98"/>
                  </a:lnTo>
                  <a:lnTo>
                    <a:pt x="199" y="84"/>
                  </a:lnTo>
                  <a:lnTo>
                    <a:pt x="204" y="88"/>
                  </a:lnTo>
                  <a:lnTo>
                    <a:pt x="199" y="64"/>
                  </a:lnTo>
                  <a:lnTo>
                    <a:pt x="201" y="60"/>
                  </a:lnTo>
                  <a:lnTo>
                    <a:pt x="210" y="63"/>
                  </a:lnTo>
                  <a:lnTo>
                    <a:pt x="213" y="72"/>
                  </a:lnTo>
                  <a:lnTo>
                    <a:pt x="225" y="49"/>
                  </a:lnTo>
                  <a:lnTo>
                    <a:pt x="230" y="53"/>
                  </a:lnTo>
                  <a:lnTo>
                    <a:pt x="237" y="48"/>
                  </a:lnTo>
                  <a:lnTo>
                    <a:pt x="242" y="18"/>
                  </a:lnTo>
                  <a:lnTo>
                    <a:pt x="237" y="11"/>
                  </a:lnTo>
                  <a:lnTo>
                    <a:pt x="241" y="13"/>
                  </a:lnTo>
                  <a:lnTo>
                    <a:pt x="254" y="0"/>
                  </a:lnTo>
                  <a:lnTo>
                    <a:pt x="284" y="37"/>
                  </a:lnTo>
                  <a:lnTo>
                    <a:pt x="307" y="142"/>
                  </a:lnTo>
                  <a:lnTo>
                    <a:pt x="302" y="163"/>
                  </a:lnTo>
                  <a:lnTo>
                    <a:pt x="296" y="164"/>
                  </a:lnTo>
                  <a:lnTo>
                    <a:pt x="288" y="143"/>
                  </a:lnTo>
                  <a:lnTo>
                    <a:pt x="281" y="143"/>
                  </a:lnTo>
                  <a:lnTo>
                    <a:pt x="278" y="174"/>
                  </a:lnTo>
                  <a:lnTo>
                    <a:pt x="283" y="197"/>
                  </a:lnTo>
                  <a:lnTo>
                    <a:pt x="269" y="222"/>
                  </a:lnTo>
                  <a:lnTo>
                    <a:pt x="259" y="288"/>
                  </a:lnTo>
                  <a:lnTo>
                    <a:pt x="227" y="383"/>
                  </a:lnTo>
                  <a:lnTo>
                    <a:pt x="186" y="537"/>
                  </a:lnTo>
                  <a:lnTo>
                    <a:pt x="175" y="560"/>
                  </a:lnTo>
                  <a:lnTo>
                    <a:pt x="166" y="576"/>
                  </a:lnTo>
                  <a:lnTo>
                    <a:pt x="151" y="588"/>
                  </a:lnTo>
                  <a:lnTo>
                    <a:pt x="118" y="592"/>
                  </a:lnTo>
                  <a:lnTo>
                    <a:pt x="83" y="609"/>
                  </a:lnTo>
                  <a:lnTo>
                    <a:pt x="37" y="576"/>
                  </a:lnTo>
                  <a:lnTo>
                    <a:pt x="26" y="560"/>
                  </a:lnTo>
                  <a:lnTo>
                    <a:pt x="19" y="532"/>
                  </a:lnTo>
                  <a:lnTo>
                    <a:pt x="22" y="512"/>
                  </a:lnTo>
                  <a:lnTo>
                    <a:pt x="14" y="489"/>
                  </a:lnTo>
                  <a:lnTo>
                    <a:pt x="1" y="471"/>
                  </a:lnTo>
                  <a:lnTo>
                    <a:pt x="0" y="435"/>
                  </a:lnTo>
                  <a:lnTo>
                    <a:pt x="12" y="413"/>
                  </a:lnTo>
                  <a:lnTo>
                    <a:pt x="18" y="408"/>
                  </a:lnTo>
                  <a:lnTo>
                    <a:pt x="23" y="405"/>
                  </a:lnTo>
                  <a:lnTo>
                    <a:pt x="30" y="384"/>
                  </a:lnTo>
                  <a:lnTo>
                    <a:pt x="54" y="341"/>
                  </a:lnTo>
                  <a:lnTo>
                    <a:pt x="56" y="329"/>
                  </a:lnTo>
                  <a:lnTo>
                    <a:pt x="43" y="295"/>
                  </a:lnTo>
                  <a:lnTo>
                    <a:pt x="37" y="250"/>
                  </a:lnTo>
                  <a:lnTo>
                    <a:pt x="29" y="238"/>
                  </a:lnTo>
                  <a:lnTo>
                    <a:pt x="51" y="194"/>
                  </a:lnTo>
                  <a:lnTo>
                    <a:pt x="50" y="180"/>
                  </a:lnTo>
                  <a:close/>
                </a:path>
              </a:pathLst>
            </a:custGeom>
            <a:grpFill/>
            <a:ln w="6350">
              <a:solidFill>
                <a:schemeClr val="tx2"/>
              </a:solidFill>
              <a:round/>
              <a:headEnd/>
              <a:tailEnd/>
            </a:ln>
          </p:spPr>
          <p:txBody>
            <a:bodyPr/>
            <a:lstStyle/>
            <a:p>
              <a:endParaRPr lang="en-US"/>
            </a:p>
          </p:txBody>
        </p:sp>
        <p:sp>
          <p:nvSpPr>
            <p:cNvPr id="626" name="Freeform 1791"/>
            <p:cNvSpPr>
              <a:spLocks/>
            </p:cNvSpPr>
            <p:nvPr/>
          </p:nvSpPr>
          <p:spPr bwMode="auto">
            <a:xfrm>
              <a:off x="4804929" y="4293630"/>
              <a:ext cx="9103" cy="12137"/>
            </a:xfrm>
            <a:custGeom>
              <a:avLst/>
              <a:gdLst>
                <a:gd name="T0" fmla="*/ 2147483647 w 20"/>
                <a:gd name="T1" fmla="*/ 2147483647 h 23"/>
                <a:gd name="T2" fmla="*/ 2147483647 w 20"/>
                <a:gd name="T3" fmla="*/ 2147483647 h 23"/>
                <a:gd name="T4" fmla="*/ 0 w 20"/>
                <a:gd name="T5" fmla="*/ 2147483647 h 23"/>
                <a:gd name="T6" fmla="*/ 2147483647 w 20"/>
                <a:gd name="T7" fmla="*/ 0 h 23"/>
                <a:gd name="T8" fmla="*/ 2147483647 w 20"/>
                <a:gd name="T9" fmla="*/ 2147483647 h 23"/>
                <a:gd name="T10" fmla="*/ 0 60000 65536"/>
                <a:gd name="T11" fmla="*/ 0 60000 65536"/>
                <a:gd name="T12" fmla="*/ 0 60000 65536"/>
                <a:gd name="T13" fmla="*/ 0 60000 65536"/>
                <a:gd name="T14" fmla="*/ 0 60000 65536"/>
                <a:gd name="T15" fmla="*/ 0 w 20"/>
                <a:gd name="T16" fmla="*/ 0 h 23"/>
                <a:gd name="T17" fmla="*/ 20 w 20"/>
                <a:gd name="T18" fmla="*/ 23 h 23"/>
              </a:gdLst>
              <a:ahLst/>
              <a:cxnLst>
                <a:cxn ang="T10">
                  <a:pos x="T0" y="T1"/>
                </a:cxn>
                <a:cxn ang="T11">
                  <a:pos x="T2" y="T3"/>
                </a:cxn>
                <a:cxn ang="T12">
                  <a:pos x="T4" y="T5"/>
                </a:cxn>
                <a:cxn ang="T13">
                  <a:pos x="T6" y="T7"/>
                </a:cxn>
                <a:cxn ang="T14">
                  <a:pos x="T8" y="T9"/>
                </a:cxn>
              </a:cxnLst>
              <a:rect l="T15" t="T16" r="T17" b="T18"/>
              <a:pathLst>
                <a:path w="20" h="23">
                  <a:moveTo>
                    <a:pt x="20" y="6"/>
                  </a:moveTo>
                  <a:lnTo>
                    <a:pt x="14" y="23"/>
                  </a:lnTo>
                  <a:lnTo>
                    <a:pt x="0" y="22"/>
                  </a:lnTo>
                  <a:lnTo>
                    <a:pt x="7" y="0"/>
                  </a:lnTo>
                  <a:lnTo>
                    <a:pt x="20" y="6"/>
                  </a:lnTo>
                  <a:close/>
                </a:path>
              </a:pathLst>
            </a:custGeom>
            <a:grpFill/>
            <a:ln w="6350">
              <a:solidFill>
                <a:schemeClr val="tx2"/>
              </a:solidFill>
              <a:round/>
              <a:headEnd/>
              <a:tailEnd/>
            </a:ln>
          </p:spPr>
          <p:txBody>
            <a:bodyPr/>
            <a:lstStyle/>
            <a:p>
              <a:endParaRPr lang="en-US"/>
            </a:p>
          </p:txBody>
        </p:sp>
        <p:sp>
          <p:nvSpPr>
            <p:cNvPr id="627" name="Freeform 1792"/>
            <p:cNvSpPr>
              <a:spLocks/>
            </p:cNvSpPr>
            <p:nvPr/>
          </p:nvSpPr>
          <p:spPr bwMode="auto">
            <a:xfrm>
              <a:off x="4777621" y="4339143"/>
              <a:ext cx="3034" cy="3034"/>
            </a:xfrm>
            <a:custGeom>
              <a:avLst/>
              <a:gdLst>
                <a:gd name="T0" fmla="*/ 2147483647 w 4"/>
                <a:gd name="T1" fmla="*/ 0 h 9"/>
                <a:gd name="T2" fmla="*/ 2147483647 w 4"/>
                <a:gd name="T3" fmla="*/ 2147483647 h 9"/>
                <a:gd name="T4" fmla="*/ 0 w 4"/>
                <a:gd name="T5" fmla="*/ 2147483647 h 9"/>
                <a:gd name="T6" fmla="*/ 2147483647 w 4"/>
                <a:gd name="T7" fmla="*/ 0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2" y="0"/>
                  </a:moveTo>
                  <a:lnTo>
                    <a:pt x="4" y="4"/>
                  </a:lnTo>
                  <a:lnTo>
                    <a:pt x="0" y="9"/>
                  </a:lnTo>
                  <a:lnTo>
                    <a:pt x="2" y="0"/>
                  </a:lnTo>
                  <a:close/>
                </a:path>
              </a:pathLst>
            </a:custGeom>
            <a:grpFill/>
            <a:ln w="6350">
              <a:solidFill>
                <a:schemeClr val="tx2"/>
              </a:solidFill>
              <a:round/>
              <a:headEnd/>
              <a:tailEnd/>
            </a:ln>
          </p:spPr>
          <p:txBody>
            <a:bodyPr/>
            <a:lstStyle/>
            <a:p>
              <a:endParaRPr lang="en-US"/>
            </a:p>
          </p:txBody>
        </p:sp>
        <p:sp>
          <p:nvSpPr>
            <p:cNvPr id="628" name="Freeform 1793"/>
            <p:cNvSpPr>
              <a:spLocks/>
            </p:cNvSpPr>
            <p:nvPr/>
          </p:nvSpPr>
          <p:spPr bwMode="auto">
            <a:xfrm>
              <a:off x="4759416" y="4364934"/>
              <a:ext cx="6069" cy="7586"/>
            </a:xfrm>
            <a:custGeom>
              <a:avLst/>
              <a:gdLst>
                <a:gd name="T0" fmla="*/ 2147483647 w 13"/>
                <a:gd name="T1" fmla="*/ 0 h 15"/>
                <a:gd name="T2" fmla="*/ 2147483647 w 13"/>
                <a:gd name="T3" fmla="*/ 2147483647 h 15"/>
                <a:gd name="T4" fmla="*/ 2147483647 w 13"/>
                <a:gd name="T5" fmla="*/ 2147483647 h 15"/>
                <a:gd name="T6" fmla="*/ 0 w 13"/>
                <a:gd name="T7" fmla="*/ 2147483647 h 15"/>
                <a:gd name="T8" fmla="*/ 2147483647 w 13"/>
                <a:gd name="T9" fmla="*/ 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7" y="0"/>
                  </a:moveTo>
                  <a:lnTo>
                    <a:pt x="13" y="8"/>
                  </a:lnTo>
                  <a:lnTo>
                    <a:pt x="5" y="15"/>
                  </a:lnTo>
                  <a:lnTo>
                    <a:pt x="0" y="7"/>
                  </a:lnTo>
                  <a:lnTo>
                    <a:pt x="7" y="0"/>
                  </a:lnTo>
                  <a:close/>
                </a:path>
              </a:pathLst>
            </a:custGeom>
            <a:grpFill/>
            <a:ln w="6350">
              <a:solidFill>
                <a:schemeClr val="tx2"/>
              </a:solidFill>
              <a:round/>
              <a:headEnd/>
              <a:tailEnd/>
            </a:ln>
          </p:spPr>
          <p:txBody>
            <a:bodyPr/>
            <a:lstStyle/>
            <a:p>
              <a:endParaRPr lang="en-US"/>
            </a:p>
          </p:txBody>
        </p:sp>
        <p:sp>
          <p:nvSpPr>
            <p:cNvPr id="629" name="Freeform 1794"/>
            <p:cNvSpPr>
              <a:spLocks/>
            </p:cNvSpPr>
            <p:nvPr/>
          </p:nvSpPr>
          <p:spPr bwMode="auto">
            <a:xfrm>
              <a:off x="4741210" y="4404379"/>
              <a:ext cx="3034" cy="3034"/>
            </a:xfrm>
            <a:custGeom>
              <a:avLst/>
              <a:gdLst>
                <a:gd name="T0" fmla="*/ 0 w 3"/>
                <a:gd name="T1" fmla="*/ 0 h 5"/>
                <a:gd name="T2" fmla="*/ 2147483647 w 3"/>
                <a:gd name="T3" fmla="*/ 2147483647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lnTo>
                    <a:pt x="3" y="5"/>
                  </a:lnTo>
                  <a:lnTo>
                    <a:pt x="0" y="0"/>
                  </a:lnTo>
                  <a:close/>
                </a:path>
              </a:pathLst>
            </a:custGeom>
            <a:grpFill/>
            <a:ln w="6350">
              <a:solidFill>
                <a:schemeClr val="tx2"/>
              </a:solidFill>
              <a:round/>
              <a:headEnd/>
              <a:tailEnd/>
            </a:ln>
          </p:spPr>
          <p:txBody>
            <a:bodyPr/>
            <a:lstStyle/>
            <a:p>
              <a:endParaRPr lang="en-US"/>
            </a:p>
          </p:txBody>
        </p:sp>
        <p:sp>
          <p:nvSpPr>
            <p:cNvPr id="630" name="Freeform 1817"/>
            <p:cNvSpPr>
              <a:spLocks/>
            </p:cNvSpPr>
            <p:nvPr/>
          </p:nvSpPr>
          <p:spPr bwMode="auto">
            <a:xfrm>
              <a:off x="5797121" y="4786692"/>
              <a:ext cx="9103" cy="12137"/>
            </a:xfrm>
            <a:custGeom>
              <a:avLst/>
              <a:gdLst>
                <a:gd name="T0" fmla="*/ 2147483647 w 19"/>
                <a:gd name="T1" fmla="*/ 2147483647 h 24"/>
                <a:gd name="T2" fmla="*/ 2147483647 w 19"/>
                <a:gd name="T3" fmla="*/ 2147483647 h 24"/>
                <a:gd name="T4" fmla="*/ 0 w 19"/>
                <a:gd name="T5" fmla="*/ 2147483647 h 24"/>
                <a:gd name="T6" fmla="*/ 2147483647 w 19"/>
                <a:gd name="T7" fmla="*/ 0 h 24"/>
                <a:gd name="T8" fmla="*/ 2147483647 w 19"/>
                <a:gd name="T9" fmla="*/ 2147483647 h 24"/>
                <a:gd name="T10" fmla="*/ 0 60000 65536"/>
                <a:gd name="T11" fmla="*/ 0 60000 65536"/>
                <a:gd name="T12" fmla="*/ 0 60000 65536"/>
                <a:gd name="T13" fmla="*/ 0 60000 65536"/>
                <a:gd name="T14" fmla="*/ 0 60000 65536"/>
                <a:gd name="T15" fmla="*/ 0 w 19"/>
                <a:gd name="T16" fmla="*/ 0 h 24"/>
                <a:gd name="T17" fmla="*/ 19 w 19"/>
                <a:gd name="T18" fmla="*/ 24 h 24"/>
              </a:gdLst>
              <a:ahLst/>
              <a:cxnLst>
                <a:cxn ang="T10">
                  <a:pos x="T0" y="T1"/>
                </a:cxn>
                <a:cxn ang="T11">
                  <a:pos x="T2" y="T3"/>
                </a:cxn>
                <a:cxn ang="T12">
                  <a:pos x="T4" y="T5"/>
                </a:cxn>
                <a:cxn ang="T13">
                  <a:pos x="T6" y="T7"/>
                </a:cxn>
                <a:cxn ang="T14">
                  <a:pos x="T8" y="T9"/>
                </a:cxn>
              </a:cxnLst>
              <a:rect l="T15" t="T16" r="T17" b="T18"/>
              <a:pathLst>
                <a:path w="19" h="24">
                  <a:moveTo>
                    <a:pt x="19" y="8"/>
                  </a:moveTo>
                  <a:lnTo>
                    <a:pt x="13" y="24"/>
                  </a:lnTo>
                  <a:lnTo>
                    <a:pt x="0" y="22"/>
                  </a:lnTo>
                  <a:lnTo>
                    <a:pt x="7" y="0"/>
                  </a:lnTo>
                  <a:lnTo>
                    <a:pt x="19" y="8"/>
                  </a:lnTo>
                  <a:close/>
                </a:path>
              </a:pathLst>
            </a:custGeom>
            <a:grpFill/>
            <a:ln w="6350">
              <a:solidFill>
                <a:schemeClr val="tx2"/>
              </a:solidFill>
              <a:round/>
              <a:headEnd/>
              <a:tailEnd/>
            </a:ln>
          </p:spPr>
          <p:txBody>
            <a:bodyPr/>
            <a:lstStyle/>
            <a:p>
              <a:endParaRPr lang="en-US"/>
            </a:p>
          </p:txBody>
        </p:sp>
        <p:sp>
          <p:nvSpPr>
            <p:cNvPr id="631" name="Freeform 1818"/>
            <p:cNvSpPr>
              <a:spLocks/>
            </p:cNvSpPr>
            <p:nvPr/>
          </p:nvSpPr>
          <p:spPr bwMode="auto">
            <a:xfrm>
              <a:off x="5772847" y="4780623"/>
              <a:ext cx="9103" cy="1517"/>
            </a:xfrm>
            <a:custGeom>
              <a:avLst/>
              <a:gdLst>
                <a:gd name="T0" fmla="*/ 2147483647 w 13"/>
                <a:gd name="T1" fmla="*/ 2147483647 h 4"/>
                <a:gd name="T2" fmla="*/ 0 w 13"/>
                <a:gd name="T3" fmla="*/ 2147483647 h 4"/>
                <a:gd name="T4" fmla="*/ 2147483647 w 13"/>
                <a:gd name="T5" fmla="*/ 2147483647 h 4"/>
                <a:gd name="T6" fmla="*/ 2147483647 w 13"/>
                <a:gd name="T7" fmla="*/ 0 h 4"/>
                <a:gd name="T8" fmla="*/ 2147483647 w 13"/>
                <a:gd name="T9" fmla="*/ 2147483647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7" y="1"/>
                  </a:moveTo>
                  <a:lnTo>
                    <a:pt x="0" y="4"/>
                  </a:lnTo>
                  <a:lnTo>
                    <a:pt x="7" y="4"/>
                  </a:lnTo>
                  <a:lnTo>
                    <a:pt x="13" y="0"/>
                  </a:lnTo>
                  <a:lnTo>
                    <a:pt x="7" y="1"/>
                  </a:lnTo>
                  <a:close/>
                </a:path>
              </a:pathLst>
            </a:custGeom>
            <a:grpFill/>
            <a:ln w="6350">
              <a:solidFill>
                <a:schemeClr val="tx2"/>
              </a:solidFill>
              <a:round/>
              <a:headEnd/>
              <a:tailEnd/>
            </a:ln>
          </p:spPr>
          <p:txBody>
            <a:bodyPr/>
            <a:lstStyle/>
            <a:p>
              <a:endParaRPr lang="en-US"/>
            </a:p>
          </p:txBody>
        </p:sp>
        <p:sp>
          <p:nvSpPr>
            <p:cNvPr id="632" name="Freeform 1824"/>
            <p:cNvSpPr>
              <a:spLocks/>
            </p:cNvSpPr>
            <p:nvPr/>
          </p:nvSpPr>
          <p:spPr bwMode="auto">
            <a:xfrm>
              <a:off x="4504540" y="3536590"/>
              <a:ext cx="9103" cy="16689"/>
            </a:xfrm>
            <a:custGeom>
              <a:avLst/>
              <a:gdLst>
                <a:gd name="T0" fmla="*/ 2147483647 w 23"/>
                <a:gd name="T1" fmla="*/ 2147483647 h 32"/>
                <a:gd name="T2" fmla="*/ 2147483647 w 23"/>
                <a:gd name="T3" fmla="*/ 0 h 32"/>
                <a:gd name="T4" fmla="*/ 0 w 23"/>
                <a:gd name="T5" fmla="*/ 2147483647 h 32"/>
                <a:gd name="T6" fmla="*/ 2147483647 w 23"/>
                <a:gd name="T7" fmla="*/ 2147483647 h 32"/>
                <a:gd name="T8" fmla="*/ 2147483647 w 23"/>
                <a:gd name="T9" fmla="*/ 2147483647 h 32"/>
                <a:gd name="T10" fmla="*/ 0 60000 65536"/>
                <a:gd name="T11" fmla="*/ 0 60000 65536"/>
                <a:gd name="T12" fmla="*/ 0 60000 65536"/>
                <a:gd name="T13" fmla="*/ 0 60000 65536"/>
                <a:gd name="T14" fmla="*/ 0 60000 65536"/>
                <a:gd name="T15" fmla="*/ 0 w 23"/>
                <a:gd name="T16" fmla="*/ 0 h 32"/>
                <a:gd name="T17" fmla="*/ 23 w 23"/>
                <a:gd name="T18" fmla="*/ 32 h 32"/>
              </a:gdLst>
              <a:ahLst/>
              <a:cxnLst>
                <a:cxn ang="T10">
                  <a:pos x="T0" y="T1"/>
                </a:cxn>
                <a:cxn ang="T11">
                  <a:pos x="T2" y="T3"/>
                </a:cxn>
                <a:cxn ang="T12">
                  <a:pos x="T4" y="T5"/>
                </a:cxn>
                <a:cxn ang="T13">
                  <a:pos x="T6" y="T7"/>
                </a:cxn>
                <a:cxn ang="T14">
                  <a:pos x="T8" y="T9"/>
                </a:cxn>
              </a:cxnLst>
              <a:rect l="T15" t="T16" r="T17" b="T18"/>
              <a:pathLst>
                <a:path w="23" h="32">
                  <a:moveTo>
                    <a:pt x="17" y="25"/>
                  </a:moveTo>
                  <a:lnTo>
                    <a:pt x="23" y="0"/>
                  </a:lnTo>
                  <a:lnTo>
                    <a:pt x="0" y="15"/>
                  </a:lnTo>
                  <a:lnTo>
                    <a:pt x="9" y="32"/>
                  </a:lnTo>
                  <a:lnTo>
                    <a:pt x="17" y="25"/>
                  </a:lnTo>
                  <a:close/>
                </a:path>
              </a:pathLst>
            </a:custGeom>
            <a:grpFill/>
            <a:ln w="6350">
              <a:solidFill>
                <a:schemeClr val="tx2"/>
              </a:solidFill>
              <a:round/>
              <a:headEnd/>
              <a:tailEnd/>
            </a:ln>
          </p:spPr>
          <p:txBody>
            <a:bodyPr/>
            <a:lstStyle/>
            <a:p>
              <a:endParaRPr lang="en-US"/>
            </a:p>
          </p:txBody>
        </p:sp>
        <p:sp>
          <p:nvSpPr>
            <p:cNvPr id="633" name="Freeform 1825"/>
            <p:cNvSpPr>
              <a:spLocks/>
            </p:cNvSpPr>
            <p:nvPr/>
          </p:nvSpPr>
          <p:spPr bwMode="auto">
            <a:xfrm>
              <a:off x="4920230" y="3551761"/>
              <a:ext cx="9103" cy="9103"/>
            </a:xfrm>
            <a:custGeom>
              <a:avLst/>
              <a:gdLst>
                <a:gd name="T0" fmla="*/ 2147483647 w 18"/>
                <a:gd name="T1" fmla="*/ 2147483647 h 18"/>
                <a:gd name="T2" fmla="*/ 2147483647 w 18"/>
                <a:gd name="T3" fmla="*/ 2147483647 h 18"/>
                <a:gd name="T4" fmla="*/ 2147483647 w 18"/>
                <a:gd name="T5" fmla="*/ 0 h 18"/>
                <a:gd name="T6" fmla="*/ 0 w 18"/>
                <a:gd name="T7" fmla="*/ 2147483647 h 18"/>
                <a:gd name="T8" fmla="*/ 2147483647 w 18"/>
                <a:gd name="T9" fmla="*/ 2147483647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16" y="18"/>
                  </a:moveTo>
                  <a:lnTo>
                    <a:pt x="18" y="12"/>
                  </a:lnTo>
                  <a:lnTo>
                    <a:pt x="10" y="0"/>
                  </a:lnTo>
                  <a:lnTo>
                    <a:pt x="0" y="9"/>
                  </a:lnTo>
                  <a:lnTo>
                    <a:pt x="16" y="18"/>
                  </a:lnTo>
                  <a:close/>
                </a:path>
              </a:pathLst>
            </a:custGeom>
            <a:grpFill/>
            <a:ln w="6350">
              <a:solidFill>
                <a:schemeClr val="tx2"/>
              </a:solidFill>
              <a:round/>
              <a:headEnd/>
              <a:tailEnd/>
            </a:ln>
          </p:spPr>
          <p:txBody>
            <a:bodyPr/>
            <a:lstStyle/>
            <a:p>
              <a:endParaRPr lang="en-US"/>
            </a:p>
          </p:txBody>
        </p:sp>
        <p:sp>
          <p:nvSpPr>
            <p:cNvPr id="634" name="Freeform 1378"/>
            <p:cNvSpPr>
              <a:spLocks/>
            </p:cNvSpPr>
            <p:nvPr/>
          </p:nvSpPr>
          <p:spPr bwMode="auto">
            <a:xfrm>
              <a:off x="6705872" y="3934074"/>
              <a:ext cx="168400" cy="329214"/>
            </a:xfrm>
            <a:custGeom>
              <a:avLst/>
              <a:gdLst>
                <a:gd name="T0" fmla="*/ 2147483647 w 338"/>
                <a:gd name="T1" fmla="*/ 2147483647 h 663"/>
                <a:gd name="T2" fmla="*/ 2147483647 w 338"/>
                <a:gd name="T3" fmla="*/ 2147483647 h 663"/>
                <a:gd name="T4" fmla="*/ 2147483647 w 338"/>
                <a:gd name="T5" fmla="*/ 2147483647 h 663"/>
                <a:gd name="T6" fmla="*/ 2147483647 w 338"/>
                <a:gd name="T7" fmla="*/ 2147483647 h 663"/>
                <a:gd name="T8" fmla="*/ 2147483647 w 338"/>
                <a:gd name="T9" fmla="*/ 2147483647 h 663"/>
                <a:gd name="T10" fmla="*/ 2147483647 w 338"/>
                <a:gd name="T11" fmla="*/ 2147483647 h 663"/>
                <a:gd name="T12" fmla="*/ 2147483647 w 338"/>
                <a:gd name="T13" fmla="*/ 2147483647 h 663"/>
                <a:gd name="T14" fmla="*/ 2147483647 w 338"/>
                <a:gd name="T15" fmla="*/ 2147483647 h 663"/>
                <a:gd name="T16" fmla="*/ 2147483647 w 338"/>
                <a:gd name="T17" fmla="*/ 2147483647 h 663"/>
                <a:gd name="T18" fmla="*/ 2147483647 w 338"/>
                <a:gd name="T19" fmla="*/ 2147483647 h 663"/>
                <a:gd name="T20" fmla="*/ 2147483647 w 338"/>
                <a:gd name="T21" fmla="*/ 2147483647 h 663"/>
                <a:gd name="T22" fmla="*/ 2147483647 w 338"/>
                <a:gd name="T23" fmla="*/ 2147483647 h 663"/>
                <a:gd name="T24" fmla="*/ 2147483647 w 338"/>
                <a:gd name="T25" fmla="*/ 2147483647 h 663"/>
                <a:gd name="T26" fmla="*/ 2147483647 w 338"/>
                <a:gd name="T27" fmla="*/ 2147483647 h 663"/>
                <a:gd name="T28" fmla="*/ 2147483647 w 338"/>
                <a:gd name="T29" fmla="*/ 2147483647 h 663"/>
                <a:gd name="T30" fmla="*/ 2147483647 w 338"/>
                <a:gd name="T31" fmla="*/ 2147483647 h 663"/>
                <a:gd name="T32" fmla="*/ 2147483647 w 338"/>
                <a:gd name="T33" fmla="*/ 2147483647 h 663"/>
                <a:gd name="T34" fmla="*/ 2147483647 w 338"/>
                <a:gd name="T35" fmla="*/ 2147483647 h 663"/>
                <a:gd name="T36" fmla="*/ 2147483647 w 338"/>
                <a:gd name="T37" fmla="*/ 2147483647 h 663"/>
                <a:gd name="T38" fmla="*/ 2147483647 w 338"/>
                <a:gd name="T39" fmla="*/ 2147483647 h 663"/>
                <a:gd name="T40" fmla="*/ 2147483647 w 338"/>
                <a:gd name="T41" fmla="*/ 2147483647 h 663"/>
                <a:gd name="T42" fmla="*/ 2147483647 w 338"/>
                <a:gd name="T43" fmla="*/ 2147483647 h 663"/>
                <a:gd name="T44" fmla="*/ 2147483647 w 338"/>
                <a:gd name="T45" fmla="*/ 2147483647 h 663"/>
                <a:gd name="T46" fmla="*/ 2147483647 w 338"/>
                <a:gd name="T47" fmla="*/ 2147483647 h 663"/>
                <a:gd name="T48" fmla="*/ 2147483647 w 338"/>
                <a:gd name="T49" fmla="*/ 2147483647 h 663"/>
                <a:gd name="T50" fmla="*/ 2147483647 w 338"/>
                <a:gd name="T51" fmla="*/ 2147483647 h 663"/>
                <a:gd name="T52" fmla="*/ 2147483647 w 338"/>
                <a:gd name="T53" fmla="*/ 2147483647 h 663"/>
                <a:gd name="T54" fmla="*/ 2147483647 w 338"/>
                <a:gd name="T55" fmla="*/ 0 h 663"/>
                <a:gd name="T56" fmla="*/ 2147483647 w 338"/>
                <a:gd name="T57" fmla="*/ 2147483647 h 663"/>
                <a:gd name="T58" fmla="*/ 2147483647 w 338"/>
                <a:gd name="T59" fmla="*/ 2147483647 h 663"/>
                <a:gd name="T60" fmla="*/ 2147483647 w 338"/>
                <a:gd name="T61" fmla="*/ 2147483647 h 663"/>
                <a:gd name="T62" fmla="*/ 2147483647 w 338"/>
                <a:gd name="T63" fmla="*/ 2147483647 h 663"/>
                <a:gd name="T64" fmla="*/ 2147483647 w 338"/>
                <a:gd name="T65" fmla="*/ 2147483647 h 663"/>
                <a:gd name="T66" fmla="*/ 2147483647 w 338"/>
                <a:gd name="T67" fmla="*/ 2147483647 h 663"/>
                <a:gd name="T68" fmla="*/ 2147483647 w 338"/>
                <a:gd name="T69" fmla="*/ 2147483647 h 663"/>
                <a:gd name="T70" fmla="*/ 2147483647 w 338"/>
                <a:gd name="T71" fmla="*/ 2147483647 h 663"/>
                <a:gd name="T72" fmla="*/ 2147483647 w 338"/>
                <a:gd name="T73" fmla="*/ 2147483647 h 663"/>
                <a:gd name="T74" fmla="*/ 2147483647 w 338"/>
                <a:gd name="T75" fmla="*/ 2147483647 h 663"/>
                <a:gd name="T76" fmla="*/ 2147483647 w 338"/>
                <a:gd name="T77" fmla="*/ 2147483647 h 663"/>
                <a:gd name="T78" fmla="*/ 2147483647 w 338"/>
                <a:gd name="T79" fmla="*/ 2147483647 h 663"/>
                <a:gd name="T80" fmla="*/ 2147483647 w 338"/>
                <a:gd name="T81" fmla="*/ 2147483647 h 663"/>
                <a:gd name="T82" fmla="*/ 2147483647 w 338"/>
                <a:gd name="T83" fmla="*/ 2147483647 h 663"/>
                <a:gd name="T84" fmla="*/ 2147483647 w 338"/>
                <a:gd name="T85" fmla="*/ 2147483647 h 663"/>
                <a:gd name="T86" fmla="*/ 2147483647 w 338"/>
                <a:gd name="T87" fmla="*/ 2147483647 h 663"/>
                <a:gd name="T88" fmla="*/ 2147483647 w 338"/>
                <a:gd name="T89" fmla="*/ 2147483647 h 663"/>
                <a:gd name="T90" fmla="*/ 2147483647 w 338"/>
                <a:gd name="T91" fmla="*/ 2147483647 h 6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8"/>
                <a:gd name="T139" fmla="*/ 0 h 663"/>
                <a:gd name="T140" fmla="*/ 338 w 338"/>
                <a:gd name="T141" fmla="*/ 663 h 6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8" h="663">
                  <a:moveTo>
                    <a:pt x="228" y="405"/>
                  </a:moveTo>
                  <a:lnTo>
                    <a:pt x="217" y="386"/>
                  </a:lnTo>
                  <a:lnTo>
                    <a:pt x="202" y="380"/>
                  </a:lnTo>
                  <a:lnTo>
                    <a:pt x="182" y="361"/>
                  </a:lnTo>
                  <a:lnTo>
                    <a:pt x="144" y="362"/>
                  </a:lnTo>
                  <a:lnTo>
                    <a:pt x="141" y="324"/>
                  </a:lnTo>
                  <a:lnTo>
                    <a:pt x="111" y="322"/>
                  </a:lnTo>
                  <a:lnTo>
                    <a:pt x="102" y="325"/>
                  </a:lnTo>
                  <a:lnTo>
                    <a:pt x="104" y="344"/>
                  </a:lnTo>
                  <a:lnTo>
                    <a:pt x="100" y="382"/>
                  </a:lnTo>
                  <a:lnTo>
                    <a:pt x="88" y="405"/>
                  </a:lnTo>
                  <a:lnTo>
                    <a:pt x="81" y="434"/>
                  </a:lnTo>
                  <a:lnTo>
                    <a:pt x="67" y="465"/>
                  </a:lnTo>
                  <a:lnTo>
                    <a:pt x="72" y="509"/>
                  </a:lnTo>
                  <a:lnTo>
                    <a:pt x="97" y="509"/>
                  </a:lnTo>
                  <a:lnTo>
                    <a:pt x="107" y="542"/>
                  </a:lnTo>
                  <a:lnTo>
                    <a:pt x="118" y="556"/>
                  </a:lnTo>
                  <a:lnTo>
                    <a:pt x="128" y="592"/>
                  </a:lnTo>
                  <a:lnTo>
                    <a:pt x="142" y="607"/>
                  </a:lnTo>
                  <a:lnTo>
                    <a:pt x="169" y="612"/>
                  </a:lnTo>
                  <a:lnTo>
                    <a:pt x="197" y="641"/>
                  </a:lnTo>
                  <a:lnTo>
                    <a:pt x="191" y="651"/>
                  </a:lnTo>
                  <a:lnTo>
                    <a:pt x="174" y="651"/>
                  </a:lnTo>
                  <a:lnTo>
                    <a:pt x="156" y="663"/>
                  </a:lnTo>
                  <a:lnTo>
                    <a:pt x="154" y="641"/>
                  </a:lnTo>
                  <a:lnTo>
                    <a:pt x="146" y="630"/>
                  </a:lnTo>
                  <a:lnTo>
                    <a:pt x="110" y="619"/>
                  </a:lnTo>
                  <a:lnTo>
                    <a:pt x="113" y="631"/>
                  </a:lnTo>
                  <a:lnTo>
                    <a:pt x="68" y="571"/>
                  </a:lnTo>
                  <a:lnTo>
                    <a:pt x="47" y="552"/>
                  </a:lnTo>
                  <a:lnTo>
                    <a:pt x="32" y="553"/>
                  </a:lnTo>
                  <a:lnTo>
                    <a:pt x="31" y="520"/>
                  </a:lnTo>
                  <a:lnTo>
                    <a:pt x="46" y="468"/>
                  </a:lnTo>
                  <a:lnTo>
                    <a:pt x="58" y="438"/>
                  </a:lnTo>
                  <a:lnTo>
                    <a:pt x="72" y="423"/>
                  </a:lnTo>
                  <a:lnTo>
                    <a:pt x="87" y="394"/>
                  </a:lnTo>
                  <a:lnTo>
                    <a:pt x="66" y="341"/>
                  </a:lnTo>
                  <a:lnTo>
                    <a:pt x="61" y="303"/>
                  </a:lnTo>
                  <a:lnTo>
                    <a:pt x="31" y="278"/>
                  </a:lnTo>
                  <a:lnTo>
                    <a:pt x="26" y="265"/>
                  </a:lnTo>
                  <a:lnTo>
                    <a:pt x="27" y="253"/>
                  </a:lnTo>
                  <a:lnTo>
                    <a:pt x="39" y="238"/>
                  </a:lnTo>
                  <a:lnTo>
                    <a:pt x="42" y="222"/>
                  </a:lnTo>
                  <a:lnTo>
                    <a:pt x="51" y="207"/>
                  </a:lnTo>
                  <a:lnTo>
                    <a:pt x="48" y="200"/>
                  </a:lnTo>
                  <a:lnTo>
                    <a:pt x="40" y="199"/>
                  </a:lnTo>
                  <a:lnTo>
                    <a:pt x="38" y="164"/>
                  </a:lnTo>
                  <a:lnTo>
                    <a:pt x="13" y="143"/>
                  </a:lnTo>
                  <a:lnTo>
                    <a:pt x="0" y="106"/>
                  </a:lnTo>
                  <a:lnTo>
                    <a:pt x="6" y="101"/>
                  </a:lnTo>
                  <a:lnTo>
                    <a:pt x="7" y="84"/>
                  </a:lnTo>
                  <a:lnTo>
                    <a:pt x="18" y="53"/>
                  </a:lnTo>
                  <a:lnTo>
                    <a:pt x="52" y="47"/>
                  </a:lnTo>
                  <a:lnTo>
                    <a:pt x="81" y="25"/>
                  </a:lnTo>
                  <a:lnTo>
                    <a:pt x="99" y="19"/>
                  </a:lnTo>
                  <a:lnTo>
                    <a:pt x="112" y="0"/>
                  </a:lnTo>
                  <a:lnTo>
                    <a:pt x="111" y="10"/>
                  </a:lnTo>
                  <a:lnTo>
                    <a:pt x="116" y="9"/>
                  </a:lnTo>
                  <a:lnTo>
                    <a:pt x="125" y="20"/>
                  </a:lnTo>
                  <a:lnTo>
                    <a:pt x="127" y="40"/>
                  </a:lnTo>
                  <a:lnTo>
                    <a:pt x="127" y="45"/>
                  </a:lnTo>
                  <a:lnTo>
                    <a:pt x="152" y="50"/>
                  </a:lnTo>
                  <a:lnTo>
                    <a:pt x="151" y="90"/>
                  </a:lnTo>
                  <a:lnTo>
                    <a:pt x="142" y="130"/>
                  </a:lnTo>
                  <a:lnTo>
                    <a:pt x="144" y="143"/>
                  </a:lnTo>
                  <a:lnTo>
                    <a:pt x="182" y="115"/>
                  </a:lnTo>
                  <a:lnTo>
                    <a:pt x="197" y="115"/>
                  </a:lnTo>
                  <a:lnTo>
                    <a:pt x="201" y="124"/>
                  </a:lnTo>
                  <a:lnTo>
                    <a:pt x="214" y="128"/>
                  </a:lnTo>
                  <a:lnTo>
                    <a:pt x="230" y="121"/>
                  </a:lnTo>
                  <a:lnTo>
                    <a:pt x="236" y="108"/>
                  </a:lnTo>
                  <a:lnTo>
                    <a:pt x="254" y="106"/>
                  </a:lnTo>
                  <a:lnTo>
                    <a:pt x="264" y="106"/>
                  </a:lnTo>
                  <a:lnTo>
                    <a:pt x="296" y="143"/>
                  </a:lnTo>
                  <a:lnTo>
                    <a:pt x="302" y="160"/>
                  </a:lnTo>
                  <a:lnTo>
                    <a:pt x="305" y="199"/>
                  </a:lnTo>
                  <a:lnTo>
                    <a:pt x="318" y="210"/>
                  </a:lnTo>
                  <a:lnTo>
                    <a:pt x="325" y="211"/>
                  </a:lnTo>
                  <a:lnTo>
                    <a:pt x="338" y="229"/>
                  </a:lnTo>
                  <a:lnTo>
                    <a:pt x="338" y="242"/>
                  </a:lnTo>
                  <a:lnTo>
                    <a:pt x="336" y="278"/>
                  </a:lnTo>
                  <a:lnTo>
                    <a:pt x="326" y="290"/>
                  </a:lnTo>
                  <a:lnTo>
                    <a:pt x="319" y="293"/>
                  </a:lnTo>
                  <a:lnTo>
                    <a:pt x="310" y="286"/>
                  </a:lnTo>
                  <a:lnTo>
                    <a:pt x="275" y="289"/>
                  </a:lnTo>
                  <a:lnTo>
                    <a:pt x="240" y="285"/>
                  </a:lnTo>
                  <a:lnTo>
                    <a:pt x="212" y="311"/>
                  </a:lnTo>
                  <a:lnTo>
                    <a:pt x="203" y="322"/>
                  </a:lnTo>
                  <a:lnTo>
                    <a:pt x="201" y="337"/>
                  </a:lnTo>
                  <a:lnTo>
                    <a:pt x="209" y="362"/>
                  </a:lnTo>
                  <a:lnTo>
                    <a:pt x="225" y="381"/>
                  </a:lnTo>
                  <a:lnTo>
                    <a:pt x="228" y="405"/>
                  </a:lnTo>
                  <a:close/>
                </a:path>
              </a:pathLst>
            </a:custGeom>
            <a:grpFill/>
            <a:ln w="6350">
              <a:solidFill>
                <a:schemeClr val="tx2"/>
              </a:solidFill>
              <a:round/>
              <a:headEnd/>
              <a:tailEnd/>
            </a:ln>
          </p:spPr>
          <p:txBody>
            <a:bodyPr/>
            <a:lstStyle/>
            <a:p>
              <a:endParaRPr lang="en-US"/>
            </a:p>
          </p:txBody>
        </p:sp>
        <p:sp>
          <p:nvSpPr>
            <p:cNvPr id="635" name="Freeform 1379"/>
            <p:cNvSpPr>
              <a:spLocks/>
            </p:cNvSpPr>
            <p:nvPr/>
          </p:nvSpPr>
          <p:spPr bwMode="auto">
            <a:xfrm>
              <a:off x="6760488" y="3893112"/>
              <a:ext cx="154745" cy="192673"/>
            </a:xfrm>
            <a:custGeom>
              <a:avLst/>
              <a:gdLst>
                <a:gd name="T0" fmla="*/ 2147483647 w 311"/>
                <a:gd name="T1" fmla="*/ 2147483647 h 385"/>
                <a:gd name="T2" fmla="*/ 2147483647 w 311"/>
                <a:gd name="T3" fmla="*/ 2147483647 h 385"/>
                <a:gd name="T4" fmla="*/ 2147483647 w 311"/>
                <a:gd name="T5" fmla="*/ 2147483647 h 385"/>
                <a:gd name="T6" fmla="*/ 2147483647 w 311"/>
                <a:gd name="T7" fmla="*/ 2147483647 h 385"/>
                <a:gd name="T8" fmla="*/ 2147483647 w 311"/>
                <a:gd name="T9" fmla="*/ 2147483647 h 385"/>
                <a:gd name="T10" fmla="*/ 2147483647 w 311"/>
                <a:gd name="T11" fmla="*/ 2147483647 h 385"/>
                <a:gd name="T12" fmla="*/ 2147483647 w 311"/>
                <a:gd name="T13" fmla="*/ 2147483647 h 385"/>
                <a:gd name="T14" fmla="*/ 2147483647 w 311"/>
                <a:gd name="T15" fmla="*/ 2147483647 h 385"/>
                <a:gd name="T16" fmla="*/ 2147483647 w 311"/>
                <a:gd name="T17" fmla="*/ 2147483647 h 385"/>
                <a:gd name="T18" fmla="*/ 2147483647 w 311"/>
                <a:gd name="T19" fmla="*/ 2147483647 h 385"/>
                <a:gd name="T20" fmla="*/ 2147483647 w 311"/>
                <a:gd name="T21" fmla="*/ 2147483647 h 385"/>
                <a:gd name="T22" fmla="*/ 2147483647 w 311"/>
                <a:gd name="T23" fmla="*/ 2147483647 h 385"/>
                <a:gd name="T24" fmla="*/ 2147483647 w 311"/>
                <a:gd name="T25" fmla="*/ 2147483647 h 385"/>
                <a:gd name="T26" fmla="*/ 2147483647 w 311"/>
                <a:gd name="T27" fmla="*/ 2147483647 h 385"/>
                <a:gd name="T28" fmla="*/ 2147483647 w 311"/>
                <a:gd name="T29" fmla="*/ 2147483647 h 385"/>
                <a:gd name="T30" fmla="*/ 2147483647 w 311"/>
                <a:gd name="T31" fmla="*/ 2147483647 h 385"/>
                <a:gd name="T32" fmla="*/ 2147483647 w 311"/>
                <a:gd name="T33" fmla="*/ 2147483647 h 385"/>
                <a:gd name="T34" fmla="*/ 2147483647 w 311"/>
                <a:gd name="T35" fmla="*/ 2147483647 h 385"/>
                <a:gd name="T36" fmla="*/ 2147483647 w 311"/>
                <a:gd name="T37" fmla="*/ 2147483647 h 385"/>
                <a:gd name="T38" fmla="*/ 2147483647 w 311"/>
                <a:gd name="T39" fmla="*/ 2147483647 h 385"/>
                <a:gd name="T40" fmla="*/ 2147483647 w 311"/>
                <a:gd name="T41" fmla="*/ 2147483647 h 385"/>
                <a:gd name="T42" fmla="*/ 2147483647 w 311"/>
                <a:gd name="T43" fmla="*/ 2147483647 h 385"/>
                <a:gd name="T44" fmla="*/ 2147483647 w 311"/>
                <a:gd name="T45" fmla="*/ 2147483647 h 385"/>
                <a:gd name="T46" fmla="*/ 2147483647 w 311"/>
                <a:gd name="T47" fmla="*/ 2147483647 h 385"/>
                <a:gd name="T48" fmla="*/ 2147483647 w 311"/>
                <a:gd name="T49" fmla="*/ 2147483647 h 385"/>
                <a:gd name="T50" fmla="*/ 2147483647 w 311"/>
                <a:gd name="T51" fmla="*/ 2147483647 h 385"/>
                <a:gd name="T52" fmla="*/ 2147483647 w 311"/>
                <a:gd name="T53" fmla="*/ 2147483647 h 385"/>
                <a:gd name="T54" fmla="*/ 2147483647 w 311"/>
                <a:gd name="T55" fmla="*/ 2147483647 h 385"/>
                <a:gd name="T56" fmla="*/ 2147483647 w 311"/>
                <a:gd name="T57" fmla="*/ 2147483647 h 385"/>
                <a:gd name="T58" fmla="*/ 2147483647 w 311"/>
                <a:gd name="T59" fmla="*/ 2147483647 h 385"/>
                <a:gd name="T60" fmla="*/ 2147483647 w 311"/>
                <a:gd name="T61" fmla="*/ 2147483647 h 385"/>
                <a:gd name="T62" fmla="*/ 2147483647 w 311"/>
                <a:gd name="T63" fmla="*/ 2147483647 h 385"/>
                <a:gd name="T64" fmla="*/ 2147483647 w 311"/>
                <a:gd name="T65" fmla="*/ 2147483647 h 385"/>
                <a:gd name="T66" fmla="*/ 2147483647 w 311"/>
                <a:gd name="T67" fmla="*/ 2147483647 h 3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1"/>
                <a:gd name="T103" fmla="*/ 0 h 385"/>
                <a:gd name="T104" fmla="*/ 311 w 311"/>
                <a:gd name="T105" fmla="*/ 385 h 3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1" h="385">
                  <a:moveTo>
                    <a:pt x="71" y="198"/>
                  </a:moveTo>
                  <a:lnTo>
                    <a:pt x="86" y="198"/>
                  </a:lnTo>
                  <a:lnTo>
                    <a:pt x="90" y="207"/>
                  </a:lnTo>
                  <a:lnTo>
                    <a:pt x="103" y="211"/>
                  </a:lnTo>
                  <a:lnTo>
                    <a:pt x="119" y="204"/>
                  </a:lnTo>
                  <a:lnTo>
                    <a:pt x="125" y="191"/>
                  </a:lnTo>
                  <a:lnTo>
                    <a:pt x="143" y="189"/>
                  </a:lnTo>
                  <a:lnTo>
                    <a:pt x="153" y="189"/>
                  </a:lnTo>
                  <a:lnTo>
                    <a:pt x="185" y="226"/>
                  </a:lnTo>
                  <a:lnTo>
                    <a:pt x="191" y="243"/>
                  </a:lnTo>
                  <a:lnTo>
                    <a:pt x="194" y="282"/>
                  </a:lnTo>
                  <a:lnTo>
                    <a:pt x="207" y="293"/>
                  </a:lnTo>
                  <a:lnTo>
                    <a:pt x="214" y="294"/>
                  </a:lnTo>
                  <a:lnTo>
                    <a:pt x="227" y="312"/>
                  </a:lnTo>
                  <a:lnTo>
                    <a:pt x="227" y="325"/>
                  </a:lnTo>
                  <a:lnTo>
                    <a:pt x="225" y="361"/>
                  </a:lnTo>
                  <a:lnTo>
                    <a:pt x="215" y="373"/>
                  </a:lnTo>
                  <a:lnTo>
                    <a:pt x="222" y="379"/>
                  </a:lnTo>
                  <a:lnTo>
                    <a:pt x="244" y="385"/>
                  </a:lnTo>
                  <a:lnTo>
                    <a:pt x="251" y="383"/>
                  </a:lnTo>
                  <a:lnTo>
                    <a:pt x="251" y="372"/>
                  </a:lnTo>
                  <a:lnTo>
                    <a:pt x="263" y="365"/>
                  </a:lnTo>
                  <a:lnTo>
                    <a:pt x="280" y="362"/>
                  </a:lnTo>
                  <a:lnTo>
                    <a:pt x="292" y="368"/>
                  </a:lnTo>
                  <a:lnTo>
                    <a:pt x="311" y="354"/>
                  </a:lnTo>
                  <a:lnTo>
                    <a:pt x="311" y="327"/>
                  </a:lnTo>
                  <a:lnTo>
                    <a:pt x="296" y="286"/>
                  </a:lnTo>
                  <a:lnTo>
                    <a:pt x="280" y="272"/>
                  </a:lnTo>
                  <a:lnTo>
                    <a:pt x="273" y="272"/>
                  </a:lnTo>
                  <a:lnTo>
                    <a:pt x="268" y="260"/>
                  </a:lnTo>
                  <a:lnTo>
                    <a:pt x="262" y="239"/>
                  </a:lnTo>
                  <a:lnTo>
                    <a:pt x="245" y="228"/>
                  </a:lnTo>
                  <a:lnTo>
                    <a:pt x="212" y="189"/>
                  </a:lnTo>
                  <a:lnTo>
                    <a:pt x="208" y="178"/>
                  </a:lnTo>
                  <a:lnTo>
                    <a:pt x="161" y="149"/>
                  </a:lnTo>
                  <a:lnTo>
                    <a:pt x="166" y="130"/>
                  </a:lnTo>
                  <a:lnTo>
                    <a:pt x="184" y="130"/>
                  </a:lnTo>
                  <a:lnTo>
                    <a:pt x="196" y="118"/>
                  </a:lnTo>
                  <a:lnTo>
                    <a:pt x="197" y="112"/>
                  </a:lnTo>
                  <a:lnTo>
                    <a:pt x="178" y="83"/>
                  </a:lnTo>
                  <a:lnTo>
                    <a:pt x="170" y="75"/>
                  </a:lnTo>
                  <a:lnTo>
                    <a:pt x="127" y="75"/>
                  </a:lnTo>
                  <a:lnTo>
                    <a:pt x="115" y="63"/>
                  </a:lnTo>
                  <a:lnTo>
                    <a:pt x="117" y="46"/>
                  </a:lnTo>
                  <a:lnTo>
                    <a:pt x="113" y="39"/>
                  </a:lnTo>
                  <a:lnTo>
                    <a:pt x="88" y="6"/>
                  </a:lnTo>
                  <a:lnTo>
                    <a:pt x="66" y="0"/>
                  </a:lnTo>
                  <a:lnTo>
                    <a:pt x="60" y="7"/>
                  </a:lnTo>
                  <a:lnTo>
                    <a:pt x="60" y="29"/>
                  </a:lnTo>
                  <a:lnTo>
                    <a:pt x="65" y="42"/>
                  </a:lnTo>
                  <a:lnTo>
                    <a:pt x="61" y="55"/>
                  </a:lnTo>
                  <a:lnTo>
                    <a:pt x="46" y="59"/>
                  </a:lnTo>
                  <a:lnTo>
                    <a:pt x="41" y="39"/>
                  </a:lnTo>
                  <a:lnTo>
                    <a:pt x="37" y="48"/>
                  </a:lnTo>
                  <a:lnTo>
                    <a:pt x="16" y="63"/>
                  </a:lnTo>
                  <a:lnTo>
                    <a:pt x="18" y="73"/>
                  </a:lnTo>
                  <a:lnTo>
                    <a:pt x="6" y="75"/>
                  </a:lnTo>
                  <a:lnTo>
                    <a:pt x="1" y="83"/>
                  </a:lnTo>
                  <a:lnTo>
                    <a:pt x="0" y="93"/>
                  </a:lnTo>
                  <a:lnTo>
                    <a:pt x="5" y="92"/>
                  </a:lnTo>
                  <a:lnTo>
                    <a:pt x="14" y="103"/>
                  </a:lnTo>
                  <a:lnTo>
                    <a:pt x="16" y="123"/>
                  </a:lnTo>
                  <a:lnTo>
                    <a:pt x="16" y="128"/>
                  </a:lnTo>
                  <a:lnTo>
                    <a:pt x="41" y="133"/>
                  </a:lnTo>
                  <a:lnTo>
                    <a:pt x="40" y="173"/>
                  </a:lnTo>
                  <a:lnTo>
                    <a:pt x="31" y="213"/>
                  </a:lnTo>
                  <a:lnTo>
                    <a:pt x="33" y="226"/>
                  </a:lnTo>
                  <a:lnTo>
                    <a:pt x="71" y="198"/>
                  </a:lnTo>
                  <a:close/>
                </a:path>
              </a:pathLst>
            </a:custGeom>
            <a:grpFill/>
            <a:ln w="6350">
              <a:solidFill>
                <a:schemeClr val="tx2"/>
              </a:solidFill>
              <a:round/>
              <a:headEnd/>
              <a:tailEnd/>
            </a:ln>
          </p:spPr>
          <p:txBody>
            <a:bodyPr/>
            <a:lstStyle/>
            <a:p>
              <a:endParaRPr lang="en-US"/>
            </a:p>
          </p:txBody>
        </p:sp>
        <p:sp>
          <p:nvSpPr>
            <p:cNvPr id="636" name="Freeform 1380"/>
            <p:cNvSpPr>
              <a:spLocks/>
            </p:cNvSpPr>
            <p:nvPr/>
          </p:nvSpPr>
          <p:spPr bwMode="auto">
            <a:xfrm>
              <a:off x="5610515" y="2960088"/>
              <a:ext cx="872341" cy="462720"/>
            </a:xfrm>
            <a:custGeom>
              <a:avLst/>
              <a:gdLst>
                <a:gd name="T0" fmla="*/ 2147483647 w 1752"/>
                <a:gd name="T1" fmla="*/ 2147483647 h 933"/>
                <a:gd name="T2" fmla="*/ 2147483647 w 1752"/>
                <a:gd name="T3" fmla="*/ 2147483647 h 933"/>
                <a:gd name="T4" fmla="*/ 2147483647 w 1752"/>
                <a:gd name="T5" fmla="*/ 2147483647 h 933"/>
                <a:gd name="T6" fmla="*/ 2147483647 w 1752"/>
                <a:gd name="T7" fmla="*/ 2147483647 h 933"/>
                <a:gd name="T8" fmla="*/ 2147483647 w 1752"/>
                <a:gd name="T9" fmla="*/ 2147483647 h 933"/>
                <a:gd name="T10" fmla="*/ 2147483647 w 1752"/>
                <a:gd name="T11" fmla="*/ 2147483647 h 933"/>
                <a:gd name="T12" fmla="*/ 2147483647 w 1752"/>
                <a:gd name="T13" fmla="*/ 2147483647 h 933"/>
                <a:gd name="T14" fmla="*/ 2147483647 w 1752"/>
                <a:gd name="T15" fmla="*/ 2147483647 h 933"/>
                <a:gd name="T16" fmla="*/ 2147483647 w 1752"/>
                <a:gd name="T17" fmla="*/ 2147483647 h 933"/>
                <a:gd name="T18" fmla="*/ 2147483647 w 1752"/>
                <a:gd name="T19" fmla="*/ 2147483647 h 933"/>
                <a:gd name="T20" fmla="*/ 2147483647 w 1752"/>
                <a:gd name="T21" fmla="*/ 2147483647 h 933"/>
                <a:gd name="T22" fmla="*/ 2147483647 w 1752"/>
                <a:gd name="T23" fmla="*/ 2147483647 h 933"/>
                <a:gd name="T24" fmla="*/ 2147483647 w 1752"/>
                <a:gd name="T25" fmla="*/ 2147483647 h 933"/>
                <a:gd name="T26" fmla="*/ 2147483647 w 1752"/>
                <a:gd name="T27" fmla="*/ 2147483647 h 933"/>
                <a:gd name="T28" fmla="*/ 2147483647 w 1752"/>
                <a:gd name="T29" fmla="*/ 2147483647 h 933"/>
                <a:gd name="T30" fmla="*/ 2147483647 w 1752"/>
                <a:gd name="T31" fmla="*/ 2147483647 h 933"/>
                <a:gd name="T32" fmla="*/ 2147483647 w 1752"/>
                <a:gd name="T33" fmla="*/ 2147483647 h 933"/>
                <a:gd name="T34" fmla="*/ 2147483647 w 1752"/>
                <a:gd name="T35" fmla="*/ 2147483647 h 933"/>
                <a:gd name="T36" fmla="*/ 2147483647 w 1752"/>
                <a:gd name="T37" fmla="*/ 2147483647 h 933"/>
                <a:gd name="T38" fmla="*/ 2147483647 w 1752"/>
                <a:gd name="T39" fmla="*/ 2147483647 h 933"/>
                <a:gd name="T40" fmla="*/ 2147483647 w 1752"/>
                <a:gd name="T41" fmla="*/ 2147483647 h 933"/>
                <a:gd name="T42" fmla="*/ 2147483647 w 1752"/>
                <a:gd name="T43" fmla="*/ 2147483647 h 933"/>
                <a:gd name="T44" fmla="*/ 2147483647 w 1752"/>
                <a:gd name="T45" fmla="*/ 2147483647 h 933"/>
                <a:gd name="T46" fmla="*/ 2147483647 w 1752"/>
                <a:gd name="T47" fmla="*/ 2147483647 h 933"/>
                <a:gd name="T48" fmla="*/ 2147483647 w 1752"/>
                <a:gd name="T49" fmla="*/ 2147483647 h 933"/>
                <a:gd name="T50" fmla="*/ 2147483647 w 1752"/>
                <a:gd name="T51" fmla="*/ 2147483647 h 933"/>
                <a:gd name="T52" fmla="*/ 2147483647 w 1752"/>
                <a:gd name="T53" fmla="*/ 2147483647 h 933"/>
                <a:gd name="T54" fmla="*/ 2147483647 w 1752"/>
                <a:gd name="T55" fmla="*/ 2147483647 h 933"/>
                <a:gd name="T56" fmla="*/ 2147483647 w 1752"/>
                <a:gd name="T57" fmla="*/ 2147483647 h 933"/>
                <a:gd name="T58" fmla="*/ 2147483647 w 1752"/>
                <a:gd name="T59" fmla="*/ 2147483647 h 933"/>
                <a:gd name="T60" fmla="*/ 2147483647 w 1752"/>
                <a:gd name="T61" fmla="*/ 2147483647 h 933"/>
                <a:gd name="T62" fmla="*/ 2147483647 w 1752"/>
                <a:gd name="T63" fmla="*/ 2147483647 h 933"/>
                <a:gd name="T64" fmla="*/ 2147483647 w 1752"/>
                <a:gd name="T65" fmla="*/ 2147483647 h 933"/>
                <a:gd name="T66" fmla="*/ 2147483647 w 1752"/>
                <a:gd name="T67" fmla="*/ 2147483647 h 933"/>
                <a:gd name="T68" fmla="*/ 2147483647 w 1752"/>
                <a:gd name="T69" fmla="*/ 2147483647 h 933"/>
                <a:gd name="T70" fmla="*/ 2147483647 w 1752"/>
                <a:gd name="T71" fmla="*/ 2147483647 h 933"/>
                <a:gd name="T72" fmla="*/ 2147483647 w 1752"/>
                <a:gd name="T73" fmla="*/ 2147483647 h 933"/>
                <a:gd name="T74" fmla="*/ 2147483647 w 1752"/>
                <a:gd name="T75" fmla="*/ 2147483647 h 933"/>
                <a:gd name="T76" fmla="*/ 2147483647 w 1752"/>
                <a:gd name="T77" fmla="*/ 2147483647 h 933"/>
                <a:gd name="T78" fmla="*/ 2147483647 w 1752"/>
                <a:gd name="T79" fmla="*/ 2147483647 h 933"/>
                <a:gd name="T80" fmla="*/ 2147483647 w 1752"/>
                <a:gd name="T81" fmla="*/ 2147483647 h 933"/>
                <a:gd name="T82" fmla="*/ 2147483647 w 1752"/>
                <a:gd name="T83" fmla="*/ 2147483647 h 933"/>
                <a:gd name="T84" fmla="*/ 2147483647 w 1752"/>
                <a:gd name="T85" fmla="*/ 2147483647 h 933"/>
                <a:gd name="T86" fmla="*/ 2147483647 w 1752"/>
                <a:gd name="T87" fmla="*/ 2147483647 h 933"/>
                <a:gd name="T88" fmla="*/ 2147483647 w 1752"/>
                <a:gd name="T89" fmla="*/ 2147483647 h 933"/>
                <a:gd name="T90" fmla="*/ 2147483647 w 1752"/>
                <a:gd name="T91" fmla="*/ 2147483647 h 933"/>
                <a:gd name="T92" fmla="*/ 2147483647 w 1752"/>
                <a:gd name="T93" fmla="*/ 2147483647 h 933"/>
                <a:gd name="T94" fmla="*/ 2147483647 w 1752"/>
                <a:gd name="T95" fmla="*/ 2147483647 h 933"/>
                <a:gd name="T96" fmla="*/ 2147483647 w 1752"/>
                <a:gd name="T97" fmla="*/ 2147483647 h 933"/>
                <a:gd name="T98" fmla="*/ 2147483647 w 1752"/>
                <a:gd name="T99" fmla="*/ 2147483647 h 933"/>
                <a:gd name="T100" fmla="*/ 2147483647 w 1752"/>
                <a:gd name="T101" fmla="*/ 2147483647 h 933"/>
                <a:gd name="T102" fmla="*/ 2147483647 w 1752"/>
                <a:gd name="T103" fmla="*/ 2147483647 h 933"/>
                <a:gd name="T104" fmla="*/ 2147483647 w 1752"/>
                <a:gd name="T105" fmla="*/ 2147483647 h 9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52"/>
                <a:gd name="T160" fmla="*/ 0 h 933"/>
                <a:gd name="T161" fmla="*/ 1752 w 1752"/>
                <a:gd name="T162" fmla="*/ 933 h 9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52" h="933">
                  <a:moveTo>
                    <a:pt x="933" y="32"/>
                  </a:moveTo>
                  <a:lnTo>
                    <a:pt x="936" y="15"/>
                  </a:lnTo>
                  <a:lnTo>
                    <a:pt x="968" y="0"/>
                  </a:lnTo>
                  <a:lnTo>
                    <a:pt x="1051" y="16"/>
                  </a:lnTo>
                  <a:lnTo>
                    <a:pt x="1056" y="47"/>
                  </a:lnTo>
                  <a:lnTo>
                    <a:pt x="1065" y="55"/>
                  </a:lnTo>
                  <a:lnTo>
                    <a:pt x="1055" y="83"/>
                  </a:lnTo>
                  <a:lnTo>
                    <a:pt x="1061" y="95"/>
                  </a:lnTo>
                  <a:lnTo>
                    <a:pt x="1099" y="90"/>
                  </a:lnTo>
                  <a:lnTo>
                    <a:pt x="1101" y="77"/>
                  </a:lnTo>
                  <a:lnTo>
                    <a:pt x="1116" y="95"/>
                  </a:lnTo>
                  <a:lnTo>
                    <a:pt x="1113" y="107"/>
                  </a:lnTo>
                  <a:lnTo>
                    <a:pt x="1126" y="108"/>
                  </a:lnTo>
                  <a:lnTo>
                    <a:pt x="1120" y="98"/>
                  </a:lnTo>
                  <a:lnTo>
                    <a:pt x="1126" y="95"/>
                  </a:lnTo>
                  <a:lnTo>
                    <a:pt x="1154" y="109"/>
                  </a:lnTo>
                  <a:lnTo>
                    <a:pt x="1170" y="101"/>
                  </a:lnTo>
                  <a:lnTo>
                    <a:pt x="1171" y="114"/>
                  </a:lnTo>
                  <a:lnTo>
                    <a:pt x="1153" y="131"/>
                  </a:lnTo>
                  <a:lnTo>
                    <a:pt x="1159" y="143"/>
                  </a:lnTo>
                  <a:lnTo>
                    <a:pt x="1203" y="139"/>
                  </a:lnTo>
                  <a:lnTo>
                    <a:pt x="1251" y="92"/>
                  </a:lnTo>
                  <a:lnTo>
                    <a:pt x="1303" y="74"/>
                  </a:lnTo>
                  <a:lnTo>
                    <a:pt x="1306" y="86"/>
                  </a:lnTo>
                  <a:lnTo>
                    <a:pt x="1291" y="94"/>
                  </a:lnTo>
                  <a:lnTo>
                    <a:pt x="1292" y="105"/>
                  </a:lnTo>
                  <a:lnTo>
                    <a:pt x="1351" y="159"/>
                  </a:lnTo>
                  <a:lnTo>
                    <a:pt x="1446" y="331"/>
                  </a:lnTo>
                  <a:lnTo>
                    <a:pt x="1473" y="299"/>
                  </a:lnTo>
                  <a:lnTo>
                    <a:pt x="1495" y="312"/>
                  </a:lnTo>
                  <a:lnTo>
                    <a:pt x="1503" y="335"/>
                  </a:lnTo>
                  <a:lnTo>
                    <a:pt x="1555" y="335"/>
                  </a:lnTo>
                  <a:lnTo>
                    <a:pt x="1593" y="318"/>
                  </a:lnTo>
                  <a:lnTo>
                    <a:pt x="1666" y="407"/>
                  </a:lnTo>
                  <a:lnTo>
                    <a:pt x="1710" y="419"/>
                  </a:lnTo>
                  <a:lnTo>
                    <a:pt x="1728" y="403"/>
                  </a:lnTo>
                  <a:lnTo>
                    <a:pt x="1752" y="439"/>
                  </a:lnTo>
                  <a:lnTo>
                    <a:pt x="1745" y="463"/>
                  </a:lnTo>
                  <a:lnTo>
                    <a:pt x="1723" y="491"/>
                  </a:lnTo>
                  <a:lnTo>
                    <a:pt x="1696" y="495"/>
                  </a:lnTo>
                  <a:lnTo>
                    <a:pt x="1683" y="530"/>
                  </a:lnTo>
                  <a:lnTo>
                    <a:pt x="1683" y="577"/>
                  </a:lnTo>
                  <a:lnTo>
                    <a:pt x="1652" y="592"/>
                  </a:lnTo>
                  <a:lnTo>
                    <a:pt x="1637" y="579"/>
                  </a:lnTo>
                  <a:lnTo>
                    <a:pt x="1610" y="582"/>
                  </a:lnTo>
                  <a:lnTo>
                    <a:pt x="1588" y="572"/>
                  </a:lnTo>
                  <a:lnTo>
                    <a:pt x="1570" y="571"/>
                  </a:lnTo>
                  <a:lnTo>
                    <a:pt x="1557" y="608"/>
                  </a:lnTo>
                  <a:lnTo>
                    <a:pt x="1540" y="648"/>
                  </a:lnTo>
                  <a:lnTo>
                    <a:pt x="1537" y="663"/>
                  </a:lnTo>
                  <a:lnTo>
                    <a:pt x="1544" y="690"/>
                  </a:lnTo>
                  <a:lnTo>
                    <a:pt x="1495" y="695"/>
                  </a:lnTo>
                  <a:lnTo>
                    <a:pt x="1473" y="703"/>
                  </a:lnTo>
                  <a:lnTo>
                    <a:pt x="1441" y="714"/>
                  </a:lnTo>
                  <a:lnTo>
                    <a:pt x="1453" y="732"/>
                  </a:lnTo>
                  <a:lnTo>
                    <a:pt x="1457" y="762"/>
                  </a:lnTo>
                  <a:lnTo>
                    <a:pt x="1471" y="804"/>
                  </a:lnTo>
                  <a:lnTo>
                    <a:pt x="1471" y="817"/>
                  </a:lnTo>
                  <a:lnTo>
                    <a:pt x="1462" y="824"/>
                  </a:lnTo>
                  <a:lnTo>
                    <a:pt x="1453" y="861"/>
                  </a:lnTo>
                  <a:lnTo>
                    <a:pt x="1420" y="849"/>
                  </a:lnTo>
                  <a:lnTo>
                    <a:pt x="1407" y="835"/>
                  </a:lnTo>
                  <a:lnTo>
                    <a:pt x="1316" y="821"/>
                  </a:lnTo>
                  <a:lnTo>
                    <a:pt x="1241" y="827"/>
                  </a:lnTo>
                  <a:lnTo>
                    <a:pt x="1211" y="822"/>
                  </a:lnTo>
                  <a:lnTo>
                    <a:pt x="1189" y="807"/>
                  </a:lnTo>
                  <a:lnTo>
                    <a:pt x="1162" y="822"/>
                  </a:lnTo>
                  <a:lnTo>
                    <a:pt x="1152" y="851"/>
                  </a:lnTo>
                  <a:lnTo>
                    <a:pt x="1111" y="836"/>
                  </a:lnTo>
                  <a:lnTo>
                    <a:pt x="1074" y="831"/>
                  </a:lnTo>
                  <a:lnTo>
                    <a:pt x="1055" y="836"/>
                  </a:lnTo>
                  <a:lnTo>
                    <a:pt x="1048" y="858"/>
                  </a:lnTo>
                  <a:lnTo>
                    <a:pt x="1038" y="873"/>
                  </a:lnTo>
                  <a:lnTo>
                    <a:pt x="1025" y="873"/>
                  </a:lnTo>
                  <a:lnTo>
                    <a:pt x="1016" y="890"/>
                  </a:lnTo>
                  <a:lnTo>
                    <a:pt x="987" y="904"/>
                  </a:lnTo>
                  <a:lnTo>
                    <a:pt x="956" y="933"/>
                  </a:lnTo>
                  <a:lnTo>
                    <a:pt x="921" y="919"/>
                  </a:lnTo>
                  <a:lnTo>
                    <a:pt x="876" y="924"/>
                  </a:lnTo>
                  <a:lnTo>
                    <a:pt x="869" y="888"/>
                  </a:lnTo>
                  <a:lnTo>
                    <a:pt x="843" y="882"/>
                  </a:lnTo>
                  <a:lnTo>
                    <a:pt x="843" y="859"/>
                  </a:lnTo>
                  <a:lnTo>
                    <a:pt x="849" y="858"/>
                  </a:lnTo>
                  <a:lnTo>
                    <a:pt x="848" y="826"/>
                  </a:lnTo>
                  <a:lnTo>
                    <a:pt x="837" y="826"/>
                  </a:lnTo>
                  <a:lnTo>
                    <a:pt x="823" y="800"/>
                  </a:lnTo>
                  <a:lnTo>
                    <a:pt x="794" y="777"/>
                  </a:lnTo>
                  <a:lnTo>
                    <a:pt x="762" y="780"/>
                  </a:lnTo>
                  <a:lnTo>
                    <a:pt x="731" y="783"/>
                  </a:lnTo>
                  <a:lnTo>
                    <a:pt x="699" y="787"/>
                  </a:lnTo>
                  <a:lnTo>
                    <a:pt x="668" y="790"/>
                  </a:lnTo>
                  <a:lnTo>
                    <a:pt x="647" y="769"/>
                  </a:lnTo>
                  <a:lnTo>
                    <a:pt x="625" y="748"/>
                  </a:lnTo>
                  <a:lnTo>
                    <a:pt x="605" y="726"/>
                  </a:lnTo>
                  <a:lnTo>
                    <a:pt x="584" y="705"/>
                  </a:lnTo>
                  <a:lnTo>
                    <a:pt x="541" y="675"/>
                  </a:lnTo>
                  <a:lnTo>
                    <a:pt x="518" y="664"/>
                  </a:lnTo>
                  <a:lnTo>
                    <a:pt x="490" y="675"/>
                  </a:lnTo>
                  <a:lnTo>
                    <a:pt x="462" y="685"/>
                  </a:lnTo>
                  <a:lnTo>
                    <a:pt x="434" y="694"/>
                  </a:lnTo>
                  <a:lnTo>
                    <a:pt x="406" y="704"/>
                  </a:lnTo>
                  <a:lnTo>
                    <a:pt x="407" y="758"/>
                  </a:lnTo>
                  <a:lnTo>
                    <a:pt x="407" y="811"/>
                  </a:lnTo>
                  <a:lnTo>
                    <a:pt x="408" y="864"/>
                  </a:lnTo>
                  <a:lnTo>
                    <a:pt x="408" y="916"/>
                  </a:lnTo>
                  <a:lnTo>
                    <a:pt x="398" y="920"/>
                  </a:lnTo>
                  <a:lnTo>
                    <a:pt x="375" y="914"/>
                  </a:lnTo>
                  <a:lnTo>
                    <a:pt x="351" y="869"/>
                  </a:lnTo>
                  <a:lnTo>
                    <a:pt x="329" y="856"/>
                  </a:lnTo>
                  <a:lnTo>
                    <a:pt x="280" y="869"/>
                  </a:lnTo>
                  <a:lnTo>
                    <a:pt x="257" y="890"/>
                  </a:lnTo>
                  <a:lnTo>
                    <a:pt x="257" y="861"/>
                  </a:lnTo>
                  <a:lnTo>
                    <a:pt x="264" y="852"/>
                  </a:lnTo>
                  <a:lnTo>
                    <a:pt x="266" y="837"/>
                  </a:lnTo>
                  <a:lnTo>
                    <a:pt x="231" y="825"/>
                  </a:lnTo>
                  <a:lnTo>
                    <a:pt x="223" y="815"/>
                  </a:lnTo>
                  <a:lnTo>
                    <a:pt x="208" y="814"/>
                  </a:lnTo>
                  <a:lnTo>
                    <a:pt x="206" y="783"/>
                  </a:lnTo>
                  <a:lnTo>
                    <a:pt x="197" y="768"/>
                  </a:lnTo>
                  <a:lnTo>
                    <a:pt x="184" y="752"/>
                  </a:lnTo>
                  <a:lnTo>
                    <a:pt x="166" y="745"/>
                  </a:lnTo>
                  <a:lnTo>
                    <a:pt x="158" y="731"/>
                  </a:lnTo>
                  <a:lnTo>
                    <a:pt x="177" y="725"/>
                  </a:lnTo>
                  <a:lnTo>
                    <a:pt x="216" y="732"/>
                  </a:lnTo>
                  <a:lnTo>
                    <a:pt x="208" y="704"/>
                  </a:lnTo>
                  <a:lnTo>
                    <a:pt x="212" y="695"/>
                  </a:lnTo>
                  <a:lnTo>
                    <a:pt x="237" y="694"/>
                  </a:lnTo>
                  <a:lnTo>
                    <a:pt x="246" y="680"/>
                  </a:lnTo>
                  <a:lnTo>
                    <a:pt x="260" y="680"/>
                  </a:lnTo>
                  <a:lnTo>
                    <a:pt x="285" y="691"/>
                  </a:lnTo>
                  <a:lnTo>
                    <a:pt x="305" y="684"/>
                  </a:lnTo>
                  <a:lnTo>
                    <a:pt x="336" y="697"/>
                  </a:lnTo>
                  <a:lnTo>
                    <a:pt x="353" y="698"/>
                  </a:lnTo>
                  <a:lnTo>
                    <a:pt x="356" y="691"/>
                  </a:lnTo>
                  <a:lnTo>
                    <a:pt x="350" y="683"/>
                  </a:lnTo>
                  <a:lnTo>
                    <a:pt x="358" y="683"/>
                  </a:lnTo>
                  <a:lnTo>
                    <a:pt x="352" y="671"/>
                  </a:lnTo>
                  <a:lnTo>
                    <a:pt x="332" y="648"/>
                  </a:lnTo>
                  <a:lnTo>
                    <a:pt x="324" y="647"/>
                  </a:lnTo>
                  <a:lnTo>
                    <a:pt x="314" y="634"/>
                  </a:lnTo>
                  <a:lnTo>
                    <a:pt x="310" y="616"/>
                  </a:lnTo>
                  <a:lnTo>
                    <a:pt x="292" y="598"/>
                  </a:lnTo>
                  <a:lnTo>
                    <a:pt x="291" y="589"/>
                  </a:lnTo>
                  <a:lnTo>
                    <a:pt x="267" y="571"/>
                  </a:lnTo>
                  <a:lnTo>
                    <a:pt x="231" y="579"/>
                  </a:lnTo>
                  <a:lnTo>
                    <a:pt x="229" y="571"/>
                  </a:lnTo>
                  <a:lnTo>
                    <a:pt x="193" y="566"/>
                  </a:lnTo>
                  <a:lnTo>
                    <a:pt x="165" y="591"/>
                  </a:lnTo>
                  <a:lnTo>
                    <a:pt x="92" y="608"/>
                  </a:lnTo>
                  <a:lnTo>
                    <a:pt x="109" y="619"/>
                  </a:lnTo>
                  <a:lnTo>
                    <a:pt x="97" y="625"/>
                  </a:lnTo>
                  <a:lnTo>
                    <a:pt x="66" y="606"/>
                  </a:lnTo>
                  <a:lnTo>
                    <a:pt x="72" y="594"/>
                  </a:lnTo>
                  <a:lnTo>
                    <a:pt x="94" y="594"/>
                  </a:lnTo>
                  <a:lnTo>
                    <a:pt x="88" y="550"/>
                  </a:lnTo>
                  <a:lnTo>
                    <a:pt x="69" y="527"/>
                  </a:lnTo>
                  <a:lnTo>
                    <a:pt x="38" y="534"/>
                  </a:lnTo>
                  <a:lnTo>
                    <a:pt x="23" y="495"/>
                  </a:lnTo>
                  <a:lnTo>
                    <a:pt x="0" y="488"/>
                  </a:lnTo>
                  <a:lnTo>
                    <a:pt x="10" y="452"/>
                  </a:lnTo>
                  <a:lnTo>
                    <a:pt x="24" y="440"/>
                  </a:lnTo>
                  <a:lnTo>
                    <a:pt x="13" y="426"/>
                  </a:lnTo>
                  <a:lnTo>
                    <a:pt x="21" y="390"/>
                  </a:lnTo>
                  <a:lnTo>
                    <a:pt x="35" y="378"/>
                  </a:lnTo>
                  <a:lnTo>
                    <a:pt x="43" y="349"/>
                  </a:lnTo>
                  <a:lnTo>
                    <a:pt x="81" y="398"/>
                  </a:lnTo>
                  <a:lnTo>
                    <a:pt x="101" y="383"/>
                  </a:lnTo>
                  <a:lnTo>
                    <a:pt x="88" y="341"/>
                  </a:lnTo>
                  <a:lnTo>
                    <a:pt x="121" y="326"/>
                  </a:lnTo>
                  <a:lnTo>
                    <a:pt x="125" y="308"/>
                  </a:lnTo>
                  <a:lnTo>
                    <a:pt x="159" y="295"/>
                  </a:lnTo>
                  <a:lnTo>
                    <a:pt x="178" y="272"/>
                  </a:lnTo>
                  <a:lnTo>
                    <a:pt x="203" y="268"/>
                  </a:lnTo>
                  <a:lnTo>
                    <a:pt x="224" y="282"/>
                  </a:lnTo>
                  <a:lnTo>
                    <a:pt x="233" y="265"/>
                  </a:lnTo>
                  <a:lnTo>
                    <a:pt x="250" y="264"/>
                  </a:lnTo>
                  <a:lnTo>
                    <a:pt x="260" y="280"/>
                  </a:lnTo>
                  <a:lnTo>
                    <a:pt x="302" y="281"/>
                  </a:lnTo>
                  <a:lnTo>
                    <a:pt x="331" y="311"/>
                  </a:lnTo>
                  <a:lnTo>
                    <a:pt x="346" y="345"/>
                  </a:lnTo>
                  <a:lnTo>
                    <a:pt x="351" y="343"/>
                  </a:lnTo>
                  <a:lnTo>
                    <a:pt x="348" y="319"/>
                  </a:lnTo>
                  <a:lnTo>
                    <a:pt x="358" y="313"/>
                  </a:lnTo>
                  <a:lnTo>
                    <a:pt x="395" y="345"/>
                  </a:lnTo>
                  <a:lnTo>
                    <a:pt x="439" y="313"/>
                  </a:lnTo>
                  <a:lnTo>
                    <a:pt x="472" y="324"/>
                  </a:lnTo>
                  <a:lnTo>
                    <a:pt x="482" y="314"/>
                  </a:lnTo>
                  <a:lnTo>
                    <a:pt x="504" y="307"/>
                  </a:lnTo>
                  <a:lnTo>
                    <a:pt x="529" y="339"/>
                  </a:lnTo>
                  <a:lnTo>
                    <a:pt x="556" y="349"/>
                  </a:lnTo>
                  <a:lnTo>
                    <a:pt x="585" y="328"/>
                  </a:lnTo>
                  <a:lnTo>
                    <a:pt x="623" y="338"/>
                  </a:lnTo>
                  <a:lnTo>
                    <a:pt x="641" y="330"/>
                  </a:lnTo>
                  <a:lnTo>
                    <a:pt x="653" y="294"/>
                  </a:lnTo>
                  <a:lnTo>
                    <a:pt x="649" y="289"/>
                  </a:lnTo>
                  <a:lnTo>
                    <a:pt x="626" y="287"/>
                  </a:lnTo>
                  <a:lnTo>
                    <a:pt x="597" y="270"/>
                  </a:lnTo>
                  <a:lnTo>
                    <a:pt x="583" y="248"/>
                  </a:lnTo>
                  <a:lnTo>
                    <a:pt x="621" y="228"/>
                  </a:lnTo>
                  <a:lnTo>
                    <a:pt x="625" y="216"/>
                  </a:lnTo>
                  <a:lnTo>
                    <a:pt x="611" y="195"/>
                  </a:lnTo>
                  <a:lnTo>
                    <a:pt x="627" y="177"/>
                  </a:lnTo>
                  <a:lnTo>
                    <a:pt x="675" y="170"/>
                  </a:lnTo>
                  <a:lnTo>
                    <a:pt x="634" y="155"/>
                  </a:lnTo>
                  <a:lnTo>
                    <a:pt x="632" y="143"/>
                  </a:lnTo>
                  <a:lnTo>
                    <a:pt x="648" y="136"/>
                  </a:lnTo>
                  <a:lnTo>
                    <a:pt x="625" y="135"/>
                  </a:lnTo>
                  <a:lnTo>
                    <a:pt x="631" y="118"/>
                  </a:lnTo>
                  <a:lnTo>
                    <a:pt x="622" y="107"/>
                  </a:lnTo>
                  <a:lnTo>
                    <a:pt x="690" y="112"/>
                  </a:lnTo>
                  <a:lnTo>
                    <a:pt x="738" y="86"/>
                  </a:lnTo>
                  <a:lnTo>
                    <a:pt x="755" y="92"/>
                  </a:lnTo>
                  <a:lnTo>
                    <a:pt x="788" y="72"/>
                  </a:lnTo>
                  <a:lnTo>
                    <a:pt x="812" y="58"/>
                  </a:lnTo>
                  <a:lnTo>
                    <a:pt x="933" y="32"/>
                  </a:lnTo>
                  <a:close/>
                </a:path>
              </a:pathLst>
            </a:custGeom>
            <a:grpFill/>
            <a:ln w="6350">
              <a:solidFill>
                <a:schemeClr val="tx2"/>
              </a:solidFill>
              <a:round/>
              <a:headEnd/>
              <a:tailEnd/>
            </a:ln>
          </p:spPr>
          <p:txBody>
            <a:bodyPr/>
            <a:lstStyle/>
            <a:p>
              <a:endParaRPr lang="en-US"/>
            </a:p>
          </p:txBody>
        </p:sp>
        <p:sp>
          <p:nvSpPr>
            <p:cNvPr id="637" name="Freeform 1387"/>
            <p:cNvSpPr>
              <a:spLocks/>
            </p:cNvSpPr>
            <p:nvPr/>
          </p:nvSpPr>
          <p:spPr bwMode="auto">
            <a:xfrm>
              <a:off x="5575623" y="3400050"/>
              <a:ext cx="115300" cy="95578"/>
            </a:xfrm>
            <a:custGeom>
              <a:avLst/>
              <a:gdLst>
                <a:gd name="T0" fmla="*/ 2147483647 w 233"/>
                <a:gd name="T1" fmla="*/ 2147483647 h 192"/>
                <a:gd name="T2" fmla="*/ 2147483647 w 233"/>
                <a:gd name="T3" fmla="*/ 2147483647 h 192"/>
                <a:gd name="T4" fmla="*/ 2147483647 w 233"/>
                <a:gd name="T5" fmla="*/ 2147483647 h 192"/>
                <a:gd name="T6" fmla="*/ 2147483647 w 233"/>
                <a:gd name="T7" fmla="*/ 2147483647 h 192"/>
                <a:gd name="T8" fmla="*/ 2147483647 w 233"/>
                <a:gd name="T9" fmla="*/ 2147483647 h 192"/>
                <a:gd name="T10" fmla="*/ 2147483647 w 233"/>
                <a:gd name="T11" fmla="*/ 2147483647 h 192"/>
                <a:gd name="T12" fmla="*/ 2147483647 w 233"/>
                <a:gd name="T13" fmla="*/ 2147483647 h 192"/>
                <a:gd name="T14" fmla="*/ 2147483647 w 233"/>
                <a:gd name="T15" fmla="*/ 2147483647 h 192"/>
                <a:gd name="T16" fmla="*/ 2147483647 w 233"/>
                <a:gd name="T17" fmla="*/ 2147483647 h 192"/>
                <a:gd name="T18" fmla="*/ 2147483647 w 233"/>
                <a:gd name="T19" fmla="*/ 2147483647 h 192"/>
                <a:gd name="T20" fmla="*/ 2147483647 w 233"/>
                <a:gd name="T21" fmla="*/ 2147483647 h 192"/>
                <a:gd name="T22" fmla="*/ 2147483647 w 233"/>
                <a:gd name="T23" fmla="*/ 2147483647 h 192"/>
                <a:gd name="T24" fmla="*/ 2147483647 w 233"/>
                <a:gd name="T25" fmla="*/ 2147483647 h 192"/>
                <a:gd name="T26" fmla="*/ 2147483647 w 233"/>
                <a:gd name="T27" fmla="*/ 2147483647 h 192"/>
                <a:gd name="T28" fmla="*/ 2147483647 w 233"/>
                <a:gd name="T29" fmla="*/ 2147483647 h 192"/>
                <a:gd name="T30" fmla="*/ 2147483647 w 233"/>
                <a:gd name="T31" fmla="*/ 2147483647 h 192"/>
                <a:gd name="T32" fmla="*/ 2147483647 w 233"/>
                <a:gd name="T33" fmla="*/ 2147483647 h 192"/>
                <a:gd name="T34" fmla="*/ 2147483647 w 233"/>
                <a:gd name="T35" fmla="*/ 0 h 192"/>
                <a:gd name="T36" fmla="*/ 2147483647 w 233"/>
                <a:gd name="T37" fmla="*/ 2147483647 h 192"/>
                <a:gd name="T38" fmla="*/ 2147483647 w 233"/>
                <a:gd name="T39" fmla="*/ 2147483647 h 192"/>
                <a:gd name="T40" fmla="*/ 2147483647 w 233"/>
                <a:gd name="T41" fmla="*/ 2147483647 h 192"/>
                <a:gd name="T42" fmla="*/ 2147483647 w 233"/>
                <a:gd name="T43" fmla="*/ 2147483647 h 192"/>
                <a:gd name="T44" fmla="*/ 2147483647 w 233"/>
                <a:gd name="T45" fmla="*/ 2147483647 h 192"/>
                <a:gd name="T46" fmla="*/ 2147483647 w 233"/>
                <a:gd name="T47" fmla="*/ 2147483647 h 192"/>
                <a:gd name="T48" fmla="*/ 0 w 233"/>
                <a:gd name="T49" fmla="*/ 2147483647 h 192"/>
                <a:gd name="T50" fmla="*/ 0 w 233"/>
                <a:gd name="T51" fmla="*/ 2147483647 h 192"/>
                <a:gd name="T52" fmla="*/ 2147483647 w 233"/>
                <a:gd name="T53" fmla="*/ 2147483647 h 192"/>
                <a:gd name="T54" fmla="*/ 2147483647 w 233"/>
                <a:gd name="T55" fmla="*/ 2147483647 h 192"/>
                <a:gd name="T56" fmla="*/ 2147483647 w 233"/>
                <a:gd name="T57" fmla="*/ 2147483647 h 192"/>
                <a:gd name="T58" fmla="*/ 2147483647 w 233"/>
                <a:gd name="T59" fmla="*/ 2147483647 h 192"/>
                <a:gd name="T60" fmla="*/ 2147483647 w 233"/>
                <a:gd name="T61" fmla="*/ 2147483647 h 192"/>
                <a:gd name="T62" fmla="*/ 2147483647 w 233"/>
                <a:gd name="T63" fmla="*/ 2147483647 h 192"/>
                <a:gd name="T64" fmla="*/ 2147483647 w 233"/>
                <a:gd name="T65" fmla="*/ 2147483647 h 192"/>
                <a:gd name="T66" fmla="*/ 2147483647 w 233"/>
                <a:gd name="T67" fmla="*/ 2147483647 h 192"/>
                <a:gd name="T68" fmla="*/ 2147483647 w 233"/>
                <a:gd name="T69" fmla="*/ 2147483647 h 192"/>
                <a:gd name="T70" fmla="*/ 2147483647 w 233"/>
                <a:gd name="T71" fmla="*/ 2147483647 h 192"/>
                <a:gd name="T72" fmla="*/ 2147483647 w 233"/>
                <a:gd name="T73" fmla="*/ 2147483647 h 192"/>
                <a:gd name="T74" fmla="*/ 2147483647 w 233"/>
                <a:gd name="T75" fmla="*/ 2147483647 h 192"/>
                <a:gd name="T76" fmla="*/ 2147483647 w 233"/>
                <a:gd name="T77" fmla="*/ 2147483647 h 192"/>
                <a:gd name="T78" fmla="*/ 2147483647 w 233"/>
                <a:gd name="T79" fmla="*/ 2147483647 h 192"/>
                <a:gd name="T80" fmla="*/ 2147483647 w 233"/>
                <a:gd name="T81" fmla="*/ 2147483647 h 192"/>
                <a:gd name="T82" fmla="*/ 2147483647 w 233"/>
                <a:gd name="T83" fmla="*/ 2147483647 h 192"/>
                <a:gd name="T84" fmla="*/ 2147483647 w 233"/>
                <a:gd name="T85" fmla="*/ 2147483647 h 192"/>
                <a:gd name="T86" fmla="*/ 2147483647 w 233"/>
                <a:gd name="T87" fmla="*/ 2147483647 h 192"/>
                <a:gd name="T88" fmla="*/ 2147483647 w 233"/>
                <a:gd name="T89" fmla="*/ 2147483647 h 192"/>
                <a:gd name="T90" fmla="*/ 2147483647 w 233"/>
                <a:gd name="T91" fmla="*/ 2147483647 h 192"/>
                <a:gd name="T92" fmla="*/ 2147483647 w 233"/>
                <a:gd name="T93" fmla="*/ 2147483647 h 192"/>
                <a:gd name="T94" fmla="*/ 2147483647 w 233"/>
                <a:gd name="T95" fmla="*/ 2147483647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3"/>
                <a:gd name="T145" fmla="*/ 0 h 192"/>
                <a:gd name="T146" fmla="*/ 233 w 233"/>
                <a:gd name="T147" fmla="*/ 192 h 1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3" h="192">
                  <a:moveTo>
                    <a:pt x="171" y="192"/>
                  </a:moveTo>
                  <a:lnTo>
                    <a:pt x="171" y="156"/>
                  </a:lnTo>
                  <a:lnTo>
                    <a:pt x="177" y="152"/>
                  </a:lnTo>
                  <a:lnTo>
                    <a:pt x="187" y="162"/>
                  </a:lnTo>
                  <a:lnTo>
                    <a:pt x="187" y="155"/>
                  </a:lnTo>
                  <a:lnTo>
                    <a:pt x="200" y="101"/>
                  </a:lnTo>
                  <a:lnTo>
                    <a:pt x="214" y="86"/>
                  </a:lnTo>
                  <a:lnTo>
                    <a:pt x="225" y="86"/>
                  </a:lnTo>
                  <a:lnTo>
                    <a:pt x="233" y="93"/>
                  </a:lnTo>
                  <a:lnTo>
                    <a:pt x="227" y="79"/>
                  </a:lnTo>
                  <a:lnTo>
                    <a:pt x="217" y="73"/>
                  </a:lnTo>
                  <a:lnTo>
                    <a:pt x="201" y="74"/>
                  </a:lnTo>
                  <a:lnTo>
                    <a:pt x="174" y="27"/>
                  </a:lnTo>
                  <a:lnTo>
                    <a:pt x="151" y="5"/>
                  </a:lnTo>
                  <a:lnTo>
                    <a:pt x="119" y="38"/>
                  </a:lnTo>
                  <a:lnTo>
                    <a:pt x="100" y="36"/>
                  </a:lnTo>
                  <a:lnTo>
                    <a:pt x="94" y="18"/>
                  </a:lnTo>
                  <a:lnTo>
                    <a:pt x="62" y="0"/>
                  </a:lnTo>
                  <a:lnTo>
                    <a:pt x="51" y="14"/>
                  </a:lnTo>
                  <a:lnTo>
                    <a:pt x="69" y="31"/>
                  </a:lnTo>
                  <a:lnTo>
                    <a:pt x="71" y="37"/>
                  </a:lnTo>
                  <a:lnTo>
                    <a:pt x="68" y="42"/>
                  </a:lnTo>
                  <a:lnTo>
                    <a:pt x="43" y="37"/>
                  </a:lnTo>
                  <a:lnTo>
                    <a:pt x="21" y="25"/>
                  </a:lnTo>
                  <a:lnTo>
                    <a:pt x="0" y="33"/>
                  </a:lnTo>
                  <a:lnTo>
                    <a:pt x="0" y="32"/>
                  </a:lnTo>
                  <a:lnTo>
                    <a:pt x="10" y="48"/>
                  </a:lnTo>
                  <a:lnTo>
                    <a:pt x="21" y="52"/>
                  </a:lnTo>
                  <a:lnTo>
                    <a:pt x="20" y="76"/>
                  </a:lnTo>
                  <a:lnTo>
                    <a:pt x="39" y="92"/>
                  </a:lnTo>
                  <a:lnTo>
                    <a:pt x="38" y="106"/>
                  </a:lnTo>
                  <a:lnTo>
                    <a:pt x="31" y="106"/>
                  </a:lnTo>
                  <a:lnTo>
                    <a:pt x="33" y="112"/>
                  </a:lnTo>
                  <a:lnTo>
                    <a:pt x="52" y="129"/>
                  </a:lnTo>
                  <a:lnTo>
                    <a:pt x="65" y="130"/>
                  </a:lnTo>
                  <a:lnTo>
                    <a:pt x="60" y="143"/>
                  </a:lnTo>
                  <a:lnTo>
                    <a:pt x="66" y="146"/>
                  </a:lnTo>
                  <a:lnTo>
                    <a:pt x="65" y="153"/>
                  </a:lnTo>
                  <a:lnTo>
                    <a:pt x="58" y="154"/>
                  </a:lnTo>
                  <a:lnTo>
                    <a:pt x="66" y="170"/>
                  </a:lnTo>
                  <a:lnTo>
                    <a:pt x="78" y="171"/>
                  </a:lnTo>
                  <a:lnTo>
                    <a:pt x="98" y="141"/>
                  </a:lnTo>
                  <a:lnTo>
                    <a:pt x="128" y="129"/>
                  </a:lnTo>
                  <a:lnTo>
                    <a:pt x="142" y="136"/>
                  </a:lnTo>
                  <a:lnTo>
                    <a:pt x="147" y="163"/>
                  </a:lnTo>
                  <a:lnTo>
                    <a:pt x="132" y="174"/>
                  </a:lnTo>
                  <a:lnTo>
                    <a:pt x="157" y="191"/>
                  </a:lnTo>
                  <a:lnTo>
                    <a:pt x="171" y="192"/>
                  </a:lnTo>
                  <a:close/>
                </a:path>
              </a:pathLst>
            </a:custGeom>
            <a:grpFill/>
            <a:ln w="6350">
              <a:solidFill>
                <a:schemeClr val="tx2"/>
              </a:solidFill>
              <a:round/>
              <a:headEnd/>
              <a:tailEnd/>
            </a:ln>
          </p:spPr>
          <p:txBody>
            <a:bodyPr/>
            <a:lstStyle/>
            <a:p>
              <a:endParaRPr lang="en-US"/>
            </a:p>
          </p:txBody>
        </p:sp>
        <p:sp>
          <p:nvSpPr>
            <p:cNvPr id="638" name="Freeform 1388"/>
            <p:cNvSpPr>
              <a:spLocks/>
            </p:cNvSpPr>
            <p:nvPr/>
          </p:nvSpPr>
          <p:spPr bwMode="auto">
            <a:xfrm>
              <a:off x="6494993" y="3079940"/>
              <a:ext cx="676632" cy="332247"/>
            </a:xfrm>
            <a:custGeom>
              <a:avLst/>
              <a:gdLst>
                <a:gd name="T0" fmla="*/ 2147483647 w 1361"/>
                <a:gd name="T1" fmla="*/ 2147483647 h 667"/>
                <a:gd name="T2" fmla="*/ 2147483647 w 1361"/>
                <a:gd name="T3" fmla="*/ 2147483647 h 667"/>
                <a:gd name="T4" fmla="*/ 2147483647 w 1361"/>
                <a:gd name="T5" fmla="*/ 2147483647 h 667"/>
                <a:gd name="T6" fmla="*/ 2147483647 w 1361"/>
                <a:gd name="T7" fmla="*/ 2147483647 h 667"/>
                <a:gd name="T8" fmla="*/ 2147483647 w 1361"/>
                <a:gd name="T9" fmla="*/ 2147483647 h 667"/>
                <a:gd name="T10" fmla="*/ 2147483647 w 1361"/>
                <a:gd name="T11" fmla="*/ 2147483647 h 667"/>
                <a:gd name="T12" fmla="*/ 2147483647 w 1361"/>
                <a:gd name="T13" fmla="*/ 2147483647 h 667"/>
                <a:gd name="T14" fmla="*/ 2147483647 w 1361"/>
                <a:gd name="T15" fmla="*/ 2147483647 h 667"/>
                <a:gd name="T16" fmla="*/ 2147483647 w 1361"/>
                <a:gd name="T17" fmla="*/ 2147483647 h 667"/>
                <a:gd name="T18" fmla="*/ 2147483647 w 1361"/>
                <a:gd name="T19" fmla="*/ 2147483647 h 667"/>
                <a:gd name="T20" fmla="*/ 2147483647 w 1361"/>
                <a:gd name="T21" fmla="*/ 2147483647 h 667"/>
                <a:gd name="T22" fmla="*/ 2147483647 w 1361"/>
                <a:gd name="T23" fmla="*/ 2147483647 h 667"/>
                <a:gd name="T24" fmla="*/ 2147483647 w 1361"/>
                <a:gd name="T25" fmla="*/ 2147483647 h 667"/>
                <a:gd name="T26" fmla="*/ 2147483647 w 1361"/>
                <a:gd name="T27" fmla="*/ 2147483647 h 667"/>
                <a:gd name="T28" fmla="*/ 2147483647 w 1361"/>
                <a:gd name="T29" fmla="*/ 2147483647 h 667"/>
                <a:gd name="T30" fmla="*/ 2147483647 w 1361"/>
                <a:gd name="T31" fmla="*/ 2147483647 h 667"/>
                <a:gd name="T32" fmla="*/ 2147483647 w 1361"/>
                <a:gd name="T33" fmla="*/ 2147483647 h 667"/>
                <a:gd name="T34" fmla="*/ 2147483647 w 1361"/>
                <a:gd name="T35" fmla="*/ 2147483647 h 667"/>
                <a:gd name="T36" fmla="*/ 2147483647 w 1361"/>
                <a:gd name="T37" fmla="*/ 2147483647 h 667"/>
                <a:gd name="T38" fmla="*/ 2147483647 w 1361"/>
                <a:gd name="T39" fmla="*/ 2147483647 h 667"/>
                <a:gd name="T40" fmla="*/ 2147483647 w 1361"/>
                <a:gd name="T41" fmla="*/ 2147483647 h 667"/>
                <a:gd name="T42" fmla="*/ 2147483647 w 1361"/>
                <a:gd name="T43" fmla="*/ 2147483647 h 667"/>
                <a:gd name="T44" fmla="*/ 2147483647 w 1361"/>
                <a:gd name="T45" fmla="*/ 2147483647 h 667"/>
                <a:gd name="T46" fmla="*/ 2147483647 w 1361"/>
                <a:gd name="T47" fmla="*/ 2147483647 h 667"/>
                <a:gd name="T48" fmla="*/ 2147483647 w 1361"/>
                <a:gd name="T49" fmla="*/ 2147483647 h 667"/>
                <a:gd name="T50" fmla="*/ 2147483647 w 1361"/>
                <a:gd name="T51" fmla="*/ 2147483647 h 667"/>
                <a:gd name="T52" fmla="*/ 2147483647 w 1361"/>
                <a:gd name="T53" fmla="*/ 2147483647 h 667"/>
                <a:gd name="T54" fmla="*/ 2147483647 w 1361"/>
                <a:gd name="T55" fmla="*/ 2147483647 h 667"/>
                <a:gd name="T56" fmla="*/ 2147483647 w 1361"/>
                <a:gd name="T57" fmla="*/ 2147483647 h 667"/>
                <a:gd name="T58" fmla="*/ 2147483647 w 1361"/>
                <a:gd name="T59" fmla="*/ 2147483647 h 667"/>
                <a:gd name="T60" fmla="*/ 2147483647 w 1361"/>
                <a:gd name="T61" fmla="*/ 2147483647 h 667"/>
                <a:gd name="T62" fmla="*/ 2147483647 w 1361"/>
                <a:gd name="T63" fmla="*/ 2147483647 h 667"/>
                <a:gd name="T64" fmla="*/ 2147483647 w 1361"/>
                <a:gd name="T65" fmla="*/ 2147483647 h 667"/>
                <a:gd name="T66" fmla="*/ 2147483647 w 1361"/>
                <a:gd name="T67" fmla="*/ 2147483647 h 667"/>
                <a:gd name="T68" fmla="*/ 2147483647 w 1361"/>
                <a:gd name="T69" fmla="*/ 2147483647 h 667"/>
                <a:gd name="T70" fmla="*/ 2147483647 w 1361"/>
                <a:gd name="T71" fmla="*/ 2147483647 h 667"/>
                <a:gd name="T72" fmla="*/ 2147483647 w 1361"/>
                <a:gd name="T73" fmla="*/ 2147483647 h 667"/>
                <a:gd name="T74" fmla="*/ 2147483647 w 1361"/>
                <a:gd name="T75" fmla="*/ 2147483647 h 667"/>
                <a:gd name="T76" fmla="*/ 2147483647 w 1361"/>
                <a:gd name="T77" fmla="*/ 2147483647 h 667"/>
                <a:gd name="T78" fmla="*/ 2147483647 w 1361"/>
                <a:gd name="T79" fmla="*/ 2147483647 h 6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1"/>
                <a:gd name="T121" fmla="*/ 0 h 667"/>
                <a:gd name="T122" fmla="*/ 1361 w 1361"/>
                <a:gd name="T123" fmla="*/ 667 h 6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1" h="667">
                  <a:moveTo>
                    <a:pt x="1228" y="150"/>
                  </a:moveTo>
                  <a:lnTo>
                    <a:pt x="1198" y="201"/>
                  </a:lnTo>
                  <a:lnTo>
                    <a:pt x="1200" y="229"/>
                  </a:lnTo>
                  <a:lnTo>
                    <a:pt x="1190" y="256"/>
                  </a:lnTo>
                  <a:lnTo>
                    <a:pt x="1192" y="274"/>
                  </a:lnTo>
                  <a:lnTo>
                    <a:pt x="1201" y="301"/>
                  </a:lnTo>
                  <a:lnTo>
                    <a:pt x="1252" y="307"/>
                  </a:lnTo>
                  <a:lnTo>
                    <a:pt x="1271" y="301"/>
                  </a:lnTo>
                  <a:lnTo>
                    <a:pt x="1308" y="275"/>
                  </a:lnTo>
                  <a:lnTo>
                    <a:pt x="1324" y="298"/>
                  </a:lnTo>
                  <a:lnTo>
                    <a:pt x="1346" y="316"/>
                  </a:lnTo>
                  <a:lnTo>
                    <a:pt x="1351" y="327"/>
                  </a:lnTo>
                  <a:lnTo>
                    <a:pt x="1350" y="344"/>
                  </a:lnTo>
                  <a:lnTo>
                    <a:pt x="1360" y="350"/>
                  </a:lnTo>
                  <a:lnTo>
                    <a:pt x="1361" y="360"/>
                  </a:lnTo>
                  <a:lnTo>
                    <a:pt x="1307" y="365"/>
                  </a:lnTo>
                  <a:lnTo>
                    <a:pt x="1249" y="369"/>
                  </a:lnTo>
                  <a:lnTo>
                    <a:pt x="1198" y="423"/>
                  </a:lnTo>
                  <a:lnTo>
                    <a:pt x="1177" y="435"/>
                  </a:lnTo>
                  <a:lnTo>
                    <a:pt x="1160" y="434"/>
                  </a:lnTo>
                  <a:lnTo>
                    <a:pt x="1130" y="467"/>
                  </a:lnTo>
                  <a:lnTo>
                    <a:pt x="1107" y="480"/>
                  </a:lnTo>
                  <a:lnTo>
                    <a:pt x="1078" y="476"/>
                  </a:lnTo>
                  <a:lnTo>
                    <a:pt x="1055" y="462"/>
                  </a:lnTo>
                  <a:lnTo>
                    <a:pt x="1039" y="467"/>
                  </a:lnTo>
                  <a:lnTo>
                    <a:pt x="1019" y="508"/>
                  </a:lnTo>
                  <a:lnTo>
                    <a:pt x="1036" y="531"/>
                  </a:lnTo>
                  <a:lnTo>
                    <a:pt x="1038" y="541"/>
                  </a:lnTo>
                  <a:lnTo>
                    <a:pt x="958" y="609"/>
                  </a:lnTo>
                  <a:lnTo>
                    <a:pt x="909" y="621"/>
                  </a:lnTo>
                  <a:lnTo>
                    <a:pt x="887" y="615"/>
                  </a:lnTo>
                  <a:lnTo>
                    <a:pt x="853" y="618"/>
                  </a:lnTo>
                  <a:lnTo>
                    <a:pt x="801" y="633"/>
                  </a:lnTo>
                  <a:lnTo>
                    <a:pt x="796" y="639"/>
                  </a:lnTo>
                  <a:lnTo>
                    <a:pt x="731" y="667"/>
                  </a:lnTo>
                  <a:lnTo>
                    <a:pt x="708" y="655"/>
                  </a:lnTo>
                  <a:lnTo>
                    <a:pt x="687" y="654"/>
                  </a:lnTo>
                  <a:lnTo>
                    <a:pt x="628" y="633"/>
                  </a:lnTo>
                  <a:lnTo>
                    <a:pt x="591" y="606"/>
                  </a:lnTo>
                  <a:lnTo>
                    <a:pt x="558" y="594"/>
                  </a:lnTo>
                  <a:lnTo>
                    <a:pt x="396" y="602"/>
                  </a:lnTo>
                  <a:lnTo>
                    <a:pt x="385" y="597"/>
                  </a:lnTo>
                  <a:lnTo>
                    <a:pt x="353" y="562"/>
                  </a:lnTo>
                  <a:lnTo>
                    <a:pt x="321" y="507"/>
                  </a:lnTo>
                  <a:lnTo>
                    <a:pt x="219" y="464"/>
                  </a:lnTo>
                  <a:lnTo>
                    <a:pt x="192" y="468"/>
                  </a:lnTo>
                  <a:lnTo>
                    <a:pt x="122" y="446"/>
                  </a:lnTo>
                  <a:lnTo>
                    <a:pt x="130" y="421"/>
                  </a:lnTo>
                  <a:lnTo>
                    <a:pt x="127" y="370"/>
                  </a:lnTo>
                  <a:lnTo>
                    <a:pt x="105" y="307"/>
                  </a:lnTo>
                  <a:lnTo>
                    <a:pt x="98" y="294"/>
                  </a:lnTo>
                  <a:lnTo>
                    <a:pt x="60" y="282"/>
                  </a:lnTo>
                  <a:lnTo>
                    <a:pt x="54" y="291"/>
                  </a:lnTo>
                  <a:lnTo>
                    <a:pt x="43" y="282"/>
                  </a:lnTo>
                  <a:lnTo>
                    <a:pt x="35" y="266"/>
                  </a:lnTo>
                  <a:lnTo>
                    <a:pt x="10" y="248"/>
                  </a:lnTo>
                  <a:lnTo>
                    <a:pt x="0" y="215"/>
                  </a:lnTo>
                  <a:lnTo>
                    <a:pt x="21" y="185"/>
                  </a:lnTo>
                  <a:lnTo>
                    <a:pt x="172" y="107"/>
                  </a:lnTo>
                  <a:lnTo>
                    <a:pt x="275" y="119"/>
                  </a:lnTo>
                  <a:lnTo>
                    <a:pt x="303" y="148"/>
                  </a:lnTo>
                  <a:lnTo>
                    <a:pt x="429" y="146"/>
                  </a:lnTo>
                  <a:lnTo>
                    <a:pt x="436" y="142"/>
                  </a:lnTo>
                  <a:lnTo>
                    <a:pt x="435" y="116"/>
                  </a:lnTo>
                  <a:lnTo>
                    <a:pt x="443" y="103"/>
                  </a:lnTo>
                  <a:lnTo>
                    <a:pt x="433" y="50"/>
                  </a:lnTo>
                  <a:lnTo>
                    <a:pt x="491" y="0"/>
                  </a:lnTo>
                  <a:lnTo>
                    <a:pt x="606" y="46"/>
                  </a:lnTo>
                  <a:lnTo>
                    <a:pt x="618" y="98"/>
                  </a:lnTo>
                  <a:lnTo>
                    <a:pt x="652" y="122"/>
                  </a:lnTo>
                  <a:lnTo>
                    <a:pt x="678" y="130"/>
                  </a:lnTo>
                  <a:lnTo>
                    <a:pt x="742" y="105"/>
                  </a:lnTo>
                  <a:lnTo>
                    <a:pt x="765" y="111"/>
                  </a:lnTo>
                  <a:lnTo>
                    <a:pt x="866" y="159"/>
                  </a:lnTo>
                  <a:lnTo>
                    <a:pt x="898" y="186"/>
                  </a:lnTo>
                  <a:lnTo>
                    <a:pt x="989" y="202"/>
                  </a:lnTo>
                  <a:lnTo>
                    <a:pt x="1083" y="177"/>
                  </a:lnTo>
                  <a:lnTo>
                    <a:pt x="1150" y="134"/>
                  </a:lnTo>
                  <a:lnTo>
                    <a:pt x="1200" y="157"/>
                  </a:lnTo>
                  <a:lnTo>
                    <a:pt x="1228" y="150"/>
                  </a:lnTo>
                  <a:close/>
                </a:path>
              </a:pathLst>
            </a:custGeom>
            <a:grpFill/>
            <a:ln w="6350">
              <a:solidFill>
                <a:schemeClr val="tx2"/>
              </a:solidFill>
              <a:round/>
              <a:headEnd/>
              <a:tailEnd/>
            </a:ln>
          </p:spPr>
          <p:txBody>
            <a:bodyPr/>
            <a:lstStyle/>
            <a:p>
              <a:endParaRPr lang="en-US"/>
            </a:p>
          </p:txBody>
        </p:sp>
        <p:sp>
          <p:nvSpPr>
            <p:cNvPr id="639" name="Freeform 1391"/>
            <p:cNvSpPr>
              <a:spLocks/>
            </p:cNvSpPr>
            <p:nvPr/>
          </p:nvSpPr>
          <p:spPr bwMode="auto">
            <a:xfrm>
              <a:off x="5707611" y="3811188"/>
              <a:ext cx="112266" cy="83440"/>
            </a:xfrm>
            <a:custGeom>
              <a:avLst/>
              <a:gdLst>
                <a:gd name="T0" fmla="*/ 2147483647 w 226"/>
                <a:gd name="T1" fmla="*/ 2147483647 h 168"/>
                <a:gd name="T2" fmla="*/ 2147483647 w 226"/>
                <a:gd name="T3" fmla="*/ 2147483647 h 168"/>
                <a:gd name="T4" fmla="*/ 2147483647 w 226"/>
                <a:gd name="T5" fmla="*/ 2147483647 h 168"/>
                <a:gd name="T6" fmla="*/ 2147483647 w 226"/>
                <a:gd name="T7" fmla="*/ 2147483647 h 168"/>
                <a:gd name="T8" fmla="*/ 2147483647 w 226"/>
                <a:gd name="T9" fmla="*/ 2147483647 h 168"/>
                <a:gd name="T10" fmla="*/ 2147483647 w 226"/>
                <a:gd name="T11" fmla="*/ 2147483647 h 168"/>
                <a:gd name="T12" fmla="*/ 2147483647 w 226"/>
                <a:gd name="T13" fmla="*/ 2147483647 h 168"/>
                <a:gd name="T14" fmla="*/ 0 w 226"/>
                <a:gd name="T15" fmla="*/ 2147483647 h 168"/>
                <a:gd name="T16" fmla="*/ 2147483647 w 226"/>
                <a:gd name="T17" fmla="*/ 2147483647 h 168"/>
                <a:gd name="T18" fmla="*/ 2147483647 w 226"/>
                <a:gd name="T19" fmla="*/ 2147483647 h 168"/>
                <a:gd name="T20" fmla="*/ 2147483647 w 226"/>
                <a:gd name="T21" fmla="*/ 2147483647 h 168"/>
                <a:gd name="T22" fmla="*/ 2147483647 w 226"/>
                <a:gd name="T23" fmla="*/ 2147483647 h 168"/>
                <a:gd name="T24" fmla="*/ 2147483647 w 226"/>
                <a:gd name="T25" fmla="*/ 2147483647 h 168"/>
                <a:gd name="T26" fmla="*/ 2147483647 w 226"/>
                <a:gd name="T27" fmla="*/ 2147483647 h 168"/>
                <a:gd name="T28" fmla="*/ 2147483647 w 226"/>
                <a:gd name="T29" fmla="*/ 2147483647 h 168"/>
                <a:gd name="T30" fmla="*/ 2147483647 w 226"/>
                <a:gd name="T31" fmla="*/ 2147483647 h 168"/>
                <a:gd name="T32" fmla="*/ 2147483647 w 226"/>
                <a:gd name="T33" fmla="*/ 2147483647 h 168"/>
                <a:gd name="T34" fmla="*/ 2147483647 w 226"/>
                <a:gd name="T35" fmla="*/ 2147483647 h 168"/>
                <a:gd name="T36" fmla="*/ 2147483647 w 226"/>
                <a:gd name="T37" fmla="*/ 2147483647 h 168"/>
                <a:gd name="T38" fmla="*/ 2147483647 w 226"/>
                <a:gd name="T39" fmla="*/ 2147483647 h 168"/>
                <a:gd name="T40" fmla="*/ 2147483647 w 226"/>
                <a:gd name="T41" fmla="*/ 0 h 168"/>
                <a:gd name="T42" fmla="*/ 2147483647 w 226"/>
                <a:gd name="T43" fmla="*/ 2147483647 h 168"/>
                <a:gd name="T44" fmla="*/ 2147483647 w 226"/>
                <a:gd name="T45" fmla="*/ 2147483647 h 168"/>
                <a:gd name="T46" fmla="*/ 2147483647 w 226"/>
                <a:gd name="T47" fmla="*/ 2147483647 h 168"/>
                <a:gd name="T48" fmla="*/ 2147483647 w 226"/>
                <a:gd name="T49" fmla="*/ 2147483647 h 168"/>
                <a:gd name="T50" fmla="*/ 2147483647 w 226"/>
                <a:gd name="T51" fmla="*/ 2147483647 h 168"/>
                <a:gd name="T52" fmla="*/ 2147483647 w 226"/>
                <a:gd name="T53" fmla="*/ 2147483647 h 168"/>
                <a:gd name="T54" fmla="*/ 2147483647 w 226"/>
                <a:gd name="T55" fmla="*/ 2147483647 h 168"/>
                <a:gd name="T56" fmla="*/ 2147483647 w 226"/>
                <a:gd name="T57" fmla="*/ 2147483647 h 168"/>
                <a:gd name="T58" fmla="*/ 2147483647 w 226"/>
                <a:gd name="T59" fmla="*/ 2147483647 h 168"/>
                <a:gd name="T60" fmla="*/ 2147483647 w 226"/>
                <a:gd name="T61" fmla="*/ 2147483647 h 168"/>
                <a:gd name="T62" fmla="*/ 2147483647 w 226"/>
                <a:gd name="T63" fmla="*/ 21474836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6"/>
                <a:gd name="T97" fmla="*/ 0 h 168"/>
                <a:gd name="T98" fmla="*/ 226 w 226"/>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6" h="168">
                  <a:moveTo>
                    <a:pt x="171" y="168"/>
                  </a:moveTo>
                  <a:lnTo>
                    <a:pt x="139" y="162"/>
                  </a:lnTo>
                  <a:lnTo>
                    <a:pt x="106" y="157"/>
                  </a:lnTo>
                  <a:lnTo>
                    <a:pt x="74" y="150"/>
                  </a:lnTo>
                  <a:lnTo>
                    <a:pt x="42" y="144"/>
                  </a:lnTo>
                  <a:lnTo>
                    <a:pt x="29" y="106"/>
                  </a:lnTo>
                  <a:lnTo>
                    <a:pt x="3" y="84"/>
                  </a:lnTo>
                  <a:lnTo>
                    <a:pt x="0" y="72"/>
                  </a:lnTo>
                  <a:lnTo>
                    <a:pt x="16" y="65"/>
                  </a:lnTo>
                  <a:lnTo>
                    <a:pt x="13" y="83"/>
                  </a:lnTo>
                  <a:lnTo>
                    <a:pt x="28" y="84"/>
                  </a:lnTo>
                  <a:lnTo>
                    <a:pt x="33" y="96"/>
                  </a:lnTo>
                  <a:lnTo>
                    <a:pt x="55" y="97"/>
                  </a:lnTo>
                  <a:lnTo>
                    <a:pt x="70" y="88"/>
                  </a:lnTo>
                  <a:lnTo>
                    <a:pt x="126" y="93"/>
                  </a:lnTo>
                  <a:lnTo>
                    <a:pt x="146" y="81"/>
                  </a:lnTo>
                  <a:lnTo>
                    <a:pt x="145" y="75"/>
                  </a:lnTo>
                  <a:lnTo>
                    <a:pt x="151" y="74"/>
                  </a:lnTo>
                  <a:lnTo>
                    <a:pt x="155" y="62"/>
                  </a:lnTo>
                  <a:lnTo>
                    <a:pt x="187" y="36"/>
                  </a:lnTo>
                  <a:lnTo>
                    <a:pt x="215" y="0"/>
                  </a:lnTo>
                  <a:lnTo>
                    <a:pt x="217" y="17"/>
                  </a:lnTo>
                  <a:lnTo>
                    <a:pt x="224" y="19"/>
                  </a:lnTo>
                  <a:lnTo>
                    <a:pt x="226" y="56"/>
                  </a:lnTo>
                  <a:lnTo>
                    <a:pt x="214" y="56"/>
                  </a:lnTo>
                  <a:lnTo>
                    <a:pt x="201" y="57"/>
                  </a:lnTo>
                  <a:lnTo>
                    <a:pt x="207" y="75"/>
                  </a:lnTo>
                  <a:lnTo>
                    <a:pt x="214" y="94"/>
                  </a:lnTo>
                  <a:lnTo>
                    <a:pt x="188" y="103"/>
                  </a:lnTo>
                  <a:lnTo>
                    <a:pt x="183" y="130"/>
                  </a:lnTo>
                  <a:lnTo>
                    <a:pt x="179" y="159"/>
                  </a:lnTo>
                  <a:lnTo>
                    <a:pt x="171" y="168"/>
                  </a:lnTo>
                  <a:close/>
                </a:path>
              </a:pathLst>
            </a:custGeom>
            <a:grpFill/>
            <a:ln w="6350">
              <a:solidFill>
                <a:schemeClr val="tx2"/>
              </a:solidFill>
              <a:round/>
              <a:headEnd/>
              <a:tailEnd/>
            </a:ln>
          </p:spPr>
          <p:txBody>
            <a:bodyPr/>
            <a:lstStyle/>
            <a:p>
              <a:endParaRPr lang="en-US"/>
            </a:p>
          </p:txBody>
        </p:sp>
        <p:sp>
          <p:nvSpPr>
            <p:cNvPr id="640" name="Freeform 1392"/>
            <p:cNvSpPr>
              <a:spLocks/>
            </p:cNvSpPr>
            <p:nvPr/>
          </p:nvSpPr>
          <p:spPr bwMode="auto">
            <a:xfrm>
              <a:off x="5727334" y="3838497"/>
              <a:ext cx="166883" cy="188122"/>
            </a:xfrm>
            <a:custGeom>
              <a:avLst/>
              <a:gdLst>
                <a:gd name="T0" fmla="*/ 2147483647 w 334"/>
                <a:gd name="T1" fmla="*/ 2147483647 h 379"/>
                <a:gd name="T2" fmla="*/ 2147483647 w 334"/>
                <a:gd name="T3" fmla="*/ 2147483647 h 379"/>
                <a:gd name="T4" fmla="*/ 2147483647 w 334"/>
                <a:gd name="T5" fmla="*/ 2147483647 h 379"/>
                <a:gd name="T6" fmla="*/ 2147483647 w 334"/>
                <a:gd name="T7" fmla="*/ 2147483647 h 379"/>
                <a:gd name="T8" fmla="*/ 2147483647 w 334"/>
                <a:gd name="T9" fmla="*/ 2147483647 h 379"/>
                <a:gd name="T10" fmla="*/ 2147483647 w 334"/>
                <a:gd name="T11" fmla="*/ 2147483647 h 379"/>
                <a:gd name="T12" fmla="*/ 2147483647 w 334"/>
                <a:gd name="T13" fmla="*/ 2147483647 h 379"/>
                <a:gd name="T14" fmla="*/ 2147483647 w 334"/>
                <a:gd name="T15" fmla="*/ 2147483647 h 379"/>
                <a:gd name="T16" fmla="*/ 0 w 334"/>
                <a:gd name="T17" fmla="*/ 2147483647 h 379"/>
                <a:gd name="T18" fmla="*/ 2147483647 w 334"/>
                <a:gd name="T19" fmla="*/ 2147483647 h 379"/>
                <a:gd name="T20" fmla="*/ 2147483647 w 334"/>
                <a:gd name="T21" fmla="*/ 2147483647 h 379"/>
                <a:gd name="T22" fmla="*/ 2147483647 w 334"/>
                <a:gd name="T23" fmla="*/ 2147483647 h 379"/>
                <a:gd name="T24" fmla="*/ 2147483647 w 334"/>
                <a:gd name="T25" fmla="*/ 2147483647 h 379"/>
                <a:gd name="T26" fmla="*/ 2147483647 w 334"/>
                <a:gd name="T27" fmla="*/ 2147483647 h 379"/>
                <a:gd name="T28" fmla="*/ 2147483647 w 334"/>
                <a:gd name="T29" fmla="*/ 2147483647 h 379"/>
                <a:gd name="T30" fmla="*/ 2147483647 w 334"/>
                <a:gd name="T31" fmla="*/ 2147483647 h 379"/>
                <a:gd name="T32" fmla="*/ 2147483647 w 334"/>
                <a:gd name="T33" fmla="*/ 2147483647 h 379"/>
                <a:gd name="T34" fmla="*/ 2147483647 w 334"/>
                <a:gd name="T35" fmla="*/ 2147483647 h 379"/>
                <a:gd name="T36" fmla="*/ 2147483647 w 334"/>
                <a:gd name="T37" fmla="*/ 2147483647 h 379"/>
                <a:gd name="T38" fmla="*/ 2147483647 w 334"/>
                <a:gd name="T39" fmla="*/ 2147483647 h 379"/>
                <a:gd name="T40" fmla="*/ 2147483647 w 334"/>
                <a:gd name="T41" fmla="*/ 2147483647 h 379"/>
                <a:gd name="T42" fmla="*/ 2147483647 w 334"/>
                <a:gd name="T43" fmla="*/ 2147483647 h 379"/>
                <a:gd name="T44" fmla="*/ 2147483647 w 334"/>
                <a:gd name="T45" fmla="*/ 2147483647 h 379"/>
                <a:gd name="T46" fmla="*/ 2147483647 w 334"/>
                <a:gd name="T47" fmla="*/ 2147483647 h 379"/>
                <a:gd name="T48" fmla="*/ 2147483647 w 334"/>
                <a:gd name="T49" fmla="*/ 2147483647 h 379"/>
                <a:gd name="T50" fmla="*/ 2147483647 w 334"/>
                <a:gd name="T51" fmla="*/ 2147483647 h 379"/>
                <a:gd name="T52" fmla="*/ 2147483647 w 334"/>
                <a:gd name="T53" fmla="*/ 2147483647 h 379"/>
                <a:gd name="T54" fmla="*/ 2147483647 w 334"/>
                <a:gd name="T55" fmla="*/ 2147483647 h 379"/>
                <a:gd name="T56" fmla="*/ 2147483647 w 334"/>
                <a:gd name="T57" fmla="*/ 2147483647 h 379"/>
                <a:gd name="T58" fmla="*/ 2147483647 w 334"/>
                <a:gd name="T59" fmla="*/ 2147483647 h 379"/>
                <a:gd name="T60" fmla="*/ 2147483647 w 334"/>
                <a:gd name="T61" fmla="*/ 2147483647 h 379"/>
                <a:gd name="T62" fmla="*/ 2147483647 w 334"/>
                <a:gd name="T63" fmla="*/ 2147483647 h 379"/>
                <a:gd name="T64" fmla="*/ 2147483647 w 334"/>
                <a:gd name="T65" fmla="*/ 2147483647 h 379"/>
                <a:gd name="T66" fmla="*/ 2147483647 w 334"/>
                <a:gd name="T67" fmla="*/ 0 h 379"/>
                <a:gd name="T68" fmla="*/ 2147483647 w 334"/>
                <a:gd name="T69" fmla="*/ 2147483647 h 379"/>
                <a:gd name="T70" fmla="*/ 2147483647 w 334"/>
                <a:gd name="T71" fmla="*/ 2147483647 h 379"/>
                <a:gd name="T72" fmla="*/ 2147483647 w 334"/>
                <a:gd name="T73" fmla="*/ 2147483647 h 379"/>
                <a:gd name="T74" fmla="*/ 2147483647 w 334"/>
                <a:gd name="T75" fmla="*/ 2147483647 h 379"/>
                <a:gd name="T76" fmla="*/ 2147483647 w 334"/>
                <a:gd name="T77" fmla="*/ 2147483647 h 379"/>
                <a:gd name="T78" fmla="*/ 2147483647 w 334"/>
                <a:gd name="T79" fmla="*/ 2147483647 h 379"/>
                <a:gd name="T80" fmla="*/ 2147483647 w 334"/>
                <a:gd name="T81" fmla="*/ 2147483647 h 379"/>
                <a:gd name="T82" fmla="*/ 2147483647 w 334"/>
                <a:gd name="T83" fmla="*/ 2147483647 h 3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34"/>
                <a:gd name="T127" fmla="*/ 0 h 379"/>
                <a:gd name="T128" fmla="*/ 334 w 334"/>
                <a:gd name="T129" fmla="*/ 379 h 37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34" h="379">
                  <a:moveTo>
                    <a:pt x="159" y="135"/>
                  </a:moveTo>
                  <a:lnTo>
                    <a:pt x="152" y="157"/>
                  </a:lnTo>
                  <a:lnTo>
                    <a:pt x="143" y="181"/>
                  </a:lnTo>
                  <a:lnTo>
                    <a:pt x="136" y="203"/>
                  </a:lnTo>
                  <a:lnTo>
                    <a:pt x="128" y="226"/>
                  </a:lnTo>
                  <a:lnTo>
                    <a:pt x="97" y="237"/>
                  </a:lnTo>
                  <a:lnTo>
                    <a:pt x="64" y="249"/>
                  </a:lnTo>
                  <a:lnTo>
                    <a:pt x="32" y="261"/>
                  </a:lnTo>
                  <a:lnTo>
                    <a:pt x="0" y="272"/>
                  </a:lnTo>
                  <a:lnTo>
                    <a:pt x="22" y="326"/>
                  </a:lnTo>
                  <a:lnTo>
                    <a:pt x="44" y="379"/>
                  </a:lnTo>
                  <a:lnTo>
                    <a:pt x="91" y="362"/>
                  </a:lnTo>
                  <a:lnTo>
                    <a:pt x="126" y="365"/>
                  </a:lnTo>
                  <a:lnTo>
                    <a:pt x="139" y="352"/>
                  </a:lnTo>
                  <a:lnTo>
                    <a:pt x="140" y="339"/>
                  </a:lnTo>
                  <a:lnTo>
                    <a:pt x="153" y="326"/>
                  </a:lnTo>
                  <a:lnTo>
                    <a:pt x="189" y="319"/>
                  </a:lnTo>
                  <a:lnTo>
                    <a:pt x="204" y="284"/>
                  </a:lnTo>
                  <a:lnTo>
                    <a:pt x="221" y="274"/>
                  </a:lnTo>
                  <a:lnTo>
                    <a:pt x="247" y="270"/>
                  </a:lnTo>
                  <a:lnTo>
                    <a:pt x="245" y="223"/>
                  </a:lnTo>
                  <a:lnTo>
                    <a:pt x="256" y="208"/>
                  </a:lnTo>
                  <a:lnTo>
                    <a:pt x="265" y="199"/>
                  </a:lnTo>
                  <a:lnTo>
                    <a:pt x="271" y="207"/>
                  </a:lnTo>
                  <a:lnTo>
                    <a:pt x="278" y="206"/>
                  </a:lnTo>
                  <a:lnTo>
                    <a:pt x="294" y="177"/>
                  </a:lnTo>
                  <a:lnTo>
                    <a:pt x="325" y="140"/>
                  </a:lnTo>
                  <a:lnTo>
                    <a:pt x="334" y="114"/>
                  </a:lnTo>
                  <a:lnTo>
                    <a:pt x="309" y="97"/>
                  </a:lnTo>
                  <a:lnTo>
                    <a:pt x="287" y="63"/>
                  </a:lnTo>
                  <a:lnTo>
                    <a:pt x="241" y="49"/>
                  </a:lnTo>
                  <a:lnTo>
                    <a:pt x="207" y="33"/>
                  </a:lnTo>
                  <a:lnTo>
                    <a:pt x="188" y="10"/>
                  </a:lnTo>
                  <a:lnTo>
                    <a:pt x="184" y="0"/>
                  </a:lnTo>
                  <a:lnTo>
                    <a:pt x="171" y="1"/>
                  </a:lnTo>
                  <a:lnTo>
                    <a:pt x="159" y="1"/>
                  </a:lnTo>
                  <a:lnTo>
                    <a:pt x="165" y="19"/>
                  </a:lnTo>
                  <a:lnTo>
                    <a:pt x="172" y="38"/>
                  </a:lnTo>
                  <a:lnTo>
                    <a:pt x="146" y="47"/>
                  </a:lnTo>
                  <a:lnTo>
                    <a:pt x="141" y="74"/>
                  </a:lnTo>
                  <a:lnTo>
                    <a:pt x="137" y="103"/>
                  </a:lnTo>
                  <a:lnTo>
                    <a:pt x="159" y="135"/>
                  </a:lnTo>
                  <a:close/>
                </a:path>
              </a:pathLst>
            </a:custGeom>
            <a:grpFill/>
            <a:ln w="6350">
              <a:solidFill>
                <a:schemeClr val="tx2"/>
              </a:solidFill>
              <a:round/>
              <a:headEnd/>
              <a:tailEnd/>
            </a:ln>
          </p:spPr>
          <p:txBody>
            <a:bodyPr/>
            <a:lstStyle/>
            <a:p>
              <a:endParaRPr lang="en-US"/>
            </a:p>
          </p:txBody>
        </p:sp>
        <p:sp>
          <p:nvSpPr>
            <p:cNvPr id="641" name="Freeform 1410"/>
            <p:cNvSpPr>
              <a:spLocks/>
            </p:cNvSpPr>
            <p:nvPr/>
          </p:nvSpPr>
          <p:spPr bwMode="auto">
            <a:xfrm>
              <a:off x="6806001" y="3877942"/>
              <a:ext cx="150195" cy="323145"/>
            </a:xfrm>
            <a:custGeom>
              <a:avLst/>
              <a:gdLst>
                <a:gd name="T0" fmla="*/ 2147483647 w 304"/>
                <a:gd name="T1" fmla="*/ 2147483647 h 651"/>
                <a:gd name="T2" fmla="*/ 2147483647 w 304"/>
                <a:gd name="T3" fmla="*/ 2147483647 h 651"/>
                <a:gd name="T4" fmla="*/ 2147483647 w 304"/>
                <a:gd name="T5" fmla="*/ 2147483647 h 651"/>
                <a:gd name="T6" fmla="*/ 2147483647 w 304"/>
                <a:gd name="T7" fmla="*/ 2147483647 h 651"/>
                <a:gd name="T8" fmla="*/ 2147483647 w 304"/>
                <a:gd name="T9" fmla="*/ 2147483647 h 651"/>
                <a:gd name="T10" fmla="*/ 2147483647 w 304"/>
                <a:gd name="T11" fmla="*/ 2147483647 h 651"/>
                <a:gd name="T12" fmla="*/ 2147483647 w 304"/>
                <a:gd name="T13" fmla="*/ 2147483647 h 651"/>
                <a:gd name="T14" fmla="*/ 2147483647 w 304"/>
                <a:gd name="T15" fmla="*/ 2147483647 h 651"/>
                <a:gd name="T16" fmla="*/ 2147483647 w 304"/>
                <a:gd name="T17" fmla="*/ 2147483647 h 651"/>
                <a:gd name="T18" fmla="*/ 2147483647 w 304"/>
                <a:gd name="T19" fmla="*/ 2147483647 h 651"/>
                <a:gd name="T20" fmla="*/ 2147483647 w 304"/>
                <a:gd name="T21" fmla="*/ 2147483647 h 651"/>
                <a:gd name="T22" fmla="*/ 2147483647 w 304"/>
                <a:gd name="T23" fmla="*/ 2147483647 h 651"/>
                <a:gd name="T24" fmla="*/ 2147483647 w 304"/>
                <a:gd name="T25" fmla="*/ 2147483647 h 651"/>
                <a:gd name="T26" fmla="*/ 2147483647 w 304"/>
                <a:gd name="T27" fmla="*/ 2147483647 h 651"/>
                <a:gd name="T28" fmla="*/ 2147483647 w 304"/>
                <a:gd name="T29" fmla="*/ 2147483647 h 651"/>
                <a:gd name="T30" fmla="*/ 2147483647 w 304"/>
                <a:gd name="T31" fmla="*/ 2147483647 h 651"/>
                <a:gd name="T32" fmla="*/ 2147483647 w 304"/>
                <a:gd name="T33" fmla="*/ 2147483647 h 651"/>
                <a:gd name="T34" fmla="*/ 2147483647 w 304"/>
                <a:gd name="T35" fmla="*/ 2147483647 h 651"/>
                <a:gd name="T36" fmla="*/ 2147483647 w 304"/>
                <a:gd name="T37" fmla="*/ 2147483647 h 651"/>
                <a:gd name="T38" fmla="*/ 2147483647 w 304"/>
                <a:gd name="T39" fmla="*/ 2147483647 h 651"/>
                <a:gd name="T40" fmla="*/ 2147483647 w 304"/>
                <a:gd name="T41" fmla="*/ 2147483647 h 651"/>
                <a:gd name="T42" fmla="*/ 2147483647 w 304"/>
                <a:gd name="T43" fmla="*/ 2147483647 h 651"/>
                <a:gd name="T44" fmla="*/ 2147483647 w 304"/>
                <a:gd name="T45" fmla="*/ 2147483647 h 651"/>
                <a:gd name="T46" fmla="*/ 2147483647 w 304"/>
                <a:gd name="T47" fmla="*/ 2147483647 h 651"/>
                <a:gd name="T48" fmla="*/ 2147483647 w 304"/>
                <a:gd name="T49" fmla="*/ 2147483647 h 651"/>
                <a:gd name="T50" fmla="*/ 2147483647 w 304"/>
                <a:gd name="T51" fmla="*/ 2147483647 h 651"/>
                <a:gd name="T52" fmla="*/ 2147483647 w 304"/>
                <a:gd name="T53" fmla="*/ 2147483647 h 651"/>
                <a:gd name="T54" fmla="*/ 2147483647 w 304"/>
                <a:gd name="T55" fmla="*/ 2147483647 h 651"/>
                <a:gd name="T56" fmla="*/ 2147483647 w 304"/>
                <a:gd name="T57" fmla="*/ 2147483647 h 651"/>
                <a:gd name="T58" fmla="*/ 2147483647 w 304"/>
                <a:gd name="T59" fmla="*/ 2147483647 h 651"/>
                <a:gd name="T60" fmla="*/ 2147483647 w 304"/>
                <a:gd name="T61" fmla="*/ 2147483647 h 651"/>
                <a:gd name="T62" fmla="*/ 2147483647 w 304"/>
                <a:gd name="T63" fmla="*/ 2147483647 h 651"/>
                <a:gd name="T64" fmla="*/ 2147483647 w 304"/>
                <a:gd name="T65" fmla="*/ 2147483647 h 651"/>
                <a:gd name="T66" fmla="*/ 2147483647 w 304"/>
                <a:gd name="T67" fmla="*/ 2147483647 h 651"/>
                <a:gd name="T68" fmla="*/ 2147483647 w 304"/>
                <a:gd name="T69" fmla="*/ 2147483647 h 651"/>
                <a:gd name="T70" fmla="*/ 2147483647 w 304"/>
                <a:gd name="T71" fmla="*/ 2147483647 h 651"/>
                <a:gd name="T72" fmla="*/ 2147483647 w 304"/>
                <a:gd name="T73" fmla="*/ 2147483647 h 651"/>
                <a:gd name="T74" fmla="*/ 2147483647 w 304"/>
                <a:gd name="T75" fmla="*/ 2147483647 h 651"/>
                <a:gd name="T76" fmla="*/ 2147483647 w 304"/>
                <a:gd name="T77" fmla="*/ 2147483647 h 651"/>
                <a:gd name="T78" fmla="*/ 0 w 304"/>
                <a:gd name="T79" fmla="*/ 2147483647 h 651"/>
                <a:gd name="T80" fmla="*/ 2147483647 w 304"/>
                <a:gd name="T81" fmla="*/ 2147483647 h 651"/>
                <a:gd name="T82" fmla="*/ 2147483647 w 304"/>
                <a:gd name="T83" fmla="*/ 2147483647 h 651"/>
                <a:gd name="T84" fmla="*/ 2147483647 w 304"/>
                <a:gd name="T85" fmla="*/ 2147483647 h 651"/>
                <a:gd name="T86" fmla="*/ 2147483647 w 304"/>
                <a:gd name="T87" fmla="*/ 2147483647 h 651"/>
                <a:gd name="T88" fmla="*/ 2147483647 w 304"/>
                <a:gd name="T89" fmla="*/ 2147483647 h 651"/>
                <a:gd name="T90" fmla="*/ 2147483647 w 304"/>
                <a:gd name="T91" fmla="*/ 2147483647 h 651"/>
                <a:gd name="T92" fmla="*/ 2147483647 w 304"/>
                <a:gd name="T93" fmla="*/ 2147483647 h 651"/>
                <a:gd name="T94" fmla="*/ 2147483647 w 304"/>
                <a:gd name="T95" fmla="*/ 2147483647 h 6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04"/>
                <a:gd name="T145" fmla="*/ 0 h 651"/>
                <a:gd name="T146" fmla="*/ 304 w 304"/>
                <a:gd name="T147" fmla="*/ 651 h 6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04" h="651">
                  <a:moveTo>
                    <a:pt x="243" y="79"/>
                  </a:moveTo>
                  <a:lnTo>
                    <a:pt x="220" y="89"/>
                  </a:lnTo>
                  <a:lnTo>
                    <a:pt x="218" y="97"/>
                  </a:lnTo>
                  <a:lnTo>
                    <a:pt x="187" y="119"/>
                  </a:lnTo>
                  <a:lnTo>
                    <a:pt x="185" y="130"/>
                  </a:lnTo>
                  <a:lnTo>
                    <a:pt x="159" y="152"/>
                  </a:lnTo>
                  <a:lnTo>
                    <a:pt x="146" y="192"/>
                  </a:lnTo>
                  <a:lnTo>
                    <a:pt x="149" y="212"/>
                  </a:lnTo>
                  <a:lnTo>
                    <a:pt x="173" y="234"/>
                  </a:lnTo>
                  <a:lnTo>
                    <a:pt x="178" y="255"/>
                  </a:lnTo>
                  <a:lnTo>
                    <a:pt x="206" y="281"/>
                  </a:lnTo>
                  <a:lnTo>
                    <a:pt x="234" y="312"/>
                  </a:lnTo>
                  <a:lnTo>
                    <a:pt x="248" y="315"/>
                  </a:lnTo>
                  <a:lnTo>
                    <a:pt x="252" y="325"/>
                  </a:lnTo>
                  <a:lnTo>
                    <a:pt x="258" y="322"/>
                  </a:lnTo>
                  <a:lnTo>
                    <a:pt x="264" y="340"/>
                  </a:lnTo>
                  <a:lnTo>
                    <a:pt x="281" y="357"/>
                  </a:lnTo>
                  <a:lnTo>
                    <a:pt x="293" y="398"/>
                  </a:lnTo>
                  <a:lnTo>
                    <a:pt x="303" y="467"/>
                  </a:lnTo>
                  <a:lnTo>
                    <a:pt x="304" y="475"/>
                  </a:lnTo>
                  <a:lnTo>
                    <a:pt x="298" y="485"/>
                  </a:lnTo>
                  <a:lnTo>
                    <a:pt x="294" y="485"/>
                  </a:lnTo>
                  <a:lnTo>
                    <a:pt x="296" y="517"/>
                  </a:lnTo>
                  <a:lnTo>
                    <a:pt x="289" y="533"/>
                  </a:lnTo>
                  <a:lnTo>
                    <a:pt x="253" y="550"/>
                  </a:lnTo>
                  <a:lnTo>
                    <a:pt x="247" y="558"/>
                  </a:lnTo>
                  <a:lnTo>
                    <a:pt x="216" y="572"/>
                  </a:lnTo>
                  <a:lnTo>
                    <a:pt x="195" y="572"/>
                  </a:lnTo>
                  <a:lnTo>
                    <a:pt x="191" y="588"/>
                  </a:lnTo>
                  <a:lnTo>
                    <a:pt x="179" y="594"/>
                  </a:lnTo>
                  <a:lnTo>
                    <a:pt x="184" y="602"/>
                  </a:lnTo>
                  <a:lnTo>
                    <a:pt x="180" y="609"/>
                  </a:lnTo>
                  <a:lnTo>
                    <a:pt x="161" y="593"/>
                  </a:lnTo>
                  <a:lnTo>
                    <a:pt x="166" y="610"/>
                  </a:lnTo>
                  <a:lnTo>
                    <a:pt x="166" y="615"/>
                  </a:lnTo>
                  <a:lnTo>
                    <a:pt x="147" y="625"/>
                  </a:lnTo>
                  <a:lnTo>
                    <a:pt x="121" y="650"/>
                  </a:lnTo>
                  <a:lnTo>
                    <a:pt x="113" y="651"/>
                  </a:lnTo>
                  <a:lnTo>
                    <a:pt x="112" y="647"/>
                  </a:lnTo>
                  <a:lnTo>
                    <a:pt x="117" y="644"/>
                  </a:lnTo>
                  <a:lnTo>
                    <a:pt x="110" y="616"/>
                  </a:lnTo>
                  <a:lnTo>
                    <a:pt x="111" y="604"/>
                  </a:lnTo>
                  <a:lnTo>
                    <a:pt x="120" y="589"/>
                  </a:lnTo>
                  <a:lnTo>
                    <a:pt x="101" y="579"/>
                  </a:lnTo>
                  <a:lnTo>
                    <a:pt x="95" y="570"/>
                  </a:lnTo>
                  <a:lnTo>
                    <a:pt x="113" y="564"/>
                  </a:lnTo>
                  <a:lnTo>
                    <a:pt x="119" y="553"/>
                  </a:lnTo>
                  <a:lnTo>
                    <a:pt x="129" y="555"/>
                  </a:lnTo>
                  <a:lnTo>
                    <a:pt x="157" y="542"/>
                  </a:lnTo>
                  <a:lnTo>
                    <a:pt x="157" y="518"/>
                  </a:lnTo>
                  <a:lnTo>
                    <a:pt x="179" y="515"/>
                  </a:lnTo>
                  <a:lnTo>
                    <a:pt x="180" y="506"/>
                  </a:lnTo>
                  <a:lnTo>
                    <a:pt x="201" y="500"/>
                  </a:lnTo>
                  <a:lnTo>
                    <a:pt x="214" y="490"/>
                  </a:lnTo>
                  <a:lnTo>
                    <a:pt x="221" y="492"/>
                  </a:lnTo>
                  <a:lnTo>
                    <a:pt x="226" y="485"/>
                  </a:lnTo>
                  <a:lnTo>
                    <a:pt x="229" y="437"/>
                  </a:lnTo>
                  <a:lnTo>
                    <a:pt x="221" y="413"/>
                  </a:lnTo>
                  <a:lnTo>
                    <a:pt x="223" y="385"/>
                  </a:lnTo>
                  <a:lnTo>
                    <a:pt x="223" y="358"/>
                  </a:lnTo>
                  <a:lnTo>
                    <a:pt x="208" y="317"/>
                  </a:lnTo>
                  <a:lnTo>
                    <a:pt x="192" y="303"/>
                  </a:lnTo>
                  <a:lnTo>
                    <a:pt x="185" y="303"/>
                  </a:lnTo>
                  <a:lnTo>
                    <a:pt x="180" y="291"/>
                  </a:lnTo>
                  <a:lnTo>
                    <a:pt x="174" y="270"/>
                  </a:lnTo>
                  <a:lnTo>
                    <a:pt x="157" y="259"/>
                  </a:lnTo>
                  <a:lnTo>
                    <a:pt x="124" y="220"/>
                  </a:lnTo>
                  <a:lnTo>
                    <a:pt x="120" y="209"/>
                  </a:lnTo>
                  <a:lnTo>
                    <a:pt x="73" y="180"/>
                  </a:lnTo>
                  <a:lnTo>
                    <a:pt x="78" y="161"/>
                  </a:lnTo>
                  <a:lnTo>
                    <a:pt x="96" y="161"/>
                  </a:lnTo>
                  <a:lnTo>
                    <a:pt x="108" y="149"/>
                  </a:lnTo>
                  <a:lnTo>
                    <a:pt x="109" y="143"/>
                  </a:lnTo>
                  <a:lnTo>
                    <a:pt x="90" y="114"/>
                  </a:lnTo>
                  <a:lnTo>
                    <a:pt x="82" y="106"/>
                  </a:lnTo>
                  <a:lnTo>
                    <a:pt x="39" y="106"/>
                  </a:lnTo>
                  <a:lnTo>
                    <a:pt x="27" y="94"/>
                  </a:lnTo>
                  <a:lnTo>
                    <a:pt x="29" y="77"/>
                  </a:lnTo>
                  <a:lnTo>
                    <a:pt x="25" y="70"/>
                  </a:lnTo>
                  <a:lnTo>
                    <a:pt x="0" y="37"/>
                  </a:lnTo>
                  <a:lnTo>
                    <a:pt x="10" y="22"/>
                  </a:lnTo>
                  <a:lnTo>
                    <a:pt x="33" y="32"/>
                  </a:lnTo>
                  <a:lnTo>
                    <a:pt x="49" y="24"/>
                  </a:lnTo>
                  <a:lnTo>
                    <a:pt x="55" y="28"/>
                  </a:lnTo>
                  <a:lnTo>
                    <a:pt x="65" y="25"/>
                  </a:lnTo>
                  <a:lnTo>
                    <a:pt x="68" y="30"/>
                  </a:lnTo>
                  <a:lnTo>
                    <a:pt x="82" y="19"/>
                  </a:lnTo>
                  <a:lnTo>
                    <a:pt x="94" y="20"/>
                  </a:lnTo>
                  <a:lnTo>
                    <a:pt x="127" y="0"/>
                  </a:lnTo>
                  <a:lnTo>
                    <a:pt x="159" y="16"/>
                  </a:lnTo>
                  <a:lnTo>
                    <a:pt x="186" y="19"/>
                  </a:lnTo>
                  <a:lnTo>
                    <a:pt x="189" y="27"/>
                  </a:lnTo>
                  <a:lnTo>
                    <a:pt x="185" y="39"/>
                  </a:lnTo>
                  <a:lnTo>
                    <a:pt x="194" y="60"/>
                  </a:lnTo>
                  <a:lnTo>
                    <a:pt x="216" y="74"/>
                  </a:lnTo>
                  <a:lnTo>
                    <a:pt x="243" y="79"/>
                  </a:lnTo>
                  <a:close/>
                </a:path>
              </a:pathLst>
            </a:custGeom>
            <a:grpFill/>
            <a:ln w="6350">
              <a:solidFill>
                <a:schemeClr val="tx2"/>
              </a:solidFill>
              <a:round/>
              <a:headEnd/>
              <a:tailEnd/>
            </a:ln>
          </p:spPr>
          <p:txBody>
            <a:bodyPr/>
            <a:lstStyle/>
            <a:p>
              <a:endParaRPr lang="en-US"/>
            </a:p>
          </p:txBody>
        </p:sp>
        <p:sp>
          <p:nvSpPr>
            <p:cNvPr id="642" name="Freeform 1411"/>
            <p:cNvSpPr>
              <a:spLocks/>
            </p:cNvSpPr>
            <p:nvPr/>
          </p:nvSpPr>
          <p:spPr bwMode="auto">
            <a:xfrm>
              <a:off x="6592089" y="3758089"/>
              <a:ext cx="189639" cy="409621"/>
            </a:xfrm>
            <a:custGeom>
              <a:avLst/>
              <a:gdLst>
                <a:gd name="T0" fmla="*/ 2147483647 w 384"/>
                <a:gd name="T1" fmla="*/ 2147483647 h 823"/>
                <a:gd name="T2" fmla="*/ 2147483647 w 384"/>
                <a:gd name="T3" fmla="*/ 2147483647 h 823"/>
                <a:gd name="T4" fmla="*/ 2147483647 w 384"/>
                <a:gd name="T5" fmla="*/ 2147483647 h 823"/>
                <a:gd name="T6" fmla="*/ 2147483647 w 384"/>
                <a:gd name="T7" fmla="*/ 2147483647 h 823"/>
                <a:gd name="T8" fmla="*/ 2147483647 w 384"/>
                <a:gd name="T9" fmla="*/ 2147483647 h 823"/>
                <a:gd name="T10" fmla="*/ 2147483647 w 384"/>
                <a:gd name="T11" fmla="*/ 2147483647 h 823"/>
                <a:gd name="T12" fmla="*/ 2147483647 w 384"/>
                <a:gd name="T13" fmla="*/ 2147483647 h 823"/>
                <a:gd name="T14" fmla="*/ 2147483647 w 384"/>
                <a:gd name="T15" fmla="*/ 2147483647 h 823"/>
                <a:gd name="T16" fmla="*/ 2147483647 w 384"/>
                <a:gd name="T17" fmla="*/ 2147483647 h 823"/>
                <a:gd name="T18" fmla="*/ 2147483647 w 384"/>
                <a:gd name="T19" fmla="*/ 2147483647 h 823"/>
                <a:gd name="T20" fmla="*/ 2147483647 w 384"/>
                <a:gd name="T21" fmla="*/ 2147483647 h 823"/>
                <a:gd name="T22" fmla="*/ 2147483647 w 384"/>
                <a:gd name="T23" fmla="*/ 2147483647 h 823"/>
                <a:gd name="T24" fmla="*/ 2147483647 w 384"/>
                <a:gd name="T25" fmla="*/ 2147483647 h 823"/>
                <a:gd name="T26" fmla="*/ 2147483647 w 384"/>
                <a:gd name="T27" fmla="*/ 2147483647 h 823"/>
                <a:gd name="T28" fmla="*/ 2147483647 w 384"/>
                <a:gd name="T29" fmla="*/ 2147483647 h 823"/>
                <a:gd name="T30" fmla="*/ 2147483647 w 384"/>
                <a:gd name="T31" fmla="*/ 2147483647 h 823"/>
                <a:gd name="T32" fmla="*/ 2147483647 w 384"/>
                <a:gd name="T33" fmla="*/ 2147483647 h 823"/>
                <a:gd name="T34" fmla="*/ 2147483647 w 384"/>
                <a:gd name="T35" fmla="*/ 2147483647 h 823"/>
                <a:gd name="T36" fmla="*/ 0 w 384"/>
                <a:gd name="T37" fmla="*/ 2147483647 h 823"/>
                <a:gd name="T38" fmla="*/ 2147483647 w 384"/>
                <a:gd name="T39" fmla="*/ 2147483647 h 823"/>
                <a:gd name="T40" fmla="*/ 2147483647 w 384"/>
                <a:gd name="T41" fmla="*/ 2147483647 h 823"/>
                <a:gd name="T42" fmla="*/ 2147483647 w 384"/>
                <a:gd name="T43" fmla="*/ 2147483647 h 823"/>
                <a:gd name="T44" fmla="*/ 2147483647 w 384"/>
                <a:gd name="T45" fmla="*/ 2147483647 h 823"/>
                <a:gd name="T46" fmla="*/ 2147483647 w 384"/>
                <a:gd name="T47" fmla="*/ 2147483647 h 823"/>
                <a:gd name="T48" fmla="*/ 2147483647 w 384"/>
                <a:gd name="T49" fmla="*/ 2147483647 h 823"/>
                <a:gd name="T50" fmla="*/ 2147483647 w 384"/>
                <a:gd name="T51" fmla="*/ 2147483647 h 823"/>
                <a:gd name="T52" fmla="*/ 2147483647 w 384"/>
                <a:gd name="T53" fmla="*/ 2147483647 h 823"/>
                <a:gd name="T54" fmla="*/ 2147483647 w 384"/>
                <a:gd name="T55" fmla="*/ 2147483647 h 823"/>
                <a:gd name="T56" fmla="*/ 2147483647 w 384"/>
                <a:gd name="T57" fmla="*/ 2147483647 h 823"/>
                <a:gd name="T58" fmla="*/ 2147483647 w 384"/>
                <a:gd name="T59" fmla="*/ 2147483647 h 823"/>
                <a:gd name="T60" fmla="*/ 2147483647 w 384"/>
                <a:gd name="T61" fmla="*/ 2147483647 h 823"/>
                <a:gd name="T62" fmla="*/ 2147483647 w 384"/>
                <a:gd name="T63" fmla="*/ 2147483647 h 823"/>
                <a:gd name="T64" fmla="*/ 2147483647 w 384"/>
                <a:gd name="T65" fmla="*/ 2147483647 h 823"/>
                <a:gd name="T66" fmla="*/ 2147483647 w 384"/>
                <a:gd name="T67" fmla="*/ 2147483647 h 823"/>
                <a:gd name="T68" fmla="*/ 2147483647 w 384"/>
                <a:gd name="T69" fmla="*/ 2147483647 h 823"/>
                <a:gd name="T70" fmla="*/ 2147483647 w 384"/>
                <a:gd name="T71" fmla="*/ 2147483647 h 823"/>
                <a:gd name="T72" fmla="*/ 2147483647 w 384"/>
                <a:gd name="T73" fmla="*/ 2147483647 h 823"/>
                <a:gd name="T74" fmla="*/ 2147483647 w 384"/>
                <a:gd name="T75" fmla="*/ 2147483647 h 823"/>
                <a:gd name="T76" fmla="*/ 2147483647 w 384"/>
                <a:gd name="T77" fmla="*/ 2147483647 h 823"/>
                <a:gd name="T78" fmla="*/ 2147483647 w 384"/>
                <a:gd name="T79" fmla="*/ 2147483647 h 823"/>
                <a:gd name="T80" fmla="*/ 2147483647 w 384"/>
                <a:gd name="T81" fmla="*/ 2147483647 h 823"/>
                <a:gd name="T82" fmla="*/ 2147483647 w 384"/>
                <a:gd name="T83" fmla="*/ 2147483647 h 823"/>
                <a:gd name="T84" fmla="*/ 2147483647 w 384"/>
                <a:gd name="T85" fmla="*/ 2147483647 h 823"/>
                <a:gd name="T86" fmla="*/ 2147483647 w 384"/>
                <a:gd name="T87" fmla="*/ 2147483647 h 823"/>
                <a:gd name="T88" fmla="*/ 2147483647 w 384"/>
                <a:gd name="T89" fmla="*/ 2147483647 h 823"/>
                <a:gd name="T90" fmla="*/ 2147483647 w 384"/>
                <a:gd name="T91" fmla="*/ 2147483647 h 823"/>
                <a:gd name="T92" fmla="*/ 2147483647 w 384"/>
                <a:gd name="T93" fmla="*/ 2147483647 h 823"/>
                <a:gd name="T94" fmla="*/ 2147483647 w 384"/>
                <a:gd name="T95" fmla="*/ 2147483647 h 823"/>
                <a:gd name="T96" fmla="*/ 2147483647 w 384"/>
                <a:gd name="T97" fmla="*/ 2147483647 h 823"/>
                <a:gd name="T98" fmla="*/ 2147483647 w 384"/>
                <a:gd name="T99" fmla="*/ 2147483647 h 823"/>
                <a:gd name="T100" fmla="*/ 2147483647 w 384"/>
                <a:gd name="T101" fmla="*/ 2147483647 h 823"/>
                <a:gd name="T102" fmla="*/ 2147483647 w 384"/>
                <a:gd name="T103" fmla="*/ 2147483647 h 823"/>
                <a:gd name="T104" fmla="*/ 2147483647 w 384"/>
                <a:gd name="T105" fmla="*/ 2147483647 h 823"/>
                <a:gd name="T106" fmla="*/ 2147483647 w 384"/>
                <a:gd name="T107" fmla="*/ 2147483647 h 823"/>
                <a:gd name="T108" fmla="*/ 2147483647 w 384"/>
                <a:gd name="T109" fmla="*/ 2147483647 h 823"/>
                <a:gd name="T110" fmla="*/ 2147483647 w 384"/>
                <a:gd name="T111" fmla="*/ 2147483647 h 823"/>
                <a:gd name="T112" fmla="*/ 2147483647 w 384"/>
                <a:gd name="T113" fmla="*/ 2147483647 h 82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4"/>
                <a:gd name="T172" fmla="*/ 0 h 823"/>
                <a:gd name="T173" fmla="*/ 384 w 384"/>
                <a:gd name="T174" fmla="*/ 823 h 82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4" h="823">
                  <a:moveTo>
                    <a:pt x="278" y="823"/>
                  </a:moveTo>
                  <a:lnTo>
                    <a:pt x="270" y="817"/>
                  </a:lnTo>
                  <a:lnTo>
                    <a:pt x="284" y="757"/>
                  </a:lnTo>
                  <a:lnTo>
                    <a:pt x="270" y="747"/>
                  </a:lnTo>
                  <a:lnTo>
                    <a:pt x="271" y="741"/>
                  </a:lnTo>
                  <a:lnTo>
                    <a:pt x="278" y="743"/>
                  </a:lnTo>
                  <a:lnTo>
                    <a:pt x="275" y="703"/>
                  </a:lnTo>
                  <a:lnTo>
                    <a:pt x="262" y="667"/>
                  </a:lnTo>
                  <a:lnTo>
                    <a:pt x="256" y="674"/>
                  </a:lnTo>
                  <a:lnTo>
                    <a:pt x="240" y="615"/>
                  </a:lnTo>
                  <a:lnTo>
                    <a:pt x="234" y="546"/>
                  </a:lnTo>
                  <a:lnTo>
                    <a:pt x="218" y="539"/>
                  </a:lnTo>
                  <a:lnTo>
                    <a:pt x="205" y="526"/>
                  </a:lnTo>
                  <a:lnTo>
                    <a:pt x="200" y="528"/>
                  </a:lnTo>
                  <a:lnTo>
                    <a:pt x="192" y="505"/>
                  </a:lnTo>
                  <a:lnTo>
                    <a:pt x="188" y="537"/>
                  </a:lnTo>
                  <a:lnTo>
                    <a:pt x="166" y="550"/>
                  </a:lnTo>
                  <a:lnTo>
                    <a:pt x="133" y="579"/>
                  </a:lnTo>
                  <a:lnTo>
                    <a:pt x="120" y="572"/>
                  </a:lnTo>
                  <a:lnTo>
                    <a:pt x="115" y="579"/>
                  </a:lnTo>
                  <a:lnTo>
                    <a:pt x="100" y="573"/>
                  </a:lnTo>
                  <a:lnTo>
                    <a:pt x="96" y="570"/>
                  </a:lnTo>
                  <a:lnTo>
                    <a:pt x="99" y="563"/>
                  </a:lnTo>
                  <a:lnTo>
                    <a:pt x="86" y="567"/>
                  </a:lnTo>
                  <a:lnTo>
                    <a:pt x="99" y="516"/>
                  </a:lnTo>
                  <a:lnTo>
                    <a:pt x="90" y="464"/>
                  </a:lnTo>
                  <a:lnTo>
                    <a:pt x="72" y="429"/>
                  </a:lnTo>
                  <a:lnTo>
                    <a:pt x="69" y="439"/>
                  </a:lnTo>
                  <a:lnTo>
                    <a:pt x="61" y="434"/>
                  </a:lnTo>
                  <a:lnTo>
                    <a:pt x="56" y="424"/>
                  </a:lnTo>
                  <a:lnTo>
                    <a:pt x="58" y="416"/>
                  </a:lnTo>
                  <a:lnTo>
                    <a:pt x="67" y="421"/>
                  </a:lnTo>
                  <a:lnTo>
                    <a:pt x="59" y="411"/>
                  </a:lnTo>
                  <a:lnTo>
                    <a:pt x="61" y="401"/>
                  </a:lnTo>
                  <a:lnTo>
                    <a:pt x="30" y="385"/>
                  </a:lnTo>
                  <a:lnTo>
                    <a:pt x="30" y="377"/>
                  </a:lnTo>
                  <a:lnTo>
                    <a:pt x="11" y="367"/>
                  </a:lnTo>
                  <a:lnTo>
                    <a:pt x="0" y="348"/>
                  </a:lnTo>
                  <a:lnTo>
                    <a:pt x="1" y="326"/>
                  </a:lnTo>
                  <a:lnTo>
                    <a:pt x="6" y="323"/>
                  </a:lnTo>
                  <a:lnTo>
                    <a:pt x="15" y="326"/>
                  </a:lnTo>
                  <a:lnTo>
                    <a:pt x="14" y="301"/>
                  </a:lnTo>
                  <a:lnTo>
                    <a:pt x="37" y="291"/>
                  </a:lnTo>
                  <a:lnTo>
                    <a:pt x="32" y="266"/>
                  </a:lnTo>
                  <a:lnTo>
                    <a:pt x="34" y="255"/>
                  </a:lnTo>
                  <a:lnTo>
                    <a:pt x="45" y="252"/>
                  </a:lnTo>
                  <a:lnTo>
                    <a:pt x="46" y="217"/>
                  </a:lnTo>
                  <a:lnTo>
                    <a:pt x="52" y="211"/>
                  </a:lnTo>
                  <a:lnTo>
                    <a:pt x="79" y="210"/>
                  </a:lnTo>
                  <a:lnTo>
                    <a:pt x="83" y="207"/>
                  </a:lnTo>
                  <a:lnTo>
                    <a:pt x="102" y="163"/>
                  </a:lnTo>
                  <a:lnTo>
                    <a:pt x="104" y="147"/>
                  </a:lnTo>
                  <a:lnTo>
                    <a:pt x="125" y="122"/>
                  </a:lnTo>
                  <a:lnTo>
                    <a:pt x="124" y="99"/>
                  </a:lnTo>
                  <a:lnTo>
                    <a:pt x="130" y="87"/>
                  </a:lnTo>
                  <a:lnTo>
                    <a:pt x="152" y="73"/>
                  </a:lnTo>
                  <a:lnTo>
                    <a:pt x="167" y="55"/>
                  </a:lnTo>
                  <a:lnTo>
                    <a:pt x="189" y="48"/>
                  </a:lnTo>
                  <a:lnTo>
                    <a:pt x="203" y="54"/>
                  </a:lnTo>
                  <a:lnTo>
                    <a:pt x="207" y="27"/>
                  </a:lnTo>
                  <a:lnTo>
                    <a:pt x="220" y="17"/>
                  </a:lnTo>
                  <a:lnTo>
                    <a:pt x="220" y="7"/>
                  </a:lnTo>
                  <a:lnTo>
                    <a:pt x="231" y="0"/>
                  </a:lnTo>
                  <a:lnTo>
                    <a:pt x="243" y="5"/>
                  </a:lnTo>
                  <a:lnTo>
                    <a:pt x="253" y="15"/>
                  </a:lnTo>
                  <a:lnTo>
                    <a:pt x="260" y="36"/>
                  </a:lnTo>
                  <a:lnTo>
                    <a:pt x="272" y="36"/>
                  </a:lnTo>
                  <a:lnTo>
                    <a:pt x="279" y="78"/>
                  </a:lnTo>
                  <a:lnTo>
                    <a:pt x="276" y="107"/>
                  </a:lnTo>
                  <a:lnTo>
                    <a:pt x="268" y="129"/>
                  </a:lnTo>
                  <a:lnTo>
                    <a:pt x="244" y="155"/>
                  </a:lnTo>
                  <a:lnTo>
                    <a:pt x="237" y="181"/>
                  </a:lnTo>
                  <a:lnTo>
                    <a:pt x="238" y="200"/>
                  </a:lnTo>
                  <a:lnTo>
                    <a:pt x="231" y="214"/>
                  </a:lnTo>
                  <a:lnTo>
                    <a:pt x="234" y="218"/>
                  </a:lnTo>
                  <a:lnTo>
                    <a:pt x="265" y="199"/>
                  </a:lnTo>
                  <a:lnTo>
                    <a:pt x="284" y="201"/>
                  </a:lnTo>
                  <a:lnTo>
                    <a:pt x="290" y="236"/>
                  </a:lnTo>
                  <a:lnTo>
                    <a:pt x="313" y="250"/>
                  </a:lnTo>
                  <a:lnTo>
                    <a:pt x="304" y="287"/>
                  </a:lnTo>
                  <a:lnTo>
                    <a:pt x="330" y="294"/>
                  </a:lnTo>
                  <a:lnTo>
                    <a:pt x="332" y="303"/>
                  </a:lnTo>
                  <a:lnTo>
                    <a:pt x="346" y="316"/>
                  </a:lnTo>
                  <a:lnTo>
                    <a:pt x="362" y="314"/>
                  </a:lnTo>
                  <a:lnTo>
                    <a:pt x="374" y="305"/>
                  </a:lnTo>
                  <a:lnTo>
                    <a:pt x="383" y="306"/>
                  </a:lnTo>
                  <a:lnTo>
                    <a:pt x="384" y="311"/>
                  </a:lnTo>
                  <a:lnTo>
                    <a:pt x="380" y="320"/>
                  </a:lnTo>
                  <a:lnTo>
                    <a:pt x="359" y="335"/>
                  </a:lnTo>
                  <a:lnTo>
                    <a:pt x="361" y="345"/>
                  </a:lnTo>
                  <a:lnTo>
                    <a:pt x="349" y="347"/>
                  </a:lnTo>
                  <a:lnTo>
                    <a:pt x="344" y="355"/>
                  </a:lnTo>
                  <a:lnTo>
                    <a:pt x="331" y="374"/>
                  </a:lnTo>
                  <a:lnTo>
                    <a:pt x="313" y="380"/>
                  </a:lnTo>
                  <a:lnTo>
                    <a:pt x="284" y="402"/>
                  </a:lnTo>
                  <a:lnTo>
                    <a:pt x="250" y="408"/>
                  </a:lnTo>
                  <a:lnTo>
                    <a:pt x="239" y="439"/>
                  </a:lnTo>
                  <a:lnTo>
                    <a:pt x="238" y="456"/>
                  </a:lnTo>
                  <a:lnTo>
                    <a:pt x="232" y="461"/>
                  </a:lnTo>
                  <a:lnTo>
                    <a:pt x="245" y="498"/>
                  </a:lnTo>
                  <a:lnTo>
                    <a:pt x="270" y="519"/>
                  </a:lnTo>
                  <a:lnTo>
                    <a:pt x="272" y="554"/>
                  </a:lnTo>
                  <a:lnTo>
                    <a:pt x="280" y="555"/>
                  </a:lnTo>
                  <a:lnTo>
                    <a:pt x="283" y="562"/>
                  </a:lnTo>
                  <a:lnTo>
                    <a:pt x="274" y="577"/>
                  </a:lnTo>
                  <a:lnTo>
                    <a:pt x="271" y="593"/>
                  </a:lnTo>
                  <a:lnTo>
                    <a:pt x="259" y="608"/>
                  </a:lnTo>
                  <a:lnTo>
                    <a:pt x="258" y="620"/>
                  </a:lnTo>
                  <a:lnTo>
                    <a:pt x="263" y="633"/>
                  </a:lnTo>
                  <a:lnTo>
                    <a:pt x="293" y="658"/>
                  </a:lnTo>
                  <a:lnTo>
                    <a:pt x="298" y="696"/>
                  </a:lnTo>
                  <a:lnTo>
                    <a:pt x="319" y="749"/>
                  </a:lnTo>
                  <a:lnTo>
                    <a:pt x="304" y="778"/>
                  </a:lnTo>
                  <a:lnTo>
                    <a:pt x="290" y="793"/>
                  </a:lnTo>
                  <a:lnTo>
                    <a:pt x="278" y="823"/>
                  </a:lnTo>
                  <a:close/>
                </a:path>
              </a:pathLst>
            </a:custGeom>
            <a:grpFill/>
            <a:ln w="6350">
              <a:solidFill>
                <a:schemeClr val="tx2"/>
              </a:solidFill>
              <a:round/>
              <a:headEnd/>
              <a:tailEnd/>
            </a:ln>
          </p:spPr>
          <p:txBody>
            <a:bodyPr/>
            <a:lstStyle/>
            <a:p>
              <a:endParaRPr lang="en-US"/>
            </a:p>
          </p:txBody>
        </p:sp>
        <p:sp>
          <p:nvSpPr>
            <p:cNvPr id="643" name="Freeform 1413"/>
            <p:cNvSpPr>
              <a:spLocks/>
            </p:cNvSpPr>
            <p:nvPr/>
          </p:nvSpPr>
          <p:spPr bwMode="auto">
            <a:xfrm>
              <a:off x="6329628" y="3709541"/>
              <a:ext cx="172951" cy="94061"/>
            </a:xfrm>
            <a:custGeom>
              <a:avLst/>
              <a:gdLst>
                <a:gd name="T0" fmla="*/ 2147483647 w 346"/>
                <a:gd name="T1" fmla="*/ 2147483647 h 191"/>
                <a:gd name="T2" fmla="*/ 2147483647 w 346"/>
                <a:gd name="T3" fmla="*/ 2147483647 h 191"/>
                <a:gd name="T4" fmla="*/ 2147483647 w 346"/>
                <a:gd name="T5" fmla="*/ 2147483647 h 191"/>
                <a:gd name="T6" fmla="*/ 2147483647 w 346"/>
                <a:gd name="T7" fmla="*/ 2147483647 h 191"/>
                <a:gd name="T8" fmla="*/ 2147483647 w 346"/>
                <a:gd name="T9" fmla="*/ 2147483647 h 191"/>
                <a:gd name="T10" fmla="*/ 2147483647 w 346"/>
                <a:gd name="T11" fmla="*/ 2147483647 h 191"/>
                <a:gd name="T12" fmla="*/ 2147483647 w 346"/>
                <a:gd name="T13" fmla="*/ 2147483647 h 191"/>
                <a:gd name="T14" fmla="*/ 2147483647 w 346"/>
                <a:gd name="T15" fmla="*/ 2147483647 h 191"/>
                <a:gd name="T16" fmla="*/ 2147483647 w 346"/>
                <a:gd name="T17" fmla="*/ 2147483647 h 191"/>
                <a:gd name="T18" fmla="*/ 2147483647 w 346"/>
                <a:gd name="T19" fmla="*/ 2147483647 h 191"/>
                <a:gd name="T20" fmla="*/ 2147483647 w 346"/>
                <a:gd name="T21" fmla="*/ 2147483647 h 191"/>
                <a:gd name="T22" fmla="*/ 2147483647 w 346"/>
                <a:gd name="T23" fmla="*/ 2147483647 h 191"/>
                <a:gd name="T24" fmla="*/ 2147483647 w 346"/>
                <a:gd name="T25" fmla="*/ 2147483647 h 191"/>
                <a:gd name="T26" fmla="*/ 2147483647 w 346"/>
                <a:gd name="T27" fmla="*/ 2147483647 h 191"/>
                <a:gd name="T28" fmla="*/ 2147483647 w 346"/>
                <a:gd name="T29" fmla="*/ 2147483647 h 191"/>
                <a:gd name="T30" fmla="*/ 2147483647 w 346"/>
                <a:gd name="T31" fmla="*/ 2147483647 h 191"/>
                <a:gd name="T32" fmla="*/ 2147483647 w 346"/>
                <a:gd name="T33" fmla="*/ 2147483647 h 191"/>
                <a:gd name="T34" fmla="*/ 2147483647 w 346"/>
                <a:gd name="T35" fmla="*/ 2147483647 h 191"/>
                <a:gd name="T36" fmla="*/ 2147483647 w 346"/>
                <a:gd name="T37" fmla="*/ 2147483647 h 191"/>
                <a:gd name="T38" fmla="*/ 2147483647 w 346"/>
                <a:gd name="T39" fmla="*/ 2147483647 h 191"/>
                <a:gd name="T40" fmla="*/ 2147483647 w 346"/>
                <a:gd name="T41" fmla="*/ 2147483647 h 191"/>
                <a:gd name="T42" fmla="*/ 2147483647 w 346"/>
                <a:gd name="T43" fmla="*/ 2147483647 h 191"/>
                <a:gd name="T44" fmla="*/ 2147483647 w 346"/>
                <a:gd name="T45" fmla="*/ 2147483647 h 191"/>
                <a:gd name="T46" fmla="*/ 2147483647 w 346"/>
                <a:gd name="T47" fmla="*/ 2147483647 h 191"/>
                <a:gd name="T48" fmla="*/ 2147483647 w 346"/>
                <a:gd name="T49" fmla="*/ 0 h 191"/>
                <a:gd name="T50" fmla="*/ 2147483647 w 346"/>
                <a:gd name="T51" fmla="*/ 2147483647 h 191"/>
                <a:gd name="T52" fmla="*/ 2147483647 w 346"/>
                <a:gd name="T53" fmla="*/ 2147483647 h 191"/>
                <a:gd name="T54" fmla="*/ 2147483647 w 346"/>
                <a:gd name="T55" fmla="*/ 2147483647 h 191"/>
                <a:gd name="T56" fmla="*/ 2147483647 w 346"/>
                <a:gd name="T57" fmla="*/ 2147483647 h 191"/>
                <a:gd name="T58" fmla="*/ 2147483647 w 346"/>
                <a:gd name="T59" fmla="*/ 2147483647 h 191"/>
                <a:gd name="T60" fmla="*/ 0 w 346"/>
                <a:gd name="T61" fmla="*/ 2147483647 h 191"/>
                <a:gd name="T62" fmla="*/ 0 w 346"/>
                <a:gd name="T63" fmla="*/ 2147483647 h 191"/>
                <a:gd name="T64" fmla="*/ 2147483647 w 346"/>
                <a:gd name="T65" fmla="*/ 2147483647 h 191"/>
                <a:gd name="T66" fmla="*/ 2147483647 w 346"/>
                <a:gd name="T67" fmla="*/ 2147483647 h 191"/>
                <a:gd name="T68" fmla="*/ 2147483647 w 346"/>
                <a:gd name="T69" fmla="*/ 2147483647 h 191"/>
                <a:gd name="T70" fmla="*/ 2147483647 w 346"/>
                <a:gd name="T71" fmla="*/ 2147483647 h 191"/>
                <a:gd name="T72" fmla="*/ 2147483647 w 346"/>
                <a:gd name="T73" fmla="*/ 2147483647 h 191"/>
                <a:gd name="T74" fmla="*/ 2147483647 w 346"/>
                <a:gd name="T75" fmla="*/ 2147483647 h 191"/>
                <a:gd name="T76" fmla="*/ 2147483647 w 346"/>
                <a:gd name="T77" fmla="*/ 2147483647 h 191"/>
                <a:gd name="T78" fmla="*/ 2147483647 w 346"/>
                <a:gd name="T79" fmla="*/ 2147483647 h 191"/>
                <a:gd name="T80" fmla="*/ 2147483647 w 346"/>
                <a:gd name="T81" fmla="*/ 2147483647 h 191"/>
                <a:gd name="T82" fmla="*/ 2147483647 w 346"/>
                <a:gd name="T83" fmla="*/ 2147483647 h 191"/>
                <a:gd name="T84" fmla="*/ 2147483647 w 346"/>
                <a:gd name="T85" fmla="*/ 2147483647 h 191"/>
                <a:gd name="T86" fmla="*/ 2147483647 w 346"/>
                <a:gd name="T87" fmla="*/ 2147483647 h 191"/>
                <a:gd name="T88" fmla="*/ 2147483647 w 346"/>
                <a:gd name="T89" fmla="*/ 2147483647 h 191"/>
                <a:gd name="T90" fmla="*/ 2147483647 w 346"/>
                <a:gd name="T91" fmla="*/ 2147483647 h 1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6"/>
                <a:gd name="T139" fmla="*/ 0 h 191"/>
                <a:gd name="T140" fmla="*/ 346 w 346"/>
                <a:gd name="T141" fmla="*/ 191 h 19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6" h="191">
                  <a:moveTo>
                    <a:pt x="339" y="156"/>
                  </a:moveTo>
                  <a:lnTo>
                    <a:pt x="339" y="133"/>
                  </a:lnTo>
                  <a:lnTo>
                    <a:pt x="345" y="119"/>
                  </a:lnTo>
                  <a:lnTo>
                    <a:pt x="336" y="119"/>
                  </a:lnTo>
                  <a:lnTo>
                    <a:pt x="332" y="125"/>
                  </a:lnTo>
                  <a:lnTo>
                    <a:pt x="313" y="124"/>
                  </a:lnTo>
                  <a:lnTo>
                    <a:pt x="283" y="112"/>
                  </a:lnTo>
                  <a:lnTo>
                    <a:pt x="277" y="119"/>
                  </a:lnTo>
                  <a:lnTo>
                    <a:pt x="261" y="115"/>
                  </a:lnTo>
                  <a:lnTo>
                    <a:pt x="254" y="119"/>
                  </a:lnTo>
                  <a:lnTo>
                    <a:pt x="243" y="104"/>
                  </a:lnTo>
                  <a:lnTo>
                    <a:pt x="231" y="105"/>
                  </a:lnTo>
                  <a:lnTo>
                    <a:pt x="218" y="98"/>
                  </a:lnTo>
                  <a:lnTo>
                    <a:pt x="219" y="83"/>
                  </a:lnTo>
                  <a:lnTo>
                    <a:pt x="202" y="85"/>
                  </a:lnTo>
                  <a:lnTo>
                    <a:pt x="185" y="79"/>
                  </a:lnTo>
                  <a:lnTo>
                    <a:pt x="181" y="73"/>
                  </a:lnTo>
                  <a:lnTo>
                    <a:pt x="177" y="75"/>
                  </a:lnTo>
                  <a:lnTo>
                    <a:pt x="178" y="51"/>
                  </a:lnTo>
                  <a:lnTo>
                    <a:pt x="165" y="50"/>
                  </a:lnTo>
                  <a:lnTo>
                    <a:pt x="150" y="62"/>
                  </a:lnTo>
                  <a:lnTo>
                    <a:pt x="143" y="57"/>
                  </a:lnTo>
                  <a:lnTo>
                    <a:pt x="136" y="37"/>
                  </a:lnTo>
                  <a:lnTo>
                    <a:pt x="102" y="11"/>
                  </a:lnTo>
                  <a:lnTo>
                    <a:pt x="57" y="0"/>
                  </a:lnTo>
                  <a:lnTo>
                    <a:pt x="53" y="15"/>
                  </a:lnTo>
                  <a:lnTo>
                    <a:pt x="42" y="4"/>
                  </a:lnTo>
                  <a:lnTo>
                    <a:pt x="33" y="5"/>
                  </a:lnTo>
                  <a:lnTo>
                    <a:pt x="12" y="27"/>
                  </a:lnTo>
                  <a:lnTo>
                    <a:pt x="11" y="53"/>
                  </a:lnTo>
                  <a:lnTo>
                    <a:pt x="0" y="68"/>
                  </a:lnTo>
                  <a:lnTo>
                    <a:pt x="0" y="76"/>
                  </a:lnTo>
                  <a:lnTo>
                    <a:pt x="9" y="77"/>
                  </a:lnTo>
                  <a:lnTo>
                    <a:pt x="18" y="89"/>
                  </a:lnTo>
                  <a:lnTo>
                    <a:pt x="24" y="86"/>
                  </a:lnTo>
                  <a:lnTo>
                    <a:pt x="34" y="91"/>
                  </a:lnTo>
                  <a:lnTo>
                    <a:pt x="65" y="117"/>
                  </a:lnTo>
                  <a:lnTo>
                    <a:pt x="106" y="132"/>
                  </a:lnTo>
                  <a:lnTo>
                    <a:pt x="116" y="143"/>
                  </a:lnTo>
                  <a:lnTo>
                    <a:pt x="182" y="147"/>
                  </a:lnTo>
                  <a:lnTo>
                    <a:pt x="209" y="172"/>
                  </a:lnTo>
                  <a:lnTo>
                    <a:pt x="305" y="191"/>
                  </a:lnTo>
                  <a:lnTo>
                    <a:pt x="341" y="190"/>
                  </a:lnTo>
                  <a:lnTo>
                    <a:pt x="346" y="174"/>
                  </a:lnTo>
                  <a:lnTo>
                    <a:pt x="336" y="163"/>
                  </a:lnTo>
                  <a:lnTo>
                    <a:pt x="339" y="156"/>
                  </a:lnTo>
                  <a:close/>
                </a:path>
              </a:pathLst>
            </a:custGeom>
            <a:grpFill/>
            <a:ln w="6350">
              <a:solidFill>
                <a:schemeClr val="tx2"/>
              </a:solidFill>
              <a:round/>
              <a:headEnd/>
              <a:tailEnd/>
            </a:ln>
          </p:spPr>
          <p:txBody>
            <a:bodyPr/>
            <a:lstStyle/>
            <a:p>
              <a:endParaRPr lang="en-US"/>
            </a:p>
          </p:txBody>
        </p:sp>
        <p:sp>
          <p:nvSpPr>
            <p:cNvPr id="644" name="Freeform 1414"/>
            <p:cNvSpPr>
              <a:spLocks/>
            </p:cNvSpPr>
            <p:nvPr/>
          </p:nvSpPr>
          <p:spPr bwMode="auto">
            <a:xfrm>
              <a:off x="6516233" y="3758089"/>
              <a:ext cx="69787" cy="37929"/>
            </a:xfrm>
            <a:custGeom>
              <a:avLst/>
              <a:gdLst>
                <a:gd name="T0" fmla="*/ 2147483647 w 146"/>
                <a:gd name="T1" fmla="*/ 2147483647 h 76"/>
                <a:gd name="T2" fmla="*/ 2147483647 w 146"/>
                <a:gd name="T3" fmla="*/ 2147483647 h 76"/>
                <a:gd name="T4" fmla="*/ 2147483647 w 146"/>
                <a:gd name="T5" fmla="*/ 2147483647 h 76"/>
                <a:gd name="T6" fmla="*/ 2147483647 w 146"/>
                <a:gd name="T7" fmla="*/ 2147483647 h 76"/>
                <a:gd name="T8" fmla="*/ 2147483647 w 146"/>
                <a:gd name="T9" fmla="*/ 2147483647 h 76"/>
                <a:gd name="T10" fmla="*/ 2147483647 w 146"/>
                <a:gd name="T11" fmla="*/ 0 h 76"/>
                <a:gd name="T12" fmla="*/ 2147483647 w 146"/>
                <a:gd name="T13" fmla="*/ 2147483647 h 76"/>
                <a:gd name="T14" fmla="*/ 2147483647 w 146"/>
                <a:gd name="T15" fmla="*/ 2147483647 h 76"/>
                <a:gd name="T16" fmla="*/ 0 w 146"/>
                <a:gd name="T17" fmla="*/ 2147483647 h 76"/>
                <a:gd name="T18" fmla="*/ 2147483647 w 146"/>
                <a:gd name="T19" fmla="*/ 2147483647 h 76"/>
                <a:gd name="T20" fmla="*/ 2147483647 w 146"/>
                <a:gd name="T21" fmla="*/ 2147483647 h 76"/>
                <a:gd name="T22" fmla="*/ 2147483647 w 146"/>
                <a:gd name="T23" fmla="*/ 2147483647 h 76"/>
                <a:gd name="T24" fmla="*/ 2147483647 w 146"/>
                <a:gd name="T25" fmla="*/ 2147483647 h 76"/>
                <a:gd name="T26" fmla="*/ 2147483647 w 146"/>
                <a:gd name="T27" fmla="*/ 2147483647 h 76"/>
                <a:gd name="T28" fmla="*/ 2147483647 w 146"/>
                <a:gd name="T29" fmla="*/ 2147483647 h 76"/>
                <a:gd name="T30" fmla="*/ 2147483647 w 146"/>
                <a:gd name="T31" fmla="*/ 2147483647 h 7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76"/>
                <a:gd name="T50" fmla="*/ 146 w 146"/>
                <a:gd name="T51" fmla="*/ 76 h 7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76">
                  <a:moveTo>
                    <a:pt x="129" y="24"/>
                  </a:moveTo>
                  <a:lnTo>
                    <a:pt x="112" y="13"/>
                  </a:lnTo>
                  <a:lnTo>
                    <a:pt x="98" y="15"/>
                  </a:lnTo>
                  <a:lnTo>
                    <a:pt x="75" y="11"/>
                  </a:lnTo>
                  <a:lnTo>
                    <a:pt x="67" y="1"/>
                  </a:lnTo>
                  <a:lnTo>
                    <a:pt x="50" y="0"/>
                  </a:lnTo>
                  <a:lnTo>
                    <a:pt x="32" y="13"/>
                  </a:lnTo>
                  <a:lnTo>
                    <a:pt x="8" y="45"/>
                  </a:lnTo>
                  <a:lnTo>
                    <a:pt x="0" y="55"/>
                  </a:lnTo>
                  <a:lnTo>
                    <a:pt x="6" y="69"/>
                  </a:lnTo>
                  <a:lnTo>
                    <a:pt x="38" y="76"/>
                  </a:lnTo>
                  <a:lnTo>
                    <a:pt x="139" y="65"/>
                  </a:lnTo>
                  <a:lnTo>
                    <a:pt x="145" y="62"/>
                  </a:lnTo>
                  <a:lnTo>
                    <a:pt x="146" y="45"/>
                  </a:lnTo>
                  <a:lnTo>
                    <a:pt x="128" y="35"/>
                  </a:lnTo>
                  <a:lnTo>
                    <a:pt x="129" y="24"/>
                  </a:lnTo>
                  <a:close/>
                </a:path>
              </a:pathLst>
            </a:custGeom>
            <a:grpFill/>
            <a:ln w="6350">
              <a:solidFill>
                <a:schemeClr val="tx2"/>
              </a:solidFill>
              <a:round/>
              <a:headEnd/>
              <a:tailEnd/>
            </a:ln>
          </p:spPr>
          <p:txBody>
            <a:bodyPr/>
            <a:lstStyle/>
            <a:p>
              <a:endParaRPr lang="en-US"/>
            </a:p>
          </p:txBody>
        </p:sp>
        <p:sp>
          <p:nvSpPr>
            <p:cNvPr id="645" name="Freeform 1415"/>
            <p:cNvSpPr>
              <a:spLocks/>
            </p:cNvSpPr>
            <p:nvPr/>
          </p:nvSpPr>
          <p:spPr bwMode="auto">
            <a:xfrm>
              <a:off x="6496510" y="3800568"/>
              <a:ext cx="101647" cy="130472"/>
            </a:xfrm>
            <a:custGeom>
              <a:avLst/>
              <a:gdLst>
                <a:gd name="T0" fmla="*/ 2147483647 w 205"/>
                <a:gd name="T1" fmla="*/ 2147483647 h 263"/>
                <a:gd name="T2" fmla="*/ 2147483647 w 205"/>
                <a:gd name="T3" fmla="*/ 2147483647 h 263"/>
                <a:gd name="T4" fmla="*/ 2147483647 w 205"/>
                <a:gd name="T5" fmla="*/ 2147483647 h 263"/>
                <a:gd name="T6" fmla="*/ 2147483647 w 205"/>
                <a:gd name="T7" fmla="*/ 2147483647 h 263"/>
                <a:gd name="T8" fmla="*/ 2147483647 w 205"/>
                <a:gd name="T9" fmla="*/ 2147483647 h 263"/>
                <a:gd name="T10" fmla="*/ 2147483647 w 205"/>
                <a:gd name="T11" fmla="*/ 2147483647 h 263"/>
                <a:gd name="T12" fmla="*/ 2147483647 w 205"/>
                <a:gd name="T13" fmla="*/ 2147483647 h 263"/>
                <a:gd name="T14" fmla="*/ 2147483647 w 205"/>
                <a:gd name="T15" fmla="*/ 2147483647 h 263"/>
                <a:gd name="T16" fmla="*/ 2147483647 w 205"/>
                <a:gd name="T17" fmla="*/ 2147483647 h 263"/>
                <a:gd name="T18" fmla="*/ 2147483647 w 205"/>
                <a:gd name="T19" fmla="*/ 2147483647 h 263"/>
                <a:gd name="T20" fmla="*/ 2147483647 w 205"/>
                <a:gd name="T21" fmla="*/ 2147483647 h 263"/>
                <a:gd name="T22" fmla="*/ 2147483647 w 205"/>
                <a:gd name="T23" fmla="*/ 2147483647 h 263"/>
                <a:gd name="T24" fmla="*/ 2147483647 w 205"/>
                <a:gd name="T25" fmla="*/ 2147483647 h 263"/>
                <a:gd name="T26" fmla="*/ 2147483647 w 205"/>
                <a:gd name="T27" fmla="*/ 2147483647 h 263"/>
                <a:gd name="T28" fmla="*/ 2147483647 w 205"/>
                <a:gd name="T29" fmla="*/ 2147483647 h 263"/>
                <a:gd name="T30" fmla="*/ 2147483647 w 205"/>
                <a:gd name="T31" fmla="*/ 2147483647 h 263"/>
                <a:gd name="T32" fmla="*/ 2147483647 w 205"/>
                <a:gd name="T33" fmla="*/ 2147483647 h 263"/>
                <a:gd name="T34" fmla="*/ 2147483647 w 205"/>
                <a:gd name="T35" fmla="*/ 2147483647 h 263"/>
                <a:gd name="T36" fmla="*/ 2147483647 w 205"/>
                <a:gd name="T37" fmla="*/ 2147483647 h 263"/>
                <a:gd name="T38" fmla="*/ 2147483647 w 205"/>
                <a:gd name="T39" fmla="*/ 2147483647 h 263"/>
                <a:gd name="T40" fmla="*/ 2147483647 w 205"/>
                <a:gd name="T41" fmla="*/ 2147483647 h 263"/>
                <a:gd name="T42" fmla="*/ 2147483647 w 205"/>
                <a:gd name="T43" fmla="*/ 2147483647 h 263"/>
                <a:gd name="T44" fmla="*/ 2147483647 w 205"/>
                <a:gd name="T45" fmla="*/ 2147483647 h 263"/>
                <a:gd name="T46" fmla="*/ 2147483647 w 205"/>
                <a:gd name="T47" fmla="*/ 2147483647 h 263"/>
                <a:gd name="T48" fmla="*/ 2147483647 w 205"/>
                <a:gd name="T49" fmla="*/ 2147483647 h 263"/>
                <a:gd name="T50" fmla="*/ 2147483647 w 205"/>
                <a:gd name="T51" fmla="*/ 2147483647 h 263"/>
                <a:gd name="T52" fmla="*/ 2147483647 w 205"/>
                <a:gd name="T53" fmla="*/ 0 h 263"/>
                <a:gd name="T54" fmla="*/ 2147483647 w 205"/>
                <a:gd name="T55" fmla="*/ 2147483647 h 263"/>
                <a:gd name="T56" fmla="*/ 2147483647 w 205"/>
                <a:gd name="T57" fmla="*/ 2147483647 h 263"/>
                <a:gd name="T58" fmla="*/ 2147483647 w 205"/>
                <a:gd name="T59" fmla="*/ 2147483647 h 263"/>
                <a:gd name="T60" fmla="*/ 2147483647 w 205"/>
                <a:gd name="T61" fmla="*/ 2147483647 h 263"/>
                <a:gd name="T62" fmla="*/ 2147483647 w 205"/>
                <a:gd name="T63" fmla="*/ 2147483647 h 263"/>
                <a:gd name="T64" fmla="*/ 2147483647 w 205"/>
                <a:gd name="T65" fmla="*/ 2147483647 h 263"/>
                <a:gd name="T66" fmla="*/ 2147483647 w 205"/>
                <a:gd name="T67" fmla="*/ 2147483647 h 263"/>
                <a:gd name="T68" fmla="*/ 0 w 205"/>
                <a:gd name="T69" fmla="*/ 2147483647 h 263"/>
                <a:gd name="T70" fmla="*/ 2147483647 w 205"/>
                <a:gd name="T71" fmla="*/ 2147483647 h 263"/>
                <a:gd name="T72" fmla="*/ 2147483647 w 205"/>
                <a:gd name="T73" fmla="*/ 2147483647 h 263"/>
                <a:gd name="T74" fmla="*/ 2147483647 w 205"/>
                <a:gd name="T75" fmla="*/ 2147483647 h 263"/>
                <a:gd name="T76" fmla="*/ 2147483647 w 205"/>
                <a:gd name="T77" fmla="*/ 2147483647 h 263"/>
                <a:gd name="T78" fmla="*/ 2147483647 w 205"/>
                <a:gd name="T79" fmla="*/ 2147483647 h 263"/>
                <a:gd name="T80" fmla="*/ 2147483647 w 205"/>
                <a:gd name="T81" fmla="*/ 2147483647 h 263"/>
                <a:gd name="T82" fmla="*/ 2147483647 w 205"/>
                <a:gd name="T83" fmla="*/ 2147483647 h 263"/>
                <a:gd name="T84" fmla="*/ 2147483647 w 205"/>
                <a:gd name="T85" fmla="*/ 2147483647 h 263"/>
                <a:gd name="T86" fmla="*/ 2147483647 w 205"/>
                <a:gd name="T87" fmla="*/ 2147483647 h 263"/>
                <a:gd name="T88" fmla="*/ 2147483647 w 205"/>
                <a:gd name="T89" fmla="*/ 2147483647 h 263"/>
                <a:gd name="T90" fmla="*/ 2147483647 w 205"/>
                <a:gd name="T91" fmla="*/ 2147483647 h 263"/>
                <a:gd name="T92" fmla="*/ 2147483647 w 205"/>
                <a:gd name="T93" fmla="*/ 2147483647 h 263"/>
                <a:gd name="T94" fmla="*/ 2147483647 w 205"/>
                <a:gd name="T95" fmla="*/ 2147483647 h 263"/>
                <a:gd name="T96" fmla="*/ 2147483647 w 205"/>
                <a:gd name="T97" fmla="*/ 2147483647 h 263"/>
                <a:gd name="T98" fmla="*/ 2147483647 w 205"/>
                <a:gd name="T99" fmla="*/ 2147483647 h 263"/>
                <a:gd name="T100" fmla="*/ 2147483647 w 205"/>
                <a:gd name="T101" fmla="*/ 2147483647 h 263"/>
                <a:gd name="T102" fmla="*/ 2147483647 w 205"/>
                <a:gd name="T103" fmla="*/ 2147483647 h 263"/>
                <a:gd name="T104" fmla="*/ 2147483647 w 205"/>
                <a:gd name="T105" fmla="*/ 2147483647 h 263"/>
                <a:gd name="T106" fmla="*/ 2147483647 w 205"/>
                <a:gd name="T107" fmla="*/ 2147483647 h 2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5"/>
                <a:gd name="T163" fmla="*/ 0 h 263"/>
                <a:gd name="T164" fmla="*/ 205 w 205"/>
                <a:gd name="T165" fmla="*/ 263 h 2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5" h="263">
                  <a:moveTo>
                    <a:pt x="190" y="263"/>
                  </a:moveTo>
                  <a:lnTo>
                    <a:pt x="191" y="241"/>
                  </a:lnTo>
                  <a:lnTo>
                    <a:pt x="196" y="238"/>
                  </a:lnTo>
                  <a:lnTo>
                    <a:pt x="205" y="241"/>
                  </a:lnTo>
                  <a:lnTo>
                    <a:pt x="204" y="216"/>
                  </a:lnTo>
                  <a:lnTo>
                    <a:pt x="197" y="167"/>
                  </a:lnTo>
                  <a:lnTo>
                    <a:pt x="183" y="130"/>
                  </a:lnTo>
                  <a:lnTo>
                    <a:pt x="179" y="130"/>
                  </a:lnTo>
                  <a:lnTo>
                    <a:pt x="170" y="141"/>
                  </a:lnTo>
                  <a:lnTo>
                    <a:pt x="162" y="164"/>
                  </a:lnTo>
                  <a:lnTo>
                    <a:pt x="151" y="152"/>
                  </a:lnTo>
                  <a:lnTo>
                    <a:pt x="143" y="151"/>
                  </a:lnTo>
                  <a:lnTo>
                    <a:pt x="137" y="123"/>
                  </a:lnTo>
                  <a:lnTo>
                    <a:pt x="139" y="117"/>
                  </a:lnTo>
                  <a:lnTo>
                    <a:pt x="168" y="97"/>
                  </a:lnTo>
                  <a:lnTo>
                    <a:pt x="189" y="67"/>
                  </a:lnTo>
                  <a:lnTo>
                    <a:pt x="159" y="60"/>
                  </a:lnTo>
                  <a:lnTo>
                    <a:pt x="93" y="59"/>
                  </a:lnTo>
                  <a:lnTo>
                    <a:pt x="78" y="48"/>
                  </a:lnTo>
                  <a:lnTo>
                    <a:pt x="70" y="14"/>
                  </a:lnTo>
                  <a:lnTo>
                    <a:pt x="64" y="25"/>
                  </a:lnTo>
                  <a:lnTo>
                    <a:pt x="58" y="21"/>
                  </a:lnTo>
                  <a:lnTo>
                    <a:pt x="53" y="24"/>
                  </a:lnTo>
                  <a:lnTo>
                    <a:pt x="46" y="5"/>
                  </a:lnTo>
                  <a:lnTo>
                    <a:pt x="41" y="4"/>
                  </a:lnTo>
                  <a:lnTo>
                    <a:pt x="38" y="19"/>
                  </a:lnTo>
                  <a:lnTo>
                    <a:pt x="24" y="0"/>
                  </a:lnTo>
                  <a:lnTo>
                    <a:pt x="8" y="30"/>
                  </a:lnTo>
                  <a:lnTo>
                    <a:pt x="13" y="44"/>
                  </a:lnTo>
                  <a:lnTo>
                    <a:pt x="31" y="47"/>
                  </a:lnTo>
                  <a:lnTo>
                    <a:pt x="33" y="60"/>
                  </a:lnTo>
                  <a:lnTo>
                    <a:pt x="16" y="61"/>
                  </a:lnTo>
                  <a:lnTo>
                    <a:pt x="15" y="66"/>
                  </a:lnTo>
                  <a:lnTo>
                    <a:pt x="4" y="70"/>
                  </a:lnTo>
                  <a:lnTo>
                    <a:pt x="0" y="81"/>
                  </a:lnTo>
                  <a:lnTo>
                    <a:pt x="28" y="103"/>
                  </a:lnTo>
                  <a:lnTo>
                    <a:pt x="24" y="135"/>
                  </a:lnTo>
                  <a:lnTo>
                    <a:pt x="34" y="156"/>
                  </a:lnTo>
                  <a:lnTo>
                    <a:pt x="31" y="178"/>
                  </a:lnTo>
                  <a:lnTo>
                    <a:pt x="38" y="189"/>
                  </a:lnTo>
                  <a:lnTo>
                    <a:pt x="45" y="228"/>
                  </a:lnTo>
                  <a:lnTo>
                    <a:pt x="75" y="219"/>
                  </a:lnTo>
                  <a:lnTo>
                    <a:pt x="77" y="224"/>
                  </a:lnTo>
                  <a:lnTo>
                    <a:pt x="89" y="209"/>
                  </a:lnTo>
                  <a:lnTo>
                    <a:pt x="101" y="220"/>
                  </a:lnTo>
                  <a:lnTo>
                    <a:pt x="116" y="201"/>
                  </a:lnTo>
                  <a:lnTo>
                    <a:pt x="114" y="183"/>
                  </a:lnTo>
                  <a:lnTo>
                    <a:pt x="125" y="168"/>
                  </a:lnTo>
                  <a:lnTo>
                    <a:pt x="136" y="180"/>
                  </a:lnTo>
                  <a:lnTo>
                    <a:pt x="155" y="175"/>
                  </a:lnTo>
                  <a:lnTo>
                    <a:pt x="160" y="180"/>
                  </a:lnTo>
                  <a:lnTo>
                    <a:pt x="173" y="201"/>
                  </a:lnTo>
                  <a:lnTo>
                    <a:pt x="182" y="251"/>
                  </a:lnTo>
                  <a:lnTo>
                    <a:pt x="190" y="263"/>
                  </a:lnTo>
                  <a:close/>
                </a:path>
              </a:pathLst>
            </a:custGeom>
            <a:grpFill/>
            <a:ln w="6350">
              <a:solidFill>
                <a:schemeClr val="tx2"/>
              </a:solidFill>
              <a:round/>
              <a:headEnd/>
              <a:tailEnd/>
            </a:ln>
          </p:spPr>
          <p:txBody>
            <a:bodyPr/>
            <a:lstStyle/>
            <a:p>
              <a:endParaRPr lang="en-US"/>
            </a:p>
          </p:txBody>
        </p:sp>
        <p:sp>
          <p:nvSpPr>
            <p:cNvPr id="646" name="Freeform 1418"/>
            <p:cNvSpPr>
              <a:spLocks/>
            </p:cNvSpPr>
            <p:nvPr/>
          </p:nvSpPr>
          <p:spPr bwMode="auto">
            <a:xfrm>
              <a:off x="6124817" y="3457700"/>
              <a:ext cx="3034" cy="3034"/>
            </a:xfrm>
            <a:custGeom>
              <a:avLst/>
              <a:gdLst>
                <a:gd name="T0" fmla="*/ 2147483647 w 9"/>
                <a:gd name="T1" fmla="*/ 2147483647 h 6"/>
                <a:gd name="T2" fmla="*/ 0 w 9"/>
                <a:gd name="T3" fmla="*/ 0 h 6"/>
                <a:gd name="T4" fmla="*/ 2147483647 w 9"/>
                <a:gd name="T5" fmla="*/ 2147483647 h 6"/>
                <a:gd name="T6" fmla="*/ 2147483647 w 9"/>
                <a:gd name="T7" fmla="*/ 2147483647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9" y="4"/>
                  </a:moveTo>
                  <a:lnTo>
                    <a:pt x="0" y="0"/>
                  </a:lnTo>
                  <a:lnTo>
                    <a:pt x="2" y="6"/>
                  </a:lnTo>
                  <a:lnTo>
                    <a:pt x="9" y="4"/>
                  </a:lnTo>
                  <a:close/>
                </a:path>
              </a:pathLst>
            </a:custGeom>
            <a:grpFill/>
            <a:ln w="6350">
              <a:solidFill>
                <a:schemeClr val="tx2"/>
              </a:solidFill>
              <a:round/>
              <a:headEnd/>
              <a:tailEnd/>
            </a:ln>
          </p:spPr>
          <p:txBody>
            <a:bodyPr/>
            <a:lstStyle/>
            <a:p>
              <a:endParaRPr lang="en-US"/>
            </a:p>
          </p:txBody>
        </p:sp>
        <p:sp>
          <p:nvSpPr>
            <p:cNvPr id="647" name="Freeform 1419"/>
            <p:cNvSpPr>
              <a:spLocks/>
            </p:cNvSpPr>
            <p:nvPr/>
          </p:nvSpPr>
          <p:spPr bwMode="auto">
            <a:xfrm>
              <a:off x="6130886" y="3448598"/>
              <a:ext cx="6069" cy="9103"/>
            </a:xfrm>
            <a:custGeom>
              <a:avLst/>
              <a:gdLst>
                <a:gd name="T0" fmla="*/ 2147483647 w 13"/>
                <a:gd name="T1" fmla="*/ 2147483647 h 17"/>
                <a:gd name="T2" fmla="*/ 2147483647 w 13"/>
                <a:gd name="T3" fmla="*/ 0 h 17"/>
                <a:gd name="T4" fmla="*/ 0 w 13"/>
                <a:gd name="T5" fmla="*/ 2147483647 h 17"/>
                <a:gd name="T6" fmla="*/ 2147483647 w 13"/>
                <a:gd name="T7" fmla="*/ 2147483647 h 17"/>
                <a:gd name="T8" fmla="*/ 2147483647 w 13"/>
                <a:gd name="T9" fmla="*/ 2147483647 h 17"/>
                <a:gd name="T10" fmla="*/ 0 60000 65536"/>
                <a:gd name="T11" fmla="*/ 0 60000 65536"/>
                <a:gd name="T12" fmla="*/ 0 60000 65536"/>
                <a:gd name="T13" fmla="*/ 0 60000 65536"/>
                <a:gd name="T14" fmla="*/ 0 60000 65536"/>
                <a:gd name="T15" fmla="*/ 0 w 13"/>
                <a:gd name="T16" fmla="*/ 0 h 17"/>
                <a:gd name="T17" fmla="*/ 13 w 13"/>
                <a:gd name="T18" fmla="*/ 17 h 17"/>
              </a:gdLst>
              <a:ahLst/>
              <a:cxnLst>
                <a:cxn ang="T10">
                  <a:pos x="T0" y="T1"/>
                </a:cxn>
                <a:cxn ang="T11">
                  <a:pos x="T2" y="T3"/>
                </a:cxn>
                <a:cxn ang="T12">
                  <a:pos x="T4" y="T5"/>
                </a:cxn>
                <a:cxn ang="T13">
                  <a:pos x="T6" y="T7"/>
                </a:cxn>
                <a:cxn ang="T14">
                  <a:pos x="T8" y="T9"/>
                </a:cxn>
              </a:cxnLst>
              <a:rect l="T15" t="T16" r="T17" b="T18"/>
              <a:pathLst>
                <a:path w="13" h="17">
                  <a:moveTo>
                    <a:pt x="13" y="15"/>
                  </a:moveTo>
                  <a:lnTo>
                    <a:pt x="5" y="0"/>
                  </a:lnTo>
                  <a:lnTo>
                    <a:pt x="0" y="5"/>
                  </a:lnTo>
                  <a:lnTo>
                    <a:pt x="4" y="17"/>
                  </a:lnTo>
                  <a:lnTo>
                    <a:pt x="13" y="15"/>
                  </a:lnTo>
                  <a:close/>
                </a:path>
              </a:pathLst>
            </a:custGeom>
            <a:grpFill/>
            <a:ln w="6350">
              <a:solidFill>
                <a:schemeClr val="tx2"/>
              </a:solidFill>
              <a:round/>
              <a:headEnd/>
              <a:tailEnd/>
            </a:ln>
          </p:spPr>
          <p:txBody>
            <a:bodyPr/>
            <a:lstStyle/>
            <a:p>
              <a:endParaRPr lang="en-US"/>
            </a:p>
          </p:txBody>
        </p:sp>
        <p:sp>
          <p:nvSpPr>
            <p:cNvPr id="648" name="Freeform 1420"/>
            <p:cNvSpPr>
              <a:spLocks/>
            </p:cNvSpPr>
            <p:nvPr/>
          </p:nvSpPr>
          <p:spPr bwMode="auto">
            <a:xfrm>
              <a:off x="6147574" y="3454667"/>
              <a:ext cx="4551" cy="3034"/>
            </a:xfrm>
            <a:custGeom>
              <a:avLst/>
              <a:gdLst>
                <a:gd name="T0" fmla="*/ 2147483647 w 11"/>
                <a:gd name="T1" fmla="*/ 2147483647 h 5"/>
                <a:gd name="T2" fmla="*/ 0 w 11"/>
                <a:gd name="T3" fmla="*/ 0 h 5"/>
                <a:gd name="T4" fmla="*/ 2147483647 w 11"/>
                <a:gd name="T5" fmla="*/ 2147483647 h 5"/>
                <a:gd name="T6" fmla="*/ 2147483647 w 11"/>
                <a:gd name="T7" fmla="*/ 2147483647 h 5"/>
                <a:gd name="T8" fmla="*/ 0 60000 65536"/>
                <a:gd name="T9" fmla="*/ 0 60000 65536"/>
                <a:gd name="T10" fmla="*/ 0 60000 65536"/>
                <a:gd name="T11" fmla="*/ 0 60000 65536"/>
                <a:gd name="T12" fmla="*/ 0 w 11"/>
                <a:gd name="T13" fmla="*/ 0 h 5"/>
                <a:gd name="T14" fmla="*/ 11 w 11"/>
                <a:gd name="T15" fmla="*/ 5 h 5"/>
              </a:gdLst>
              <a:ahLst/>
              <a:cxnLst>
                <a:cxn ang="T8">
                  <a:pos x="T0" y="T1"/>
                </a:cxn>
                <a:cxn ang="T9">
                  <a:pos x="T2" y="T3"/>
                </a:cxn>
                <a:cxn ang="T10">
                  <a:pos x="T4" y="T5"/>
                </a:cxn>
                <a:cxn ang="T11">
                  <a:pos x="T6" y="T7"/>
                </a:cxn>
              </a:cxnLst>
              <a:rect l="T12" t="T13" r="T14" b="T15"/>
              <a:pathLst>
                <a:path w="11" h="5">
                  <a:moveTo>
                    <a:pt x="11" y="2"/>
                  </a:moveTo>
                  <a:lnTo>
                    <a:pt x="0" y="0"/>
                  </a:lnTo>
                  <a:lnTo>
                    <a:pt x="5" y="5"/>
                  </a:lnTo>
                  <a:lnTo>
                    <a:pt x="11" y="2"/>
                  </a:lnTo>
                  <a:close/>
                </a:path>
              </a:pathLst>
            </a:custGeom>
            <a:grpFill/>
            <a:ln w="6350">
              <a:solidFill>
                <a:schemeClr val="tx2"/>
              </a:solidFill>
              <a:round/>
              <a:headEnd/>
              <a:tailEnd/>
            </a:ln>
          </p:spPr>
          <p:txBody>
            <a:bodyPr/>
            <a:lstStyle/>
            <a:p>
              <a:endParaRPr lang="en-US"/>
            </a:p>
          </p:txBody>
        </p:sp>
        <p:sp>
          <p:nvSpPr>
            <p:cNvPr id="649" name="Freeform 1421"/>
            <p:cNvSpPr>
              <a:spLocks/>
            </p:cNvSpPr>
            <p:nvPr/>
          </p:nvSpPr>
          <p:spPr bwMode="auto">
            <a:xfrm>
              <a:off x="6097510" y="3360606"/>
              <a:ext cx="233635" cy="113784"/>
            </a:xfrm>
            <a:custGeom>
              <a:avLst/>
              <a:gdLst>
                <a:gd name="T0" fmla="*/ 2147483647 w 474"/>
                <a:gd name="T1" fmla="*/ 2147483647 h 227"/>
                <a:gd name="T2" fmla="*/ 2147483647 w 474"/>
                <a:gd name="T3" fmla="*/ 2147483647 h 227"/>
                <a:gd name="T4" fmla="*/ 2147483647 w 474"/>
                <a:gd name="T5" fmla="*/ 2147483647 h 227"/>
                <a:gd name="T6" fmla="*/ 2147483647 w 474"/>
                <a:gd name="T7" fmla="*/ 2147483647 h 227"/>
                <a:gd name="T8" fmla="*/ 2147483647 w 474"/>
                <a:gd name="T9" fmla="*/ 2147483647 h 227"/>
                <a:gd name="T10" fmla="*/ 2147483647 w 474"/>
                <a:gd name="T11" fmla="*/ 2147483647 h 227"/>
                <a:gd name="T12" fmla="*/ 2147483647 w 474"/>
                <a:gd name="T13" fmla="*/ 0 h 227"/>
                <a:gd name="T14" fmla="*/ 2147483647 w 474"/>
                <a:gd name="T15" fmla="*/ 2147483647 h 227"/>
                <a:gd name="T16" fmla="*/ 2147483647 w 474"/>
                <a:gd name="T17" fmla="*/ 2147483647 h 227"/>
                <a:gd name="T18" fmla="*/ 2147483647 w 474"/>
                <a:gd name="T19" fmla="*/ 2147483647 h 227"/>
                <a:gd name="T20" fmla="*/ 2147483647 w 474"/>
                <a:gd name="T21" fmla="*/ 2147483647 h 227"/>
                <a:gd name="T22" fmla="*/ 2147483647 w 474"/>
                <a:gd name="T23" fmla="*/ 2147483647 h 227"/>
                <a:gd name="T24" fmla="*/ 2147483647 w 474"/>
                <a:gd name="T25" fmla="*/ 2147483647 h 227"/>
                <a:gd name="T26" fmla="*/ 2147483647 w 474"/>
                <a:gd name="T27" fmla="*/ 2147483647 h 227"/>
                <a:gd name="T28" fmla="*/ 2147483647 w 474"/>
                <a:gd name="T29" fmla="*/ 2147483647 h 227"/>
                <a:gd name="T30" fmla="*/ 2147483647 w 474"/>
                <a:gd name="T31" fmla="*/ 2147483647 h 227"/>
                <a:gd name="T32" fmla="*/ 2147483647 w 474"/>
                <a:gd name="T33" fmla="*/ 2147483647 h 227"/>
                <a:gd name="T34" fmla="*/ 2147483647 w 474"/>
                <a:gd name="T35" fmla="*/ 2147483647 h 227"/>
                <a:gd name="T36" fmla="*/ 2147483647 w 474"/>
                <a:gd name="T37" fmla="*/ 2147483647 h 227"/>
                <a:gd name="T38" fmla="*/ 2147483647 w 474"/>
                <a:gd name="T39" fmla="*/ 2147483647 h 227"/>
                <a:gd name="T40" fmla="*/ 2147483647 w 474"/>
                <a:gd name="T41" fmla="*/ 2147483647 h 227"/>
                <a:gd name="T42" fmla="*/ 2147483647 w 474"/>
                <a:gd name="T43" fmla="*/ 2147483647 h 227"/>
                <a:gd name="T44" fmla="*/ 2147483647 w 474"/>
                <a:gd name="T45" fmla="*/ 2147483647 h 227"/>
                <a:gd name="T46" fmla="*/ 2147483647 w 474"/>
                <a:gd name="T47" fmla="*/ 2147483647 h 227"/>
                <a:gd name="T48" fmla="*/ 2147483647 w 474"/>
                <a:gd name="T49" fmla="*/ 2147483647 h 227"/>
                <a:gd name="T50" fmla="*/ 2147483647 w 474"/>
                <a:gd name="T51" fmla="*/ 2147483647 h 227"/>
                <a:gd name="T52" fmla="*/ 2147483647 w 474"/>
                <a:gd name="T53" fmla="*/ 2147483647 h 227"/>
                <a:gd name="T54" fmla="*/ 2147483647 w 474"/>
                <a:gd name="T55" fmla="*/ 2147483647 h 227"/>
                <a:gd name="T56" fmla="*/ 2147483647 w 474"/>
                <a:gd name="T57" fmla="*/ 2147483647 h 227"/>
                <a:gd name="T58" fmla="*/ 2147483647 w 474"/>
                <a:gd name="T59" fmla="*/ 2147483647 h 227"/>
                <a:gd name="T60" fmla="*/ 2147483647 w 474"/>
                <a:gd name="T61" fmla="*/ 2147483647 h 227"/>
                <a:gd name="T62" fmla="*/ 2147483647 w 474"/>
                <a:gd name="T63" fmla="*/ 2147483647 h 227"/>
                <a:gd name="T64" fmla="*/ 2147483647 w 474"/>
                <a:gd name="T65" fmla="*/ 2147483647 h 227"/>
                <a:gd name="T66" fmla="*/ 2147483647 w 474"/>
                <a:gd name="T67" fmla="*/ 2147483647 h 227"/>
                <a:gd name="T68" fmla="*/ 2147483647 w 474"/>
                <a:gd name="T69" fmla="*/ 2147483647 h 227"/>
                <a:gd name="T70" fmla="*/ 2147483647 w 474"/>
                <a:gd name="T71" fmla="*/ 2147483647 h 227"/>
                <a:gd name="T72" fmla="*/ 2147483647 w 474"/>
                <a:gd name="T73" fmla="*/ 2147483647 h 227"/>
                <a:gd name="T74" fmla="*/ 0 w 474"/>
                <a:gd name="T75" fmla="*/ 2147483647 h 227"/>
                <a:gd name="T76" fmla="*/ 0 w 474"/>
                <a:gd name="T77" fmla="*/ 2147483647 h 227"/>
                <a:gd name="T78" fmla="*/ 2147483647 w 474"/>
                <a:gd name="T79" fmla="*/ 2147483647 h 227"/>
                <a:gd name="T80" fmla="*/ 2147483647 w 474"/>
                <a:gd name="T81" fmla="*/ 2147483647 h 227"/>
                <a:gd name="T82" fmla="*/ 2147483647 w 474"/>
                <a:gd name="T83" fmla="*/ 2147483647 h 227"/>
                <a:gd name="T84" fmla="*/ 2147483647 w 474"/>
                <a:gd name="T85" fmla="*/ 2147483647 h 227"/>
                <a:gd name="T86" fmla="*/ 2147483647 w 474"/>
                <a:gd name="T87" fmla="*/ 2147483647 h 227"/>
                <a:gd name="T88" fmla="*/ 2147483647 w 474"/>
                <a:gd name="T89" fmla="*/ 2147483647 h 227"/>
                <a:gd name="T90" fmla="*/ 2147483647 w 474"/>
                <a:gd name="T91" fmla="*/ 2147483647 h 227"/>
                <a:gd name="T92" fmla="*/ 2147483647 w 474"/>
                <a:gd name="T93" fmla="*/ 2147483647 h 227"/>
                <a:gd name="T94" fmla="*/ 2147483647 w 474"/>
                <a:gd name="T95" fmla="*/ 2147483647 h 227"/>
                <a:gd name="T96" fmla="*/ 2147483647 w 474"/>
                <a:gd name="T97" fmla="*/ 2147483647 h 227"/>
                <a:gd name="T98" fmla="*/ 2147483647 w 474"/>
                <a:gd name="T99" fmla="*/ 2147483647 h 227"/>
                <a:gd name="T100" fmla="*/ 2147483647 w 474"/>
                <a:gd name="T101" fmla="*/ 2147483647 h 227"/>
                <a:gd name="T102" fmla="*/ 2147483647 w 474"/>
                <a:gd name="T103" fmla="*/ 2147483647 h 227"/>
                <a:gd name="T104" fmla="*/ 2147483647 w 474"/>
                <a:gd name="T105" fmla="*/ 2147483647 h 227"/>
                <a:gd name="T106" fmla="*/ 2147483647 w 474"/>
                <a:gd name="T107" fmla="*/ 2147483647 h 227"/>
                <a:gd name="T108" fmla="*/ 2147483647 w 474"/>
                <a:gd name="T109" fmla="*/ 2147483647 h 227"/>
                <a:gd name="T110" fmla="*/ 2147483647 w 474"/>
                <a:gd name="T111" fmla="*/ 2147483647 h 227"/>
                <a:gd name="T112" fmla="*/ 2147483647 w 474"/>
                <a:gd name="T113" fmla="*/ 2147483647 h 227"/>
                <a:gd name="T114" fmla="*/ 2147483647 w 474"/>
                <a:gd name="T115" fmla="*/ 2147483647 h 227"/>
                <a:gd name="T116" fmla="*/ 2147483647 w 474"/>
                <a:gd name="T117" fmla="*/ 2147483647 h 2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4"/>
                <a:gd name="T178" fmla="*/ 0 h 227"/>
                <a:gd name="T179" fmla="*/ 474 w 474"/>
                <a:gd name="T180" fmla="*/ 227 h 22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4" h="227">
                  <a:moveTo>
                    <a:pt x="69" y="51"/>
                  </a:moveTo>
                  <a:lnTo>
                    <a:pt x="76" y="29"/>
                  </a:lnTo>
                  <a:lnTo>
                    <a:pt x="95" y="24"/>
                  </a:lnTo>
                  <a:lnTo>
                    <a:pt x="132" y="29"/>
                  </a:lnTo>
                  <a:lnTo>
                    <a:pt x="173" y="44"/>
                  </a:lnTo>
                  <a:lnTo>
                    <a:pt x="183" y="15"/>
                  </a:lnTo>
                  <a:lnTo>
                    <a:pt x="210" y="0"/>
                  </a:lnTo>
                  <a:lnTo>
                    <a:pt x="232" y="15"/>
                  </a:lnTo>
                  <a:lnTo>
                    <a:pt x="262" y="20"/>
                  </a:lnTo>
                  <a:lnTo>
                    <a:pt x="337" y="14"/>
                  </a:lnTo>
                  <a:lnTo>
                    <a:pt x="428" y="28"/>
                  </a:lnTo>
                  <a:lnTo>
                    <a:pt x="441" y="42"/>
                  </a:lnTo>
                  <a:lnTo>
                    <a:pt x="474" y="54"/>
                  </a:lnTo>
                  <a:lnTo>
                    <a:pt x="471" y="75"/>
                  </a:lnTo>
                  <a:lnTo>
                    <a:pt x="406" y="106"/>
                  </a:lnTo>
                  <a:lnTo>
                    <a:pt x="388" y="127"/>
                  </a:lnTo>
                  <a:lnTo>
                    <a:pt x="329" y="139"/>
                  </a:lnTo>
                  <a:lnTo>
                    <a:pt x="318" y="163"/>
                  </a:lnTo>
                  <a:lnTo>
                    <a:pt x="306" y="170"/>
                  </a:lnTo>
                  <a:lnTo>
                    <a:pt x="277" y="171"/>
                  </a:lnTo>
                  <a:lnTo>
                    <a:pt x="273" y="161"/>
                  </a:lnTo>
                  <a:lnTo>
                    <a:pt x="264" y="160"/>
                  </a:lnTo>
                  <a:lnTo>
                    <a:pt x="245" y="162"/>
                  </a:lnTo>
                  <a:lnTo>
                    <a:pt x="240" y="173"/>
                  </a:lnTo>
                  <a:lnTo>
                    <a:pt x="206" y="189"/>
                  </a:lnTo>
                  <a:lnTo>
                    <a:pt x="198" y="204"/>
                  </a:lnTo>
                  <a:lnTo>
                    <a:pt x="198" y="211"/>
                  </a:lnTo>
                  <a:lnTo>
                    <a:pt x="183" y="208"/>
                  </a:lnTo>
                  <a:lnTo>
                    <a:pt x="181" y="221"/>
                  </a:lnTo>
                  <a:lnTo>
                    <a:pt x="153" y="220"/>
                  </a:lnTo>
                  <a:lnTo>
                    <a:pt x="128" y="227"/>
                  </a:lnTo>
                  <a:lnTo>
                    <a:pt x="109" y="226"/>
                  </a:lnTo>
                  <a:lnTo>
                    <a:pt x="105" y="213"/>
                  </a:lnTo>
                  <a:lnTo>
                    <a:pt x="93" y="209"/>
                  </a:lnTo>
                  <a:lnTo>
                    <a:pt x="70" y="216"/>
                  </a:lnTo>
                  <a:lnTo>
                    <a:pt x="54" y="208"/>
                  </a:lnTo>
                  <a:lnTo>
                    <a:pt x="4" y="210"/>
                  </a:lnTo>
                  <a:lnTo>
                    <a:pt x="0" y="205"/>
                  </a:lnTo>
                  <a:lnTo>
                    <a:pt x="0" y="187"/>
                  </a:lnTo>
                  <a:lnTo>
                    <a:pt x="17" y="179"/>
                  </a:lnTo>
                  <a:lnTo>
                    <a:pt x="36" y="179"/>
                  </a:lnTo>
                  <a:lnTo>
                    <a:pt x="54" y="187"/>
                  </a:lnTo>
                  <a:lnTo>
                    <a:pt x="72" y="169"/>
                  </a:lnTo>
                  <a:lnTo>
                    <a:pt x="112" y="171"/>
                  </a:lnTo>
                  <a:lnTo>
                    <a:pt x="126" y="159"/>
                  </a:lnTo>
                  <a:lnTo>
                    <a:pt x="143" y="156"/>
                  </a:lnTo>
                  <a:lnTo>
                    <a:pt x="167" y="138"/>
                  </a:lnTo>
                  <a:lnTo>
                    <a:pt x="127" y="125"/>
                  </a:lnTo>
                  <a:lnTo>
                    <a:pt x="110" y="114"/>
                  </a:lnTo>
                  <a:lnTo>
                    <a:pt x="111" y="108"/>
                  </a:lnTo>
                  <a:lnTo>
                    <a:pt x="101" y="100"/>
                  </a:lnTo>
                  <a:lnTo>
                    <a:pt x="90" y="121"/>
                  </a:lnTo>
                  <a:lnTo>
                    <a:pt x="66" y="113"/>
                  </a:lnTo>
                  <a:lnTo>
                    <a:pt x="60" y="103"/>
                  </a:lnTo>
                  <a:lnTo>
                    <a:pt x="42" y="100"/>
                  </a:lnTo>
                  <a:lnTo>
                    <a:pt x="43" y="93"/>
                  </a:lnTo>
                  <a:lnTo>
                    <a:pt x="84" y="62"/>
                  </a:lnTo>
                  <a:lnTo>
                    <a:pt x="82" y="56"/>
                  </a:lnTo>
                  <a:lnTo>
                    <a:pt x="69" y="51"/>
                  </a:lnTo>
                  <a:close/>
                </a:path>
              </a:pathLst>
            </a:custGeom>
            <a:grpFill/>
            <a:ln w="6350">
              <a:solidFill>
                <a:schemeClr val="tx2"/>
              </a:solidFill>
              <a:round/>
              <a:headEnd/>
              <a:tailEnd/>
            </a:ln>
          </p:spPr>
          <p:txBody>
            <a:bodyPr/>
            <a:lstStyle/>
            <a:p>
              <a:endParaRPr lang="en-US"/>
            </a:p>
          </p:txBody>
        </p:sp>
        <p:sp>
          <p:nvSpPr>
            <p:cNvPr id="650" name="Freeform 1422"/>
            <p:cNvSpPr>
              <a:spLocks/>
            </p:cNvSpPr>
            <p:nvPr/>
          </p:nvSpPr>
          <p:spPr bwMode="auto">
            <a:xfrm>
              <a:off x="5910904" y="3498663"/>
              <a:ext cx="306456" cy="233635"/>
            </a:xfrm>
            <a:custGeom>
              <a:avLst/>
              <a:gdLst>
                <a:gd name="T0" fmla="*/ 2147483647 w 617"/>
                <a:gd name="T1" fmla="*/ 2147483647 h 471"/>
                <a:gd name="T2" fmla="*/ 2147483647 w 617"/>
                <a:gd name="T3" fmla="*/ 2147483647 h 471"/>
                <a:gd name="T4" fmla="*/ 0 w 617"/>
                <a:gd name="T5" fmla="*/ 2147483647 h 471"/>
                <a:gd name="T6" fmla="*/ 2147483647 w 617"/>
                <a:gd name="T7" fmla="*/ 2147483647 h 471"/>
                <a:gd name="T8" fmla="*/ 2147483647 w 617"/>
                <a:gd name="T9" fmla="*/ 2147483647 h 471"/>
                <a:gd name="T10" fmla="*/ 2147483647 w 617"/>
                <a:gd name="T11" fmla="*/ 2147483647 h 471"/>
                <a:gd name="T12" fmla="*/ 2147483647 w 617"/>
                <a:gd name="T13" fmla="*/ 2147483647 h 471"/>
                <a:gd name="T14" fmla="*/ 2147483647 w 617"/>
                <a:gd name="T15" fmla="*/ 2147483647 h 471"/>
                <a:gd name="T16" fmla="*/ 2147483647 w 617"/>
                <a:gd name="T17" fmla="*/ 2147483647 h 471"/>
                <a:gd name="T18" fmla="*/ 2147483647 w 617"/>
                <a:gd name="T19" fmla="*/ 2147483647 h 471"/>
                <a:gd name="T20" fmla="*/ 2147483647 w 617"/>
                <a:gd name="T21" fmla="*/ 2147483647 h 471"/>
                <a:gd name="T22" fmla="*/ 2147483647 w 617"/>
                <a:gd name="T23" fmla="*/ 2147483647 h 471"/>
                <a:gd name="T24" fmla="*/ 2147483647 w 617"/>
                <a:gd name="T25" fmla="*/ 2147483647 h 471"/>
                <a:gd name="T26" fmla="*/ 2147483647 w 617"/>
                <a:gd name="T27" fmla="*/ 2147483647 h 471"/>
                <a:gd name="T28" fmla="*/ 2147483647 w 617"/>
                <a:gd name="T29" fmla="*/ 2147483647 h 471"/>
                <a:gd name="T30" fmla="*/ 2147483647 w 617"/>
                <a:gd name="T31" fmla="*/ 2147483647 h 471"/>
                <a:gd name="T32" fmla="*/ 2147483647 w 617"/>
                <a:gd name="T33" fmla="*/ 2147483647 h 471"/>
                <a:gd name="T34" fmla="*/ 2147483647 w 617"/>
                <a:gd name="T35" fmla="*/ 2147483647 h 471"/>
                <a:gd name="T36" fmla="*/ 2147483647 w 617"/>
                <a:gd name="T37" fmla="*/ 2147483647 h 471"/>
                <a:gd name="T38" fmla="*/ 2147483647 w 617"/>
                <a:gd name="T39" fmla="*/ 2147483647 h 471"/>
                <a:gd name="T40" fmla="*/ 2147483647 w 617"/>
                <a:gd name="T41" fmla="*/ 2147483647 h 471"/>
                <a:gd name="T42" fmla="*/ 2147483647 w 617"/>
                <a:gd name="T43" fmla="*/ 2147483647 h 471"/>
                <a:gd name="T44" fmla="*/ 2147483647 w 617"/>
                <a:gd name="T45" fmla="*/ 2147483647 h 471"/>
                <a:gd name="T46" fmla="*/ 2147483647 w 617"/>
                <a:gd name="T47" fmla="*/ 2147483647 h 471"/>
                <a:gd name="T48" fmla="*/ 2147483647 w 617"/>
                <a:gd name="T49" fmla="*/ 2147483647 h 471"/>
                <a:gd name="T50" fmla="*/ 2147483647 w 617"/>
                <a:gd name="T51" fmla="*/ 2147483647 h 471"/>
                <a:gd name="T52" fmla="*/ 2147483647 w 617"/>
                <a:gd name="T53" fmla="*/ 2147483647 h 471"/>
                <a:gd name="T54" fmla="*/ 2147483647 w 617"/>
                <a:gd name="T55" fmla="*/ 2147483647 h 471"/>
                <a:gd name="T56" fmla="*/ 2147483647 w 617"/>
                <a:gd name="T57" fmla="*/ 2147483647 h 471"/>
                <a:gd name="T58" fmla="*/ 2147483647 w 617"/>
                <a:gd name="T59" fmla="*/ 2147483647 h 471"/>
                <a:gd name="T60" fmla="*/ 2147483647 w 617"/>
                <a:gd name="T61" fmla="*/ 2147483647 h 471"/>
                <a:gd name="T62" fmla="*/ 2147483647 w 617"/>
                <a:gd name="T63" fmla="*/ 2147483647 h 471"/>
                <a:gd name="T64" fmla="*/ 2147483647 w 617"/>
                <a:gd name="T65" fmla="*/ 2147483647 h 471"/>
                <a:gd name="T66" fmla="*/ 2147483647 w 617"/>
                <a:gd name="T67" fmla="*/ 2147483647 h 471"/>
                <a:gd name="T68" fmla="*/ 2147483647 w 617"/>
                <a:gd name="T69" fmla="*/ 2147483647 h 471"/>
                <a:gd name="T70" fmla="*/ 2147483647 w 617"/>
                <a:gd name="T71" fmla="*/ 2147483647 h 471"/>
                <a:gd name="T72" fmla="*/ 2147483647 w 617"/>
                <a:gd name="T73" fmla="*/ 2147483647 h 471"/>
                <a:gd name="T74" fmla="*/ 2147483647 w 617"/>
                <a:gd name="T75" fmla="*/ 2147483647 h 471"/>
                <a:gd name="T76" fmla="*/ 2147483647 w 617"/>
                <a:gd name="T77" fmla="*/ 2147483647 h 471"/>
                <a:gd name="T78" fmla="*/ 2147483647 w 617"/>
                <a:gd name="T79" fmla="*/ 2147483647 h 471"/>
                <a:gd name="T80" fmla="*/ 2147483647 w 617"/>
                <a:gd name="T81" fmla="*/ 2147483647 h 471"/>
                <a:gd name="T82" fmla="*/ 2147483647 w 617"/>
                <a:gd name="T83" fmla="*/ 2147483647 h 471"/>
                <a:gd name="T84" fmla="*/ 2147483647 w 617"/>
                <a:gd name="T85" fmla="*/ 2147483647 h 471"/>
                <a:gd name="T86" fmla="*/ 2147483647 w 617"/>
                <a:gd name="T87" fmla="*/ 2147483647 h 471"/>
                <a:gd name="T88" fmla="*/ 2147483647 w 617"/>
                <a:gd name="T89" fmla="*/ 2147483647 h 471"/>
                <a:gd name="T90" fmla="*/ 2147483647 w 617"/>
                <a:gd name="T91" fmla="*/ 2147483647 h 471"/>
                <a:gd name="T92" fmla="*/ 2147483647 w 617"/>
                <a:gd name="T93" fmla="*/ 2147483647 h 471"/>
                <a:gd name="T94" fmla="*/ 2147483647 w 617"/>
                <a:gd name="T95" fmla="*/ 2147483647 h 471"/>
                <a:gd name="T96" fmla="*/ 2147483647 w 617"/>
                <a:gd name="T97" fmla="*/ 2147483647 h 471"/>
                <a:gd name="T98" fmla="*/ 2147483647 w 617"/>
                <a:gd name="T99" fmla="*/ 2147483647 h 471"/>
                <a:gd name="T100" fmla="*/ 2147483647 w 617"/>
                <a:gd name="T101" fmla="*/ 2147483647 h 4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471"/>
                <a:gd name="T155" fmla="*/ 617 w 617"/>
                <a:gd name="T156" fmla="*/ 471 h 4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471">
                  <a:moveTo>
                    <a:pt x="32" y="151"/>
                  </a:moveTo>
                  <a:lnTo>
                    <a:pt x="27" y="192"/>
                  </a:lnTo>
                  <a:lnTo>
                    <a:pt x="17" y="208"/>
                  </a:lnTo>
                  <a:lnTo>
                    <a:pt x="17" y="220"/>
                  </a:lnTo>
                  <a:lnTo>
                    <a:pt x="0" y="228"/>
                  </a:lnTo>
                  <a:lnTo>
                    <a:pt x="0" y="235"/>
                  </a:lnTo>
                  <a:lnTo>
                    <a:pt x="0" y="251"/>
                  </a:lnTo>
                  <a:lnTo>
                    <a:pt x="11" y="254"/>
                  </a:lnTo>
                  <a:lnTo>
                    <a:pt x="12" y="262"/>
                  </a:lnTo>
                  <a:lnTo>
                    <a:pt x="3" y="290"/>
                  </a:lnTo>
                  <a:lnTo>
                    <a:pt x="10" y="313"/>
                  </a:lnTo>
                  <a:lnTo>
                    <a:pt x="11" y="350"/>
                  </a:lnTo>
                  <a:lnTo>
                    <a:pt x="18" y="358"/>
                  </a:lnTo>
                  <a:lnTo>
                    <a:pt x="39" y="362"/>
                  </a:lnTo>
                  <a:lnTo>
                    <a:pt x="52" y="383"/>
                  </a:lnTo>
                  <a:lnTo>
                    <a:pt x="47" y="407"/>
                  </a:lnTo>
                  <a:lnTo>
                    <a:pt x="28" y="429"/>
                  </a:lnTo>
                  <a:lnTo>
                    <a:pt x="18" y="450"/>
                  </a:lnTo>
                  <a:lnTo>
                    <a:pt x="85" y="471"/>
                  </a:lnTo>
                  <a:lnTo>
                    <a:pt x="129" y="465"/>
                  </a:lnTo>
                  <a:lnTo>
                    <a:pt x="155" y="470"/>
                  </a:lnTo>
                  <a:lnTo>
                    <a:pt x="168" y="461"/>
                  </a:lnTo>
                  <a:lnTo>
                    <a:pt x="197" y="462"/>
                  </a:lnTo>
                  <a:lnTo>
                    <a:pt x="246" y="450"/>
                  </a:lnTo>
                  <a:lnTo>
                    <a:pt x="253" y="445"/>
                  </a:lnTo>
                  <a:lnTo>
                    <a:pt x="250" y="433"/>
                  </a:lnTo>
                  <a:lnTo>
                    <a:pt x="255" y="396"/>
                  </a:lnTo>
                  <a:lnTo>
                    <a:pt x="271" y="377"/>
                  </a:lnTo>
                  <a:lnTo>
                    <a:pt x="312" y="375"/>
                  </a:lnTo>
                  <a:lnTo>
                    <a:pt x="314" y="371"/>
                  </a:lnTo>
                  <a:lnTo>
                    <a:pt x="307" y="367"/>
                  </a:lnTo>
                  <a:lnTo>
                    <a:pt x="328" y="351"/>
                  </a:lnTo>
                  <a:lnTo>
                    <a:pt x="346" y="355"/>
                  </a:lnTo>
                  <a:lnTo>
                    <a:pt x="343" y="351"/>
                  </a:lnTo>
                  <a:lnTo>
                    <a:pt x="348" y="349"/>
                  </a:lnTo>
                  <a:lnTo>
                    <a:pt x="362" y="361"/>
                  </a:lnTo>
                  <a:lnTo>
                    <a:pt x="379" y="344"/>
                  </a:lnTo>
                  <a:lnTo>
                    <a:pt x="376" y="320"/>
                  </a:lnTo>
                  <a:lnTo>
                    <a:pt x="384" y="309"/>
                  </a:lnTo>
                  <a:lnTo>
                    <a:pt x="390" y="284"/>
                  </a:lnTo>
                  <a:lnTo>
                    <a:pt x="406" y="283"/>
                  </a:lnTo>
                  <a:lnTo>
                    <a:pt x="423" y="270"/>
                  </a:lnTo>
                  <a:lnTo>
                    <a:pt x="416" y="252"/>
                  </a:lnTo>
                  <a:lnTo>
                    <a:pt x="407" y="244"/>
                  </a:lnTo>
                  <a:lnTo>
                    <a:pt x="408" y="237"/>
                  </a:lnTo>
                  <a:lnTo>
                    <a:pt x="438" y="240"/>
                  </a:lnTo>
                  <a:lnTo>
                    <a:pt x="452" y="236"/>
                  </a:lnTo>
                  <a:lnTo>
                    <a:pt x="460" y="219"/>
                  </a:lnTo>
                  <a:lnTo>
                    <a:pt x="453" y="211"/>
                  </a:lnTo>
                  <a:lnTo>
                    <a:pt x="479" y="179"/>
                  </a:lnTo>
                  <a:lnTo>
                    <a:pt x="480" y="162"/>
                  </a:lnTo>
                  <a:lnTo>
                    <a:pt x="474" y="143"/>
                  </a:lnTo>
                  <a:lnTo>
                    <a:pt x="462" y="131"/>
                  </a:lnTo>
                  <a:lnTo>
                    <a:pt x="465" y="124"/>
                  </a:lnTo>
                  <a:lnTo>
                    <a:pt x="480" y="109"/>
                  </a:lnTo>
                  <a:lnTo>
                    <a:pt x="490" y="110"/>
                  </a:lnTo>
                  <a:lnTo>
                    <a:pt x="502" y="98"/>
                  </a:lnTo>
                  <a:lnTo>
                    <a:pt x="523" y="90"/>
                  </a:lnTo>
                  <a:lnTo>
                    <a:pt x="570" y="86"/>
                  </a:lnTo>
                  <a:lnTo>
                    <a:pt x="590" y="89"/>
                  </a:lnTo>
                  <a:lnTo>
                    <a:pt x="609" y="79"/>
                  </a:lnTo>
                  <a:lnTo>
                    <a:pt x="602" y="72"/>
                  </a:lnTo>
                  <a:lnTo>
                    <a:pt x="614" y="66"/>
                  </a:lnTo>
                  <a:lnTo>
                    <a:pt x="617" y="61"/>
                  </a:lnTo>
                  <a:lnTo>
                    <a:pt x="602" y="58"/>
                  </a:lnTo>
                  <a:lnTo>
                    <a:pt x="575" y="68"/>
                  </a:lnTo>
                  <a:lnTo>
                    <a:pt x="572" y="57"/>
                  </a:lnTo>
                  <a:lnTo>
                    <a:pt x="559" y="55"/>
                  </a:lnTo>
                  <a:lnTo>
                    <a:pt x="526" y="78"/>
                  </a:lnTo>
                  <a:lnTo>
                    <a:pt x="481" y="98"/>
                  </a:lnTo>
                  <a:lnTo>
                    <a:pt x="469" y="72"/>
                  </a:lnTo>
                  <a:lnTo>
                    <a:pt x="475" y="32"/>
                  </a:lnTo>
                  <a:lnTo>
                    <a:pt x="464" y="28"/>
                  </a:lnTo>
                  <a:lnTo>
                    <a:pt x="466" y="11"/>
                  </a:lnTo>
                  <a:lnTo>
                    <a:pt x="449" y="0"/>
                  </a:lnTo>
                  <a:lnTo>
                    <a:pt x="439" y="2"/>
                  </a:lnTo>
                  <a:lnTo>
                    <a:pt x="417" y="32"/>
                  </a:lnTo>
                  <a:lnTo>
                    <a:pt x="421" y="41"/>
                  </a:lnTo>
                  <a:lnTo>
                    <a:pt x="415" y="50"/>
                  </a:lnTo>
                  <a:lnTo>
                    <a:pt x="389" y="47"/>
                  </a:lnTo>
                  <a:lnTo>
                    <a:pt x="382" y="56"/>
                  </a:lnTo>
                  <a:lnTo>
                    <a:pt x="384" y="68"/>
                  </a:lnTo>
                  <a:lnTo>
                    <a:pt x="381" y="72"/>
                  </a:lnTo>
                  <a:lnTo>
                    <a:pt x="363" y="63"/>
                  </a:lnTo>
                  <a:lnTo>
                    <a:pt x="325" y="80"/>
                  </a:lnTo>
                  <a:lnTo>
                    <a:pt x="311" y="65"/>
                  </a:lnTo>
                  <a:lnTo>
                    <a:pt x="258" y="59"/>
                  </a:lnTo>
                  <a:lnTo>
                    <a:pt x="248" y="60"/>
                  </a:lnTo>
                  <a:lnTo>
                    <a:pt x="225" y="51"/>
                  </a:lnTo>
                  <a:lnTo>
                    <a:pt x="219" y="54"/>
                  </a:lnTo>
                  <a:lnTo>
                    <a:pt x="216" y="65"/>
                  </a:lnTo>
                  <a:lnTo>
                    <a:pt x="192" y="65"/>
                  </a:lnTo>
                  <a:lnTo>
                    <a:pt x="184" y="75"/>
                  </a:lnTo>
                  <a:lnTo>
                    <a:pt x="175" y="115"/>
                  </a:lnTo>
                  <a:lnTo>
                    <a:pt x="140" y="135"/>
                  </a:lnTo>
                  <a:lnTo>
                    <a:pt x="115" y="140"/>
                  </a:lnTo>
                  <a:lnTo>
                    <a:pt x="120" y="148"/>
                  </a:lnTo>
                  <a:lnTo>
                    <a:pt x="113" y="163"/>
                  </a:lnTo>
                  <a:lnTo>
                    <a:pt x="97" y="173"/>
                  </a:lnTo>
                  <a:lnTo>
                    <a:pt x="78" y="174"/>
                  </a:lnTo>
                  <a:lnTo>
                    <a:pt x="64" y="162"/>
                  </a:lnTo>
                  <a:lnTo>
                    <a:pt x="45" y="162"/>
                  </a:lnTo>
                  <a:lnTo>
                    <a:pt x="32" y="151"/>
                  </a:lnTo>
                  <a:close/>
                </a:path>
              </a:pathLst>
            </a:custGeom>
            <a:grpFill/>
            <a:ln w="6350">
              <a:solidFill>
                <a:schemeClr val="tx2"/>
              </a:solidFill>
              <a:round/>
              <a:headEnd/>
              <a:tailEnd/>
            </a:ln>
          </p:spPr>
          <p:txBody>
            <a:bodyPr/>
            <a:lstStyle/>
            <a:p>
              <a:endParaRPr lang="en-US"/>
            </a:p>
          </p:txBody>
        </p:sp>
        <p:sp>
          <p:nvSpPr>
            <p:cNvPr id="651" name="Freeform 1423"/>
            <p:cNvSpPr>
              <a:spLocks/>
            </p:cNvSpPr>
            <p:nvPr/>
          </p:nvSpPr>
          <p:spPr bwMode="auto">
            <a:xfrm>
              <a:off x="6058065" y="3422808"/>
              <a:ext cx="160814" cy="122885"/>
            </a:xfrm>
            <a:custGeom>
              <a:avLst/>
              <a:gdLst>
                <a:gd name="T0" fmla="*/ 2147483647 w 330"/>
                <a:gd name="T1" fmla="*/ 2147483647 h 247"/>
                <a:gd name="T2" fmla="*/ 2147483647 w 330"/>
                <a:gd name="T3" fmla="*/ 2147483647 h 247"/>
                <a:gd name="T4" fmla="*/ 2147483647 w 330"/>
                <a:gd name="T5" fmla="*/ 2147483647 h 247"/>
                <a:gd name="T6" fmla="*/ 2147483647 w 330"/>
                <a:gd name="T7" fmla="*/ 2147483647 h 247"/>
                <a:gd name="T8" fmla="*/ 2147483647 w 330"/>
                <a:gd name="T9" fmla="*/ 2147483647 h 247"/>
                <a:gd name="T10" fmla="*/ 2147483647 w 330"/>
                <a:gd name="T11" fmla="*/ 2147483647 h 247"/>
                <a:gd name="T12" fmla="*/ 2147483647 w 330"/>
                <a:gd name="T13" fmla="*/ 2147483647 h 247"/>
                <a:gd name="T14" fmla="*/ 2147483647 w 330"/>
                <a:gd name="T15" fmla="*/ 2147483647 h 247"/>
                <a:gd name="T16" fmla="*/ 2147483647 w 330"/>
                <a:gd name="T17" fmla="*/ 2147483647 h 247"/>
                <a:gd name="T18" fmla="*/ 2147483647 w 330"/>
                <a:gd name="T19" fmla="*/ 2147483647 h 247"/>
                <a:gd name="T20" fmla="*/ 2147483647 w 330"/>
                <a:gd name="T21" fmla="*/ 2147483647 h 247"/>
                <a:gd name="T22" fmla="*/ 2147483647 w 330"/>
                <a:gd name="T23" fmla="*/ 2147483647 h 247"/>
                <a:gd name="T24" fmla="*/ 2147483647 w 330"/>
                <a:gd name="T25" fmla="*/ 2147483647 h 247"/>
                <a:gd name="T26" fmla="*/ 2147483647 w 330"/>
                <a:gd name="T27" fmla="*/ 2147483647 h 247"/>
                <a:gd name="T28" fmla="*/ 2147483647 w 330"/>
                <a:gd name="T29" fmla="*/ 2147483647 h 247"/>
                <a:gd name="T30" fmla="*/ 2147483647 w 330"/>
                <a:gd name="T31" fmla="*/ 2147483647 h 247"/>
                <a:gd name="T32" fmla="*/ 2147483647 w 330"/>
                <a:gd name="T33" fmla="*/ 2147483647 h 247"/>
                <a:gd name="T34" fmla="*/ 2147483647 w 330"/>
                <a:gd name="T35" fmla="*/ 2147483647 h 247"/>
                <a:gd name="T36" fmla="*/ 2147483647 w 330"/>
                <a:gd name="T37" fmla="*/ 2147483647 h 247"/>
                <a:gd name="T38" fmla="*/ 2147483647 w 330"/>
                <a:gd name="T39" fmla="*/ 2147483647 h 247"/>
                <a:gd name="T40" fmla="*/ 2147483647 w 330"/>
                <a:gd name="T41" fmla="*/ 2147483647 h 247"/>
                <a:gd name="T42" fmla="*/ 2147483647 w 330"/>
                <a:gd name="T43" fmla="*/ 2147483647 h 247"/>
                <a:gd name="T44" fmla="*/ 2147483647 w 330"/>
                <a:gd name="T45" fmla="*/ 2147483647 h 247"/>
                <a:gd name="T46" fmla="*/ 2147483647 w 330"/>
                <a:gd name="T47" fmla="*/ 2147483647 h 247"/>
                <a:gd name="T48" fmla="*/ 2147483647 w 330"/>
                <a:gd name="T49" fmla="*/ 0 h 247"/>
                <a:gd name="T50" fmla="*/ 2147483647 w 330"/>
                <a:gd name="T51" fmla="*/ 2147483647 h 247"/>
                <a:gd name="T52" fmla="*/ 2147483647 w 330"/>
                <a:gd name="T53" fmla="*/ 2147483647 h 247"/>
                <a:gd name="T54" fmla="*/ 2147483647 w 330"/>
                <a:gd name="T55" fmla="*/ 2147483647 h 247"/>
                <a:gd name="T56" fmla="*/ 2147483647 w 330"/>
                <a:gd name="T57" fmla="*/ 2147483647 h 247"/>
                <a:gd name="T58" fmla="*/ 2147483647 w 330"/>
                <a:gd name="T59" fmla="*/ 2147483647 h 247"/>
                <a:gd name="T60" fmla="*/ 2147483647 w 330"/>
                <a:gd name="T61" fmla="*/ 2147483647 h 247"/>
                <a:gd name="T62" fmla="*/ 2147483647 w 330"/>
                <a:gd name="T63" fmla="*/ 2147483647 h 247"/>
                <a:gd name="T64" fmla="*/ 2147483647 w 330"/>
                <a:gd name="T65" fmla="*/ 2147483647 h 247"/>
                <a:gd name="T66" fmla="*/ 2147483647 w 330"/>
                <a:gd name="T67" fmla="*/ 2147483647 h 247"/>
                <a:gd name="T68" fmla="*/ 2147483647 w 330"/>
                <a:gd name="T69" fmla="*/ 2147483647 h 247"/>
                <a:gd name="T70" fmla="*/ 2147483647 w 330"/>
                <a:gd name="T71" fmla="*/ 2147483647 h 2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0"/>
                <a:gd name="T109" fmla="*/ 0 h 247"/>
                <a:gd name="T110" fmla="*/ 330 w 330"/>
                <a:gd name="T111" fmla="*/ 247 h 2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0" h="247">
                  <a:moveTo>
                    <a:pt x="280" y="86"/>
                  </a:moveTo>
                  <a:lnTo>
                    <a:pt x="274" y="129"/>
                  </a:lnTo>
                  <a:lnTo>
                    <a:pt x="278" y="144"/>
                  </a:lnTo>
                  <a:lnTo>
                    <a:pt x="286" y="149"/>
                  </a:lnTo>
                  <a:lnTo>
                    <a:pt x="315" y="145"/>
                  </a:lnTo>
                  <a:lnTo>
                    <a:pt x="322" y="154"/>
                  </a:lnTo>
                  <a:lnTo>
                    <a:pt x="322" y="170"/>
                  </a:lnTo>
                  <a:lnTo>
                    <a:pt x="330" y="189"/>
                  </a:lnTo>
                  <a:lnTo>
                    <a:pt x="330" y="216"/>
                  </a:lnTo>
                  <a:lnTo>
                    <a:pt x="320" y="215"/>
                  </a:lnTo>
                  <a:lnTo>
                    <a:pt x="323" y="210"/>
                  </a:lnTo>
                  <a:lnTo>
                    <a:pt x="308" y="207"/>
                  </a:lnTo>
                  <a:lnTo>
                    <a:pt x="281" y="217"/>
                  </a:lnTo>
                  <a:lnTo>
                    <a:pt x="278" y="206"/>
                  </a:lnTo>
                  <a:lnTo>
                    <a:pt x="265" y="204"/>
                  </a:lnTo>
                  <a:lnTo>
                    <a:pt x="232" y="227"/>
                  </a:lnTo>
                  <a:lnTo>
                    <a:pt x="187" y="247"/>
                  </a:lnTo>
                  <a:lnTo>
                    <a:pt x="175" y="221"/>
                  </a:lnTo>
                  <a:lnTo>
                    <a:pt x="181" y="181"/>
                  </a:lnTo>
                  <a:lnTo>
                    <a:pt x="170" y="177"/>
                  </a:lnTo>
                  <a:lnTo>
                    <a:pt x="172" y="160"/>
                  </a:lnTo>
                  <a:lnTo>
                    <a:pt x="155" y="149"/>
                  </a:lnTo>
                  <a:lnTo>
                    <a:pt x="145" y="151"/>
                  </a:lnTo>
                  <a:lnTo>
                    <a:pt x="123" y="181"/>
                  </a:lnTo>
                  <a:lnTo>
                    <a:pt x="127" y="190"/>
                  </a:lnTo>
                  <a:lnTo>
                    <a:pt x="121" y="199"/>
                  </a:lnTo>
                  <a:lnTo>
                    <a:pt x="95" y="196"/>
                  </a:lnTo>
                  <a:lnTo>
                    <a:pt x="88" y="205"/>
                  </a:lnTo>
                  <a:lnTo>
                    <a:pt x="90" y="217"/>
                  </a:lnTo>
                  <a:lnTo>
                    <a:pt x="87" y="221"/>
                  </a:lnTo>
                  <a:lnTo>
                    <a:pt x="69" y="212"/>
                  </a:lnTo>
                  <a:lnTo>
                    <a:pt x="31" y="229"/>
                  </a:lnTo>
                  <a:lnTo>
                    <a:pt x="17" y="214"/>
                  </a:lnTo>
                  <a:lnTo>
                    <a:pt x="19" y="210"/>
                  </a:lnTo>
                  <a:lnTo>
                    <a:pt x="18" y="199"/>
                  </a:lnTo>
                  <a:lnTo>
                    <a:pt x="23" y="189"/>
                  </a:lnTo>
                  <a:lnTo>
                    <a:pt x="43" y="163"/>
                  </a:lnTo>
                  <a:lnTo>
                    <a:pt x="29" y="135"/>
                  </a:lnTo>
                  <a:lnTo>
                    <a:pt x="32" y="117"/>
                  </a:lnTo>
                  <a:lnTo>
                    <a:pt x="14" y="114"/>
                  </a:lnTo>
                  <a:lnTo>
                    <a:pt x="0" y="99"/>
                  </a:lnTo>
                  <a:lnTo>
                    <a:pt x="6" y="96"/>
                  </a:lnTo>
                  <a:lnTo>
                    <a:pt x="9" y="83"/>
                  </a:lnTo>
                  <a:lnTo>
                    <a:pt x="50" y="82"/>
                  </a:lnTo>
                  <a:lnTo>
                    <a:pt x="59" y="59"/>
                  </a:lnTo>
                  <a:lnTo>
                    <a:pt x="82" y="49"/>
                  </a:lnTo>
                  <a:lnTo>
                    <a:pt x="81" y="32"/>
                  </a:lnTo>
                  <a:lnTo>
                    <a:pt x="87" y="21"/>
                  </a:lnTo>
                  <a:lnTo>
                    <a:pt x="103" y="21"/>
                  </a:lnTo>
                  <a:lnTo>
                    <a:pt x="134" y="0"/>
                  </a:lnTo>
                  <a:lnTo>
                    <a:pt x="140" y="0"/>
                  </a:lnTo>
                  <a:lnTo>
                    <a:pt x="146" y="17"/>
                  </a:lnTo>
                  <a:lnTo>
                    <a:pt x="131" y="31"/>
                  </a:lnTo>
                  <a:lnTo>
                    <a:pt x="136" y="42"/>
                  </a:lnTo>
                  <a:lnTo>
                    <a:pt x="139" y="48"/>
                  </a:lnTo>
                  <a:lnTo>
                    <a:pt x="154" y="44"/>
                  </a:lnTo>
                  <a:lnTo>
                    <a:pt x="136" y="62"/>
                  </a:lnTo>
                  <a:lnTo>
                    <a:pt x="118" y="54"/>
                  </a:lnTo>
                  <a:lnTo>
                    <a:pt x="99" y="54"/>
                  </a:lnTo>
                  <a:lnTo>
                    <a:pt x="82" y="62"/>
                  </a:lnTo>
                  <a:lnTo>
                    <a:pt x="82" y="80"/>
                  </a:lnTo>
                  <a:lnTo>
                    <a:pt x="86" y="85"/>
                  </a:lnTo>
                  <a:lnTo>
                    <a:pt x="136" y="83"/>
                  </a:lnTo>
                  <a:lnTo>
                    <a:pt x="152" y="91"/>
                  </a:lnTo>
                  <a:lnTo>
                    <a:pt x="175" y="84"/>
                  </a:lnTo>
                  <a:lnTo>
                    <a:pt x="187" y="88"/>
                  </a:lnTo>
                  <a:lnTo>
                    <a:pt x="191" y="101"/>
                  </a:lnTo>
                  <a:lnTo>
                    <a:pt x="210" y="102"/>
                  </a:lnTo>
                  <a:lnTo>
                    <a:pt x="235" y="95"/>
                  </a:lnTo>
                  <a:lnTo>
                    <a:pt x="263" y="96"/>
                  </a:lnTo>
                  <a:lnTo>
                    <a:pt x="265" y="83"/>
                  </a:lnTo>
                  <a:lnTo>
                    <a:pt x="280" y="86"/>
                  </a:lnTo>
                  <a:close/>
                </a:path>
              </a:pathLst>
            </a:custGeom>
            <a:grpFill/>
            <a:ln w="6350">
              <a:solidFill>
                <a:schemeClr val="tx2"/>
              </a:solidFill>
              <a:round/>
              <a:headEnd/>
              <a:tailEnd/>
            </a:ln>
          </p:spPr>
          <p:txBody>
            <a:bodyPr/>
            <a:lstStyle/>
            <a:p>
              <a:endParaRPr lang="en-US"/>
            </a:p>
          </p:txBody>
        </p:sp>
        <p:sp>
          <p:nvSpPr>
            <p:cNvPr id="652" name="Freeform 1424"/>
            <p:cNvSpPr>
              <a:spLocks/>
            </p:cNvSpPr>
            <p:nvPr/>
          </p:nvSpPr>
          <p:spPr bwMode="auto">
            <a:xfrm>
              <a:off x="5739471" y="3374260"/>
              <a:ext cx="300389" cy="210878"/>
            </a:xfrm>
            <a:custGeom>
              <a:avLst/>
              <a:gdLst>
                <a:gd name="T0" fmla="*/ 2147483647 w 609"/>
                <a:gd name="T1" fmla="*/ 2147483647 h 422"/>
                <a:gd name="T2" fmla="*/ 2147483647 w 609"/>
                <a:gd name="T3" fmla="*/ 2147483647 h 422"/>
                <a:gd name="T4" fmla="*/ 2147483647 w 609"/>
                <a:gd name="T5" fmla="*/ 2147483647 h 422"/>
                <a:gd name="T6" fmla="*/ 2147483647 w 609"/>
                <a:gd name="T7" fmla="*/ 2147483647 h 422"/>
                <a:gd name="T8" fmla="*/ 2147483647 w 609"/>
                <a:gd name="T9" fmla="*/ 2147483647 h 422"/>
                <a:gd name="T10" fmla="*/ 2147483647 w 609"/>
                <a:gd name="T11" fmla="*/ 2147483647 h 422"/>
                <a:gd name="T12" fmla="*/ 2147483647 w 609"/>
                <a:gd name="T13" fmla="*/ 2147483647 h 422"/>
                <a:gd name="T14" fmla="*/ 2147483647 w 609"/>
                <a:gd name="T15" fmla="*/ 2147483647 h 422"/>
                <a:gd name="T16" fmla="*/ 2147483647 w 609"/>
                <a:gd name="T17" fmla="*/ 2147483647 h 422"/>
                <a:gd name="T18" fmla="*/ 2147483647 w 609"/>
                <a:gd name="T19" fmla="*/ 2147483647 h 422"/>
                <a:gd name="T20" fmla="*/ 2147483647 w 609"/>
                <a:gd name="T21" fmla="*/ 2147483647 h 422"/>
                <a:gd name="T22" fmla="*/ 2147483647 w 609"/>
                <a:gd name="T23" fmla="*/ 2147483647 h 422"/>
                <a:gd name="T24" fmla="*/ 2147483647 w 609"/>
                <a:gd name="T25" fmla="*/ 2147483647 h 422"/>
                <a:gd name="T26" fmla="*/ 2147483647 w 609"/>
                <a:gd name="T27" fmla="*/ 2147483647 h 422"/>
                <a:gd name="T28" fmla="*/ 2147483647 w 609"/>
                <a:gd name="T29" fmla="*/ 2147483647 h 422"/>
                <a:gd name="T30" fmla="*/ 2147483647 w 609"/>
                <a:gd name="T31" fmla="*/ 2147483647 h 422"/>
                <a:gd name="T32" fmla="*/ 2147483647 w 609"/>
                <a:gd name="T33" fmla="*/ 2147483647 h 422"/>
                <a:gd name="T34" fmla="*/ 2147483647 w 609"/>
                <a:gd name="T35" fmla="*/ 2147483647 h 422"/>
                <a:gd name="T36" fmla="*/ 2147483647 w 609"/>
                <a:gd name="T37" fmla="*/ 2147483647 h 422"/>
                <a:gd name="T38" fmla="*/ 2147483647 w 609"/>
                <a:gd name="T39" fmla="*/ 2147483647 h 422"/>
                <a:gd name="T40" fmla="*/ 2147483647 w 609"/>
                <a:gd name="T41" fmla="*/ 2147483647 h 422"/>
                <a:gd name="T42" fmla="*/ 2147483647 w 609"/>
                <a:gd name="T43" fmla="*/ 2147483647 h 422"/>
                <a:gd name="T44" fmla="*/ 2147483647 w 609"/>
                <a:gd name="T45" fmla="*/ 2147483647 h 422"/>
                <a:gd name="T46" fmla="*/ 2147483647 w 609"/>
                <a:gd name="T47" fmla="*/ 2147483647 h 422"/>
                <a:gd name="T48" fmla="*/ 2147483647 w 609"/>
                <a:gd name="T49" fmla="*/ 2147483647 h 422"/>
                <a:gd name="T50" fmla="*/ 2147483647 w 609"/>
                <a:gd name="T51" fmla="*/ 2147483647 h 422"/>
                <a:gd name="T52" fmla="*/ 2147483647 w 609"/>
                <a:gd name="T53" fmla="*/ 2147483647 h 422"/>
                <a:gd name="T54" fmla="*/ 2147483647 w 609"/>
                <a:gd name="T55" fmla="*/ 2147483647 h 422"/>
                <a:gd name="T56" fmla="*/ 2147483647 w 609"/>
                <a:gd name="T57" fmla="*/ 2147483647 h 422"/>
                <a:gd name="T58" fmla="*/ 2147483647 w 609"/>
                <a:gd name="T59" fmla="*/ 2147483647 h 422"/>
                <a:gd name="T60" fmla="*/ 2147483647 w 609"/>
                <a:gd name="T61" fmla="*/ 2147483647 h 422"/>
                <a:gd name="T62" fmla="*/ 2147483647 w 609"/>
                <a:gd name="T63" fmla="*/ 2147483647 h 422"/>
                <a:gd name="T64" fmla="*/ 2147483647 w 609"/>
                <a:gd name="T65" fmla="*/ 2147483647 h 422"/>
                <a:gd name="T66" fmla="*/ 2147483647 w 609"/>
                <a:gd name="T67" fmla="*/ 2147483647 h 422"/>
                <a:gd name="T68" fmla="*/ 2147483647 w 609"/>
                <a:gd name="T69" fmla="*/ 2147483647 h 422"/>
                <a:gd name="T70" fmla="*/ 2147483647 w 609"/>
                <a:gd name="T71" fmla="*/ 2147483647 h 422"/>
                <a:gd name="T72" fmla="*/ 2147483647 w 609"/>
                <a:gd name="T73" fmla="*/ 2147483647 h 422"/>
                <a:gd name="T74" fmla="*/ 2147483647 w 609"/>
                <a:gd name="T75" fmla="*/ 2147483647 h 422"/>
                <a:gd name="T76" fmla="*/ 2147483647 w 609"/>
                <a:gd name="T77" fmla="*/ 2147483647 h 422"/>
                <a:gd name="T78" fmla="*/ 2147483647 w 609"/>
                <a:gd name="T79" fmla="*/ 2147483647 h 422"/>
                <a:gd name="T80" fmla="*/ 2147483647 w 609"/>
                <a:gd name="T81" fmla="*/ 2147483647 h 422"/>
                <a:gd name="T82" fmla="*/ 2147483647 w 609"/>
                <a:gd name="T83" fmla="*/ 2147483647 h 422"/>
                <a:gd name="T84" fmla="*/ 2147483647 w 609"/>
                <a:gd name="T85" fmla="*/ 2147483647 h 422"/>
                <a:gd name="T86" fmla="*/ 2147483647 w 609"/>
                <a:gd name="T87" fmla="*/ 2147483647 h 422"/>
                <a:gd name="T88" fmla="*/ 2147483647 w 609"/>
                <a:gd name="T89" fmla="*/ 2147483647 h 422"/>
                <a:gd name="T90" fmla="*/ 2147483647 w 609"/>
                <a:gd name="T91" fmla="*/ 2147483647 h 422"/>
                <a:gd name="T92" fmla="*/ 2147483647 w 609"/>
                <a:gd name="T93" fmla="*/ 2147483647 h 422"/>
                <a:gd name="T94" fmla="*/ 2147483647 w 609"/>
                <a:gd name="T95" fmla="*/ 2147483647 h 422"/>
                <a:gd name="T96" fmla="*/ 2147483647 w 609"/>
                <a:gd name="T97" fmla="*/ 2147483647 h 4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9"/>
                <a:gd name="T148" fmla="*/ 0 h 422"/>
                <a:gd name="T149" fmla="*/ 609 w 609"/>
                <a:gd name="T150" fmla="*/ 422 h 4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9" h="422">
                  <a:moveTo>
                    <a:pt x="63" y="301"/>
                  </a:moveTo>
                  <a:lnTo>
                    <a:pt x="88" y="298"/>
                  </a:lnTo>
                  <a:lnTo>
                    <a:pt x="127" y="266"/>
                  </a:lnTo>
                  <a:lnTo>
                    <a:pt x="164" y="266"/>
                  </a:lnTo>
                  <a:lnTo>
                    <a:pt x="170" y="255"/>
                  </a:lnTo>
                  <a:lnTo>
                    <a:pt x="199" y="254"/>
                  </a:lnTo>
                  <a:lnTo>
                    <a:pt x="216" y="273"/>
                  </a:lnTo>
                  <a:lnTo>
                    <a:pt x="257" y="289"/>
                  </a:lnTo>
                  <a:lnTo>
                    <a:pt x="293" y="295"/>
                  </a:lnTo>
                  <a:lnTo>
                    <a:pt x="303" y="315"/>
                  </a:lnTo>
                  <a:lnTo>
                    <a:pt x="355" y="347"/>
                  </a:lnTo>
                  <a:lnTo>
                    <a:pt x="374" y="347"/>
                  </a:lnTo>
                  <a:lnTo>
                    <a:pt x="380" y="388"/>
                  </a:lnTo>
                  <a:lnTo>
                    <a:pt x="378" y="399"/>
                  </a:lnTo>
                  <a:lnTo>
                    <a:pt x="391" y="410"/>
                  </a:lnTo>
                  <a:lnTo>
                    <a:pt x="410" y="410"/>
                  </a:lnTo>
                  <a:lnTo>
                    <a:pt x="424" y="422"/>
                  </a:lnTo>
                  <a:lnTo>
                    <a:pt x="443" y="421"/>
                  </a:lnTo>
                  <a:lnTo>
                    <a:pt x="459" y="411"/>
                  </a:lnTo>
                  <a:lnTo>
                    <a:pt x="466" y="396"/>
                  </a:lnTo>
                  <a:lnTo>
                    <a:pt x="461" y="388"/>
                  </a:lnTo>
                  <a:lnTo>
                    <a:pt x="486" y="383"/>
                  </a:lnTo>
                  <a:lnTo>
                    <a:pt x="521" y="363"/>
                  </a:lnTo>
                  <a:lnTo>
                    <a:pt x="530" y="323"/>
                  </a:lnTo>
                  <a:lnTo>
                    <a:pt x="538" y="313"/>
                  </a:lnTo>
                  <a:lnTo>
                    <a:pt x="562" y="313"/>
                  </a:lnTo>
                  <a:lnTo>
                    <a:pt x="565" y="302"/>
                  </a:lnTo>
                  <a:lnTo>
                    <a:pt x="571" y="299"/>
                  </a:lnTo>
                  <a:lnTo>
                    <a:pt x="594" y="308"/>
                  </a:lnTo>
                  <a:lnTo>
                    <a:pt x="604" y="307"/>
                  </a:lnTo>
                  <a:lnTo>
                    <a:pt x="604" y="284"/>
                  </a:lnTo>
                  <a:lnTo>
                    <a:pt x="609" y="273"/>
                  </a:lnTo>
                  <a:lnTo>
                    <a:pt x="605" y="269"/>
                  </a:lnTo>
                  <a:lnTo>
                    <a:pt x="577" y="253"/>
                  </a:lnTo>
                  <a:lnTo>
                    <a:pt x="559" y="256"/>
                  </a:lnTo>
                  <a:lnTo>
                    <a:pt x="523" y="222"/>
                  </a:lnTo>
                  <a:lnTo>
                    <a:pt x="498" y="214"/>
                  </a:lnTo>
                  <a:lnTo>
                    <a:pt x="476" y="192"/>
                  </a:lnTo>
                  <a:lnTo>
                    <a:pt x="437" y="169"/>
                  </a:lnTo>
                  <a:lnTo>
                    <a:pt x="428" y="151"/>
                  </a:lnTo>
                  <a:lnTo>
                    <a:pt x="426" y="132"/>
                  </a:lnTo>
                  <a:lnTo>
                    <a:pt x="413" y="118"/>
                  </a:lnTo>
                  <a:lnTo>
                    <a:pt x="406" y="95"/>
                  </a:lnTo>
                  <a:lnTo>
                    <a:pt x="392" y="83"/>
                  </a:lnTo>
                  <a:lnTo>
                    <a:pt x="379" y="94"/>
                  </a:lnTo>
                  <a:lnTo>
                    <a:pt x="329" y="82"/>
                  </a:lnTo>
                  <a:lnTo>
                    <a:pt x="326" y="77"/>
                  </a:lnTo>
                  <a:lnTo>
                    <a:pt x="327" y="59"/>
                  </a:lnTo>
                  <a:lnTo>
                    <a:pt x="333" y="56"/>
                  </a:lnTo>
                  <a:lnTo>
                    <a:pt x="323" y="48"/>
                  </a:lnTo>
                  <a:lnTo>
                    <a:pt x="321" y="30"/>
                  </a:lnTo>
                  <a:lnTo>
                    <a:pt x="294" y="27"/>
                  </a:lnTo>
                  <a:lnTo>
                    <a:pt x="263" y="0"/>
                  </a:lnTo>
                  <a:lnTo>
                    <a:pt x="257" y="8"/>
                  </a:lnTo>
                  <a:lnTo>
                    <a:pt x="244" y="10"/>
                  </a:lnTo>
                  <a:lnTo>
                    <a:pt x="256" y="26"/>
                  </a:lnTo>
                  <a:lnTo>
                    <a:pt x="239" y="17"/>
                  </a:lnTo>
                  <a:lnTo>
                    <a:pt x="234" y="20"/>
                  </a:lnTo>
                  <a:lnTo>
                    <a:pt x="231" y="32"/>
                  </a:lnTo>
                  <a:lnTo>
                    <a:pt x="207" y="36"/>
                  </a:lnTo>
                  <a:lnTo>
                    <a:pt x="194" y="51"/>
                  </a:lnTo>
                  <a:lnTo>
                    <a:pt x="191" y="56"/>
                  </a:lnTo>
                  <a:lnTo>
                    <a:pt x="199" y="86"/>
                  </a:lnTo>
                  <a:lnTo>
                    <a:pt x="193" y="89"/>
                  </a:lnTo>
                  <a:lnTo>
                    <a:pt x="151" y="83"/>
                  </a:lnTo>
                  <a:lnTo>
                    <a:pt x="141" y="87"/>
                  </a:lnTo>
                  <a:lnTo>
                    <a:pt x="118" y="81"/>
                  </a:lnTo>
                  <a:lnTo>
                    <a:pt x="94" y="36"/>
                  </a:lnTo>
                  <a:lnTo>
                    <a:pt x="72" y="23"/>
                  </a:lnTo>
                  <a:lnTo>
                    <a:pt x="23" y="36"/>
                  </a:lnTo>
                  <a:lnTo>
                    <a:pt x="0" y="57"/>
                  </a:lnTo>
                  <a:lnTo>
                    <a:pt x="4" y="73"/>
                  </a:lnTo>
                  <a:lnTo>
                    <a:pt x="16" y="94"/>
                  </a:lnTo>
                  <a:lnTo>
                    <a:pt x="12" y="66"/>
                  </a:lnTo>
                  <a:lnTo>
                    <a:pt x="19" y="57"/>
                  </a:lnTo>
                  <a:lnTo>
                    <a:pt x="44" y="45"/>
                  </a:lnTo>
                  <a:lnTo>
                    <a:pt x="55" y="47"/>
                  </a:lnTo>
                  <a:lnTo>
                    <a:pt x="69" y="72"/>
                  </a:lnTo>
                  <a:lnTo>
                    <a:pt x="99" y="100"/>
                  </a:lnTo>
                  <a:lnTo>
                    <a:pt x="89" y="114"/>
                  </a:lnTo>
                  <a:lnTo>
                    <a:pt x="77" y="116"/>
                  </a:lnTo>
                  <a:lnTo>
                    <a:pt x="86" y="123"/>
                  </a:lnTo>
                  <a:lnTo>
                    <a:pt x="79" y="127"/>
                  </a:lnTo>
                  <a:lnTo>
                    <a:pt x="26" y="118"/>
                  </a:lnTo>
                  <a:lnTo>
                    <a:pt x="18" y="101"/>
                  </a:lnTo>
                  <a:lnTo>
                    <a:pt x="19" y="123"/>
                  </a:lnTo>
                  <a:lnTo>
                    <a:pt x="12" y="143"/>
                  </a:lnTo>
                  <a:lnTo>
                    <a:pt x="17" y="167"/>
                  </a:lnTo>
                  <a:lnTo>
                    <a:pt x="40" y="158"/>
                  </a:lnTo>
                  <a:lnTo>
                    <a:pt x="56" y="163"/>
                  </a:lnTo>
                  <a:lnTo>
                    <a:pt x="62" y="172"/>
                  </a:lnTo>
                  <a:lnTo>
                    <a:pt x="48" y="165"/>
                  </a:lnTo>
                  <a:lnTo>
                    <a:pt x="40" y="173"/>
                  </a:lnTo>
                  <a:lnTo>
                    <a:pt x="61" y="184"/>
                  </a:lnTo>
                  <a:lnTo>
                    <a:pt x="39" y="198"/>
                  </a:lnTo>
                  <a:lnTo>
                    <a:pt x="68" y="217"/>
                  </a:lnTo>
                  <a:lnTo>
                    <a:pt x="57" y="246"/>
                  </a:lnTo>
                  <a:lnTo>
                    <a:pt x="63" y="301"/>
                  </a:lnTo>
                  <a:close/>
                </a:path>
              </a:pathLst>
            </a:custGeom>
            <a:grpFill/>
            <a:ln w="6350">
              <a:solidFill>
                <a:schemeClr val="tx2"/>
              </a:solidFill>
              <a:round/>
              <a:headEnd/>
              <a:tailEnd/>
            </a:ln>
          </p:spPr>
          <p:txBody>
            <a:bodyPr/>
            <a:lstStyle/>
            <a:p>
              <a:endParaRPr lang="en-US"/>
            </a:p>
          </p:txBody>
        </p:sp>
        <p:sp>
          <p:nvSpPr>
            <p:cNvPr id="653" name="Freeform 1425"/>
            <p:cNvSpPr>
              <a:spLocks/>
            </p:cNvSpPr>
            <p:nvPr/>
          </p:nvSpPr>
          <p:spPr bwMode="auto">
            <a:xfrm>
              <a:off x="5918490" y="3536590"/>
              <a:ext cx="359556" cy="329214"/>
            </a:xfrm>
            <a:custGeom>
              <a:avLst/>
              <a:gdLst>
                <a:gd name="T0" fmla="*/ 2147483647 w 723"/>
                <a:gd name="T1" fmla="*/ 2147483647 h 663"/>
                <a:gd name="T2" fmla="*/ 2147483647 w 723"/>
                <a:gd name="T3" fmla="*/ 2147483647 h 663"/>
                <a:gd name="T4" fmla="*/ 2147483647 w 723"/>
                <a:gd name="T5" fmla="*/ 2147483647 h 663"/>
                <a:gd name="T6" fmla="*/ 2147483647 w 723"/>
                <a:gd name="T7" fmla="*/ 2147483647 h 663"/>
                <a:gd name="T8" fmla="*/ 2147483647 w 723"/>
                <a:gd name="T9" fmla="*/ 2147483647 h 663"/>
                <a:gd name="T10" fmla="*/ 2147483647 w 723"/>
                <a:gd name="T11" fmla="*/ 2147483647 h 663"/>
                <a:gd name="T12" fmla="*/ 2147483647 w 723"/>
                <a:gd name="T13" fmla="*/ 2147483647 h 663"/>
                <a:gd name="T14" fmla="*/ 2147483647 w 723"/>
                <a:gd name="T15" fmla="*/ 2147483647 h 663"/>
                <a:gd name="T16" fmla="*/ 2147483647 w 723"/>
                <a:gd name="T17" fmla="*/ 2147483647 h 663"/>
                <a:gd name="T18" fmla="*/ 2147483647 w 723"/>
                <a:gd name="T19" fmla="*/ 2147483647 h 663"/>
                <a:gd name="T20" fmla="*/ 2147483647 w 723"/>
                <a:gd name="T21" fmla="*/ 2147483647 h 663"/>
                <a:gd name="T22" fmla="*/ 2147483647 w 723"/>
                <a:gd name="T23" fmla="*/ 2147483647 h 663"/>
                <a:gd name="T24" fmla="*/ 2147483647 w 723"/>
                <a:gd name="T25" fmla="*/ 2147483647 h 663"/>
                <a:gd name="T26" fmla="*/ 2147483647 w 723"/>
                <a:gd name="T27" fmla="*/ 2147483647 h 663"/>
                <a:gd name="T28" fmla="*/ 2147483647 w 723"/>
                <a:gd name="T29" fmla="*/ 2147483647 h 663"/>
                <a:gd name="T30" fmla="*/ 2147483647 w 723"/>
                <a:gd name="T31" fmla="*/ 2147483647 h 663"/>
                <a:gd name="T32" fmla="*/ 2147483647 w 723"/>
                <a:gd name="T33" fmla="*/ 2147483647 h 663"/>
                <a:gd name="T34" fmla="*/ 2147483647 w 723"/>
                <a:gd name="T35" fmla="*/ 2147483647 h 663"/>
                <a:gd name="T36" fmla="*/ 2147483647 w 723"/>
                <a:gd name="T37" fmla="*/ 2147483647 h 663"/>
                <a:gd name="T38" fmla="*/ 2147483647 w 723"/>
                <a:gd name="T39" fmla="*/ 2147483647 h 663"/>
                <a:gd name="T40" fmla="*/ 2147483647 w 723"/>
                <a:gd name="T41" fmla="*/ 2147483647 h 663"/>
                <a:gd name="T42" fmla="*/ 2147483647 w 723"/>
                <a:gd name="T43" fmla="*/ 2147483647 h 663"/>
                <a:gd name="T44" fmla="*/ 2147483647 w 723"/>
                <a:gd name="T45" fmla="*/ 2147483647 h 663"/>
                <a:gd name="T46" fmla="*/ 2147483647 w 723"/>
                <a:gd name="T47" fmla="*/ 2147483647 h 663"/>
                <a:gd name="T48" fmla="*/ 2147483647 w 723"/>
                <a:gd name="T49" fmla="*/ 2147483647 h 663"/>
                <a:gd name="T50" fmla="*/ 2147483647 w 723"/>
                <a:gd name="T51" fmla="*/ 2147483647 h 663"/>
                <a:gd name="T52" fmla="*/ 2147483647 w 723"/>
                <a:gd name="T53" fmla="*/ 2147483647 h 663"/>
                <a:gd name="T54" fmla="*/ 2147483647 w 723"/>
                <a:gd name="T55" fmla="*/ 2147483647 h 663"/>
                <a:gd name="T56" fmla="*/ 2147483647 w 723"/>
                <a:gd name="T57" fmla="*/ 2147483647 h 663"/>
                <a:gd name="T58" fmla="*/ 2147483647 w 723"/>
                <a:gd name="T59" fmla="*/ 2147483647 h 663"/>
                <a:gd name="T60" fmla="*/ 2147483647 w 723"/>
                <a:gd name="T61" fmla="*/ 2147483647 h 663"/>
                <a:gd name="T62" fmla="*/ 2147483647 w 723"/>
                <a:gd name="T63" fmla="*/ 2147483647 h 663"/>
                <a:gd name="T64" fmla="*/ 2147483647 w 723"/>
                <a:gd name="T65" fmla="*/ 2147483647 h 663"/>
                <a:gd name="T66" fmla="*/ 2147483647 w 723"/>
                <a:gd name="T67" fmla="*/ 2147483647 h 663"/>
                <a:gd name="T68" fmla="*/ 2147483647 w 723"/>
                <a:gd name="T69" fmla="*/ 2147483647 h 663"/>
                <a:gd name="T70" fmla="*/ 2147483647 w 723"/>
                <a:gd name="T71" fmla="*/ 2147483647 h 663"/>
                <a:gd name="T72" fmla="*/ 2147483647 w 723"/>
                <a:gd name="T73" fmla="*/ 2147483647 h 663"/>
                <a:gd name="T74" fmla="*/ 2147483647 w 723"/>
                <a:gd name="T75" fmla="*/ 2147483647 h 663"/>
                <a:gd name="T76" fmla="*/ 2147483647 w 723"/>
                <a:gd name="T77" fmla="*/ 2147483647 h 663"/>
                <a:gd name="T78" fmla="*/ 2147483647 w 723"/>
                <a:gd name="T79" fmla="*/ 2147483647 h 663"/>
                <a:gd name="T80" fmla="*/ 2147483647 w 723"/>
                <a:gd name="T81" fmla="*/ 2147483647 h 663"/>
                <a:gd name="T82" fmla="*/ 2147483647 w 723"/>
                <a:gd name="T83" fmla="*/ 2147483647 h 663"/>
                <a:gd name="T84" fmla="*/ 2147483647 w 723"/>
                <a:gd name="T85" fmla="*/ 2147483647 h 663"/>
                <a:gd name="T86" fmla="*/ 2147483647 w 723"/>
                <a:gd name="T87" fmla="*/ 2147483647 h 663"/>
                <a:gd name="T88" fmla="*/ 2147483647 w 723"/>
                <a:gd name="T89" fmla="*/ 2147483647 h 663"/>
                <a:gd name="T90" fmla="*/ 2147483647 w 723"/>
                <a:gd name="T91" fmla="*/ 2147483647 h 663"/>
                <a:gd name="T92" fmla="*/ 2147483647 w 723"/>
                <a:gd name="T93" fmla="*/ 2147483647 h 663"/>
                <a:gd name="T94" fmla="*/ 2147483647 w 723"/>
                <a:gd name="T95" fmla="*/ 2147483647 h 66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3"/>
                <a:gd name="T145" fmla="*/ 0 h 663"/>
                <a:gd name="T146" fmla="*/ 723 w 723"/>
                <a:gd name="T147" fmla="*/ 663 h 66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3" h="663">
                  <a:moveTo>
                    <a:pt x="2" y="371"/>
                  </a:moveTo>
                  <a:lnTo>
                    <a:pt x="69" y="392"/>
                  </a:lnTo>
                  <a:lnTo>
                    <a:pt x="113" y="386"/>
                  </a:lnTo>
                  <a:lnTo>
                    <a:pt x="139" y="391"/>
                  </a:lnTo>
                  <a:lnTo>
                    <a:pt x="152" y="382"/>
                  </a:lnTo>
                  <a:lnTo>
                    <a:pt x="181" y="383"/>
                  </a:lnTo>
                  <a:lnTo>
                    <a:pt x="230" y="371"/>
                  </a:lnTo>
                  <a:lnTo>
                    <a:pt x="237" y="366"/>
                  </a:lnTo>
                  <a:lnTo>
                    <a:pt x="234" y="354"/>
                  </a:lnTo>
                  <a:lnTo>
                    <a:pt x="239" y="317"/>
                  </a:lnTo>
                  <a:lnTo>
                    <a:pt x="255" y="298"/>
                  </a:lnTo>
                  <a:lnTo>
                    <a:pt x="296" y="296"/>
                  </a:lnTo>
                  <a:lnTo>
                    <a:pt x="298" y="292"/>
                  </a:lnTo>
                  <a:lnTo>
                    <a:pt x="291" y="288"/>
                  </a:lnTo>
                  <a:lnTo>
                    <a:pt x="312" y="272"/>
                  </a:lnTo>
                  <a:lnTo>
                    <a:pt x="330" y="276"/>
                  </a:lnTo>
                  <a:lnTo>
                    <a:pt x="327" y="272"/>
                  </a:lnTo>
                  <a:lnTo>
                    <a:pt x="332" y="270"/>
                  </a:lnTo>
                  <a:lnTo>
                    <a:pt x="346" y="282"/>
                  </a:lnTo>
                  <a:lnTo>
                    <a:pt x="363" y="265"/>
                  </a:lnTo>
                  <a:lnTo>
                    <a:pt x="360" y="241"/>
                  </a:lnTo>
                  <a:lnTo>
                    <a:pt x="368" y="230"/>
                  </a:lnTo>
                  <a:lnTo>
                    <a:pt x="374" y="205"/>
                  </a:lnTo>
                  <a:lnTo>
                    <a:pt x="390" y="204"/>
                  </a:lnTo>
                  <a:lnTo>
                    <a:pt x="407" y="191"/>
                  </a:lnTo>
                  <a:lnTo>
                    <a:pt x="400" y="173"/>
                  </a:lnTo>
                  <a:lnTo>
                    <a:pt x="391" y="165"/>
                  </a:lnTo>
                  <a:lnTo>
                    <a:pt x="392" y="158"/>
                  </a:lnTo>
                  <a:lnTo>
                    <a:pt x="422" y="161"/>
                  </a:lnTo>
                  <a:lnTo>
                    <a:pt x="436" y="157"/>
                  </a:lnTo>
                  <a:lnTo>
                    <a:pt x="444" y="140"/>
                  </a:lnTo>
                  <a:lnTo>
                    <a:pt x="437" y="132"/>
                  </a:lnTo>
                  <a:lnTo>
                    <a:pt x="463" y="100"/>
                  </a:lnTo>
                  <a:lnTo>
                    <a:pt x="464" y="83"/>
                  </a:lnTo>
                  <a:lnTo>
                    <a:pt x="458" y="64"/>
                  </a:lnTo>
                  <a:lnTo>
                    <a:pt x="446" y="52"/>
                  </a:lnTo>
                  <a:lnTo>
                    <a:pt x="449" y="45"/>
                  </a:lnTo>
                  <a:lnTo>
                    <a:pt x="464" y="30"/>
                  </a:lnTo>
                  <a:lnTo>
                    <a:pt x="474" y="31"/>
                  </a:lnTo>
                  <a:lnTo>
                    <a:pt x="486" y="19"/>
                  </a:lnTo>
                  <a:lnTo>
                    <a:pt x="507" y="11"/>
                  </a:lnTo>
                  <a:lnTo>
                    <a:pt x="554" y="7"/>
                  </a:lnTo>
                  <a:lnTo>
                    <a:pt x="574" y="10"/>
                  </a:lnTo>
                  <a:lnTo>
                    <a:pt x="593" y="0"/>
                  </a:lnTo>
                  <a:lnTo>
                    <a:pt x="625" y="4"/>
                  </a:lnTo>
                  <a:lnTo>
                    <a:pt x="628" y="18"/>
                  </a:lnTo>
                  <a:lnTo>
                    <a:pt x="637" y="14"/>
                  </a:lnTo>
                  <a:lnTo>
                    <a:pt x="645" y="19"/>
                  </a:lnTo>
                  <a:lnTo>
                    <a:pt x="651" y="29"/>
                  </a:lnTo>
                  <a:lnTo>
                    <a:pt x="653" y="45"/>
                  </a:lnTo>
                  <a:lnTo>
                    <a:pt x="648" y="50"/>
                  </a:lnTo>
                  <a:lnTo>
                    <a:pt x="660" y="63"/>
                  </a:lnTo>
                  <a:lnTo>
                    <a:pt x="676" y="59"/>
                  </a:lnTo>
                  <a:lnTo>
                    <a:pt x="677" y="66"/>
                  </a:lnTo>
                  <a:lnTo>
                    <a:pt x="685" y="70"/>
                  </a:lnTo>
                  <a:lnTo>
                    <a:pt x="723" y="84"/>
                  </a:lnTo>
                  <a:lnTo>
                    <a:pt x="696" y="104"/>
                  </a:lnTo>
                  <a:lnTo>
                    <a:pt x="689" y="121"/>
                  </a:lnTo>
                  <a:lnTo>
                    <a:pt x="668" y="118"/>
                  </a:lnTo>
                  <a:lnTo>
                    <a:pt x="660" y="125"/>
                  </a:lnTo>
                  <a:lnTo>
                    <a:pt x="650" y="123"/>
                  </a:lnTo>
                  <a:lnTo>
                    <a:pt x="633" y="130"/>
                  </a:lnTo>
                  <a:lnTo>
                    <a:pt x="579" y="113"/>
                  </a:lnTo>
                  <a:lnTo>
                    <a:pt x="562" y="120"/>
                  </a:lnTo>
                  <a:lnTo>
                    <a:pt x="556" y="138"/>
                  </a:lnTo>
                  <a:lnTo>
                    <a:pt x="565" y="143"/>
                  </a:lnTo>
                  <a:lnTo>
                    <a:pt x="560" y="153"/>
                  </a:lnTo>
                  <a:lnTo>
                    <a:pt x="575" y="160"/>
                  </a:lnTo>
                  <a:lnTo>
                    <a:pt x="565" y="171"/>
                  </a:lnTo>
                  <a:lnTo>
                    <a:pt x="575" y="185"/>
                  </a:lnTo>
                  <a:lnTo>
                    <a:pt x="563" y="197"/>
                  </a:lnTo>
                  <a:lnTo>
                    <a:pt x="580" y="212"/>
                  </a:lnTo>
                  <a:lnTo>
                    <a:pt x="579" y="219"/>
                  </a:lnTo>
                  <a:lnTo>
                    <a:pt x="594" y="222"/>
                  </a:lnTo>
                  <a:lnTo>
                    <a:pt x="596" y="236"/>
                  </a:lnTo>
                  <a:lnTo>
                    <a:pt x="620" y="240"/>
                  </a:lnTo>
                  <a:lnTo>
                    <a:pt x="625" y="252"/>
                  </a:lnTo>
                  <a:lnTo>
                    <a:pt x="620" y="259"/>
                  </a:lnTo>
                  <a:lnTo>
                    <a:pt x="594" y="265"/>
                  </a:lnTo>
                  <a:lnTo>
                    <a:pt x="590" y="279"/>
                  </a:lnTo>
                  <a:lnTo>
                    <a:pt x="596" y="292"/>
                  </a:lnTo>
                  <a:lnTo>
                    <a:pt x="590" y="302"/>
                  </a:lnTo>
                  <a:lnTo>
                    <a:pt x="601" y="310"/>
                  </a:lnTo>
                  <a:lnTo>
                    <a:pt x="592" y="310"/>
                  </a:lnTo>
                  <a:lnTo>
                    <a:pt x="579" y="320"/>
                  </a:lnTo>
                  <a:lnTo>
                    <a:pt x="559" y="348"/>
                  </a:lnTo>
                  <a:lnTo>
                    <a:pt x="557" y="361"/>
                  </a:lnTo>
                  <a:lnTo>
                    <a:pt x="540" y="369"/>
                  </a:lnTo>
                  <a:lnTo>
                    <a:pt x="516" y="410"/>
                  </a:lnTo>
                  <a:lnTo>
                    <a:pt x="492" y="429"/>
                  </a:lnTo>
                  <a:lnTo>
                    <a:pt x="469" y="463"/>
                  </a:lnTo>
                  <a:lnTo>
                    <a:pt x="442" y="467"/>
                  </a:lnTo>
                  <a:lnTo>
                    <a:pt x="429" y="475"/>
                  </a:lnTo>
                  <a:lnTo>
                    <a:pt x="413" y="458"/>
                  </a:lnTo>
                  <a:lnTo>
                    <a:pt x="374" y="504"/>
                  </a:lnTo>
                  <a:lnTo>
                    <a:pt x="374" y="525"/>
                  </a:lnTo>
                  <a:lnTo>
                    <a:pt x="402" y="533"/>
                  </a:lnTo>
                  <a:lnTo>
                    <a:pt x="398" y="562"/>
                  </a:lnTo>
                  <a:lnTo>
                    <a:pt x="406" y="571"/>
                  </a:lnTo>
                  <a:lnTo>
                    <a:pt x="421" y="573"/>
                  </a:lnTo>
                  <a:lnTo>
                    <a:pt x="422" y="588"/>
                  </a:lnTo>
                  <a:lnTo>
                    <a:pt x="439" y="613"/>
                  </a:lnTo>
                  <a:lnTo>
                    <a:pt x="435" y="629"/>
                  </a:lnTo>
                  <a:lnTo>
                    <a:pt x="440" y="632"/>
                  </a:lnTo>
                  <a:lnTo>
                    <a:pt x="425" y="639"/>
                  </a:lnTo>
                  <a:lnTo>
                    <a:pt x="414" y="629"/>
                  </a:lnTo>
                  <a:lnTo>
                    <a:pt x="393" y="642"/>
                  </a:lnTo>
                  <a:lnTo>
                    <a:pt x="382" y="642"/>
                  </a:lnTo>
                  <a:lnTo>
                    <a:pt x="375" y="635"/>
                  </a:lnTo>
                  <a:lnTo>
                    <a:pt x="346" y="637"/>
                  </a:lnTo>
                  <a:lnTo>
                    <a:pt x="341" y="632"/>
                  </a:lnTo>
                  <a:lnTo>
                    <a:pt x="340" y="650"/>
                  </a:lnTo>
                  <a:lnTo>
                    <a:pt x="318" y="650"/>
                  </a:lnTo>
                  <a:lnTo>
                    <a:pt x="310" y="663"/>
                  </a:lnTo>
                  <a:lnTo>
                    <a:pt x="308" y="660"/>
                  </a:lnTo>
                  <a:lnTo>
                    <a:pt x="286" y="655"/>
                  </a:lnTo>
                  <a:lnTo>
                    <a:pt x="283" y="648"/>
                  </a:lnTo>
                  <a:lnTo>
                    <a:pt x="269" y="616"/>
                  </a:lnTo>
                  <a:lnTo>
                    <a:pt x="252" y="610"/>
                  </a:lnTo>
                  <a:lnTo>
                    <a:pt x="250" y="594"/>
                  </a:lnTo>
                  <a:lnTo>
                    <a:pt x="242" y="586"/>
                  </a:lnTo>
                  <a:lnTo>
                    <a:pt x="229" y="582"/>
                  </a:lnTo>
                  <a:lnTo>
                    <a:pt x="178" y="588"/>
                  </a:lnTo>
                  <a:lnTo>
                    <a:pt x="166" y="587"/>
                  </a:lnTo>
                  <a:lnTo>
                    <a:pt x="161" y="596"/>
                  </a:lnTo>
                  <a:lnTo>
                    <a:pt x="140" y="586"/>
                  </a:lnTo>
                  <a:lnTo>
                    <a:pt x="119" y="586"/>
                  </a:lnTo>
                  <a:lnTo>
                    <a:pt x="102" y="593"/>
                  </a:lnTo>
                  <a:lnTo>
                    <a:pt x="71" y="591"/>
                  </a:lnTo>
                  <a:lnTo>
                    <a:pt x="59" y="596"/>
                  </a:lnTo>
                  <a:lnTo>
                    <a:pt x="54" y="593"/>
                  </a:lnTo>
                  <a:lnTo>
                    <a:pt x="37" y="601"/>
                  </a:lnTo>
                  <a:lnTo>
                    <a:pt x="33" y="595"/>
                  </a:lnTo>
                  <a:lnTo>
                    <a:pt x="44" y="551"/>
                  </a:lnTo>
                  <a:lnTo>
                    <a:pt x="60" y="533"/>
                  </a:lnTo>
                  <a:lnTo>
                    <a:pt x="93" y="524"/>
                  </a:lnTo>
                  <a:lnTo>
                    <a:pt x="103" y="513"/>
                  </a:lnTo>
                  <a:lnTo>
                    <a:pt x="104" y="501"/>
                  </a:lnTo>
                  <a:lnTo>
                    <a:pt x="85" y="494"/>
                  </a:lnTo>
                  <a:lnTo>
                    <a:pt x="81" y="451"/>
                  </a:lnTo>
                  <a:lnTo>
                    <a:pt x="34" y="424"/>
                  </a:lnTo>
                  <a:lnTo>
                    <a:pt x="16" y="391"/>
                  </a:lnTo>
                  <a:lnTo>
                    <a:pt x="0" y="374"/>
                  </a:lnTo>
                  <a:lnTo>
                    <a:pt x="2" y="371"/>
                  </a:lnTo>
                  <a:close/>
                </a:path>
              </a:pathLst>
            </a:custGeom>
            <a:grpFill/>
            <a:ln w="6350">
              <a:solidFill>
                <a:schemeClr val="tx2"/>
              </a:solidFill>
              <a:round/>
              <a:headEnd/>
              <a:tailEnd/>
            </a:ln>
          </p:spPr>
          <p:txBody>
            <a:bodyPr/>
            <a:lstStyle/>
            <a:p>
              <a:endParaRPr lang="en-US"/>
            </a:p>
          </p:txBody>
        </p:sp>
        <p:sp>
          <p:nvSpPr>
            <p:cNvPr id="654" name="Freeform 1428"/>
            <p:cNvSpPr>
              <a:spLocks/>
            </p:cNvSpPr>
            <p:nvPr/>
          </p:nvSpPr>
          <p:spPr bwMode="auto">
            <a:xfrm>
              <a:off x="5572589" y="3460734"/>
              <a:ext cx="25791" cy="24273"/>
            </a:xfrm>
            <a:custGeom>
              <a:avLst/>
              <a:gdLst>
                <a:gd name="T0" fmla="*/ 0 w 52"/>
                <a:gd name="T1" fmla="*/ 2147483647 h 47"/>
                <a:gd name="T2" fmla="*/ 2147483647 w 52"/>
                <a:gd name="T3" fmla="*/ 0 h 47"/>
                <a:gd name="T4" fmla="*/ 2147483647 w 52"/>
                <a:gd name="T5" fmla="*/ 2147483647 h 47"/>
                <a:gd name="T6" fmla="*/ 2147483647 w 52"/>
                <a:gd name="T7" fmla="*/ 2147483647 h 47"/>
                <a:gd name="T8" fmla="*/ 2147483647 w 52"/>
                <a:gd name="T9" fmla="*/ 2147483647 h 47"/>
                <a:gd name="T10" fmla="*/ 2147483647 w 52"/>
                <a:gd name="T11" fmla="*/ 2147483647 h 47"/>
                <a:gd name="T12" fmla="*/ 2147483647 w 52"/>
                <a:gd name="T13" fmla="*/ 2147483647 h 47"/>
                <a:gd name="T14" fmla="*/ 0 w 52"/>
                <a:gd name="T15" fmla="*/ 2147483647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0" y="3"/>
                  </a:moveTo>
                  <a:lnTo>
                    <a:pt x="9" y="0"/>
                  </a:lnTo>
                  <a:lnTo>
                    <a:pt x="24" y="10"/>
                  </a:lnTo>
                  <a:lnTo>
                    <a:pt x="41" y="10"/>
                  </a:lnTo>
                  <a:lnTo>
                    <a:pt x="50" y="29"/>
                  </a:lnTo>
                  <a:lnTo>
                    <a:pt x="52" y="47"/>
                  </a:lnTo>
                  <a:lnTo>
                    <a:pt x="30" y="45"/>
                  </a:lnTo>
                  <a:lnTo>
                    <a:pt x="0" y="3"/>
                  </a:lnTo>
                  <a:close/>
                </a:path>
              </a:pathLst>
            </a:custGeom>
            <a:grpFill/>
            <a:ln w="6350">
              <a:solidFill>
                <a:schemeClr val="tx2"/>
              </a:solidFill>
              <a:round/>
              <a:headEnd/>
              <a:tailEnd/>
            </a:ln>
          </p:spPr>
          <p:txBody>
            <a:bodyPr/>
            <a:lstStyle/>
            <a:p>
              <a:endParaRPr lang="en-US"/>
            </a:p>
          </p:txBody>
        </p:sp>
        <p:sp>
          <p:nvSpPr>
            <p:cNvPr id="655" name="Freeform 1430"/>
            <p:cNvSpPr>
              <a:spLocks/>
            </p:cNvSpPr>
            <p:nvPr/>
          </p:nvSpPr>
          <p:spPr bwMode="auto">
            <a:xfrm>
              <a:off x="5612033" y="3714094"/>
              <a:ext cx="37928" cy="37928"/>
            </a:xfrm>
            <a:custGeom>
              <a:avLst/>
              <a:gdLst>
                <a:gd name="T0" fmla="*/ 2147483647 w 76"/>
                <a:gd name="T1" fmla="*/ 2147483647 h 75"/>
                <a:gd name="T2" fmla="*/ 2147483647 w 76"/>
                <a:gd name="T3" fmla="*/ 2147483647 h 75"/>
                <a:gd name="T4" fmla="*/ 2147483647 w 76"/>
                <a:gd name="T5" fmla="*/ 2147483647 h 75"/>
                <a:gd name="T6" fmla="*/ 2147483647 w 76"/>
                <a:gd name="T7" fmla="*/ 2147483647 h 75"/>
                <a:gd name="T8" fmla="*/ 2147483647 w 76"/>
                <a:gd name="T9" fmla="*/ 2147483647 h 75"/>
                <a:gd name="T10" fmla="*/ 2147483647 w 76"/>
                <a:gd name="T11" fmla="*/ 0 h 75"/>
                <a:gd name="T12" fmla="*/ 2147483647 w 76"/>
                <a:gd name="T13" fmla="*/ 2147483647 h 75"/>
                <a:gd name="T14" fmla="*/ 2147483647 w 76"/>
                <a:gd name="T15" fmla="*/ 2147483647 h 75"/>
                <a:gd name="T16" fmla="*/ 0 w 76"/>
                <a:gd name="T17" fmla="*/ 2147483647 h 75"/>
                <a:gd name="T18" fmla="*/ 2147483647 w 76"/>
                <a:gd name="T19" fmla="*/ 2147483647 h 75"/>
                <a:gd name="T20" fmla="*/ 2147483647 w 76"/>
                <a:gd name="T21" fmla="*/ 2147483647 h 75"/>
                <a:gd name="T22" fmla="*/ 2147483647 w 76"/>
                <a:gd name="T23" fmla="*/ 2147483647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75"/>
                <a:gd name="T38" fmla="*/ 76 w 76"/>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75">
                  <a:moveTo>
                    <a:pt x="76" y="75"/>
                  </a:moveTo>
                  <a:lnTo>
                    <a:pt x="65" y="40"/>
                  </a:lnTo>
                  <a:lnTo>
                    <a:pt x="49" y="37"/>
                  </a:lnTo>
                  <a:lnTo>
                    <a:pt x="74" y="20"/>
                  </a:lnTo>
                  <a:lnTo>
                    <a:pt x="63" y="4"/>
                  </a:lnTo>
                  <a:lnTo>
                    <a:pt x="42" y="0"/>
                  </a:lnTo>
                  <a:lnTo>
                    <a:pt x="31" y="5"/>
                  </a:lnTo>
                  <a:lnTo>
                    <a:pt x="14" y="34"/>
                  </a:lnTo>
                  <a:lnTo>
                    <a:pt x="0" y="46"/>
                  </a:lnTo>
                  <a:lnTo>
                    <a:pt x="37" y="57"/>
                  </a:lnTo>
                  <a:lnTo>
                    <a:pt x="50" y="75"/>
                  </a:lnTo>
                  <a:lnTo>
                    <a:pt x="76" y="75"/>
                  </a:lnTo>
                  <a:close/>
                </a:path>
              </a:pathLst>
            </a:custGeom>
            <a:grpFill/>
            <a:ln w="6350">
              <a:solidFill>
                <a:schemeClr val="tx2"/>
              </a:solidFill>
              <a:round/>
              <a:headEnd/>
              <a:tailEnd/>
            </a:ln>
          </p:spPr>
          <p:txBody>
            <a:bodyPr/>
            <a:lstStyle/>
            <a:p>
              <a:endParaRPr lang="en-US"/>
            </a:p>
          </p:txBody>
        </p:sp>
        <p:sp>
          <p:nvSpPr>
            <p:cNvPr id="656" name="Freeform 1431"/>
            <p:cNvSpPr>
              <a:spLocks/>
            </p:cNvSpPr>
            <p:nvPr/>
          </p:nvSpPr>
          <p:spPr bwMode="auto">
            <a:xfrm>
              <a:off x="5815327" y="3806637"/>
              <a:ext cx="7585" cy="13654"/>
            </a:xfrm>
            <a:custGeom>
              <a:avLst/>
              <a:gdLst>
                <a:gd name="T0" fmla="*/ 2147483647 w 15"/>
                <a:gd name="T1" fmla="*/ 2147483647 h 28"/>
                <a:gd name="T2" fmla="*/ 2147483647 w 15"/>
                <a:gd name="T3" fmla="*/ 2147483647 h 28"/>
                <a:gd name="T4" fmla="*/ 0 w 15"/>
                <a:gd name="T5" fmla="*/ 2147483647 h 28"/>
                <a:gd name="T6" fmla="*/ 2147483647 w 15"/>
                <a:gd name="T7" fmla="*/ 2147483647 h 28"/>
                <a:gd name="T8" fmla="*/ 2147483647 w 15"/>
                <a:gd name="T9" fmla="*/ 0 h 28"/>
                <a:gd name="T10" fmla="*/ 2147483647 w 15"/>
                <a:gd name="T11" fmla="*/ 2147483647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28"/>
                  </a:moveTo>
                  <a:lnTo>
                    <a:pt x="2" y="26"/>
                  </a:lnTo>
                  <a:lnTo>
                    <a:pt x="0" y="9"/>
                  </a:lnTo>
                  <a:lnTo>
                    <a:pt x="5" y="1"/>
                  </a:lnTo>
                  <a:lnTo>
                    <a:pt x="15" y="0"/>
                  </a:lnTo>
                  <a:lnTo>
                    <a:pt x="9" y="28"/>
                  </a:lnTo>
                  <a:close/>
                </a:path>
              </a:pathLst>
            </a:custGeom>
            <a:grpFill/>
            <a:ln w="6350">
              <a:solidFill>
                <a:schemeClr val="tx2"/>
              </a:solidFill>
              <a:round/>
              <a:headEnd/>
              <a:tailEnd/>
            </a:ln>
          </p:spPr>
          <p:txBody>
            <a:bodyPr/>
            <a:lstStyle/>
            <a:p>
              <a:endParaRPr lang="en-US"/>
            </a:p>
          </p:txBody>
        </p:sp>
        <p:sp>
          <p:nvSpPr>
            <p:cNvPr id="657" name="Freeform 1432"/>
            <p:cNvSpPr>
              <a:spLocks/>
            </p:cNvSpPr>
            <p:nvPr/>
          </p:nvSpPr>
          <p:spPr bwMode="auto">
            <a:xfrm>
              <a:off x="5700026" y="3808154"/>
              <a:ext cx="18206" cy="37928"/>
            </a:xfrm>
            <a:custGeom>
              <a:avLst/>
              <a:gdLst>
                <a:gd name="T0" fmla="*/ 2147483647 w 35"/>
                <a:gd name="T1" fmla="*/ 2147483647 h 77"/>
                <a:gd name="T2" fmla="*/ 2147483647 w 35"/>
                <a:gd name="T3" fmla="*/ 2147483647 h 77"/>
                <a:gd name="T4" fmla="*/ 2147483647 w 35"/>
                <a:gd name="T5" fmla="*/ 2147483647 h 77"/>
                <a:gd name="T6" fmla="*/ 2147483647 w 35"/>
                <a:gd name="T7" fmla="*/ 2147483647 h 77"/>
                <a:gd name="T8" fmla="*/ 2147483647 w 35"/>
                <a:gd name="T9" fmla="*/ 2147483647 h 77"/>
                <a:gd name="T10" fmla="*/ 2147483647 w 35"/>
                <a:gd name="T11" fmla="*/ 0 h 77"/>
                <a:gd name="T12" fmla="*/ 0 w 35"/>
                <a:gd name="T13" fmla="*/ 2147483647 h 77"/>
                <a:gd name="T14" fmla="*/ 2147483647 w 35"/>
                <a:gd name="T15" fmla="*/ 2147483647 h 77"/>
                <a:gd name="T16" fmla="*/ 2147483647 w 35"/>
                <a:gd name="T17" fmla="*/ 2147483647 h 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77"/>
                <a:gd name="T29" fmla="*/ 35 w 35"/>
                <a:gd name="T30" fmla="*/ 77 h 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77">
                  <a:moveTo>
                    <a:pt x="12" y="77"/>
                  </a:moveTo>
                  <a:lnTo>
                    <a:pt x="28" y="70"/>
                  </a:lnTo>
                  <a:lnTo>
                    <a:pt x="35" y="55"/>
                  </a:lnTo>
                  <a:lnTo>
                    <a:pt x="31" y="33"/>
                  </a:lnTo>
                  <a:lnTo>
                    <a:pt x="35" y="13"/>
                  </a:lnTo>
                  <a:lnTo>
                    <a:pt x="19" y="0"/>
                  </a:lnTo>
                  <a:lnTo>
                    <a:pt x="0" y="34"/>
                  </a:lnTo>
                  <a:lnTo>
                    <a:pt x="1" y="67"/>
                  </a:lnTo>
                  <a:lnTo>
                    <a:pt x="12" y="77"/>
                  </a:lnTo>
                  <a:close/>
                </a:path>
              </a:pathLst>
            </a:custGeom>
            <a:grpFill/>
            <a:ln w="6350">
              <a:solidFill>
                <a:schemeClr val="tx2"/>
              </a:solidFill>
              <a:round/>
              <a:headEnd/>
              <a:tailEnd/>
            </a:ln>
          </p:spPr>
          <p:txBody>
            <a:bodyPr/>
            <a:lstStyle/>
            <a:p>
              <a:endParaRPr lang="en-US"/>
            </a:p>
          </p:txBody>
        </p:sp>
        <p:sp>
          <p:nvSpPr>
            <p:cNvPr id="658" name="Freeform 1506"/>
            <p:cNvSpPr>
              <a:spLocks/>
            </p:cNvSpPr>
            <p:nvPr/>
          </p:nvSpPr>
          <p:spPr bwMode="auto">
            <a:xfrm>
              <a:off x="5809258" y="3290819"/>
              <a:ext cx="370176" cy="238188"/>
            </a:xfrm>
            <a:custGeom>
              <a:avLst/>
              <a:gdLst>
                <a:gd name="T0" fmla="*/ 2147483647 w 740"/>
                <a:gd name="T1" fmla="*/ 2147483647 h 482"/>
                <a:gd name="T2" fmla="*/ 2147483647 w 740"/>
                <a:gd name="T3" fmla="*/ 2147483647 h 482"/>
                <a:gd name="T4" fmla="*/ 2147483647 w 740"/>
                <a:gd name="T5" fmla="*/ 2147483647 h 482"/>
                <a:gd name="T6" fmla="*/ 2147483647 w 740"/>
                <a:gd name="T7" fmla="*/ 2147483647 h 482"/>
                <a:gd name="T8" fmla="*/ 2147483647 w 740"/>
                <a:gd name="T9" fmla="*/ 2147483647 h 482"/>
                <a:gd name="T10" fmla="*/ 2147483647 w 740"/>
                <a:gd name="T11" fmla="*/ 2147483647 h 482"/>
                <a:gd name="T12" fmla="*/ 2147483647 w 740"/>
                <a:gd name="T13" fmla="*/ 2147483647 h 482"/>
                <a:gd name="T14" fmla="*/ 2147483647 w 740"/>
                <a:gd name="T15" fmla="*/ 2147483647 h 482"/>
                <a:gd name="T16" fmla="*/ 2147483647 w 740"/>
                <a:gd name="T17" fmla="*/ 2147483647 h 482"/>
                <a:gd name="T18" fmla="*/ 2147483647 w 740"/>
                <a:gd name="T19" fmla="*/ 2147483647 h 482"/>
                <a:gd name="T20" fmla="*/ 2147483647 w 740"/>
                <a:gd name="T21" fmla="*/ 2147483647 h 482"/>
                <a:gd name="T22" fmla="*/ 2147483647 w 740"/>
                <a:gd name="T23" fmla="*/ 2147483647 h 482"/>
                <a:gd name="T24" fmla="*/ 2147483647 w 740"/>
                <a:gd name="T25" fmla="*/ 2147483647 h 482"/>
                <a:gd name="T26" fmla="*/ 2147483647 w 740"/>
                <a:gd name="T27" fmla="*/ 2147483647 h 482"/>
                <a:gd name="T28" fmla="*/ 2147483647 w 740"/>
                <a:gd name="T29" fmla="*/ 2147483647 h 482"/>
                <a:gd name="T30" fmla="*/ 2147483647 w 740"/>
                <a:gd name="T31" fmla="*/ 2147483647 h 482"/>
                <a:gd name="T32" fmla="*/ 2147483647 w 740"/>
                <a:gd name="T33" fmla="*/ 2147483647 h 482"/>
                <a:gd name="T34" fmla="*/ 2147483647 w 740"/>
                <a:gd name="T35" fmla="*/ 2147483647 h 482"/>
                <a:gd name="T36" fmla="*/ 2147483647 w 740"/>
                <a:gd name="T37" fmla="*/ 2147483647 h 482"/>
                <a:gd name="T38" fmla="*/ 2147483647 w 740"/>
                <a:gd name="T39" fmla="*/ 2147483647 h 482"/>
                <a:gd name="T40" fmla="*/ 2147483647 w 740"/>
                <a:gd name="T41" fmla="*/ 2147483647 h 482"/>
                <a:gd name="T42" fmla="*/ 2147483647 w 740"/>
                <a:gd name="T43" fmla="*/ 2147483647 h 482"/>
                <a:gd name="T44" fmla="*/ 2147483647 w 740"/>
                <a:gd name="T45" fmla="*/ 2147483647 h 482"/>
                <a:gd name="T46" fmla="*/ 2147483647 w 740"/>
                <a:gd name="T47" fmla="*/ 2147483647 h 482"/>
                <a:gd name="T48" fmla="*/ 2147483647 w 740"/>
                <a:gd name="T49" fmla="*/ 2147483647 h 482"/>
                <a:gd name="T50" fmla="*/ 2147483647 w 740"/>
                <a:gd name="T51" fmla="*/ 2147483647 h 482"/>
                <a:gd name="T52" fmla="*/ 2147483647 w 740"/>
                <a:gd name="T53" fmla="*/ 2147483647 h 482"/>
                <a:gd name="T54" fmla="*/ 2147483647 w 740"/>
                <a:gd name="T55" fmla="*/ 2147483647 h 482"/>
                <a:gd name="T56" fmla="*/ 2147483647 w 740"/>
                <a:gd name="T57" fmla="*/ 2147483647 h 482"/>
                <a:gd name="T58" fmla="*/ 2147483647 w 740"/>
                <a:gd name="T59" fmla="*/ 2147483647 h 482"/>
                <a:gd name="T60" fmla="*/ 2147483647 w 740"/>
                <a:gd name="T61" fmla="*/ 2147483647 h 482"/>
                <a:gd name="T62" fmla="*/ 2147483647 w 740"/>
                <a:gd name="T63" fmla="*/ 2147483647 h 482"/>
                <a:gd name="T64" fmla="*/ 2147483647 w 740"/>
                <a:gd name="T65" fmla="*/ 2147483647 h 482"/>
                <a:gd name="T66" fmla="*/ 2147483647 w 740"/>
                <a:gd name="T67" fmla="*/ 2147483647 h 482"/>
                <a:gd name="T68" fmla="*/ 2147483647 w 740"/>
                <a:gd name="T69" fmla="*/ 2147483647 h 482"/>
                <a:gd name="T70" fmla="*/ 2147483647 w 740"/>
                <a:gd name="T71" fmla="*/ 2147483647 h 482"/>
                <a:gd name="T72" fmla="*/ 2147483647 w 740"/>
                <a:gd name="T73" fmla="*/ 2147483647 h 482"/>
                <a:gd name="T74" fmla="*/ 2147483647 w 740"/>
                <a:gd name="T75" fmla="*/ 2147483647 h 482"/>
                <a:gd name="T76" fmla="*/ 2147483647 w 740"/>
                <a:gd name="T77" fmla="*/ 2147483647 h 482"/>
                <a:gd name="T78" fmla="*/ 2147483647 w 740"/>
                <a:gd name="T79" fmla="*/ 2147483647 h 482"/>
                <a:gd name="T80" fmla="*/ 2147483647 w 740"/>
                <a:gd name="T81" fmla="*/ 2147483647 h 482"/>
                <a:gd name="T82" fmla="*/ 2147483647 w 740"/>
                <a:gd name="T83" fmla="*/ 2147483647 h 482"/>
                <a:gd name="T84" fmla="*/ 2147483647 w 740"/>
                <a:gd name="T85" fmla="*/ 2147483647 h 482"/>
                <a:gd name="T86" fmla="*/ 2147483647 w 740"/>
                <a:gd name="T87" fmla="*/ 2147483647 h 482"/>
                <a:gd name="T88" fmla="*/ 2147483647 w 740"/>
                <a:gd name="T89" fmla="*/ 2147483647 h 482"/>
                <a:gd name="T90" fmla="*/ 2147483647 w 740"/>
                <a:gd name="T91" fmla="*/ 2147483647 h 482"/>
                <a:gd name="T92" fmla="*/ 2147483647 w 740"/>
                <a:gd name="T93" fmla="*/ 2147483647 h 482"/>
                <a:gd name="T94" fmla="*/ 2147483647 w 740"/>
                <a:gd name="T95" fmla="*/ 2147483647 h 482"/>
                <a:gd name="T96" fmla="*/ 2147483647 w 740"/>
                <a:gd name="T97" fmla="*/ 2147483647 h 482"/>
                <a:gd name="T98" fmla="*/ 2147483647 w 740"/>
                <a:gd name="T99" fmla="*/ 2147483647 h 482"/>
                <a:gd name="T100" fmla="*/ 2147483647 w 740"/>
                <a:gd name="T101" fmla="*/ 2147483647 h 482"/>
                <a:gd name="T102" fmla="*/ 2147483647 w 740"/>
                <a:gd name="T103" fmla="*/ 2147483647 h 482"/>
                <a:gd name="T104" fmla="*/ 2147483647 w 740"/>
                <a:gd name="T105" fmla="*/ 2147483647 h 482"/>
                <a:gd name="T106" fmla="*/ 2147483647 w 740"/>
                <a:gd name="T107" fmla="*/ 2147483647 h 4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0"/>
                <a:gd name="T163" fmla="*/ 0 h 482"/>
                <a:gd name="T164" fmla="*/ 740 w 740"/>
                <a:gd name="T165" fmla="*/ 482 h 4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0" h="482">
                  <a:moveTo>
                    <a:pt x="388" y="113"/>
                  </a:moveTo>
                  <a:lnTo>
                    <a:pt x="356" y="116"/>
                  </a:lnTo>
                  <a:lnTo>
                    <a:pt x="325" y="119"/>
                  </a:lnTo>
                  <a:lnTo>
                    <a:pt x="293" y="123"/>
                  </a:lnTo>
                  <a:lnTo>
                    <a:pt x="262" y="126"/>
                  </a:lnTo>
                  <a:lnTo>
                    <a:pt x="241" y="105"/>
                  </a:lnTo>
                  <a:lnTo>
                    <a:pt x="219" y="84"/>
                  </a:lnTo>
                  <a:lnTo>
                    <a:pt x="199" y="62"/>
                  </a:lnTo>
                  <a:lnTo>
                    <a:pt x="178" y="41"/>
                  </a:lnTo>
                  <a:lnTo>
                    <a:pt x="135" y="11"/>
                  </a:lnTo>
                  <a:lnTo>
                    <a:pt x="112" y="0"/>
                  </a:lnTo>
                  <a:lnTo>
                    <a:pt x="84" y="11"/>
                  </a:lnTo>
                  <a:lnTo>
                    <a:pt x="56" y="21"/>
                  </a:lnTo>
                  <a:lnTo>
                    <a:pt x="28" y="30"/>
                  </a:lnTo>
                  <a:lnTo>
                    <a:pt x="0" y="40"/>
                  </a:lnTo>
                  <a:lnTo>
                    <a:pt x="1" y="94"/>
                  </a:lnTo>
                  <a:lnTo>
                    <a:pt x="1" y="147"/>
                  </a:lnTo>
                  <a:lnTo>
                    <a:pt x="2" y="200"/>
                  </a:lnTo>
                  <a:lnTo>
                    <a:pt x="2" y="252"/>
                  </a:lnTo>
                  <a:lnTo>
                    <a:pt x="44" y="258"/>
                  </a:lnTo>
                  <a:lnTo>
                    <a:pt x="50" y="255"/>
                  </a:lnTo>
                  <a:lnTo>
                    <a:pt x="42" y="225"/>
                  </a:lnTo>
                  <a:lnTo>
                    <a:pt x="45" y="220"/>
                  </a:lnTo>
                  <a:lnTo>
                    <a:pt x="58" y="205"/>
                  </a:lnTo>
                  <a:lnTo>
                    <a:pt x="82" y="201"/>
                  </a:lnTo>
                  <a:lnTo>
                    <a:pt x="85" y="189"/>
                  </a:lnTo>
                  <a:lnTo>
                    <a:pt x="90" y="186"/>
                  </a:lnTo>
                  <a:lnTo>
                    <a:pt x="107" y="195"/>
                  </a:lnTo>
                  <a:lnTo>
                    <a:pt x="95" y="179"/>
                  </a:lnTo>
                  <a:lnTo>
                    <a:pt x="108" y="177"/>
                  </a:lnTo>
                  <a:lnTo>
                    <a:pt x="114" y="169"/>
                  </a:lnTo>
                  <a:lnTo>
                    <a:pt x="145" y="196"/>
                  </a:lnTo>
                  <a:lnTo>
                    <a:pt x="172" y="199"/>
                  </a:lnTo>
                  <a:lnTo>
                    <a:pt x="174" y="217"/>
                  </a:lnTo>
                  <a:lnTo>
                    <a:pt x="184" y="225"/>
                  </a:lnTo>
                  <a:lnTo>
                    <a:pt x="178" y="228"/>
                  </a:lnTo>
                  <a:lnTo>
                    <a:pt x="177" y="246"/>
                  </a:lnTo>
                  <a:lnTo>
                    <a:pt x="180" y="251"/>
                  </a:lnTo>
                  <a:lnTo>
                    <a:pt x="230" y="263"/>
                  </a:lnTo>
                  <a:lnTo>
                    <a:pt x="243" y="252"/>
                  </a:lnTo>
                  <a:lnTo>
                    <a:pt x="257" y="264"/>
                  </a:lnTo>
                  <a:lnTo>
                    <a:pt x="264" y="287"/>
                  </a:lnTo>
                  <a:lnTo>
                    <a:pt x="277" y="301"/>
                  </a:lnTo>
                  <a:lnTo>
                    <a:pt x="279" y="320"/>
                  </a:lnTo>
                  <a:lnTo>
                    <a:pt x="288" y="338"/>
                  </a:lnTo>
                  <a:lnTo>
                    <a:pt x="327" y="361"/>
                  </a:lnTo>
                  <a:lnTo>
                    <a:pt x="349" y="383"/>
                  </a:lnTo>
                  <a:lnTo>
                    <a:pt x="374" y="391"/>
                  </a:lnTo>
                  <a:lnTo>
                    <a:pt x="410" y="425"/>
                  </a:lnTo>
                  <a:lnTo>
                    <a:pt x="428" y="422"/>
                  </a:lnTo>
                  <a:lnTo>
                    <a:pt x="456" y="438"/>
                  </a:lnTo>
                  <a:lnTo>
                    <a:pt x="460" y="442"/>
                  </a:lnTo>
                  <a:lnTo>
                    <a:pt x="455" y="453"/>
                  </a:lnTo>
                  <a:lnTo>
                    <a:pt x="455" y="476"/>
                  </a:lnTo>
                  <a:lnTo>
                    <a:pt x="508" y="482"/>
                  </a:lnTo>
                  <a:lnTo>
                    <a:pt x="510" y="478"/>
                  </a:lnTo>
                  <a:lnTo>
                    <a:pt x="509" y="467"/>
                  </a:lnTo>
                  <a:lnTo>
                    <a:pt x="514" y="457"/>
                  </a:lnTo>
                  <a:lnTo>
                    <a:pt x="534" y="431"/>
                  </a:lnTo>
                  <a:lnTo>
                    <a:pt x="520" y="403"/>
                  </a:lnTo>
                  <a:lnTo>
                    <a:pt x="523" y="385"/>
                  </a:lnTo>
                  <a:lnTo>
                    <a:pt x="505" y="382"/>
                  </a:lnTo>
                  <a:lnTo>
                    <a:pt x="491" y="367"/>
                  </a:lnTo>
                  <a:lnTo>
                    <a:pt x="497" y="364"/>
                  </a:lnTo>
                  <a:lnTo>
                    <a:pt x="500" y="351"/>
                  </a:lnTo>
                  <a:lnTo>
                    <a:pt x="541" y="350"/>
                  </a:lnTo>
                  <a:lnTo>
                    <a:pt x="550" y="327"/>
                  </a:lnTo>
                  <a:lnTo>
                    <a:pt x="573" y="317"/>
                  </a:lnTo>
                  <a:lnTo>
                    <a:pt x="572" y="300"/>
                  </a:lnTo>
                  <a:lnTo>
                    <a:pt x="578" y="289"/>
                  </a:lnTo>
                  <a:lnTo>
                    <a:pt x="594" y="289"/>
                  </a:lnTo>
                  <a:lnTo>
                    <a:pt x="625" y="268"/>
                  </a:lnTo>
                  <a:lnTo>
                    <a:pt x="631" y="268"/>
                  </a:lnTo>
                  <a:lnTo>
                    <a:pt x="637" y="285"/>
                  </a:lnTo>
                  <a:lnTo>
                    <a:pt x="622" y="299"/>
                  </a:lnTo>
                  <a:lnTo>
                    <a:pt x="627" y="310"/>
                  </a:lnTo>
                  <a:lnTo>
                    <a:pt x="630" y="316"/>
                  </a:lnTo>
                  <a:lnTo>
                    <a:pt x="645" y="312"/>
                  </a:lnTo>
                  <a:lnTo>
                    <a:pt x="685" y="314"/>
                  </a:lnTo>
                  <a:lnTo>
                    <a:pt x="699" y="302"/>
                  </a:lnTo>
                  <a:lnTo>
                    <a:pt x="716" y="299"/>
                  </a:lnTo>
                  <a:lnTo>
                    <a:pt x="740" y="281"/>
                  </a:lnTo>
                  <a:lnTo>
                    <a:pt x="700" y="268"/>
                  </a:lnTo>
                  <a:lnTo>
                    <a:pt x="683" y="257"/>
                  </a:lnTo>
                  <a:lnTo>
                    <a:pt x="684" y="251"/>
                  </a:lnTo>
                  <a:lnTo>
                    <a:pt x="674" y="243"/>
                  </a:lnTo>
                  <a:lnTo>
                    <a:pt x="663" y="264"/>
                  </a:lnTo>
                  <a:lnTo>
                    <a:pt x="639" y="256"/>
                  </a:lnTo>
                  <a:lnTo>
                    <a:pt x="633" y="246"/>
                  </a:lnTo>
                  <a:lnTo>
                    <a:pt x="615" y="243"/>
                  </a:lnTo>
                  <a:lnTo>
                    <a:pt x="616" y="236"/>
                  </a:lnTo>
                  <a:lnTo>
                    <a:pt x="657" y="205"/>
                  </a:lnTo>
                  <a:lnTo>
                    <a:pt x="655" y="199"/>
                  </a:lnTo>
                  <a:lnTo>
                    <a:pt x="642" y="194"/>
                  </a:lnTo>
                  <a:lnTo>
                    <a:pt x="632" y="209"/>
                  </a:lnTo>
                  <a:lnTo>
                    <a:pt x="619" y="209"/>
                  </a:lnTo>
                  <a:lnTo>
                    <a:pt x="610" y="226"/>
                  </a:lnTo>
                  <a:lnTo>
                    <a:pt x="581" y="240"/>
                  </a:lnTo>
                  <a:lnTo>
                    <a:pt x="550" y="269"/>
                  </a:lnTo>
                  <a:lnTo>
                    <a:pt x="515" y="255"/>
                  </a:lnTo>
                  <a:lnTo>
                    <a:pt x="470" y="260"/>
                  </a:lnTo>
                  <a:lnTo>
                    <a:pt x="463" y="224"/>
                  </a:lnTo>
                  <a:lnTo>
                    <a:pt x="437" y="218"/>
                  </a:lnTo>
                  <a:lnTo>
                    <a:pt x="437" y="195"/>
                  </a:lnTo>
                  <a:lnTo>
                    <a:pt x="443" y="194"/>
                  </a:lnTo>
                  <a:lnTo>
                    <a:pt x="442" y="162"/>
                  </a:lnTo>
                  <a:lnTo>
                    <a:pt x="431" y="162"/>
                  </a:lnTo>
                  <a:lnTo>
                    <a:pt x="417" y="136"/>
                  </a:lnTo>
                  <a:lnTo>
                    <a:pt x="388" y="113"/>
                  </a:lnTo>
                  <a:close/>
                </a:path>
              </a:pathLst>
            </a:custGeom>
            <a:grpFill/>
            <a:ln w="6350">
              <a:solidFill>
                <a:schemeClr val="tx2"/>
              </a:solidFill>
              <a:round/>
              <a:headEnd/>
              <a:tailEnd/>
            </a:ln>
          </p:spPr>
          <p:txBody>
            <a:bodyPr/>
            <a:lstStyle/>
            <a:p>
              <a:endParaRPr lang="en-US"/>
            </a:p>
          </p:txBody>
        </p:sp>
        <p:sp>
          <p:nvSpPr>
            <p:cNvPr id="659" name="Freeform 1543"/>
            <p:cNvSpPr>
              <a:spLocks/>
            </p:cNvSpPr>
            <p:nvPr/>
          </p:nvSpPr>
          <p:spPr bwMode="auto">
            <a:xfrm>
              <a:off x="7177695" y="3982622"/>
              <a:ext cx="94061" cy="133506"/>
            </a:xfrm>
            <a:custGeom>
              <a:avLst/>
              <a:gdLst>
                <a:gd name="T0" fmla="*/ 2147483647 w 186"/>
                <a:gd name="T1" fmla="*/ 2147483647 h 270"/>
                <a:gd name="T2" fmla="*/ 2147483647 w 186"/>
                <a:gd name="T3" fmla="*/ 2147483647 h 270"/>
                <a:gd name="T4" fmla="*/ 2147483647 w 186"/>
                <a:gd name="T5" fmla="*/ 2147483647 h 270"/>
                <a:gd name="T6" fmla="*/ 2147483647 w 186"/>
                <a:gd name="T7" fmla="*/ 2147483647 h 270"/>
                <a:gd name="T8" fmla="*/ 2147483647 w 186"/>
                <a:gd name="T9" fmla="*/ 2147483647 h 270"/>
                <a:gd name="T10" fmla="*/ 2147483647 w 186"/>
                <a:gd name="T11" fmla="*/ 2147483647 h 270"/>
                <a:gd name="T12" fmla="*/ 2147483647 w 186"/>
                <a:gd name="T13" fmla="*/ 2147483647 h 270"/>
                <a:gd name="T14" fmla="*/ 2147483647 w 186"/>
                <a:gd name="T15" fmla="*/ 2147483647 h 270"/>
                <a:gd name="T16" fmla="*/ 2147483647 w 186"/>
                <a:gd name="T17" fmla="*/ 2147483647 h 270"/>
                <a:gd name="T18" fmla="*/ 2147483647 w 186"/>
                <a:gd name="T19" fmla="*/ 2147483647 h 270"/>
                <a:gd name="T20" fmla="*/ 2147483647 w 186"/>
                <a:gd name="T21" fmla="*/ 2147483647 h 270"/>
                <a:gd name="T22" fmla="*/ 2147483647 w 186"/>
                <a:gd name="T23" fmla="*/ 2147483647 h 270"/>
                <a:gd name="T24" fmla="*/ 2147483647 w 186"/>
                <a:gd name="T25" fmla="*/ 2147483647 h 270"/>
                <a:gd name="T26" fmla="*/ 2147483647 w 186"/>
                <a:gd name="T27" fmla="*/ 2147483647 h 270"/>
                <a:gd name="T28" fmla="*/ 2147483647 w 186"/>
                <a:gd name="T29" fmla="*/ 2147483647 h 270"/>
                <a:gd name="T30" fmla="*/ 2147483647 w 186"/>
                <a:gd name="T31" fmla="*/ 2147483647 h 270"/>
                <a:gd name="T32" fmla="*/ 2147483647 w 186"/>
                <a:gd name="T33" fmla="*/ 2147483647 h 270"/>
                <a:gd name="T34" fmla="*/ 2147483647 w 186"/>
                <a:gd name="T35" fmla="*/ 2147483647 h 270"/>
                <a:gd name="T36" fmla="*/ 2147483647 w 186"/>
                <a:gd name="T37" fmla="*/ 2147483647 h 270"/>
                <a:gd name="T38" fmla="*/ 2147483647 w 186"/>
                <a:gd name="T39" fmla="*/ 2147483647 h 270"/>
                <a:gd name="T40" fmla="*/ 2147483647 w 186"/>
                <a:gd name="T41" fmla="*/ 2147483647 h 270"/>
                <a:gd name="T42" fmla="*/ 2147483647 w 186"/>
                <a:gd name="T43" fmla="*/ 2147483647 h 270"/>
                <a:gd name="T44" fmla="*/ 2147483647 w 186"/>
                <a:gd name="T45" fmla="*/ 2147483647 h 270"/>
                <a:gd name="T46" fmla="*/ 2147483647 w 186"/>
                <a:gd name="T47" fmla="*/ 2147483647 h 270"/>
                <a:gd name="T48" fmla="*/ 2147483647 w 186"/>
                <a:gd name="T49" fmla="*/ 2147483647 h 270"/>
                <a:gd name="T50" fmla="*/ 2147483647 w 186"/>
                <a:gd name="T51" fmla="*/ 2147483647 h 270"/>
                <a:gd name="T52" fmla="*/ 2147483647 w 186"/>
                <a:gd name="T53" fmla="*/ 2147483647 h 270"/>
                <a:gd name="T54" fmla="*/ 2147483647 w 186"/>
                <a:gd name="T55" fmla="*/ 2147483647 h 270"/>
                <a:gd name="T56" fmla="*/ 2147483647 w 186"/>
                <a:gd name="T57" fmla="*/ 2147483647 h 270"/>
                <a:gd name="T58" fmla="*/ 2147483647 w 186"/>
                <a:gd name="T59" fmla="*/ 2147483647 h 270"/>
                <a:gd name="T60" fmla="*/ 2147483647 w 186"/>
                <a:gd name="T61" fmla="*/ 2147483647 h 270"/>
                <a:gd name="T62" fmla="*/ 2147483647 w 186"/>
                <a:gd name="T63" fmla="*/ 2147483647 h 270"/>
                <a:gd name="T64" fmla="*/ 2147483647 w 186"/>
                <a:gd name="T65" fmla="*/ 2147483647 h 270"/>
                <a:gd name="T66" fmla="*/ 2147483647 w 186"/>
                <a:gd name="T67" fmla="*/ 2147483647 h 270"/>
                <a:gd name="T68" fmla="*/ 2147483647 w 186"/>
                <a:gd name="T69" fmla="*/ 2147483647 h 270"/>
                <a:gd name="T70" fmla="*/ 2147483647 w 186"/>
                <a:gd name="T71" fmla="*/ 2147483647 h 270"/>
                <a:gd name="T72" fmla="*/ 2147483647 w 186"/>
                <a:gd name="T73" fmla="*/ 2147483647 h 270"/>
                <a:gd name="T74" fmla="*/ 2147483647 w 186"/>
                <a:gd name="T75" fmla="*/ 2147483647 h 270"/>
                <a:gd name="T76" fmla="*/ 2147483647 w 186"/>
                <a:gd name="T77" fmla="*/ 2147483647 h 270"/>
                <a:gd name="T78" fmla="*/ 2147483647 w 186"/>
                <a:gd name="T79" fmla="*/ 2147483647 h 270"/>
                <a:gd name="T80" fmla="*/ 2147483647 w 186"/>
                <a:gd name="T81" fmla="*/ 2147483647 h 270"/>
                <a:gd name="T82" fmla="*/ 2147483647 w 186"/>
                <a:gd name="T83" fmla="*/ 2147483647 h 270"/>
                <a:gd name="T84" fmla="*/ 2147483647 w 186"/>
                <a:gd name="T85" fmla="*/ 2147483647 h 270"/>
                <a:gd name="T86" fmla="*/ 2147483647 w 186"/>
                <a:gd name="T87" fmla="*/ 2147483647 h 270"/>
                <a:gd name="T88" fmla="*/ 2147483647 w 186"/>
                <a:gd name="T89" fmla="*/ 2147483647 h 270"/>
                <a:gd name="T90" fmla="*/ 2147483647 w 186"/>
                <a:gd name="T91" fmla="*/ 2147483647 h 270"/>
                <a:gd name="T92" fmla="*/ 2147483647 w 186"/>
                <a:gd name="T93" fmla="*/ 2147483647 h 270"/>
                <a:gd name="T94" fmla="*/ 2147483647 w 186"/>
                <a:gd name="T95" fmla="*/ 2147483647 h 270"/>
                <a:gd name="T96" fmla="*/ 2147483647 w 186"/>
                <a:gd name="T97" fmla="*/ 2147483647 h 270"/>
                <a:gd name="T98" fmla="*/ 2147483647 w 186"/>
                <a:gd name="T99" fmla="*/ 2147483647 h 270"/>
                <a:gd name="T100" fmla="*/ 0 w 186"/>
                <a:gd name="T101" fmla="*/ 2147483647 h 270"/>
                <a:gd name="T102" fmla="*/ 2147483647 w 186"/>
                <a:gd name="T103" fmla="*/ 2147483647 h 270"/>
                <a:gd name="T104" fmla="*/ 2147483647 w 186"/>
                <a:gd name="T105" fmla="*/ 2147483647 h 270"/>
                <a:gd name="T106" fmla="*/ 2147483647 w 186"/>
                <a:gd name="T107" fmla="*/ 2147483647 h 270"/>
                <a:gd name="T108" fmla="*/ 2147483647 w 186"/>
                <a:gd name="T109" fmla="*/ 2147483647 h 270"/>
                <a:gd name="T110" fmla="*/ 2147483647 w 186"/>
                <a:gd name="T111" fmla="*/ 2147483647 h 270"/>
                <a:gd name="T112" fmla="*/ 2147483647 w 186"/>
                <a:gd name="T113" fmla="*/ 0 h 270"/>
                <a:gd name="T114" fmla="*/ 2147483647 w 186"/>
                <a:gd name="T115" fmla="*/ 2147483647 h 270"/>
                <a:gd name="T116" fmla="*/ 2147483647 w 186"/>
                <a:gd name="T117" fmla="*/ 2147483647 h 270"/>
                <a:gd name="T118" fmla="*/ 2147483647 w 186"/>
                <a:gd name="T119" fmla="*/ 2147483647 h 270"/>
                <a:gd name="T120" fmla="*/ 2147483647 w 186"/>
                <a:gd name="T121" fmla="*/ 2147483647 h 270"/>
                <a:gd name="T122" fmla="*/ 2147483647 w 186"/>
                <a:gd name="T123" fmla="*/ 2147483647 h 270"/>
                <a:gd name="T124" fmla="*/ 2147483647 w 186"/>
                <a:gd name="T125" fmla="*/ 2147483647 h 2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6"/>
                <a:gd name="T190" fmla="*/ 0 h 270"/>
                <a:gd name="T191" fmla="*/ 186 w 186"/>
                <a:gd name="T192" fmla="*/ 270 h 2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6" h="270">
                  <a:moveTo>
                    <a:pt x="106" y="8"/>
                  </a:moveTo>
                  <a:lnTo>
                    <a:pt x="109" y="13"/>
                  </a:lnTo>
                  <a:lnTo>
                    <a:pt x="103" y="27"/>
                  </a:lnTo>
                  <a:lnTo>
                    <a:pt x="102" y="52"/>
                  </a:lnTo>
                  <a:lnTo>
                    <a:pt x="115" y="68"/>
                  </a:lnTo>
                  <a:lnTo>
                    <a:pt x="115" y="75"/>
                  </a:lnTo>
                  <a:lnTo>
                    <a:pt x="101" y="112"/>
                  </a:lnTo>
                  <a:lnTo>
                    <a:pt x="83" y="122"/>
                  </a:lnTo>
                  <a:lnTo>
                    <a:pt x="75" y="144"/>
                  </a:lnTo>
                  <a:lnTo>
                    <a:pt x="69" y="147"/>
                  </a:lnTo>
                  <a:lnTo>
                    <a:pt x="82" y="174"/>
                  </a:lnTo>
                  <a:lnTo>
                    <a:pt x="80" y="187"/>
                  </a:lnTo>
                  <a:lnTo>
                    <a:pt x="84" y="200"/>
                  </a:lnTo>
                  <a:lnTo>
                    <a:pt x="95" y="209"/>
                  </a:lnTo>
                  <a:lnTo>
                    <a:pt x="105" y="208"/>
                  </a:lnTo>
                  <a:lnTo>
                    <a:pt x="105" y="197"/>
                  </a:lnTo>
                  <a:lnTo>
                    <a:pt x="126" y="190"/>
                  </a:lnTo>
                  <a:lnTo>
                    <a:pt x="136" y="197"/>
                  </a:lnTo>
                  <a:lnTo>
                    <a:pt x="146" y="216"/>
                  </a:lnTo>
                  <a:lnTo>
                    <a:pt x="150" y="212"/>
                  </a:lnTo>
                  <a:lnTo>
                    <a:pt x="149" y="203"/>
                  </a:lnTo>
                  <a:lnTo>
                    <a:pt x="174" y="214"/>
                  </a:lnTo>
                  <a:lnTo>
                    <a:pt x="176" y="217"/>
                  </a:lnTo>
                  <a:lnTo>
                    <a:pt x="163" y="223"/>
                  </a:lnTo>
                  <a:lnTo>
                    <a:pt x="165" y="229"/>
                  </a:lnTo>
                  <a:lnTo>
                    <a:pt x="175" y="236"/>
                  </a:lnTo>
                  <a:lnTo>
                    <a:pt x="173" y="245"/>
                  </a:lnTo>
                  <a:lnTo>
                    <a:pt x="186" y="251"/>
                  </a:lnTo>
                  <a:lnTo>
                    <a:pt x="183" y="270"/>
                  </a:lnTo>
                  <a:lnTo>
                    <a:pt x="174" y="259"/>
                  </a:lnTo>
                  <a:lnTo>
                    <a:pt x="179" y="255"/>
                  </a:lnTo>
                  <a:lnTo>
                    <a:pt x="167" y="254"/>
                  </a:lnTo>
                  <a:lnTo>
                    <a:pt x="153" y="246"/>
                  </a:lnTo>
                  <a:lnTo>
                    <a:pt x="146" y="230"/>
                  </a:lnTo>
                  <a:lnTo>
                    <a:pt x="124" y="212"/>
                  </a:lnTo>
                  <a:lnTo>
                    <a:pt x="116" y="209"/>
                  </a:lnTo>
                  <a:lnTo>
                    <a:pt x="125" y="240"/>
                  </a:lnTo>
                  <a:lnTo>
                    <a:pt x="92" y="210"/>
                  </a:lnTo>
                  <a:lnTo>
                    <a:pt x="78" y="209"/>
                  </a:lnTo>
                  <a:lnTo>
                    <a:pt x="67" y="221"/>
                  </a:lnTo>
                  <a:lnTo>
                    <a:pt x="60" y="222"/>
                  </a:lnTo>
                  <a:lnTo>
                    <a:pt x="45" y="211"/>
                  </a:lnTo>
                  <a:lnTo>
                    <a:pt x="41" y="214"/>
                  </a:lnTo>
                  <a:lnTo>
                    <a:pt x="37" y="199"/>
                  </a:lnTo>
                  <a:lnTo>
                    <a:pt x="48" y="176"/>
                  </a:lnTo>
                  <a:lnTo>
                    <a:pt x="36" y="172"/>
                  </a:lnTo>
                  <a:lnTo>
                    <a:pt x="33" y="187"/>
                  </a:lnTo>
                  <a:lnTo>
                    <a:pt x="23" y="172"/>
                  </a:lnTo>
                  <a:lnTo>
                    <a:pt x="18" y="172"/>
                  </a:lnTo>
                  <a:lnTo>
                    <a:pt x="14" y="158"/>
                  </a:lnTo>
                  <a:lnTo>
                    <a:pt x="0" y="108"/>
                  </a:lnTo>
                  <a:lnTo>
                    <a:pt x="7" y="107"/>
                  </a:lnTo>
                  <a:lnTo>
                    <a:pt x="15" y="115"/>
                  </a:lnTo>
                  <a:lnTo>
                    <a:pt x="25" y="112"/>
                  </a:lnTo>
                  <a:lnTo>
                    <a:pt x="28" y="32"/>
                  </a:lnTo>
                  <a:lnTo>
                    <a:pt x="35" y="6"/>
                  </a:lnTo>
                  <a:lnTo>
                    <a:pt x="40" y="0"/>
                  </a:lnTo>
                  <a:lnTo>
                    <a:pt x="63" y="3"/>
                  </a:lnTo>
                  <a:lnTo>
                    <a:pt x="81" y="13"/>
                  </a:lnTo>
                  <a:lnTo>
                    <a:pt x="96" y="12"/>
                  </a:lnTo>
                  <a:lnTo>
                    <a:pt x="97" y="3"/>
                  </a:lnTo>
                  <a:lnTo>
                    <a:pt x="103" y="3"/>
                  </a:lnTo>
                  <a:lnTo>
                    <a:pt x="106" y="8"/>
                  </a:lnTo>
                  <a:close/>
                </a:path>
              </a:pathLst>
            </a:custGeom>
            <a:grpFill/>
            <a:ln w="6350">
              <a:solidFill>
                <a:schemeClr val="tx2"/>
              </a:solidFill>
              <a:round/>
              <a:headEnd/>
              <a:tailEnd/>
            </a:ln>
          </p:spPr>
          <p:txBody>
            <a:bodyPr/>
            <a:lstStyle/>
            <a:p>
              <a:endParaRPr lang="en-US"/>
            </a:p>
          </p:txBody>
        </p:sp>
        <p:sp>
          <p:nvSpPr>
            <p:cNvPr id="660" name="Freeform 1711"/>
            <p:cNvSpPr>
              <a:spLocks/>
            </p:cNvSpPr>
            <p:nvPr/>
          </p:nvSpPr>
          <p:spPr bwMode="auto">
            <a:xfrm>
              <a:off x="5806224" y="3782362"/>
              <a:ext cx="19722" cy="9103"/>
            </a:xfrm>
            <a:custGeom>
              <a:avLst/>
              <a:gdLst>
                <a:gd name="T0" fmla="*/ 2147483647 w 38"/>
                <a:gd name="T1" fmla="*/ 0 h 19"/>
                <a:gd name="T2" fmla="*/ 2147483647 w 38"/>
                <a:gd name="T3" fmla="*/ 0 h 19"/>
                <a:gd name="T4" fmla="*/ 0 w 38"/>
                <a:gd name="T5" fmla="*/ 2147483647 h 19"/>
                <a:gd name="T6" fmla="*/ 2147483647 w 38"/>
                <a:gd name="T7" fmla="*/ 2147483647 h 19"/>
                <a:gd name="T8" fmla="*/ 2147483647 w 38"/>
                <a:gd name="T9" fmla="*/ 0 h 19"/>
                <a:gd name="T10" fmla="*/ 0 60000 65536"/>
                <a:gd name="T11" fmla="*/ 0 60000 65536"/>
                <a:gd name="T12" fmla="*/ 0 60000 65536"/>
                <a:gd name="T13" fmla="*/ 0 60000 65536"/>
                <a:gd name="T14" fmla="*/ 0 60000 65536"/>
                <a:gd name="T15" fmla="*/ 0 w 38"/>
                <a:gd name="T16" fmla="*/ 0 h 19"/>
                <a:gd name="T17" fmla="*/ 38 w 38"/>
                <a:gd name="T18" fmla="*/ 19 h 19"/>
              </a:gdLst>
              <a:ahLst/>
              <a:cxnLst>
                <a:cxn ang="T10">
                  <a:pos x="T0" y="T1"/>
                </a:cxn>
                <a:cxn ang="T11">
                  <a:pos x="T2" y="T3"/>
                </a:cxn>
                <a:cxn ang="T12">
                  <a:pos x="T4" y="T5"/>
                </a:cxn>
                <a:cxn ang="T13">
                  <a:pos x="T6" y="T7"/>
                </a:cxn>
                <a:cxn ang="T14">
                  <a:pos x="T8" y="T9"/>
                </a:cxn>
              </a:cxnLst>
              <a:rect l="T15" t="T16" r="T17" b="T18"/>
              <a:pathLst>
                <a:path w="38" h="19">
                  <a:moveTo>
                    <a:pt x="38" y="0"/>
                  </a:moveTo>
                  <a:lnTo>
                    <a:pt x="21" y="0"/>
                  </a:lnTo>
                  <a:lnTo>
                    <a:pt x="0" y="19"/>
                  </a:lnTo>
                  <a:lnTo>
                    <a:pt x="21" y="14"/>
                  </a:lnTo>
                  <a:lnTo>
                    <a:pt x="38" y="0"/>
                  </a:lnTo>
                  <a:close/>
                </a:path>
              </a:pathLst>
            </a:custGeom>
            <a:grpFill/>
            <a:ln w="6350">
              <a:solidFill>
                <a:schemeClr val="tx2"/>
              </a:solidFill>
              <a:round/>
              <a:headEnd/>
              <a:tailEnd/>
            </a:ln>
          </p:spPr>
          <p:txBody>
            <a:bodyPr/>
            <a:lstStyle/>
            <a:p>
              <a:endParaRPr lang="en-US"/>
            </a:p>
          </p:txBody>
        </p:sp>
        <p:sp>
          <p:nvSpPr>
            <p:cNvPr id="661" name="Freeform 1712"/>
            <p:cNvSpPr>
              <a:spLocks/>
            </p:cNvSpPr>
            <p:nvPr/>
          </p:nvSpPr>
          <p:spPr bwMode="auto">
            <a:xfrm>
              <a:off x="5879045" y="3924971"/>
              <a:ext cx="3034" cy="10620"/>
            </a:xfrm>
            <a:custGeom>
              <a:avLst/>
              <a:gdLst>
                <a:gd name="T0" fmla="*/ 0 w 12"/>
                <a:gd name="T1" fmla="*/ 2147483647 h 21"/>
                <a:gd name="T2" fmla="*/ 2147483647 w 12"/>
                <a:gd name="T3" fmla="*/ 2147483647 h 21"/>
                <a:gd name="T4" fmla="*/ 2147483647 w 12"/>
                <a:gd name="T5" fmla="*/ 0 h 21"/>
                <a:gd name="T6" fmla="*/ 2147483647 w 12"/>
                <a:gd name="T7" fmla="*/ 2147483647 h 21"/>
                <a:gd name="T8" fmla="*/ 0 w 12"/>
                <a:gd name="T9" fmla="*/ 2147483647 h 21"/>
                <a:gd name="T10" fmla="*/ 0 60000 65536"/>
                <a:gd name="T11" fmla="*/ 0 60000 65536"/>
                <a:gd name="T12" fmla="*/ 0 60000 65536"/>
                <a:gd name="T13" fmla="*/ 0 60000 65536"/>
                <a:gd name="T14" fmla="*/ 0 60000 65536"/>
                <a:gd name="T15" fmla="*/ 0 w 12"/>
                <a:gd name="T16" fmla="*/ 0 h 21"/>
                <a:gd name="T17" fmla="*/ 12 w 12"/>
                <a:gd name="T18" fmla="*/ 21 h 21"/>
              </a:gdLst>
              <a:ahLst/>
              <a:cxnLst>
                <a:cxn ang="T10">
                  <a:pos x="T0" y="T1"/>
                </a:cxn>
                <a:cxn ang="T11">
                  <a:pos x="T2" y="T3"/>
                </a:cxn>
                <a:cxn ang="T12">
                  <a:pos x="T4" y="T5"/>
                </a:cxn>
                <a:cxn ang="T13">
                  <a:pos x="T6" y="T7"/>
                </a:cxn>
                <a:cxn ang="T14">
                  <a:pos x="T8" y="T9"/>
                </a:cxn>
              </a:cxnLst>
              <a:rect l="T15" t="T16" r="T17" b="T18"/>
              <a:pathLst>
                <a:path w="12" h="21">
                  <a:moveTo>
                    <a:pt x="0" y="21"/>
                  </a:moveTo>
                  <a:lnTo>
                    <a:pt x="12" y="8"/>
                  </a:lnTo>
                  <a:lnTo>
                    <a:pt x="11" y="0"/>
                  </a:lnTo>
                  <a:lnTo>
                    <a:pt x="1" y="13"/>
                  </a:lnTo>
                  <a:lnTo>
                    <a:pt x="0" y="21"/>
                  </a:lnTo>
                  <a:close/>
                </a:path>
              </a:pathLst>
            </a:custGeom>
            <a:grpFill/>
            <a:ln w="6350">
              <a:solidFill>
                <a:schemeClr val="tx2"/>
              </a:solidFill>
              <a:round/>
              <a:headEnd/>
              <a:tailEnd/>
            </a:ln>
          </p:spPr>
          <p:txBody>
            <a:bodyPr/>
            <a:lstStyle/>
            <a:p>
              <a:endParaRPr lang="en-US"/>
            </a:p>
          </p:txBody>
        </p:sp>
        <p:sp>
          <p:nvSpPr>
            <p:cNvPr id="662" name="Freeform 1713"/>
            <p:cNvSpPr>
              <a:spLocks/>
            </p:cNvSpPr>
            <p:nvPr/>
          </p:nvSpPr>
          <p:spPr bwMode="auto">
            <a:xfrm>
              <a:off x="5769813" y="3843047"/>
              <a:ext cx="7585" cy="3034"/>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5"/>
                  </a:lnTo>
                  <a:lnTo>
                    <a:pt x="6" y="0"/>
                  </a:lnTo>
                  <a:lnTo>
                    <a:pt x="0" y="6"/>
                  </a:lnTo>
                  <a:close/>
                </a:path>
              </a:pathLst>
            </a:custGeom>
            <a:grpFill/>
            <a:ln w="6350">
              <a:solidFill>
                <a:schemeClr val="tx2"/>
              </a:solidFill>
              <a:round/>
              <a:headEnd/>
              <a:tailEnd/>
            </a:ln>
          </p:spPr>
          <p:txBody>
            <a:bodyPr/>
            <a:lstStyle/>
            <a:p>
              <a:endParaRPr lang="en-US"/>
            </a:p>
          </p:txBody>
        </p:sp>
        <p:sp>
          <p:nvSpPr>
            <p:cNvPr id="663" name="Freeform 1716"/>
            <p:cNvSpPr>
              <a:spLocks/>
            </p:cNvSpPr>
            <p:nvPr/>
          </p:nvSpPr>
          <p:spPr bwMode="auto">
            <a:xfrm>
              <a:off x="5740987" y="4114611"/>
              <a:ext cx="4551" cy="1516"/>
            </a:xfrm>
            <a:custGeom>
              <a:avLst/>
              <a:gdLst>
                <a:gd name="T0" fmla="*/ 0 w 11"/>
                <a:gd name="T1" fmla="*/ 2147483647 h 1"/>
                <a:gd name="T2" fmla="*/ 2147483647 w 11"/>
                <a:gd name="T3" fmla="*/ 0 h 1"/>
                <a:gd name="T4" fmla="*/ 0 w 11"/>
                <a:gd name="T5" fmla="*/ 2147483647 h 1"/>
                <a:gd name="T6" fmla="*/ 0 60000 65536"/>
                <a:gd name="T7" fmla="*/ 0 60000 65536"/>
                <a:gd name="T8" fmla="*/ 0 60000 65536"/>
                <a:gd name="T9" fmla="*/ 0 w 11"/>
                <a:gd name="T10" fmla="*/ 0 h 1"/>
                <a:gd name="T11" fmla="*/ 11 w 11"/>
                <a:gd name="T12" fmla="*/ 1 h 1"/>
              </a:gdLst>
              <a:ahLst/>
              <a:cxnLst>
                <a:cxn ang="T6">
                  <a:pos x="T0" y="T1"/>
                </a:cxn>
                <a:cxn ang="T7">
                  <a:pos x="T2" y="T3"/>
                </a:cxn>
                <a:cxn ang="T8">
                  <a:pos x="T4" y="T5"/>
                </a:cxn>
              </a:cxnLst>
              <a:rect l="T9" t="T10" r="T11" b="T12"/>
              <a:pathLst>
                <a:path w="11" h="1">
                  <a:moveTo>
                    <a:pt x="0" y="1"/>
                  </a:moveTo>
                  <a:lnTo>
                    <a:pt x="11" y="0"/>
                  </a:lnTo>
                  <a:lnTo>
                    <a:pt x="0" y="1"/>
                  </a:lnTo>
                  <a:close/>
                </a:path>
              </a:pathLst>
            </a:custGeom>
            <a:grpFill/>
            <a:ln w="6350">
              <a:solidFill>
                <a:schemeClr val="tx2"/>
              </a:solidFill>
              <a:round/>
              <a:headEnd/>
              <a:tailEnd/>
            </a:ln>
          </p:spPr>
          <p:txBody>
            <a:bodyPr/>
            <a:lstStyle/>
            <a:p>
              <a:endParaRPr lang="en-US"/>
            </a:p>
          </p:txBody>
        </p:sp>
        <p:sp>
          <p:nvSpPr>
            <p:cNvPr id="664" name="Freeform 1717"/>
            <p:cNvSpPr>
              <a:spLocks/>
            </p:cNvSpPr>
            <p:nvPr/>
          </p:nvSpPr>
          <p:spPr bwMode="auto">
            <a:xfrm>
              <a:off x="5766779" y="4103991"/>
              <a:ext cx="21239" cy="9103"/>
            </a:xfrm>
            <a:custGeom>
              <a:avLst/>
              <a:gdLst>
                <a:gd name="T0" fmla="*/ 2147483647 w 47"/>
                <a:gd name="T1" fmla="*/ 2147483647 h 19"/>
                <a:gd name="T2" fmla="*/ 2147483647 w 47"/>
                <a:gd name="T3" fmla="*/ 2147483647 h 19"/>
                <a:gd name="T4" fmla="*/ 2147483647 w 47"/>
                <a:gd name="T5" fmla="*/ 2147483647 h 19"/>
                <a:gd name="T6" fmla="*/ 2147483647 w 47"/>
                <a:gd name="T7" fmla="*/ 2147483647 h 19"/>
                <a:gd name="T8" fmla="*/ 0 w 47"/>
                <a:gd name="T9" fmla="*/ 2147483647 h 19"/>
                <a:gd name="T10" fmla="*/ 2147483647 w 47"/>
                <a:gd name="T11" fmla="*/ 0 h 19"/>
                <a:gd name="T12" fmla="*/ 2147483647 w 47"/>
                <a:gd name="T13" fmla="*/ 2147483647 h 19"/>
                <a:gd name="T14" fmla="*/ 2147483647 w 47"/>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19"/>
                <a:gd name="T26" fmla="*/ 47 w 47"/>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19">
                  <a:moveTo>
                    <a:pt x="43" y="5"/>
                  </a:moveTo>
                  <a:lnTo>
                    <a:pt x="47" y="6"/>
                  </a:lnTo>
                  <a:lnTo>
                    <a:pt x="41" y="14"/>
                  </a:lnTo>
                  <a:lnTo>
                    <a:pt x="26" y="19"/>
                  </a:lnTo>
                  <a:lnTo>
                    <a:pt x="0" y="10"/>
                  </a:lnTo>
                  <a:lnTo>
                    <a:pt x="7" y="0"/>
                  </a:lnTo>
                  <a:lnTo>
                    <a:pt x="13" y="5"/>
                  </a:lnTo>
                  <a:lnTo>
                    <a:pt x="43" y="5"/>
                  </a:lnTo>
                  <a:close/>
                </a:path>
              </a:pathLst>
            </a:custGeom>
            <a:grpFill/>
            <a:ln w="6350">
              <a:solidFill>
                <a:schemeClr val="tx2"/>
              </a:solidFill>
              <a:round/>
              <a:headEnd/>
              <a:tailEnd/>
            </a:ln>
          </p:spPr>
          <p:txBody>
            <a:bodyPr/>
            <a:lstStyle/>
            <a:p>
              <a:endParaRPr lang="en-US"/>
            </a:p>
          </p:txBody>
        </p:sp>
        <p:sp>
          <p:nvSpPr>
            <p:cNvPr id="665" name="Freeform 1785"/>
            <p:cNvSpPr>
              <a:spLocks/>
            </p:cNvSpPr>
            <p:nvPr/>
          </p:nvSpPr>
          <p:spPr bwMode="auto">
            <a:xfrm>
              <a:off x="5569554" y="4634981"/>
              <a:ext cx="3034" cy="6069"/>
            </a:xfrm>
            <a:custGeom>
              <a:avLst/>
              <a:gdLst>
                <a:gd name="T0" fmla="*/ 2147483647 w 10"/>
                <a:gd name="T1" fmla="*/ 0 h 13"/>
                <a:gd name="T2" fmla="*/ 2147483647 w 10"/>
                <a:gd name="T3" fmla="*/ 2147483647 h 13"/>
                <a:gd name="T4" fmla="*/ 0 w 10"/>
                <a:gd name="T5" fmla="*/ 2147483647 h 13"/>
                <a:gd name="T6" fmla="*/ 2147483647 w 10"/>
                <a:gd name="T7" fmla="*/ 0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10" y="0"/>
                  </a:moveTo>
                  <a:lnTo>
                    <a:pt x="9" y="13"/>
                  </a:lnTo>
                  <a:lnTo>
                    <a:pt x="0" y="4"/>
                  </a:lnTo>
                  <a:lnTo>
                    <a:pt x="10" y="0"/>
                  </a:lnTo>
                  <a:close/>
                </a:path>
              </a:pathLst>
            </a:custGeom>
            <a:grpFill/>
            <a:ln w="6350">
              <a:solidFill>
                <a:schemeClr val="tx2"/>
              </a:solidFill>
              <a:round/>
              <a:headEnd/>
              <a:tailEnd/>
            </a:ln>
          </p:spPr>
          <p:txBody>
            <a:bodyPr/>
            <a:lstStyle/>
            <a:p>
              <a:endParaRPr lang="en-US"/>
            </a:p>
          </p:txBody>
        </p:sp>
        <p:sp>
          <p:nvSpPr>
            <p:cNvPr id="666" name="Freeform 1786"/>
            <p:cNvSpPr>
              <a:spLocks/>
            </p:cNvSpPr>
            <p:nvPr/>
          </p:nvSpPr>
          <p:spPr bwMode="auto">
            <a:xfrm>
              <a:off x="5587759" y="4648635"/>
              <a:ext cx="3034" cy="6069"/>
            </a:xfrm>
            <a:custGeom>
              <a:avLst/>
              <a:gdLst>
                <a:gd name="T0" fmla="*/ 2147483647 w 7"/>
                <a:gd name="T1" fmla="*/ 2147483647 h 13"/>
                <a:gd name="T2" fmla="*/ 2147483647 w 7"/>
                <a:gd name="T3" fmla="*/ 2147483647 h 13"/>
                <a:gd name="T4" fmla="*/ 2147483647 w 7"/>
                <a:gd name="T5" fmla="*/ 2147483647 h 13"/>
                <a:gd name="T6" fmla="*/ 0 w 7"/>
                <a:gd name="T7" fmla="*/ 0 h 13"/>
                <a:gd name="T8" fmla="*/ 2147483647 w 7"/>
                <a:gd name="T9" fmla="*/ 2147483647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4"/>
                  </a:moveTo>
                  <a:lnTo>
                    <a:pt x="7" y="13"/>
                  </a:lnTo>
                  <a:lnTo>
                    <a:pt x="1" y="12"/>
                  </a:lnTo>
                  <a:lnTo>
                    <a:pt x="0" y="0"/>
                  </a:lnTo>
                  <a:lnTo>
                    <a:pt x="7" y="4"/>
                  </a:lnTo>
                  <a:close/>
                </a:path>
              </a:pathLst>
            </a:custGeom>
            <a:grpFill/>
            <a:ln w="6350">
              <a:solidFill>
                <a:schemeClr val="tx2"/>
              </a:solidFill>
              <a:round/>
              <a:headEnd/>
              <a:tailEnd/>
            </a:ln>
          </p:spPr>
          <p:txBody>
            <a:bodyPr/>
            <a:lstStyle/>
            <a:p>
              <a:endParaRPr lang="en-US"/>
            </a:p>
          </p:txBody>
        </p:sp>
        <p:sp>
          <p:nvSpPr>
            <p:cNvPr id="667" name="Freeform 1789"/>
            <p:cNvSpPr>
              <a:spLocks/>
            </p:cNvSpPr>
            <p:nvPr/>
          </p:nvSpPr>
          <p:spPr bwMode="auto">
            <a:xfrm>
              <a:off x="5612033" y="4575813"/>
              <a:ext cx="6069" cy="3034"/>
            </a:xfrm>
            <a:custGeom>
              <a:avLst/>
              <a:gdLst>
                <a:gd name="T0" fmla="*/ 2147483647 w 12"/>
                <a:gd name="T1" fmla="*/ 2147483647 h 4"/>
                <a:gd name="T2" fmla="*/ 0 w 12"/>
                <a:gd name="T3" fmla="*/ 2147483647 h 4"/>
                <a:gd name="T4" fmla="*/ 2147483647 w 12"/>
                <a:gd name="T5" fmla="*/ 2147483647 h 4"/>
                <a:gd name="T6" fmla="*/ 2147483647 w 12"/>
                <a:gd name="T7" fmla="*/ 0 h 4"/>
                <a:gd name="T8" fmla="*/ 2147483647 w 12"/>
                <a:gd name="T9" fmla="*/ 2147483647 h 4"/>
                <a:gd name="T10" fmla="*/ 0 60000 65536"/>
                <a:gd name="T11" fmla="*/ 0 60000 65536"/>
                <a:gd name="T12" fmla="*/ 0 60000 65536"/>
                <a:gd name="T13" fmla="*/ 0 60000 65536"/>
                <a:gd name="T14" fmla="*/ 0 60000 65536"/>
                <a:gd name="T15" fmla="*/ 0 w 12"/>
                <a:gd name="T16" fmla="*/ 0 h 4"/>
                <a:gd name="T17" fmla="*/ 12 w 12"/>
                <a:gd name="T18" fmla="*/ 4 h 4"/>
              </a:gdLst>
              <a:ahLst/>
              <a:cxnLst>
                <a:cxn ang="T10">
                  <a:pos x="T0" y="T1"/>
                </a:cxn>
                <a:cxn ang="T11">
                  <a:pos x="T2" y="T3"/>
                </a:cxn>
                <a:cxn ang="T12">
                  <a:pos x="T4" y="T5"/>
                </a:cxn>
                <a:cxn ang="T13">
                  <a:pos x="T6" y="T7"/>
                </a:cxn>
                <a:cxn ang="T14">
                  <a:pos x="T8" y="T9"/>
                </a:cxn>
              </a:cxnLst>
              <a:rect l="T15" t="T16" r="T17" b="T18"/>
              <a:pathLst>
                <a:path w="12" h="4">
                  <a:moveTo>
                    <a:pt x="7" y="1"/>
                  </a:moveTo>
                  <a:lnTo>
                    <a:pt x="0" y="4"/>
                  </a:lnTo>
                  <a:lnTo>
                    <a:pt x="7" y="4"/>
                  </a:lnTo>
                  <a:lnTo>
                    <a:pt x="12" y="0"/>
                  </a:lnTo>
                  <a:lnTo>
                    <a:pt x="7" y="1"/>
                  </a:lnTo>
                  <a:close/>
                </a:path>
              </a:pathLst>
            </a:custGeom>
            <a:grpFill/>
            <a:ln w="6350">
              <a:solidFill>
                <a:schemeClr val="tx2"/>
              </a:solidFill>
              <a:round/>
              <a:headEnd/>
              <a:tailEnd/>
            </a:ln>
          </p:spPr>
          <p:txBody>
            <a:bodyPr/>
            <a:lstStyle/>
            <a:p>
              <a:endParaRPr lang="en-US"/>
            </a:p>
          </p:txBody>
        </p:sp>
        <p:sp>
          <p:nvSpPr>
            <p:cNvPr id="668" name="Freeform 1812"/>
            <p:cNvSpPr>
              <a:spLocks/>
            </p:cNvSpPr>
            <p:nvPr/>
          </p:nvSpPr>
          <p:spPr bwMode="auto">
            <a:xfrm>
              <a:off x="6191571" y="3031392"/>
              <a:ext cx="1307752" cy="910268"/>
            </a:xfrm>
            <a:custGeom>
              <a:avLst/>
              <a:gdLst>
                <a:gd name="T0" fmla="*/ 2147483647 w 2633"/>
                <a:gd name="T1" fmla="*/ 2147483647 h 1831"/>
                <a:gd name="T2" fmla="*/ 2147483647 w 2633"/>
                <a:gd name="T3" fmla="*/ 2147483647 h 1831"/>
                <a:gd name="T4" fmla="*/ 2147483647 w 2633"/>
                <a:gd name="T5" fmla="*/ 2147483647 h 1831"/>
                <a:gd name="T6" fmla="*/ 2147483647 w 2633"/>
                <a:gd name="T7" fmla="*/ 2147483647 h 1831"/>
                <a:gd name="T8" fmla="*/ 2147483647 w 2633"/>
                <a:gd name="T9" fmla="*/ 2147483647 h 1831"/>
                <a:gd name="T10" fmla="*/ 2147483647 w 2633"/>
                <a:gd name="T11" fmla="*/ 2147483647 h 1831"/>
                <a:gd name="T12" fmla="*/ 2147483647 w 2633"/>
                <a:gd name="T13" fmla="*/ 2147483647 h 1831"/>
                <a:gd name="T14" fmla="*/ 2147483647 w 2633"/>
                <a:gd name="T15" fmla="*/ 2147483647 h 1831"/>
                <a:gd name="T16" fmla="*/ 2147483647 w 2633"/>
                <a:gd name="T17" fmla="*/ 2147483647 h 1831"/>
                <a:gd name="T18" fmla="*/ 2147483647 w 2633"/>
                <a:gd name="T19" fmla="*/ 2147483647 h 1831"/>
                <a:gd name="T20" fmla="*/ 2147483647 w 2633"/>
                <a:gd name="T21" fmla="*/ 2147483647 h 1831"/>
                <a:gd name="T22" fmla="*/ 2147483647 w 2633"/>
                <a:gd name="T23" fmla="*/ 2147483647 h 1831"/>
                <a:gd name="T24" fmla="*/ 2147483647 w 2633"/>
                <a:gd name="T25" fmla="*/ 2147483647 h 1831"/>
                <a:gd name="T26" fmla="*/ 2147483647 w 2633"/>
                <a:gd name="T27" fmla="*/ 2147483647 h 1831"/>
                <a:gd name="T28" fmla="*/ 2147483647 w 2633"/>
                <a:gd name="T29" fmla="*/ 2147483647 h 1831"/>
                <a:gd name="T30" fmla="*/ 2147483647 w 2633"/>
                <a:gd name="T31" fmla="*/ 2147483647 h 1831"/>
                <a:gd name="T32" fmla="*/ 2147483647 w 2633"/>
                <a:gd name="T33" fmla="*/ 2147483647 h 1831"/>
                <a:gd name="T34" fmla="*/ 2147483647 w 2633"/>
                <a:gd name="T35" fmla="*/ 2147483647 h 1831"/>
                <a:gd name="T36" fmla="*/ 2147483647 w 2633"/>
                <a:gd name="T37" fmla="*/ 2147483647 h 1831"/>
                <a:gd name="T38" fmla="*/ 2147483647 w 2633"/>
                <a:gd name="T39" fmla="*/ 2147483647 h 1831"/>
                <a:gd name="T40" fmla="*/ 2147483647 w 2633"/>
                <a:gd name="T41" fmla="*/ 2147483647 h 1831"/>
                <a:gd name="T42" fmla="*/ 2147483647 w 2633"/>
                <a:gd name="T43" fmla="*/ 2147483647 h 1831"/>
                <a:gd name="T44" fmla="*/ 2147483647 w 2633"/>
                <a:gd name="T45" fmla="*/ 2147483647 h 1831"/>
                <a:gd name="T46" fmla="*/ 2147483647 w 2633"/>
                <a:gd name="T47" fmla="*/ 2147483647 h 1831"/>
                <a:gd name="T48" fmla="*/ 2147483647 w 2633"/>
                <a:gd name="T49" fmla="*/ 2147483647 h 1831"/>
                <a:gd name="T50" fmla="*/ 2147483647 w 2633"/>
                <a:gd name="T51" fmla="*/ 2147483647 h 1831"/>
                <a:gd name="T52" fmla="*/ 2147483647 w 2633"/>
                <a:gd name="T53" fmla="*/ 2147483647 h 1831"/>
                <a:gd name="T54" fmla="*/ 2147483647 w 2633"/>
                <a:gd name="T55" fmla="*/ 2147483647 h 1831"/>
                <a:gd name="T56" fmla="*/ 2147483647 w 2633"/>
                <a:gd name="T57" fmla="*/ 2147483647 h 1831"/>
                <a:gd name="T58" fmla="*/ 2147483647 w 2633"/>
                <a:gd name="T59" fmla="*/ 2147483647 h 1831"/>
                <a:gd name="T60" fmla="*/ 2147483647 w 2633"/>
                <a:gd name="T61" fmla="*/ 2147483647 h 1831"/>
                <a:gd name="T62" fmla="*/ 2147483647 w 2633"/>
                <a:gd name="T63" fmla="*/ 2147483647 h 1831"/>
                <a:gd name="T64" fmla="*/ 2147483647 w 2633"/>
                <a:gd name="T65" fmla="*/ 2147483647 h 1831"/>
                <a:gd name="T66" fmla="*/ 2147483647 w 2633"/>
                <a:gd name="T67" fmla="*/ 2147483647 h 1831"/>
                <a:gd name="T68" fmla="*/ 2147483647 w 2633"/>
                <a:gd name="T69" fmla="*/ 2147483647 h 1831"/>
                <a:gd name="T70" fmla="*/ 2147483647 w 2633"/>
                <a:gd name="T71" fmla="*/ 2147483647 h 1831"/>
                <a:gd name="T72" fmla="*/ 2147483647 w 2633"/>
                <a:gd name="T73" fmla="*/ 2147483647 h 1831"/>
                <a:gd name="T74" fmla="*/ 2147483647 w 2633"/>
                <a:gd name="T75" fmla="*/ 2147483647 h 1831"/>
                <a:gd name="T76" fmla="*/ 2147483647 w 2633"/>
                <a:gd name="T77" fmla="*/ 2147483647 h 1831"/>
                <a:gd name="T78" fmla="*/ 2147483647 w 2633"/>
                <a:gd name="T79" fmla="*/ 2147483647 h 1831"/>
                <a:gd name="T80" fmla="*/ 2147483647 w 2633"/>
                <a:gd name="T81" fmla="*/ 2147483647 h 1831"/>
                <a:gd name="T82" fmla="*/ 2147483647 w 2633"/>
                <a:gd name="T83" fmla="*/ 2147483647 h 1831"/>
                <a:gd name="T84" fmla="*/ 2147483647 w 2633"/>
                <a:gd name="T85" fmla="*/ 2147483647 h 1831"/>
                <a:gd name="T86" fmla="*/ 2147483647 w 2633"/>
                <a:gd name="T87" fmla="*/ 2147483647 h 1831"/>
                <a:gd name="T88" fmla="*/ 2147483647 w 2633"/>
                <a:gd name="T89" fmla="*/ 2147483647 h 1831"/>
                <a:gd name="T90" fmla="*/ 2147483647 w 2633"/>
                <a:gd name="T91" fmla="*/ 2147483647 h 1831"/>
                <a:gd name="T92" fmla="*/ 2147483647 w 2633"/>
                <a:gd name="T93" fmla="*/ 2147483647 h 1831"/>
                <a:gd name="T94" fmla="*/ 2147483647 w 2633"/>
                <a:gd name="T95" fmla="*/ 2147483647 h 1831"/>
                <a:gd name="T96" fmla="*/ 2147483647 w 2633"/>
                <a:gd name="T97" fmla="*/ 2147483647 h 1831"/>
                <a:gd name="T98" fmla="*/ 2147483647 w 2633"/>
                <a:gd name="T99" fmla="*/ 2147483647 h 1831"/>
                <a:gd name="T100" fmla="*/ 2147483647 w 2633"/>
                <a:gd name="T101" fmla="*/ 2147483647 h 1831"/>
                <a:gd name="T102" fmla="*/ 2147483647 w 2633"/>
                <a:gd name="T103" fmla="*/ 2147483647 h 1831"/>
                <a:gd name="T104" fmla="*/ 2147483647 w 2633"/>
                <a:gd name="T105" fmla="*/ 2147483647 h 1831"/>
                <a:gd name="T106" fmla="*/ 2147483647 w 2633"/>
                <a:gd name="T107" fmla="*/ 2147483647 h 1831"/>
                <a:gd name="T108" fmla="*/ 2147483647 w 2633"/>
                <a:gd name="T109" fmla="*/ 2147483647 h 1831"/>
                <a:gd name="T110" fmla="*/ 2147483647 w 2633"/>
                <a:gd name="T111" fmla="*/ 2147483647 h 1831"/>
                <a:gd name="T112" fmla="*/ 2147483647 w 2633"/>
                <a:gd name="T113" fmla="*/ 2147483647 h 1831"/>
                <a:gd name="T114" fmla="*/ 2147483647 w 2633"/>
                <a:gd name="T115" fmla="*/ 2147483647 h 1831"/>
                <a:gd name="T116" fmla="*/ 2147483647 w 2633"/>
                <a:gd name="T117" fmla="*/ 2147483647 h 1831"/>
                <a:gd name="T118" fmla="*/ 2147483647 w 2633"/>
                <a:gd name="T119" fmla="*/ 2147483647 h 1831"/>
                <a:gd name="T120" fmla="*/ 2147483647 w 2633"/>
                <a:gd name="T121" fmla="*/ 2147483647 h 1831"/>
                <a:gd name="T122" fmla="*/ 2147483647 w 2633"/>
                <a:gd name="T123" fmla="*/ 2147483647 h 1831"/>
                <a:gd name="T124" fmla="*/ 2147483647 w 2633"/>
                <a:gd name="T125" fmla="*/ 2147483647 h 183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33"/>
                <a:gd name="T190" fmla="*/ 0 h 1831"/>
                <a:gd name="T191" fmla="*/ 2633 w 2633"/>
                <a:gd name="T192" fmla="*/ 1831 h 183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33" h="1831">
                  <a:moveTo>
                    <a:pt x="1758" y="1732"/>
                  </a:moveTo>
                  <a:lnTo>
                    <a:pt x="1754" y="1725"/>
                  </a:lnTo>
                  <a:lnTo>
                    <a:pt x="1747" y="1727"/>
                  </a:lnTo>
                  <a:lnTo>
                    <a:pt x="1749" y="1734"/>
                  </a:lnTo>
                  <a:lnTo>
                    <a:pt x="1736" y="1737"/>
                  </a:lnTo>
                  <a:lnTo>
                    <a:pt x="1733" y="1727"/>
                  </a:lnTo>
                  <a:lnTo>
                    <a:pt x="1716" y="1713"/>
                  </a:lnTo>
                  <a:lnTo>
                    <a:pt x="1715" y="1740"/>
                  </a:lnTo>
                  <a:lnTo>
                    <a:pt x="1710" y="1741"/>
                  </a:lnTo>
                  <a:lnTo>
                    <a:pt x="1696" y="1724"/>
                  </a:lnTo>
                  <a:lnTo>
                    <a:pt x="1690" y="1756"/>
                  </a:lnTo>
                  <a:lnTo>
                    <a:pt x="1660" y="1764"/>
                  </a:lnTo>
                  <a:lnTo>
                    <a:pt x="1643" y="1763"/>
                  </a:lnTo>
                  <a:lnTo>
                    <a:pt x="1635" y="1771"/>
                  </a:lnTo>
                  <a:lnTo>
                    <a:pt x="1608" y="1774"/>
                  </a:lnTo>
                  <a:lnTo>
                    <a:pt x="1587" y="1783"/>
                  </a:lnTo>
                  <a:lnTo>
                    <a:pt x="1580" y="1780"/>
                  </a:lnTo>
                  <a:lnTo>
                    <a:pt x="1571" y="1802"/>
                  </a:lnTo>
                  <a:lnTo>
                    <a:pt x="1580" y="1817"/>
                  </a:lnTo>
                  <a:lnTo>
                    <a:pt x="1580" y="1826"/>
                  </a:lnTo>
                  <a:lnTo>
                    <a:pt x="1568" y="1831"/>
                  </a:lnTo>
                  <a:lnTo>
                    <a:pt x="1560" y="1826"/>
                  </a:lnTo>
                  <a:lnTo>
                    <a:pt x="1547" y="1803"/>
                  </a:lnTo>
                  <a:lnTo>
                    <a:pt x="1552" y="1777"/>
                  </a:lnTo>
                  <a:lnTo>
                    <a:pt x="1549" y="1771"/>
                  </a:lnTo>
                  <a:lnTo>
                    <a:pt x="1527" y="1779"/>
                  </a:lnTo>
                  <a:lnTo>
                    <a:pt x="1523" y="1772"/>
                  </a:lnTo>
                  <a:lnTo>
                    <a:pt x="1502" y="1765"/>
                  </a:lnTo>
                  <a:lnTo>
                    <a:pt x="1489" y="1774"/>
                  </a:lnTo>
                  <a:lnTo>
                    <a:pt x="1489" y="1779"/>
                  </a:lnTo>
                  <a:lnTo>
                    <a:pt x="1486" y="1771"/>
                  </a:lnTo>
                  <a:lnTo>
                    <a:pt x="1474" y="1776"/>
                  </a:lnTo>
                  <a:lnTo>
                    <a:pt x="1447" y="1771"/>
                  </a:lnTo>
                  <a:lnTo>
                    <a:pt x="1425" y="1757"/>
                  </a:lnTo>
                  <a:lnTo>
                    <a:pt x="1416" y="1736"/>
                  </a:lnTo>
                  <a:lnTo>
                    <a:pt x="1420" y="1724"/>
                  </a:lnTo>
                  <a:lnTo>
                    <a:pt x="1417" y="1716"/>
                  </a:lnTo>
                  <a:lnTo>
                    <a:pt x="1390" y="1713"/>
                  </a:lnTo>
                  <a:lnTo>
                    <a:pt x="1358" y="1697"/>
                  </a:lnTo>
                  <a:lnTo>
                    <a:pt x="1325" y="1717"/>
                  </a:lnTo>
                  <a:lnTo>
                    <a:pt x="1313" y="1716"/>
                  </a:lnTo>
                  <a:lnTo>
                    <a:pt x="1299" y="1727"/>
                  </a:lnTo>
                  <a:lnTo>
                    <a:pt x="1296" y="1722"/>
                  </a:lnTo>
                  <a:lnTo>
                    <a:pt x="1286" y="1725"/>
                  </a:lnTo>
                  <a:lnTo>
                    <a:pt x="1280" y="1721"/>
                  </a:lnTo>
                  <a:lnTo>
                    <a:pt x="1264" y="1729"/>
                  </a:lnTo>
                  <a:lnTo>
                    <a:pt x="1241" y="1719"/>
                  </a:lnTo>
                  <a:lnTo>
                    <a:pt x="1231" y="1734"/>
                  </a:lnTo>
                  <a:lnTo>
                    <a:pt x="1209" y="1728"/>
                  </a:lnTo>
                  <a:lnTo>
                    <a:pt x="1203" y="1735"/>
                  </a:lnTo>
                  <a:lnTo>
                    <a:pt x="1203" y="1757"/>
                  </a:lnTo>
                  <a:lnTo>
                    <a:pt x="1208" y="1770"/>
                  </a:lnTo>
                  <a:lnTo>
                    <a:pt x="1204" y="1783"/>
                  </a:lnTo>
                  <a:lnTo>
                    <a:pt x="1189" y="1787"/>
                  </a:lnTo>
                  <a:lnTo>
                    <a:pt x="1184" y="1767"/>
                  </a:lnTo>
                  <a:lnTo>
                    <a:pt x="1183" y="1762"/>
                  </a:lnTo>
                  <a:lnTo>
                    <a:pt x="1174" y="1761"/>
                  </a:lnTo>
                  <a:lnTo>
                    <a:pt x="1162" y="1770"/>
                  </a:lnTo>
                  <a:lnTo>
                    <a:pt x="1146" y="1772"/>
                  </a:lnTo>
                  <a:lnTo>
                    <a:pt x="1132" y="1759"/>
                  </a:lnTo>
                  <a:lnTo>
                    <a:pt x="1130" y="1750"/>
                  </a:lnTo>
                  <a:lnTo>
                    <a:pt x="1104" y="1743"/>
                  </a:lnTo>
                  <a:lnTo>
                    <a:pt x="1113" y="1706"/>
                  </a:lnTo>
                  <a:lnTo>
                    <a:pt x="1090" y="1692"/>
                  </a:lnTo>
                  <a:lnTo>
                    <a:pt x="1084" y="1657"/>
                  </a:lnTo>
                  <a:lnTo>
                    <a:pt x="1065" y="1655"/>
                  </a:lnTo>
                  <a:lnTo>
                    <a:pt x="1034" y="1674"/>
                  </a:lnTo>
                  <a:lnTo>
                    <a:pt x="1031" y="1670"/>
                  </a:lnTo>
                  <a:lnTo>
                    <a:pt x="1038" y="1656"/>
                  </a:lnTo>
                  <a:lnTo>
                    <a:pt x="1037" y="1637"/>
                  </a:lnTo>
                  <a:lnTo>
                    <a:pt x="1044" y="1611"/>
                  </a:lnTo>
                  <a:lnTo>
                    <a:pt x="1068" y="1585"/>
                  </a:lnTo>
                  <a:lnTo>
                    <a:pt x="1076" y="1563"/>
                  </a:lnTo>
                  <a:lnTo>
                    <a:pt x="1079" y="1534"/>
                  </a:lnTo>
                  <a:lnTo>
                    <a:pt x="1072" y="1492"/>
                  </a:lnTo>
                  <a:lnTo>
                    <a:pt x="1060" y="1492"/>
                  </a:lnTo>
                  <a:lnTo>
                    <a:pt x="1053" y="1471"/>
                  </a:lnTo>
                  <a:lnTo>
                    <a:pt x="1043" y="1461"/>
                  </a:lnTo>
                  <a:lnTo>
                    <a:pt x="1031" y="1456"/>
                  </a:lnTo>
                  <a:lnTo>
                    <a:pt x="1020" y="1463"/>
                  </a:lnTo>
                  <a:lnTo>
                    <a:pt x="1016" y="1454"/>
                  </a:lnTo>
                  <a:lnTo>
                    <a:pt x="1009" y="1451"/>
                  </a:lnTo>
                  <a:lnTo>
                    <a:pt x="976" y="1448"/>
                  </a:lnTo>
                  <a:lnTo>
                    <a:pt x="979" y="1424"/>
                  </a:lnTo>
                  <a:lnTo>
                    <a:pt x="970" y="1421"/>
                  </a:lnTo>
                  <a:lnTo>
                    <a:pt x="970" y="1407"/>
                  </a:lnTo>
                  <a:lnTo>
                    <a:pt x="961" y="1398"/>
                  </a:lnTo>
                  <a:lnTo>
                    <a:pt x="929" y="1411"/>
                  </a:lnTo>
                  <a:lnTo>
                    <a:pt x="899" y="1407"/>
                  </a:lnTo>
                  <a:lnTo>
                    <a:pt x="834" y="1459"/>
                  </a:lnTo>
                  <a:lnTo>
                    <a:pt x="778" y="1481"/>
                  </a:lnTo>
                  <a:lnTo>
                    <a:pt x="761" y="1470"/>
                  </a:lnTo>
                  <a:lnTo>
                    <a:pt x="747" y="1472"/>
                  </a:lnTo>
                  <a:lnTo>
                    <a:pt x="724" y="1468"/>
                  </a:lnTo>
                  <a:lnTo>
                    <a:pt x="716" y="1458"/>
                  </a:lnTo>
                  <a:lnTo>
                    <a:pt x="699" y="1457"/>
                  </a:lnTo>
                  <a:lnTo>
                    <a:pt x="681" y="1470"/>
                  </a:lnTo>
                  <a:lnTo>
                    <a:pt x="657" y="1502"/>
                  </a:lnTo>
                  <a:lnTo>
                    <a:pt x="649" y="1498"/>
                  </a:lnTo>
                  <a:lnTo>
                    <a:pt x="651" y="1478"/>
                  </a:lnTo>
                  <a:lnTo>
                    <a:pt x="648" y="1468"/>
                  </a:lnTo>
                  <a:lnTo>
                    <a:pt x="620" y="1476"/>
                  </a:lnTo>
                  <a:lnTo>
                    <a:pt x="611" y="1476"/>
                  </a:lnTo>
                  <a:lnTo>
                    <a:pt x="607" y="1482"/>
                  </a:lnTo>
                  <a:lnTo>
                    <a:pt x="588" y="1481"/>
                  </a:lnTo>
                  <a:lnTo>
                    <a:pt x="558" y="1469"/>
                  </a:lnTo>
                  <a:lnTo>
                    <a:pt x="552" y="1476"/>
                  </a:lnTo>
                  <a:lnTo>
                    <a:pt x="536" y="1472"/>
                  </a:lnTo>
                  <a:lnTo>
                    <a:pt x="529" y="1476"/>
                  </a:lnTo>
                  <a:lnTo>
                    <a:pt x="518" y="1461"/>
                  </a:lnTo>
                  <a:lnTo>
                    <a:pt x="506" y="1462"/>
                  </a:lnTo>
                  <a:lnTo>
                    <a:pt x="493" y="1455"/>
                  </a:lnTo>
                  <a:lnTo>
                    <a:pt x="494" y="1440"/>
                  </a:lnTo>
                  <a:lnTo>
                    <a:pt x="477" y="1442"/>
                  </a:lnTo>
                  <a:lnTo>
                    <a:pt x="460" y="1436"/>
                  </a:lnTo>
                  <a:lnTo>
                    <a:pt x="456" y="1430"/>
                  </a:lnTo>
                  <a:lnTo>
                    <a:pt x="452" y="1432"/>
                  </a:lnTo>
                  <a:lnTo>
                    <a:pt x="453" y="1408"/>
                  </a:lnTo>
                  <a:lnTo>
                    <a:pt x="440" y="1407"/>
                  </a:lnTo>
                  <a:lnTo>
                    <a:pt x="425" y="1419"/>
                  </a:lnTo>
                  <a:lnTo>
                    <a:pt x="418" y="1414"/>
                  </a:lnTo>
                  <a:lnTo>
                    <a:pt x="411" y="1394"/>
                  </a:lnTo>
                  <a:lnTo>
                    <a:pt x="377" y="1368"/>
                  </a:lnTo>
                  <a:lnTo>
                    <a:pt x="332" y="1357"/>
                  </a:lnTo>
                  <a:lnTo>
                    <a:pt x="328" y="1372"/>
                  </a:lnTo>
                  <a:lnTo>
                    <a:pt x="317" y="1361"/>
                  </a:lnTo>
                  <a:lnTo>
                    <a:pt x="273" y="1337"/>
                  </a:lnTo>
                  <a:lnTo>
                    <a:pt x="270" y="1328"/>
                  </a:lnTo>
                  <a:lnTo>
                    <a:pt x="255" y="1328"/>
                  </a:lnTo>
                  <a:lnTo>
                    <a:pt x="251" y="1320"/>
                  </a:lnTo>
                  <a:lnTo>
                    <a:pt x="228" y="1323"/>
                  </a:lnTo>
                  <a:lnTo>
                    <a:pt x="227" y="1314"/>
                  </a:lnTo>
                  <a:lnTo>
                    <a:pt x="216" y="1301"/>
                  </a:lnTo>
                  <a:lnTo>
                    <a:pt x="218" y="1273"/>
                  </a:lnTo>
                  <a:lnTo>
                    <a:pt x="207" y="1260"/>
                  </a:lnTo>
                  <a:lnTo>
                    <a:pt x="205" y="1246"/>
                  </a:lnTo>
                  <a:lnTo>
                    <a:pt x="217" y="1239"/>
                  </a:lnTo>
                  <a:lnTo>
                    <a:pt x="228" y="1253"/>
                  </a:lnTo>
                  <a:lnTo>
                    <a:pt x="234" y="1252"/>
                  </a:lnTo>
                  <a:lnTo>
                    <a:pt x="241" y="1242"/>
                  </a:lnTo>
                  <a:lnTo>
                    <a:pt x="248" y="1245"/>
                  </a:lnTo>
                  <a:lnTo>
                    <a:pt x="254" y="1236"/>
                  </a:lnTo>
                  <a:lnTo>
                    <a:pt x="247" y="1222"/>
                  </a:lnTo>
                  <a:lnTo>
                    <a:pt x="247" y="1213"/>
                  </a:lnTo>
                  <a:lnTo>
                    <a:pt x="234" y="1211"/>
                  </a:lnTo>
                  <a:lnTo>
                    <a:pt x="227" y="1202"/>
                  </a:lnTo>
                  <a:lnTo>
                    <a:pt x="230" y="1182"/>
                  </a:lnTo>
                  <a:lnTo>
                    <a:pt x="226" y="1171"/>
                  </a:lnTo>
                  <a:lnTo>
                    <a:pt x="245" y="1171"/>
                  </a:lnTo>
                  <a:lnTo>
                    <a:pt x="252" y="1165"/>
                  </a:lnTo>
                  <a:lnTo>
                    <a:pt x="255" y="1148"/>
                  </a:lnTo>
                  <a:lnTo>
                    <a:pt x="263" y="1147"/>
                  </a:lnTo>
                  <a:lnTo>
                    <a:pt x="263" y="1142"/>
                  </a:lnTo>
                  <a:lnTo>
                    <a:pt x="275" y="1131"/>
                  </a:lnTo>
                  <a:lnTo>
                    <a:pt x="287" y="1092"/>
                  </a:lnTo>
                  <a:lnTo>
                    <a:pt x="282" y="1090"/>
                  </a:lnTo>
                  <a:lnTo>
                    <a:pt x="275" y="1096"/>
                  </a:lnTo>
                  <a:lnTo>
                    <a:pt x="271" y="1084"/>
                  </a:lnTo>
                  <a:lnTo>
                    <a:pt x="264" y="1087"/>
                  </a:lnTo>
                  <a:lnTo>
                    <a:pt x="258" y="1082"/>
                  </a:lnTo>
                  <a:lnTo>
                    <a:pt x="257" y="1074"/>
                  </a:lnTo>
                  <a:lnTo>
                    <a:pt x="240" y="1066"/>
                  </a:lnTo>
                  <a:lnTo>
                    <a:pt x="217" y="1071"/>
                  </a:lnTo>
                  <a:lnTo>
                    <a:pt x="185" y="1094"/>
                  </a:lnTo>
                  <a:lnTo>
                    <a:pt x="171" y="1094"/>
                  </a:lnTo>
                  <a:lnTo>
                    <a:pt x="133" y="1080"/>
                  </a:lnTo>
                  <a:lnTo>
                    <a:pt x="125" y="1076"/>
                  </a:lnTo>
                  <a:lnTo>
                    <a:pt x="124" y="1069"/>
                  </a:lnTo>
                  <a:lnTo>
                    <a:pt x="108" y="1073"/>
                  </a:lnTo>
                  <a:lnTo>
                    <a:pt x="96" y="1060"/>
                  </a:lnTo>
                  <a:lnTo>
                    <a:pt x="101" y="1055"/>
                  </a:lnTo>
                  <a:lnTo>
                    <a:pt x="99" y="1039"/>
                  </a:lnTo>
                  <a:lnTo>
                    <a:pt x="93" y="1029"/>
                  </a:lnTo>
                  <a:lnTo>
                    <a:pt x="85" y="1024"/>
                  </a:lnTo>
                  <a:lnTo>
                    <a:pt x="76" y="1028"/>
                  </a:lnTo>
                  <a:lnTo>
                    <a:pt x="73" y="1014"/>
                  </a:lnTo>
                  <a:lnTo>
                    <a:pt x="41" y="1010"/>
                  </a:lnTo>
                  <a:lnTo>
                    <a:pt x="34" y="1003"/>
                  </a:lnTo>
                  <a:lnTo>
                    <a:pt x="46" y="997"/>
                  </a:lnTo>
                  <a:lnTo>
                    <a:pt x="56" y="998"/>
                  </a:lnTo>
                  <a:lnTo>
                    <a:pt x="56" y="971"/>
                  </a:lnTo>
                  <a:lnTo>
                    <a:pt x="48" y="952"/>
                  </a:lnTo>
                  <a:lnTo>
                    <a:pt x="48" y="936"/>
                  </a:lnTo>
                  <a:lnTo>
                    <a:pt x="41" y="927"/>
                  </a:lnTo>
                  <a:lnTo>
                    <a:pt x="12" y="931"/>
                  </a:lnTo>
                  <a:lnTo>
                    <a:pt x="4" y="926"/>
                  </a:lnTo>
                  <a:lnTo>
                    <a:pt x="0" y="911"/>
                  </a:lnTo>
                  <a:lnTo>
                    <a:pt x="6" y="868"/>
                  </a:lnTo>
                  <a:lnTo>
                    <a:pt x="6" y="861"/>
                  </a:lnTo>
                  <a:lnTo>
                    <a:pt x="14" y="846"/>
                  </a:lnTo>
                  <a:lnTo>
                    <a:pt x="48" y="830"/>
                  </a:lnTo>
                  <a:lnTo>
                    <a:pt x="53" y="819"/>
                  </a:lnTo>
                  <a:lnTo>
                    <a:pt x="72" y="817"/>
                  </a:lnTo>
                  <a:lnTo>
                    <a:pt x="81" y="818"/>
                  </a:lnTo>
                  <a:lnTo>
                    <a:pt x="85" y="828"/>
                  </a:lnTo>
                  <a:lnTo>
                    <a:pt x="114" y="827"/>
                  </a:lnTo>
                  <a:lnTo>
                    <a:pt x="126" y="820"/>
                  </a:lnTo>
                  <a:lnTo>
                    <a:pt x="137" y="796"/>
                  </a:lnTo>
                  <a:lnTo>
                    <a:pt x="196" y="784"/>
                  </a:lnTo>
                  <a:lnTo>
                    <a:pt x="214" y="763"/>
                  </a:lnTo>
                  <a:lnTo>
                    <a:pt x="279" y="732"/>
                  </a:lnTo>
                  <a:lnTo>
                    <a:pt x="282" y="711"/>
                  </a:lnTo>
                  <a:lnTo>
                    <a:pt x="291" y="674"/>
                  </a:lnTo>
                  <a:lnTo>
                    <a:pt x="300" y="667"/>
                  </a:lnTo>
                  <a:lnTo>
                    <a:pt x="300" y="654"/>
                  </a:lnTo>
                  <a:lnTo>
                    <a:pt x="286" y="612"/>
                  </a:lnTo>
                  <a:lnTo>
                    <a:pt x="282" y="582"/>
                  </a:lnTo>
                  <a:lnTo>
                    <a:pt x="270" y="564"/>
                  </a:lnTo>
                  <a:lnTo>
                    <a:pt x="302" y="553"/>
                  </a:lnTo>
                  <a:lnTo>
                    <a:pt x="324" y="545"/>
                  </a:lnTo>
                  <a:lnTo>
                    <a:pt x="373" y="540"/>
                  </a:lnTo>
                  <a:lnTo>
                    <a:pt x="366" y="513"/>
                  </a:lnTo>
                  <a:lnTo>
                    <a:pt x="369" y="498"/>
                  </a:lnTo>
                  <a:lnTo>
                    <a:pt x="386" y="458"/>
                  </a:lnTo>
                  <a:lnTo>
                    <a:pt x="399" y="421"/>
                  </a:lnTo>
                  <a:lnTo>
                    <a:pt x="417" y="422"/>
                  </a:lnTo>
                  <a:lnTo>
                    <a:pt x="439" y="432"/>
                  </a:lnTo>
                  <a:lnTo>
                    <a:pt x="466" y="429"/>
                  </a:lnTo>
                  <a:lnTo>
                    <a:pt x="481" y="442"/>
                  </a:lnTo>
                  <a:lnTo>
                    <a:pt x="512" y="427"/>
                  </a:lnTo>
                  <a:lnTo>
                    <a:pt x="512" y="380"/>
                  </a:lnTo>
                  <a:lnTo>
                    <a:pt x="525" y="345"/>
                  </a:lnTo>
                  <a:lnTo>
                    <a:pt x="552" y="341"/>
                  </a:lnTo>
                  <a:lnTo>
                    <a:pt x="574" y="313"/>
                  </a:lnTo>
                  <a:lnTo>
                    <a:pt x="592" y="319"/>
                  </a:lnTo>
                  <a:lnTo>
                    <a:pt x="609" y="305"/>
                  </a:lnTo>
                  <a:lnTo>
                    <a:pt x="619" y="338"/>
                  </a:lnTo>
                  <a:lnTo>
                    <a:pt x="644" y="356"/>
                  </a:lnTo>
                  <a:lnTo>
                    <a:pt x="652" y="372"/>
                  </a:lnTo>
                  <a:lnTo>
                    <a:pt x="663" y="381"/>
                  </a:lnTo>
                  <a:lnTo>
                    <a:pt x="669" y="372"/>
                  </a:lnTo>
                  <a:lnTo>
                    <a:pt x="707" y="384"/>
                  </a:lnTo>
                  <a:lnTo>
                    <a:pt x="714" y="397"/>
                  </a:lnTo>
                  <a:lnTo>
                    <a:pt x="736" y="460"/>
                  </a:lnTo>
                  <a:lnTo>
                    <a:pt x="739" y="511"/>
                  </a:lnTo>
                  <a:lnTo>
                    <a:pt x="731" y="536"/>
                  </a:lnTo>
                  <a:lnTo>
                    <a:pt x="801" y="558"/>
                  </a:lnTo>
                  <a:lnTo>
                    <a:pt x="828" y="554"/>
                  </a:lnTo>
                  <a:lnTo>
                    <a:pt x="930" y="597"/>
                  </a:lnTo>
                  <a:lnTo>
                    <a:pt x="962" y="652"/>
                  </a:lnTo>
                  <a:lnTo>
                    <a:pt x="994" y="687"/>
                  </a:lnTo>
                  <a:lnTo>
                    <a:pt x="1005" y="692"/>
                  </a:lnTo>
                  <a:lnTo>
                    <a:pt x="1167" y="684"/>
                  </a:lnTo>
                  <a:lnTo>
                    <a:pt x="1200" y="696"/>
                  </a:lnTo>
                  <a:lnTo>
                    <a:pt x="1237" y="723"/>
                  </a:lnTo>
                  <a:lnTo>
                    <a:pt x="1296" y="744"/>
                  </a:lnTo>
                  <a:lnTo>
                    <a:pt x="1317" y="745"/>
                  </a:lnTo>
                  <a:lnTo>
                    <a:pt x="1340" y="757"/>
                  </a:lnTo>
                  <a:lnTo>
                    <a:pt x="1405" y="729"/>
                  </a:lnTo>
                  <a:lnTo>
                    <a:pt x="1410" y="723"/>
                  </a:lnTo>
                  <a:lnTo>
                    <a:pt x="1462" y="708"/>
                  </a:lnTo>
                  <a:lnTo>
                    <a:pt x="1496" y="705"/>
                  </a:lnTo>
                  <a:lnTo>
                    <a:pt x="1518" y="711"/>
                  </a:lnTo>
                  <a:lnTo>
                    <a:pt x="1567" y="699"/>
                  </a:lnTo>
                  <a:lnTo>
                    <a:pt x="1647" y="631"/>
                  </a:lnTo>
                  <a:lnTo>
                    <a:pt x="1645" y="621"/>
                  </a:lnTo>
                  <a:lnTo>
                    <a:pt x="1628" y="598"/>
                  </a:lnTo>
                  <a:lnTo>
                    <a:pt x="1648" y="557"/>
                  </a:lnTo>
                  <a:lnTo>
                    <a:pt x="1664" y="552"/>
                  </a:lnTo>
                  <a:lnTo>
                    <a:pt x="1687" y="566"/>
                  </a:lnTo>
                  <a:lnTo>
                    <a:pt x="1716" y="570"/>
                  </a:lnTo>
                  <a:lnTo>
                    <a:pt x="1739" y="557"/>
                  </a:lnTo>
                  <a:lnTo>
                    <a:pt x="1769" y="524"/>
                  </a:lnTo>
                  <a:lnTo>
                    <a:pt x="1786" y="525"/>
                  </a:lnTo>
                  <a:lnTo>
                    <a:pt x="1807" y="513"/>
                  </a:lnTo>
                  <a:lnTo>
                    <a:pt x="1858" y="459"/>
                  </a:lnTo>
                  <a:lnTo>
                    <a:pt x="1916" y="455"/>
                  </a:lnTo>
                  <a:lnTo>
                    <a:pt x="1970" y="450"/>
                  </a:lnTo>
                  <a:lnTo>
                    <a:pt x="1969" y="440"/>
                  </a:lnTo>
                  <a:lnTo>
                    <a:pt x="1959" y="434"/>
                  </a:lnTo>
                  <a:lnTo>
                    <a:pt x="1960" y="417"/>
                  </a:lnTo>
                  <a:lnTo>
                    <a:pt x="1955" y="406"/>
                  </a:lnTo>
                  <a:lnTo>
                    <a:pt x="1933" y="388"/>
                  </a:lnTo>
                  <a:lnTo>
                    <a:pt x="1917" y="365"/>
                  </a:lnTo>
                  <a:lnTo>
                    <a:pt x="1880" y="391"/>
                  </a:lnTo>
                  <a:lnTo>
                    <a:pt x="1861" y="397"/>
                  </a:lnTo>
                  <a:lnTo>
                    <a:pt x="1810" y="391"/>
                  </a:lnTo>
                  <a:lnTo>
                    <a:pt x="1801" y="364"/>
                  </a:lnTo>
                  <a:lnTo>
                    <a:pt x="1799" y="346"/>
                  </a:lnTo>
                  <a:lnTo>
                    <a:pt x="1809" y="319"/>
                  </a:lnTo>
                  <a:lnTo>
                    <a:pt x="1807" y="291"/>
                  </a:lnTo>
                  <a:lnTo>
                    <a:pt x="1837" y="240"/>
                  </a:lnTo>
                  <a:lnTo>
                    <a:pt x="1901" y="267"/>
                  </a:lnTo>
                  <a:lnTo>
                    <a:pt x="1961" y="232"/>
                  </a:lnTo>
                  <a:lnTo>
                    <a:pt x="1991" y="134"/>
                  </a:lnTo>
                  <a:lnTo>
                    <a:pt x="2025" y="106"/>
                  </a:lnTo>
                  <a:lnTo>
                    <a:pt x="2022" y="71"/>
                  </a:lnTo>
                  <a:lnTo>
                    <a:pt x="1995" y="73"/>
                  </a:lnTo>
                  <a:lnTo>
                    <a:pt x="1996" y="58"/>
                  </a:lnTo>
                  <a:lnTo>
                    <a:pt x="2032" y="21"/>
                  </a:lnTo>
                  <a:lnTo>
                    <a:pt x="2061" y="16"/>
                  </a:lnTo>
                  <a:lnTo>
                    <a:pt x="2149" y="0"/>
                  </a:lnTo>
                  <a:lnTo>
                    <a:pt x="2186" y="26"/>
                  </a:lnTo>
                  <a:lnTo>
                    <a:pt x="2237" y="36"/>
                  </a:lnTo>
                  <a:lnTo>
                    <a:pt x="2269" y="83"/>
                  </a:lnTo>
                  <a:lnTo>
                    <a:pt x="2303" y="180"/>
                  </a:lnTo>
                  <a:lnTo>
                    <a:pt x="2317" y="246"/>
                  </a:lnTo>
                  <a:lnTo>
                    <a:pt x="2317" y="263"/>
                  </a:lnTo>
                  <a:lnTo>
                    <a:pt x="2389" y="275"/>
                  </a:lnTo>
                  <a:lnTo>
                    <a:pt x="2403" y="281"/>
                  </a:lnTo>
                  <a:lnTo>
                    <a:pt x="2449" y="309"/>
                  </a:lnTo>
                  <a:lnTo>
                    <a:pt x="2474" y="389"/>
                  </a:lnTo>
                  <a:lnTo>
                    <a:pt x="2517" y="391"/>
                  </a:lnTo>
                  <a:lnTo>
                    <a:pt x="2532" y="385"/>
                  </a:lnTo>
                  <a:lnTo>
                    <a:pt x="2633" y="340"/>
                  </a:lnTo>
                  <a:lnTo>
                    <a:pt x="2629" y="396"/>
                  </a:lnTo>
                  <a:lnTo>
                    <a:pt x="2609" y="414"/>
                  </a:lnTo>
                  <a:lnTo>
                    <a:pt x="2590" y="488"/>
                  </a:lnTo>
                  <a:lnTo>
                    <a:pt x="2560" y="549"/>
                  </a:lnTo>
                  <a:lnTo>
                    <a:pt x="2551" y="556"/>
                  </a:lnTo>
                  <a:lnTo>
                    <a:pt x="2547" y="554"/>
                  </a:lnTo>
                  <a:lnTo>
                    <a:pt x="2507" y="543"/>
                  </a:lnTo>
                  <a:lnTo>
                    <a:pt x="2469" y="576"/>
                  </a:lnTo>
                  <a:lnTo>
                    <a:pt x="2480" y="609"/>
                  </a:lnTo>
                  <a:lnTo>
                    <a:pt x="2480" y="654"/>
                  </a:lnTo>
                  <a:lnTo>
                    <a:pt x="2452" y="687"/>
                  </a:lnTo>
                  <a:lnTo>
                    <a:pt x="2452" y="701"/>
                  </a:lnTo>
                  <a:lnTo>
                    <a:pt x="2445" y="700"/>
                  </a:lnTo>
                  <a:lnTo>
                    <a:pt x="2430" y="681"/>
                  </a:lnTo>
                  <a:lnTo>
                    <a:pt x="2422" y="687"/>
                  </a:lnTo>
                  <a:lnTo>
                    <a:pt x="2409" y="715"/>
                  </a:lnTo>
                  <a:lnTo>
                    <a:pt x="2384" y="734"/>
                  </a:lnTo>
                  <a:lnTo>
                    <a:pt x="2350" y="738"/>
                  </a:lnTo>
                  <a:lnTo>
                    <a:pt x="2346" y="744"/>
                  </a:lnTo>
                  <a:lnTo>
                    <a:pt x="2351" y="769"/>
                  </a:lnTo>
                  <a:lnTo>
                    <a:pt x="2317" y="772"/>
                  </a:lnTo>
                  <a:lnTo>
                    <a:pt x="2292" y="761"/>
                  </a:lnTo>
                  <a:lnTo>
                    <a:pt x="2249" y="802"/>
                  </a:lnTo>
                  <a:lnTo>
                    <a:pt x="2206" y="824"/>
                  </a:lnTo>
                  <a:lnTo>
                    <a:pt x="2184" y="853"/>
                  </a:lnTo>
                  <a:lnTo>
                    <a:pt x="2145" y="866"/>
                  </a:lnTo>
                  <a:lnTo>
                    <a:pt x="2141" y="861"/>
                  </a:lnTo>
                  <a:lnTo>
                    <a:pt x="2097" y="885"/>
                  </a:lnTo>
                  <a:lnTo>
                    <a:pt x="2077" y="908"/>
                  </a:lnTo>
                  <a:lnTo>
                    <a:pt x="2050" y="920"/>
                  </a:lnTo>
                  <a:lnTo>
                    <a:pt x="2045" y="916"/>
                  </a:lnTo>
                  <a:lnTo>
                    <a:pt x="2052" y="907"/>
                  </a:lnTo>
                  <a:lnTo>
                    <a:pt x="2064" y="904"/>
                  </a:lnTo>
                  <a:lnTo>
                    <a:pt x="2070" y="886"/>
                  </a:lnTo>
                  <a:lnTo>
                    <a:pt x="2052" y="878"/>
                  </a:lnTo>
                  <a:lnTo>
                    <a:pt x="2060" y="872"/>
                  </a:lnTo>
                  <a:lnTo>
                    <a:pt x="2062" y="863"/>
                  </a:lnTo>
                  <a:lnTo>
                    <a:pt x="2092" y="823"/>
                  </a:lnTo>
                  <a:lnTo>
                    <a:pt x="2075" y="791"/>
                  </a:lnTo>
                  <a:lnTo>
                    <a:pt x="2071" y="796"/>
                  </a:lnTo>
                  <a:lnTo>
                    <a:pt x="2045" y="800"/>
                  </a:lnTo>
                  <a:lnTo>
                    <a:pt x="2015" y="840"/>
                  </a:lnTo>
                  <a:lnTo>
                    <a:pt x="1974" y="862"/>
                  </a:lnTo>
                  <a:lnTo>
                    <a:pt x="1959" y="891"/>
                  </a:lnTo>
                  <a:lnTo>
                    <a:pt x="1932" y="900"/>
                  </a:lnTo>
                  <a:lnTo>
                    <a:pt x="1909" y="897"/>
                  </a:lnTo>
                  <a:lnTo>
                    <a:pt x="1901" y="904"/>
                  </a:lnTo>
                  <a:lnTo>
                    <a:pt x="1896" y="919"/>
                  </a:lnTo>
                  <a:lnTo>
                    <a:pt x="1894" y="932"/>
                  </a:lnTo>
                  <a:lnTo>
                    <a:pt x="1911" y="955"/>
                  </a:lnTo>
                  <a:lnTo>
                    <a:pt x="1938" y="973"/>
                  </a:lnTo>
                  <a:lnTo>
                    <a:pt x="1954" y="1001"/>
                  </a:lnTo>
                  <a:lnTo>
                    <a:pt x="1975" y="1009"/>
                  </a:lnTo>
                  <a:lnTo>
                    <a:pt x="1986" y="1008"/>
                  </a:lnTo>
                  <a:lnTo>
                    <a:pt x="2010" y="980"/>
                  </a:lnTo>
                  <a:lnTo>
                    <a:pt x="2033" y="971"/>
                  </a:lnTo>
                  <a:lnTo>
                    <a:pt x="2063" y="992"/>
                  </a:lnTo>
                  <a:lnTo>
                    <a:pt x="2085" y="987"/>
                  </a:lnTo>
                  <a:lnTo>
                    <a:pt x="2108" y="995"/>
                  </a:lnTo>
                  <a:lnTo>
                    <a:pt x="2102" y="1016"/>
                  </a:lnTo>
                  <a:lnTo>
                    <a:pt x="2095" y="1025"/>
                  </a:lnTo>
                  <a:lnTo>
                    <a:pt x="2089" y="1014"/>
                  </a:lnTo>
                  <a:lnTo>
                    <a:pt x="2079" y="1016"/>
                  </a:lnTo>
                  <a:lnTo>
                    <a:pt x="2068" y="1028"/>
                  </a:lnTo>
                  <a:lnTo>
                    <a:pt x="2032" y="1036"/>
                  </a:lnTo>
                  <a:lnTo>
                    <a:pt x="2034" y="1045"/>
                  </a:lnTo>
                  <a:lnTo>
                    <a:pt x="2023" y="1063"/>
                  </a:lnTo>
                  <a:lnTo>
                    <a:pt x="2015" y="1064"/>
                  </a:lnTo>
                  <a:lnTo>
                    <a:pt x="2012" y="1055"/>
                  </a:lnTo>
                  <a:lnTo>
                    <a:pt x="2005" y="1055"/>
                  </a:lnTo>
                  <a:lnTo>
                    <a:pt x="1999" y="1062"/>
                  </a:lnTo>
                  <a:lnTo>
                    <a:pt x="2005" y="1069"/>
                  </a:lnTo>
                  <a:lnTo>
                    <a:pt x="2002" y="1075"/>
                  </a:lnTo>
                  <a:lnTo>
                    <a:pt x="1982" y="1091"/>
                  </a:lnTo>
                  <a:lnTo>
                    <a:pt x="1962" y="1127"/>
                  </a:lnTo>
                  <a:lnTo>
                    <a:pt x="1963" y="1133"/>
                  </a:lnTo>
                  <a:lnTo>
                    <a:pt x="2005" y="1156"/>
                  </a:lnTo>
                  <a:lnTo>
                    <a:pt x="2020" y="1183"/>
                  </a:lnTo>
                  <a:lnTo>
                    <a:pt x="2035" y="1238"/>
                  </a:lnTo>
                  <a:lnTo>
                    <a:pt x="2052" y="1253"/>
                  </a:lnTo>
                  <a:lnTo>
                    <a:pt x="2053" y="1261"/>
                  </a:lnTo>
                  <a:lnTo>
                    <a:pt x="2077" y="1288"/>
                  </a:lnTo>
                  <a:lnTo>
                    <a:pt x="2022" y="1270"/>
                  </a:lnTo>
                  <a:lnTo>
                    <a:pt x="2001" y="1274"/>
                  </a:lnTo>
                  <a:lnTo>
                    <a:pt x="2001" y="1279"/>
                  </a:lnTo>
                  <a:lnTo>
                    <a:pt x="2021" y="1275"/>
                  </a:lnTo>
                  <a:lnTo>
                    <a:pt x="2027" y="1284"/>
                  </a:lnTo>
                  <a:lnTo>
                    <a:pt x="2045" y="1291"/>
                  </a:lnTo>
                  <a:lnTo>
                    <a:pt x="2061" y="1306"/>
                  </a:lnTo>
                  <a:lnTo>
                    <a:pt x="2065" y="1308"/>
                  </a:lnTo>
                  <a:lnTo>
                    <a:pt x="2077" y="1326"/>
                  </a:lnTo>
                  <a:lnTo>
                    <a:pt x="2031" y="1355"/>
                  </a:lnTo>
                  <a:lnTo>
                    <a:pt x="2010" y="1357"/>
                  </a:lnTo>
                  <a:lnTo>
                    <a:pt x="2011" y="1360"/>
                  </a:lnTo>
                  <a:lnTo>
                    <a:pt x="2029" y="1368"/>
                  </a:lnTo>
                  <a:lnTo>
                    <a:pt x="2045" y="1360"/>
                  </a:lnTo>
                  <a:lnTo>
                    <a:pt x="2066" y="1376"/>
                  </a:lnTo>
                  <a:lnTo>
                    <a:pt x="2081" y="1379"/>
                  </a:lnTo>
                  <a:lnTo>
                    <a:pt x="2058" y="1398"/>
                  </a:lnTo>
                  <a:lnTo>
                    <a:pt x="2074" y="1393"/>
                  </a:lnTo>
                  <a:lnTo>
                    <a:pt x="2074" y="1404"/>
                  </a:lnTo>
                  <a:lnTo>
                    <a:pt x="2073" y="1411"/>
                  </a:lnTo>
                  <a:lnTo>
                    <a:pt x="2058" y="1413"/>
                  </a:lnTo>
                  <a:lnTo>
                    <a:pt x="2062" y="1424"/>
                  </a:lnTo>
                  <a:lnTo>
                    <a:pt x="2052" y="1463"/>
                  </a:lnTo>
                  <a:lnTo>
                    <a:pt x="2045" y="1456"/>
                  </a:lnTo>
                  <a:lnTo>
                    <a:pt x="2040" y="1459"/>
                  </a:lnTo>
                  <a:lnTo>
                    <a:pt x="2030" y="1476"/>
                  </a:lnTo>
                  <a:lnTo>
                    <a:pt x="2018" y="1496"/>
                  </a:lnTo>
                  <a:lnTo>
                    <a:pt x="2004" y="1520"/>
                  </a:lnTo>
                  <a:lnTo>
                    <a:pt x="1990" y="1541"/>
                  </a:lnTo>
                  <a:lnTo>
                    <a:pt x="1987" y="1529"/>
                  </a:lnTo>
                  <a:lnTo>
                    <a:pt x="1975" y="1535"/>
                  </a:lnTo>
                  <a:lnTo>
                    <a:pt x="1982" y="1551"/>
                  </a:lnTo>
                  <a:lnTo>
                    <a:pt x="1970" y="1581"/>
                  </a:lnTo>
                  <a:lnTo>
                    <a:pt x="1970" y="1594"/>
                  </a:lnTo>
                  <a:lnTo>
                    <a:pt x="1961" y="1591"/>
                  </a:lnTo>
                  <a:lnTo>
                    <a:pt x="1960" y="1601"/>
                  </a:lnTo>
                  <a:lnTo>
                    <a:pt x="1949" y="1604"/>
                  </a:lnTo>
                  <a:lnTo>
                    <a:pt x="1934" y="1632"/>
                  </a:lnTo>
                  <a:lnTo>
                    <a:pt x="1914" y="1632"/>
                  </a:lnTo>
                  <a:lnTo>
                    <a:pt x="1908" y="1637"/>
                  </a:lnTo>
                  <a:lnTo>
                    <a:pt x="1911" y="1644"/>
                  </a:lnTo>
                  <a:lnTo>
                    <a:pt x="1908" y="1652"/>
                  </a:lnTo>
                  <a:lnTo>
                    <a:pt x="1894" y="1662"/>
                  </a:lnTo>
                  <a:lnTo>
                    <a:pt x="1891" y="1671"/>
                  </a:lnTo>
                  <a:lnTo>
                    <a:pt x="1889" y="1665"/>
                  </a:lnTo>
                  <a:lnTo>
                    <a:pt x="1884" y="1675"/>
                  </a:lnTo>
                  <a:lnTo>
                    <a:pt x="1861" y="1680"/>
                  </a:lnTo>
                  <a:lnTo>
                    <a:pt x="1839" y="1707"/>
                  </a:lnTo>
                  <a:lnTo>
                    <a:pt x="1818" y="1716"/>
                  </a:lnTo>
                  <a:lnTo>
                    <a:pt x="1807" y="1713"/>
                  </a:lnTo>
                  <a:lnTo>
                    <a:pt x="1797" y="1722"/>
                  </a:lnTo>
                  <a:lnTo>
                    <a:pt x="1786" y="1713"/>
                  </a:lnTo>
                  <a:lnTo>
                    <a:pt x="1770" y="1725"/>
                  </a:lnTo>
                  <a:lnTo>
                    <a:pt x="1768" y="1716"/>
                  </a:lnTo>
                  <a:lnTo>
                    <a:pt x="1761" y="1719"/>
                  </a:lnTo>
                  <a:lnTo>
                    <a:pt x="1761" y="1727"/>
                  </a:lnTo>
                  <a:lnTo>
                    <a:pt x="1758" y="1732"/>
                  </a:lnTo>
                  <a:close/>
                </a:path>
              </a:pathLst>
            </a:custGeom>
            <a:grpFill/>
            <a:ln w="6350">
              <a:solidFill>
                <a:schemeClr val="tx2"/>
              </a:solidFill>
              <a:round/>
              <a:headEnd/>
              <a:tailEnd/>
            </a:ln>
          </p:spPr>
          <p:txBody>
            <a:bodyPr/>
            <a:lstStyle/>
            <a:p>
              <a:endParaRPr lang="en-US"/>
            </a:p>
          </p:txBody>
        </p:sp>
        <p:sp>
          <p:nvSpPr>
            <p:cNvPr id="669" name="Freeform 1813"/>
            <p:cNvSpPr>
              <a:spLocks/>
            </p:cNvSpPr>
            <p:nvPr/>
          </p:nvSpPr>
          <p:spPr bwMode="auto">
            <a:xfrm>
              <a:off x="6070202" y="3562381"/>
              <a:ext cx="628085" cy="646290"/>
            </a:xfrm>
            <a:custGeom>
              <a:avLst/>
              <a:gdLst>
                <a:gd name="T0" fmla="*/ 2147483647 w 1262"/>
                <a:gd name="T1" fmla="*/ 2147483647 h 1303"/>
                <a:gd name="T2" fmla="*/ 2147483647 w 1262"/>
                <a:gd name="T3" fmla="*/ 2147483647 h 1303"/>
                <a:gd name="T4" fmla="*/ 2147483647 w 1262"/>
                <a:gd name="T5" fmla="*/ 2147483647 h 1303"/>
                <a:gd name="T6" fmla="*/ 2147483647 w 1262"/>
                <a:gd name="T7" fmla="*/ 2147483647 h 1303"/>
                <a:gd name="T8" fmla="*/ 2147483647 w 1262"/>
                <a:gd name="T9" fmla="*/ 2147483647 h 1303"/>
                <a:gd name="T10" fmla="*/ 2147483647 w 1262"/>
                <a:gd name="T11" fmla="*/ 2147483647 h 1303"/>
                <a:gd name="T12" fmla="*/ 2147483647 w 1262"/>
                <a:gd name="T13" fmla="*/ 2147483647 h 1303"/>
                <a:gd name="T14" fmla="*/ 2147483647 w 1262"/>
                <a:gd name="T15" fmla="*/ 2147483647 h 1303"/>
                <a:gd name="T16" fmla="*/ 2147483647 w 1262"/>
                <a:gd name="T17" fmla="*/ 2147483647 h 1303"/>
                <a:gd name="T18" fmla="*/ 2147483647 w 1262"/>
                <a:gd name="T19" fmla="*/ 2147483647 h 1303"/>
                <a:gd name="T20" fmla="*/ 2147483647 w 1262"/>
                <a:gd name="T21" fmla="*/ 2147483647 h 1303"/>
                <a:gd name="T22" fmla="*/ 2147483647 w 1262"/>
                <a:gd name="T23" fmla="*/ 2147483647 h 1303"/>
                <a:gd name="T24" fmla="*/ 2147483647 w 1262"/>
                <a:gd name="T25" fmla="*/ 2147483647 h 1303"/>
                <a:gd name="T26" fmla="*/ 2147483647 w 1262"/>
                <a:gd name="T27" fmla="*/ 2147483647 h 1303"/>
                <a:gd name="T28" fmla="*/ 2147483647 w 1262"/>
                <a:gd name="T29" fmla="*/ 2147483647 h 1303"/>
                <a:gd name="T30" fmla="*/ 2147483647 w 1262"/>
                <a:gd name="T31" fmla="*/ 2147483647 h 1303"/>
                <a:gd name="T32" fmla="*/ 2147483647 w 1262"/>
                <a:gd name="T33" fmla="*/ 2147483647 h 1303"/>
                <a:gd name="T34" fmla="*/ 2147483647 w 1262"/>
                <a:gd name="T35" fmla="*/ 2147483647 h 1303"/>
                <a:gd name="T36" fmla="*/ 2147483647 w 1262"/>
                <a:gd name="T37" fmla="*/ 2147483647 h 1303"/>
                <a:gd name="T38" fmla="*/ 2147483647 w 1262"/>
                <a:gd name="T39" fmla="*/ 2147483647 h 1303"/>
                <a:gd name="T40" fmla="*/ 2147483647 w 1262"/>
                <a:gd name="T41" fmla="*/ 2147483647 h 1303"/>
                <a:gd name="T42" fmla="*/ 2147483647 w 1262"/>
                <a:gd name="T43" fmla="*/ 2147483647 h 1303"/>
                <a:gd name="T44" fmla="*/ 2147483647 w 1262"/>
                <a:gd name="T45" fmla="*/ 2147483647 h 1303"/>
                <a:gd name="T46" fmla="*/ 2147483647 w 1262"/>
                <a:gd name="T47" fmla="*/ 2147483647 h 1303"/>
                <a:gd name="T48" fmla="*/ 2147483647 w 1262"/>
                <a:gd name="T49" fmla="*/ 2147483647 h 1303"/>
                <a:gd name="T50" fmla="*/ 2147483647 w 1262"/>
                <a:gd name="T51" fmla="*/ 2147483647 h 1303"/>
                <a:gd name="T52" fmla="*/ 2147483647 w 1262"/>
                <a:gd name="T53" fmla="*/ 2147483647 h 1303"/>
                <a:gd name="T54" fmla="*/ 2147483647 w 1262"/>
                <a:gd name="T55" fmla="*/ 2147483647 h 1303"/>
                <a:gd name="T56" fmla="*/ 2147483647 w 1262"/>
                <a:gd name="T57" fmla="*/ 2147483647 h 1303"/>
                <a:gd name="T58" fmla="*/ 2147483647 w 1262"/>
                <a:gd name="T59" fmla="*/ 2147483647 h 1303"/>
                <a:gd name="T60" fmla="*/ 2147483647 w 1262"/>
                <a:gd name="T61" fmla="*/ 2147483647 h 1303"/>
                <a:gd name="T62" fmla="*/ 2147483647 w 1262"/>
                <a:gd name="T63" fmla="*/ 2147483647 h 1303"/>
                <a:gd name="T64" fmla="*/ 2147483647 w 1262"/>
                <a:gd name="T65" fmla="*/ 2147483647 h 1303"/>
                <a:gd name="T66" fmla="*/ 2147483647 w 1262"/>
                <a:gd name="T67" fmla="*/ 2147483647 h 1303"/>
                <a:gd name="T68" fmla="*/ 2147483647 w 1262"/>
                <a:gd name="T69" fmla="*/ 2147483647 h 1303"/>
                <a:gd name="T70" fmla="*/ 2147483647 w 1262"/>
                <a:gd name="T71" fmla="*/ 2147483647 h 1303"/>
                <a:gd name="T72" fmla="*/ 2147483647 w 1262"/>
                <a:gd name="T73" fmla="*/ 2147483647 h 1303"/>
                <a:gd name="T74" fmla="*/ 2147483647 w 1262"/>
                <a:gd name="T75" fmla="*/ 2147483647 h 1303"/>
                <a:gd name="T76" fmla="*/ 2147483647 w 1262"/>
                <a:gd name="T77" fmla="*/ 2147483647 h 1303"/>
                <a:gd name="T78" fmla="*/ 2147483647 w 1262"/>
                <a:gd name="T79" fmla="*/ 2147483647 h 1303"/>
                <a:gd name="T80" fmla="*/ 2147483647 w 1262"/>
                <a:gd name="T81" fmla="*/ 2147483647 h 1303"/>
                <a:gd name="T82" fmla="*/ 2147483647 w 1262"/>
                <a:gd name="T83" fmla="*/ 2147483647 h 1303"/>
                <a:gd name="T84" fmla="*/ 2147483647 w 1262"/>
                <a:gd name="T85" fmla="*/ 2147483647 h 1303"/>
                <a:gd name="T86" fmla="*/ 2147483647 w 1262"/>
                <a:gd name="T87" fmla="*/ 2147483647 h 1303"/>
                <a:gd name="T88" fmla="*/ 2147483647 w 1262"/>
                <a:gd name="T89" fmla="*/ 2147483647 h 1303"/>
                <a:gd name="T90" fmla="*/ 2147483647 w 1262"/>
                <a:gd name="T91" fmla="*/ 2147483647 h 1303"/>
                <a:gd name="T92" fmla="*/ 2147483647 w 1262"/>
                <a:gd name="T93" fmla="*/ 2147483647 h 1303"/>
                <a:gd name="T94" fmla="*/ 2147483647 w 1262"/>
                <a:gd name="T95" fmla="*/ 2147483647 h 1303"/>
                <a:gd name="T96" fmla="*/ 2147483647 w 1262"/>
                <a:gd name="T97" fmla="*/ 2147483647 h 1303"/>
                <a:gd name="T98" fmla="*/ 2147483647 w 1262"/>
                <a:gd name="T99" fmla="*/ 2147483647 h 1303"/>
                <a:gd name="T100" fmla="*/ 2147483647 w 1262"/>
                <a:gd name="T101" fmla="*/ 2147483647 h 1303"/>
                <a:gd name="T102" fmla="*/ 2147483647 w 1262"/>
                <a:gd name="T103" fmla="*/ 2147483647 h 1303"/>
                <a:gd name="T104" fmla="*/ 2147483647 w 1262"/>
                <a:gd name="T105" fmla="*/ 2147483647 h 1303"/>
                <a:gd name="T106" fmla="*/ 2147483647 w 1262"/>
                <a:gd name="T107" fmla="*/ 2147483647 h 1303"/>
                <a:gd name="T108" fmla="*/ 2147483647 w 1262"/>
                <a:gd name="T109" fmla="*/ 2147483647 h 1303"/>
                <a:gd name="T110" fmla="*/ 2147483647 w 1262"/>
                <a:gd name="T111" fmla="*/ 2147483647 h 130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62"/>
                <a:gd name="T169" fmla="*/ 0 h 1303"/>
                <a:gd name="T170" fmla="*/ 1262 w 1262"/>
                <a:gd name="T171" fmla="*/ 1303 h 130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62" h="1303">
                  <a:moveTo>
                    <a:pt x="1" y="613"/>
                  </a:moveTo>
                  <a:lnTo>
                    <a:pt x="7" y="614"/>
                  </a:lnTo>
                  <a:lnTo>
                    <a:pt x="21" y="634"/>
                  </a:lnTo>
                  <a:lnTo>
                    <a:pt x="37" y="646"/>
                  </a:lnTo>
                  <a:lnTo>
                    <a:pt x="69" y="647"/>
                  </a:lnTo>
                  <a:lnTo>
                    <a:pt x="88" y="641"/>
                  </a:lnTo>
                  <a:lnTo>
                    <a:pt x="95" y="633"/>
                  </a:lnTo>
                  <a:lnTo>
                    <a:pt x="97" y="638"/>
                  </a:lnTo>
                  <a:lnTo>
                    <a:pt x="91" y="654"/>
                  </a:lnTo>
                  <a:lnTo>
                    <a:pt x="75" y="667"/>
                  </a:lnTo>
                  <a:lnTo>
                    <a:pt x="47" y="672"/>
                  </a:lnTo>
                  <a:lnTo>
                    <a:pt x="40" y="667"/>
                  </a:lnTo>
                  <a:lnTo>
                    <a:pt x="37" y="671"/>
                  </a:lnTo>
                  <a:lnTo>
                    <a:pt x="39" y="683"/>
                  </a:lnTo>
                  <a:lnTo>
                    <a:pt x="97" y="741"/>
                  </a:lnTo>
                  <a:lnTo>
                    <a:pt x="131" y="741"/>
                  </a:lnTo>
                  <a:lnTo>
                    <a:pt x="161" y="726"/>
                  </a:lnTo>
                  <a:lnTo>
                    <a:pt x="171" y="710"/>
                  </a:lnTo>
                  <a:lnTo>
                    <a:pt x="175" y="668"/>
                  </a:lnTo>
                  <a:lnTo>
                    <a:pt x="180" y="673"/>
                  </a:lnTo>
                  <a:lnTo>
                    <a:pt x="203" y="673"/>
                  </a:lnTo>
                  <a:lnTo>
                    <a:pt x="200" y="679"/>
                  </a:lnTo>
                  <a:lnTo>
                    <a:pt x="191" y="679"/>
                  </a:lnTo>
                  <a:lnTo>
                    <a:pt x="187" y="689"/>
                  </a:lnTo>
                  <a:lnTo>
                    <a:pt x="188" y="699"/>
                  </a:lnTo>
                  <a:lnTo>
                    <a:pt x="195" y="703"/>
                  </a:lnTo>
                  <a:lnTo>
                    <a:pt x="191" y="724"/>
                  </a:lnTo>
                  <a:lnTo>
                    <a:pt x="196" y="728"/>
                  </a:lnTo>
                  <a:lnTo>
                    <a:pt x="201" y="755"/>
                  </a:lnTo>
                  <a:lnTo>
                    <a:pt x="195" y="791"/>
                  </a:lnTo>
                  <a:lnTo>
                    <a:pt x="200" y="822"/>
                  </a:lnTo>
                  <a:lnTo>
                    <a:pt x="205" y="818"/>
                  </a:lnTo>
                  <a:lnTo>
                    <a:pt x="206" y="820"/>
                  </a:lnTo>
                  <a:lnTo>
                    <a:pt x="202" y="851"/>
                  </a:lnTo>
                  <a:lnTo>
                    <a:pt x="217" y="900"/>
                  </a:lnTo>
                  <a:lnTo>
                    <a:pt x="221" y="936"/>
                  </a:lnTo>
                  <a:lnTo>
                    <a:pt x="239" y="970"/>
                  </a:lnTo>
                  <a:lnTo>
                    <a:pt x="244" y="981"/>
                  </a:lnTo>
                  <a:lnTo>
                    <a:pt x="252" y="980"/>
                  </a:lnTo>
                  <a:lnTo>
                    <a:pt x="248" y="988"/>
                  </a:lnTo>
                  <a:lnTo>
                    <a:pt x="253" y="1005"/>
                  </a:lnTo>
                  <a:lnTo>
                    <a:pt x="266" y="1018"/>
                  </a:lnTo>
                  <a:lnTo>
                    <a:pt x="286" y="1064"/>
                  </a:lnTo>
                  <a:lnTo>
                    <a:pt x="301" y="1121"/>
                  </a:lnTo>
                  <a:lnTo>
                    <a:pt x="329" y="1157"/>
                  </a:lnTo>
                  <a:lnTo>
                    <a:pt x="368" y="1265"/>
                  </a:lnTo>
                  <a:lnTo>
                    <a:pt x="399" y="1303"/>
                  </a:lnTo>
                  <a:lnTo>
                    <a:pt x="412" y="1303"/>
                  </a:lnTo>
                  <a:lnTo>
                    <a:pt x="429" y="1287"/>
                  </a:lnTo>
                  <a:lnTo>
                    <a:pt x="436" y="1263"/>
                  </a:lnTo>
                  <a:lnTo>
                    <a:pt x="466" y="1253"/>
                  </a:lnTo>
                  <a:lnTo>
                    <a:pt x="466" y="1238"/>
                  </a:lnTo>
                  <a:lnTo>
                    <a:pt x="483" y="1208"/>
                  </a:lnTo>
                  <a:lnTo>
                    <a:pt x="505" y="1209"/>
                  </a:lnTo>
                  <a:lnTo>
                    <a:pt x="503" y="1151"/>
                  </a:lnTo>
                  <a:lnTo>
                    <a:pt x="525" y="1084"/>
                  </a:lnTo>
                  <a:lnTo>
                    <a:pt x="524" y="1072"/>
                  </a:lnTo>
                  <a:lnTo>
                    <a:pt x="516" y="1063"/>
                  </a:lnTo>
                  <a:lnTo>
                    <a:pt x="521" y="1063"/>
                  </a:lnTo>
                  <a:lnTo>
                    <a:pt x="515" y="1039"/>
                  </a:lnTo>
                  <a:lnTo>
                    <a:pt x="518" y="1023"/>
                  </a:lnTo>
                  <a:lnTo>
                    <a:pt x="513" y="990"/>
                  </a:lnTo>
                  <a:lnTo>
                    <a:pt x="526" y="971"/>
                  </a:lnTo>
                  <a:lnTo>
                    <a:pt x="540" y="967"/>
                  </a:lnTo>
                  <a:lnTo>
                    <a:pt x="548" y="971"/>
                  </a:lnTo>
                  <a:lnTo>
                    <a:pt x="555" y="968"/>
                  </a:lnTo>
                  <a:lnTo>
                    <a:pt x="560" y="959"/>
                  </a:lnTo>
                  <a:lnTo>
                    <a:pt x="565" y="948"/>
                  </a:lnTo>
                  <a:lnTo>
                    <a:pt x="586" y="944"/>
                  </a:lnTo>
                  <a:lnTo>
                    <a:pt x="604" y="937"/>
                  </a:lnTo>
                  <a:lnTo>
                    <a:pt x="613" y="913"/>
                  </a:lnTo>
                  <a:lnTo>
                    <a:pt x="691" y="853"/>
                  </a:lnTo>
                  <a:lnTo>
                    <a:pt x="726" y="812"/>
                  </a:lnTo>
                  <a:lnTo>
                    <a:pt x="761" y="788"/>
                  </a:lnTo>
                  <a:lnTo>
                    <a:pt x="784" y="780"/>
                  </a:lnTo>
                  <a:lnTo>
                    <a:pt x="814" y="747"/>
                  </a:lnTo>
                  <a:lnTo>
                    <a:pt x="809" y="729"/>
                  </a:lnTo>
                  <a:lnTo>
                    <a:pt x="814" y="715"/>
                  </a:lnTo>
                  <a:lnTo>
                    <a:pt x="852" y="697"/>
                  </a:lnTo>
                  <a:lnTo>
                    <a:pt x="861" y="681"/>
                  </a:lnTo>
                  <a:lnTo>
                    <a:pt x="862" y="700"/>
                  </a:lnTo>
                  <a:lnTo>
                    <a:pt x="869" y="708"/>
                  </a:lnTo>
                  <a:lnTo>
                    <a:pt x="884" y="704"/>
                  </a:lnTo>
                  <a:lnTo>
                    <a:pt x="886" y="695"/>
                  </a:lnTo>
                  <a:lnTo>
                    <a:pt x="891" y="705"/>
                  </a:lnTo>
                  <a:lnTo>
                    <a:pt x="897" y="703"/>
                  </a:lnTo>
                  <a:lnTo>
                    <a:pt x="890" y="664"/>
                  </a:lnTo>
                  <a:lnTo>
                    <a:pt x="883" y="653"/>
                  </a:lnTo>
                  <a:lnTo>
                    <a:pt x="886" y="631"/>
                  </a:lnTo>
                  <a:lnTo>
                    <a:pt x="876" y="610"/>
                  </a:lnTo>
                  <a:lnTo>
                    <a:pt x="880" y="578"/>
                  </a:lnTo>
                  <a:lnTo>
                    <a:pt x="852" y="556"/>
                  </a:lnTo>
                  <a:lnTo>
                    <a:pt x="856" y="545"/>
                  </a:lnTo>
                  <a:lnTo>
                    <a:pt x="867" y="541"/>
                  </a:lnTo>
                  <a:lnTo>
                    <a:pt x="868" y="536"/>
                  </a:lnTo>
                  <a:lnTo>
                    <a:pt x="885" y="535"/>
                  </a:lnTo>
                  <a:lnTo>
                    <a:pt x="883" y="522"/>
                  </a:lnTo>
                  <a:lnTo>
                    <a:pt x="865" y="519"/>
                  </a:lnTo>
                  <a:lnTo>
                    <a:pt x="860" y="505"/>
                  </a:lnTo>
                  <a:lnTo>
                    <a:pt x="876" y="475"/>
                  </a:lnTo>
                  <a:lnTo>
                    <a:pt x="890" y="494"/>
                  </a:lnTo>
                  <a:lnTo>
                    <a:pt x="893" y="479"/>
                  </a:lnTo>
                  <a:lnTo>
                    <a:pt x="898" y="480"/>
                  </a:lnTo>
                  <a:lnTo>
                    <a:pt x="905" y="499"/>
                  </a:lnTo>
                  <a:lnTo>
                    <a:pt x="910" y="496"/>
                  </a:lnTo>
                  <a:lnTo>
                    <a:pt x="916" y="500"/>
                  </a:lnTo>
                  <a:lnTo>
                    <a:pt x="922" y="489"/>
                  </a:lnTo>
                  <a:lnTo>
                    <a:pt x="930" y="523"/>
                  </a:lnTo>
                  <a:lnTo>
                    <a:pt x="945" y="534"/>
                  </a:lnTo>
                  <a:lnTo>
                    <a:pt x="1011" y="535"/>
                  </a:lnTo>
                  <a:lnTo>
                    <a:pt x="1041" y="542"/>
                  </a:lnTo>
                  <a:lnTo>
                    <a:pt x="1020" y="572"/>
                  </a:lnTo>
                  <a:lnTo>
                    <a:pt x="991" y="592"/>
                  </a:lnTo>
                  <a:lnTo>
                    <a:pt x="989" y="598"/>
                  </a:lnTo>
                  <a:lnTo>
                    <a:pt x="995" y="626"/>
                  </a:lnTo>
                  <a:lnTo>
                    <a:pt x="1003" y="627"/>
                  </a:lnTo>
                  <a:lnTo>
                    <a:pt x="1014" y="639"/>
                  </a:lnTo>
                  <a:lnTo>
                    <a:pt x="1022" y="616"/>
                  </a:lnTo>
                  <a:lnTo>
                    <a:pt x="1031" y="605"/>
                  </a:lnTo>
                  <a:lnTo>
                    <a:pt x="1035" y="605"/>
                  </a:lnTo>
                  <a:lnTo>
                    <a:pt x="1049" y="642"/>
                  </a:lnTo>
                  <a:lnTo>
                    <a:pt x="1056" y="691"/>
                  </a:lnTo>
                  <a:lnTo>
                    <a:pt x="1079" y="681"/>
                  </a:lnTo>
                  <a:lnTo>
                    <a:pt x="1074" y="656"/>
                  </a:lnTo>
                  <a:lnTo>
                    <a:pt x="1076" y="645"/>
                  </a:lnTo>
                  <a:lnTo>
                    <a:pt x="1087" y="642"/>
                  </a:lnTo>
                  <a:lnTo>
                    <a:pt x="1088" y="607"/>
                  </a:lnTo>
                  <a:lnTo>
                    <a:pt x="1094" y="601"/>
                  </a:lnTo>
                  <a:lnTo>
                    <a:pt x="1121" y="600"/>
                  </a:lnTo>
                  <a:lnTo>
                    <a:pt x="1125" y="597"/>
                  </a:lnTo>
                  <a:lnTo>
                    <a:pt x="1144" y="553"/>
                  </a:lnTo>
                  <a:lnTo>
                    <a:pt x="1146" y="537"/>
                  </a:lnTo>
                  <a:lnTo>
                    <a:pt x="1167" y="512"/>
                  </a:lnTo>
                  <a:lnTo>
                    <a:pt x="1166" y="489"/>
                  </a:lnTo>
                  <a:lnTo>
                    <a:pt x="1172" y="477"/>
                  </a:lnTo>
                  <a:lnTo>
                    <a:pt x="1194" y="463"/>
                  </a:lnTo>
                  <a:lnTo>
                    <a:pt x="1209" y="445"/>
                  </a:lnTo>
                  <a:lnTo>
                    <a:pt x="1231" y="438"/>
                  </a:lnTo>
                  <a:lnTo>
                    <a:pt x="1245" y="444"/>
                  </a:lnTo>
                  <a:lnTo>
                    <a:pt x="1249" y="417"/>
                  </a:lnTo>
                  <a:lnTo>
                    <a:pt x="1262" y="407"/>
                  </a:lnTo>
                  <a:lnTo>
                    <a:pt x="1262" y="397"/>
                  </a:lnTo>
                  <a:lnTo>
                    <a:pt x="1258" y="388"/>
                  </a:lnTo>
                  <a:lnTo>
                    <a:pt x="1251" y="385"/>
                  </a:lnTo>
                  <a:lnTo>
                    <a:pt x="1218" y="382"/>
                  </a:lnTo>
                  <a:lnTo>
                    <a:pt x="1221" y="358"/>
                  </a:lnTo>
                  <a:lnTo>
                    <a:pt x="1212" y="355"/>
                  </a:lnTo>
                  <a:lnTo>
                    <a:pt x="1212" y="341"/>
                  </a:lnTo>
                  <a:lnTo>
                    <a:pt x="1203" y="332"/>
                  </a:lnTo>
                  <a:lnTo>
                    <a:pt x="1171" y="345"/>
                  </a:lnTo>
                  <a:lnTo>
                    <a:pt x="1141" y="341"/>
                  </a:lnTo>
                  <a:lnTo>
                    <a:pt x="1076" y="393"/>
                  </a:lnTo>
                  <a:lnTo>
                    <a:pt x="1020" y="415"/>
                  </a:lnTo>
                  <a:lnTo>
                    <a:pt x="1019" y="426"/>
                  </a:lnTo>
                  <a:lnTo>
                    <a:pt x="1037" y="436"/>
                  </a:lnTo>
                  <a:lnTo>
                    <a:pt x="1036" y="453"/>
                  </a:lnTo>
                  <a:lnTo>
                    <a:pt x="1030" y="456"/>
                  </a:lnTo>
                  <a:lnTo>
                    <a:pt x="929" y="467"/>
                  </a:lnTo>
                  <a:lnTo>
                    <a:pt x="897" y="460"/>
                  </a:lnTo>
                  <a:lnTo>
                    <a:pt x="891" y="446"/>
                  </a:lnTo>
                  <a:lnTo>
                    <a:pt x="899" y="436"/>
                  </a:lnTo>
                  <a:lnTo>
                    <a:pt x="891" y="432"/>
                  </a:lnTo>
                  <a:lnTo>
                    <a:pt x="893" y="412"/>
                  </a:lnTo>
                  <a:lnTo>
                    <a:pt x="890" y="402"/>
                  </a:lnTo>
                  <a:lnTo>
                    <a:pt x="862" y="410"/>
                  </a:lnTo>
                  <a:lnTo>
                    <a:pt x="856" y="424"/>
                  </a:lnTo>
                  <a:lnTo>
                    <a:pt x="856" y="447"/>
                  </a:lnTo>
                  <a:lnTo>
                    <a:pt x="853" y="454"/>
                  </a:lnTo>
                  <a:lnTo>
                    <a:pt x="863" y="465"/>
                  </a:lnTo>
                  <a:lnTo>
                    <a:pt x="858" y="481"/>
                  </a:lnTo>
                  <a:lnTo>
                    <a:pt x="822" y="482"/>
                  </a:lnTo>
                  <a:lnTo>
                    <a:pt x="726" y="463"/>
                  </a:lnTo>
                  <a:lnTo>
                    <a:pt x="699" y="438"/>
                  </a:lnTo>
                  <a:lnTo>
                    <a:pt x="633" y="434"/>
                  </a:lnTo>
                  <a:lnTo>
                    <a:pt x="623" y="423"/>
                  </a:lnTo>
                  <a:lnTo>
                    <a:pt x="582" y="408"/>
                  </a:lnTo>
                  <a:lnTo>
                    <a:pt x="551" y="382"/>
                  </a:lnTo>
                  <a:lnTo>
                    <a:pt x="541" y="377"/>
                  </a:lnTo>
                  <a:lnTo>
                    <a:pt x="535" y="380"/>
                  </a:lnTo>
                  <a:lnTo>
                    <a:pt x="526" y="368"/>
                  </a:lnTo>
                  <a:lnTo>
                    <a:pt x="517" y="367"/>
                  </a:lnTo>
                  <a:lnTo>
                    <a:pt x="517" y="359"/>
                  </a:lnTo>
                  <a:lnTo>
                    <a:pt x="528" y="344"/>
                  </a:lnTo>
                  <a:lnTo>
                    <a:pt x="529" y="318"/>
                  </a:lnTo>
                  <a:lnTo>
                    <a:pt x="550" y="296"/>
                  </a:lnTo>
                  <a:lnTo>
                    <a:pt x="559" y="295"/>
                  </a:lnTo>
                  <a:lnTo>
                    <a:pt x="515" y="271"/>
                  </a:lnTo>
                  <a:lnTo>
                    <a:pt x="512" y="262"/>
                  </a:lnTo>
                  <a:lnTo>
                    <a:pt x="497" y="262"/>
                  </a:lnTo>
                  <a:lnTo>
                    <a:pt x="493" y="254"/>
                  </a:lnTo>
                  <a:lnTo>
                    <a:pt x="470" y="257"/>
                  </a:lnTo>
                  <a:lnTo>
                    <a:pt x="469" y="248"/>
                  </a:lnTo>
                  <a:lnTo>
                    <a:pt x="458" y="235"/>
                  </a:lnTo>
                  <a:lnTo>
                    <a:pt x="460" y="207"/>
                  </a:lnTo>
                  <a:lnTo>
                    <a:pt x="449" y="194"/>
                  </a:lnTo>
                  <a:lnTo>
                    <a:pt x="447" y="180"/>
                  </a:lnTo>
                  <a:lnTo>
                    <a:pt x="459" y="173"/>
                  </a:lnTo>
                  <a:lnTo>
                    <a:pt x="470" y="187"/>
                  </a:lnTo>
                  <a:lnTo>
                    <a:pt x="476" y="186"/>
                  </a:lnTo>
                  <a:lnTo>
                    <a:pt x="483" y="176"/>
                  </a:lnTo>
                  <a:lnTo>
                    <a:pt x="490" y="179"/>
                  </a:lnTo>
                  <a:lnTo>
                    <a:pt x="496" y="170"/>
                  </a:lnTo>
                  <a:lnTo>
                    <a:pt x="489" y="156"/>
                  </a:lnTo>
                  <a:lnTo>
                    <a:pt x="489" y="147"/>
                  </a:lnTo>
                  <a:lnTo>
                    <a:pt x="476" y="145"/>
                  </a:lnTo>
                  <a:lnTo>
                    <a:pt x="469" y="136"/>
                  </a:lnTo>
                  <a:lnTo>
                    <a:pt x="472" y="116"/>
                  </a:lnTo>
                  <a:lnTo>
                    <a:pt x="468" y="105"/>
                  </a:lnTo>
                  <a:lnTo>
                    <a:pt x="487" y="105"/>
                  </a:lnTo>
                  <a:lnTo>
                    <a:pt x="494" y="99"/>
                  </a:lnTo>
                  <a:lnTo>
                    <a:pt x="497" y="82"/>
                  </a:lnTo>
                  <a:lnTo>
                    <a:pt x="505" y="81"/>
                  </a:lnTo>
                  <a:lnTo>
                    <a:pt x="505" y="76"/>
                  </a:lnTo>
                  <a:lnTo>
                    <a:pt x="517" y="65"/>
                  </a:lnTo>
                  <a:lnTo>
                    <a:pt x="529" y="26"/>
                  </a:lnTo>
                  <a:lnTo>
                    <a:pt x="524" y="24"/>
                  </a:lnTo>
                  <a:lnTo>
                    <a:pt x="517" y="30"/>
                  </a:lnTo>
                  <a:lnTo>
                    <a:pt x="513" y="18"/>
                  </a:lnTo>
                  <a:lnTo>
                    <a:pt x="506" y="21"/>
                  </a:lnTo>
                  <a:lnTo>
                    <a:pt x="500" y="16"/>
                  </a:lnTo>
                  <a:lnTo>
                    <a:pt x="499" y="8"/>
                  </a:lnTo>
                  <a:lnTo>
                    <a:pt x="482" y="0"/>
                  </a:lnTo>
                  <a:lnTo>
                    <a:pt x="459" y="5"/>
                  </a:lnTo>
                  <a:lnTo>
                    <a:pt x="427" y="28"/>
                  </a:lnTo>
                  <a:lnTo>
                    <a:pt x="413" y="28"/>
                  </a:lnTo>
                  <a:lnTo>
                    <a:pt x="386" y="48"/>
                  </a:lnTo>
                  <a:lnTo>
                    <a:pt x="379" y="65"/>
                  </a:lnTo>
                  <a:lnTo>
                    <a:pt x="358" y="62"/>
                  </a:lnTo>
                  <a:lnTo>
                    <a:pt x="350" y="69"/>
                  </a:lnTo>
                  <a:lnTo>
                    <a:pt x="340" y="67"/>
                  </a:lnTo>
                  <a:lnTo>
                    <a:pt x="323" y="74"/>
                  </a:lnTo>
                  <a:lnTo>
                    <a:pt x="269" y="57"/>
                  </a:lnTo>
                  <a:lnTo>
                    <a:pt x="252" y="64"/>
                  </a:lnTo>
                  <a:lnTo>
                    <a:pt x="246" y="82"/>
                  </a:lnTo>
                  <a:lnTo>
                    <a:pt x="255" y="87"/>
                  </a:lnTo>
                  <a:lnTo>
                    <a:pt x="250" y="97"/>
                  </a:lnTo>
                  <a:lnTo>
                    <a:pt x="265" y="104"/>
                  </a:lnTo>
                  <a:lnTo>
                    <a:pt x="255" y="115"/>
                  </a:lnTo>
                  <a:lnTo>
                    <a:pt x="265" y="129"/>
                  </a:lnTo>
                  <a:lnTo>
                    <a:pt x="253" y="141"/>
                  </a:lnTo>
                  <a:lnTo>
                    <a:pt x="270" y="156"/>
                  </a:lnTo>
                  <a:lnTo>
                    <a:pt x="269" y="163"/>
                  </a:lnTo>
                  <a:lnTo>
                    <a:pt x="284" y="166"/>
                  </a:lnTo>
                  <a:lnTo>
                    <a:pt x="286" y="180"/>
                  </a:lnTo>
                  <a:lnTo>
                    <a:pt x="310" y="184"/>
                  </a:lnTo>
                  <a:lnTo>
                    <a:pt x="315" y="196"/>
                  </a:lnTo>
                  <a:lnTo>
                    <a:pt x="310" y="203"/>
                  </a:lnTo>
                  <a:lnTo>
                    <a:pt x="284" y="209"/>
                  </a:lnTo>
                  <a:lnTo>
                    <a:pt x="280" y="223"/>
                  </a:lnTo>
                  <a:lnTo>
                    <a:pt x="286" y="236"/>
                  </a:lnTo>
                  <a:lnTo>
                    <a:pt x="280" y="246"/>
                  </a:lnTo>
                  <a:lnTo>
                    <a:pt x="291" y="254"/>
                  </a:lnTo>
                  <a:lnTo>
                    <a:pt x="282" y="254"/>
                  </a:lnTo>
                  <a:lnTo>
                    <a:pt x="269" y="264"/>
                  </a:lnTo>
                  <a:lnTo>
                    <a:pt x="249" y="292"/>
                  </a:lnTo>
                  <a:lnTo>
                    <a:pt x="247" y="305"/>
                  </a:lnTo>
                  <a:lnTo>
                    <a:pt x="230" y="313"/>
                  </a:lnTo>
                  <a:lnTo>
                    <a:pt x="206" y="354"/>
                  </a:lnTo>
                  <a:lnTo>
                    <a:pt x="182" y="373"/>
                  </a:lnTo>
                  <a:lnTo>
                    <a:pt x="159" y="407"/>
                  </a:lnTo>
                  <a:lnTo>
                    <a:pt x="132" y="411"/>
                  </a:lnTo>
                  <a:lnTo>
                    <a:pt x="119" y="419"/>
                  </a:lnTo>
                  <a:lnTo>
                    <a:pt x="103" y="402"/>
                  </a:lnTo>
                  <a:lnTo>
                    <a:pt x="64" y="448"/>
                  </a:lnTo>
                  <a:lnTo>
                    <a:pt x="64" y="469"/>
                  </a:lnTo>
                  <a:lnTo>
                    <a:pt x="92" y="477"/>
                  </a:lnTo>
                  <a:lnTo>
                    <a:pt x="88" y="506"/>
                  </a:lnTo>
                  <a:lnTo>
                    <a:pt x="96" y="515"/>
                  </a:lnTo>
                  <a:lnTo>
                    <a:pt x="111" y="517"/>
                  </a:lnTo>
                  <a:lnTo>
                    <a:pt x="112" y="532"/>
                  </a:lnTo>
                  <a:lnTo>
                    <a:pt x="129" y="557"/>
                  </a:lnTo>
                  <a:lnTo>
                    <a:pt x="125" y="573"/>
                  </a:lnTo>
                  <a:lnTo>
                    <a:pt x="130" y="576"/>
                  </a:lnTo>
                  <a:lnTo>
                    <a:pt x="115" y="583"/>
                  </a:lnTo>
                  <a:lnTo>
                    <a:pt x="104" y="573"/>
                  </a:lnTo>
                  <a:lnTo>
                    <a:pt x="83" y="586"/>
                  </a:lnTo>
                  <a:lnTo>
                    <a:pt x="72" y="586"/>
                  </a:lnTo>
                  <a:lnTo>
                    <a:pt x="65" y="579"/>
                  </a:lnTo>
                  <a:lnTo>
                    <a:pt x="36" y="581"/>
                  </a:lnTo>
                  <a:lnTo>
                    <a:pt x="31" y="576"/>
                  </a:lnTo>
                  <a:lnTo>
                    <a:pt x="30" y="594"/>
                  </a:lnTo>
                  <a:lnTo>
                    <a:pt x="8" y="594"/>
                  </a:lnTo>
                  <a:lnTo>
                    <a:pt x="0" y="607"/>
                  </a:lnTo>
                  <a:lnTo>
                    <a:pt x="1" y="613"/>
                  </a:lnTo>
                  <a:close/>
                </a:path>
              </a:pathLst>
            </a:custGeom>
            <a:grpFill/>
            <a:ln w="6350">
              <a:solidFill>
                <a:schemeClr val="tx2"/>
              </a:solidFill>
              <a:round/>
              <a:headEnd/>
              <a:tailEnd/>
            </a:ln>
          </p:spPr>
          <p:txBody>
            <a:bodyPr/>
            <a:lstStyle/>
            <a:p>
              <a:endParaRPr lang="en-US"/>
            </a:p>
          </p:txBody>
        </p:sp>
        <p:sp>
          <p:nvSpPr>
            <p:cNvPr id="670" name="Freeform 1819"/>
            <p:cNvSpPr>
              <a:spLocks/>
            </p:cNvSpPr>
            <p:nvPr/>
          </p:nvSpPr>
          <p:spPr bwMode="auto">
            <a:xfrm>
              <a:off x="5762227" y="4537885"/>
              <a:ext cx="4551" cy="1517"/>
            </a:xfrm>
            <a:custGeom>
              <a:avLst/>
              <a:gdLst>
                <a:gd name="T0" fmla="*/ 2147483647 w 12"/>
                <a:gd name="T1" fmla="*/ 2147483647 h 4"/>
                <a:gd name="T2" fmla="*/ 0 w 12"/>
                <a:gd name="T3" fmla="*/ 2147483647 h 4"/>
                <a:gd name="T4" fmla="*/ 2147483647 w 12"/>
                <a:gd name="T5" fmla="*/ 2147483647 h 4"/>
                <a:gd name="T6" fmla="*/ 2147483647 w 12"/>
                <a:gd name="T7" fmla="*/ 0 h 4"/>
                <a:gd name="T8" fmla="*/ 2147483647 w 12"/>
                <a:gd name="T9" fmla="*/ 2147483647 h 4"/>
                <a:gd name="T10" fmla="*/ 0 60000 65536"/>
                <a:gd name="T11" fmla="*/ 0 60000 65536"/>
                <a:gd name="T12" fmla="*/ 0 60000 65536"/>
                <a:gd name="T13" fmla="*/ 0 60000 65536"/>
                <a:gd name="T14" fmla="*/ 0 60000 65536"/>
                <a:gd name="T15" fmla="*/ 0 w 12"/>
                <a:gd name="T16" fmla="*/ 0 h 4"/>
                <a:gd name="T17" fmla="*/ 12 w 12"/>
                <a:gd name="T18" fmla="*/ 4 h 4"/>
              </a:gdLst>
              <a:ahLst/>
              <a:cxnLst>
                <a:cxn ang="T10">
                  <a:pos x="T0" y="T1"/>
                </a:cxn>
                <a:cxn ang="T11">
                  <a:pos x="T2" y="T3"/>
                </a:cxn>
                <a:cxn ang="T12">
                  <a:pos x="T4" y="T5"/>
                </a:cxn>
                <a:cxn ang="T13">
                  <a:pos x="T6" y="T7"/>
                </a:cxn>
                <a:cxn ang="T14">
                  <a:pos x="T8" y="T9"/>
                </a:cxn>
              </a:cxnLst>
              <a:rect l="T15" t="T16" r="T17" b="T18"/>
              <a:pathLst>
                <a:path w="12" h="4">
                  <a:moveTo>
                    <a:pt x="6" y="1"/>
                  </a:moveTo>
                  <a:lnTo>
                    <a:pt x="0" y="3"/>
                  </a:lnTo>
                  <a:lnTo>
                    <a:pt x="6" y="4"/>
                  </a:lnTo>
                  <a:lnTo>
                    <a:pt x="12" y="0"/>
                  </a:lnTo>
                  <a:lnTo>
                    <a:pt x="6" y="1"/>
                  </a:lnTo>
                  <a:close/>
                </a:path>
              </a:pathLst>
            </a:custGeom>
            <a:grpFill/>
            <a:ln w="6350">
              <a:solidFill>
                <a:schemeClr val="tx2"/>
              </a:solidFill>
              <a:round/>
              <a:headEnd/>
              <a:tailEnd/>
            </a:ln>
          </p:spPr>
          <p:txBody>
            <a:bodyPr/>
            <a:lstStyle/>
            <a:p>
              <a:endParaRPr lang="en-US"/>
            </a:p>
          </p:txBody>
        </p:sp>
        <p:sp>
          <p:nvSpPr>
            <p:cNvPr id="671" name="Freeform 1820"/>
            <p:cNvSpPr>
              <a:spLocks/>
            </p:cNvSpPr>
            <p:nvPr/>
          </p:nvSpPr>
          <p:spPr bwMode="auto">
            <a:xfrm>
              <a:off x="5742505" y="4545471"/>
              <a:ext cx="3034" cy="1516"/>
            </a:xfrm>
            <a:custGeom>
              <a:avLst/>
              <a:gdLst>
                <a:gd name="T0" fmla="*/ 2147483647 w 13"/>
                <a:gd name="T1" fmla="*/ 2147483647 h 4"/>
                <a:gd name="T2" fmla="*/ 0 w 13"/>
                <a:gd name="T3" fmla="*/ 2147483647 h 4"/>
                <a:gd name="T4" fmla="*/ 2147483647 w 13"/>
                <a:gd name="T5" fmla="*/ 2147483647 h 4"/>
                <a:gd name="T6" fmla="*/ 2147483647 w 13"/>
                <a:gd name="T7" fmla="*/ 0 h 4"/>
                <a:gd name="T8" fmla="*/ 2147483647 w 13"/>
                <a:gd name="T9" fmla="*/ 2147483647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7" y="1"/>
                  </a:moveTo>
                  <a:lnTo>
                    <a:pt x="0" y="4"/>
                  </a:lnTo>
                  <a:lnTo>
                    <a:pt x="7" y="4"/>
                  </a:lnTo>
                  <a:lnTo>
                    <a:pt x="13" y="0"/>
                  </a:lnTo>
                  <a:lnTo>
                    <a:pt x="7" y="1"/>
                  </a:lnTo>
                  <a:close/>
                </a:path>
              </a:pathLst>
            </a:custGeom>
            <a:grpFill/>
            <a:ln w="6350">
              <a:solidFill>
                <a:schemeClr val="tx2"/>
              </a:solidFill>
              <a:round/>
              <a:headEnd/>
              <a:tailEnd/>
            </a:ln>
          </p:spPr>
          <p:txBody>
            <a:bodyPr/>
            <a:lstStyle/>
            <a:p>
              <a:endParaRPr lang="en-US"/>
            </a:p>
          </p:txBody>
        </p:sp>
        <p:sp>
          <p:nvSpPr>
            <p:cNvPr id="672" name="Freeform 1821"/>
            <p:cNvSpPr>
              <a:spLocks/>
            </p:cNvSpPr>
            <p:nvPr/>
          </p:nvSpPr>
          <p:spPr bwMode="auto">
            <a:xfrm>
              <a:off x="5748573" y="4559124"/>
              <a:ext cx="7585" cy="3034"/>
            </a:xfrm>
            <a:custGeom>
              <a:avLst/>
              <a:gdLst>
                <a:gd name="T0" fmla="*/ 2147483647 w 11"/>
                <a:gd name="T1" fmla="*/ 2147483647 h 4"/>
                <a:gd name="T2" fmla="*/ 0 w 11"/>
                <a:gd name="T3" fmla="*/ 2147483647 h 4"/>
                <a:gd name="T4" fmla="*/ 2147483647 w 11"/>
                <a:gd name="T5" fmla="*/ 2147483647 h 4"/>
                <a:gd name="T6" fmla="*/ 2147483647 w 11"/>
                <a:gd name="T7" fmla="*/ 0 h 4"/>
                <a:gd name="T8" fmla="*/ 2147483647 w 11"/>
                <a:gd name="T9" fmla="*/ 2147483647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6" y="1"/>
                  </a:moveTo>
                  <a:lnTo>
                    <a:pt x="0" y="3"/>
                  </a:lnTo>
                  <a:lnTo>
                    <a:pt x="6" y="4"/>
                  </a:lnTo>
                  <a:lnTo>
                    <a:pt x="11" y="0"/>
                  </a:lnTo>
                  <a:lnTo>
                    <a:pt x="6" y="1"/>
                  </a:lnTo>
                  <a:close/>
                </a:path>
              </a:pathLst>
            </a:custGeom>
            <a:grpFill/>
            <a:ln w="6350">
              <a:solidFill>
                <a:schemeClr val="tx2"/>
              </a:solidFill>
              <a:round/>
              <a:headEnd/>
              <a:tailEnd/>
            </a:ln>
          </p:spPr>
          <p:txBody>
            <a:bodyPr/>
            <a:lstStyle/>
            <a:p>
              <a:endParaRPr lang="en-US"/>
            </a:p>
          </p:txBody>
        </p:sp>
        <p:sp>
          <p:nvSpPr>
            <p:cNvPr id="673" name="Freeform 1822"/>
            <p:cNvSpPr>
              <a:spLocks/>
            </p:cNvSpPr>
            <p:nvPr/>
          </p:nvSpPr>
          <p:spPr bwMode="auto">
            <a:xfrm>
              <a:off x="5703061" y="4584916"/>
              <a:ext cx="6069" cy="1516"/>
            </a:xfrm>
            <a:custGeom>
              <a:avLst/>
              <a:gdLst>
                <a:gd name="T0" fmla="*/ 2147483647 w 12"/>
                <a:gd name="T1" fmla="*/ 0 h 3"/>
                <a:gd name="T2" fmla="*/ 0 w 12"/>
                <a:gd name="T3" fmla="*/ 2147483647 h 3"/>
                <a:gd name="T4" fmla="*/ 2147483647 w 12"/>
                <a:gd name="T5" fmla="*/ 2147483647 h 3"/>
                <a:gd name="T6" fmla="*/ 2147483647 w 12"/>
                <a:gd name="T7" fmla="*/ 0 h 3"/>
                <a:gd name="T8" fmla="*/ 2147483647 w 12"/>
                <a:gd name="T9" fmla="*/ 0 h 3"/>
                <a:gd name="T10" fmla="*/ 0 60000 65536"/>
                <a:gd name="T11" fmla="*/ 0 60000 65536"/>
                <a:gd name="T12" fmla="*/ 0 60000 65536"/>
                <a:gd name="T13" fmla="*/ 0 60000 65536"/>
                <a:gd name="T14" fmla="*/ 0 60000 65536"/>
                <a:gd name="T15" fmla="*/ 0 w 12"/>
                <a:gd name="T16" fmla="*/ 0 h 3"/>
                <a:gd name="T17" fmla="*/ 12 w 12"/>
                <a:gd name="T18" fmla="*/ 3 h 3"/>
              </a:gdLst>
              <a:ahLst/>
              <a:cxnLst>
                <a:cxn ang="T10">
                  <a:pos x="T0" y="T1"/>
                </a:cxn>
                <a:cxn ang="T11">
                  <a:pos x="T2" y="T3"/>
                </a:cxn>
                <a:cxn ang="T12">
                  <a:pos x="T4" y="T5"/>
                </a:cxn>
                <a:cxn ang="T13">
                  <a:pos x="T6" y="T7"/>
                </a:cxn>
                <a:cxn ang="T14">
                  <a:pos x="T8" y="T9"/>
                </a:cxn>
              </a:cxnLst>
              <a:rect l="T15" t="T16" r="T17" b="T18"/>
              <a:pathLst>
                <a:path w="12" h="3">
                  <a:moveTo>
                    <a:pt x="6" y="0"/>
                  </a:moveTo>
                  <a:lnTo>
                    <a:pt x="0" y="3"/>
                  </a:lnTo>
                  <a:lnTo>
                    <a:pt x="6" y="3"/>
                  </a:lnTo>
                  <a:lnTo>
                    <a:pt x="12" y="0"/>
                  </a:lnTo>
                  <a:lnTo>
                    <a:pt x="6" y="0"/>
                  </a:lnTo>
                  <a:close/>
                </a:path>
              </a:pathLst>
            </a:custGeom>
            <a:grpFill/>
            <a:ln w="6350">
              <a:solidFill>
                <a:schemeClr val="tx2"/>
              </a:solidFill>
              <a:round/>
              <a:headEnd/>
              <a:tailEnd/>
            </a:ln>
          </p:spPr>
          <p:txBody>
            <a:bodyPr/>
            <a:lstStyle/>
            <a:p>
              <a:endParaRPr lang="en-US"/>
            </a:p>
          </p:txBody>
        </p:sp>
        <p:sp>
          <p:nvSpPr>
            <p:cNvPr id="674" name="Freeform 1823"/>
            <p:cNvSpPr>
              <a:spLocks/>
            </p:cNvSpPr>
            <p:nvPr/>
          </p:nvSpPr>
          <p:spPr bwMode="auto">
            <a:xfrm>
              <a:off x="5675752" y="4578847"/>
              <a:ext cx="3034" cy="3034"/>
            </a:xfrm>
            <a:custGeom>
              <a:avLst/>
              <a:gdLst>
                <a:gd name="T0" fmla="*/ 2147483647 w 13"/>
                <a:gd name="T1" fmla="*/ 2147483647 h 4"/>
                <a:gd name="T2" fmla="*/ 0 w 13"/>
                <a:gd name="T3" fmla="*/ 2147483647 h 4"/>
                <a:gd name="T4" fmla="*/ 2147483647 w 13"/>
                <a:gd name="T5" fmla="*/ 2147483647 h 4"/>
                <a:gd name="T6" fmla="*/ 2147483647 w 13"/>
                <a:gd name="T7" fmla="*/ 0 h 4"/>
                <a:gd name="T8" fmla="*/ 2147483647 w 13"/>
                <a:gd name="T9" fmla="*/ 2147483647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6" y="1"/>
                  </a:moveTo>
                  <a:lnTo>
                    <a:pt x="0" y="3"/>
                  </a:lnTo>
                  <a:lnTo>
                    <a:pt x="6" y="4"/>
                  </a:lnTo>
                  <a:lnTo>
                    <a:pt x="13" y="0"/>
                  </a:lnTo>
                  <a:lnTo>
                    <a:pt x="6" y="1"/>
                  </a:lnTo>
                  <a:close/>
                </a:path>
              </a:pathLst>
            </a:custGeom>
            <a:grpFill/>
            <a:ln w="6350">
              <a:solidFill>
                <a:schemeClr val="tx2"/>
              </a:solidFill>
              <a:round/>
              <a:headEnd/>
              <a:tailEnd/>
            </a:ln>
          </p:spPr>
          <p:txBody>
            <a:bodyPr/>
            <a:lstStyle/>
            <a:p>
              <a:endParaRPr lang="en-US"/>
            </a:p>
          </p:txBody>
        </p:sp>
        <p:sp>
          <p:nvSpPr>
            <p:cNvPr id="675" name="Freeform 1826"/>
            <p:cNvSpPr>
              <a:spLocks/>
            </p:cNvSpPr>
            <p:nvPr/>
          </p:nvSpPr>
          <p:spPr bwMode="auto">
            <a:xfrm>
              <a:off x="5703061" y="3782362"/>
              <a:ext cx="7585" cy="18206"/>
            </a:xfrm>
            <a:custGeom>
              <a:avLst/>
              <a:gdLst>
                <a:gd name="T0" fmla="*/ 2147483647 w 14"/>
                <a:gd name="T1" fmla="*/ 2147483647 h 35"/>
                <a:gd name="T2" fmla="*/ 2147483647 w 14"/>
                <a:gd name="T3" fmla="*/ 0 h 35"/>
                <a:gd name="T4" fmla="*/ 0 w 14"/>
                <a:gd name="T5" fmla="*/ 2147483647 h 35"/>
                <a:gd name="T6" fmla="*/ 2147483647 w 14"/>
                <a:gd name="T7" fmla="*/ 2147483647 h 35"/>
                <a:gd name="T8" fmla="*/ 2147483647 w 14"/>
                <a:gd name="T9" fmla="*/ 2147483647 h 35"/>
                <a:gd name="T10" fmla="*/ 0 60000 65536"/>
                <a:gd name="T11" fmla="*/ 0 60000 65536"/>
                <a:gd name="T12" fmla="*/ 0 60000 65536"/>
                <a:gd name="T13" fmla="*/ 0 60000 65536"/>
                <a:gd name="T14" fmla="*/ 0 60000 65536"/>
                <a:gd name="T15" fmla="*/ 0 w 14"/>
                <a:gd name="T16" fmla="*/ 0 h 35"/>
                <a:gd name="T17" fmla="*/ 14 w 14"/>
                <a:gd name="T18" fmla="*/ 35 h 35"/>
              </a:gdLst>
              <a:ahLst/>
              <a:cxnLst>
                <a:cxn ang="T10">
                  <a:pos x="T0" y="T1"/>
                </a:cxn>
                <a:cxn ang="T11">
                  <a:pos x="T2" y="T3"/>
                </a:cxn>
                <a:cxn ang="T12">
                  <a:pos x="T4" y="T5"/>
                </a:cxn>
                <a:cxn ang="T13">
                  <a:pos x="T6" y="T7"/>
                </a:cxn>
                <a:cxn ang="T14">
                  <a:pos x="T8" y="T9"/>
                </a:cxn>
              </a:cxnLst>
              <a:rect l="T15" t="T16" r="T17" b="T18"/>
              <a:pathLst>
                <a:path w="14" h="35">
                  <a:moveTo>
                    <a:pt x="14" y="21"/>
                  </a:moveTo>
                  <a:lnTo>
                    <a:pt x="7" y="0"/>
                  </a:lnTo>
                  <a:lnTo>
                    <a:pt x="0" y="25"/>
                  </a:lnTo>
                  <a:lnTo>
                    <a:pt x="9" y="35"/>
                  </a:lnTo>
                  <a:lnTo>
                    <a:pt x="14" y="21"/>
                  </a:lnTo>
                  <a:close/>
                </a:path>
              </a:pathLst>
            </a:custGeom>
            <a:grpFill/>
            <a:ln w="6350">
              <a:solidFill>
                <a:schemeClr val="tx2"/>
              </a:solidFill>
              <a:round/>
              <a:headEnd/>
              <a:tailEnd/>
            </a:ln>
          </p:spPr>
          <p:txBody>
            <a:bodyPr/>
            <a:lstStyle/>
            <a:p>
              <a:endParaRPr lang="en-US"/>
            </a:p>
          </p:txBody>
        </p:sp>
        <p:sp>
          <p:nvSpPr>
            <p:cNvPr id="676" name="Freeform 1020"/>
            <p:cNvSpPr>
              <a:spLocks/>
            </p:cNvSpPr>
            <p:nvPr/>
          </p:nvSpPr>
          <p:spPr bwMode="auto">
            <a:xfrm>
              <a:off x="3771774" y="1367119"/>
              <a:ext cx="28826" cy="48548"/>
            </a:xfrm>
            <a:custGeom>
              <a:avLst/>
              <a:gdLst>
                <a:gd name="T0" fmla="*/ 2147483647 w 57"/>
                <a:gd name="T1" fmla="*/ 0 h 99"/>
                <a:gd name="T2" fmla="*/ 2147483647 w 57"/>
                <a:gd name="T3" fmla="*/ 2147483647 h 99"/>
                <a:gd name="T4" fmla="*/ 2147483647 w 57"/>
                <a:gd name="T5" fmla="*/ 2147483647 h 99"/>
                <a:gd name="T6" fmla="*/ 0 w 57"/>
                <a:gd name="T7" fmla="*/ 2147483647 h 99"/>
                <a:gd name="T8" fmla="*/ 2147483647 w 57"/>
                <a:gd name="T9" fmla="*/ 0 h 99"/>
                <a:gd name="T10" fmla="*/ 0 60000 65536"/>
                <a:gd name="T11" fmla="*/ 0 60000 65536"/>
                <a:gd name="T12" fmla="*/ 0 60000 65536"/>
                <a:gd name="T13" fmla="*/ 0 60000 65536"/>
                <a:gd name="T14" fmla="*/ 0 60000 65536"/>
                <a:gd name="T15" fmla="*/ 0 w 57"/>
                <a:gd name="T16" fmla="*/ 0 h 99"/>
                <a:gd name="T17" fmla="*/ 57 w 57"/>
                <a:gd name="T18" fmla="*/ 99 h 99"/>
              </a:gdLst>
              <a:ahLst/>
              <a:cxnLst>
                <a:cxn ang="T10">
                  <a:pos x="T0" y="T1"/>
                </a:cxn>
                <a:cxn ang="T11">
                  <a:pos x="T2" y="T3"/>
                </a:cxn>
                <a:cxn ang="T12">
                  <a:pos x="T4" y="T5"/>
                </a:cxn>
                <a:cxn ang="T13">
                  <a:pos x="T6" y="T7"/>
                </a:cxn>
                <a:cxn ang="T14">
                  <a:pos x="T8" y="T9"/>
                </a:cxn>
              </a:cxnLst>
              <a:rect l="T15" t="T16" r="T17" b="T18"/>
              <a:pathLst>
                <a:path w="57" h="99">
                  <a:moveTo>
                    <a:pt x="12" y="0"/>
                  </a:moveTo>
                  <a:lnTo>
                    <a:pt x="57" y="99"/>
                  </a:lnTo>
                  <a:lnTo>
                    <a:pt x="8" y="45"/>
                  </a:lnTo>
                  <a:lnTo>
                    <a:pt x="0" y="25"/>
                  </a:lnTo>
                  <a:lnTo>
                    <a:pt x="12" y="0"/>
                  </a:lnTo>
                  <a:close/>
                </a:path>
              </a:pathLst>
            </a:custGeom>
            <a:grpFill/>
            <a:ln w="6350">
              <a:solidFill>
                <a:schemeClr val="tx2"/>
              </a:solidFill>
              <a:round/>
              <a:headEnd/>
              <a:tailEnd/>
            </a:ln>
          </p:spPr>
          <p:txBody>
            <a:bodyPr/>
            <a:lstStyle/>
            <a:p>
              <a:endParaRPr lang="en-US"/>
            </a:p>
          </p:txBody>
        </p:sp>
        <p:sp>
          <p:nvSpPr>
            <p:cNvPr id="677" name="Freeform 1021"/>
            <p:cNvSpPr>
              <a:spLocks/>
            </p:cNvSpPr>
            <p:nvPr/>
          </p:nvSpPr>
          <p:spPr bwMode="auto">
            <a:xfrm>
              <a:off x="3800600" y="1637165"/>
              <a:ext cx="21239" cy="25792"/>
            </a:xfrm>
            <a:custGeom>
              <a:avLst/>
              <a:gdLst>
                <a:gd name="T0" fmla="*/ 2147483647 w 37"/>
                <a:gd name="T1" fmla="*/ 0 h 54"/>
                <a:gd name="T2" fmla="*/ 2147483647 w 37"/>
                <a:gd name="T3" fmla="*/ 2147483647 h 54"/>
                <a:gd name="T4" fmla="*/ 0 w 37"/>
                <a:gd name="T5" fmla="*/ 2147483647 h 54"/>
                <a:gd name="T6" fmla="*/ 2147483647 w 37"/>
                <a:gd name="T7" fmla="*/ 2147483647 h 54"/>
                <a:gd name="T8" fmla="*/ 2147483647 w 37"/>
                <a:gd name="T9" fmla="*/ 0 h 54"/>
                <a:gd name="T10" fmla="*/ 0 60000 65536"/>
                <a:gd name="T11" fmla="*/ 0 60000 65536"/>
                <a:gd name="T12" fmla="*/ 0 60000 65536"/>
                <a:gd name="T13" fmla="*/ 0 60000 65536"/>
                <a:gd name="T14" fmla="*/ 0 60000 65536"/>
                <a:gd name="T15" fmla="*/ 0 w 37"/>
                <a:gd name="T16" fmla="*/ 0 h 54"/>
                <a:gd name="T17" fmla="*/ 37 w 37"/>
                <a:gd name="T18" fmla="*/ 54 h 54"/>
              </a:gdLst>
              <a:ahLst/>
              <a:cxnLst>
                <a:cxn ang="T10">
                  <a:pos x="T0" y="T1"/>
                </a:cxn>
                <a:cxn ang="T11">
                  <a:pos x="T2" y="T3"/>
                </a:cxn>
                <a:cxn ang="T12">
                  <a:pos x="T4" y="T5"/>
                </a:cxn>
                <a:cxn ang="T13">
                  <a:pos x="T6" y="T7"/>
                </a:cxn>
                <a:cxn ang="T14">
                  <a:pos x="T8" y="T9"/>
                </a:cxn>
              </a:cxnLst>
              <a:rect l="T15" t="T16" r="T17" b="T18"/>
              <a:pathLst>
                <a:path w="37" h="54">
                  <a:moveTo>
                    <a:pt x="15" y="0"/>
                  </a:moveTo>
                  <a:lnTo>
                    <a:pt x="37" y="20"/>
                  </a:lnTo>
                  <a:lnTo>
                    <a:pt x="0" y="54"/>
                  </a:lnTo>
                  <a:lnTo>
                    <a:pt x="1" y="14"/>
                  </a:lnTo>
                  <a:lnTo>
                    <a:pt x="15" y="0"/>
                  </a:lnTo>
                  <a:close/>
                </a:path>
              </a:pathLst>
            </a:custGeom>
            <a:grpFill/>
            <a:ln w="6350">
              <a:solidFill>
                <a:schemeClr val="tx2"/>
              </a:solidFill>
              <a:round/>
              <a:headEnd/>
              <a:tailEnd/>
            </a:ln>
          </p:spPr>
          <p:txBody>
            <a:bodyPr/>
            <a:lstStyle/>
            <a:p>
              <a:endParaRPr lang="en-US"/>
            </a:p>
          </p:txBody>
        </p:sp>
        <p:sp>
          <p:nvSpPr>
            <p:cNvPr id="678" name="Freeform 1022"/>
            <p:cNvSpPr>
              <a:spLocks/>
            </p:cNvSpPr>
            <p:nvPr/>
          </p:nvSpPr>
          <p:spPr bwMode="auto">
            <a:xfrm>
              <a:off x="3820322" y="2014926"/>
              <a:ext cx="10620" cy="71304"/>
            </a:xfrm>
            <a:custGeom>
              <a:avLst/>
              <a:gdLst>
                <a:gd name="T0" fmla="*/ 2147483647 w 20"/>
                <a:gd name="T1" fmla="*/ 2147483647 h 144"/>
                <a:gd name="T2" fmla="*/ 2147483647 w 20"/>
                <a:gd name="T3" fmla="*/ 2147483647 h 144"/>
                <a:gd name="T4" fmla="*/ 2147483647 w 20"/>
                <a:gd name="T5" fmla="*/ 2147483647 h 144"/>
                <a:gd name="T6" fmla="*/ 0 w 20"/>
                <a:gd name="T7" fmla="*/ 2147483647 h 144"/>
                <a:gd name="T8" fmla="*/ 2147483647 w 20"/>
                <a:gd name="T9" fmla="*/ 2147483647 h 144"/>
                <a:gd name="T10" fmla="*/ 2147483647 w 20"/>
                <a:gd name="T11" fmla="*/ 0 h 144"/>
                <a:gd name="T12" fmla="*/ 2147483647 w 20"/>
                <a:gd name="T13" fmla="*/ 2147483647 h 144"/>
                <a:gd name="T14" fmla="*/ 0 60000 65536"/>
                <a:gd name="T15" fmla="*/ 0 60000 65536"/>
                <a:gd name="T16" fmla="*/ 0 60000 65536"/>
                <a:gd name="T17" fmla="*/ 0 60000 65536"/>
                <a:gd name="T18" fmla="*/ 0 60000 65536"/>
                <a:gd name="T19" fmla="*/ 0 60000 65536"/>
                <a:gd name="T20" fmla="*/ 0 60000 65536"/>
                <a:gd name="T21" fmla="*/ 0 w 20"/>
                <a:gd name="T22" fmla="*/ 0 h 144"/>
                <a:gd name="T23" fmla="*/ 20 w 20"/>
                <a:gd name="T24" fmla="*/ 144 h 1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44">
                  <a:moveTo>
                    <a:pt x="16" y="40"/>
                  </a:moveTo>
                  <a:lnTo>
                    <a:pt x="20" y="144"/>
                  </a:lnTo>
                  <a:lnTo>
                    <a:pt x="10" y="73"/>
                  </a:lnTo>
                  <a:lnTo>
                    <a:pt x="0" y="33"/>
                  </a:lnTo>
                  <a:lnTo>
                    <a:pt x="5" y="25"/>
                  </a:lnTo>
                  <a:lnTo>
                    <a:pt x="4" y="0"/>
                  </a:lnTo>
                  <a:lnTo>
                    <a:pt x="16" y="40"/>
                  </a:lnTo>
                  <a:close/>
                </a:path>
              </a:pathLst>
            </a:custGeom>
            <a:grpFill/>
            <a:ln w="6350">
              <a:solidFill>
                <a:schemeClr val="tx2"/>
              </a:solidFill>
              <a:round/>
              <a:headEnd/>
              <a:tailEnd/>
            </a:ln>
          </p:spPr>
          <p:txBody>
            <a:bodyPr/>
            <a:lstStyle/>
            <a:p>
              <a:endParaRPr lang="en-US"/>
            </a:p>
          </p:txBody>
        </p:sp>
        <p:sp>
          <p:nvSpPr>
            <p:cNvPr id="679" name="Freeform 1023"/>
            <p:cNvSpPr>
              <a:spLocks/>
            </p:cNvSpPr>
            <p:nvPr/>
          </p:nvSpPr>
          <p:spPr bwMode="auto">
            <a:xfrm>
              <a:off x="3758120" y="2215185"/>
              <a:ext cx="36411" cy="24273"/>
            </a:xfrm>
            <a:custGeom>
              <a:avLst/>
              <a:gdLst>
                <a:gd name="T0" fmla="*/ 2147483647 w 77"/>
                <a:gd name="T1" fmla="*/ 2147483647 h 49"/>
                <a:gd name="T2" fmla="*/ 0 w 77"/>
                <a:gd name="T3" fmla="*/ 2147483647 h 49"/>
                <a:gd name="T4" fmla="*/ 2147483647 w 77"/>
                <a:gd name="T5" fmla="*/ 2147483647 h 49"/>
                <a:gd name="T6" fmla="*/ 2147483647 w 77"/>
                <a:gd name="T7" fmla="*/ 2147483647 h 49"/>
                <a:gd name="T8" fmla="*/ 2147483647 w 77"/>
                <a:gd name="T9" fmla="*/ 2147483647 h 49"/>
                <a:gd name="T10" fmla="*/ 2147483647 w 77"/>
                <a:gd name="T11" fmla="*/ 0 h 49"/>
                <a:gd name="T12" fmla="*/ 2147483647 w 77"/>
                <a:gd name="T13" fmla="*/ 2147483647 h 49"/>
                <a:gd name="T14" fmla="*/ 0 60000 65536"/>
                <a:gd name="T15" fmla="*/ 0 60000 65536"/>
                <a:gd name="T16" fmla="*/ 0 60000 65536"/>
                <a:gd name="T17" fmla="*/ 0 60000 65536"/>
                <a:gd name="T18" fmla="*/ 0 60000 65536"/>
                <a:gd name="T19" fmla="*/ 0 60000 65536"/>
                <a:gd name="T20" fmla="*/ 0 60000 65536"/>
                <a:gd name="T21" fmla="*/ 0 w 77"/>
                <a:gd name="T22" fmla="*/ 0 h 49"/>
                <a:gd name="T23" fmla="*/ 77 w 77"/>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49">
                  <a:moveTo>
                    <a:pt x="10" y="5"/>
                  </a:moveTo>
                  <a:lnTo>
                    <a:pt x="0" y="32"/>
                  </a:lnTo>
                  <a:lnTo>
                    <a:pt x="35" y="49"/>
                  </a:lnTo>
                  <a:lnTo>
                    <a:pt x="77" y="32"/>
                  </a:lnTo>
                  <a:lnTo>
                    <a:pt x="66" y="24"/>
                  </a:lnTo>
                  <a:lnTo>
                    <a:pt x="61" y="0"/>
                  </a:lnTo>
                  <a:lnTo>
                    <a:pt x="10" y="5"/>
                  </a:lnTo>
                  <a:close/>
                </a:path>
              </a:pathLst>
            </a:custGeom>
            <a:grpFill/>
            <a:ln w="6350">
              <a:solidFill>
                <a:schemeClr val="tx2"/>
              </a:solidFill>
              <a:round/>
              <a:headEnd/>
              <a:tailEnd/>
            </a:ln>
          </p:spPr>
          <p:txBody>
            <a:bodyPr/>
            <a:lstStyle/>
            <a:p>
              <a:endParaRPr lang="en-US"/>
            </a:p>
          </p:txBody>
        </p:sp>
        <p:sp>
          <p:nvSpPr>
            <p:cNvPr id="680" name="Freeform 1371"/>
            <p:cNvSpPr>
              <a:spLocks/>
            </p:cNvSpPr>
            <p:nvPr/>
          </p:nvSpPr>
          <p:spPr bwMode="auto">
            <a:xfrm>
              <a:off x="5053735" y="3389431"/>
              <a:ext cx="51582" cy="40961"/>
            </a:xfrm>
            <a:custGeom>
              <a:avLst/>
              <a:gdLst>
                <a:gd name="T0" fmla="*/ 2147483647 w 106"/>
                <a:gd name="T1" fmla="*/ 2147483647 h 83"/>
                <a:gd name="T2" fmla="*/ 2147483647 w 106"/>
                <a:gd name="T3" fmla="*/ 2147483647 h 83"/>
                <a:gd name="T4" fmla="*/ 2147483647 w 106"/>
                <a:gd name="T5" fmla="*/ 2147483647 h 83"/>
                <a:gd name="T6" fmla="*/ 2147483647 w 106"/>
                <a:gd name="T7" fmla="*/ 2147483647 h 83"/>
                <a:gd name="T8" fmla="*/ 2147483647 w 106"/>
                <a:gd name="T9" fmla="*/ 0 h 83"/>
                <a:gd name="T10" fmla="*/ 2147483647 w 106"/>
                <a:gd name="T11" fmla="*/ 2147483647 h 83"/>
                <a:gd name="T12" fmla="*/ 2147483647 w 106"/>
                <a:gd name="T13" fmla="*/ 2147483647 h 83"/>
                <a:gd name="T14" fmla="*/ 2147483647 w 106"/>
                <a:gd name="T15" fmla="*/ 2147483647 h 83"/>
                <a:gd name="T16" fmla="*/ 2147483647 w 106"/>
                <a:gd name="T17" fmla="*/ 2147483647 h 83"/>
                <a:gd name="T18" fmla="*/ 2147483647 w 106"/>
                <a:gd name="T19" fmla="*/ 2147483647 h 83"/>
                <a:gd name="T20" fmla="*/ 2147483647 w 106"/>
                <a:gd name="T21" fmla="*/ 2147483647 h 83"/>
                <a:gd name="T22" fmla="*/ 2147483647 w 106"/>
                <a:gd name="T23" fmla="*/ 2147483647 h 83"/>
                <a:gd name="T24" fmla="*/ 2147483647 w 106"/>
                <a:gd name="T25" fmla="*/ 2147483647 h 83"/>
                <a:gd name="T26" fmla="*/ 0 w 106"/>
                <a:gd name="T27" fmla="*/ 2147483647 h 83"/>
                <a:gd name="T28" fmla="*/ 2147483647 w 106"/>
                <a:gd name="T29" fmla="*/ 2147483647 h 83"/>
                <a:gd name="T30" fmla="*/ 2147483647 w 106"/>
                <a:gd name="T31" fmla="*/ 2147483647 h 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83"/>
                <a:gd name="T50" fmla="*/ 106 w 106"/>
                <a:gd name="T51" fmla="*/ 83 h 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83">
                  <a:moveTo>
                    <a:pt x="8" y="14"/>
                  </a:moveTo>
                  <a:lnTo>
                    <a:pt x="13" y="5"/>
                  </a:lnTo>
                  <a:lnTo>
                    <a:pt x="27" y="1"/>
                  </a:lnTo>
                  <a:lnTo>
                    <a:pt x="34" y="7"/>
                  </a:lnTo>
                  <a:lnTo>
                    <a:pt x="42" y="0"/>
                  </a:lnTo>
                  <a:lnTo>
                    <a:pt x="83" y="2"/>
                  </a:lnTo>
                  <a:lnTo>
                    <a:pt x="100" y="17"/>
                  </a:lnTo>
                  <a:lnTo>
                    <a:pt x="106" y="54"/>
                  </a:lnTo>
                  <a:lnTo>
                    <a:pt x="89" y="66"/>
                  </a:lnTo>
                  <a:lnTo>
                    <a:pt x="72" y="66"/>
                  </a:lnTo>
                  <a:lnTo>
                    <a:pt x="50" y="79"/>
                  </a:lnTo>
                  <a:lnTo>
                    <a:pt x="22" y="83"/>
                  </a:lnTo>
                  <a:lnTo>
                    <a:pt x="7" y="70"/>
                  </a:lnTo>
                  <a:lnTo>
                    <a:pt x="0" y="55"/>
                  </a:lnTo>
                  <a:lnTo>
                    <a:pt x="4" y="13"/>
                  </a:lnTo>
                  <a:lnTo>
                    <a:pt x="8" y="14"/>
                  </a:lnTo>
                  <a:close/>
                </a:path>
              </a:pathLst>
            </a:custGeom>
            <a:grpFill/>
            <a:ln w="6350">
              <a:solidFill>
                <a:schemeClr val="tx2"/>
              </a:solidFill>
              <a:round/>
              <a:headEnd/>
              <a:tailEnd/>
            </a:ln>
          </p:spPr>
          <p:txBody>
            <a:bodyPr/>
            <a:lstStyle/>
            <a:p>
              <a:endParaRPr lang="en-US"/>
            </a:p>
          </p:txBody>
        </p:sp>
        <p:sp>
          <p:nvSpPr>
            <p:cNvPr id="681" name="Freeform 1372"/>
            <p:cNvSpPr>
              <a:spLocks/>
            </p:cNvSpPr>
            <p:nvPr/>
          </p:nvSpPr>
          <p:spPr bwMode="auto">
            <a:xfrm>
              <a:off x="5026427" y="3380328"/>
              <a:ext cx="39445" cy="83440"/>
            </a:xfrm>
            <a:custGeom>
              <a:avLst/>
              <a:gdLst>
                <a:gd name="T0" fmla="*/ 2147483647 w 78"/>
                <a:gd name="T1" fmla="*/ 2147483647 h 169"/>
                <a:gd name="T2" fmla="*/ 2147483647 w 78"/>
                <a:gd name="T3" fmla="*/ 2147483647 h 169"/>
                <a:gd name="T4" fmla="*/ 2147483647 w 78"/>
                <a:gd name="T5" fmla="*/ 2147483647 h 169"/>
                <a:gd name="T6" fmla="*/ 2147483647 w 78"/>
                <a:gd name="T7" fmla="*/ 2147483647 h 169"/>
                <a:gd name="T8" fmla="*/ 2147483647 w 78"/>
                <a:gd name="T9" fmla="*/ 2147483647 h 169"/>
                <a:gd name="T10" fmla="*/ 2147483647 w 78"/>
                <a:gd name="T11" fmla="*/ 2147483647 h 169"/>
                <a:gd name="T12" fmla="*/ 2147483647 w 78"/>
                <a:gd name="T13" fmla="*/ 2147483647 h 169"/>
                <a:gd name="T14" fmla="*/ 2147483647 w 78"/>
                <a:gd name="T15" fmla="*/ 0 h 169"/>
                <a:gd name="T16" fmla="*/ 2147483647 w 78"/>
                <a:gd name="T17" fmla="*/ 2147483647 h 169"/>
                <a:gd name="T18" fmla="*/ 2147483647 w 78"/>
                <a:gd name="T19" fmla="*/ 2147483647 h 169"/>
                <a:gd name="T20" fmla="*/ 2147483647 w 78"/>
                <a:gd name="T21" fmla="*/ 2147483647 h 169"/>
                <a:gd name="T22" fmla="*/ 2147483647 w 78"/>
                <a:gd name="T23" fmla="*/ 2147483647 h 169"/>
                <a:gd name="T24" fmla="*/ 2147483647 w 78"/>
                <a:gd name="T25" fmla="*/ 2147483647 h 169"/>
                <a:gd name="T26" fmla="*/ 2147483647 w 78"/>
                <a:gd name="T27" fmla="*/ 2147483647 h 169"/>
                <a:gd name="T28" fmla="*/ 2147483647 w 78"/>
                <a:gd name="T29" fmla="*/ 2147483647 h 169"/>
                <a:gd name="T30" fmla="*/ 0 w 78"/>
                <a:gd name="T31" fmla="*/ 2147483647 h 169"/>
                <a:gd name="T32" fmla="*/ 2147483647 w 78"/>
                <a:gd name="T33" fmla="*/ 2147483647 h 169"/>
                <a:gd name="T34" fmla="*/ 2147483647 w 78"/>
                <a:gd name="T35" fmla="*/ 2147483647 h 169"/>
                <a:gd name="T36" fmla="*/ 2147483647 w 78"/>
                <a:gd name="T37" fmla="*/ 2147483647 h 169"/>
                <a:gd name="T38" fmla="*/ 2147483647 w 78"/>
                <a:gd name="T39" fmla="*/ 2147483647 h 1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8"/>
                <a:gd name="T61" fmla="*/ 0 h 169"/>
                <a:gd name="T62" fmla="*/ 78 w 78"/>
                <a:gd name="T63" fmla="*/ 169 h 1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8" h="169">
                  <a:moveTo>
                    <a:pt x="39" y="169"/>
                  </a:moveTo>
                  <a:lnTo>
                    <a:pt x="78" y="122"/>
                  </a:lnTo>
                  <a:lnTo>
                    <a:pt x="76" y="102"/>
                  </a:lnTo>
                  <a:lnTo>
                    <a:pt x="61" y="89"/>
                  </a:lnTo>
                  <a:lnTo>
                    <a:pt x="54" y="74"/>
                  </a:lnTo>
                  <a:lnTo>
                    <a:pt x="58" y="32"/>
                  </a:lnTo>
                  <a:lnTo>
                    <a:pt x="36" y="7"/>
                  </a:lnTo>
                  <a:lnTo>
                    <a:pt x="19" y="0"/>
                  </a:lnTo>
                  <a:lnTo>
                    <a:pt x="9" y="13"/>
                  </a:lnTo>
                  <a:lnTo>
                    <a:pt x="3" y="45"/>
                  </a:lnTo>
                  <a:lnTo>
                    <a:pt x="13" y="51"/>
                  </a:lnTo>
                  <a:lnTo>
                    <a:pt x="6" y="75"/>
                  </a:lnTo>
                  <a:lnTo>
                    <a:pt x="9" y="83"/>
                  </a:lnTo>
                  <a:lnTo>
                    <a:pt x="4" y="108"/>
                  </a:lnTo>
                  <a:lnTo>
                    <a:pt x="7" y="127"/>
                  </a:lnTo>
                  <a:lnTo>
                    <a:pt x="0" y="126"/>
                  </a:lnTo>
                  <a:lnTo>
                    <a:pt x="11" y="145"/>
                  </a:lnTo>
                  <a:lnTo>
                    <a:pt x="25" y="150"/>
                  </a:lnTo>
                  <a:lnTo>
                    <a:pt x="32" y="166"/>
                  </a:lnTo>
                  <a:lnTo>
                    <a:pt x="39" y="169"/>
                  </a:lnTo>
                  <a:close/>
                </a:path>
              </a:pathLst>
            </a:custGeom>
            <a:grpFill/>
            <a:ln w="6350">
              <a:solidFill>
                <a:schemeClr val="tx2"/>
              </a:solidFill>
              <a:round/>
              <a:headEnd/>
              <a:tailEnd/>
            </a:ln>
          </p:spPr>
          <p:txBody>
            <a:bodyPr/>
            <a:lstStyle/>
            <a:p>
              <a:endParaRPr lang="en-US"/>
            </a:p>
          </p:txBody>
        </p:sp>
        <p:sp>
          <p:nvSpPr>
            <p:cNvPr id="682" name="Freeform 1373"/>
            <p:cNvSpPr>
              <a:spLocks/>
            </p:cNvSpPr>
            <p:nvPr/>
          </p:nvSpPr>
          <p:spPr bwMode="auto">
            <a:xfrm>
              <a:off x="5009739" y="3272613"/>
              <a:ext cx="95578" cy="130472"/>
            </a:xfrm>
            <a:custGeom>
              <a:avLst/>
              <a:gdLst>
                <a:gd name="T0" fmla="*/ 2147483647 w 191"/>
                <a:gd name="T1" fmla="*/ 2147483647 h 260"/>
                <a:gd name="T2" fmla="*/ 2147483647 w 191"/>
                <a:gd name="T3" fmla="*/ 2147483647 h 260"/>
                <a:gd name="T4" fmla="*/ 2147483647 w 191"/>
                <a:gd name="T5" fmla="*/ 2147483647 h 260"/>
                <a:gd name="T6" fmla="*/ 2147483647 w 191"/>
                <a:gd name="T7" fmla="*/ 2147483647 h 260"/>
                <a:gd name="T8" fmla="*/ 2147483647 w 191"/>
                <a:gd name="T9" fmla="*/ 2147483647 h 260"/>
                <a:gd name="T10" fmla="*/ 2147483647 w 191"/>
                <a:gd name="T11" fmla="*/ 2147483647 h 260"/>
                <a:gd name="T12" fmla="*/ 2147483647 w 191"/>
                <a:gd name="T13" fmla="*/ 2147483647 h 260"/>
                <a:gd name="T14" fmla="*/ 2147483647 w 191"/>
                <a:gd name="T15" fmla="*/ 2147483647 h 260"/>
                <a:gd name="T16" fmla="*/ 2147483647 w 191"/>
                <a:gd name="T17" fmla="*/ 0 h 260"/>
                <a:gd name="T18" fmla="*/ 2147483647 w 191"/>
                <a:gd name="T19" fmla="*/ 2147483647 h 260"/>
                <a:gd name="T20" fmla="*/ 2147483647 w 191"/>
                <a:gd name="T21" fmla="*/ 2147483647 h 260"/>
                <a:gd name="T22" fmla="*/ 2147483647 w 191"/>
                <a:gd name="T23" fmla="*/ 2147483647 h 260"/>
                <a:gd name="T24" fmla="*/ 2147483647 w 191"/>
                <a:gd name="T25" fmla="*/ 2147483647 h 260"/>
                <a:gd name="T26" fmla="*/ 2147483647 w 191"/>
                <a:gd name="T27" fmla="*/ 2147483647 h 260"/>
                <a:gd name="T28" fmla="*/ 2147483647 w 191"/>
                <a:gd name="T29" fmla="*/ 2147483647 h 260"/>
                <a:gd name="T30" fmla="*/ 2147483647 w 191"/>
                <a:gd name="T31" fmla="*/ 2147483647 h 260"/>
                <a:gd name="T32" fmla="*/ 2147483647 w 191"/>
                <a:gd name="T33" fmla="*/ 2147483647 h 260"/>
                <a:gd name="T34" fmla="*/ 2147483647 w 191"/>
                <a:gd name="T35" fmla="*/ 2147483647 h 260"/>
                <a:gd name="T36" fmla="*/ 2147483647 w 191"/>
                <a:gd name="T37" fmla="*/ 2147483647 h 260"/>
                <a:gd name="T38" fmla="*/ 2147483647 w 191"/>
                <a:gd name="T39" fmla="*/ 2147483647 h 260"/>
                <a:gd name="T40" fmla="*/ 2147483647 w 191"/>
                <a:gd name="T41" fmla="*/ 2147483647 h 260"/>
                <a:gd name="T42" fmla="*/ 2147483647 w 191"/>
                <a:gd name="T43" fmla="*/ 2147483647 h 260"/>
                <a:gd name="T44" fmla="*/ 2147483647 w 191"/>
                <a:gd name="T45" fmla="*/ 2147483647 h 260"/>
                <a:gd name="T46" fmla="*/ 0 w 191"/>
                <a:gd name="T47" fmla="*/ 2147483647 h 260"/>
                <a:gd name="T48" fmla="*/ 2147483647 w 191"/>
                <a:gd name="T49" fmla="*/ 2147483647 h 260"/>
                <a:gd name="T50" fmla="*/ 2147483647 w 191"/>
                <a:gd name="T51" fmla="*/ 2147483647 h 260"/>
                <a:gd name="T52" fmla="*/ 2147483647 w 191"/>
                <a:gd name="T53" fmla="*/ 2147483647 h 260"/>
                <a:gd name="T54" fmla="*/ 2147483647 w 191"/>
                <a:gd name="T55" fmla="*/ 2147483647 h 260"/>
                <a:gd name="T56" fmla="*/ 2147483647 w 191"/>
                <a:gd name="T57" fmla="*/ 2147483647 h 260"/>
                <a:gd name="T58" fmla="*/ 2147483647 w 191"/>
                <a:gd name="T59" fmla="*/ 2147483647 h 260"/>
                <a:gd name="T60" fmla="*/ 2147483647 w 191"/>
                <a:gd name="T61" fmla="*/ 2147483647 h 260"/>
                <a:gd name="T62" fmla="*/ 2147483647 w 191"/>
                <a:gd name="T63" fmla="*/ 2147483647 h 260"/>
                <a:gd name="T64" fmla="*/ 2147483647 w 191"/>
                <a:gd name="T65" fmla="*/ 2147483647 h 2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260"/>
                <a:gd name="T101" fmla="*/ 191 w 191"/>
                <a:gd name="T102" fmla="*/ 260 h 2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260">
                  <a:moveTo>
                    <a:pt x="173" y="236"/>
                  </a:moveTo>
                  <a:lnTo>
                    <a:pt x="173" y="218"/>
                  </a:lnTo>
                  <a:lnTo>
                    <a:pt x="191" y="189"/>
                  </a:lnTo>
                  <a:lnTo>
                    <a:pt x="173" y="164"/>
                  </a:lnTo>
                  <a:lnTo>
                    <a:pt x="171" y="148"/>
                  </a:lnTo>
                  <a:lnTo>
                    <a:pt x="173" y="131"/>
                  </a:lnTo>
                  <a:lnTo>
                    <a:pt x="186" y="125"/>
                  </a:lnTo>
                  <a:lnTo>
                    <a:pt x="179" y="124"/>
                  </a:lnTo>
                  <a:lnTo>
                    <a:pt x="173" y="110"/>
                  </a:lnTo>
                  <a:lnTo>
                    <a:pt x="181" y="102"/>
                  </a:lnTo>
                  <a:lnTo>
                    <a:pt x="175" y="93"/>
                  </a:lnTo>
                  <a:lnTo>
                    <a:pt x="165" y="100"/>
                  </a:lnTo>
                  <a:lnTo>
                    <a:pt x="132" y="83"/>
                  </a:lnTo>
                  <a:lnTo>
                    <a:pt x="129" y="64"/>
                  </a:lnTo>
                  <a:lnTo>
                    <a:pt x="114" y="58"/>
                  </a:lnTo>
                  <a:lnTo>
                    <a:pt x="97" y="23"/>
                  </a:lnTo>
                  <a:lnTo>
                    <a:pt x="77" y="6"/>
                  </a:lnTo>
                  <a:lnTo>
                    <a:pt x="71" y="0"/>
                  </a:lnTo>
                  <a:lnTo>
                    <a:pt x="52" y="4"/>
                  </a:lnTo>
                  <a:lnTo>
                    <a:pt x="12" y="18"/>
                  </a:lnTo>
                  <a:lnTo>
                    <a:pt x="18" y="23"/>
                  </a:lnTo>
                  <a:lnTo>
                    <a:pt x="17" y="37"/>
                  </a:lnTo>
                  <a:lnTo>
                    <a:pt x="25" y="39"/>
                  </a:lnTo>
                  <a:lnTo>
                    <a:pt x="22" y="49"/>
                  </a:lnTo>
                  <a:lnTo>
                    <a:pt x="42" y="56"/>
                  </a:lnTo>
                  <a:lnTo>
                    <a:pt x="31" y="58"/>
                  </a:lnTo>
                  <a:lnTo>
                    <a:pt x="30" y="76"/>
                  </a:lnTo>
                  <a:lnTo>
                    <a:pt x="40" y="75"/>
                  </a:lnTo>
                  <a:lnTo>
                    <a:pt x="41" y="78"/>
                  </a:lnTo>
                  <a:lnTo>
                    <a:pt x="29" y="107"/>
                  </a:lnTo>
                  <a:lnTo>
                    <a:pt x="30" y="111"/>
                  </a:lnTo>
                  <a:lnTo>
                    <a:pt x="52" y="128"/>
                  </a:lnTo>
                  <a:lnTo>
                    <a:pt x="49" y="133"/>
                  </a:lnTo>
                  <a:lnTo>
                    <a:pt x="38" y="130"/>
                  </a:lnTo>
                  <a:lnTo>
                    <a:pt x="35" y="133"/>
                  </a:lnTo>
                  <a:lnTo>
                    <a:pt x="48" y="146"/>
                  </a:lnTo>
                  <a:lnTo>
                    <a:pt x="47" y="154"/>
                  </a:lnTo>
                  <a:lnTo>
                    <a:pt x="28" y="160"/>
                  </a:lnTo>
                  <a:lnTo>
                    <a:pt x="22" y="161"/>
                  </a:lnTo>
                  <a:lnTo>
                    <a:pt x="28" y="170"/>
                  </a:lnTo>
                  <a:lnTo>
                    <a:pt x="28" y="175"/>
                  </a:lnTo>
                  <a:lnTo>
                    <a:pt x="24" y="175"/>
                  </a:lnTo>
                  <a:lnTo>
                    <a:pt x="22" y="170"/>
                  </a:lnTo>
                  <a:lnTo>
                    <a:pt x="17" y="170"/>
                  </a:lnTo>
                  <a:lnTo>
                    <a:pt x="9" y="180"/>
                  </a:lnTo>
                  <a:lnTo>
                    <a:pt x="8" y="188"/>
                  </a:lnTo>
                  <a:lnTo>
                    <a:pt x="4" y="189"/>
                  </a:lnTo>
                  <a:lnTo>
                    <a:pt x="0" y="200"/>
                  </a:lnTo>
                  <a:lnTo>
                    <a:pt x="4" y="208"/>
                  </a:lnTo>
                  <a:lnTo>
                    <a:pt x="5" y="210"/>
                  </a:lnTo>
                  <a:lnTo>
                    <a:pt x="1" y="218"/>
                  </a:lnTo>
                  <a:lnTo>
                    <a:pt x="1" y="224"/>
                  </a:lnTo>
                  <a:lnTo>
                    <a:pt x="13" y="233"/>
                  </a:lnTo>
                  <a:lnTo>
                    <a:pt x="22" y="241"/>
                  </a:lnTo>
                  <a:lnTo>
                    <a:pt x="29" y="246"/>
                  </a:lnTo>
                  <a:lnTo>
                    <a:pt x="33" y="257"/>
                  </a:lnTo>
                  <a:lnTo>
                    <a:pt x="39" y="260"/>
                  </a:lnTo>
                  <a:lnTo>
                    <a:pt x="45" y="228"/>
                  </a:lnTo>
                  <a:lnTo>
                    <a:pt x="55" y="215"/>
                  </a:lnTo>
                  <a:lnTo>
                    <a:pt x="72" y="222"/>
                  </a:lnTo>
                  <a:lnTo>
                    <a:pt x="94" y="247"/>
                  </a:lnTo>
                  <a:lnTo>
                    <a:pt x="98" y="248"/>
                  </a:lnTo>
                  <a:lnTo>
                    <a:pt x="103" y="239"/>
                  </a:lnTo>
                  <a:lnTo>
                    <a:pt x="117" y="235"/>
                  </a:lnTo>
                  <a:lnTo>
                    <a:pt x="124" y="241"/>
                  </a:lnTo>
                  <a:lnTo>
                    <a:pt x="132" y="234"/>
                  </a:lnTo>
                  <a:lnTo>
                    <a:pt x="173" y="236"/>
                  </a:lnTo>
                  <a:close/>
                </a:path>
              </a:pathLst>
            </a:custGeom>
            <a:grpFill/>
            <a:ln w="6350">
              <a:solidFill>
                <a:schemeClr val="tx2"/>
              </a:solidFill>
              <a:round/>
              <a:headEnd/>
              <a:tailEnd/>
            </a:ln>
          </p:spPr>
          <p:txBody>
            <a:bodyPr/>
            <a:lstStyle/>
            <a:p>
              <a:endParaRPr lang="en-US"/>
            </a:p>
          </p:txBody>
        </p:sp>
        <p:sp>
          <p:nvSpPr>
            <p:cNvPr id="683" name="Freeform 1376"/>
            <p:cNvSpPr>
              <a:spLocks/>
            </p:cNvSpPr>
            <p:nvPr/>
          </p:nvSpPr>
          <p:spPr bwMode="auto">
            <a:xfrm>
              <a:off x="5111386" y="2931263"/>
              <a:ext cx="206328" cy="175985"/>
            </a:xfrm>
            <a:custGeom>
              <a:avLst/>
              <a:gdLst>
                <a:gd name="T0" fmla="*/ 2147483647 w 414"/>
                <a:gd name="T1" fmla="*/ 2147483647 h 356"/>
                <a:gd name="T2" fmla="*/ 2147483647 w 414"/>
                <a:gd name="T3" fmla="*/ 2147483647 h 356"/>
                <a:gd name="T4" fmla="*/ 0 w 414"/>
                <a:gd name="T5" fmla="*/ 2147483647 h 356"/>
                <a:gd name="T6" fmla="*/ 2147483647 w 414"/>
                <a:gd name="T7" fmla="*/ 2147483647 h 356"/>
                <a:gd name="T8" fmla="*/ 2147483647 w 414"/>
                <a:gd name="T9" fmla="*/ 2147483647 h 356"/>
                <a:gd name="T10" fmla="*/ 2147483647 w 414"/>
                <a:gd name="T11" fmla="*/ 2147483647 h 356"/>
                <a:gd name="T12" fmla="*/ 2147483647 w 414"/>
                <a:gd name="T13" fmla="*/ 2147483647 h 356"/>
                <a:gd name="T14" fmla="*/ 2147483647 w 414"/>
                <a:gd name="T15" fmla="*/ 2147483647 h 356"/>
                <a:gd name="T16" fmla="*/ 2147483647 w 414"/>
                <a:gd name="T17" fmla="*/ 2147483647 h 356"/>
                <a:gd name="T18" fmla="*/ 2147483647 w 414"/>
                <a:gd name="T19" fmla="*/ 2147483647 h 356"/>
                <a:gd name="T20" fmla="*/ 2147483647 w 414"/>
                <a:gd name="T21" fmla="*/ 2147483647 h 356"/>
                <a:gd name="T22" fmla="*/ 2147483647 w 414"/>
                <a:gd name="T23" fmla="*/ 2147483647 h 356"/>
                <a:gd name="T24" fmla="*/ 2147483647 w 414"/>
                <a:gd name="T25" fmla="*/ 2147483647 h 356"/>
                <a:gd name="T26" fmla="*/ 2147483647 w 414"/>
                <a:gd name="T27" fmla="*/ 2147483647 h 356"/>
                <a:gd name="T28" fmla="*/ 2147483647 w 414"/>
                <a:gd name="T29" fmla="*/ 2147483647 h 356"/>
                <a:gd name="T30" fmla="*/ 2147483647 w 414"/>
                <a:gd name="T31" fmla="*/ 2147483647 h 356"/>
                <a:gd name="T32" fmla="*/ 2147483647 w 414"/>
                <a:gd name="T33" fmla="*/ 2147483647 h 356"/>
                <a:gd name="T34" fmla="*/ 2147483647 w 414"/>
                <a:gd name="T35" fmla="*/ 2147483647 h 356"/>
                <a:gd name="T36" fmla="*/ 2147483647 w 414"/>
                <a:gd name="T37" fmla="*/ 2147483647 h 356"/>
                <a:gd name="T38" fmla="*/ 2147483647 w 414"/>
                <a:gd name="T39" fmla="*/ 2147483647 h 356"/>
                <a:gd name="T40" fmla="*/ 2147483647 w 414"/>
                <a:gd name="T41" fmla="*/ 2147483647 h 356"/>
                <a:gd name="T42" fmla="*/ 2147483647 w 414"/>
                <a:gd name="T43" fmla="*/ 0 h 356"/>
                <a:gd name="T44" fmla="*/ 2147483647 w 414"/>
                <a:gd name="T45" fmla="*/ 2147483647 h 356"/>
                <a:gd name="T46" fmla="*/ 2147483647 w 414"/>
                <a:gd name="T47" fmla="*/ 2147483647 h 356"/>
                <a:gd name="T48" fmla="*/ 2147483647 w 414"/>
                <a:gd name="T49" fmla="*/ 2147483647 h 356"/>
                <a:gd name="T50" fmla="*/ 2147483647 w 414"/>
                <a:gd name="T51" fmla="*/ 2147483647 h 356"/>
                <a:gd name="T52" fmla="*/ 2147483647 w 414"/>
                <a:gd name="T53" fmla="*/ 2147483647 h 356"/>
                <a:gd name="T54" fmla="*/ 2147483647 w 414"/>
                <a:gd name="T55" fmla="*/ 2147483647 h 356"/>
                <a:gd name="T56" fmla="*/ 2147483647 w 414"/>
                <a:gd name="T57" fmla="*/ 2147483647 h 356"/>
                <a:gd name="T58" fmla="*/ 2147483647 w 414"/>
                <a:gd name="T59" fmla="*/ 2147483647 h 356"/>
                <a:gd name="T60" fmla="*/ 2147483647 w 414"/>
                <a:gd name="T61" fmla="*/ 2147483647 h 356"/>
                <a:gd name="T62" fmla="*/ 2147483647 w 414"/>
                <a:gd name="T63" fmla="*/ 2147483647 h 356"/>
                <a:gd name="T64" fmla="*/ 2147483647 w 414"/>
                <a:gd name="T65" fmla="*/ 2147483647 h 356"/>
                <a:gd name="T66" fmla="*/ 2147483647 w 414"/>
                <a:gd name="T67" fmla="*/ 2147483647 h 356"/>
                <a:gd name="T68" fmla="*/ 2147483647 w 414"/>
                <a:gd name="T69" fmla="*/ 2147483647 h 356"/>
                <a:gd name="T70" fmla="*/ 2147483647 w 414"/>
                <a:gd name="T71" fmla="*/ 2147483647 h 356"/>
                <a:gd name="T72" fmla="*/ 2147483647 w 414"/>
                <a:gd name="T73" fmla="*/ 2147483647 h 356"/>
                <a:gd name="T74" fmla="*/ 2147483647 w 414"/>
                <a:gd name="T75" fmla="*/ 2147483647 h 356"/>
                <a:gd name="T76" fmla="*/ 2147483647 w 414"/>
                <a:gd name="T77" fmla="*/ 2147483647 h 356"/>
                <a:gd name="T78" fmla="*/ 2147483647 w 414"/>
                <a:gd name="T79" fmla="*/ 2147483647 h 356"/>
                <a:gd name="T80" fmla="*/ 2147483647 w 414"/>
                <a:gd name="T81" fmla="*/ 2147483647 h 356"/>
                <a:gd name="T82" fmla="*/ 2147483647 w 414"/>
                <a:gd name="T83" fmla="*/ 2147483647 h 356"/>
                <a:gd name="T84" fmla="*/ 2147483647 w 414"/>
                <a:gd name="T85" fmla="*/ 2147483647 h 356"/>
                <a:gd name="T86" fmla="*/ 2147483647 w 414"/>
                <a:gd name="T87" fmla="*/ 2147483647 h 356"/>
                <a:gd name="T88" fmla="*/ 2147483647 w 414"/>
                <a:gd name="T89" fmla="*/ 2147483647 h 356"/>
                <a:gd name="T90" fmla="*/ 2147483647 w 414"/>
                <a:gd name="T91" fmla="*/ 2147483647 h 356"/>
                <a:gd name="T92" fmla="*/ 2147483647 w 414"/>
                <a:gd name="T93" fmla="*/ 2147483647 h 356"/>
                <a:gd name="T94" fmla="*/ 2147483647 w 414"/>
                <a:gd name="T95" fmla="*/ 2147483647 h 356"/>
                <a:gd name="T96" fmla="*/ 2147483647 w 414"/>
                <a:gd name="T97" fmla="*/ 2147483647 h 356"/>
                <a:gd name="T98" fmla="*/ 2147483647 w 414"/>
                <a:gd name="T99" fmla="*/ 2147483647 h 356"/>
                <a:gd name="T100" fmla="*/ 2147483647 w 414"/>
                <a:gd name="T101" fmla="*/ 2147483647 h 356"/>
                <a:gd name="T102" fmla="*/ 2147483647 w 414"/>
                <a:gd name="T103" fmla="*/ 2147483647 h 356"/>
                <a:gd name="T104" fmla="*/ 2147483647 w 414"/>
                <a:gd name="T105" fmla="*/ 2147483647 h 356"/>
                <a:gd name="T106" fmla="*/ 2147483647 w 414"/>
                <a:gd name="T107" fmla="*/ 2147483647 h 356"/>
                <a:gd name="T108" fmla="*/ 2147483647 w 414"/>
                <a:gd name="T109" fmla="*/ 2147483647 h 356"/>
                <a:gd name="T110" fmla="*/ 2147483647 w 414"/>
                <a:gd name="T111" fmla="*/ 2147483647 h 3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14"/>
                <a:gd name="T169" fmla="*/ 0 h 356"/>
                <a:gd name="T170" fmla="*/ 414 w 414"/>
                <a:gd name="T171" fmla="*/ 356 h 3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14" h="356">
                  <a:moveTo>
                    <a:pt x="12" y="336"/>
                  </a:moveTo>
                  <a:lnTo>
                    <a:pt x="16" y="307"/>
                  </a:lnTo>
                  <a:lnTo>
                    <a:pt x="0" y="288"/>
                  </a:lnTo>
                  <a:lnTo>
                    <a:pt x="29" y="259"/>
                  </a:lnTo>
                  <a:lnTo>
                    <a:pt x="29" y="232"/>
                  </a:lnTo>
                  <a:lnTo>
                    <a:pt x="13" y="166"/>
                  </a:lnTo>
                  <a:lnTo>
                    <a:pt x="71" y="163"/>
                  </a:lnTo>
                  <a:lnTo>
                    <a:pt x="68" y="152"/>
                  </a:lnTo>
                  <a:lnTo>
                    <a:pt x="90" y="142"/>
                  </a:lnTo>
                  <a:lnTo>
                    <a:pt x="111" y="150"/>
                  </a:lnTo>
                  <a:lnTo>
                    <a:pt x="104" y="133"/>
                  </a:lnTo>
                  <a:lnTo>
                    <a:pt x="112" y="116"/>
                  </a:lnTo>
                  <a:lnTo>
                    <a:pt x="115" y="90"/>
                  </a:lnTo>
                  <a:lnTo>
                    <a:pt x="146" y="79"/>
                  </a:lnTo>
                  <a:lnTo>
                    <a:pt x="153" y="64"/>
                  </a:lnTo>
                  <a:lnTo>
                    <a:pt x="141" y="62"/>
                  </a:lnTo>
                  <a:lnTo>
                    <a:pt x="141" y="49"/>
                  </a:lnTo>
                  <a:lnTo>
                    <a:pt x="150" y="40"/>
                  </a:lnTo>
                  <a:lnTo>
                    <a:pt x="169" y="27"/>
                  </a:lnTo>
                  <a:lnTo>
                    <a:pt x="187" y="31"/>
                  </a:lnTo>
                  <a:lnTo>
                    <a:pt x="206" y="4"/>
                  </a:lnTo>
                  <a:lnTo>
                    <a:pt x="219" y="0"/>
                  </a:lnTo>
                  <a:lnTo>
                    <a:pt x="262" y="12"/>
                  </a:lnTo>
                  <a:lnTo>
                    <a:pt x="272" y="19"/>
                  </a:lnTo>
                  <a:lnTo>
                    <a:pt x="270" y="35"/>
                  </a:lnTo>
                  <a:lnTo>
                    <a:pt x="311" y="23"/>
                  </a:lnTo>
                  <a:lnTo>
                    <a:pt x="334" y="43"/>
                  </a:lnTo>
                  <a:lnTo>
                    <a:pt x="339" y="75"/>
                  </a:lnTo>
                  <a:lnTo>
                    <a:pt x="332" y="104"/>
                  </a:lnTo>
                  <a:lnTo>
                    <a:pt x="372" y="159"/>
                  </a:lnTo>
                  <a:lnTo>
                    <a:pt x="375" y="178"/>
                  </a:lnTo>
                  <a:lnTo>
                    <a:pt x="393" y="175"/>
                  </a:lnTo>
                  <a:lnTo>
                    <a:pt x="413" y="193"/>
                  </a:lnTo>
                  <a:lnTo>
                    <a:pt x="414" y="203"/>
                  </a:lnTo>
                  <a:lnTo>
                    <a:pt x="390" y="224"/>
                  </a:lnTo>
                  <a:lnTo>
                    <a:pt x="362" y="214"/>
                  </a:lnTo>
                  <a:lnTo>
                    <a:pt x="349" y="225"/>
                  </a:lnTo>
                  <a:lnTo>
                    <a:pt x="372" y="296"/>
                  </a:lnTo>
                  <a:lnTo>
                    <a:pt x="338" y="301"/>
                  </a:lnTo>
                  <a:lnTo>
                    <a:pt x="324" y="316"/>
                  </a:lnTo>
                  <a:lnTo>
                    <a:pt x="322" y="348"/>
                  </a:lnTo>
                  <a:lnTo>
                    <a:pt x="312" y="356"/>
                  </a:lnTo>
                  <a:lnTo>
                    <a:pt x="303" y="348"/>
                  </a:lnTo>
                  <a:lnTo>
                    <a:pt x="271" y="354"/>
                  </a:lnTo>
                  <a:lnTo>
                    <a:pt x="253" y="335"/>
                  </a:lnTo>
                  <a:lnTo>
                    <a:pt x="240" y="350"/>
                  </a:lnTo>
                  <a:lnTo>
                    <a:pt x="213" y="336"/>
                  </a:lnTo>
                  <a:lnTo>
                    <a:pt x="191" y="348"/>
                  </a:lnTo>
                  <a:lnTo>
                    <a:pt x="185" y="337"/>
                  </a:lnTo>
                  <a:lnTo>
                    <a:pt x="172" y="338"/>
                  </a:lnTo>
                  <a:lnTo>
                    <a:pt x="161" y="324"/>
                  </a:lnTo>
                  <a:lnTo>
                    <a:pt x="112" y="310"/>
                  </a:lnTo>
                  <a:lnTo>
                    <a:pt x="90" y="311"/>
                  </a:lnTo>
                  <a:lnTo>
                    <a:pt x="54" y="313"/>
                  </a:lnTo>
                  <a:lnTo>
                    <a:pt x="41" y="326"/>
                  </a:lnTo>
                  <a:lnTo>
                    <a:pt x="12" y="336"/>
                  </a:lnTo>
                  <a:close/>
                </a:path>
              </a:pathLst>
            </a:custGeom>
            <a:grpFill/>
            <a:ln w="6350">
              <a:solidFill>
                <a:schemeClr val="tx2"/>
              </a:solidFill>
              <a:round/>
              <a:headEnd/>
              <a:tailEnd/>
            </a:ln>
          </p:spPr>
          <p:txBody>
            <a:bodyPr/>
            <a:lstStyle/>
            <a:p>
              <a:endParaRPr lang="en-US"/>
            </a:p>
          </p:txBody>
        </p:sp>
        <p:sp>
          <p:nvSpPr>
            <p:cNvPr id="684" name="Freeform 1382"/>
            <p:cNvSpPr>
              <a:spLocks/>
            </p:cNvSpPr>
            <p:nvPr/>
          </p:nvSpPr>
          <p:spPr bwMode="auto">
            <a:xfrm>
              <a:off x="5087112" y="3070837"/>
              <a:ext cx="388382" cy="257910"/>
            </a:xfrm>
            <a:custGeom>
              <a:avLst/>
              <a:gdLst>
                <a:gd name="T0" fmla="*/ 2147483647 w 779"/>
                <a:gd name="T1" fmla="*/ 2147483647 h 518"/>
                <a:gd name="T2" fmla="*/ 2147483647 w 779"/>
                <a:gd name="T3" fmla="*/ 2147483647 h 518"/>
                <a:gd name="T4" fmla="*/ 2147483647 w 779"/>
                <a:gd name="T5" fmla="*/ 2147483647 h 518"/>
                <a:gd name="T6" fmla="*/ 2147483647 w 779"/>
                <a:gd name="T7" fmla="*/ 2147483647 h 518"/>
                <a:gd name="T8" fmla="*/ 2147483647 w 779"/>
                <a:gd name="T9" fmla="*/ 2147483647 h 518"/>
                <a:gd name="T10" fmla="*/ 2147483647 w 779"/>
                <a:gd name="T11" fmla="*/ 2147483647 h 518"/>
                <a:gd name="T12" fmla="*/ 2147483647 w 779"/>
                <a:gd name="T13" fmla="*/ 2147483647 h 518"/>
                <a:gd name="T14" fmla="*/ 2147483647 w 779"/>
                <a:gd name="T15" fmla="*/ 2147483647 h 518"/>
                <a:gd name="T16" fmla="*/ 2147483647 w 779"/>
                <a:gd name="T17" fmla="*/ 2147483647 h 518"/>
                <a:gd name="T18" fmla="*/ 2147483647 w 779"/>
                <a:gd name="T19" fmla="*/ 2147483647 h 518"/>
                <a:gd name="T20" fmla="*/ 2147483647 w 779"/>
                <a:gd name="T21" fmla="*/ 2147483647 h 518"/>
                <a:gd name="T22" fmla="*/ 2147483647 w 779"/>
                <a:gd name="T23" fmla="*/ 2147483647 h 518"/>
                <a:gd name="T24" fmla="*/ 2147483647 w 779"/>
                <a:gd name="T25" fmla="*/ 2147483647 h 518"/>
                <a:gd name="T26" fmla="*/ 2147483647 w 779"/>
                <a:gd name="T27" fmla="*/ 2147483647 h 518"/>
                <a:gd name="T28" fmla="*/ 2147483647 w 779"/>
                <a:gd name="T29" fmla="*/ 2147483647 h 518"/>
                <a:gd name="T30" fmla="*/ 2147483647 w 779"/>
                <a:gd name="T31" fmla="*/ 2147483647 h 518"/>
                <a:gd name="T32" fmla="*/ 2147483647 w 779"/>
                <a:gd name="T33" fmla="*/ 2147483647 h 518"/>
                <a:gd name="T34" fmla="*/ 2147483647 w 779"/>
                <a:gd name="T35" fmla="*/ 2147483647 h 518"/>
                <a:gd name="T36" fmla="*/ 2147483647 w 779"/>
                <a:gd name="T37" fmla="*/ 2147483647 h 518"/>
                <a:gd name="T38" fmla="*/ 2147483647 w 779"/>
                <a:gd name="T39" fmla="*/ 2147483647 h 518"/>
                <a:gd name="T40" fmla="*/ 2147483647 w 779"/>
                <a:gd name="T41" fmla="*/ 2147483647 h 518"/>
                <a:gd name="T42" fmla="*/ 2147483647 w 779"/>
                <a:gd name="T43" fmla="*/ 2147483647 h 518"/>
                <a:gd name="T44" fmla="*/ 2147483647 w 779"/>
                <a:gd name="T45" fmla="*/ 2147483647 h 518"/>
                <a:gd name="T46" fmla="*/ 2147483647 w 779"/>
                <a:gd name="T47" fmla="*/ 2147483647 h 518"/>
                <a:gd name="T48" fmla="*/ 2147483647 w 779"/>
                <a:gd name="T49" fmla="*/ 2147483647 h 518"/>
                <a:gd name="T50" fmla="*/ 2147483647 w 779"/>
                <a:gd name="T51" fmla="*/ 2147483647 h 518"/>
                <a:gd name="T52" fmla="*/ 2147483647 w 779"/>
                <a:gd name="T53" fmla="*/ 2147483647 h 518"/>
                <a:gd name="T54" fmla="*/ 2147483647 w 779"/>
                <a:gd name="T55" fmla="*/ 2147483647 h 518"/>
                <a:gd name="T56" fmla="*/ 2147483647 w 779"/>
                <a:gd name="T57" fmla="*/ 2147483647 h 518"/>
                <a:gd name="T58" fmla="*/ 2147483647 w 779"/>
                <a:gd name="T59" fmla="*/ 2147483647 h 518"/>
                <a:gd name="T60" fmla="*/ 2147483647 w 779"/>
                <a:gd name="T61" fmla="*/ 2147483647 h 518"/>
                <a:gd name="T62" fmla="*/ 2147483647 w 779"/>
                <a:gd name="T63" fmla="*/ 2147483647 h 518"/>
                <a:gd name="T64" fmla="*/ 2147483647 w 779"/>
                <a:gd name="T65" fmla="*/ 2147483647 h 518"/>
                <a:gd name="T66" fmla="*/ 2147483647 w 779"/>
                <a:gd name="T67" fmla="*/ 2147483647 h 518"/>
                <a:gd name="T68" fmla="*/ 2147483647 w 779"/>
                <a:gd name="T69" fmla="*/ 2147483647 h 518"/>
                <a:gd name="T70" fmla="*/ 2147483647 w 779"/>
                <a:gd name="T71" fmla="*/ 2147483647 h 518"/>
                <a:gd name="T72" fmla="*/ 2147483647 w 779"/>
                <a:gd name="T73" fmla="*/ 2147483647 h 518"/>
                <a:gd name="T74" fmla="*/ 2147483647 w 779"/>
                <a:gd name="T75" fmla="*/ 0 h 518"/>
                <a:gd name="T76" fmla="*/ 2147483647 w 779"/>
                <a:gd name="T77" fmla="*/ 2147483647 h 518"/>
                <a:gd name="T78" fmla="*/ 2147483647 w 779"/>
                <a:gd name="T79" fmla="*/ 2147483647 h 518"/>
                <a:gd name="T80" fmla="*/ 2147483647 w 779"/>
                <a:gd name="T81" fmla="*/ 2147483647 h 518"/>
                <a:gd name="T82" fmla="*/ 2147483647 w 779"/>
                <a:gd name="T83" fmla="*/ 2147483647 h 518"/>
                <a:gd name="T84" fmla="*/ 2147483647 w 779"/>
                <a:gd name="T85" fmla="*/ 2147483647 h 518"/>
                <a:gd name="T86" fmla="*/ 2147483647 w 779"/>
                <a:gd name="T87" fmla="*/ 2147483647 h 518"/>
                <a:gd name="T88" fmla="*/ 2147483647 w 779"/>
                <a:gd name="T89" fmla="*/ 2147483647 h 518"/>
                <a:gd name="T90" fmla="*/ 2147483647 w 779"/>
                <a:gd name="T91" fmla="*/ 2147483647 h 518"/>
                <a:gd name="T92" fmla="*/ 2147483647 w 779"/>
                <a:gd name="T93" fmla="*/ 2147483647 h 51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79"/>
                <a:gd name="T142" fmla="*/ 0 h 518"/>
                <a:gd name="T143" fmla="*/ 779 w 779"/>
                <a:gd name="T144" fmla="*/ 518 h 51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79" h="518">
                  <a:moveTo>
                    <a:pt x="15" y="223"/>
                  </a:moveTo>
                  <a:lnTo>
                    <a:pt x="0" y="271"/>
                  </a:lnTo>
                  <a:lnTo>
                    <a:pt x="21" y="284"/>
                  </a:lnTo>
                  <a:lnTo>
                    <a:pt x="31" y="299"/>
                  </a:lnTo>
                  <a:lnTo>
                    <a:pt x="107" y="296"/>
                  </a:lnTo>
                  <a:lnTo>
                    <a:pt x="123" y="308"/>
                  </a:lnTo>
                  <a:lnTo>
                    <a:pt x="191" y="283"/>
                  </a:lnTo>
                  <a:lnTo>
                    <a:pt x="202" y="266"/>
                  </a:lnTo>
                  <a:lnTo>
                    <a:pt x="228" y="263"/>
                  </a:lnTo>
                  <a:lnTo>
                    <a:pt x="261" y="282"/>
                  </a:lnTo>
                  <a:lnTo>
                    <a:pt x="301" y="291"/>
                  </a:lnTo>
                  <a:lnTo>
                    <a:pt x="304" y="296"/>
                  </a:lnTo>
                  <a:lnTo>
                    <a:pt x="302" y="322"/>
                  </a:lnTo>
                  <a:lnTo>
                    <a:pt x="316" y="333"/>
                  </a:lnTo>
                  <a:lnTo>
                    <a:pt x="322" y="356"/>
                  </a:lnTo>
                  <a:lnTo>
                    <a:pt x="337" y="367"/>
                  </a:lnTo>
                  <a:lnTo>
                    <a:pt x="337" y="392"/>
                  </a:lnTo>
                  <a:lnTo>
                    <a:pt x="298" y="392"/>
                  </a:lnTo>
                  <a:lnTo>
                    <a:pt x="293" y="416"/>
                  </a:lnTo>
                  <a:lnTo>
                    <a:pt x="276" y="433"/>
                  </a:lnTo>
                  <a:lnTo>
                    <a:pt x="274" y="445"/>
                  </a:lnTo>
                  <a:lnTo>
                    <a:pt x="261" y="447"/>
                  </a:lnTo>
                  <a:lnTo>
                    <a:pt x="263" y="457"/>
                  </a:lnTo>
                  <a:lnTo>
                    <a:pt x="270" y="455"/>
                  </a:lnTo>
                  <a:lnTo>
                    <a:pt x="280" y="468"/>
                  </a:lnTo>
                  <a:lnTo>
                    <a:pt x="315" y="456"/>
                  </a:lnTo>
                  <a:lnTo>
                    <a:pt x="326" y="459"/>
                  </a:lnTo>
                  <a:lnTo>
                    <a:pt x="326" y="462"/>
                  </a:lnTo>
                  <a:lnTo>
                    <a:pt x="327" y="431"/>
                  </a:lnTo>
                  <a:lnTo>
                    <a:pt x="334" y="443"/>
                  </a:lnTo>
                  <a:lnTo>
                    <a:pt x="334" y="438"/>
                  </a:lnTo>
                  <a:lnTo>
                    <a:pt x="351" y="431"/>
                  </a:lnTo>
                  <a:lnTo>
                    <a:pt x="360" y="419"/>
                  </a:lnTo>
                  <a:lnTo>
                    <a:pt x="350" y="399"/>
                  </a:lnTo>
                  <a:lnTo>
                    <a:pt x="364" y="411"/>
                  </a:lnTo>
                  <a:lnTo>
                    <a:pt x="374" y="391"/>
                  </a:lnTo>
                  <a:lnTo>
                    <a:pt x="412" y="375"/>
                  </a:lnTo>
                  <a:lnTo>
                    <a:pt x="411" y="384"/>
                  </a:lnTo>
                  <a:lnTo>
                    <a:pt x="418" y="381"/>
                  </a:lnTo>
                  <a:lnTo>
                    <a:pt x="426" y="372"/>
                  </a:lnTo>
                  <a:lnTo>
                    <a:pt x="439" y="392"/>
                  </a:lnTo>
                  <a:lnTo>
                    <a:pt x="414" y="392"/>
                  </a:lnTo>
                  <a:lnTo>
                    <a:pt x="432" y="398"/>
                  </a:lnTo>
                  <a:lnTo>
                    <a:pt x="422" y="408"/>
                  </a:lnTo>
                  <a:lnTo>
                    <a:pt x="453" y="419"/>
                  </a:lnTo>
                  <a:lnTo>
                    <a:pt x="485" y="410"/>
                  </a:lnTo>
                  <a:lnTo>
                    <a:pt x="502" y="417"/>
                  </a:lnTo>
                  <a:lnTo>
                    <a:pt x="507" y="425"/>
                  </a:lnTo>
                  <a:lnTo>
                    <a:pt x="481" y="434"/>
                  </a:lnTo>
                  <a:lnTo>
                    <a:pt x="453" y="459"/>
                  </a:lnTo>
                  <a:lnTo>
                    <a:pt x="492" y="473"/>
                  </a:lnTo>
                  <a:lnTo>
                    <a:pt x="497" y="489"/>
                  </a:lnTo>
                  <a:lnTo>
                    <a:pt x="492" y="509"/>
                  </a:lnTo>
                  <a:lnTo>
                    <a:pt x="517" y="518"/>
                  </a:lnTo>
                  <a:lnTo>
                    <a:pt x="532" y="511"/>
                  </a:lnTo>
                  <a:lnTo>
                    <a:pt x="544" y="499"/>
                  </a:lnTo>
                  <a:lnTo>
                    <a:pt x="560" y="495"/>
                  </a:lnTo>
                  <a:lnTo>
                    <a:pt x="581" y="475"/>
                  </a:lnTo>
                  <a:lnTo>
                    <a:pt x="606" y="482"/>
                  </a:lnTo>
                  <a:lnTo>
                    <a:pt x="623" y="479"/>
                  </a:lnTo>
                  <a:lnTo>
                    <a:pt x="629" y="455"/>
                  </a:lnTo>
                  <a:lnTo>
                    <a:pt x="598" y="456"/>
                  </a:lnTo>
                  <a:lnTo>
                    <a:pt x="588" y="466"/>
                  </a:lnTo>
                  <a:lnTo>
                    <a:pt x="580" y="460"/>
                  </a:lnTo>
                  <a:lnTo>
                    <a:pt x="579" y="464"/>
                  </a:lnTo>
                  <a:lnTo>
                    <a:pt x="563" y="464"/>
                  </a:lnTo>
                  <a:lnTo>
                    <a:pt x="556" y="441"/>
                  </a:lnTo>
                  <a:lnTo>
                    <a:pt x="546" y="441"/>
                  </a:lnTo>
                  <a:lnTo>
                    <a:pt x="547" y="435"/>
                  </a:lnTo>
                  <a:lnTo>
                    <a:pt x="538" y="434"/>
                  </a:lnTo>
                  <a:lnTo>
                    <a:pt x="542" y="425"/>
                  </a:lnTo>
                  <a:lnTo>
                    <a:pt x="526" y="421"/>
                  </a:lnTo>
                  <a:lnTo>
                    <a:pt x="523" y="428"/>
                  </a:lnTo>
                  <a:lnTo>
                    <a:pt x="518" y="416"/>
                  </a:lnTo>
                  <a:lnTo>
                    <a:pt x="504" y="408"/>
                  </a:lnTo>
                  <a:lnTo>
                    <a:pt x="519" y="412"/>
                  </a:lnTo>
                  <a:lnTo>
                    <a:pt x="523" y="401"/>
                  </a:lnTo>
                  <a:lnTo>
                    <a:pt x="528" y="413"/>
                  </a:lnTo>
                  <a:lnTo>
                    <a:pt x="538" y="413"/>
                  </a:lnTo>
                  <a:lnTo>
                    <a:pt x="539" y="421"/>
                  </a:lnTo>
                  <a:lnTo>
                    <a:pt x="548" y="413"/>
                  </a:lnTo>
                  <a:lnTo>
                    <a:pt x="553" y="430"/>
                  </a:lnTo>
                  <a:lnTo>
                    <a:pt x="556" y="430"/>
                  </a:lnTo>
                  <a:lnTo>
                    <a:pt x="555" y="412"/>
                  </a:lnTo>
                  <a:lnTo>
                    <a:pt x="566" y="393"/>
                  </a:lnTo>
                  <a:lnTo>
                    <a:pt x="573" y="404"/>
                  </a:lnTo>
                  <a:lnTo>
                    <a:pt x="594" y="384"/>
                  </a:lnTo>
                  <a:lnTo>
                    <a:pt x="610" y="384"/>
                  </a:lnTo>
                  <a:lnTo>
                    <a:pt x="630" y="371"/>
                  </a:lnTo>
                  <a:lnTo>
                    <a:pt x="639" y="377"/>
                  </a:lnTo>
                  <a:lnTo>
                    <a:pt x="641" y="368"/>
                  </a:lnTo>
                  <a:lnTo>
                    <a:pt x="670" y="355"/>
                  </a:lnTo>
                  <a:lnTo>
                    <a:pt x="696" y="347"/>
                  </a:lnTo>
                  <a:lnTo>
                    <a:pt x="695" y="329"/>
                  </a:lnTo>
                  <a:lnTo>
                    <a:pt x="725" y="298"/>
                  </a:lnTo>
                  <a:lnTo>
                    <a:pt x="760" y="303"/>
                  </a:lnTo>
                  <a:lnTo>
                    <a:pt x="768" y="272"/>
                  </a:lnTo>
                  <a:lnTo>
                    <a:pt x="764" y="260"/>
                  </a:lnTo>
                  <a:lnTo>
                    <a:pt x="759" y="246"/>
                  </a:lnTo>
                  <a:lnTo>
                    <a:pt x="774" y="235"/>
                  </a:lnTo>
                  <a:lnTo>
                    <a:pt x="760" y="224"/>
                  </a:lnTo>
                  <a:lnTo>
                    <a:pt x="779" y="210"/>
                  </a:lnTo>
                  <a:lnTo>
                    <a:pt x="773" y="191"/>
                  </a:lnTo>
                  <a:lnTo>
                    <a:pt x="778" y="188"/>
                  </a:lnTo>
                  <a:lnTo>
                    <a:pt x="701" y="156"/>
                  </a:lnTo>
                  <a:lnTo>
                    <a:pt x="686" y="162"/>
                  </a:lnTo>
                  <a:lnTo>
                    <a:pt x="659" y="128"/>
                  </a:lnTo>
                  <a:lnTo>
                    <a:pt x="628" y="139"/>
                  </a:lnTo>
                  <a:lnTo>
                    <a:pt x="583" y="129"/>
                  </a:lnTo>
                  <a:lnTo>
                    <a:pt x="561" y="76"/>
                  </a:lnTo>
                  <a:lnTo>
                    <a:pt x="525" y="69"/>
                  </a:lnTo>
                  <a:lnTo>
                    <a:pt x="519" y="45"/>
                  </a:lnTo>
                  <a:lnTo>
                    <a:pt x="532" y="34"/>
                  </a:lnTo>
                  <a:lnTo>
                    <a:pt x="504" y="0"/>
                  </a:lnTo>
                  <a:lnTo>
                    <a:pt x="419" y="15"/>
                  </a:lnTo>
                  <a:lnTo>
                    <a:pt x="385" y="20"/>
                  </a:lnTo>
                  <a:lnTo>
                    <a:pt x="371" y="35"/>
                  </a:lnTo>
                  <a:lnTo>
                    <a:pt x="369" y="67"/>
                  </a:lnTo>
                  <a:lnTo>
                    <a:pt x="359" y="75"/>
                  </a:lnTo>
                  <a:lnTo>
                    <a:pt x="350" y="67"/>
                  </a:lnTo>
                  <a:lnTo>
                    <a:pt x="318" y="73"/>
                  </a:lnTo>
                  <a:lnTo>
                    <a:pt x="300" y="54"/>
                  </a:lnTo>
                  <a:lnTo>
                    <a:pt x="287" y="69"/>
                  </a:lnTo>
                  <a:lnTo>
                    <a:pt x="260" y="55"/>
                  </a:lnTo>
                  <a:lnTo>
                    <a:pt x="238" y="67"/>
                  </a:lnTo>
                  <a:lnTo>
                    <a:pt x="232" y="56"/>
                  </a:lnTo>
                  <a:lnTo>
                    <a:pt x="219" y="57"/>
                  </a:lnTo>
                  <a:lnTo>
                    <a:pt x="208" y="43"/>
                  </a:lnTo>
                  <a:lnTo>
                    <a:pt x="159" y="29"/>
                  </a:lnTo>
                  <a:lnTo>
                    <a:pt x="137" y="30"/>
                  </a:lnTo>
                  <a:lnTo>
                    <a:pt x="101" y="32"/>
                  </a:lnTo>
                  <a:lnTo>
                    <a:pt x="88" y="45"/>
                  </a:lnTo>
                  <a:lnTo>
                    <a:pt x="59" y="55"/>
                  </a:lnTo>
                  <a:lnTo>
                    <a:pt x="71" y="91"/>
                  </a:lnTo>
                  <a:lnTo>
                    <a:pt x="81" y="104"/>
                  </a:lnTo>
                  <a:lnTo>
                    <a:pt x="85" y="124"/>
                  </a:lnTo>
                  <a:lnTo>
                    <a:pt x="81" y="135"/>
                  </a:lnTo>
                  <a:lnTo>
                    <a:pt x="40" y="172"/>
                  </a:lnTo>
                  <a:lnTo>
                    <a:pt x="26" y="202"/>
                  </a:lnTo>
                  <a:lnTo>
                    <a:pt x="26" y="223"/>
                  </a:lnTo>
                  <a:lnTo>
                    <a:pt x="15" y="223"/>
                  </a:lnTo>
                  <a:close/>
                </a:path>
              </a:pathLst>
            </a:custGeom>
            <a:grpFill/>
            <a:ln w="6350">
              <a:solidFill>
                <a:schemeClr val="tx2"/>
              </a:solidFill>
              <a:round/>
              <a:headEnd/>
              <a:tailEnd/>
            </a:ln>
          </p:spPr>
          <p:txBody>
            <a:bodyPr/>
            <a:lstStyle/>
            <a:p>
              <a:endParaRPr lang="en-US"/>
            </a:p>
          </p:txBody>
        </p:sp>
        <p:sp>
          <p:nvSpPr>
            <p:cNvPr id="685" name="Freeform 1383"/>
            <p:cNvSpPr>
              <a:spLocks/>
            </p:cNvSpPr>
            <p:nvPr/>
          </p:nvSpPr>
          <p:spPr bwMode="auto">
            <a:xfrm>
              <a:off x="4952088" y="3299921"/>
              <a:ext cx="81924" cy="81924"/>
            </a:xfrm>
            <a:custGeom>
              <a:avLst/>
              <a:gdLst>
                <a:gd name="T0" fmla="*/ 2147483647 w 169"/>
                <a:gd name="T1" fmla="*/ 2147483647 h 164"/>
                <a:gd name="T2" fmla="*/ 2147483647 w 169"/>
                <a:gd name="T3" fmla="*/ 2147483647 h 164"/>
                <a:gd name="T4" fmla="*/ 2147483647 w 169"/>
                <a:gd name="T5" fmla="*/ 2147483647 h 164"/>
                <a:gd name="T6" fmla="*/ 2147483647 w 169"/>
                <a:gd name="T7" fmla="*/ 2147483647 h 164"/>
                <a:gd name="T8" fmla="*/ 2147483647 w 169"/>
                <a:gd name="T9" fmla="*/ 2147483647 h 164"/>
                <a:gd name="T10" fmla="*/ 2147483647 w 169"/>
                <a:gd name="T11" fmla="*/ 2147483647 h 164"/>
                <a:gd name="T12" fmla="*/ 2147483647 w 169"/>
                <a:gd name="T13" fmla="*/ 2147483647 h 164"/>
                <a:gd name="T14" fmla="*/ 2147483647 w 169"/>
                <a:gd name="T15" fmla="*/ 2147483647 h 164"/>
                <a:gd name="T16" fmla="*/ 2147483647 w 169"/>
                <a:gd name="T17" fmla="*/ 2147483647 h 164"/>
                <a:gd name="T18" fmla="*/ 2147483647 w 169"/>
                <a:gd name="T19" fmla="*/ 2147483647 h 164"/>
                <a:gd name="T20" fmla="*/ 2147483647 w 169"/>
                <a:gd name="T21" fmla="*/ 2147483647 h 164"/>
                <a:gd name="T22" fmla="*/ 2147483647 w 169"/>
                <a:gd name="T23" fmla="*/ 2147483647 h 164"/>
                <a:gd name="T24" fmla="*/ 2147483647 w 169"/>
                <a:gd name="T25" fmla="*/ 2147483647 h 164"/>
                <a:gd name="T26" fmla="*/ 2147483647 w 169"/>
                <a:gd name="T27" fmla="*/ 2147483647 h 164"/>
                <a:gd name="T28" fmla="*/ 2147483647 w 169"/>
                <a:gd name="T29" fmla="*/ 2147483647 h 164"/>
                <a:gd name="T30" fmla="*/ 2147483647 w 169"/>
                <a:gd name="T31" fmla="*/ 2147483647 h 164"/>
                <a:gd name="T32" fmla="*/ 2147483647 w 169"/>
                <a:gd name="T33" fmla="*/ 2147483647 h 164"/>
                <a:gd name="T34" fmla="*/ 2147483647 w 169"/>
                <a:gd name="T35" fmla="*/ 2147483647 h 164"/>
                <a:gd name="T36" fmla="*/ 2147483647 w 169"/>
                <a:gd name="T37" fmla="*/ 2147483647 h 164"/>
                <a:gd name="T38" fmla="*/ 2147483647 w 169"/>
                <a:gd name="T39" fmla="*/ 2147483647 h 164"/>
                <a:gd name="T40" fmla="*/ 2147483647 w 169"/>
                <a:gd name="T41" fmla="*/ 2147483647 h 164"/>
                <a:gd name="T42" fmla="*/ 2147483647 w 169"/>
                <a:gd name="T43" fmla="*/ 2147483647 h 164"/>
                <a:gd name="T44" fmla="*/ 2147483647 w 169"/>
                <a:gd name="T45" fmla="*/ 2147483647 h 164"/>
                <a:gd name="T46" fmla="*/ 2147483647 w 169"/>
                <a:gd name="T47" fmla="*/ 2147483647 h 164"/>
                <a:gd name="T48" fmla="*/ 2147483647 w 169"/>
                <a:gd name="T49" fmla="*/ 2147483647 h 164"/>
                <a:gd name="T50" fmla="*/ 2147483647 w 169"/>
                <a:gd name="T51" fmla="*/ 2147483647 h 164"/>
                <a:gd name="T52" fmla="*/ 2147483647 w 169"/>
                <a:gd name="T53" fmla="*/ 2147483647 h 164"/>
                <a:gd name="T54" fmla="*/ 2147483647 w 169"/>
                <a:gd name="T55" fmla="*/ 2147483647 h 164"/>
                <a:gd name="T56" fmla="*/ 2147483647 w 169"/>
                <a:gd name="T57" fmla="*/ 2147483647 h 164"/>
                <a:gd name="T58" fmla="*/ 2147483647 w 169"/>
                <a:gd name="T59" fmla="*/ 2147483647 h 164"/>
                <a:gd name="T60" fmla="*/ 2147483647 w 169"/>
                <a:gd name="T61" fmla="*/ 2147483647 h 164"/>
                <a:gd name="T62" fmla="*/ 2147483647 w 169"/>
                <a:gd name="T63" fmla="*/ 2147483647 h 164"/>
                <a:gd name="T64" fmla="*/ 2147483647 w 169"/>
                <a:gd name="T65" fmla="*/ 2147483647 h 164"/>
                <a:gd name="T66" fmla="*/ 2147483647 w 169"/>
                <a:gd name="T67" fmla="*/ 2147483647 h 164"/>
                <a:gd name="T68" fmla="*/ 2147483647 w 169"/>
                <a:gd name="T69" fmla="*/ 2147483647 h 164"/>
                <a:gd name="T70" fmla="*/ 2147483647 w 169"/>
                <a:gd name="T71" fmla="*/ 2147483647 h 164"/>
                <a:gd name="T72" fmla="*/ 2147483647 w 169"/>
                <a:gd name="T73" fmla="*/ 2147483647 h 164"/>
                <a:gd name="T74" fmla="*/ 2147483647 w 169"/>
                <a:gd name="T75" fmla="*/ 2147483647 h 164"/>
                <a:gd name="T76" fmla="*/ 2147483647 w 169"/>
                <a:gd name="T77" fmla="*/ 2147483647 h 164"/>
                <a:gd name="T78" fmla="*/ 2147483647 w 169"/>
                <a:gd name="T79" fmla="*/ 2147483647 h 164"/>
                <a:gd name="T80" fmla="*/ 2147483647 w 169"/>
                <a:gd name="T81" fmla="*/ 2147483647 h 164"/>
                <a:gd name="T82" fmla="*/ 2147483647 w 169"/>
                <a:gd name="T83" fmla="*/ 2147483647 h 164"/>
                <a:gd name="T84" fmla="*/ 0 w 169"/>
                <a:gd name="T85" fmla="*/ 2147483647 h 164"/>
                <a:gd name="T86" fmla="*/ 2147483647 w 169"/>
                <a:gd name="T87" fmla="*/ 2147483647 h 164"/>
                <a:gd name="T88" fmla="*/ 2147483647 w 169"/>
                <a:gd name="T89" fmla="*/ 2147483647 h 164"/>
                <a:gd name="T90" fmla="*/ 2147483647 w 169"/>
                <a:gd name="T91" fmla="*/ 2147483647 h 164"/>
                <a:gd name="T92" fmla="*/ 2147483647 w 169"/>
                <a:gd name="T93" fmla="*/ 2147483647 h 164"/>
                <a:gd name="T94" fmla="*/ 2147483647 w 169"/>
                <a:gd name="T95" fmla="*/ 2147483647 h 164"/>
                <a:gd name="T96" fmla="*/ 2147483647 w 169"/>
                <a:gd name="T97" fmla="*/ 0 h 164"/>
                <a:gd name="T98" fmla="*/ 2147483647 w 169"/>
                <a:gd name="T99" fmla="*/ 2147483647 h 164"/>
                <a:gd name="T100" fmla="*/ 2147483647 w 169"/>
                <a:gd name="T101" fmla="*/ 2147483647 h 164"/>
                <a:gd name="T102" fmla="*/ 2147483647 w 169"/>
                <a:gd name="T103" fmla="*/ 2147483647 h 164"/>
                <a:gd name="T104" fmla="*/ 2147483647 w 169"/>
                <a:gd name="T105" fmla="*/ 2147483647 h 164"/>
                <a:gd name="T106" fmla="*/ 2147483647 w 169"/>
                <a:gd name="T107" fmla="*/ 2147483647 h 1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9"/>
                <a:gd name="T163" fmla="*/ 0 h 164"/>
                <a:gd name="T164" fmla="*/ 169 w 169"/>
                <a:gd name="T165" fmla="*/ 164 h 1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9" h="164">
                  <a:moveTo>
                    <a:pt x="147" y="22"/>
                  </a:moveTo>
                  <a:lnTo>
                    <a:pt x="157" y="21"/>
                  </a:lnTo>
                  <a:lnTo>
                    <a:pt x="158" y="24"/>
                  </a:lnTo>
                  <a:lnTo>
                    <a:pt x="146" y="53"/>
                  </a:lnTo>
                  <a:lnTo>
                    <a:pt x="147" y="57"/>
                  </a:lnTo>
                  <a:lnTo>
                    <a:pt x="169" y="74"/>
                  </a:lnTo>
                  <a:lnTo>
                    <a:pt x="166" y="79"/>
                  </a:lnTo>
                  <a:lnTo>
                    <a:pt x="155" y="76"/>
                  </a:lnTo>
                  <a:lnTo>
                    <a:pt x="152" y="79"/>
                  </a:lnTo>
                  <a:lnTo>
                    <a:pt x="165" y="92"/>
                  </a:lnTo>
                  <a:lnTo>
                    <a:pt x="164" y="100"/>
                  </a:lnTo>
                  <a:lnTo>
                    <a:pt x="145" y="106"/>
                  </a:lnTo>
                  <a:lnTo>
                    <a:pt x="139" y="107"/>
                  </a:lnTo>
                  <a:lnTo>
                    <a:pt x="145" y="116"/>
                  </a:lnTo>
                  <a:lnTo>
                    <a:pt x="145" y="121"/>
                  </a:lnTo>
                  <a:lnTo>
                    <a:pt x="141" y="121"/>
                  </a:lnTo>
                  <a:lnTo>
                    <a:pt x="139" y="116"/>
                  </a:lnTo>
                  <a:lnTo>
                    <a:pt x="134" y="116"/>
                  </a:lnTo>
                  <a:lnTo>
                    <a:pt x="126" y="126"/>
                  </a:lnTo>
                  <a:lnTo>
                    <a:pt x="125" y="134"/>
                  </a:lnTo>
                  <a:lnTo>
                    <a:pt x="121" y="135"/>
                  </a:lnTo>
                  <a:lnTo>
                    <a:pt x="117" y="146"/>
                  </a:lnTo>
                  <a:lnTo>
                    <a:pt x="121" y="154"/>
                  </a:lnTo>
                  <a:lnTo>
                    <a:pt x="122" y="156"/>
                  </a:lnTo>
                  <a:lnTo>
                    <a:pt x="118" y="164"/>
                  </a:lnTo>
                  <a:lnTo>
                    <a:pt x="115" y="163"/>
                  </a:lnTo>
                  <a:lnTo>
                    <a:pt x="115" y="159"/>
                  </a:lnTo>
                  <a:lnTo>
                    <a:pt x="108" y="158"/>
                  </a:lnTo>
                  <a:lnTo>
                    <a:pt x="102" y="152"/>
                  </a:lnTo>
                  <a:lnTo>
                    <a:pt x="97" y="150"/>
                  </a:lnTo>
                  <a:lnTo>
                    <a:pt x="91" y="146"/>
                  </a:lnTo>
                  <a:lnTo>
                    <a:pt x="90" y="142"/>
                  </a:lnTo>
                  <a:lnTo>
                    <a:pt x="84" y="141"/>
                  </a:lnTo>
                  <a:lnTo>
                    <a:pt x="78" y="145"/>
                  </a:lnTo>
                  <a:lnTo>
                    <a:pt x="78" y="141"/>
                  </a:lnTo>
                  <a:lnTo>
                    <a:pt x="77" y="141"/>
                  </a:lnTo>
                  <a:lnTo>
                    <a:pt x="83" y="137"/>
                  </a:lnTo>
                  <a:lnTo>
                    <a:pt x="66" y="118"/>
                  </a:lnTo>
                  <a:lnTo>
                    <a:pt x="64" y="109"/>
                  </a:lnTo>
                  <a:lnTo>
                    <a:pt x="18" y="63"/>
                  </a:lnTo>
                  <a:lnTo>
                    <a:pt x="17" y="46"/>
                  </a:lnTo>
                  <a:lnTo>
                    <a:pt x="9" y="32"/>
                  </a:lnTo>
                  <a:lnTo>
                    <a:pt x="0" y="27"/>
                  </a:lnTo>
                  <a:lnTo>
                    <a:pt x="2" y="5"/>
                  </a:lnTo>
                  <a:lnTo>
                    <a:pt x="13" y="2"/>
                  </a:lnTo>
                  <a:lnTo>
                    <a:pt x="27" y="16"/>
                  </a:lnTo>
                  <a:lnTo>
                    <a:pt x="35" y="2"/>
                  </a:lnTo>
                  <a:lnTo>
                    <a:pt x="43" y="2"/>
                  </a:lnTo>
                  <a:lnTo>
                    <a:pt x="53" y="0"/>
                  </a:lnTo>
                  <a:lnTo>
                    <a:pt x="92" y="13"/>
                  </a:lnTo>
                  <a:lnTo>
                    <a:pt x="99" y="8"/>
                  </a:lnTo>
                  <a:lnTo>
                    <a:pt x="128" y="12"/>
                  </a:lnTo>
                  <a:lnTo>
                    <a:pt x="135" y="26"/>
                  </a:lnTo>
                  <a:lnTo>
                    <a:pt x="147" y="22"/>
                  </a:lnTo>
                  <a:close/>
                </a:path>
              </a:pathLst>
            </a:custGeom>
            <a:grpFill/>
            <a:ln w="6350">
              <a:solidFill>
                <a:schemeClr val="tx2"/>
              </a:solidFill>
              <a:round/>
              <a:headEnd/>
              <a:tailEnd/>
            </a:ln>
          </p:spPr>
          <p:txBody>
            <a:bodyPr/>
            <a:lstStyle/>
            <a:p>
              <a:endParaRPr lang="en-US"/>
            </a:p>
          </p:txBody>
        </p:sp>
        <p:sp>
          <p:nvSpPr>
            <p:cNvPr id="686" name="Freeform 1389"/>
            <p:cNvSpPr>
              <a:spLocks/>
            </p:cNvSpPr>
            <p:nvPr/>
          </p:nvSpPr>
          <p:spPr bwMode="auto">
            <a:xfrm>
              <a:off x="5053735" y="2263733"/>
              <a:ext cx="233635" cy="521887"/>
            </a:xfrm>
            <a:custGeom>
              <a:avLst/>
              <a:gdLst>
                <a:gd name="T0" fmla="*/ 2147483647 w 467"/>
                <a:gd name="T1" fmla="*/ 2147483647 h 1049"/>
                <a:gd name="T2" fmla="*/ 2147483647 w 467"/>
                <a:gd name="T3" fmla="*/ 2147483647 h 1049"/>
                <a:gd name="T4" fmla="*/ 2147483647 w 467"/>
                <a:gd name="T5" fmla="*/ 2147483647 h 1049"/>
                <a:gd name="T6" fmla="*/ 2147483647 w 467"/>
                <a:gd name="T7" fmla="*/ 2147483647 h 1049"/>
                <a:gd name="T8" fmla="*/ 2147483647 w 467"/>
                <a:gd name="T9" fmla="*/ 2147483647 h 1049"/>
                <a:gd name="T10" fmla="*/ 2147483647 w 467"/>
                <a:gd name="T11" fmla="*/ 2147483647 h 1049"/>
                <a:gd name="T12" fmla="*/ 2147483647 w 467"/>
                <a:gd name="T13" fmla="*/ 2147483647 h 1049"/>
                <a:gd name="T14" fmla="*/ 2147483647 w 467"/>
                <a:gd name="T15" fmla="*/ 2147483647 h 1049"/>
                <a:gd name="T16" fmla="*/ 2147483647 w 467"/>
                <a:gd name="T17" fmla="*/ 2147483647 h 1049"/>
                <a:gd name="T18" fmla="*/ 2147483647 w 467"/>
                <a:gd name="T19" fmla="*/ 2147483647 h 1049"/>
                <a:gd name="T20" fmla="*/ 2147483647 w 467"/>
                <a:gd name="T21" fmla="*/ 2147483647 h 1049"/>
                <a:gd name="T22" fmla="*/ 2147483647 w 467"/>
                <a:gd name="T23" fmla="*/ 2147483647 h 1049"/>
                <a:gd name="T24" fmla="*/ 2147483647 w 467"/>
                <a:gd name="T25" fmla="*/ 2147483647 h 1049"/>
                <a:gd name="T26" fmla="*/ 2147483647 w 467"/>
                <a:gd name="T27" fmla="*/ 2147483647 h 1049"/>
                <a:gd name="T28" fmla="*/ 2147483647 w 467"/>
                <a:gd name="T29" fmla="*/ 2147483647 h 1049"/>
                <a:gd name="T30" fmla="*/ 2147483647 w 467"/>
                <a:gd name="T31" fmla="*/ 2147483647 h 1049"/>
                <a:gd name="T32" fmla="*/ 2147483647 w 467"/>
                <a:gd name="T33" fmla="*/ 2147483647 h 1049"/>
                <a:gd name="T34" fmla="*/ 2147483647 w 467"/>
                <a:gd name="T35" fmla="*/ 2147483647 h 1049"/>
                <a:gd name="T36" fmla="*/ 2147483647 w 467"/>
                <a:gd name="T37" fmla="*/ 2147483647 h 1049"/>
                <a:gd name="T38" fmla="*/ 2147483647 w 467"/>
                <a:gd name="T39" fmla="*/ 2147483647 h 1049"/>
                <a:gd name="T40" fmla="*/ 2147483647 w 467"/>
                <a:gd name="T41" fmla="*/ 2147483647 h 1049"/>
                <a:gd name="T42" fmla="*/ 2147483647 w 467"/>
                <a:gd name="T43" fmla="*/ 2147483647 h 1049"/>
                <a:gd name="T44" fmla="*/ 2147483647 w 467"/>
                <a:gd name="T45" fmla="*/ 2147483647 h 1049"/>
                <a:gd name="T46" fmla="*/ 2147483647 w 467"/>
                <a:gd name="T47" fmla="*/ 2147483647 h 1049"/>
                <a:gd name="T48" fmla="*/ 2147483647 w 467"/>
                <a:gd name="T49" fmla="*/ 2147483647 h 1049"/>
                <a:gd name="T50" fmla="*/ 2147483647 w 467"/>
                <a:gd name="T51" fmla="*/ 2147483647 h 1049"/>
                <a:gd name="T52" fmla="*/ 2147483647 w 467"/>
                <a:gd name="T53" fmla="*/ 2147483647 h 1049"/>
                <a:gd name="T54" fmla="*/ 2147483647 w 467"/>
                <a:gd name="T55" fmla="*/ 2147483647 h 1049"/>
                <a:gd name="T56" fmla="*/ 2147483647 w 467"/>
                <a:gd name="T57" fmla="*/ 2147483647 h 1049"/>
                <a:gd name="T58" fmla="*/ 2147483647 w 467"/>
                <a:gd name="T59" fmla="*/ 2147483647 h 1049"/>
                <a:gd name="T60" fmla="*/ 2147483647 w 467"/>
                <a:gd name="T61" fmla="*/ 2147483647 h 1049"/>
                <a:gd name="T62" fmla="*/ 2147483647 w 467"/>
                <a:gd name="T63" fmla="*/ 2147483647 h 1049"/>
                <a:gd name="T64" fmla="*/ 2147483647 w 467"/>
                <a:gd name="T65" fmla="*/ 2147483647 h 1049"/>
                <a:gd name="T66" fmla="*/ 2147483647 w 467"/>
                <a:gd name="T67" fmla="*/ 2147483647 h 1049"/>
                <a:gd name="T68" fmla="*/ 2147483647 w 467"/>
                <a:gd name="T69" fmla="*/ 2147483647 h 1049"/>
                <a:gd name="T70" fmla="*/ 2147483647 w 467"/>
                <a:gd name="T71" fmla="*/ 2147483647 h 1049"/>
                <a:gd name="T72" fmla="*/ 2147483647 w 467"/>
                <a:gd name="T73" fmla="*/ 2147483647 h 1049"/>
                <a:gd name="T74" fmla="*/ 2147483647 w 467"/>
                <a:gd name="T75" fmla="*/ 2147483647 h 1049"/>
                <a:gd name="T76" fmla="*/ 2147483647 w 467"/>
                <a:gd name="T77" fmla="*/ 0 h 1049"/>
                <a:gd name="T78" fmla="*/ 2147483647 w 467"/>
                <a:gd name="T79" fmla="*/ 2147483647 h 1049"/>
                <a:gd name="T80" fmla="*/ 2147483647 w 467"/>
                <a:gd name="T81" fmla="*/ 2147483647 h 1049"/>
                <a:gd name="T82" fmla="*/ 2147483647 w 467"/>
                <a:gd name="T83" fmla="*/ 2147483647 h 1049"/>
                <a:gd name="T84" fmla="*/ 2147483647 w 467"/>
                <a:gd name="T85" fmla="*/ 2147483647 h 1049"/>
                <a:gd name="T86" fmla="*/ 2147483647 w 467"/>
                <a:gd name="T87" fmla="*/ 2147483647 h 1049"/>
                <a:gd name="T88" fmla="*/ 2147483647 w 467"/>
                <a:gd name="T89" fmla="*/ 2147483647 h 10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7"/>
                <a:gd name="T136" fmla="*/ 0 h 1049"/>
                <a:gd name="T137" fmla="*/ 467 w 467"/>
                <a:gd name="T138" fmla="*/ 1049 h 10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7" h="1049">
                  <a:moveTo>
                    <a:pt x="0" y="123"/>
                  </a:moveTo>
                  <a:lnTo>
                    <a:pt x="61" y="187"/>
                  </a:lnTo>
                  <a:lnTo>
                    <a:pt x="103" y="208"/>
                  </a:lnTo>
                  <a:lnTo>
                    <a:pt x="129" y="252"/>
                  </a:lnTo>
                  <a:lnTo>
                    <a:pt x="125" y="296"/>
                  </a:lnTo>
                  <a:lnTo>
                    <a:pt x="132" y="326"/>
                  </a:lnTo>
                  <a:lnTo>
                    <a:pt x="127" y="342"/>
                  </a:lnTo>
                  <a:lnTo>
                    <a:pt x="146" y="391"/>
                  </a:lnTo>
                  <a:lnTo>
                    <a:pt x="145" y="408"/>
                  </a:lnTo>
                  <a:lnTo>
                    <a:pt x="135" y="432"/>
                  </a:lnTo>
                  <a:lnTo>
                    <a:pt x="150" y="475"/>
                  </a:lnTo>
                  <a:lnTo>
                    <a:pt x="171" y="486"/>
                  </a:lnTo>
                  <a:lnTo>
                    <a:pt x="175" y="489"/>
                  </a:lnTo>
                  <a:lnTo>
                    <a:pt x="202" y="526"/>
                  </a:lnTo>
                  <a:lnTo>
                    <a:pt x="207" y="537"/>
                  </a:lnTo>
                  <a:lnTo>
                    <a:pt x="205" y="560"/>
                  </a:lnTo>
                  <a:lnTo>
                    <a:pt x="213" y="575"/>
                  </a:lnTo>
                  <a:lnTo>
                    <a:pt x="207" y="574"/>
                  </a:lnTo>
                  <a:lnTo>
                    <a:pt x="207" y="587"/>
                  </a:lnTo>
                  <a:lnTo>
                    <a:pt x="176" y="590"/>
                  </a:lnTo>
                  <a:lnTo>
                    <a:pt x="169" y="618"/>
                  </a:lnTo>
                  <a:lnTo>
                    <a:pt x="124" y="671"/>
                  </a:lnTo>
                  <a:lnTo>
                    <a:pt x="94" y="719"/>
                  </a:lnTo>
                  <a:lnTo>
                    <a:pt x="71" y="745"/>
                  </a:lnTo>
                  <a:lnTo>
                    <a:pt x="50" y="744"/>
                  </a:lnTo>
                  <a:lnTo>
                    <a:pt x="44" y="755"/>
                  </a:lnTo>
                  <a:lnTo>
                    <a:pt x="51" y="762"/>
                  </a:lnTo>
                  <a:lnTo>
                    <a:pt x="48" y="763"/>
                  </a:lnTo>
                  <a:lnTo>
                    <a:pt x="34" y="765"/>
                  </a:lnTo>
                  <a:lnTo>
                    <a:pt x="18" y="798"/>
                  </a:lnTo>
                  <a:lnTo>
                    <a:pt x="28" y="836"/>
                  </a:lnTo>
                  <a:lnTo>
                    <a:pt x="25" y="856"/>
                  </a:lnTo>
                  <a:lnTo>
                    <a:pt x="46" y="905"/>
                  </a:lnTo>
                  <a:lnTo>
                    <a:pt x="35" y="904"/>
                  </a:lnTo>
                  <a:lnTo>
                    <a:pt x="36" y="932"/>
                  </a:lnTo>
                  <a:lnTo>
                    <a:pt x="27" y="951"/>
                  </a:lnTo>
                  <a:lnTo>
                    <a:pt x="31" y="968"/>
                  </a:lnTo>
                  <a:lnTo>
                    <a:pt x="36" y="970"/>
                  </a:lnTo>
                  <a:lnTo>
                    <a:pt x="32" y="980"/>
                  </a:lnTo>
                  <a:lnTo>
                    <a:pt x="78" y="999"/>
                  </a:lnTo>
                  <a:lnTo>
                    <a:pt x="78" y="1008"/>
                  </a:lnTo>
                  <a:lnTo>
                    <a:pt x="84" y="1012"/>
                  </a:lnTo>
                  <a:lnTo>
                    <a:pt x="96" y="1005"/>
                  </a:lnTo>
                  <a:lnTo>
                    <a:pt x="97" y="1020"/>
                  </a:lnTo>
                  <a:lnTo>
                    <a:pt x="109" y="1039"/>
                  </a:lnTo>
                  <a:lnTo>
                    <a:pt x="99" y="1049"/>
                  </a:lnTo>
                  <a:lnTo>
                    <a:pt x="111" y="1046"/>
                  </a:lnTo>
                  <a:lnTo>
                    <a:pt x="119" y="1031"/>
                  </a:lnTo>
                  <a:lnTo>
                    <a:pt x="124" y="1041"/>
                  </a:lnTo>
                  <a:lnTo>
                    <a:pt x="161" y="1033"/>
                  </a:lnTo>
                  <a:lnTo>
                    <a:pt x="175" y="1020"/>
                  </a:lnTo>
                  <a:lnTo>
                    <a:pt x="206" y="1012"/>
                  </a:lnTo>
                  <a:lnTo>
                    <a:pt x="212" y="1001"/>
                  </a:lnTo>
                  <a:lnTo>
                    <a:pt x="215" y="1009"/>
                  </a:lnTo>
                  <a:lnTo>
                    <a:pt x="230" y="1003"/>
                  </a:lnTo>
                  <a:lnTo>
                    <a:pt x="227" y="995"/>
                  </a:lnTo>
                  <a:lnTo>
                    <a:pt x="304" y="987"/>
                  </a:lnTo>
                  <a:lnTo>
                    <a:pt x="403" y="894"/>
                  </a:lnTo>
                  <a:lnTo>
                    <a:pt x="466" y="793"/>
                  </a:lnTo>
                  <a:lnTo>
                    <a:pt x="467" y="763"/>
                  </a:lnTo>
                  <a:lnTo>
                    <a:pt x="417" y="698"/>
                  </a:lnTo>
                  <a:lnTo>
                    <a:pt x="432" y="645"/>
                  </a:lnTo>
                  <a:lnTo>
                    <a:pt x="414" y="620"/>
                  </a:lnTo>
                  <a:lnTo>
                    <a:pt x="409" y="590"/>
                  </a:lnTo>
                  <a:lnTo>
                    <a:pt x="396" y="587"/>
                  </a:lnTo>
                  <a:lnTo>
                    <a:pt x="396" y="541"/>
                  </a:lnTo>
                  <a:lnTo>
                    <a:pt x="413" y="489"/>
                  </a:lnTo>
                  <a:lnTo>
                    <a:pt x="373" y="368"/>
                  </a:lnTo>
                  <a:lnTo>
                    <a:pt x="407" y="294"/>
                  </a:lnTo>
                  <a:lnTo>
                    <a:pt x="405" y="277"/>
                  </a:lnTo>
                  <a:lnTo>
                    <a:pt x="381" y="235"/>
                  </a:lnTo>
                  <a:lnTo>
                    <a:pt x="351" y="222"/>
                  </a:lnTo>
                  <a:lnTo>
                    <a:pt x="343" y="174"/>
                  </a:lnTo>
                  <a:lnTo>
                    <a:pt x="367" y="123"/>
                  </a:lnTo>
                  <a:lnTo>
                    <a:pt x="359" y="109"/>
                  </a:lnTo>
                  <a:lnTo>
                    <a:pt x="377" y="80"/>
                  </a:lnTo>
                  <a:lnTo>
                    <a:pt x="371" y="46"/>
                  </a:lnTo>
                  <a:lnTo>
                    <a:pt x="322" y="0"/>
                  </a:lnTo>
                  <a:lnTo>
                    <a:pt x="279" y="18"/>
                  </a:lnTo>
                  <a:lnTo>
                    <a:pt x="236" y="36"/>
                  </a:lnTo>
                  <a:lnTo>
                    <a:pt x="226" y="61"/>
                  </a:lnTo>
                  <a:lnTo>
                    <a:pt x="223" y="132"/>
                  </a:lnTo>
                  <a:lnTo>
                    <a:pt x="174" y="169"/>
                  </a:lnTo>
                  <a:lnTo>
                    <a:pt x="150" y="146"/>
                  </a:lnTo>
                  <a:lnTo>
                    <a:pt x="123" y="167"/>
                  </a:lnTo>
                  <a:lnTo>
                    <a:pt x="83" y="159"/>
                  </a:lnTo>
                  <a:lnTo>
                    <a:pt x="51" y="104"/>
                  </a:lnTo>
                  <a:lnTo>
                    <a:pt x="31" y="90"/>
                  </a:lnTo>
                  <a:lnTo>
                    <a:pt x="21" y="95"/>
                  </a:lnTo>
                  <a:lnTo>
                    <a:pt x="24" y="115"/>
                  </a:lnTo>
                  <a:lnTo>
                    <a:pt x="0" y="123"/>
                  </a:lnTo>
                  <a:close/>
                </a:path>
              </a:pathLst>
            </a:custGeom>
            <a:grpFill/>
            <a:ln w="6350">
              <a:solidFill>
                <a:schemeClr val="tx2"/>
              </a:solidFill>
              <a:round/>
              <a:headEnd/>
              <a:tailEnd/>
            </a:ln>
          </p:spPr>
          <p:txBody>
            <a:bodyPr/>
            <a:lstStyle/>
            <a:p>
              <a:endParaRPr lang="en-US"/>
            </a:p>
          </p:txBody>
        </p:sp>
        <p:sp>
          <p:nvSpPr>
            <p:cNvPr id="687" name="Freeform 1390"/>
            <p:cNvSpPr>
              <a:spLocks/>
            </p:cNvSpPr>
            <p:nvPr/>
          </p:nvSpPr>
          <p:spPr bwMode="auto">
            <a:xfrm>
              <a:off x="4719971" y="2198496"/>
              <a:ext cx="558297" cy="662979"/>
            </a:xfrm>
            <a:custGeom>
              <a:avLst/>
              <a:gdLst>
                <a:gd name="T0" fmla="*/ 2147483647 w 1120"/>
                <a:gd name="T1" fmla="*/ 2147483647 h 1334"/>
                <a:gd name="T2" fmla="*/ 2147483647 w 1120"/>
                <a:gd name="T3" fmla="*/ 2147483647 h 1334"/>
                <a:gd name="T4" fmla="*/ 2147483647 w 1120"/>
                <a:gd name="T5" fmla="*/ 2147483647 h 1334"/>
                <a:gd name="T6" fmla="*/ 2147483647 w 1120"/>
                <a:gd name="T7" fmla="*/ 2147483647 h 1334"/>
                <a:gd name="T8" fmla="*/ 2147483647 w 1120"/>
                <a:gd name="T9" fmla="*/ 2147483647 h 1334"/>
                <a:gd name="T10" fmla="*/ 2147483647 w 1120"/>
                <a:gd name="T11" fmla="*/ 2147483647 h 1334"/>
                <a:gd name="T12" fmla="*/ 2147483647 w 1120"/>
                <a:gd name="T13" fmla="*/ 2147483647 h 1334"/>
                <a:gd name="T14" fmla="*/ 2147483647 w 1120"/>
                <a:gd name="T15" fmla="*/ 2147483647 h 1334"/>
                <a:gd name="T16" fmla="*/ 2147483647 w 1120"/>
                <a:gd name="T17" fmla="*/ 2147483647 h 1334"/>
                <a:gd name="T18" fmla="*/ 2147483647 w 1120"/>
                <a:gd name="T19" fmla="*/ 2147483647 h 1334"/>
                <a:gd name="T20" fmla="*/ 2147483647 w 1120"/>
                <a:gd name="T21" fmla="*/ 2147483647 h 1334"/>
                <a:gd name="T22" fmla="*/ 2147483647 w 1120"/>
                <a:gd name="T23" fmla="*/ 2147483647 h 1334"/>
                <a:gd name="T24" fmla="*/ 2147483647 w 1120"/>
                <a:gd name="T25" fmla="*/ 2147483647 h 1334"/>
                <a:gd name="T26" fmla="*/ 2147483647 w 1120"/>
                <a:gd name="T27" fmla="*/ 2147483647 h 1334"/>
                <a:gd name="T28" fmla="*/ 2147483647 w 1120"/>
                <a:gd name="T29" fmla="*/ 2147483647 h 1334"/>
                <a:gd name="T30" fmla="*/ 2147483647 w 1120"/>
                <a:gd name="T31" fmla="*/ 2147483647 h 1334"/>
                <a:gd name="T32" fmla="*/ 2147483647 w 1120"/>
                <a:gd name="T33" fmla="*/ 2147483647 h 1334"/>
                <a:gd name="T34" fmla="*/ 2147483647 w 1120"/>
                <a:gd name="T35" fmla="*/ 2147483647 h 1334"/>
                <a:gd name="T36" fmla="*/ 2147483647 w 1120"/>
                <a:gd name="T37" fmla="*/ 2147483647 h 1334"/>
                <a:gd name="T38" fmla="*/ 2147483647 w 1120"/>
                <a:gd name="T39" fmla="*/ 2147483647 h 1334"/>
                <a:gd name="T40" fmla="*/ 2147483647 w 1120"/>
                <a:gd name="T41" fmla="*/ 2147483647 h 1334"/>
                <a:gd name="T42" fmla="*/ 2147483647 w 1120"/>
                <a:gd name="T43" fmla="*/ 2147483647 h 1334"/>
                <a:gd name="T44" fmla="*/ 2147483647 w 1120"/>
                <a:gd name="T45" fmla="*/ 2147483647 h 1334"/>
                <a:gd name="T46" fmla="*/ 2147483647 w 1120"/>
                <a:gd name="T47" fmla="*/ 2147483647 h 1334"/>
                <a:gd name="T48" fmla="*/ 2147483647 w 1120"/>
                <a:gd name="T49" fmla="*/ 2147483647 h 1334"/>
                <a:gd name="T50" fmla="*/ 2147483647 w 1120"/>
                <a:gd name="T51" fmla="*/ 2147483647 h 1334"/>
                <a:gd name="T52" fmla="*/ 2147483647 w 1120"/>
                <a:gd name="T53" fmla="*/ 2147483647 h 1334"/>
                <a:gd name="T54" fmla="*/ 2147483647 w 1120"/>
                <a:gd name="T55" fmla="*/ 2147483647 h 1334"/>
                <a:gd name="T56" fmla="*/ 2147483647 w 1120"/>
                <a:gd name="T57" fmla="*/ 2147483647 h 1334"/>
                <a:gd name="T58" fmla="*/ 2147483647 w 1120"/>
                <a:gd name="T59" fmla="*/ 2147483647 h 1334"/>
                <a:gd name="T60" fmla="*/ 2147483647 w 1120"/>
                <a:gd name="T61" fmla="*/ 2147483647 h 1334"/>
                <a:gd name="T62" fmla="*/ 2147483647 w 1120"/>
                <a:gd name="T63" fmla="*/ 2147483647 h 1334"/>
                <a:gd name="T64" fmla="*/ 2147483647 w 1120"/>
                <a:gd name="T65" fmla="*/ 2147483647 h 1334"/>
                <a:gd name="T66" fmla="*/ 2147483647 w 1120"/>
                <a:gd name="T67" fmla="*/ 2147483647 h 1334"/>
                <a:gd name="T68" fmla="*/ 2147483647 w 1120"/>
                <a:gd name="T69" fmla="*/ 2147483647 h 1334"/>
                <a:gd name="T70" fmla="*/ 2147483647 w 1120"/>
                <a:gd name="T71" fmla="*/ 2147483647 h 1334"/>
                <a:gd name="T72" fmla="*/ 2147483647 w 1120"/>
                <a:gd name="T73" fmla="*/ 2147483647 h 1334"/>
                <a:gd name="T74" fmla="*/ 2147483647 w 1120"/>
                <a:gd name="T75" fmla="*/ 2147483647 h 1334"/>
                <a:gd name="T76" fmla="*/ 2147483647 w 1120"/>
                <a:gd name="T77" fmla="*/ 2147483647 h 1334"/>
                <a:gd name="T78" fmla="*/ 2147483647 w 1120"/>
                <a:gd name="T79" fmla="*/ 2147483647 h 1334"/>
                <a:gd name="T80" fmla="*/ 2147483647 w 1120"/>
                <a:gd name="T81" fmla="*/ 2147483647 h 1334"/>
                <a:gd name="T82" fmla="*/ 2147483647 w 1120"/>
                <a:gd name="T83" fmla="*/ 2147483647 h 1334"/>
                <a:gd name="T84" fmla="*/ 2147483647 w 1120"/>
                <a:gd name="T85" fmla="*/ 2147483647 h 1334"/>
                <a:gd name="T86" fmla="*/ 2147483647 w 1120"/>
                <a:gd name="T87" fmla="*/ 2147483647 h 1334"/>
                <a:gd name="T88" fmla="*/ 2147483647 w 1120"/>
                <a:gd name="T89" fmla="*/ 2147483647 h 1334"/>
                <a:gd name="T90" fmla="*/ 2147483647 w 1120"/>
                <a:gd name="T91" fmla="*/ 2147483647 h 1334"/>
                <a:gd name="T92" fmla="*/ 2147483647 w 1120"/>
                <a:gd name="T93" fmla="*/ 2147483647 h 1334"/>
                <a:gd name="T94" fmla="*/ 2147483647 w 1120"/>
                <a:gd name="T95" fmla="*/ 2147483647 h 1334"/>
                <a:gd name="T96" fmla="*/ 2147483647 w 1120"/>
                <a:gd name="T97" fmla="*/ 2147483647 h 1334"/>
                <a:gd name="T98" fmla="*/ 2147483647 w 1120"/>
                <a:gd name="T99" fmla="*/ 2147483647 h 1334"/>
                <a:gd name="T100" fmla="*/ 2147483647 w 1120"/>
                <a:gd name="T101" fmla="*/ 2147483647 h 1334"/>
                <a:gd name="T102" fmla="*/ 2147483647 w 1120"/>
                <a:gd name="T103" fmla="*/ 2147483647 h 1334"/>
                <a:gd name="T104" fmla="*/ 2147483647 w 1120"/>
                <a:gd name="T105" fmla="*/ 2147483647 h 1334"/>
                <a:gd name="T106" fmla="*/ 2147483647 w 1120"/>
                <a:gd name="T107" fmla="*/ 2147483647 h 1334"/>
                <a:gd name="T108" fmla="*/ 2147483647 w 1120"/>
                <a:gd name="T109" fmla="*/ 2147483647 h 1334"/>
                <a:gd name="T110" fmla="*/ 2147483647 w 1120"/>
                <a:gd name="T111" fmla="*/ 2147483647 h 1334"/>
                <a:gd name="T112" fmla="*/ 2147483647 w 1120"/>
                <a:gd name="T113" fmla="*/ 2147483647 h 1334"/>
                <a:gd name="T114" fmla="*/ 2147483647 w 1120"/>
                <a:gd name="T115" fmla="*/ 2147483647 h 1334"/>
                <a:gd name="T116" fmla="*/ 2147483647 w 1120"/>
                <a:gd name="T117" fmla="*/ 2147483647 h 13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0"/>
                <a:gd name="T178" fmla="*/ 0 h 1334"/>
                <a:gd name="T179" fmla="*/ 1120 w 1120"/>
                <a:gd name="T180" fmla="*/ 1334 h 13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20" h="1334">
                  <a:moveTo>
                    <a:pt x="30" y="1163"/>
                  </a:moveTo>
                  <a:lnTo>
                    <a:pt x="23" y="1145"/>
                  </a:lnTo>
                  <a:lnTo>
                    <a:pt x="14" y="1155"/>
                  </a:lnTo>
                  <a:lnTo>
                    <a:pt x="6" y="1139"/>
                  </a:lnTo>
                  <a:lnTo>
                    <a:pt x="29" y="1110"/>
                  </a:lnTo>
                  <a:lnTo>
                    <a:pt x="7" y="1118"/>
                  </a:lnTo>
                  <a:lnTo>
                    <a:pt x="0" y="1101"/>
                  </a:lnTo>
                  <a:lnTo>
                    <a:pt x="14" y="1106"/>
                  </a:lnTo>
                  <a:lnTo>
                    <a:pt x="13" y="1095"/>
                  </a:lnTo>
                  <a:lnTo>
                    <a:pt x="3" y="1095"/>
                  </a:lnTo>
                  <a:lnTo>
                    <a:pt x="4" y="1087"/>
                  </a:lnTo>
                  <a:lnTo>
                    <a:pt x="8" y="1077"/>
                  </a:lnTo>
                  <a:lnTo>
                    <a:pt x="71" y="1073"/>
                  </a:lnTo>
                  <a:lnTo>
                    <a:pt x="79" y="1079"/>
                  </a:lnTo>
                  <a:lnTo>
                    <a:pt x="81" y="1093"/>
                  </a:lnTo>
                  <a:lnTo>
                    <a:pt x="92" y="1087"/>
                  </a:lnTo>
                  <a:lnTo>
                    <a:pt x="87" y="1081"/>
                  </a:lnTo>
                  <a:lnTo>
                    <a:pt x="88" y="1073"/>
                  </a:lnTo>
                  <a:lnTo>
                    <a:pt x="110" y="1065"/>
                  </a:lnTo>
                  <a:lnTo>
                    <a:pt x="114" y="1060"/>
                  </a:lnTo>
                  <a:lnTo>
                    <a:pt x="100" y="1062"/>
                  </a:lnTo>
                  <a:lnTo>
                    <a:pt x="108" y="1034"/>
                  </a:lnTo>
                  <a:lnTo>
                    <a:pt x="99" y="1039"/>
                  </a:lnTo>
                  <a:lnTo>
                    <a:pt x="95" y="1057"/>
                  </a:lnTo>
                  <a:lnTo>
                    <a:pt x="86" y="1066"/>
                  </a:lnTo>
                  <a:lnTo>
                    <a:pt x="64" y="1063"/>
                  </a:lnTo>
                  <a:lnTo>
                    <a:pt x="65" y="1046"/>
                  </a:lnTo>
                  <a:lnTo>
                    <a:pt x="56" y="1067"/>
                  </a:lnTo>
                  <a:lnTo>
                    <a:pt x="5" y="1070"/>
                  </a:lnTo>
                  <a:lnTo>
                    <a:pt x="2" y="1048"/>
                  </a:lnTo>
                  <a:lnTo>
                    <a:pt x="12" y="1037"/>
                  </a:lnTo>
                  <a:lnTo>
                    <a:pt x="12" y="1027"/>
                  </a:lnTo>
                  <a:lnTo>
                    <a:pt x="1" y="1018"/>
                  </a:lnTo>
                  <a:lnTo>
                    <a:pt x="18" y="1005"/>
                  </a:lnTo>
                  <a:lnTo>
                    <a:pt x="42" y="1003"/>
                  </a:lnTo>
                  <a:lnTo>
                    <a:pt x="52" y="994"/>
                  </a:lnTo>
                  <a:lnTo>
                    <a:pt x="10" y="999"/>
                  </a:lnTo>
                  <a:lnTo>
                    <a:pt x="6" y="981"/>
                  </a:lnTo>
                  <a:lnTo>
                    <a:pt x="22" y="988"/>
                  </a:lnTo>
                  <a:lnTo>
                    <a:pt x="21" y="979"/>
                  </a:lnTo>
                  <a:lnTo>
                    <a:pt x="39" y="977"/>
                  </a:lnTo>
                  <a:lnTo>
                    <a:pt x="44" y="979"/>
                  </a:lnTo>
                  <a:lnTo>
                    <a:pt x="57" y="959"/>
                  </a:lnTo>
                  <a:lnTo>
                    <a:pt x="67" y="975"/>
                  </a:lnTo>
                  <a:lnTo>
                    <a:pt x="63" y="956"/>
                  </a:lnTo>
                  <a:lnTo>
                    <a:pt x="69" y="948"/>
                  </a:lnTo>
                  <a:lnTo>
                    <a:pt x="59" y="951"/>
                  </a:lnTo>
                  <a:lnTo>
                    <a:pt x="63" y="945"/>
                  </a:lnTo>
                  <a:lnTo>
                    <a:pt x="58" y="941"/>
                  </a:lnTo>
                  <a:lnTo>
                    <a:pt x="108" y="940"/>
                  </a:lnTo>
                  <a:lnTo>
                    <a:pt x="106" y="934"/>
                  </a:lnTo>
                  <a:lnTo>
                    <a:pt x="111" y="928"/>
                  </a:lnTo>
                  <a:lnTo>
                    <a:pt x="87" y="922"/>
                  </a:lnTo>
                  <a:lnTo>
                    <a:pt x="91" y="917"/>
                  </a:lnTo>
                  <a:lnTo>
                    <a:pt x="83" y="912"/>
                  </a:lnTo>
                  <a:lnTo>
                    <a:pt x="92" y="901"/>
                  </a:lnTo>
                  <a:lnTo>
                    <a:pt x="106" y="906"/>
                  </a:lnTo>
                  <a:lnTo>
                    <a:pt x="110" y="897"/>
                  </a:lnTo>
                  <a:lnTo>
                    <a:pt x="112" y="887"/>
                  </a:lnTo>
                  <a:lnTo>
                    <a:pt x="130" y="881"/>
                  </a:lnTo>
                  <a:lnTo>
                    <a:pt x="133" y="873"/>
                  </a:lnTo>
                  <a:lnTo>
                    <a:pt x="144" y="878"/>
                  </a:lnTo>
                  <a:lnTo>
                    <a:pt x="144" y="868"/>
                  </a:lnTo>
                  <a:lnTo>
                    <a:pt x="156" y="857"/>
                  </a:lnTo>
                  <a:lnTo>
                    <a:pt x="178" y="848"/>
                  </a:lnTo>
                  <a:lnTo>
                    <a:pt x="182" y="864"/>
                  </a:lnTo>
                  <a:lnTo>
                    <a:pt x="191" y="859"/>
                  </a:lnTo>
                  <a:lnTo>
                    <a:pt x="186" y="846"/>
                  </a:lnTo>
                  <a:lnTo>
                    <a:pt x="203" y="836"/>
                  </a:lnTo>
                  <a:lnTo>
                    <a:pt x="213" y="859"/>
                  </a:lnTo>
                  <a:lnTo>
                    <a:pt x="220" y="860"/>
                  </a:lnTo>
                  <a:lnTo>
                    <a:pt x="224" y="851"/>
                  </a:lnTo>
                  <a:lnTo>
                    <a:pt x="246" y="846"/>
                  </a:lnTo>
                  <a:lnTo>
                    <a:pt x="242" y="837"/>
                  </a:lnTo>
                  <a:lnTo>
                    <a:pt x="273" y="819"/>
                  </a:lnTo>
                  <a:lnTo>
                    <a:pt x="276" y="814"/>
                  </a:lnTo>
                  <a:lnTo>
                    <a:pt x="273" y="812"/>
                  </a:lnTo>
                  <a:lnTo>
                    <a:pt x="222" y="845"/>
                  </a:lnTo>
                  <a:lnTo>
                    <a:pt x="212" y="834"/>
                  </a:lnTo>
                  <a:lnTo>
                    <a:pt x="216" y="822"/>
                  </a:lnTo>
                  <a:lnTo>
                    <a:pt x="207" y="826"/>
                  </a:lnTo>
                  <a:lnTo>
                    <a:pt x="203" y="814"/>
                  </a:lnTo>
                  <a:lnTo>
                    <a:pt x="221" y="805"/>
                  </a:lnTo>
                  <a:lnTo>
                    <a:pt x="220" y="788"/>
                  </a:lnTo>
                  <a:lnTo>
                    <a:pt x="255" y="742"/>
                  </a:lnTo>
                  <a:lnTo>
                    <a:pt x="276" y="749"/>
                  </a:lnTo>
                  <a:lnTo>
                    <a:pt x="277" y="726"/>
                  </a:lnTo>
                  <a:lnTo>
                    <a:pt x="273" y="725"/>
                  </a:lnTo>
                  <a:lnTo>
                    <a:pt x="276" y="709"/>
                  </a:lnTo>
                  <a:lnTo>
                    <a:pt x="296" y="687"/>
                  </a:lnTo>
                  <a:lnTo>
                    <a:pt x="319" y="683"/>
                  </a:lnTo>
                  <a:lnTo>
                    <a:pt x="317" y="665"/>
                  </a:lnTo>
                  <a:lnTo>
                    <a:pt x="305" y="672"/>
                  </a:lnTo>
                  <a:lnTo>
                    <a:pt x="315" y="657"/>
                  </a:lnTo>
                  <a:lnTo>
                    <a:pt x="314" y="644"/>
                  </a:lnTo>
                  <a:lnTo>
                    <a:pt x="330" y="663"/>
                  </a:lnTo>
                  <a:lnTo>
                    <a:pt x="321" y="635"/>
                  </a:lnTo>
                  <a:lnTo>
                    <a:pt x="332" y="632"/>
                  </a:lnTo>
                  <a:lnTo>
                    <a:pt x="335" y="606"/>
                  </a:lnTo>
                  <a:lnTo>
                    <a:pt x="350" y="612"/>
                  </a:lnTo>
                  <a:lnTo>
                    <a:pt x="345" y="594"/>
                  </a:lnTo>
                  <a:lnTo>
                    <a:pt x="324" y="605"/>
                  </a:lnTo>
                  <a:lnTo>
                    <a:pt x="346" y="572"/>
                  </a:lnTo>
                  <a:lnTo>
                    <a:pt x="363" y="569"/>
                  </a:lnTo>
                  <a:lnTo>
                    <a:pt x="365" y="562"/>
                  </a:lnTo>
                  <a:lnTo>
                    <a:pt x="357" y="564"/>
                  </a:lnTo>
                  <a:lnTo>
                    <a:pt x="351" y="546"/>
                  </a:lnTo>
                  <a:lnTo>
                    <a:pt x="366" y="540"/>
                  </a:lnTo>
                  <a:lnTo>
                    <a:pt x="355" y="538"/>
                  </a:lnTo>
                  <a:lnTo>
                    <a:pt x="359" y="524"/>
                  </a:lnTo>
                  <a:lnTo>
                    <a:pt x="379" y="509"/>
                  </a:lnTo>
                  <a:lnTo>
                    <a:pt x="374" y="502"/>
                  </a:lnTo>
                  <a:lnTo>
                    <a:pt x="381" y="493"/>
                  </a:lnTo>
                  <a:lnTo>
                    <a:pt x="396" y="491"/>
                  </a:lnTo>
                  <a:lnTo>
                    <a:pt x="407" y="470"/>
                  </a:lnTo>
                  <a:lnTo>
                    <a:pt x="403" y="457"/>
                  </a:lnTo>
                  <a:lnTo>
                    <a:pt x="415" y="435"/>
                  </a:lnTo>
                  <a:lnTo>
                    <a:pt x="430" y="427"/>
                  </a:lnTo>
                  <a:lnTo>
                    <a:pt x="449" y="439"/>
                  </a:lnTo>
                  <a:lnTo>
                    <a:pt x="464" y="424"/>
                  </a:lnTo>
                  <a:lnTo>
                    <a:pt x="441" y="424"/>
                  </a:lnTo>
                  <a:lnTo>
                    <a:pt x="455" y="411"/>
                  </a:lnTo>
                  <a:lnTo>
                    <a:pt x="452" y="407"/>
                  </a:lnTo>
                  <a:lnTo>
                    <a:pt x="457" y="404"/>
                  </a:lnTo>
                  <a:lnTo>
                    <a:pt x="450" y="391"/>
                  </a:lnTo>
                  <a:lnTo>
                    <a:pt x="464" y="379"/>
                  </a:lnTo>
                  <a:lnTo>
                    <a:pt x="458" y="371"/>
                  </a:lnTo>
                  <a:lnTo>
                    <a:pt x="469" y="360"/>
                  </a:lnTo>
                  <a:lnTo>
                    <a:pt x="474" y="358"/>
                  </a:lnTo>
                  <a:lnTo>
                    <a:pt x="479" y="388"/>
                  </a:lnTo>
                  <a:lnTo>
                    <a:pt x="492" y="381"/>
                  </a:lnTo>
                  <a:lnTo>
                    <a:pt x="487" y="361"/>
                  </a:lnTo>
                  <a:lnTo>
                    <a:pt x="492" y="355"/>
                  </a:lnTo>
                  <a:lnTo>
                    <a:pt x="483" y="342"/>
                  </a:lnTo>
                  <a:lnTo>
                    <a:pt x="487" y="336"/>
                  </a:lnTo>
                  <a:lnTo>
                    <a:pt x="498" y="330"/>
                  </a:lnTo>
                  <a:lnTo>
                    <a:pt x="529" y="343"/>
                  </a:lnTo>
                  <a:lnTo>
                    <a:pt x="534" y="327"/>
                  </a:lnTo>
                  <a:lnTo>
                    <a:pt x="496" y="319"/>
                  </a:lnTo>
                  <a:lnTo>
                    <a:pt x="505" y="305"/>
                  </a:lnTo>
                  <a:lnTo>
                    <a:pt x="534" y="300"/>
                  </a:lnTo>
                  <a:lnTo>
                    <a:pt x="538" y="296"/>
                  </a:lnTo>
                  <a:lnTo>
                    <a:pt x="533" y="289"/>
                  </a:lnTo>
                  <a:lnTo>
                    <a:pt x="546" y="291"/>
                  </a:lnTo>
                  <a:lnTo>
                    <a:pt x="543" y="278"/>
                  </a:lnTo>
                  <a:lnTo>
                    <a:pt x="541" y="274"/>
                  </a:lnTo>
                  <a:lnTo>
                    <a:pt x="540" y="260"/>
                  </a:lnTo>
                  <a:lnTo>
                    <a:pt x="566" y="240"/>
                  </a:lnTo>
                  <a:lnTo>
                    <a:pt x="561" y="227"/>
                  </a:lnTo>
                  <a:lnTo>
                    <a:pt x="569" y="204"/>
                  </a:lnTo>
                  <a:lnTo>
                    <a:pt x="573" y="209"/>
                  </a:lnTo>
                  <a:lnTo>
                    <a:pt x="571" y="223"/>
                  </a:lnTo>
                  <a:lnTo>
                    <a:pt x="588" y="230"/>
                  </a:lnTo>
                  <a:lnTo>
                    <a:pt x="596" y="222"/>
                  </a:lnTo>
                  <a:lnTo>
                    <a:pt x="580" y="200"/>
                  </a:lnTo>
                  <a:lnTo>
                    <a:pt x="590" y="198"/>
                  </a:lnTo>
                  <a:lnTo>
                    <a:pt x="623" y="237"/>
                  </a:lnTo>
                  <a:lnTo>
                    <a:pt x="619" y="218"/>
                  </a:lnTo>
                  <a:lnTo>
                    <a:pt x="604" y="204"/>
                  </a:lnTo>
                  <a:lnTo>
                    <a:pt x="603" y="185"/>
                  </a:lnTo>
                  <a:lnTo>
                    <a:pt x="610" y="171"/>
                  </a:lnTo>
                  <a:lnTo>
                    <a:pt x="630" y="168"/>
                  </a:lnTo>
                  <a:lnTo>
                    <a:pt x="631" y="208"/>
                  </a:lnTo>
                  <a:lnTo>
                    <a:pt x="638" y="175"/>
                  </a:lnTo>
                  <a:lnTo>
                    <a:pt x="658" y="149"/>
                  </a:lnTo>
                  <a:lnTo>
                    <a:pt x="658" y="198"/>
                  </a:lnTo>
                  <a:lnTo>
                    <a:pt x="649" y="223"/>
                  </a:lnTo>
                  <a:lnTo>
                    <a:pt x="672" y="189"/>
                  </a:lnTo>
                  <a:lnTo>
                    <a:pt x="669" y="173"/>
                  </a:lnTo>
                  <a:lnTo>
                    <a:pt x="676" y="160"/>
                  </a:lnTo>
                  <a:lnTo>
                    <a:pt x="690" y="149"/>
                  </a:lnTo>
                  <a:lnTo>
                    <a:pt x="686" y="157"/>
                  </a:lnTo>
                  <a:lnTo>
                    <a:pt x="691" y="167"/>
                  </a:lnTo>
                  <a:lnTo>
                    <a:pt x="704" y="153"/>
                  </a:lnTo>
                  <a:lnTo>
                    <a:pt x="701" y="137"/>
                  </a:lnTo>
                  <a:lnTo>
                    <a:pt x="733" y="177"/>
                  </a:lnTo>
                  <a:lnTo>
                    <a:pt x="731" y="131"/>
                  </a:lnTo>
                  <a:lnTo>
                    <a:pt x="713" y="124"/>
                  </a:lnTo>
                  <a:lnTo>
                    <a:pt x="713" y="104"/>
                  </a:lnTo>
                  <a:lnTo>
                    <a:pt x="724" y="122"/>
                  </a:lnTo>
                  <a:lnTo>
                    <a:pt x="728" y="104"/>
                  </a:lnTo>
                  <a:lnTo>
                    <a:pt x="748" y="125"/>
                  </a:lnTo>
                  <a:lnTo>
                    <a:pt x="752" y="124"/>
                  </a:lnTo>
                  <a:lnTo>
                    <a:pt x="750" y="114"/>
                  </a:lnTo>
                  <a:lnTo>
                    <a:pt x="773" y="118"/>
                  </a:lnTo>
                  <a:lnTo>
                    <a:pt x="769" y="127"/>
                  </a:lnTo>
                  <a:lnTo>
                    <a:pt x="785" y="144"/>
                  </a:lnTo>
                  <a:lnTo>
                    <a:pt x="787" y="113"/>
                  </a:lnTo>
                  <a:lnTo>
                    <a:pt x="812" y="82"/>
                  </a:lnTo>
                  <a:lnTo>
                    <a:pt x="831" y="82"/>
                  </a:lnTo>
                  <a:lnTo>
                    <a:pt x="828" y="71"/>
                  </a:lnTo>
                  <a:lnTo>
                    <a:pt x="844" y="56"/>
                  </a:lnTo>
                  <a:lnTo>
                    <a:pt x="832" y="36"/>
                  </a:lnTo>
                  <a:lnTo>
                    <a:pt x="843" y="40"/>
                  </a:lnTo>
                  <a:lnTo>
                    <a:pt x="844" y="20"/>
                  </a:lnTo>
                  <a:lnTo>
                    <a:pt x="860" y="15"/>
                  </a:lnTo>
                  <a:lnTo>
                    <a:pt x="870" y="40"/>
                  </a:lnTo>
                  <a:lnTo>
                    <a:pt x="896" y="34"/>
                  </a:lnTo>
                  <a:lnTo>
                    <a:pt x="868" y="82"/>
                  </a:lnTo>
                  <a:lnTo>
                    <a:pt x="867" y="107"/>
                  </a:lnTo>
                  <a:lnTo>
                    <a:pt x="857" y="125"/>
                  </a:lnTo>
                  <a:lnTo>
                    <a:pt x="858" y="135"/>
                  </a:lnTo>
                  <a:lnTo>
                    <a:pt x="865" y="131"/>
                  </a:lnTo>
                  <a:lnTo>
                    <a:pt x="928" y="21"/>
                  </a:lnTo>
                  <a:lnTo>
                    <a:pt x="933" y="49"/>
                  </a:lnTo>
                  <a:lnTo>
                    <a:pt x="925" y="56"/>
                  </a:lnTo>
                  <a:lnTo>
                    <a:pt x="933" y="67"/>
                  </a:lnTo>
                  <a:lnTo>
                    <a:pt x="928" y="93"/>
                  </a:lnTo>
                  <a:lnTo>
                    <a:pt x="949" y="81"/>
                  </a:lnTo>
                  <a:lnTo>
                    <a:pt x="949" y="70"/>
                  </a:lnTo>
                  <a:lnTo>
                    <a:pt x="957" y="61"/>
                  </a:lnTo>
                  <a:lnTo>
                    <a:pt x="973" y="0"/>
                  </a:lnTo>
                  <a:lnTo>
                    <a:pt x="1010" y="15"/>
                  </a:lnTo>
                  <a:lnTo>
                    <a:pt x="1004" y="39"/>
                  </a:lnTo>
                  <a:lnTo>
                    <a:pt x="984" y="43"/>
                  </a:lnTo>
                  <a:lnTo>
                    <a:pt x="991" y="52"/>
                  </a:lnTo>
                  <a:lnTo>
                    <a:pt x="980" y="61"/>
                  </a:lnTo>
                  <a:lnTo>
                    <a:pt x="1002" y="60"/>
                  </a:lnTo>
                  <a:lnTo>
                    <a:pt x="989" y="82"/>
                  </a:lnTo>
                  <a:lnTo>
                    <a:pt x="1015" y="81"/>
                  </a:lnTo>
                  <a:lnTo>
                    <a:pt x="1015" y="45"/>
                  </a:lnTo>
                  <a:lnTo>
                    <a:pt x="1041" y="31"/>
                  </a:lnTo>
                  <a:lnTo>
                    <a:pt x="1047" y="55"/>
                  </a:lnTo>
                  <a:lnTo>
                    <a:pt x="1075" y="49"/>
                  </a:lnTo>
                  <a:lnTo>
                    <a:pt x="1091" y="64"/>
                  </a:lnTo>
                  <a:lnTo>
                    <a:pt x="1084" y="68"/>
                  </a:lnTo>
                  <a:lnTo>
                    <a:pt x="1118" y="87"/>
                  </a:lnTo>
                  <a:lnTo>
                    <a:pt x="1120" y="98"/>
                  </a:lnTo>
                  <a:lnTo>
                    <a:pt x="1077" y="130"/>
                  </a:lnTo>
                  <a:lnTo>
                    <a:pt x="1019" y="123"/>
                  </a:lnTo>
                  <a:lnTo>
                    <a:pt x="1073" y="157"/>
                  </a:lnTo>
                  <a:lnTo>
                    <a:pt x="1057" y="183"/>
                  </a:lnTo>
                  <a:lnTo>
                    <a:pt x="1085" y="177"/>
                  </a:lnTo>
                  <a:lnTo>
                    <a:pt x="1115" y="169"/>
                  </a:lnTo>
                  <a:lnTo>
                    <a:pt x="1111" y="195"/>
                  </a:lnTo>
                  <a:lnTo>
                    <a:pt x="1085" y="187"/>
                  </a:lnTo>
                  <a:lnTo>
                    <a:pt x="1080" y="211"/>
                  </a:lnTo>
                  <a:lnTo>
                    <a:pt x="1049" y="231"/>
                  </a:lnTo>
                  <a:lnTo>
                    <a:pt x="1037" y="254"/>
                  </a:lnTo>
                  <a:lnTo>
                    <a:pt x="1029" y="240"/>
                  </a:lnTo>
                  <a:lnTo>
                    <a:pt x="1047" y="211"/>
                  </a:lnTo>
                  <a:lnTo>
                    <a:pt x="1041" y="177"/>
                  </a:lnTo>
                  <a:lnTo>
                    <a:pt x="992" y="131"/>
                  </a:lnTo>
                  <a:lnTo>
                    <a:pt x="949" y="149"/>
                  </a:lnTo>
                  <a:lnTo>
                    <a:pt x="906" y="167"/>
                  </a:lnTo>
                  <a:lnTo>
                    <a:pt x="896" y="192"/>
                  </a:lnTo>
                  <a:lnTo>
                    <a:pt x="893" y="263"/>
                  </a:lnTo>
                  <a:lnTo>
                    <a:pt x="844" y="300"/>
                  </a:lnTo>
                  <a:lnTo>
                    <a:pt x="820" y="277"/>
                  </a:lnTo>
                  <a:lnTo>
                    <a:pt x="793" y="298"/>
                  </a:lnTo>
                  <a:lnTo>
                    <a:pt x="753" y="290"/>
                  </a:lnTo>
                  <a:lnTo>
                    <a:pt x="721" y="235"/>
                  </a:lnTo>
                  <a:lnTo>
                    <a:pt x="701" y="221"/>
                  </a:lnTo>
                  <a:lnTo>
                    <a:pt x="691" y="226"/>
                  </a:lnTo>
                  <a:lnTo>
                    <a:pt x="694" y="246"/>
                  </a:lnTo>
                  <a:lnTo>
                    <a:pt x="670" y="254"/>
                  </a:lnTo>
                  <a:lnTo>
                    <a:pt x="648" y="256"/>
                  </a:lnTo>
                  <a:lnTo>
                    <a:pt x="654" y="275"/>
                  </a:lnTo>
                  <a:lnTo>
                    <a:pt x="642" y="308"/>
                  </a:lnTo>
                  <a:lnTo>
                    <a:pt x="650" y="323"/>
                  </a:lnTo>
                  <a:lnTo>
                    <a:pt x="645" y="329"/>
                  </a:lnTo>
                  <a:lnTo>
                    <a:pt x="573" y="318"/>
                  </a:lnTo>
                  <a:lnTo>
                    <a:pt x="565" y="328"/>
                  </a:lnTo>
                  <a:lnTo>
                    <a:pt x="565" y="353"/>
                  </a:lnTo>
                  <a:lnTo>
                    <a:pt x="554" y="384"/>
                  </a:lnTo>
                  <a:lnTo>
                    <a:pt x="533" y="366"/>
                  </a:lnTo>
                  <a:lnTo>
                    <a:pt x="502" y="394"/>
                  </a:lnTo>
                  <a:lnTo>
                    <a:pt x="498" y="416"/>
                  </a:lnTo>
                  <a:lnTo>
                    <a:pt x="479" y="450"/>
                  </a:lnTo>
                  <a:lnTo>
                    <a:pt x="490" y="468"/>
                  </a:lnTo>
                  <a:lnTo>
                    <a:pt x="489" y="484"/>
                  </a:lnTo>
                  <a:lnTo>
                    <a:pt x="450" y="539"/>
                  </a:lnTo>
                  <a:lnTo>
                    <a:pt x="440" y="577"/>
                  </a:lnTo>
                  <a:lnTo>
                    <a:pt x="411" y="592"/>
                  </a:lnTo>
                  <a:lnTo>
                    <a:pt x="411" y="642"/>
                  </a:lnTo>
                  <a:lnTo>
                    <a:pt x="404" y="682"/>
                  </a:lnTo>
                  <a:lnTo>
                    <a:pt x="376" y="736"/>
                  </a:lnTo>
                  <a:lnTo>
                    <a:pt x="393" y="765"/>
                  </a:lnTo>
                  <a:lnTo>
                    <a:pt x="391" y="789"/>
                  </a:lnTo>
                  <a:lnTo>
                    <a:pt x="384" y="800"/>
                  </a:lnTo>
                  <a:lnTo>
                    <a:pt x="342" y="801"/>
                  </a:lnTo>
                  <a:lnTo>
                    <a:pt x="309" y="833"/>
                  </a:lnTo>
                  <a:lnTo>
                    <a:pt x="301" y="860"/>
                  </a:lnTo>
                  <a:lnTo>
                    <a:pt x="313" y="890"/>
                  </a:lnTo>
                  <a:lnTo>
                    <a:pt x="302" y="936"/>
                  </a:lnTo>
                  <a:lnTo>
                    <a:pt x="307" y="961"/>
                  </a:lnTo>
                  <a:lnTo>
                    <a:pt x="307" y="1011"/>
                  </a:lnTo>
                  <a:lnTo>
                    <a:pt x="330" y="1034"/>
                  </a:lnTo>
                  <a:lnTo>
                    <a:pt x="333" y="1051"/>
                  </a:lnTo>
                  <a:lnTo>
                    <a:pt x="328" y="1065"/>
                  </a:lnTo>
                  <a:lnTo>
                    <a:pt x="306" y="1084"/>
                  </a:lnTo>
                  <a:lnTo>
                    <a:pt x="314" y="1094"/>
                  </a:lnTo>
                  <a:lnTo>
                    <a:pt x="321" y="1119"/>
                  </a:lnTo>
                  <a:lnTo>
                    <a:pt x="315" y="1142"/>
                  </a:lnTo>
                  <a:lnTo>
                    <a:pt x="317" y="1162"/>
                  </a:lnTo>
                  <a:lnTo>
                    <a:pt x="292" y="1178"/>
                  </a:lnTo>
                  <a:lnTo>
                    <a:pt x="292" y="1189"/>
                  </a:lnTo>
                  <a:lnTo>
                    <a:pt x="281" y="1205"/>
                  </a:lnTo>
                  <a:lnTo>
                    <a:pt x="285" y="1228"/>
                  </a:lnTo>
                  <a:lnTo>
                    <a:pt x="279" y="1258"/>
                  </a:lnTo>
                  <a:lnTo>
                    <a:pt x="273" y="1262"/>
                  </a:lnTo>
                  <a:lnTo>
                    <a:pt x="270" y="1255"/>
                  </a:lnTo>
                  <a:lnTo>
                    <a:pt x="267" y="1266"/>
                  </a:lnTo>
                  <a:lnTo>
                    <a:pt x="265" y="1245"/>
                  </a:lnTo>
                  <a:lnTo>
                    <a:pt x="258" y="1240"/>
                  </a:lnTo>
                  <a:lnTo>
                    <a:pt x="244" y="1235"/>
                  </a:lnTo>
                  <a:lnTo>
                    <a:pt x="238" y="1194"/>
                  </a:lnTo>
                  <a:lnTo>
                    <a:pt x="244" y="1181"/>
                  </a:lnTo>
                  <a:lnTo>
                    <a:pt x="240" y="1178"/>
                  </a:lnTo>
                  <a:lnTo>
                    <a:pt x="232" y="1183"/>
                  </a:lnTo>
                  <a:lnTo>
                    <a:pt x="236" y="1207"/>
                  </a:lnTo>
                  <a:lnTo>
                    <a:pt x="231" y="1208"/>
                  </a:lnTo>
                  <a:lnTo>
                    <a:pt x="223" y="1193"/>
                  </a:lnTo>
                  <a:lnTo>
                    <a:pt x="222" y="1208"/>
                  </a:lnTo>
                  <a:lnTo>
                    <a:pt x="232" y="1229"/>
                  </a:lnTo>
                  <a:lnTo>
                    <a:pt x="221" y="1249"/>
                  </a:lnTo>
                  <a:lnTo>
                    <a:pt x="195" y="1246"/>
                  </a:lnTo>
                  <a:lnTo>
                    <a:pt x="197" y="1253"/>
                  </a:lnTo>
                  <a:lnTo>
                    <a:pt x="175" y="1284"/>
                  </a:lnTo>
                  <a:lnTo>
                    <a:pt x="134" y="1321"/>
                  </a:lnTo>
                  <a:lnTo>
                    <a:pt x="128" y="1312"/>
                  </a:lnTo>
                  <a:lnTo>
                    <a:pt x="114" y="1330"/>
                  </a:lnTo>
                  <a:lnTo>
                    <a:pt x="105" y="1334"/>
                  </a:lnTo>
                  <a:lnTo>
                    <a:pt x="92" y="1329"/>
                  </a:lnTo>
                  <a:lnTo>
                    <a:pt x="98" y="1323"/>
                  </a:lnTo>
                  <a:lnTo>
                    <a:pt x="85" y="1322"/>
                  </a:lnTo>
                  <a:lnTo>
                    <a:pt x="83" y="1329"/>
                  </a:lnTo>
                  <a:lnTo>
                    <a:pt x="70" y="1328"/>
                  </a:lnTo>
                  <a:lnTo>
                    <a:pt x="72" y="1305"/>
                  </a:lnTo>
                  <a:lnTo>
                    <a:pt x="67" y="1315"/>
                  </a:lnTo>
                  <a:lnTo>
                    <a:pt x="57" y="1314"/>
                  </a:lnTo>
                  <a:lnTo>
                    <a:pt x="20" y="1278"/>
                  </a:lnTo>
                  <a:lnTo>
                    <a:pt x="25" y="1253"/>
                  </a:lnTo>
                  <a:lnTo>
                    <a:pt x="40" y="1258"/>
                  </a:lnTo>
                  <a:lnTo>
                    <a:pt x="39" y="1249"/>
                  </a:lnTo>
                  <a:lnTo>
                    <a:pt x="50" y="1233"/>
                  </a:lnTo>
                  <a:lnTo>
                    <a:pt x="50" y="1224"/>
                  </a:lnTo>
                  <a:lnTo>
                    <a:pt x="46" y="1225"/>
                  </a:lnTo>
                  <a:lnTo>
                    <a:pt x="57" y="1210"/>
                  </a:lnTo>
                  <a:lnTo>
                    <a:pt x="14" y="1227"/>
                  </a:lnTo>
                  <a:lnTo>
                    <a:pt x="10" y="1214"/>
                  </a:lnTo>
                  <a:lnTo>
                    <a:pt x="21" y="1198"/>
                  </a:lnTo>
                  <a:lnTo>
                    <a:pt x="37" y="1198"/>
                  </a:lnTo>
                  <a:lnTo>
                    <a:pt x="57" y="1184"/>
                  </a:lnTo>
                  <a:lnTo>
                    <a:pt x="30" y="1182"/>
                  </a:lnTo>
                  <a:lnTo>
                    <a:pt x="55" y="1157"/>
                  </a:lnTo>
                  <a:lnTo>
                    <a:pt x="50" y="1151"/>
                  </a:lnTo>
                  <a:lnTo>
                    <a:pt x="64" y="1131"/>
                  </a:lnTo>
                  <a:lnTo>
                    <a:pt x="70" y="1140"/>
                  </a:lnTo>
                  <a:lnTo>
                    <a:pt x="73" y="1127"/>
                  </a:lnTo>
                  <a:lnTo>
                    <a:pt x="85" y="1121"/>
                  </a:lnTo>
                  <a:lnTo>
                    <a:pt x="64" y="1116"/>
                  </a:lnTo>
                  <a:lnTo>
                    <a:pt x="57" y="1122"/>
                  </a:lnTo>
                  <a:lnTo>
                    <a:pt x="30" y="1163"/>
                  </a:lnTo>
                  <a:close/>
                </a:path>
              </a:pathLst>
            </a:custGeom>
            <a:grpFill/>
            <a:ln w="6350">
              <a:solidFill>
                <a:schemeClr val="tx2"/>
              </a:solidFill>
              <a:round/>
              <a:headEnd/>
              <a:tailEnd/>
            </a:ln>
          </p:spPr>
          <p:txBody>
            <a:bodyPr/>
            <a:lstStyle/>
            <a:p>
              <a:endParaRPr lang="en-US"/>
            </a:p>
          </p:txBody>
        </p:sp>
        <p:sp>
          <p:nvSpPr>
            <p:cNvPr id="688" name="Freeform 1427"/>
            <p:cNvSpPr>
              <a:spLocks/>
            </p:cNvSpPr>
            <p:nvPr/>
          </p:nvSpPr>
          <p:spPr bwMode="auto">
            <a:xfrm>
              <a:off x="5542247" y="3416739"/>
              <a:ext cx="68270" cy="69787"/>
            </a:xfrm>
            <a:custGeom>
              <a:avLst/>
              <a:gdLst>
                <a:gd name="T0" fmla="*/ 2147483647 w 133"/>
                <a:gd name="T1" fmla="*/ 2147483647 h 140"/>
                <a:gd name="T2" fmla="*/ 2147483647 w 133"/>
                <a:gd name="T3" fmla="*/ 2147483647 h 140"/>
                <a:gd name="T4" fmla="*/ 2147483647 w 133"/>
                <a:gd name="T5" fmla="*/ 2147483647 h 140"/>
                <a:gd name="T6" fmla="*/ 2147483647 w 133"/>
                <a:gd name="T7" fmla="*/ 2147483647 h 140"/>
                <a:gd name="T8" fmla="*/ 2147483647 w 133"/>
                <a:gd name="T9" fmla="*/ 2147483647 h 140"/>
                <a:gd name="T10" fmla="*/ 2147483647 w 133"/>
                <a:gd name="T11" fmla="*/ 2147483647 h 140"/>
                <a:gd name="T12" fmla="*/ 2147483647 w 133"/>
                <a:gd name="T13" fmla="*/ 2147483647 h 140"/>
                <a:gd name="T14" fmla="*/ 2147483647 w 133"/>
                <a:gd name="T15" fmla="*/ 2147483647 h 140"/>
                <a:gd name="T16" fmla="*/ 2147483647 w 133"/>
                <a:gd name="T17" fmla="*/ 2147483647 h 140"/>
                <a:gd name="T18" fmla="*/ 2147483647 w 133"/>
                <a:gd name="T19" fmla="*/ 2147483647 h 140"/>
                <a:gd name="T20" fmla="*/ 2147483647 w 133"/>
                <a:gd name="T21" fmla="*/ 2147483647 h 140"/>
                <a:gd name="T22" fmla="*/ 2147483647 w 133"/>
                <a:gd name="T23" fmla="*/ 2147483647 h 140"/>
                <a:gd name="T24" fmla="*/ 2147483647 w 133"/>
                <a:gd name="T25" fmla="*/ 2147483647 h 140"/>
                <a:gd name="T26" fmla="*/ 2147483647 w 133"/>
                <a:gd name="T27" fmla="*/ 2147483647 h 140"/>
                <a:gd name="T28" fmla="*/ 2147483647 w 133"/>
                <a:gd name="T29" fmla="*/ 2147483647 h 140"/>
                <a:gd name="T30" fmla="*/ 2147483647 w 133"/>
                <a:gd name="T31" fmla="*/ 2147483647 h 140"/>
                <a:gd name="T32" fmla="*/ 2147483647 w 133"/>
                <a:gd name="T33" fmla="*/ 2147483647 h 140"/>
                <a:gd name="T34" fmla="*/ 2147483647 w 133"/>
                <a:gd name="T35" fmla="*/ 2147483647 h 140"/>
                <a:gd name="T36" fmla="*/ 2147483647 w 133"/>
                <a:gd name="T37" fmla="*/ 2147483647 h 140"/>
                <a:gd name="T38" fmla="*/ 2147483647 w 133"/>
                <a:gd name="T39" fmla="*/ 2147483647 h 140"/>
                <a:gd name="T40" fmla="*/ 2147483647 w 133"/>
                <a:gd name="T41" fmla="*/ 2147483647 h 140"/>
                <a:gd name="T42" fmla="*/ 2147483647 w 133"/>
                <a:gd name="T43" fmla="*/ 0 h 140"/>
                <a:gd name="T44" fmla="*/ 2147483647 w 133"/>
                <a:gd name="T45" fmla="*/ 2147483647 h 140"/>
                <a:gd name="T46" fmla="*/ 0 w 133"/>
                <a:gd name="T47" fmla="*/ 2147483647 h 140"/>
                <a:gd name="T48" fmla="*/ 2147483647 w 133"/>
                <a:gd name="T49" fmla="*/ 2147483647 h 140"/>
                <a:gd name="T50" fmla="*/ 2147483647 w 133"/>
                <a:gd name="T51" fmla="*/ 2147483647 h 140"/>
                <a:gd name="T52" fmla="*/ 2147483647 w 133"/>
                <a:gd name="T53" fmla="*/ 2147483647 h 140"/>
                <a:gd name="T54" fmla="*/ 2147483647 w 133"/>
                <a:gd name="T55" fmla="*/ 2147483647 h 140"/>
                <a:gd name="T56" fmla="*/ 2147483647 w 133"/>
                <a:gd name="T57" fmla="*/ 2147483647 h 140"/>
                <a:gd name="T58" fmla="*/ 2147483647 w 133"/>
                <a:gd name="T59" fmla="*/ 2147483647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3"/>
                <a:gd name="T91" fmla="*/ 0 h 140"/>
                <a:gd name="T92" fmla="*/ 133 w 133"/>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3" h="140">
                  <a:moveTo>
                    <a:pt x="59" y="94"/>
                  </a:moveTo>
                  <a:lnTo>
                    <a:pt x="68" y="91"/>
                  </a:lnTo>
                  <a:lnTo>
                    <a:pt x="83" y="101"/>
                  </a:lnTo>
                  <a:lnTo>
                    <a:pt x="100" y="101"/>
                  </a:lnTo>
                  <a:lnTo>
                    <a:pt x="109" y="120"/>
                  </a:lnTo>
                  <a:lnTo>
                    <a:pt x="111" y="138"/>
                  </a:lnTo>
                  <a:lnTo>
                    <a:pt x="116" y="140"/>
                  </a:lnTo>
                  <a:lnTo>
                    <a:pt x="133" y="138"/>
                  </a:lnTo>
                  <a:lnTo>
                    <a:pt x="125" y="122"/>
                  </a:lnTo>
                  <a:lnTo>
                    <a:pt x="132" y="121"/>
                  </a:lnTo>
                  <a:lnTo>
                    <a:pt x="133" y="114"/>
                  </a:lnTo>
                  <a:lnTo>
                    <a:pt x="127" y="111"/>
                  </a:lnTo>
                  <a:lnTo>
                    <a:pt x="132" y="98"/>
                  </a:lnTo>
                  <a:lnTo>
                    <a:pt x="119" y="97"/>
                  </a:lnTo>
                  <a:lnTo>
                    <a:pt x="100" y="80"/>
                  </a:lnTo>
                  <a:lnTo>
                    <a:pt x="98" y="74"/>
                  </a:lnTo>
                  <a:lnTo>
                    <a:pt x="105" y="74"/>
                  </a:lnTo>
                  <a:lnTo>
                    <a:pt x="106" y="60"/>
                  </a:lnTo>
                  <a:lnTo>
                    <a:pt x="87" y="44"/>
                  </a:lnTo>
                  <a:lnTo>
                    <a:pt x="88" y="20"/>
                  </a:lnTo>
                  <a:lnTo>
                    <a:pt x="77" y="16"/>
                  </a:lnTo>
                  <a:lnTo>
                    <a:pt x="67" y="0"/>
                  </a:lnTo>
                  <a:lnTo>
                    <a:pt x="67" y="1"/>
                  </a:lnTo>
                  <a:lnTo>
                    <a:pt x="0" y="12"/>
                  </a:lnTo>
                  <a:lnTo>
                    <a:pt x="7" y="18"/>
                  </a:lnTo>
                  <a:lnTo>
                    <a:pt x="13" y="29"/>
                  </a:lnTo>
                  <a:lnTo>
                    <a:pt x="16" y="56"/>
                  </a:lnTo>
                  <a:lnTo>
                    <a:pt x="22" y="64"/>
                  </a:lnTo>
                  <a:lnTo>
                    <a:pt x="54" y="87"/>
                  </a:lnTo>
                  <a:lnTo>
                    <a:pt x="59" y="94"/>
                  </a:lnTo>
                  <a:close/>
                </a:path>
              </a:pathLst>
            </a:custGeom>
            <a:grpFill/>
            <a:ln w="6350">
              <a:solidFill>
                <a:schemeClr val="tx2"/>
              </a:solidFill>
              <a:round/>
              <a:headEnd/>
              <a:tailEnd/>
            </a:ln>
          </p:spPr>
          <p:txBody>
            <a:bodyPr/>
            <a:lstStyle/>
            <a:p>
              <a:endParaRPr lang="en-US"/>
            </a:p>
          </p:txBody>
        </p:sp>
        <p:sp>
          <p:nvSpPr>
            <p:cNvPr id="689" name="Freeform 1434"/>
            <p:cNvSpPr>
              <a:spLocks/>
            </p:cNvSpPr>
            <p:nvPr/>
          </p:nvSpPr>
          <p:spPr bwMode="auto">
            <a:xfrm>
              <a:off x="5175104" y="3397016"/>
              <a:ext cx="397483" cy="172951"/>
            </a:xfrm>
            <a:custGeom>
              <a:avLst/>
              <a:gdLst>
                <a:gd name="T0" fmla="*/ 2147483647 w 802"/>
                <a:gd name="T1" fmla="*/ 2147483647 h 350"/>
                <a:gd name="T2" fmla="*/ 2147483647 w 802"/>
                <a:gd name="T3" fmla="*/ 2147483647 h 350"/>
                <a:gd name="T4" fmla="*/ 2147483647 w 802"/>
                <a:gd name="T5" fmla="*/ 2147483647 h 350"/>
                <a:gd name="T6" fmla="*/ 2147483647 w 802"/>
                <a:gd name="T7" fmla="*/ 2147483647 h 350"/>
                <a:gd name="T8" fmla="*/ 2147483647 w 802"/>
                <a:gd name="T9" fmla="*/ 2147483647 h 350"/>
                <a:gd name="T10" fmla="*/ 2147483647 w 802"/>
                <a:gd name="T11" fmla="*/ 2147483647 h 350"/>
                <a:gd name="T12" fmla="*/ 2147483647 w 802"/>
                <a:gd name="T13" fmla="*/ 2147483647 h 350"/>
                <a:gd name="T14" fmla="*/ 2147483647 w 802"/>
                <a:gd name="T15" fmla="*/ 2147483647 h 350"/>
                <a:gd name="T16" fmla="*/ 2147483647 w 802"/>
                <a:gd name="T17" fmla="*/ 2147483647 h 350"/>
                <a:gd name="T18" fmla="*/ 2147483647 w 802"/>
                <a:gd name="T19" fmla="*/ 2147483647 h 350"/>
                <a:gd name="T20" fmla="*/ 2147483647 w 802"/>
                <a:gd name="T21" fmla="*/ 0 h 350"/>
                <a:gd name="T22" fmla="*/ 2147483647 w 802"/>
                <a:gd name="T23" fmla="*/ 2147483647 h 350"/>
                <a:gd name="T24" fmla="*/ 2147483647 w 802"/>
                <a:gd name="T25" fmla="*/ 2147483647 h 350"/>
                <a:gd name="T26" fmla="*/ 2147483647 w 802"/>
                <a:gd name="T27" fmla="*/ 2147483647 h 350"/>
                <a:gd name="T28" fmla="*/ 2147483647 w 802"/>
                <a:gd name="T29" fmla="*/ 2147483647 h 350"/>
                <a:gd name="T30" fmla="*/ 2147483647 w 802"/>
                <a:gd name="T31" fmla="*/ 2147483647 h 350"/>
                <a:gd name="T32" fmla="*/ 2147483647 w 802"/>
                <a:gd name="T33" fmla="*/ 2147483647 h 350"/>
                <a:gd name="T34" fmla="*/ 2147483647 w 802"/>
                <a:gd name="T35" fmla="*/ 2147483647 h 350"/>
                <a:gd name="T36" fmla="*/ 2147483647 w 802"/>
                <a:gd name="T37" fmla="*/ 2147483647 h 350"/>
                <a:gd name="T38" fmla="*/ 2147483647 w 802"/>
                <a:gd name="T39" fmla="*/ 2147483647 h 350"/>
                <a:gd name="T40" fmla="*/ 2147483647 w 802"/>
                <a:gd name="T41" fmla="*/ 2147483647 h 350"/>
                <a:gd name="T42" fmla="*/ 2147483647 w 802"/>
                <a:gd name="T43" fmla="*/ 2147483647 h 350"/>
                <a:gd name="T44" fmla="*/ 2147483647 w 802"/>
                <a:gd name="T45" fmla="*/ 2147483647 h 350"/>
                <a:gd name="T46" fmla="*/ 2147483647 w 802"/>
                <a:gd name="T47" fmla="*/ 2147483647 h 350"/>
                <a:gd name="T48" fmla="*/ 2147483647 w 802"/>
                <a:gd name="T49" fmla="*/ 2147483647 h 350"/>
                <a:gd name="T50" fmla="*/ 2147483647 w 802"/>
                <a:gd name="T51" fmla="*/ 2147483647 h 350"/>
                <a:gd name="T52" fmla="*/ 2147483647 w 802"/>
                <a:gd name="T53" fmla="*/ 2147483647 h 350"/>
                <a:gd name="T54" fmla="*/ 2147483647 w 802"/>
                <a:gd name="T55" fmla="*/ 2147483647 h 350"/>
                <a:gd name="T56" fmla="*/ 2147483647 w 802"/>
                <a:gd name="T57" fmla="*/ 2147483647 h 350"/>
                <a:gd name="T58" fmla="*/ 2147483647 w 802"/>
                <a:gd name="T59" fmla="*/ 2147483647 h 350"/>
                <a:gd name="T60" fmla="*/ 2147483647 w 802"/>
                <a:gd name="T61" fmla="*/ 2147483647 h 350"/>
                <a:gd name="T62" fmla="*/ 2147483647 w 802"/>
                <a:gd name="T63" fmla="*/ 2147483647 h 350"/>
                <a:gd name="T64" fmla="*/ 2147483647 w 802"/>
                <a:gd name="T65" fmla="*/ 2147483647 h 350"/>
                <a:gd name="T66" fmla="*/ 2147483647 w 802"/>
                <a:gd name="T67" fmla="*/ 2147483647 h 350"/>
                <a:gd name="T68" fmla="*/ 2147483647 w 802"/>
                <a:gd name="T69" fmla="*/ 2147483647 h 350"/>
                <a:gd name="T70" fmla="*/ 2147483647 w 802"/>
                <a:gd name="T71" fmla="*/ 2147483647 h 350"/>
                <a:gd name="T72" fmla="*/ 2147483647 w 802"/>
                <a:gd name="T73" fmla="*/ 2147483647 h 350"/>
                <a:gd name="T74" fmla="*/ 2147483647 w 802"/>
                <a:gd name="T75" fmla="*/ 2147483647 h 350"/>
                <a:gd name="T76" fmla="*/ 2147483647 w 802"/>
                <a:gd name="T77" fmla="*/ 2147483647 h 350"/>
                <a:gd name="T78" fmla="*/ 2147483647 w 802"/>
                <a:gd name="T79" fmla="*/ 2147483647 h 350"/>
                <a:gd name="T80" fmla="*/ 2147483647 w 802"/>
                <a:gd name="T81" fmla="*/ 2147483647 h 350"/>
                <a:gd name="T82" fmla="*/ 2147483647 w 802"/>
                <a:gd name="T83" fmla="*/ 2147483647 h 350"/>
                <a:gd name="T84" fmla="*/ 2147483647 w 802"/>
                <a:gd name="T85" fmla="*/ 2147483647 h 350"/>
                <a:gd name="T86" fmla="*/ 2147483647 w 802"/>
                <a:gd name="T87" fmla="*/ 2147483647 h 350"/>
                <a:gd name="T88" fmla="*/ 2147483647 w 802"/>
                <a:gd name="T89" fmla="*/ 2147483647 h 350"/>
                <a:gd name="T90" fmla="*/ 2147483647 w 802"/>
                <a:gd name="T91" fmla="*/ 2147483647 h 350"/>
                <a:gd name="T92" fmla="*/ 2147483647 w 802"/>
                <a:gd name="T93" fmla="*/ 2147483647 h 350"/>
                <a:gd name="T94" fmla="*/ 2147483647 w 802"/>
                <a:gd name="T95" fmla="*/ 2147483647 h 350"/>
                <a:gd name="T96" fmla="*/ 2147483647 w 802"/>
                <a:gd name="T97" fmla="*/ 2147483647 h 350"/>
                <a:gd name="T98" fmla="*/ 2147483647 w 802"/>
                <a:gd name="T99" fmla="*/ 2147483647 h 350"/>
                <a:gd name="T100" fmla="*/ 2147483647 w 802"/>
                <a:gd name="T101" fmla="*/ 2147483647 h 350"/>
                <a:gd name="T102" fmla="*/ 2147483647 w 802"/>
                <a:gd name="T103" fmla="*/ 2147483647 h 350"/>
                <a:gd name="T104" fmla="*/ 2147483647 w 802"/>
                <a:gd name="T105" fmla="*/ 2147483647 h 350"/>
                <a:gd name="T106" fmla="*/ 2147483647 w 802"/>
                <a:gd name="T107" fmla="*/ 2147483647 h 350"/>
                <a:gd name="T108" fmla="*/ 2147483647 w 802"/>
                <a:gd name="T109" fmla="*/ 2147483647 h 350"/>
                <a:gd name="T110" fmla="*/ 2147483647 w 802"/>
                <a:gd name="T111" fmla="*/ 2147483647 h 350"/>
                <a:gd name="T112" fmla="*/ 2147483647 w 802"/>
                <a:gd name="T113" fmla="*/ 2147483647 h 350"/>
                <a:gd name="T114" fmla="*/ 2147483647 w 802"/>
                <a:gd name="T115" fmla="*/ 2147483647 h 350"/>
                <a:gd name="T116" fmla="*/ 2147483647 w 802"/>
                <a:gd name="T117" fmla="*/ 2147483647 h 350"/>
                <a:gd name="T118" fmla="*/ 2147483647 w 802"/>
                <a:gd name="T119" fmla="*/ 2147483647 h 3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02"/>
                <a:gd name="T181" fmla="*/ 0 h 350"/>
                <a:gd name="T182" fmla="*/ 802 w 802"/>
                <a:gd name="T183" fmla="*/ 350 h 3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02" h="350">
                  <a:moveTo>
                    <a:pt x="794" y="127"/>
                  </a:moveTo>
                  <a:lnTo>
                    <a:pt x="762" y="104"/>
                  </a:lnTo>
                  <a:lnTo>
                    <a:pt x="756" y="96"/>
                  </a:lnTo>
                  <a:lnTo>
                    <a:pt x="753" y="69"/>
                  </a:lnTo>
                  <a:lnTo>
                    <a:pt x="747" y="58"/>
                  </a:lnTo>
                  <a:lnTo>
                    <a:pt x="740" y="52"/>
                  </a:lnTo>
                  <a:lnTo>
                    <a:pt x="715" y="28"/>
                  </a:lnTo>
                  <a:lnTo>
                    <a:pt x="696" y="34"/>
                  </a:lnTo>
                  <a:lnTo>
                    <a:pt x="664" y="32"/>
                  </a:lnTo>
                  <a:lnTo>
                    <a:pt x="660" y="27"/>
                  </a:lnTo>
                  <a:lnTo>
                    <a:pt x="612" y="61"/>
                  </a:lnTo>
                  <a:lnTo>
                    <a:pt x="568" y="56"/>
                  </a:lnTo>
                  <a:lnTo>
                    <a:pt x="515" y="65"/>
                  </a:lnTo>
                  <a:lnTo>
                    <a:pt x="499" y="57"/>
                  </a:lnTo>
                  <a:lnTo>
                    <a:pt x="490" y="63"/>
                  </a:lnTo>
                  <a:lnTo>
                    <a:pt x="462" y="47"/>
                  </a:lnTo>
                  <a:lnTo>
                    <a:pt x="441" y="45"/>
                  </a:lnTo>
                  <a:lnTo>
                    <a:pt x="430" y="21"/>
                  </a:lnTo>
                  <a:lnTo>
                    <a:pt x="420" y="27"/>
                  </a:lnTo>
                  <a:lnTo>
                    <a:pt x="408" y="23"/>
                  </a:lnTo>
                  <a:lnTo>
                    <a:pt x="398" y="17"/>
                  </a:lnTo>
                  <a:lnTo>
                    <a:pt x="388" y="0"/>
                  </a:lnTo>
                  <a:lnTo>
                    <a:pt x="373" y="5"/>
                  </a:lnTo>
                  <a:lnTo>
                    <a:pt x="312" y="4"/>
                  </a:lnTo>
                  <a:lnTo>
                    <a:pt x="268" y="21"/>
                  </a:lnTo>
                  <a:lnTo>
                    <a:pt x="215" y="60"/>
                  </a:lnTo>
                  <a:lnTo>
                    <a:pt x="133" y="48"/>
                  </a:lnTo>
                  <a:lnTo>
                    <a:pt x="126" y="62"/>
                  </a:lnTo>
                  <a:lnTo>
                    <a:pt x="132" y="69"/>
                  </a:lnTo>
                  <a:lnTo>
                    <a:pt x="161" y="79"/>
                  </a:lnTo>
                  <a:lnTo>
                    <a:pt x="125" y="81"/>
                  </a:lnTo>
                  <a:lnTo>
                    <a:pt x="118" y="85"/>
                  </a:lnTo>
                  <a:lnTo>
                    <a:pt x="126" y="94"/>
                  </a:lnTo>
                  <a:lnTo>
                    <a:pt x="117" y="95"/>
                  </a:lnTo>
                  <a:lnTo>
                    <a:pt x="79" y="96"/>
                  </a:lnTo>
                  <a:lnTo>
                    <a:pt x="80" y="92"/>
                  </a:lnTo>
                  <a:lnTo>
                    <a:pt x="68" y="88"/>
                  </a:lnTo>
                  <a:lnTo>
                    <a:pt x="71" y="99"/>
                  </a:lnTo>
                  <a:lnTo>
                    <a:pt x="49" y="93"/>
                  </a:lnTo>
                  <a:lnTo>
                    <a:pt x="28" y="96"/>
                  </a:lnTo>
                  <a:lnTo>
                    <a:pt x="10" y="117"/>
                  </a:lnTo>
                  <a:lnTo>
                    <a:pt x="2" y="126"/>
                  </a:lnTo>
                  <a:lnTo>
                    <a:pt x="0" y="146"/>
                  </a:lnTo>
                  <a:lnTo>
                    <a:pt x="32" y="143"/>
                  </a:lnTo>
                  <a:lnTo>
                    <a:pt x="25" y="162"/>
                  </a:lnTo>
                  <a:lnTo>
                    <a:pt x="37" y="182"/>
                  </a:lnTo>
                  <a:lnTo>
                    <a:pt x="29" y="193"/>
                  </a:lnTo>
                  <a:lnTo>
                    <a:pt x="43" y="206"/>
                  </a:lnTo>
                  <a:lnTo>
                    <a:pt x="22" y="206"/>
                  </a:lnTo>
                  <a:lnTo>
                    <a:pt x="14" y="192"/>
                  </a:lnTo>
                  <a:lnTo>
                    <a:pt x="12" y="208"/>
                  </a:lnTo>
                  <a:lnTo>
                    <a:pt x="8" y="213"/>
                  </a:lnTo>
                  <a:lnTo>
                    <a:pt x="44" y="229"/>
                  </a:lnTo>
                  <a:lnTo>
                    <a:pt x="48" y="236"/>
                  </a:lnTo>
                  <a:lnTo>
                    <a:pt x="41" y="246"/>
                  </a:lnTo>
                  <a:lnTo>
                    <a:pt x="45" y="251"/>
                  </a:lnTo>
                  <a:lnTo>
                    <a:pt x="56" y="249"/>
                  </a:lnTo>
                  <a:lnTo>
                    <a:pt x="49" y="261"/>
                  </a:lnTo>
                  <a:lnTo>
                    <a:pt x="62" y="270"/>
                  </a:lnTo>
                  <a:lnTo>
                    <a:pt x="53" y="279"/>
                  </a:lnTo>
                  <a:lnTo>
                    <a:pt x="54" y="283"/>
                  </a:lnTo>
                  <a:lnTo>
                    <a:pt x="89" y="277"/>
                  </a:lnTo>
                  <a:lnTo>
                    <a:pt x="96" y="279"/>
                  </a:lnTo>
                  <a:lnTo>
                    <a:pt x="61" y="297"/>
                  </a:lnTo>
                  <a:lnTo>
                    <a:pt x="57" y="303"/>
                  </a:lnTo>
                  <a:lnTo>
                    <a:pt x="83" y="295"/>
                  </a:lnTo>
                  <a:lnTo>
                    <a:pt x="84" y="304"/>
                  </a:lnTo>
                  <a:lnTo>
                    <a:pt x="94" y="294"/>
                  </a:lnTo>
                  <a:lnTo>
                    <a:pt x="106" y="293"/>
                  </a:lnTo>
                  <a:lnTo>
                    <a:pt x="118" y="303"/>
                  </a:lnTo>
                  <a:lnTo>
                    <a:pt x="123" y="297"/>
                  </a:lnTo>
                  <a:lnTo>
                    <a:pt x="128" y="300"/>
                  </a:lnTo>
                  <a:lnTo>
                    <a:pt x="131" y="314"/>
                  </a:lnTo>
                  <a:lnTo>
                    <a:pt x="138" y="321"/>
                  </a:lnTo>
                  <a:lnTo>
                    <a:pt x="162" y="328"/>
                  </a:lnTo>
                  <a:lnTo>
                    <a:pt x="188" y="320"/>
                  </a:lnTo>
                  <a:lnTo>
                    <a:pt x="195" y="291"/>
                  </a:lnTo>
                  <a:lnTo>
                    <a:pt x="209" y="290"/>
                  </a:lnTo>
                  <a:lnTo>
                    <a:pt x="252" y="307"/>
                  </a:lnTo>
                  <a:lnTo>
                    <a:pt x="274" y="330"/>
                  </a:lnTo>
                  <a:lnTo>
                    <a:pt x="290" y="335"/>
                  </a:lnTo>
                  <a:lnTo>
                    <a:pt x="343" y="319"/>
                  </a:lnTo>
                  <a:lnTo>
                    <a:pt x="361" y="298"/>
                  </a:lnTo>
                  <a:lnTo>
                    <a:pt x="367" y="294"/>
                  </a:lnTo>
                  <a:lnTo>
                    <a:pt x="405" y="307"/>
                  </a:lnTo>
                  <a:lnTo>
                    <a:pt x="411" y="305"/>
                  </a:lnTo>
                  <a:lnTo>
                    <a:pt x="413" y="297"/>
                  </a:lnTo>
                  <a:lnTo>
                    <a:pt x="427" y="292"/>
                  </a:lnTo>
                  <a:lnTo>
                    <a:pt x="434" y="298"/>
                  </a:lnTo>
                  <a:lnTo>
                    <a:pt x="424" y="310"/>
                  </a:lnTo>
                  <a:lnTo>
                    <a:pt x="421" y="348"/>
                  </a:lnTo>
                  <a:lnTo>
                    <a:pt x="429" y="350"/>
                  </a:lnTo>
                  <a:lnTo>
                    <a:pt x="431" y="345"/>
                  </a:lnTo>
                  <a:lnTo>
                    <a:pt x="440" y="335"/>
                  </a:lnTo>
                  <a:lnTo>
                    <a:pt x="441" y="326"/>
                  </a:lnTo>
                  <a:lnTo>
                    <a:pt x="455" y="323"/>
                  </a:lnTo>
                  <a:lnTo>
                    <a:pt x="448" y="311"/>
                  </a:lnTo>
                  <a:lnTo>
                    <a:pt x="454" y="291"/>
                  </a:lnTo>
                  <a:lnTo>
                    <a:pt x="469" y="296"/>
                  </a:lnTo>
                  <a:lnTo>
                    <a:pt x="470" y="301"/>
                  </a:lnTo>
                  <a:lnTo>
                    <a:pt x="489" y="302"/>
                  </a:lnTo>
                  <a:lnTo>
                    <a:pt x="527" y="286"/>
                  </a:lnTo>
                  <a:lnTo>
                    <a:pt x="541" y="297"/>
                  </a:lnTo>
                  <a:lnTo>
                    <a:pt x="563" y="300"/>
                  </a:lnTo>
                  <a:lnTo>
                    <a:pt x="630" y="275"/>
                  </a:lnTo>
                  <a:lnTo>
                    <a:pt x="671" y="276"/>
                  </a:lnTo>
                  <a:lnTo>
                    <a:pt x="692" y="265"/>
                  </a:lnTo>
                  <a:lnTo>
                    <a:pt x="697" y="274"/>
                  </a:lnTo>
                  <a:lnTo>
                    <a:pt x="698" y="278"/>
                  </a:lnTo>
                  <a:lnTo>
                    <a:pt x="723" y="257"/>
                  </a:lnTo>
                  <a:lnTo>
                    <a:pt x="741" y="263"/>
                  </a:lnTo>
                  <a:lnTo>
                    <a:pt x="777" y="263"/>
                  </a:lnTo>
                  <a:lnTo>
                    <a:pt x="784" y="273"/>
                  </a:lnTo>
                  <a:lnTo>
                    <a:pt x="796" y="273"/>
                  </a:lnTo>
                  <a:lnTo>
                    <a:pt x="802" y="268"/>
                  </a:lnTo>
                  <a:lnTo>
                    <a:pt x="801" y="255"/>
                  </a:lnTo>
                  <a:lnTo>
                    <a:pt x="781" y="236"/>
                  </a:lnTo>
                  <a:lnTo>
                    <a:pt x="781" y="173"/>
                  </a:lnTo>
                  <a:lnTo>
                    <a:pt x="774" y="153"/>
                  </a:lnTo>
                  <a:lnTo>
                    <a:pt x="785" y="146"/>
                  </a:lnTo>
                  <a:lnTo>
                    <a:pt x="794" y="127"/>
                  </a:lnTo>
                  <a:close/>
                </a:path>
              </a:pathLst>
            </a:custGeom>
            <a:grpFill/>
            <a:ln w="6350">
              <a:solidFill>
                <a:schemeClr val="tx2"/>
              </a:solidFill>
              <a:round/>
              <a:headEnd/>
              <a:tailEnd/>
            </a:ln>
          </p:spPr>
          <p:txBody>
            <a:bodyPr/>
            <a:lstStyle/>
            <a:p>
              <a:endParaRPr lang="en-US"/>
            </a:p>
          </p:txBody>
        </p:sp>
        <p:sp>
          <p:nvSpPr>
            <p:cNvPr id="690" name="Freeform 1437"/>
            <p:cNvSpPr>
              <a:spLocks/>
            </p:cNvSpPr>
            <p:nvPr/>
          </p:nvSpPr>
          <p:spPr bwMode="auto">
            <a:xfrm>
              <a:off x="5469424" y="3351503"/>
              <a:ext cx="142609" cy="69787"/>
            </a:xfrm>
            <a:custGeom>
              <a:avLst/>
              <a:gdLst>
                <a:gd name="T0" fmla="*/ 0 w 289"/>
                <a:gd name="T1" fmla="*/ 2147483647 h 141"/>
                <a:gd name="T2" fmla="*/ 2147483647 w 289"/>
                <a:gd name="T3" fmla="*/ 0 h 141"/>
                <a:gd name="T4" fmla="*/ 2147483647 w 289"/>
                <a:gd name="T5" fmla="*/ 2147483647 h 141"/>
                <a:gd name="T6" fmla="*/ 2147483647 w 289"/>
                <a:gd name="T7" fmla="*/ 2147483647 h 141"/>
                <a:gd name="T8" fmla="*/ 2147483647 w 289"/>
                <a:gd name="T9" fmla="*/ 2147483647 h 141"/>
                <a:gd name="T10" fmla="*/ 2147483647 w 289"/>
                <a:gd name="T11" fmla="*/ 2147483647 h 141"/>
                <a:gd name="T12" fmla="*/ 2147483647 w 289"/>
                <a:gd name="T13" fmla="*/ 2147483647 h 141"/>
                <a:gd name="T14" fmla="*/ 2147483647 w 289"/>
                <a:gd name="T15" fmla="*/ 2147483647 h 141"/>
                <a:gd name="T16" fmla="*/ 2147483647 w 289"/>
                <a:gd name="T17" fmla="*/ 2147483647 h 141"/>
                <a:gd name="T18" fmla="*/ 2147483647 w 289"/>
                <a:gd name="T19" fmla="*/ 2147483647 h 141"/>
                <a:gd name="T20" fmla="*/ 2147483647 w 289"/>
                <a:gd name="T21" fmla="*/ 2147483647 h 141"/>
                <a:gd name="T22" fmla="*/ 2147483647 w 289"/>
                <a:gd name="T23" fmla="*/ 2147483647 h 141"/>
                <a:gd name="T24" fmla="*/ 2147483647 w 289"/>
                <a:gd name="T25" fmla="*/ 2147483647 h 141"/>
                <a:gd name="T26" fmla="*/ 2147483647 w 289"/>
                <a:gd name="T27" fmla="*/ 2147483647 h 141"/>
                <a:gd name="T28" fmla="*/ 2147483647 w 289"/>
                <a:gd name="T29" fmla="*/ 2147483647 h 141"/>
                <a:gd name="T30" fmla="*/ 2147483647 w 289"/>
                <a:gd name="T31" fmla="*/ 2147483647 h 141"/>
                <a:gd name="T32" fmla="*/ 2147483647 w 289"/>
                <a:gd name="T33" fmla="*/ 2147483647 h 141"/>
                <a:gd name="T34" fmla="*/ 2147483647 w 289"/>
                <a:gd name="T35" fmla="*/ 2147483647 h 141"/>
                <a:gd name="T36" fmla="*/ 2147483647 w 289"/>
                <a:gd name="T37" fmla="*/ 2147483647 h 141"/>
                <a:gd name="T38" fmla="*/ 2147483647 w 289"/>
                <a:gd name="T39" fmla="*/ 2147483647 h 141"/>
                <a:gd name="T40" fmla="*/ 2147483647 w 289"/>
                <a:gd name="T41" fmla="*/ 2147483647 h 141"/>
                <a:gd name="T42" fmla="*/ 2147483647 w 289"/>
                <a:gd name="T43" fmla="*/ 2147483647 h 141"/>
                <a:gd name="T44" fmla="*/ 2147483647 w 289"/>
                <a:gd name="T45" fmla="*/ 2147483647 h 141"/>
                <a:gd name="T46" fmla="*/ 2147483647 w 289"/>
                <a:gd name="T47" fmla="*/ 2147483647 h 141"/>
                <a:gd name="T48" fmla="*/ 2147483647 w 289"/>
                <a:gd name="T49" fmla="*/ 2147483647 h 141"/>
                <a:gd name="T50" fmla="*/ 2147483647 w 289"/>
                <a:gd name="T51" fmla="*/ 2147483647 h 141"/>
                <a:gd name="T52" fmla="*/ 0 w 289"/>
                <a:gd name="T53" fmla="*/ 2147483647 h 1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89"/>
                <a:gd name="T82" fmla="*/ 0 h 141"/>
                <a:gd name="T83" fmla="*/ 289 w 289"/>
                <a:gd name="T84" fmla="*/ 141 h 1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89" h="141">
                  <a:moveTo>
                    <a:pt x="0" y="3"/>
                  </a:moveTo>
                  <a:lnTo>
                    <a:pt x="32" y="0"/>
                  </a:lnTo>
                  <a:lnTo>
                    <a:pt x="78" y="18"/>
                  </a:lnTo>
                  <a:lnTo>
                    <a:pt x="129" y="20"/>
                  </a:lnTo>
                  <a:lnTo>
                    <a:pt x="175" y="55"/>
                  </a:lnTo>
                  <a:lnTo>
                    <a:pt x="229" y="49"/>
                  </a:lnTo>
                  <a:lnTo>
                    <a:pt x="250" y="60"/>
                  </a:lnTo>
                  <a:lnTo>
                    <a:pt x="249" y="78"/>
                  </a:lnTo>
                  <a:lnTo>
                    <a:pt x="280" y="97"/>
                  </a:lnTo>
                  <a:lnTo>
                    <a:pt x="269" y="111"/>
                  </a:lnTo>
                  <a:lnTo>
                    <a:pt x="287" y="128"/>
                  </a:lnTo>
                  <a:lnTo>
                    <a:pt x="289" y="134"/>
                  </a:lnTo>
                  <a:lnTo>
                    <a:pt x="286" y="139"/>
                  </a:lnTo>
                  <a:lnTo>
                    <a:pt x="261" y="134"/>
                  </a:lnTo>
                  <a:lnTo>
                    <a:pt x="239" y="122"/>
                  </a:lnTo>
                  <a:lnTo>
                    <a:pt x="218" y="130"/>
                  </a:lnTo>
                  <a:lnTo>
                    <a:pt x="151" y="141"/>
                  </a:lnTo>
                  <a:lnTo>
                    <a:pt x="126" y="117"/>
                  </a:lnTo>
                  <a:lnTo>
                    <a:pt x="107" y="123"/>
                  </a:lnTo>
                  <a:lnTo>
                    <a:pt x="75" y="121"/>
                  </a:lnTo>
                  <a:lnTo>
                    <a:pt x="71" y="116"/>
                  </a:lnTo>
                  <a:lnTo>
                    <a:pt x="79" y="109"/>
                  </a:lnTo>
                  <a:lnTo>
                    <a:pt x="80" y="89"/>
                  </a:lnTo>
                  <a:lnTo>
                    <a:pt x="63" y="46"/>
                  </a:lnTo>
                  <a:lnTo>
                    <a:pt x="46" y="31"/>
                  </a:lnTo>
                  <a:lnTo>
                    <a:pt x="18" y="21"/>
                  </a:lnTo>
                  <a:lnTo>
                    <a:pt x="0" y="3"/>
                  </a:lnTo>
                  <a:close/>
                </a:path>
              </a:pathLst>
            </a:custGeom>
            <a:grpFill/>
            <a:ln w="6350">
              <a:solidFill>
                <a:schemeClr val="tx2"/>
              </a:solidFill>
              <a:round/>
              <a:headEnd/>
              <a:tailEnd/>
            </a:ln>
          </p:spPr>
          <p:txBody>
            <a:bodyPr/>
            <a:lstStyle/>
            <a:p>
              <a:endParaRPr lang="en-US"/>
            </a:p>
          </p:txBody>
        </p:sp>
        <p:sp>
          <p:nvSpPr>
            <p:cNvPr id="691" name="Freeform 1438"/>
            <p:cNvSpPr>
              <a:spLocks/>
            </p:cNvSpPr>
            <p:nvPr/>
          </p:nvSpPr>
          <p:spPr bwMode="auto">
            <a:xfrm>
              <a:off x="5173587" y="3398533"/>
              <a:ext cx="63718" cy="54616"/>
            </a:xfrm>
            <a:custGeom>
              <a:avLst/>
              <a:gdLst>
                <a:gd name="T0" fmla="*/ 2147483647 w 130"/>
                <a:gd name="T1" fmla="*/ 2147483647 h 111"/>
                <a:gd name="T2" fmla="*/ 2147483647 w 130"/>
                <a:gd name="T3" fmla="*/ 2147483647 h 111"/>
                <a:gd name="T4" fmla="*/ 2147483647 w 130"/>
                <a:gd name="T5" fmla="*/ 0 h 111"/>
                <a:gd name="T6" fmla="*/ 2147483647 w 130"/>
                <a:gd name="T7" fmla="*/ 2147483647 h 111"/>
                <a:gd name="T8" fmla="*/ 2147483647 w 130"/>
                <a:gd name="T9" fmla="*/ 2147483647 h 111"/>
                <a:gd name="T10" fmla="*/ 2147483647 w 130"/>
                <a:gd name="T11" fmla="*/ 2147483647 h 111"/>
                <a:gd name="T12" fmla="*/ 2147483647 w 130"/>
                <a:gd name="T13" fmla="*/ 2147483647 h 111"/>
                <a:gd name="T14" fmla="*/ 2147483647 w 130"/>
                <a:gd name="T15" fmla="*/ 2147483647 h 111"/>
                <a:gd name="T16" fmla="*/ 0 w 130"/>
                <a:gd name="T17" fmla="*/ 2147483647 h 111"/>
                <a:gd name="T18" fmla="*/ 2147483647 w 130"/>
                <a:gd name="T19" fmla="*/ 2147483647 h 111"/>
                <a:gd name="T20" fmla="*/ 2147483647 w 130"/>
                <a:gd name="T21" fmla="*/ 2147483647 h 111"/>
                <a:gd name="T22" fmla="*/ 2147483647 w 130"/>
                <a:gd name="T23" fmla="*/ 2147483647 h 111"/>
                <a:gd name="T24" fmla="*/ 2147483647 w 130"/>
                <a:gd name="T25" fmla="*/ 2147483647 h 111"/>
                <a:gd name="T26" fmla="*/ 2147483647 w 130"/>
                <a:gd name="T27" fmla="*/ 2147483647 h 111"/>
                <a:gd name="T28" fmla="*/ 2147483647 w 130"/>
                <a:gd name="T29" fmla="*/ 2147483647 h 111"/>
                <a:gd name="T30" fmla="*/ 2147483647 w 130"/>
                <a:gd name="T31" fmla="*/ 2147483647 h 111"/>
                <a:gd name="T32" fmla="*/ 2147483647 w 130"/>
                <a:gd name="T33" fmla="*/ 2147483647 h 111"/>
                <a:gd name="T34" fmla="*/ 2147483647 w 130"/>
                <a:gd name="T35" fmla="*/ 2147483647 h 111"/>
                <a:gd name="T36" fmla="*/ 2147483647 w 130"/>
                <a:gd name="T37" fmla="*/ 2147483647 h 1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0"/>
                <a:gd name="T58" fmla="*/ 0 h 111"/>
                <a:gd name="T59" fmla="*/ 130 w 130"/>
                <a:gd name="T60" fmla="*/ 111 h 1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0" h="111">
                  <a:moveTo>
                    <a:pt x="85" y="7"/>
                  </a:moveTo>
                  <a:lnTo>
                    <a:pt x="61" y="8"/>
                  </a:lnTo>
                  <a:lnTo>
                    <a:pt x="47" y="0"/>
                  </a:lnTo>
                  <a:lnTo>
                    <a:pt x="13" y="14"/>
                  </a:lnTo>
                  <a:lnTo>
                    <a:pt x="22" y="24"/>
                  </a:lnTo>
                  <a:lnTo>
                    <a:pt x="21" y="33"/>
                  </a:lnTo>
                  <a:lnTo>
                    <a:pt x="12" y="40"/>
                  </a:lnTo>
                  <a:lnTo>
                    <a:pt x="8" y="63"/>
                  </a:lnTo>
                  <a:lnTo>
                    <a:pt x="0" y="75"/>
                  </a:lnTo>
                  <a:lnTo>
                    <a:pt x="8" y="81"/>
                  </a:lnTo>
                  <a:lnTo>
                    <a:pt x="34" y="79"/>
                  </a:lnTo>
                  <a:lnTo>
                    <a:pt x="8" y="94"/>
                  </a:lnTo>
                  <a:lnTo>
                    <a:pt x="7" y="111"/>
                  </a:lnTo>
                  <a:lnTo>
                    <a:pt x="67" y="59"/>
                  </a:lnTo>
                  <a:lnTo>
                    <a:pt x="126" y="57"/>
                  </a:lnTo>
                  <a:lnTo>
                    <a:pt x="130" y="43"/>
                  </a:lnTo>
                  <a:lnTo>
                    <a:pt x="92" y="28"/>
                  </a:lnTo>
                  <a:lnTo>
                    <a:pt x="86" y="21"/>
                  </a:lnTo>
                  <a:lnTo>
                    <a:pt x="85" y="7"/>
                  </a:lnTo>
                  <a:close/>
                </a:path>
              </a:pathLst>
            </a:custGeom>
            <a:grpFill/>
            <a:ln w="6350">
              <a:solidFill>
                <a:schemeClr val="tx2"/>
              </a:solidFill>
              <a:round/>
              <a:headEnd/>
              <a:tailEnd/>
            </a:ln>
          </p:spPr>
          <p:txBody>
            <a:bodyPr/>
            <a:lstStyle/>
            <a:p>
              <a:endParaRPr lang="en-US"/>
            </a:p>
          </p:txBody>
        </p:sp>
        <p:sp>
          <p:nvSpPr>
            <p:cNvPr id="692" name="Freeform 1439"/>
            <p:cNvSpPr>
              <a:spLocks/>
            </p:cNvSpPr>
            <p:nvPr/>
          </p:nvSpPr>
          <p:spPr bwMode="auto">
            <a:xfrm>
              <a:off x="5047667" y="3406119"/>
              <a:ext cx="136541" cy="112266"/>
            </a:xfrm>
            <a:custGeom>
              <a:avLst/>
              <a:gdLst>
                <a:gd name="T0" fmla="*/ 0 w 276"/>
                <a:gd name="T1" fmla="*/ 2147483647 h 230"/>
                <a:gd name="T2" fmla="*/ 2147483647 w 276"/>
                <a:gd name="T3" fmla="*/ 2147483647 h 230"/>
                <a:gd name="T4" fmla="*/ 2147483647 w 276"/>
                <a:gd name="T5" fmla="*/ 2147483647 h 230"/>
                <a:gd name="T6" fmla="*/ 2147483647 w 276"/>
                <a:gd name="T7" fmla="*/ 2147483647 h 230"/>
                <a:gd name="T8" fmla="*/ 2147483647 w 276"/>
                <a:gd name="T9" fmla="*/ 2147483647 h 230"/>
                <a:gd name="T10" fmla="*/ 2147483647 w 276"/>
                <a:gd name="T11" fmla="*/ 2147483647 h 230"/>
                <a:gd name="T12" fmla="*/ 2147483647 w 276"/>
                <a:gd name="T13" fmla="*/ 2147483647 h 230"/>
                <a:gd name="T14" fmla="*/ 2147483647 w 276"/>
                <a:gd name="T15" fmla="*/ 2147483647 h 230"/>
                <a:gd name="T16" fmla="*/ 2147483647 w 276"/>
                <a:gd name="T17" fmla="*/ 2147483647 h 230"/>
                <a:gd name="T18" fmla="*/ 2147483647 w 276"/>
                <a:gd name="T19" fmla="*/ 2147483647 h 230"/>
                <a:gd name="T20" fmla="*/ 2147483647 w 276"/>
                <a:gd name="T21" fmla="*/ 2147483647 h 230"/>
                <a:gd name="T22" fmla="*/ 2147483647 w 276"/>
                <a:gd name="T23" fmla="*/ 2147483647 h 230"/>
                <a:gd name="T24" fmla="*/ 2147483647 w 276"/>
                <a:gd name="T25" fmla="*/ 0 h 230"/>
                <a:gd name="T26" fmla="*/ 2147483647 w 276"/>
                <a:gd name="T27" fmla="*/ 2147483647 h 230"/>
                <a:gd name="T28" fmla="*/ 2147483647 w 276"/>
                <a:gd name="T29" fmla="*/ 2147483647 h 230"/>
                <a:gd name="T30" fmla="*/ 2147483647 w 276"/>
                <a:gd name="T31" fmla="*/ 2147483647 h 230"/>
                <a:gd name="T32" fmla="*/ 2147483647 w 276"/>
                <a:gd name="T33" fmla="*/ 2147483647 h 230"/>
                <a:gd name="T34" fmla="*/ 2147483647 w 276"/>
                <a:gd name="T35" fmla="*/ 2147483647 h 230"/>
                <a:gd name="T36" fmla="*/ 2147483647 w 276"/>
                <a:gd name="T37" fmla="*/ 2147483647 h 230"/>
                <a:gd name="T38" fmla="*/ 2147483647 w 276"/>
                <a:gd name="T39" fmla="*/ 2147483647 h 230"/>
                <a:gd name="T40" fmla="*/ 2147483647 w 276"/>
                <a:gd name="T41" fmla="*/ 2147483647 h 230"/>
                <a:gd name="T42" fmla="*/ 2147483647 w 276"/>
                <a:gd name="T43" fmla="*/ 2147483647 h 230"/>
                <a:gd name="T44" fmla="*/ 2147483647 w 276"/>
                <a:gd name="T45" fmla="*/ 2147483647 h 230"/>
                <a:gd name="T46" fmla="*/ 2147483647 w 276"/>
                <a:gd name="T47" fmla="*/ 2147483647 h 230"/>
                <a:gd name="T48" fmla="*/ 2147483647 w 276"/>
                <a:gd name="T49" fmla="*/ 2147483647 h 230"/>
                <a:gd name="T50" fmla="*/ 2147483647 w 276"/>
                <a:gd name="T51" fmla="*/ 2147483647 h 230"/>
                <a:gd name="T52" fmla="*/ 2147483647 w 276"/>
                <a:gd name="T53" fmla="*/ 2147483647 h 230"/>
                <a:gd name="T54" fmla="*/ 2147483647 w 276"/>
                <a:gd name="T55" fmla="*/ 2147483647 h 230"/>
                <a:gd name="T56" fmla="*/ 2147483647 w 276"/>
                <a:gd name="T57" fmla="*/ 2147483647 h 230"/>
                <a:gd name="T58" fmla="*/ 2147483647 w 276"/>
                <a:gd name="T59" fmla="*/ 2147483647 h 230"/>
                <a:gd name="T60" fmla="*/ 2147483647 w 276"/>
                <a:gd name="T61" fmla="*/ 2147483647 h 230"/>
                <a:gd name="T62" fmla="*/ 2147483647 w 276"/>
                <a:gd name="T63" fmla="*/ 2147483647 h 230"/>
                <a:gd name="T64" fmla="*/ 2147483647 w 276"/>
                <a:gd name="T65" fmla="*/ 2147483647 h 230"/>
                <a:gd name="T66" fmla="*/ 2147483647 w 276"/>
                <a:gd name="T67" fmla="*/ 2147483647 h 230"/>
                <a:gd name="T68" fmla="*/ 2147483647 w 276"/>
                <a:gd name="T69" fmla="*/ 2147483647 h 230"/>
                <a:gd name="T70" fmla="*/ 2147483647 w 276"/>
                <a:gd name="T71" fmla="*/ 2147483647 h 230"/>
                <a:gd name="T72" fmla="*/ 2147483647 w 276"/>
                <a:gd name="T73" fmla="*/ 2147483647 h 230"/>
                <a:gd name="T74" fmla="*/ 2147483647 w 276"/>
                <a:gd name="T75" fmla="*/ 2147483647 h 230"/>
                <a:gd name="T76" fmla="*/ 2147483647 w 276"/>
                <a:gd name="T77" fmla="*/ 2147483647 h 230"/>
                <a:gd name="T78" fmla="*/ 2147483647 w 276"/>
                <a:gd name="T79" fmla="*/ 2147483647 h 230"/>
                <a:gd name="T80" fmla="*/ 2147483647 w 276"/>
                <a:gd name="T81" fmla="*/ 2147483647 h 230"/>
                <a:gd name="T82" fmla="*/ 2147483647 w 276"/>
                <a:gd name="T83" fmla="*/ 2147483647 h 230"/>
                <a:gd name="T84" fmla="*/ 2147483647 w 276"/>
                <a:gd name="T85" fmla="*/ 2147483647 h 230"/>
                <a:gd name="T86" fmla="*/ 2147483647 w 276"/>
                <a:gd name="T87" fmla="*/ 2147483647 h 230"/>
                <a:gd name="T88" fmla="*/ 2147483647 w 276"/>
                <a:gd name="T89" fmla="*/ 2147483647 h 230"/>
                <a:gd name="T90" fmla="*/ 2147483647 w 276"/>
                <a:gd name="T91" fmla="*/ 2147483647 h 230"/>
                <a:gd name="T92" fmla="*/ 2147483647 w 276"/>
                <a:gd name="T93" fmla="*/ 2147483647 h 230"/>
                <a:gd name="T94" fmla="*/ 2147483647 w 276"/>
                <a:gd name="T95" fmla="*/ 2147483647 h 230"/>
                <a:gd name="T96" fmla="*/ 2147483647 w 276"/>
                <a:gd name="T97" fmla="*/ 2147483647 h 230"/>
                <a:gd name="T98" fmla="*/ 2147483647 w 276"/>
                <a:gd name="T99" fmla="*/ 2147483647 h 230"/>
                <a:gd name="T100" fmla="*/ 2147483647 w 276"/>
                <a:gd name="T101" fmla="*/ 2147483647 h 230"/>
                <a:gd name="T102" fmla="*/ 2147483647 w 276"/>
                <a:gd name="T103" fmla="*/ 2147483647 h 230"/>
                <a:gd name="T104" fmla="*/ 2147483647 w 276"/>
                <a:gd name="T105" fmla="*/ 2147483647 h 230"/>
                <a:gd name="T106" fmla="*/ 2147483647 w 276"/>
                <a:gd name="T107" fmla="*/ 2147483647 h 230"/>
                <a:gd name="T108" fmla="*/ 2147483647 w 276"/>
                <a:gd name="T109" fmla="*/ 2147483647 h 230"/>
                <a:gd name="T110" fmla="*/ 2147483647 w 276"/>
                <a:gd name="T111" fmla="*/ 2147483647 h 230"/>
                <a:gd name="T112" fmla="*/ 2147483647 w 276"/>
                <a:gd name="T113" fmla="*/ 2147483647 h 230"/>
                <a:gd name="T114" fmla="*/ 2147483647 w 276"/>
                <a:gd name="T115" fmla="*/ 2147483647 h 230"/>
                <a:gd name="T116" fmla="*/ 2147483647 w 276"/>
                <a:gd name="T117" fmla="*/ 2147483647 h 230"/>
                <a:gd name="T118" fmla="*/ 2147483647 w 276"/>
                <a:gd name="T119" fmla="*/ 2147483647 h 230"/>
                <a:gd name="T120" fmla="*/ 2147483647 w 276"/>
                <a:gd name="T121" fmla="*/ 2147483647 h 230"/>
                <a:gd name="T122" fmla="*/ 0 w 276"/>
                <a:gd name="T123" fmla="*/ 2147483647 h 2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6"/>
                <a:gd name="T187" fmla="*/ 0 h 230"/>
                <a:gd name="T188" fmla="*/ 276 w 276"/>
                <a:gd name="T189" fmla="*/ 230 h 2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6" h="230">
                  <a:moveTo>
                    <a:pt x="0" y="119"/>
                  </a:moveTo>
                  <a:lnTo>
                    <a:pt x="39" y="72"/>
                  </a:lnTo>
                  <a:lnTo>
                    <a:pt x="37" y="52"/>
                  </a:lnTo>
                  <a:lnTo>
                    <a:pt x="65" y="48"/>
                  </a:lnTo>
                  <a:lnTo>
                    <a:pt x="87" y="35"/>
                  </a:lnTo>
                  <a:lnTo>
                    <a:pt x="104" y="35"/>
                  </a:lnTo>
                  <a:lnTo>
                    <a:pt x="121" y="23"/>
                  </a:lnTo>
                  <a:lnTo>
                    <a:pt x="186" y="12"/>
                  </a:lnTo>
                  <a:lnTo>
                    <a:pt x="230" y="29"/>
                  </a:lnTo>
                  <a:lnTo>
                    <a:pt x="246" y="25"/>
                  </a:lnTo>
                  <a:lnTo>
                    <a:pt x="256" y="16"/>
                  </a:lnTo>
                  <a:lnTo>
                    <a:pt x="258" y="1"/>
                  </a:lnTo>
                  <a:lnTo>
                    <a:pt x="267" y="0"/>
                  </a:lnTo>
                  <a:lnTo>
                    <a:pt x="276" y="10"/>
                  </a:lnTo>
                  <a:lnTo>
                    <a:pt x="275" y="19"/>
                  </a:lnTo>
                  <a:lnTo>
                    <a:pt x="266" y="26"/>
                  </a:lnTo>
                  <a:lnTo>
                    <a:pt x="262" y="49"/>
                  </a:lnTo>
                  <a:lnTo>
                    <a:pt x="254" y="61"/>
                  </a:lnTo>
                  <a:lnTo>
                    <a:pt x="210" y="45"/>
                  </a:lnTo>
                  <a:lnTo>
                    <a:pt x="198" y="51"/>
                  </a:lnTo>
                  <a:lnTo>
                    <a:pt x="184" y="48"/>
                  </a:lnTo>
                  <a:lnTo>
                    <a:pt x="151" y="67"/>
                  </a:lnTo>
                  <a:lnTo>
                    <a:pt x="170" y="78"/>
                  </a:lnTo>
                  <a:lnTo>
                    <a:pt x="179" y="92"/>
                  </a:lnTo>
                  <a:lnTo>
                    <a:pt x="158" y="81"/>
                  </a:lnTo>
                  <a:lnTo>
                    <a:pt x="154" y="88"/>
                  </a:lnTo>
                  <a:lnTo>
                    <a:pt x="164" y="95"/>
                  </a:lnTo>
                  <a:lnTo>
                    <a:pt x="164" y="105"/>
                  </a:lnTo>
                  <a:lnTo>
                    <a:pt x="153" y="91"/>
                  </a:lnTo>
                  <a:lnTo>
                    <a:pt x="142" y="88"/>
                  </a:lnTo>
                  <a:lnTo>
                    <a:pt x="151" y="103"/>
                  </a:lnTo>
                  <a:lnTo>
                    <a:pt x="147" y="106"/>
                  </a:lnTo>
                  <a:lnTo>
                    <a:pt x="135" y="88"/>
                  </a:lnTo>
                  <a:lnTo>
                    <a:pt x="117" y="76"/>
                  </a:lnTo>
                  <a:lnTo>
                    <a:pt x="119" y="67"/>
                  </a:lnTo>
                  <a:lnTo>
                    <a:pt x="108" y="71"/>
                  </a:lnTo>
                  <a:lnTo>
                    <a:pt x="108" y="104"/>
                  </a:lnTo>
                  <a:lnTo>
                    <a:pt x="135" y="150"/>
                  </a:lnTo>
                  <a:lnTo>
                    <a:pt x="128" y="151"/>
                  </a:lnTo>
                  <a:lnTo>
                    <a:pt x="126" y="141"/>
                  </a:lnTo>
                  <a:lnTo>
                    <a:pt x="119" y="140"/>
                  </a:lnTo>
                  <a:lnTo>
                    <a:pt x="122" y="158"/>
                  </a:lnTo>
                  <a:lnTo>
                    <a:pt x="103" y="162"/>
                  </a:lnTo>
                  <a:lnTo>
                    <a:pt x="135" y="177"/>
                  </a:lnTo>
                  <a:lnTo>
                    <a:pt x="139" y="186"/>
                  </a:lnTo>
                  <a:lnTo>
                    <a:pt x="166" y="201"/>
                  </a:lnTo>
                  <a:lnTo>
                    <a:pt x="167" y="230"/>
                  </a:lnTo>
                  <a:lnTo>
                    <a:pt x="148" y="214"/>
                  </a:lnTo>
                  <a:lnTo>
                    <a:pt x="127" y="216"/>
                  </a:lnTo>
                  <a:lnTo>
                    <a:pt x="120" y="212"/>
                  </a:lnTo>
                  <a:lnTo>
                    <a:pt x="128" y="210"/>
                  </a:lnTo>
                  <a:lnTo>
                    <a:pt x="129" y="204"/>
                  </a:lnTo>
                  <a:lnTo>
                    <a:pt x="109" y="191"/>
                  </a:lnTo>
                  <a:lnTo>
                    <a:pt x="105" y="195"/>
                  </a:lnTo>
                  <a:lnTo>
                    <a:pt x="53" y="190"/>
                  </a:lnTo>
                  <a:lnTo>
                    <a:pt x="44" y="194"/>
                  </a:lnTo>
                  <a:lnTo>
                    <a:pt x="25" y="164"/>
                  </a:lnTo>
                  <a:lnTo>
                    <a:pt x="42" y="164"/>
                  </a:lnTo>
                  <a:lnTo>
                    <a:pt x="39" y="158"/>
                  </a:lnTo>
                  <a:lnTo>
                    <a:pt x="27" y="153"/>
                  </a:lnTo>
                  <a:lnTo>
                    <a:pt x="24" y="160"/>
                  </a:lnTo>
                  <a:lnTo>
                    <a:pt x="0" y="119"/>
                  </a:lnTo>
                  <a:close/>
                </a:path>
              </a:pathLst>
            </a:custGeom>
            <a:grpFill/>
            <a:ln w="6350">
              <a:solidFill>
                <a:schemeClr val="tx2"/>
              </a:solidFill>
              <a:round/>
              <a:headEnd/>
              <a:tailEnd/>
            </a:ln>
          </p:spPr>
          <p:txBody>
            <a:bodyPr/>
            <a:lstStyle/>
            <a:p>
              <a:endParaRPr lang="en-US"/>
            </a:p>
          </p:txBody>
        </p:sp>
        <p:sp>
          <p:nvSpPr>
            <p:cNvPr id="693" name="Freeform 1440"/>
            <p:cNvSpPr>
              <a:spLocks/>
            </p:cNvSpPr>
            <p:nvPr/>
          </p:nvSpPr>
          <p:spPr bwMode="auto">
            <a:xfrm>
              <a:off x="5093180" y="3334815"/>
              <a:ext cx="136541" cy="83440"/>
            </a:xfrm>
            <a:custGeom>
              <a:avLst/>
              <a:gdLst>
                <a:gd name="T0" fmla="*/ 2147483647 w 270"/>
                <a:gd name="T1" fmla="*/ 2147483647 h 169"/>
                <a:gd name="T2" fmla="*/ 2147483647 w 270"/>
                <a:gd name="T3" fmla="*/ 2147483647 h 169"/>
                <a:gd name="T4" fmla="*/ 2147483647 w 270"/>
                <a:gd name="T5" fmla="*/ 2147483647 h 169"/>
                <a:gd name="T6" fmla="*/ 2147483647 w 270"/>
                <a:gd name="T7" fmla="*/ 2147483647 h 169"/>
                <a:gd name="T8" fmla="*/ 2147483647 w 270"/>
                <a:gd name="T9" fmla="*/ 2147483647 h 169"/>
                <a:gd name="T10" fmla="*/ 2147483647 w 270"/>
                <a:gd name="T11" fmla="*/ 2147483647 h 169"/>
                <a:gd name="T12" fmla="*/ 0 w 270"/>
                <a:gd name="T13" fmla="*/ 2147483647 h 169"/>
                <a:gd name="T14" fmla="*/ 2147483647 w 270"/>
                <a:gd name="T15" fmla="*/ 2147483647 h 169"/>
                <a:gd name="T16" fmla="*/ 2147483647 w 270"/>
                <a:gd name="T17" fmla="*/ 0 h 169"/>
                <a:gd name="T18" fmla="*/ 2147483647 w 270"/>
                <a:gd name="T19" fmla="*/ 2147483647 h 169"/>
                <a:gd name="T20" fmla="*/ 2147483647 w 270"/>
                <a:gd name="T21" fmla="*/ 2147483647 h 169"/>
                <a:gd name="T22" fmla="*/ 2147483647 w 270"/>
                <a:gd name="T23" fmla="*/ 2147483647 h 169"/>
                <a:gd name="T24" fmla="*/ 2147483647 w 270"/>
                <a:gd name="T25" fmla="*/ 2147483647 h 169"/>
                <a:gd name="T26" fmla="*/ 2147483647 w 270"/>
                <a:gd name="T27" fmla="*/ 2147483647 h 169"/>
                <a:gd name="T28" fmla="*/ 2147483647 w 270"/>
                <a:gd name="T29" fmla="*/ 2147483647 h 169"/>
                <a:gd name="T30" fmla="*/ 2147483647 w 270"/>
                <a:gd name="T31" fmla="*/ 2147483647 h 169"/>
                <a:gd name="T32" fmla="*/ 2147483647 w 270"/>
                <a:gd name="T33" fmla="*/ 2147483647 h 169"/>
                <a:gd name="T34" fmla="*/ 2147483647 w 270"/>
                <a:gd name="T35" fmla="*/ 2147483647 h 169"/>
                <a:gd name="T36" fmla="*/ 2147483647 w 270"/>
                <a:gd name="T37" fmla="*/ 2147483647 h 169"/>
                <a:gd name="T38" fmla="*/ 2147483647 w 270"/>
                <a:gd name="T39" fmla="*/ 2147483647 h 169"/>
                <a:gd name="T40" fmla="*/ 2147483647 w 270"/>
                <a:gd name="T41" fmla="*/ 2147483647 h 169"/>
                <a:gd name="T42" fmla="*/ 2147483647 w 270"/>
                <a:gd name="T43" fmla="*/ 2147483647 h 169"/>
                <a:gd name="T44" fmla="*/ 2147483647 w 270"/>
                <a:gd name="T45" fmla="*/ 2147483647 h 169"/>
                <a:gd name="T46" fmla="*/ 2147483647 w 270"/>
                <a:gd name="T47" fmla="*/ 2147483647 h 169"/>
                <a:gd name="T48" fmla="*/ 2147483647 w 270"/>
                <a:gd name="T49" fmla="*/ 2147483647 h 169"/>
                <a:gd name="T50" fmla="*/ 2147483647 w 270"/>
                <a:gd name="T51" fmla="*/ 2147483647 h 169"/>
                <a:gd name="T52" fmla="*/ 2147483647 w 270"/>
                <a:gd name="T53" fmla="*/ 2147483647 h 169"/>
                <a:gd name="T54" fmla="*/ 2147483647 w 270"/>
                <a:gd name="T55" fmla="*/ 2147483647 h 169"/>
                <a:gd name="T56" fmla="*/ 2147483647 w 270"/>
                <a:gd name="T57" fmla="*/ 2147483647 h 169"/>
                <a:gd name="T58" fmla="*/ 2147483647 w 270"/>
                <a:gd name="T59" fmla="*/ 2147483647 h 169"/>
                <a:gd name="T60" fmla="*/ 2147483647 w 270"/>
                <a:gd name="T61" fmla="*/ 2147483647 h 169"/>
                <a:gd name="T62" fmla="*/ 2147483647 w 270"/>
                <a:gd name="T63" fmla="*/ 2147483647 h 169"/>
                <a:gd name="T64" fmla="*/ 2147483647 w 270"/>
                <a:gd name="T65" fmla="*/ 2147483647 h 1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
                <a:gd name="T100" fmla="*/ 0 h 169"/>
                <a:gd name="T101" fmla="*/ 270 w 270"/>
                <a:gd name="T102" fmla="*/ 169 h 1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 h="169">
                  <a:moveTo>
                    <a:pt x="25" y="163"/>
                  </a:moveTo>
                  <a:lnTo>
                    <a:pt x="19" y="126"/>
                  </a:lnTo>
                  <a:lnTo>
                    <a:pt x="2" y="111"/>
                  </a:lnTo>
                  <a:lnTo>
                    <a:pt x="2" y="93"/>
                  </a:lnTo>
                  <a:lnTo>
                    <a:pt x="20" y="64"/>
                  </a:lnTo>
                  <a:lnTo>
                    <a:pt x="2" y="39"/>
                  </a:lnTo>
                  <a:lnTo>
                    <a:pt x="0" y="23"/>
                  </a:lnTo>
                  <a:lnTo>
                    <a:pt x="2" y="6"/>
                  </a:lnTo>
                  <a:lnTo>
                    <a:pt x="15" y="0"/>
                  </a:lnTo>
                  <a:lnTo>
                    <a:pt x="25" y="4"/>
                  </a:lnTo>
                  <a:lnTo>
                    <a:pt x="20" y="15"/>
                  </a:lnTo>
                  <a:lnTo>
                    <a:pt x="28" y="22"/>
                  </a:lnTo>
                  <a:lnTo>
                    <a:pt x="133" y="31"/>
                  </a:lnTo>
                  <a:lnTo>
                    <a:pt x="197" y="4"/>
                  </a:lnTo>
                  <a:lnTo>
                    <a:pt x="213" y="4"/>
                  </a:lnTo>
                  <a:lnTo>
                    <a:pt x="240" y="14"/>
                  </a:lnTo>
                  <a:lnTo>
                    <a:pt x="257" y="26"/>
                  </a:lnTo>
                  <a:lnTo>
                    <a:pt x="270" y="24"/>
                  </a:lnTo>
                  <a:lnTo>
                    <a:pt x="264" y="45"/>
                  </a:lnTo>
                  <a:lnTo>
                    <a:pt x="249" y="49"/>
                  </a:lnTo>
                  <a:lnTo>
                    <a:pt x="239" y="61"/>
                  </a:lnTo>
                  <a:lnTo>
                    <a:pt x="239" y="84"/>
                  </a:lnTo>
                  <a:lnTo>
                    <a:pt x="222" y="98"/>
                  </a:lnTo>
                  <a:lnTo>
                    <a:pt x="243" y="133"/>
                  </a:lnTo>
                  <a:lnTo>
                    <a:pt x="219" y="134"/>
                  </a:lnTo>
                  <a:lnTo>
                    <a:pt x="205" y="126"/>
                  </a:lnTo>
                  <a:lnTo>
                    <a:pt x="171" y="140"/>
                  </a:lnTo>
                  <a:lnTo>
                    <a:pt x="162" y="141"/>
                  </a:lnTo>
                  <a:lnTo>
                    <a:pt x="160" y="156"/>
                  </a:lnTo>
                  <a:lnTo>
                    <a:pt x="150" y="165"/>
                  </a:lnTo>
                  <a:lnTo>
                    <a:pt x="134" y="169"/>
                  </a:lnTo>
                  <a:lnTo>
                    <a:pt x="90" y="152"/>
                  </a:lnTo>
                  <a:lnTo>
                    <a:pt x="25" y="163"/>
                  </a:lnTo>
                  <a:close/>
                </a:path>
              </a:pathLst>
            </a:custGeom>
            <a:grpFill/>
            <a:ln w="6350">
              <a:solidFill>
                <a:schemeClr val="tx2"/>
              </a:solidFill>
              <a:round/>
              <a:headEnd/>
              <a:tailEnd/>
            </a:ln>
          </p:spPr>
          <p:txBody>
            <a:bodyPr/>
            <a:lstStyle/>
            <a:p>
              <a:endParaRPr lang="en-US"/>
            </a:p>
          </p:txBody>
        </p:sp>
        <p:sp>
          <p:nvSpPr>
            <p:cNvPr id="694" name="Freeform 1441"/>
            <p:cNvSpPr>
              <a:spLocks/>
            </p:cNvSpPr>
            <p:nvPr/>
          </p:nvSpPr>
          <p:spPr bwMode="auto">
            <a:xfrm>
              <a:off x="4959675" y="3201309"/>
              <a:ext cx="142609" cy="84958"/>
            </a:xfrm>
            <a:custGeom>
              <a:avLst/>
              <a:gdLst>
                <a:gd name="T0" fmla="*/ 2147483647 w 291"/>
                <a:gd name="T1" fmla="*/ 2147483647 h 173"/>
                <a:gd name="T2" fmla="*/ 2147483647 w 291"/>
                <a:gd name="T3" fmla="*/ 2147483647 h 173"/>
                <a:gd name="T4" fmla="*/ 2147483647 w 291"/>
                <a:gd name="T5" fmla="*/ 2147483647 h 173"/>
                <a:gd name="T6" fmla="*/ 2147483647 w 291"/>
                <a:gd name="T7" fmla="*/ 0 h 173"/>
                <a:gd name="T8" fmla="*/ 2147483647 w 291"/>
                <a:gd name="T9" fmla="*/ 2147483647 h 173"/>
                <a:gd name="T10" fmla="*/ 2147483647 w 291"/>
                <a:gd name="T11" fmla="*/ 2147483647 h 173"/>
                <a:gd name="T12" fmla="*/ 2147483647 w 291"/>
                <a:gd name="T13" fmla="*/ 2147483647 h 173"/>
                <a:gd name="T14" fmla="*/ 2147483647 w 291"/>
                <a:gd name="T15" fmla="*/ 2147483647 h 173"/>
                <a:gd name="T16" fmla="*/ 2147483647 w 291"/>
                <a:gd name="T17" fmla="*/ 2147483647 h 173"/>
                <a:gd name="T18" fmla="*/ 2147483647 w 291"/>
                <a:gd name="T19" fmla="*/ 2147483647 h 173"/>
                <a:gd name="T20" fmla="*/ 2147483647 w 291"/>
                <a:gd name="T21" fmla="*/ 2147483647 h 173"/>
                <a:gd name="T22" fmla="*/ 2147483647 w 291"/>
                <a:gd name="T23" fmla="*/ 2147483647 h 173"/>
                <a:gd name="T24" fmla="*/ 2147483647 w 291"/>
                <a:gd name="T25" fmla="*/ 2147483647 h 173"/>
                <a:gd name="T26" fmla="*/ 2147483647 w 291"/>
                <a:gd name="T27" fmla="*/ 2147483647 h 173"/>
                <a:gd name="T28" fmla="*/ 2147483647 w 291"/>
                <a:gd name="T29" fmla="*/ 2147483647 h 173"/>
                <a:gd name="T30" fmla="*/ 2147483647 w 291"/>
                <a:gd name="T31" fmla="*/ 2147483647 h 173"/>
                <a:gd name="T32" fmla="*/ 2147483647 w 291"/>
                <a:gd name="T33" fmla="*/ 2147483647 h 173"/>
                <a:gd name="T34" fmla="*/ 2147483647 w 291"/>
                <a:gd name="T35" fmla="*/ 2147483647 h 173"/>
                <a:gd name="T36" fmla="*/ 0 w 291"/>
                <a:gd name="T37" fmla="*/ 2147483647 h 173"/>
                <a:gd name="T38" fmla="*/ 2147483647 w 291"/>
                <a:gd name="T39" fmla="*/ 2147483647 h 173"/>
                <a:gd name="T40" fmla="*/ 2147483647 w 291"/>
                <a:gd name="T41" fmla="*/ 2147483647 h 173"/>
                <a:gd name="T42" fmla="*/ 2147483647 w 291"/>
                <a:gd name="T43" fmla="*/ 2147483647 h 173"/>
                <a:gd name="T44" fmla="*/ 2147483647 w 291"/>
                <a:gd name="T45" fmla="*/ 2147483647 h 173"/>
                <a:gd name="T46" fmla="*/ 2147483647 w 291"/>
                <a:gd name="T47" fmla="*/ 2147483647 h 173"/>
                <a:gd name="T48" fmla="*/ 2147483647 w 291"/>
                <a:gd name="T49" fmla="*/ 2147483647 h 173"/>
                <a:gd name="T50" fmla="*/ 2147483647 w 291"/>
                <a:gd name="T51" fmla="*/ 2147483647 h 173"/>
                <a:gd name="T52" fmla="*/ 2147483647 w 291"/>
                <a:gd name="T53" fmla="*/ 2147483647 h 173"/>
                <a:gd name="T54" fmla="*/ 2147483647 w 291"/>
                <a:gd name="T55" fmla="*/ 2147483647 h 173"/>
                <a:gd name="T56" fmla="*/ 2147483647 w 291"/>
                <a:gd name="T57" fmla="*/ 2147483647 h 173"/>
                <a:gd name="T58" fmla="*/ 2147483647 w 291"/>
                <a:gd name="T59" fmla="*/ 2147483647 h 173"/>
                <a:gd name="T60" fmla="*/ 2147483647 w 291"/>
                <a:gd name="T61" fmla="*/ 2147483647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1"/>
                <a:gd name="T94" fmla="*/ 0 h 173"/>
                <a:gd name="T95" fmla="*/ 291 w 291"/>
                <a:gd name="T96" fmla="*/ 173 h 17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1" h="173">
                  <a:moveTo>
                    <a:pt x="291" y="37"/>
                  </a:moveTo>
                  <a:lnTo>
                    <a:pt x="281" y="22"/>
                  </a:lnTo>
                  <a:lnTo>
                    <a:pt x="260" y="9"/>
                  </a:lnTo>
                  <a:lnTo>
                    <a:pt x="201" y="0"/>
                  </a:lnTo>
                  <a:lnTo>
                    <a:pt x="188" y="7"/>
                  </a:lnTo>
                  <a:lnTo>
                    <a:pt x="185" y="16"/>
                  </a:lnTo>
                  <a:lnTo>
                    <a:pt x="166" y="24"/>
                  </a:lnTo>
                  <a:lnTo>
                    <a:pt x="153" y="19"/>
                  </a:lnTo>
                  <a:lnTo>
                    <a:pt x="116" y="34"/>
                  </a:lnTo>
                  <a:lnTo>
                    <a:pt x="101" y="50"/>
                  </a:lnTo>
                  <a:lnTo>
                    <a:pt x="76" y="51"/>
                  </a:lnTo>
                  <a:lnTo>
                    <a:pt x="46" y="30"/>
                  </a:lnTo>
                  <a:lnTo>
                    <a:pt x="42" y="52"/>
                  </a:lnTo>
                  <a:lnTo>
                    <a:pt x="22" y="53"/>
                  </a:lnTo>
                  <a:lnTo>
                    <a:pt x="19" y="59"/>
                  </a:lnTo>
                  <a:lnTo>
                    <a:pt x="24" y="65"/>
                  </a:lnTo>
                  <a:lnTo>
                    <a:pt x="17" y="79"/>
                  </a:lnTo>
                  <a:lnTo>
                    <a:pt x="18" y="95"/>
                  </a:lnTo>
                  <a:lnTo>
                    <a:pt x="0" y="105"/>
                  </a:lnTo>
                  <a:lnTo>
                    <a:pt x="13" y="109"/>
                  </a:lnTo>
                  <a:lnTo>
                    <a:pt x="24" y="130"/>
                  </a:lnTo>
                  <a:lnTo>
                    <a:pt x="60" y="163"/>
                  </a:lnTo>
                  <a:lnTo>
                    <a:pt x="81" y="173"/>
                  </a:lnTo>
                  <a:lnTo>
                    <a:pt x="115" y="164"/>
                  </a:lnTo>
                  <a:lnTo>
                    <a:pt x="155" y="150"/>
                  </a:lnTo>
                  <a:lnTo>
                    <a:pt x="174" y="146"/>
                  </a:lnTo>
                  <a:lnTo>
                    <a:pt x="180" y="152"/>
                  </a:lnTo>
                  <a:lnTo>
                    <a:pt x="219" y="139"/>
                  </a:lnTo>
                  <a:lnTo>
                    <a:pt x="249" y="84"/>
                  </a:lnTo>
                  <a:lnTo>
                    <a:pt x="257" y="61"/>
                  </a:lnTo>
                  <a:lnTo>
                    <a:pt x="291" y="37"/>
                  </a:lnTo>
                  <a:close/>
                </a:path>
              </a:pathLst>
            </a:custGeom>
            <a:grpFill/>
            <a:ln w="6350">
              <a:solidFill>
                <a:schemeClr val="tx2"/>
              </a:solidFill>
              <a:round/>
              <a:headEnd/>
              <a:tailEnd/>
            </a:ln>
          </p:spPr>
          <p:txBody>
            <a:bodyPr/>
            <a:lstStyle/>
            <a:p>
              <a:endParaRPr lang="en-US"/>
            </a:p>
          </p:txBody>
        </p:sp>
        <p:sp>
          <p:nvSpPr>
            <p:cNvPr id="695" name="Freeform 1442"/>
            <p:cNvSpPr>
              <a:spLocks/>
            </p:cNvSpPr>
            <p:nvPr/>
          </p:nvSpPr>
          <p:spPr bwMode="auto">
            <a:xfrm>
              <a:off x="4902024" y="3252891"/>
              <a:ext cx="68270" cy="48548"/>
            </a:xfrm>
            <a:custGeom>
              <a:avLst/>
              <a:gdLst>
                <a:gd name="T0" fmla="*/ 2147483647 w 136"/>
                <a:gd name="T1" fmla="*/ 2147483647 h 97"/>
                <a:gd name="T2" fmla="*/ 2147483647 w 136"/>
                <a:gd name="T3" fmla="*/ 2147483647 h 97"/>
                <a:gd name="T4" fmla="*/ 2147483647 w 136"/>
                <a:gd name="T5" fmla="*/ 2147483647 h 97"/>
                <a:gd name="T6" fmla="*/ 2147483647 w 136"/>
                <a:gd name="T7" fmla="*/ 2147483647 h 97"/>
                <a:gd name="T8" fmla="*/ 2147483647 w 136"/>
                <a:gd name="T9" fmla="*/ 2147483647 h 97"/>
                <a:gd name="T10" fmla="*/ 2147483647 w 136"/>
                <a:gd name="T11" fmla="*/ 2147483647 h 97"/>
                <a:gd name="T12" fmla="*/ 2147483647 w 136"/>
                <a:gd name="T13" fmla="*/ 2147483647 h 97"/>
                <a:gd name="T14" fmla="*/ 2147483647 w 136"/>
                <a:gd name="T15" fmla="*/ 2147483647 h 97"/>
                <a:gd name="T16" fmla="*/ 2147483647 w 136"/>
                <a:gd name="T17" fmla="*/ 2147483647 h 97"/>
                <a:gd name="T18" fmla="*/ 2147483647 w 136"/>
                <a:gd name="T19" fmla="*/ 2147483647 h 97"/>
                <a:gd name="T20" fmla="*/ 2147483647 w 136"/>
                <a:gd name="T21" fmla="*/ 2147483647 h 97"/>
                <a:gd name="T22" fmla="*/ 2147483647 w 136"/>
                <a:gd name="T23" fmla="*/ 2147483647 h 97"/>
                <a:gd name="T24" fmla="*/ 2147483647 w 136"/>
                <a:gd name="T25" fmla="*/ 2147483647 h 97"/>
                <a:gd name="T26" fmla="*/ 2147483647 w 136"/>
                <a:gd name="T27" fmla="*/ 2147483647 h 97"/>
                <a:gd name="T28" fmla="*/ 2147483647 w 136"/>
                <a:gd name="T29" fmla="*/ 2147483647 h 97"/>
                <a:gd name="T30" fmla="*/ 2147483647 w 136"/>
                <a:gd name="T31" fmla="*/ 2147483647 h 97"/>
                <a:gd name="T32" fmla="*/ 2147483647 w 136"/>
                <a:gd name="T33" fmla="*/ 2147483647 h 97"/>
                <a:gd name="T34" fmla="*/ 2147483647 w 136"/>
                <a:gd name="T35" fmla="*/ 0 h 97"/>
                <a:gd name="T36" fmla="*/ 2147483647 w 136"/>
                <a:gd name="T37" fmla="*/ 2147483647 h 97"/>
                <a:gd name="T38" fmla="*/ 2147483647 w 136"/>
                <a:gd name="T39" fmla="*/ 2147483647 h 97"/>
                <a:gd name="T40" fmla="*/ 2147483647 w 136"/>
                <a:gd name="T41" fmla="*/ 2147483647 h 97"/>
                <a:gd name="T42" fmla="*/ 2147483647 w 136"/>
                <a:gd name="T43" fmla="*/ 2147483647 h 97"/>
                <a:gd name="T44" fmla="*/ 0 w 136"/>
                <a:gd name="T45" fmla="*/ 2147483647 h 97"/>
                <a:gd name="T46" fmla="*/ 2147483647 w 136"/>
                <a:gd name="T47" fmla="*/ 2147483647 h 97"/>
                <a:gd name="T48" fmla="*/ 2147483647 w 136"/>
                <a:gd name="T49" fmla="*/ 2147483647 h 97"/>
                <a:gd name="T50" fmla="*/ 2147483647 w 136"/>
                <a:gd name="T51" fmla="*/ 2147483647 h 97"/>
                <a:gd name="T52" fmla="*/ 2147483647 w 136"/>
                <a:gd name="T53" fmla="*/ 2147483647 h 97"/>
                <a:gd name="T54" fmla="*/ 2147483647 w 136"/>
                <a:gd name="T55" fmla="*/ 2147483647 h 97"/>
                <a:gd name="T56" fmla="*/ 2147483647 w 136"/>
                <a:gd name="T57" fmla="*/ 2147483647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6"/>
                <a:gd name="T88" fmla="*/ 0 h 97"/>
                <a:gd name="T89" fmla="*/ 136 w 13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6" h="97">
                  <a:moveTo>
                    <a:pt x="4" y="87"/>
                  </a:moveTo>
                  <a:lnTo>
                    <a:pt x="40" y="91"/>
                  </a:lnTo>
                  <a:lnTo>
                    <a:pt x="48" y="78"/>
                  </a:lnTo>
                  <a:lnTo>
                    <a:pt x="58" y="94"/>
                  </a:lnTo>
                  <a:lnTo>
                    <a:pt x="63" y="91"/>
                  </a:lnTo>
                  <a:lnTo>
                    <a:pt x="74" y="97"/>
                  </a:lnTo>
                  <a:lnTo>
                    <a:pt x="78" y="94"/>
                  </a:lnTo>
                  <a:lnTo>
                    <a:pt x="78" y="76"/>
                  </a:lnTo>
                  <a:lnTo>
                    <a:pt x="96" y="63"/>
                  </a:lnTo>
                  <a:lnTo>
                    <a:pt x="96" y="54"/>
                  </a:lnTo>
                  <a:lnTo>
                    <a:pt x="91" y="49"/>
                  </a:lnTo>
                  <a:lnTo>
                    <a:pt x="93" y="42"/>
                  </a:lnTo>
                  <a:lnTo>
                    <a:pt x="120" y="32"/>
                  </a:lnTo>
                  <a:lnTo>
                    <a:pt x="123" y="20"/>
                  </a:lnTo>
                  <a:lnTo>
                    <a:pt x="134" y="24"/>
                  </a:lnTo>
                  <a:lnTo>
                    <a:pt x="136" y="25"/>
                  </a:lnTo>
                  <a:lnTo>
                    <a:pt x="125" y="4"/>
                  </a:lnTo>
                  <a:lnTo>
                    <a:pt x="112" y="0"/>
                  </a:lnTo>
                  <a:lnTo>
                    <a:pt x="105" y="10"/>
                  </a:lnTo>
                  <a:lnTo>
                    <a:pt x="59" y="15"/>
                  </a:lnTo>
                  <a:lnTo>
                    <a:pt x="45" y="28"/>
                  </a:lnTo>
                  <a:lnTo>
                    <a:pt x="10" y="25"/>
                  </a:lnTo>
                  <a:lnTo>
                    <a:pt x="0" y="42"/>
                  </a:lnTo>
                  <a:lnTo>
                    <a:pt x="6" y="42"/>
                  </a:lnTo>
                  <a:lnTo>
                    <a:pt x="3" y="54"/>
                  </a:lnTo>
                  <a:lnTo>
                    <a:pt x="6" y="65"/>
                  </a:lnTo>
                  <a:lnTo>
                    <a:pt x="21" y="78"/>
                  </a:lnTo>
                  <a:lnTo>
                    <a:pt x="9" y="84"/>
                  </a:lnTo>
                  <a:lnTo>
                    <a:pt x="4" y="87"/>
                  </a:lnTo>
                  <a:close/>
                </a:path>
              </a:pathLst>
            </a:custGeom>
            <a:grpFill/>
            <a:ln w="6350">
              <a:solidFill>
                <a:schemeClr val="tx2"/>
              </a:solidFill>
              <a:round/>
              <a:headEnd/>
              <a:tailEnd/>
            </a:ln>
          </p:spPr>
          <p:txBody>
            <a:bodyPr/>
            <a:lstStyle/>
            <a:p>
              <a:endParaRPr lang="en-US"/>
            </a:p>
          </p:txBody>
        </p:sp>
        <p:sp>
          <p:nvSpPr>
            <p:cNvPr id="696" name="Freeform 1443"/>
            <p:cNvSpPr>
              <a:spLocks/>
            </p:cNvSpPr>
            <p:nvPr/>
          </p:nvSpPr>
          <p:spPr bwMode="auto">
            <a:xfrm>
              <a:off x="4974845" y="3166415"/>
              <a:ext cx="118335" cy="60685"/>
            </a:xfrm>
            <a:custGeom>
              <a:avLst/>
              <a:gdLst>
                <a:gd name="T0" fmla="*/ 2147483647 w 240"/>
                <a:gd name="T1" fmla="*/ 2147483647 h 118"/>
                <a:gd name="T2" fmla="*/ 2147483647 w 240"/>
                <a:gd name="T3" fmla="*/ 2147483647 h 118"/>
                <a:gd name="T4" fmla="*/ 2147483647 w 240"/>
                <a:gd name="T5" fmla="*/ 2147483647 h 118"/>
                <a:gd name="T6" fmla="*/ 2147483647 w 240"/>
                <a:gd name="T7" fmla="*/ 2147483647 h 118"/>
                <a:gd name="T8" fmla="*/ 2147483647 w 240"/>
                <a:gd name="T9" fmla="*/ 2147483647 h 118"/>
                <a:gd name="T10" fmla="*/ 2147483647 w 240"/>
                <a:gd name="T11" fmla="*/ 2147483647 h 118"/>
                <a:gd name="T12" fmla="*/ 2147483647 w 240"/>
                <a:gd name="T13" fmla="*/ 2147483647 h 118"/>
                <a:gd name="T14" fmla="*/ 2147483647 w 240"/>
                <a:gd name="T15" fmla="*/ 2147483647 h 118"/>
                <a:gd name="T16" fmla="*/ 2147483647 w 240"/>
                <a:gd name="T17" fmla="*/ 2147483647 h 118"/>
                <a:gd name="T18" fmla="*/ 2147483647 w 240"/>
                <a:gd name="T19" fmla="*/ 2147483647 h 118"/>
                <a:gd name="T20" fmla="*/ 0 w 240"/>
                <a:gd name="T21" fmla="*/ 2147483647 h 118"/>
                <a:gd name="T22" fmla="*/ 2147483647 w 240"/>
                <a:gd name="T23" fmla="*/ 2147483647 h 118"/>
                <a:gd name="T24" fmla="*/ 2147483647 w 240"/>
                <a:gd name="T25" fmla="*/ 2147483647 h 118"/>
                <a:gd name="T26" fmla="*/ 2147483647 w 240"/>
                <a:gd name="T27" fmla="*/ 2147483647 h 118"/>
                <a:gd name="T28" fmla="*/ 2147483647 w 240"/>
                <a:gd name="T29" fmla="*/ 2147483647 h 118"/>
                <a:gd name="T30" fmla="*/ 2147483647 w 240"/>
                <a:gd name="T31" fmla="*/ 2147483647 h 118"/>
                <a:gd name="T32" fmla="*/ 2147483647 w 240"/>
                <a:gd name="T33" fmla="*/ 2147483647 h 118"/>
                <a:gd name="T34" fmla="*/ 2147483647 w 240"/>
                <a:gd name="T35" fmla="*/ 2147483647 h 118"/>
                <a:gd name="T36" fmla="*/ 2147483647 w 240"/>
                <a:gd name="T37" fmla="*/ 0 h 118"/>
                <a:gd name="T38" fmla="*/ 2147483647 w 240"/>
                <a:gd name="T39" fmla="*/ 2147483647 h 118"/>
                <a:gd name="T40" fmla="*/ 2147483647 w 240"/>
                <a:gd name="T41" fmla="*/ 2147483647 h 118"/>
                <a:gd name="T42" fmla="*/ 2147483647 w 240"/>
                <a:gd name="T43" fmla="*/ 2147483647 h 118"/>
                <a:gd name="T44" fmla="*/ 2147483647 w 240"/>
                <a:gd name="T45" fmla="*/ 2147483647 h 118"/>
                <a:gd name="T46" fmla="*/ 2147483647 w 240"/>
                <a:gd name="T47" fmla="*/ 2147483647 h 118"/>
                <a:gd name="T48" fmla="*/ 2147483647 w 240"/>
                <a:gd name="T49" fmla="*/ 2147483647 h 11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0"/>
                <a:gd name="T76" fmla="*/ 0 h 118"/>
                <a:gd name="T77" fmla="*/ 240 w 240"/>
                <a:gd name="T78" fmla="*/ 118 h 11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0" h="118">
                  <a:moveTo>
                    <a:pt x="225" y="76"/>
                  </a:moveTo>
                  <a:lnTo>
                    <a:pt x="166" y="67"/>
                  </a:lnTo>
                  <a:lnTo>
                    <a:pt x="153" y="74"/>
                  </a:lnTo>
                  <a:lnTo>
                    <a:pt x="150" y="83"/>
                  </a:lnTo>
                  <a:lnTo>
                    <a:pt x="131" y="91"/>
                  </a:lnTo>
                  <a:lnTo>
                    <a:pt x="118" y="86"/>
                  </a:lnTo>
                  <a:lnTo>
                    <a:pt x="81" y="101"/>
                  </a:lnTo>
                  <a:lnTo>
                    <a:pt x="66" y="117"/>
                  </a:lnTo>
                  <a:lnTo>
                    <a:pt x="41" y="118"/>
                  </a:lnTo>
                  <a:lnTo>
                    <a:pt x="11" y="97"/>
                  </a:lnTo>
                  <a:lnTo>
                    <a:pt x="0" y="69"/>
                  </a:lnTo>
                  <a:lnTo>
                    <a:pt x="10" y="53"/>
                  </a:lnTo>
                  <a:lnTo>
                    <a:pt x="31" y="55"/>
                  </a:lnTo>
                  <a:lnTo>
                    <a:pt x="42" y="47"/>
                  </a:lnTo>
                  <a:lnTo>
                    <a:pt x="53" y="32"/>
                  </a:lnTo>
                  <a:lnTo>
                    <a:pt x="55" y="19"/>
                  </a:lnTo>
                  <a:lnTo>
                    <a:pt x="84" y="1"/>
                  </a:lnTo>
                  <a:lnTo>
                    <a:pt x="93" y="5"/>
                  </a:lnTo>
                  <a:lnTo>
                    <a:pt x="110" y="0"/>
                  </a:lnTo>
                  <a:lnTo>
                    <a:pt x="129" y="19"/>
                  </a:lnTo>
                  <a:lnTo>
                    <a:pt x="150" y="10"/>
                  </a:lnTo>
                  <a:lnTo>
                    <a:pt x="174" y="16"/>
                  </a:lnTo>
                  <a:lnTo>
                    <a:pt x="198" y="7"/>
                  </a:lnTo>
                  <a:lnTo>
                    <a:pt x="240" y="28"/>
                  </a:lnTo>
                  <a:lnTo>
                    <a:pt x="225" y="76"/>
                  </a:lnTo>
                  <a:close/>
                </a:path>
              </a:pathLst>
            </a:custGeom>
            <a:grpFill/>
            <a:ln w="6350">
              <a:solidFill>
                <a:schemeClr val="tx2"/>
              </a:solidFill>
              <a:round/>
              <a:headEnd/>
              <a:tailEnd/>
            </a:ln>
          </p:spPr>
          <p:txBody>
            <a:bodyPr/>
            <a:lstStyle/>
            <a:p>
              <a:endParaRPr lang="en-US"/>
            </a:p>
          </p:txBody>
        </p:sp>
        <p:sp>
          <p:nvSpPr>
            <p:cNvPr id="697" name="Freeform 1444"/>
            <p:cNvSpPr>
              <a:spLocks/>
            </p:cNvSpPr>
            <p:nvPr/>
          </p:nvSpPr>
          <p:spPr bwMode="auto">
            <a:xfrm>
              <a:off x="4871682" y="3114833"/>
              <a:ext cx="145642" cy="86476"/>
            </a:xfrm>
            <a:custGeom>
              <a:avLst/>
              <a:gdLst>
                <a:gd name="T0" fmla="*/ 2147483647 w 296"/>
                <a:gd name="T1" fmla="*/ 2147483647 h 175"/>
                <a:gd name="T2" fmla="*/ 2147483647 w 296"/>
                <a:gd name="T3" fmla="*/ 2147483647 h 175"/>
                <a:gd name="T4" fmla="*/ 2147483647 w 296"/>
                <a:gd name="T5" fmla="*/ 2147483647 h 175"/>
                <a:gd name="T6" fmla="*/ 2147483647 w 296"/>
                <a:gd name="T7" fmla="*/ 2147483647 h 175"/>
                <a:gd name="T8" fmla="*/ 2147483647 w 296"/>
                <a:gd name="T9" fmla="*/ 2147483647 h 175"/>
                <a:gd name="T10" fmla="*/ 2147483647 w 296"/>
                <a:gd name="T11" fmla="*/ 2147483647 h 175"/>
                <a:gd name="T12" fmla="*/ 2147483647 w 296"/>
                <a:gd name="T13" fmla="*/ 2147483647 h 175"/>
                <a:gd name="T14" fmla="*/ 2147483647 w 296"/>
                <a:gd name="T15" fmla="*/ 2147483647 h 175"/>
                <a:gd name="T16" fmla="*/ 2147483647 w 296"/>
                <a:gd name="T17" fmla="*/ 2147483647 h 175"/>
                <a:gd name="T18" fmla="*/ 2147483647 w 296"/>
                <a:gd name="T19" fmla="*/ 2147483647 h 175"/>
                <a:gd name="T20" fmla="*/ 2147483647 w 296"/>
                <a:gd name="T21" fmla="*/ 2147483647 h 175"/>
                <a:gd name="T22" fmla="*/ 2147483647 w 296"/>
                <a:gd name="T23" fmla="*/ 2147483647 h 175"/>
                <a:gd name="T24" fmla="*/ 2147483647 w 296"/>
                <a:gd name="T25" fmla="*/ 2147483647 h 175"/>
                <a:gd name="T26" fmla="*/ 2147483647 w 296"/>
                <a:gd name="T27" fmla="*/ 2147483647 h 175"/>
                <a:gd name="T28" fmla="*/ 2147483647 w 296"/>
                <a:gd name="T29" fmla="*/ 2147483647 h 175"/>
                <a:gd name="T30" fmla="*/ 2147483647 w 296"/>
                <a:gd name="T31" fmla="*/ 0 h 175"/>
                <a:gd name="T32" fmla="*/ 2147483647 w 296"/>
                <a:gd name="T33" fmla="*/ 2147483647 h 175"/>
                <a:gd name="T34" fmla="*/ 2147483647 w 296"/>
                <a:gd name="T35" fmla="*/ 2147483647 h 175"/>
                <a:gd name="T36" fmla="*/ 2147483647 w 296"/>
                <a:gd name="T37" fmla="*/ 2147483647 h 175"/>
                <a:gd name="T38" fmla="*/ 2147483647 w 296"/>
                <a:gd name="T39" fmla="*/ 2147483647 h 175"/>
                <a:gd name="T40" fmla="*/ 0 w 296"/>
                <a:gd name="T41" fmla="*/ 2147483647 h 175"/>
                <a:gd name="T42" fmla="*/ 2147483647 w 296"/>
                <a:gd name="T43" fmla="*/ 2147483647 h 175"/>
                <a:gd name="T44" fmla="*/ 2147483647 w 296"/>
                <a:gd name="T45" fmla="*/ 2147483647 h 175"/>
                <a:gd name="T46" fmla="*/ 2147483647 w 296"/>
                <a:gd name="T47" fmla="*/ 2147483647 h 175"/>
                <a:gd name="T48" fmla="*/ 2147483647 w 296"/>
                <a:gd name="T49" fmla="*/ 2147483647 h 175"/>
                <a:gd name="T50" fmla="*/ 2147483647 w 296"/>
                <a:gd name="T51" fmla="*/ 2147483647 h 175"/>
                <a:gd name="T52" fmla="*/ 2147483647 w 296"/>
                <a:gd name="T53" fmla="*/ 2147483647 h 175"/>
                <a:gd name="T54" fmla="*/ 2147483647 w 296"/>
                <a:gd name="T55" fmla="*/ 2147483647 h 175"/>
                <a:gd name="T56" fmla="*/ 2147483647 w 296"/>
                <a:gd name="T57" fmla="*/ 2147483647 h 175"/>
                <a:gd name="T58" fmla="*/ 2147483647 w 296"/>
                <a:gd name="T59" fmla="*/ 2147483647 h 175"/>
                <a:gd name="T60" fmla="*/ 2147483647 w 296"/>
                <a:gd name="T61" fmla="*/ 2147483647 h 175"/>
                <a:gd name="T62" fmla="*/ 2147483647 w 296"/>
                <a:gd name="T63" fmla="*/ 2147483647 h 175"/>
                <a:gd name="T64" fmla="*/ 2147483647 w 296"/>
                <a:gd name="T65" fmla="*/ 2147483647 h 175"/>
                <a:gd name="T66" fmla="*/ 2147483647 w 296"/>
                <a:gd name="T67" fmla="*/ 2147483647 h 175"/>
                <a:gd name="T68" fmla="*/ 2147483647 w 296"/>
                <a:gd name="T69" fmla="*/ 2147483647 h 175"/>
                <a:gd name="T70" fmla="*/ 2147483647 w 296"/>
                <a:gd name="T71" fmla="*/ 2147483647 h 175"/>
                <a:gd name="T72" fmla="*/ 2147483647 w 296"/>
                <a:gd name="T73" fmla="*/ 2147483647 h 175"/>
                <a:gd name="T74" fmla="*/ 2147483647 w 296"/>
                <a:gd name="T75" fmla="*/ 2147483647 h 175"/>
                <a:gd name="T76" fmla="*/ 2147483647 w 296"/>
                <a:gd name="T77" fmla="*/ 2147483647 h 17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6"/>
                <a:gd name="T118" fmla="*/ 0 h 175"/>
                <a:gd name="T119" fmla="*/ 296 w 296"/>
                <a:gd name="T120" fmla="*/ 175 h 17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6" h="175">
                  <a:moveTo>
                    <a:pt x="296" y="107"/>
                  </a:moveTo>
                  <a:lnTo>
                    <a:pt x="282" y="101"/>
                  </a:lnTo>
                  <a:lnTo>
                    <a:pt x="267" y="78"/>
                  </a:lnTo>
                  <a:lnTo>
                    <a:pt x="248" y="70"/>
                  </a:lnTo>
                  <a:lnTo>
                    <a:pt x="248" y="58"/>
                  </a:lnTo>
                  <a:lnTo>
                    <a:pt x="213" y="49"/>
                  </a:lnTo>
                  <a:lnTo>
                    <a:pt x="215" y="58"/>
                  </a:lnTo>
                  <a:lnTo>
                    <a:pt x="206" y="64"/>
                  </a:lnTo>
                  <a:lnTo>
                    <a:pt x="184" y="48"/>
                  </a:lnTo>
                  <a:lnTo>
                    <a:pt x="188" y="36"/>
                  </a:lnTo>
                  <a:lnTo>
                    <a:pt x="171" y="25"/>
                  </a:lnTo>
                  <a:lnTo>
                    <a:pt x="149" y="22"/>
                  </a:lnTo>
                  <a:lnTo>
                    <a:pt x="137" y="11"/>
                  </a:lnTo>
                  <a:lnTo>
                    <a:pt x="126" y="23"/>
                  </a:lnTo>
                  <a:lnTo>
                    <a:pt x="119" y="19"/>
                  </a:lnTo>
                  <a:lnTo>
                    <a:pt x="96" y="0"/>
                  </a:lnTo>
                  <a:lnTo>
                    <a:pt x="93" y="18"/>
                  </a:lnTo>
                  <a:lnTo>
                    <a:pt x="19" y="54"/>
                  </a:lnTo>
                  <a:lnTo>
                    <a:pt x="15" y="65"/>
                  </a:lnTo>
                  <a:lnTo>
                    <a:pt x="1" y="54"/>
                  </a:lnTo>
                  <a:lnTo>
                    <a:pt x="0" y="64"/>
                  </a:lnTo>
                  <a:lnTo>
                    <a:pt x="16" y="76"/>
                  </a:lnTo>
                  <a:lnTo>
                    <a:pt x="18" y="101"/>
                  </a:lnTo>
                  <a:lnTo>
                    <a:pt x="26" y="111"/>
                  </a:lnTo>
                  <a:lnTo>
                    <a:pt x="79" y="160"/>
                  </a:lnTo>
                  <a:lnTo>
                    <a:pt x="95" y="168"/>
                  </a:lnTo>
                  <a:lnTo>
                    <a:pt x="113" y="168"/>
                  </a:lnTo>
                  <a:lnTo>
                    <a:pt x="128" y="159"/>
                  </a:lnTo>
                  <a:lnTo>
                    <a:pt x="135" y="143"/>
                  </a:lnTo>
                  <a:lnTo>
                    <a:pt x="161" y="144"/>
                  </a:lnTo>
                  <a:lnTo>
                    <a:pt x="178" y="159"/>
                  </a:lnTo>
                  <a:lnTo>
                    <a:pt x="206" y="157"/>
                  </a:lnTo>
                  <a:lnTo>
                    <a:pt x="212" y="175"/>
                  </a:lnTo>
                  <a:lnTo>
                    <a:pt x="222" y="159"/>
                  </a:lnTo>
                  <a:lnTo>
                    <a:pt x="243" y="161"/>
                  </a:lnTo>
                  <a:lnTo>
                    <a:pt x="254" y="153"/>
                  </a:lnTo>
                  <a:lnTo>
                    <a:pt x="265" y="138"/>
                  </a:lnTo>
                  <a:lnTo>
                    <a:pt x="267" y="125"/>
                  </a:lnTo>
                  <a:lnTo>
                    <a:pt x="296" y="107"/>
                  </a:lnTo>
                  <a:close/>
                </a:path>
              </a:pathLst>
            </a:custGeom>
            <a:grpFill/>
            <a:ln w="6350">
              <a:solidFill>
                <a:schemeClr val="tx2"/>
              </a:solidFill>
              <a:round/>
              <a:headEnd/>
              <a:tailEnd/>
            </a:ln>
          </p:spPr>
          <p:txBody>
            <a:bodyPr/>
            <a:lstStyle/>
            <a:p>
              <a:endParaRPr lang="en-US"/>
            </a:p>
          </p:txBody>
        </p:sp>
        <p:sp>
          <p:nvSpPr>
            <p:cNvPr id="698" name="Freeform 1445"/>
            <p:cNvSpPr>
              <a:spLocks/>
            </p:cNvSpPr>
            <p:nvPr/>
          </p:nvSpPr>
          <p:spPr bwMode="auto">
            <a:xfrm>
              <a:off x="4817066" y="3186138"/>
              <a:ext cx="165364" cy="80406"/>
            </a:xfrm>
            <a:custGeom>
              <a:avLst/>
              <a:gdLst>
                <a:gd name="T0" fmla="*/ 2147483647 w 329"/>
                <a:gd name="T1" fmla="*/ 2147483647 h 163"/>
                <a:gd name="T2" fmla="*/ 2147483647 w 329"/>
                <a:gd name="T3" fmla="*/ 2147483647 h 163"/>
                <a:gd name="T4" fmla="*/ 2147483647 w 329"/>
                <a:gd name="T5" fmla="*/ 2147483647 h 163"/>
                <a:gd name="T6" fmla="*/ 2147483647 w 329"/>
                <a:gd name="T7" fmla="*/ 2147483647 h 163"/>
                <a:gd name="T8" fmla="*/ 2147483647 w 329"/>
                <a:gd name="T9" fmla="*/ 2147483647 h 163"/>
                <a:gd name="T10" fmla="*/ 2147483647 w 329"/>
                <a:gd name="T11" fmla="*/ 2147483647 h 163"/>
                <a:gd name="T12" fmla="*/ 2147483647 w 329"/>
                <a:gd name="T13" fmla="*/ 2147483647 h 163"/>
                <a:gd name="T14" fmla="*/ 2147483647 w 329"/>
                <a:gd name="T15" fmla="*/ 2147483647 h 163"/>
                <a:gd name="T16" fmla="*/ 2147483647 w 329"/>
                <a:gd name="T17" fmla="*/ 2147483647 h 163"/>
                <a:gd name="T18" fmla="*/ 0 w 329"/>
                <a:gd name="T19" fmla="*/ 2147483647 h 163"/>
                <a:gd name="T20" fmla="*/ 2147483647 w 329"/>
                <a:gd name="T21" fmla="*/ 2147483647 h 163"/>
                <a:gd name="T22" fmla="*/ 2147483647 w 329"/>
                <a:gd name="T23" fmla="*/ 2147483647 h 163"/>
                <a:gd name="T24" fmla="*/ 2147483647 w 329"/>
                <a:gd name="T25" fmla="*/ 2147483647 h 163"/>
                <a:gd name="T26" fmla="*/ 2147483647 w 329"/>
                <a:gd name="T27" fmla="*/ 2147483647 h 163"/>
                <a:gd name="T28" fmla="*/ 2147483647 w 329"/>
                <a:gd name="T29" fmla="*/ 2147483647 h 163"/>
                <a:gd name="T30" fmla="*/ 2147483647 w 329"/>
                <a:gd name="T31" fmla="*/ 2147483647 h 163"/>
                <a:gd name="T32" fmla="*/ 2147483647 w 329"/>
                <a:gd name="T33" fmla="*/ 2147483647 h 163"/>
                <a:gd name="T34" fmla="*/ 2147483647 w 329"/>
                <a:gd name="T35" fmla="*/ 2147483647 h 163"/>
                <a:gd name="T36" fmla="*/ 2147483647 w 329"/>
                <a:gd name="T37" fmla="*/ 2147483647 h 163"/>
                <a:gd name="T38" fmla="*/ 2147483647 w 329"/>
                <a:gd name="T39" fmla="*/ 2147483647 h 163"/>
                <a:gd name="T40" fmla="*/ 2147483647 w 329"/>
                <a:gd name="T41" fmla="*/ 2147483647 h 163"/>
                <a:gd name="T42" fmla="*/ 2147483647 w 329"/>
                <a:gd name="T43" fmla="*/ 2147483647 h 163"/>
                <a:gd name="T44" fmla="*/ 2147483647 w 329"/>
                <a:gd name="T45" fmla="*/ 2147483647 h 163"/>
                <a:gd name="T46" fmla="*/ 2147483647 w 329"/>
                <a:gd name="T47" fmla="*/ 2147483647 h 163"/>
                <a:gd name="T48" fmla="*/ 2147483647 w 329"/>
                <a:gd name="T49" fmla="*/ 2147483647 h 163"/>
                <a:gd name="T50" fmla="*/ 2147483647 w 329"/>
                <a:gd name="T51" fmla="*/ 2147483647 h 163"/>
                <a:gd name="T52" fmla="*/ 2147483647 w 329"/>
                <a:gd name="T53" fmla="*/ 2147483647 h 163"/>
                <a:gd name="T54" fmla="*/ 2147483647 w 329"/>
                <a:gd name="T55" fmla="*/ 0 h 163"/>
                <a:gd name="T56" fmla="*/ 2147483647 w 329"/>
                <a:gd name="T57" fmla="*/ 2147483647 h 163"/>
                <a:gd name="T58" fmla="*/ 2147483647 w 329"/>
                <a:gd name="T59" fmla="*/ 2147483647 h 163"/>
                <a:gd name="T60" fmla="*/ 2147483647 w 329"/>
                <a:gd name="T61" fmla="*/ 2147483647 h 163"/>
                <a:gd name="T62" fmla="*/ 2147483647 w 329"/>
                <a:gd name="T63" fmla="*/ 2147483647 h 163"/>
                <a:gd name="T64" fmla="*/ 2147483647 w 329"/>
                <a:gd name="T65" fmla="*/ 2147483647 h 163"/>
                <a:gd name="T66" fmla="*/ 2147483647 w 329"/>
                <a:gd name="T67" fmla="*/ 2147483647 h 163"/>
                <a:gd name="T68" fmla="*/ 2147483647 w 329"/>
                <a:gd name="T69" fmla="*/ 2147483647 h 163"/>
                <a:gd name="T70" fmla="*/ 2147483647 w 329"/>
                <a:gd name="T71" fmla="*/ 2147483647 h 163"/>
                <a:gd name="T72" fmla="*/ 2147483647 w 329"/>
                <a:gd name="T73" fmla="*/ 2147483647 h 163"/>
                <a:gd name="T74" fmla="*/ 2147483647 w 329"/>
                <a:gd name="T75" fmla="*/ 2147483647 h 163"/>
                <a:gd name="T76" fmla="*/ 2147483647 w 329"/>
                <a:gd name="T77" fmla="*/ 2147483647 h 163"/>
                <a:gd name="T78" fmla="*/ 2147483647 w 329"/>
                <a:gd name="T79" fmla="*/ 2147483647 h 163"/>
                <a:gd name="T80" fmla="*/ 2147483647 w 329"/>
                <a:gd name="T81" fmla="*/ 2147483647 h 163"/>
                <a:gd name="T82" fmla="*/ 2147483647 w 329"/>
                <a:gd name="T83" fmla="*/ 2147483647 h 163"/>
                <a:gd name="T84" fmla="*/ 2147483647 w 329"/>
                <a:gd name="T85" fmla="*/ 2147483647 h 163"/>
                <a:gd name="T86" fmla="*/ 2147483647 w 329"/>
                <a:gd name="T87" fmla="*/ 2147483647 h 1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9"/>
                <a:gd name="T133" fmla="*/ 0 h 163"/>
                <a:gd name="T134" fmla="*/ 329 w 329"/>
                <a:gd name="T135" fmla="*/ 163 h 1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9" h="163">
                  <a:moveTo>
                    <a:pt x="181" y="160"/>
                  </a:moveTo>
                  <a:lnTo>
                    <a:pt x="128" y="146"/>
                  </a:lnTo>
                  <a:lnTo>
                    <a:pt x="119" y="140"/>
                  </a:lnTo>
                  <a:lnTo>
                    <a:pt x="113" y="124"/>
                  </a:lnTo>
                  <a:lnTo>
                    <a:pt x="54" y="140"/>
                  </a:lnTo>
                  <a:lnTo>
                    <a:pt x="41" y="137"/>
                  </a:lnTo>
                  <a:lnTo>
                    <a:pt x="8" y="128"/>
                  </a:lnTo>
                  <a:lnTo>
                    <a:pt x="2" y="118"/>
                  </a:lnTo>
                  <a:lnTo>
                    <a:pt x="6" y="104"/>
                  </a:lnTo>
                  <a:lnTo>
                    <a:pt x="0" y="98"/>
                  </a:lnTo>
                  <a:lnTo>
                    <a:pt x="15" y="94"/>
                  </a:lnTo>
                  <a:lnTo>
                    <a:pt x="35" y="106"/>
                  </a:lnTo>
                  <a:lnTo>
                    <a:pt x="46" y="94"/>
                  </a:lnTo>
                  <a:lnTo>
                    <a:pt x="76" y="101"/>
                  </a:lnTo>
                  <a:lnTo>
                    <a:pt x="120" y="84"/>
                  </a:lnTo>
                  <a:lnTo>
                    <a:pt x="141" y="87"/>
                  </a:lnTo>
                  <a:lnTo>
                    <a:pt x="144" y="93"/>
                  </a:lnTo>
                  <a:lnTo>
                    <a:pt x="150" y="90"/>
                  </a:lnTo>
                  <a:lnTo>
                    <a:pt x="143" y="58"/>
                  </a:lnTo>
                  <a:lnTo>
                    <a:pt x="147" y="49"/>
                  </a:lnTo>
                  <a:lnTo>
                    <a:pt x="165" y="42"/>
                  </a:lnTo>
                  <a:lnTo>
                    <a:pt x="171" y="29"/>
                  </a:lnTo>
                  <a:lnTo>
                    <a:pt x="184" y="23"/>
                  </a:lnTo>
                  <a:lnTo>
                    <a:pt x="185" y="17"/>
                  </a:lnTo>
                  <a:lnTo>
                    <a:pt x="201" y="25"/>
                  </a:lnTo>
                  <a:lnTo>
                    <a:pt x="219" y="25"/>
                  </a:lnTo>
                  <a:lnTo>
                    <a:pt x="234" y="16"/>
                  </a:lnTo>
                  <a:lnTo>
                    <a:pt x="241" y="0"/>
                  </a:lnTo>
                  <a:lnTo>
                    <a:pt x="267" y="1"/>
                  </a:lnTo>
                  <a:lnTo>
                    <a:pt x="284" y="16"/>
                  </a:lnTo>
                  <a:lnTo>
                    <a:pt x="312" y="14"/>
                  </a:lnTo>
                  <a:lnTo>
                    <a:pt x="318" y="32"/>
                  </a:lnTo>
                  <a:lnTo>
                    <a:pt x="329" y="60"/>
                  </a:lnTo>
                  <a:lnTo>
                    <a:pt x="325" y="82"/>
                  </a:lnTo>
                  <a:lnTo>
                    <a:pt x="305" y="83"/>
                  </a:lnTo>
                  <a:lnTo>
                    <a:pt x="302" y="89"/>
                  </a:lnTo>
                  <a:lnTo>
                    <a:pt x="307" y="95"/>
                  </a:lnTo>
                  <a:lnTo>
                    <a:pt x="300" y="109"/>
                  </a:lnTo>
                  <a:lnTo>
                    <a:pt x="301" y="125"/>
                  </a:lnTo>
                  <a:lnTo>
                    <a:pt x="283" y="135"/>
                  </a:lnTo>
                  <a:lnTo>
                    <a:pt x="276" y="145"/>
                  </a:lnTo>
                  <a:lnTo>
                    <a:pt x="230" y="150"/>
                  </a:lnTo>
                  <a:lnTo>
                    <a:pt x="216" y="163"/>
                  </a:lnTo>
                  <a:lnTo>
                    <a:pt x="181" y="160"/>
                  </a:lnTo>
                  <a:close/>
                </a:path>
              </a:pathLst>
            </a:custGeom>
            <a:grpFill/>
            <a:ln w="6350">
              <a:solidFill>
                <a:schemeClr val="tx2"/>
              </a:solidFill>
              <a:round/>
              <a:headEnd/>
              <a:tailEnd/>
            </a:ln>
          </p:spPr>
          <p:txBody>
            <a:bodyPr/>
            <a:lstStyle/>
            <a:p>
              <a:endParaRPr lang="en-US"/>
            </a:p>
          </p:txBody>
        </p:sp>
        <p:sp>
          <p:nvSpPr>
            <p:cNvPr id="699" name="Freeform 1446"/>
            <p:cNvSpPr>
              <a:spLocks/>
            </p:cNvSpPr>
            <p:nvPr/>
          </p:nvSpPr>
          <p:spPr bwMode="auto">
            <a:xfrm>
              <a:off x="4817066" y="3237719"/>
              <a:ext cx="6069" cy="12137"/>
            </a:xfrm>
            <a:custGeom>
              <a:avLst/>
              <a:gdLst>
                <a:gd name="T0" fmla="*/ 2147483647 w 11"/>
                <a:gd name="T1" fmla="*/ 2147483647 h 24"/>
                <a:gd name="T2" fmla="*/ 2147483647 w 11"/>
                <a:gd name="T3" fmla="*/ 2147483647 h 24"/>
                <a:gd name="T4" fmla="*/ 2147483647 w 11"/>
                <a:gd name="T5" fmla="*/ 0 h 24"/>
                <a:gd name="T6" fmla="*/ 0 w 11"/>
                <a:gd name="T7" fmla="*/ 2147483647 h 24"/>
                <a:gd name="T8" fmla="*/ 2147483647 w 11"/>
                <a:gd name="T9" fmla="*/ 2147483647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6" y="24"/>
                  </a:moveTo>
                  <a:lnTo>
                    <a:pt x="11" y="9"/>
                  </a:lnTo>
                  <a:lnTo>
                    <a:pt x="4" y="0"/>
                  </a:lnTo>
                  <a:lnTo>
                    <a:pt x="0" y="14"/>
                  </a:lnTo>
                  <a:lnTo>
                    <a:pt x="6" y="24"/>
                  </a:lnTo>
                  <a:close/>
                </a:path>
              </a:pathLst>
            </a:custGeom>
            <a:grpFill/>
            <a:ln w="6350">
              <a:solidFill>
                <a:schemeClr val="tx2"/>
              </a:solidFill>
              <a:round/>
              <a:headEnd/>
              <a:tailEnd/>
            </a:ln>
          </p:spPr>
          <p:txBody>
            <a:bodyPr/>
            <a:lstStyle/>
            <a:p>
              <a:endParaRPr lang="en-US"/>
            </a:p>
          </p:txBody>
        </p:sp>
        <p:sp>
          <p:nvSpPr>
            <p:cNvPr id="700" name="Freeform 1447"/>
            <p:cNvSpPr>
              <a:spLocks/>
            </p:cNvSpPr>
            <p:nvPr/>
          </p:nvSpPr>
          <p:spPr bwMode="auto">
            <a:xfrm>
              <a:off x="4759416" y="3248339"/>
              <a:ext cx="251841" cy="263978"/>
            </a:xfrm>
            <a:custGeom>
              <a:avLst/>
              <a:gdLst>
                <a:gd name="T0" fmla="*/ 2147483647 w 506"/>
                <a:gd name="T1" fmla="*/ 2147483647 h 533"/>
                <a:gd name="T2" fmla="*/ 2147483647 w 506"/>
                <a:gd name="T3" fmla="*/ 2147483647 h 533"/>
                <a:gd name="T4" fmla="*/ 2147483647 w 506"/>
                <a:gd name="T5" fmla="*/ 2147483647 h 533"/>
                <a:gd name="T6" fmla="*/ 2147483647 w 506"/>
                <a:gd name="T7" fmla="*/ 2147483647 h 533"/>
                <a:gd name="T8" fmla="*/ 2147483647 w 506"/>
                <a:gd name="T9" fmla="*/ 2147483647 h 533"/>
                <a:gd name="T10" fmla="*/ 2147483647 w 506"/>
                <a:gd name="T11" fmla="*/ 2147483647 h 533"/>
                <a:gd name="T12" fmla="*/ 2147483647 w 506"/>
                <a:gd name="T13" fmla="*/ 2147483647 h 533"/>
                <a:gd name="T14" fmla="*/ 2147483647 w 506"/>
                <a:gd name="T15" fmla="*/ 2147483647 h 533"/>
                <a:gd name="T16" fmla="*/ 2147483647 w 506"/>
                <a:gd name="T17" fmla="*/ 2147483647 h 533"/>
                <a:gd name="T18" fmla="*/ 2147483647 w 506"/>
                <a:gd name="T19" fmla="*/ 2147483647 h 533"/>
                <a:gd name="T20" fmla="*/ 2147483647 w 506"/>
                <a:gd name="T21" fmla="*/ 2147483647 h 533"/>
                <a:gd name="T22" fmla="*/ 2147483647 w 506"/>
                <a:gd name="T23" fmla="*/ 2147483647 h 533"/>
                <a:gd name="T24" fmla="*/ 2147483647 w 506"/>
                <a:gd name="T25" fmla="*/ 2147483647 h 533"/>
                <a:gd name="T26" fmla="*/ 2147483647 w 506"/>
                <a:gd name="T27" fmla="*/ 2147483647 h 533"/>
                <a:gd name="T28" fmla="*/ 2147483647 w 506"/>
                <a:gd name="T29" fmla="*/ 2147483647 h 533"/>
                <a:gd name="T30" fmla="*/ 2147483647 w 506"/>
                <a:gd name="T31" fmla="*/ 2147483647 h 533"/>
                <a:gd name="T32" fmla="*/ 2147483647 w 506"/>
                <a:gd name="T33" fmla="*/ 2147483647 h 533"/>
                <a:gd name="T34" fmla="*/ 2147483647 w 506"/>
                <a:gd name="T35" fmla="*/ 2147483647 h 533"/>
                <a:gd name="T36" fmla="*/ 2147483647 w 506"/>
                <a:gd name="T37" fmla="*/ 2147483647 h 533"/>
                <a:gd name="T38" fmla="*/ 2147483647 w 506"/>
                <a:gd name="T39" fmla="*/ 2147483647 h 533"/>
                <a:gd name="T40" fmla="*/ 2147483647 w 506"/>
                <a:gd name="T41" fmla="*/ 2147483647 h 533"/>
                <a:gd name="T42" fmla="*/ 2147483647 w 506"/>
                <a:gd name="T43" fmla="*/ 2147483647 h 533"/>
                <a:gd name="T44" fmla="*/ 2147483647 w 506"/>
                <a:gd name="T45" fmla="*/ 2147483647 h 533"/>
                <a:gd name="T46" fmla="*/ 2147483647 w 506"/>
                <a:gd name="T47" fmla="*/ 2147483647 h 533"/>
                <a:gd name="T48" fmla="*/ 2147483647 w 506"/>
                <a:gd name="T49" fmla="*/ 2147483647 h 533"/>
                <a:gd name="T50" fmla="*/ 2147483647 w 506"/>
                <a:gd name="T51" fmla="*/ 2147483647 h 533"/>
                <a:gd name="T52" fmla="*/ 2147483647 w 506"/>
                <a:gd name="T53" fmla="*/ 2147483647 h 533"/>
                <a:gd name="T54" fmla="*/ 2147483647 w 506"/>
                <a:gd name="T55" fmla="*/ 2147483647 h 533"/>
                <a:gd name="T56" fmla="*/ 2147483647 w 506"/>
                <a:gd name="T57" fmla="*/ 2147483647 h 533"/>
                <a:gd name="T58" fmla="*/ 2147483647 w 506"/>
                <a:gd name="T59" fmla="*/ 2147483647 h 533"/>
                <a:gd name="T60" fmla="*/ 2147483647 w 506"/>
                <a:gd name="T61" fmla="*/ 2147483647 h 533"/>
                <a:gd name="T62" fmla="*/ 2147483647 w 506"/>
                <a:gd name="T63" fmla="*/ 2147483647 h 533"/>
                <a:gd name="T64" fmla="*/ 2147483647 w 506"/>
                <a:gd name="T65" fmla="*/ 2147483647 h 533"/>
                <a:gd name="T66" fmla="*/ 2147483647 w 506"/>
                <a:gd name="T67" fmla="*/ 2147483647 h 533"/>
                <a:gd name="T68" fmla="*/ 2147483647 w 506"/>
                <a:gd name="T69" fmla="*/ 2147483647 h 533"/>
                <a:gd name="T70" fmla="*/ 2147483647 w 506"/>
                <a:gd name="T71" fmla="*/ 2147483647 h 533"/>
                <a:gd name="T72" fmla="*/ 2147483647 w 506"/>
                <a:gd name="T73" fmla="*/ 2147483647 h 533"/>
                <a:gd name="T74" fmla="*/ 2147483647 w 506"/>
                <a:gd name="T75" fmla="*/ 2147483647 h 533"/>
                <a:gd name="T76" fmla="*/ 2147483647 w 506"/>
                <a:gd name="T77" fmla="*/ 2147483647 h 533"/>
                <a:gd name="T78" fmla="*/ 2147483647 w 506"/>
                <a:gd name="T79" fmla="*/ 2147483647 h 533"/>
                <a:gd name="T80" fmla="*/ 2147483647 w 506"/>
                <a:gd name="T81" fmla="*/ 2147483647 h 533"/>
                <a:gd name="T82" fmla="*/ 2147483647 w 506"/>
                <a:gd name="T83" fmla="*/ 2147483647 h 533"/>
                <a:gd name="T84" fmla="*/ 0 w 506"/>
                <a:gd name="T85" fmla="*/ 2147483647 h 533"/>
                <a:gd name="T86" fmla="*/ 2147483647 w 506"/>
                <a:gd name="T87" fmla="*/ 2147483647 h 533"/>
                <a:gd name="T88" fmla="*/ 2147483647 w 506"/>
                <a:gd name="T89" fmla="*/ 2147483647 h 5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06"/>
                <a:gd name="T136" fmla="*/ 0 h 533"/>
                <a:gd name="T137" fmla="*/ 506 w 506"/>
                <a:gd name="T138" fmla="*/ 533 h 53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06" h="533">
                  <a:moveTo>
                    <a:pt x="36" y="198"/>
                  </a:moveTo>
                  <a:lnTo>
                    <a:pt x="62" y="192"/>
                  </a:lnTo>
                  <a:lnTo>
                    <a:pt x="76" y="170"/>
                  </a:lnTo>
                  <a:lnTo>
                    <a:pt x="91" y="163"/>
                  </a:lnTo>
                  <a:lnTo>
                    <a:pt x="104" y="166"/>
                  </a:lnTo>
                  <a:lnTo>
                    <a:pt x="149" y="189"/>
                  </a:lnTo>
                  <a:lnTo>
                    <a:pt x="166" y="245"/>
                  </a:lnTo>
                  <a:lnTo>
                    <a:pt x="189" y="270"/>
                  </a:lnTo>
                  <a:lnTo>
                    <a:pt x="192" y="281"/>
                  </a:lnTo>
                  <a:lnTo>
                    <a:pt x="203" y="279"/>
                  </a:lnTo>
                  <a:lnTo>
                    <a:pt x="210" y="285"/>
                  </a:lnTo>
                  <a:lnTo>
                    <a:pt x="222" y="300"/>
                  </a:lnTo>
                  <a:lnTo>
                    <a:pt x="230" y="301"/>
                  </a:lnTo>
                  <a:lnTo>
                    <a:pt x="273" y="347"/>
                  </a:lnTo>
                  <a:lnTo>
                    <a:pt x="303" y="348"/>
                  </a:lnTo>
                  <a:lnTo>
                    <a:pt x="317" y="369"/>
                  </a:lnTo>
                  <a:lnTo>
                    <a:pt x="330" y="374"/>
                  </a:lnTo>
                  <a:lnTo>
                    <a:pt x="330" y="383"/>
                  </a:lnTo>
                  <a:lnTo>
                    <a:pt x="350" y="382"/>
                  </a:lnTo>
                  <a:lnTo>
                    <a:pt x="358" y="406"/>
                  </a:lnTo>
                  <a:lnTo>
                    <a:pt x="375" y="420"/>
                  </a:lnTo>
                  <a:lnTo>
                    <a:pt x="383" y="413"/>
                  </a:lnTo>
                  <a:lnTo>
                    <a:pt x="409" y="483"/>
                  </a:lnTo>
                  <a:lnTo>
                    <a:pt x="392" y="493"/>
                  </a:lnTo>
                  <a:lnTo>
                    <a:pt x="395" y="501"/>
                  </a:lnTo>
                  <a:lnTo>
                    <a:pt x="387" y="518"/>
                  </a:lnTo>
                  <a:lnTo>
                    <a:pt x="389" y="533"/>
                  </a:lnTo>
                  <a:lnTo>
                    <a:pt x="401" y="533"/>
                  </a:lnTo>
                  <a:lnTo>
                    <a:pt x="413" y="514"/>
                  </a:lnTo>
                  <a:lnTo>
                    <a:pt x="423" y="508"/>
                  </a:lnTo>
                  <a:lnTo>
                    <a:pt x="428" y="482"/>
                  </a:lnTo>
                  <a:lnTo>
                    <a:pt x="447" y="473"/>
                  </a:lnTo>
                  <a:lnTo>
                    <a:pt x="445" y="450"/>
                  </a:lnTo>
                  <a:lnTo>
                    <a:pt x="422" y="432"/>
                  </a:lnTo>
                  <a:lnTo>
                    <a:pt x="427" y="410"/>
                  </a:lnTo>
                  <a:lnTo>
                    <a:pt x="433" y="399"/>
                  </a:lnTo>
                  <a:lnTo>
                    <a:pt x="450" y="388"/>
                  </a:lnTo>
                  <a:lnTo>
                    <a:pt x="483" y="405"/>
                  </a:lnTo>
                  <a:lnTo>
                    <a:pt x="492" y="422"/>
                  </a:lnTo>
                  <a:lnTo>
                    <a:pt x="500" y="426"/>
                  </a:lnTo>
                  <a:lnTo>
                    <a:pt x="506" y="412"/>
                  </a:lnTo>
                  <a:lnTo>
                    <a:pt x="483" y="375"/>
                  </a:lnTo>
                  <a:lnTo>
                    <a:pt x="397" y="336"/>
                  </a:lnTo>
                  <a:lnTo>
                    <a:pt x="395" y="329"/>
                  </a:lnTo>
                  <a:lnTo>
                    <a:pt x="405" y="320"/>
                  </a:lnTo>
                  <a:lnTo>
                    <a:pt x="406" y="313"/>
                  </a:lnTo>
                  <a:lnTo>
                    <a:pt x="401" y="306"/>
                  </a:lnTo>
                  <a:lnTo>
                    <a:pt x="366" y="309"/>
                  </a:lnTo>
                  <a:lnTo>
                    <a:pt x="366" y="315"/>
                  </a:lnTo>
                  <a:lnTo>
                    <a:pt x="343" y="298"/>
                  </a:lnTo>
                  <a:lnTo>
                    <a:pt x="318" y="270"/>
                  </a:lnTo>
                  <a:lnTo>
                    <a:pt x="294" y="211"/>
                  </a:lnTo>
                  <a:lnTo>
                    <a:pt x="247" y="179"/>
                  </a:lnTo>
                  <a:lnTo>
                    <a:pt x="240" y="164"/>
                  </a:lnTo>
                  <a:lnTo>
                    <a:pt x="240" y="150"/>
                  </a:lnTo>
                  <a:lnTo>
                    <a:pt x="247" y="134"/>
                  </a:lnTo>
                  <a:lnTo>
                    <a:pt x="247" y="128"/>
                  </a:lnTo>
                  <a:lnTo>
                    <a:pt x="239" y="121"/>
                  </a:lnTo>
                  <a:lnTo>
                    <a:pt x="239" y="104"/>
                  </a:lnTo>
                  <a:lnTo>
                    <a:pt x="280" y="84"/>
                  </a:lnTo>
                  <a:lnTo>
                    <a:pt x="301" y="83"/>
                  </a:lnTo>
                  <a:lnTo>
                    <a:pt x="298" y="95"/>
                  </a:lnTo>
                  <a:lnTo>
                    <a:pt x="310" y="89"/>
                  </a:lnTo>
                  <a:lnTo>
                    <a:pt x="295" y="76"/>
                  </a:lnTo>
                  <a:lnTo>
                    <a:pt x="292" y="65"/>
                  </a:lnTo>
                  <a:lnTo>
                    <a:pt x="295" y="53"/>
                  </a:lnTo>
                  <a:lnTo>
                    <a:pt x="289" y="53"/>
                  </a:lnTo>
                  <a:lnTo>
                    <a:pt x="299" y="36"/>
                  </a:lnTo>
                  <a:lnTo>
                    <a:pt x="246" y="22"/>
                  </a:lnTo>
                  <a:lnTo>
                    <a:pt x="237" y="16"/>
                  </a:lnTo>
                  <a:lnTo>
                    <a:pt x="231" y="0"/>
                  </a:lnTo>
                  <a:lnTo>
                    <a:pt x="172" y="16"/>
                  </a:lnTo>
                  <a:lnTo>
                    <a:pt x="159" y="13"/>
                  </a:lnTo>
                  <a:lnTo>
                    <a:pt x="157" y="27"/>
                  </a:lnTo>
                  <a:lnTo>
                    <a:pt x="145" y="30"/>
                  </a:lnTo>
                  <a:lnTo>
                    <a:pt x="145" y="49"/>
                  </a:lnTo>
                  <a:lnTo>
                    <a:pt x="110" y="38"/>
                  </a:lnTo>
                  <a:lnTo>
                    <a:pt x="97" y="72"/>
                  </a:lnTo>
                  <a:lnTo>
                    <a:pt x="77" y="56"/>
                  </a:lnTo>
                  <a:lnTo>
                    <a:pt x="72" y="41"/>
                  </a:lnTo>
                  <a:lnTo>
                    <a:pt x="47" y="70"/>
                  </a:lnTo>
                  <a:lnTo>
                    <a:pt x="10" y="74"/>
                  </a:lnTo>
                  <a:lnTo>
                    <a:pt x="2" y="78"/>
                  </a:lnTo>
                  <a:lnTo>
                    <a:pt x="13" y="111"/>
                  </a:lnTo>
                  <a:lnTo>
                    <a:pt x="1" y="122"/>
                  </a:lnTo>
                  <a:lnTo>
                    <a:pt x="0" y="132"/>
                  </a:lnTo>
                  <a:lnTo>
                    <a:pt x="8" y="138"/>
                  </a:lnTo>
                  <a:lnTo>
                    <a:pt x="7" y="160"/>
                  </a:lnTo>
                  <a:lnTo>
                    <a:pt x="14" y="176"/>
                  </a:lnTo>
                  <a:lnTo>
                    <a:pt x="34" y="178"/>
                  </a:lnTo>
                  <a:lnTo>
                    <a:pt x="36" y="198"/>
                  </a:lnTo>
                  <a:close/>
                </a:path>
              </a:pathLst>
            </a:custGeom>
            <a:grpFill/>
            <a:ln w="6350">
              <a:solidFill>
                <a:schemeClr val="tx2"/>
              </a:solidFill>
              <a:round/>
              <a:headEnd/>
              <a:tailEnd/>
            </a:ln>
          </p:spPr>
          <p:txBody>
            <a:bodyPr/>
            <a:lstStyle/>
            <a:p>
              <a:endParaRPr lang="en-US"/>
            </a:p>
          </p:txBody>
        </p:sp>
        <p:sp>
          <p:nvSpPr>
            <p:cNvPr id="701" name="Freeform 1448"/>
            <p:cNvSpPr>
              <a:spLocks/>
            </p:cNvSpPr>
            <p:nvPr/>
          </p:nvSpPr>
          <p:spPr bwMode="auto">
            <a:xfrm>
              <a:off x="4677492" y="3189173"/>
              <a:ext cx="124403" cy="107715"/>
            </a:xfrm>
            <a:custGeom>
              <a:avLst/>
              <a:gdLst>
                <a:gd name="T0" fmla="*/ 2147483647 w 253"/>
                <a:gd name="T1" fmla="*/ 2147483647 h 216"/>
                <a:gd name="T2" fmla="*/ 2147483647 w 253"/>
                <a:gd name="T3" fmla="*/ 2147483647 h 216"/>
                <a:gd name="T4" fmla="*/ 2147483647 w 253"/>
                <a:gd name="T5" fmla="*/ 2147483647 h 216"/>
                <a:gd name="T6" fmla="*/ 2147483647 w 253"/>
                <a:gd name="T7" fmla="*/ 2147483647 h 216"/>
                <a:gd name="T8" fmla="*/ 2147483647 w 253"/>
                <a:gd name="T9" fmla="*/ 2147483647 h 216"/>
                <a:gd name="T10" fmla="*/ 2147483647 w 253"/>
                <a:gd name="T11" fmla="*/ 0 h 216"/>
                <a:gd name="T12" fmla="*/ 2147483647 w 253"/>
                <a:gd name="T13" fmla="*/ 2147483647 h 216"/>
                <a:gd name="T14" fmla="*/ 2147483647 w 253"/>
                <a:gd name="T15" fmla="*/ 2147483647 h 216"/>
                <a:gd name="T16" fmla="*/ 2147483647 w 253"/>
                <a:gd name="T17" fmla="*/ 2147483647 h 216"/>
                <a:gd name="T18" fmla="*/ 2147483647 w 253"/>
                <a:gd name="T19" fmla="*/ 2147483647 h 216"/>
                <a:gd name="T20" fmla="*/ 2147483647 w 253"/>
                <a:gd name="T21" fmla="*/ 2147483647 h 216"/>
                <a:gd name="T22" fmla="*/ 2147483647 w 253"/>
                <a:gd name="T23" fmla="*/ 2147483647 h 216"/>
                <a:gd name="T24" fmla="*/ 2147483647 w 253"/>
                <a:gd name="T25" fmla="*/ 2147483647 h 216"/>
                <a:gd name="T26" fmla="*/ 2147483647 w 253"/>
                <a:gd name="T27" fmla="*/ 2147483647 h 216"/>
                <a:gd name="T28" fmla="*/ 2147483647 w 253"/>
                <a:gd name="T29" fmla="*/ 2147483647 h 216"/>
                <a:gd name="T30" fmla="*/ 2147483647 w 253"/>
                <a:gd name="T31" fmla="*/ 2147483647 h 216"/>
                <a:gd name="T32" fmla="*/ 2147483647 w 253"/>
                <a:gd name="T33" fmla="*/ 2147483647 h 216"/>
                <a:gd name="T34" fmla="*/ 2147483647 w 253"/>
                <a:gd name="T35" fmla="*/ 2147483647 h 216"/>
                <a:gd name="T36" fmla="*/ 0 w 253"/>
                <a:gd name="T37" fmla="*/ 2147483647 h 216"/>
                <a:gd name="T38" fmla="*/ 0 w 253"/>
                <a:gd name="T39" fmla="*/ 2147483647 h 216"/>
                <a:gd name="T40" fmla="*/ 2147483647 w 253"/>
                <a:gd name="T41" fmla="*/ 2147483647 h 216"/>
                <a:gd name="T42" fmla="*/ 2147483647 w 253"/>
                <a:gd name="T43" fmla="*/ 2147483647 h 216"/>
                <a:gd name="T44" fmla="*/ 2147483647 w 253"/>
                <a:gd name="T45" fmla="*/ 2147483647 h 216"/>
                <a:gd name="T46" fmla="*/ 2147483647 w 253"/>
                <a:gd name="T47" fmla="*/ 2147483647 h 216"/>
                <a:gd name="T48" fmla="*/ 2147483647 w 253"/>
                <a:gd name="T49" fmla="*/ 2147483647 h 216"/>
                <a:gd name="T50" fmla="*/ 2147483647 w 253"/>
                <a:gd name="T51" fmla="*/ 2147483647 h 216"/>
                <a:gd name="T52" fmla="*/ 2147483647 w 253"/>
                <a:gd name="T53" fmla="*/ 2147483647 h 216"/>
                <a:gd name="T54" fmla="*/ 2147483647 w 253"/>
                <a:gd name="T55" fmla="*/ 2147483647 h 216"/>
                <a:gd name="T56" fmla="*/ 2147483647 w 253"/>
                <a:gd name="T57" fmla="*/ 2147483647 h 216"/>
                <a:gd name="T58" fmla="*/ 2147483647 w 253"/>
                <a:gd name="T59" fmla="*/ 2147483647 h 216"/>
                <a:gd name="T60" fmla="*/ 2147483647 w 253"/>
                <a:gd name="T61" fmla="*/ 2147483647 h 216"/>
                <a:gd name="T62" fmla="*/ 2147483647 w 253"/>
                <a:gd name="T63" fmla="*/ 2147483647 h 216"/>
                <a:gd name="T64" fmla="*/ 2147483647 w 253"/>
                <a:gd name="T65" fmla="*/ 2147483647 h 216"/>
                <a:gd name="T66" fmla="*/ 2147483647 w 253"/>
                <a:gd name="T67" fmla="*/ 2147483647 h 216"/>
                <a:gd name="T68" fmla="*/ 2147483647 w 253"/>
                <a:gd name="T69" fmla="*/ 2147483647 h 216"/>
                <a:gd name="T70" fmla="*/ 2147483647 w 253"/>
                <a:gd name="T71" fmla="*/ 2147483647 h 216"/>
                <a:gd name="T72" fmla="*/ 2147483647 w 253"/>
                <a:gd name="T73" fmla="*/ 2147483647 h 216"/>
                <a:gd name="T74" fmla="*/ 2147483647 w 253"/>
                <a:gd name="T75" fmla="*/ 2147483647 h 216"/>
                <a:gd name="T76" fmla="*/ 2147483647 w 253"/>
                <a:gd name="T77" fmla="*/ 2147483647 h 216"/>
                <a:gd name="T78" fmla="*/ 2147483647 w 253"/>
                <a:gd name="T79" fmla="*/ 2147483647 h 216"/>
                <a:gd name="T80" fmla="*/ 2147483647 w 253"/>
                <a:gd name="T81" fmla="*/ 2147483647 h 216"/>
                <a:gd name="T82" fmla="*/ 2147483647 w 253"/>
                <a:gd name="T83" fmla="*/ 2147483647 h 216"/>
                <a:gd name="T84" fmla="*/ 2147483647 w 253"/>
                <a:gd name="T85" fmla="*/ 2147483647 h 216"/>
                <a:gd name="T86" fmla="*/ 2147483647 w 253"/>
                <a:gd name="T87" fmla="*/ 2147483647 h 216"/>
                <a:gd name="T88" fmla="*/ 2147483647 w 253"/>
                <a:gd name="T89" fmla="*/ 2147483647 h 216"/>
                <a:gd name="T90" fmla="*/ 2147483647 w 253"/>
                <a:gd name="T91" fmla="*/ 2147483647 h 216"/>
                <a:gd name="T92" fmla="*/ 2147483647 w 253"/>
                <a:gd name="T93" fmla="*/ 2147483647 h 216"/>
                <a:gd name="T94" fmla="*/ 2147483647 w 253"/>
                <a:gd name="T95" fmla="*/ 2147483647 h 216"/>
                <a:gd name="T96" fmla="*/ 2147483647 w 253"/>
                <a:gd name="T97" fmla="*/ 2147483647 h 216"/>
                <a:gd name="T98" fmla="*/ 2147483647 w 253"/>
                <a:gd name="T99" fmla="*/ 2147483647 h 216"/>
                <a:gd name="T100" fmla="*/ 2147483647 w 253"/>
                <a:gd name="T101" fmla="*/ 2147483647 h 216"/>
                <a:gd name="T102" fmla="*/ 2147483647 w 253"/>
                <a:gd name="T103" fmla="*/ 2147483647 h 216"/>
                <a:gd name="T104" fmla="*/ 2147483647 w 253"/>
                <a:gd name="T105" fmla="*/ 2147483647 h 216"/>
                <a:gd name="T106" fmla="*/ 2147483647 w 253"/>
                <a:gd name="T107" fmla="*/ 2147483647 h 216"/>
                <a:gd name="T108" fmla="*/ 2147483647 w 253"/>
                <a:gd name="T109" fmla="*/ 2147483647 h 216"/>
                <a:gd name="T110" fmla="*/ 2147483647 w 253"/>
                <a:gd name="T111" fmla="*/ 2147483647 h 216"/>
                <a:gd name="T112" fmla="*/ 2147483647 w 253"/>
                <a:gd name="T113" fmla="*/ 2147483647 h 216"/>
                <a:gd name="T114" fmla="*/ 2147483647 w 253"/>
                <a:gd name="T115" fmla="*/ 2147483647 h 216"/>
                <a:gd name="T116" fmla="*/ 2147483647 w 253"/>
                <a:gd name="T117" fmla="*/ 2147483647 h 216"/>
                <a:gd name="T118" fmla="*/ 2147483647 w 253"/>
                <a:gd name="T119" fmla="*/ 2147483647 h 2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3"/>
                <a:gd name="T181" fmla="*/ 0 h 216"/>
                <a:gd name="T182" fmla="*/ 253 w 253"/>
                <a:gd name="T183" fmla="*/ 216 h 2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3" h="216">
                  <a:moveTo>
                    <a:pt x="223" y="39"/>
                  </a:moveTo>
                  <a:lnTo>
                    <a:pt x="189" y="48"/>
                  </a:lnTo>
                  <a:lnTo>
                    <a:pt x="168" y="38"/>
                  </a:lnTo>
                  <a:lnTo>
                    <a:pt x="132" y="5"/>
                  </a:lnTo>
                  <a:lnTo>
                    <a:pt x="130" y="4"/>
                  </a:lnTo>
                  <a:lnTo>
                    <a:pt x="119" y="0"/>
                  </a:lnTo>
                  <a:lnTo>
                    <a:pt x="116" y="12"/>
                  </a:lnTo>
                  <a:lnTo>
                    <a:pt x="89" y="22"/>
                  </a:lnTo>
                  <a:lnTo>
                    <a:pt x="87" y="29"/>
                  </a:lnTo>
                  <a:lnTo>
                    <a:pt x="92" y="34"/>
                  </a:lnTo>
                  <a:lnTo>
                    <a:pt x="92" y="43"/>
                  </a:lnTo>
                  <a:lnTo>
                    <a:pt x="74" y="56"/>
                  </a:lnTo>
                  <a:lnTo>
                    <a:pt x="74" y="74"/>
                  </a:lnTo>
                  <a:lnTo>
                    <a:pt x="70" y="77"/>
                  </a:lnTo>
                  <a:lnTo>
                    <a:pt x="59" y="71"/>
                  </a:lnTo>
                  <a:lnTo>
                    <a:pt x="54" y="74"/>
                  </a:lnTo>
                  <a:lnTo>
                    <a:pt x="44" y="58"/>
                  </a:lnTo>
                  <a:lnTo>
                    <a:pt x="36" y="71"/>
                  </a:lnTo>
                  <a:lnTo>
                    <a:pt x="0" y="67"/>
                  </a:lnTo>
                  <a:lnTo>
                    <a:pt x="0" y="68"/>
                  </a:lnTo>
                  <a:lnTo>
                    <a:pt x="3" y="84"/>
                  </a:lnTo>
                  <a:lnTo>
                    <a:pt x="13" y="104"/>
                  </a:lnTo>
                  <a:lnTo>
                    <a:pt x="21" y="106"/>
                  </a:lnTo>
                  <a:lnTo>
                    <a:pt x="35" y="77"/>
                  </a:lnTo>
                  <a:lnTo>
                    <a:pt x="44" y="80"/>
                  </a:lnTo>
                  <a:lnTo>
                    <a:pt x="57" y="92"/>
                  </a:lnTo>
                  <a:lnTo>
                    <a:pt x="66" y="124"/>
                  </a:lnTo>
                  <a:lnTo>
                    <a:pt x="81" y="138"/>
                  </a:lnTo>
                  <a:lnTo>
                    <a:pt x="73" y="139"/>
                  </a:lnTo>
                  <a:lnTo>
                    <a:pt x="72" y="147"/>
                  </a:lnTo>
                  <a:lnTo>
                    <a:pt x="102" y="172"/>
                  </a:lnTo>
                  <a:lnTo>
                    <a:pt x="106" y="185"/>
                  </a:lnTo>
                  <a:lnTo>
                    <a:pt x="144" y="191"/>
                  </a:lnTo>
                  <a:lnTo>
                    <a:pt x="172" y="216"/>
                  </a:lnTo>
                  <a:lnTo>
                    <a:pt x="171" y="216"/>
                  </a:lnTo>
                  <a:lnTo>
                    <a:pt x="177" y="212"/>
                  </a:lnTo>
                  <a:lnTo>
                    <a:pt x="160" y="193"/>
                  </a:lnTo>
                  <a:lnTo>
                    <a:pt x="158" y="184"/>
                  </a:lnTo>
                  <a:lnTo>
                    <a:pt x="112" y="138"/>
                  </a:lnTo>
                  <a:lnTo>
                    <a:pt x="111" y="121"/>
                  </a:lnTo>
                  <a:lnTo>
                    <a:pt x="103" y="107"/>
                  </a:lnTo>
                  <a:lnTo>
                    <a:pt x="94" y="102"/>
                  </a:lnTo>
                  <a:lnTo>
                    <a:pt x="96" y="80"/>
                  </a:lnTo>
                  <a:lnTo>
                    <a:pt x="107" y="77"/>
                  </a:lnTo>
                  <a:lnTo>
                    <a:pt x="121" y="91"/>
                  </a:lnTo>
                  <a:lnTo>
                    <a:pt x="129" y="77"/>
                  </a:lnTo>
                  <a:lnTo>
                    <a:pt x="137" y="77"/>
                  </a:lnTo>
                  <a:lnTo>
                    <a:pt x="147" y="75"/>
                  </a:lnTo>
                  <a:lnTo>
                    <a:pt x="186" y="88"/>
                  </a:lnTo>
                  <a:lnTo>
                    <a:pt x="193" y="83"/>
                  </a:lnTo>
                  <a:lnTo>
                    <a:pt x="222" y="87"/>
                  </a:lnTo>
                  <a:lnTo>
                    <a:pt x="229" y="101"/>
                  </a:lnTo>
                  <a:lnTo>
                    <a:pt x="241" y="97"/>
                  </a:lnTo>
                  <a:lnTo>
                    <a:pt x="242" y="79"/>
                  </a:lnTo>
                  <a:lnTo>
                    <a:pt x="253" y="77"/>
                  </a:lnTo>
                  <a:lnTo>
                    <a:pt x="233" y="70"/>
                  </a:lnTo>
                  <a:lnTo>
                    <a:pt x="236" y="60"/>
                  </a:lnTo>
                  <a:lnTo>
                    <a:pt x="228" y="58"/>
                  </a:lnTo>
                  <a:lnTo>
                    <a:pt x="229" y="44"/>
                  </a:lnTo>
                  <a:lnTo>
                    <a:pt x="223" y="39"/>
                  </a:lnTo>
                  <a:close/>
                </a:path>
              </a:pathLst>
            </a:custGeom>
            <a:grpFill/>
            <a:ln w="6350">
              <a:solidFill>
                <a:schemeClr val="tx2"/>
              </a:solidFill>
              <a:round/>
              <a:headEnd/>
              <a:tailEnd/>
            </a:ln>
          </p:spPr>
          <p:txBody>
            <a:bodyPr/>
            <a:lstStyle/>
            <a:p>
              <a:endParaRPr lang="en-US"/>
            </a:p>
          </p:txBody>
        </p:sp>
        <p:sp>
          <p:nvSpPr>
            <p:cNvPr id="702" name="Freeform 1449"/>
            <p:cNvSpPr>
              <a:spLocks/>
            </p:cNvSpPr>
            <p:nvPr/>
          </p:nvSpPr>
          <p:spPr bwMode="auto">
            <a:xfrm>
              <a:off x="5117454" y="2793205"/>
              <a:ext cx="100130" cy="83441"/>
            </a:xfrm>
            <a:custGeom>
              <a:avLst/>
              <a:gdLst>
                <a:gd name="T0" fmla="*/ 2147483647 w 205"/>
                <a:gd name="T1" fmla="*/ 2147483647 h 169"/>
                <a:gd name="T2" fmla="*/ 2147483647 w 205"/>
                <a:gd name="T3" fmla="*/ 2147483647 h 169"/>
                <a:gd name="T4" fmla="*/ 2147483647 w 205"/>
                <a:gd name="T5" fmla="*/ 2147483647 h 169"/>
                <a:gd name="T6" fmla="*/ 2147483647 w 205"/>
                <a:gd name="T7" fmla="*/ 2147483647 h 169"/>
                <a:gd name="T8" fmla="*/ 2147483647 w 205"/>
                <a:gd name="T9" fmla="*/ 2147483647 h 169"/>
                <a:gd name="T10" fmla="*/ 0 w 205"/>
                <a:gd name="T11" fmla="*/ 2147483647 h 169"/>
                <a:gd name="T12" fmla="*/ 2147483647 w 205"/>
                <a:gd name="T13" fmla="*/ 2147483647 h 169"/>
                <a:gd name="T14" fmla="*/ 0 w 205"/>
                <a:gd name="T15" fmla="*/ 2147483647 h 169"/>
                <a:gd name="T16" fmla="*/ 0 w 205"/>
                <a:gd name="T17" fmla="*/ 2147483647 h 169"/>
                <a:gd name="T18" fmla="*/ 2147483647 w 205"/>
                <a:gd name="T19" fmla="*/ 2147483647 h 169"/>
                <a:gd name="T20" fmla="*/ 2147483647 w 205"/>
                <a:gd name="T21" fmla="*/ 2147483647 h 169"/>
                <a:gd name="T22" fmla="*/ 2147483647 w 205"/>
                <a:gd name="T23" fmla="*/ 2147483647 h 169"/>
                <a:gd name="T24" fmla="*/ 2147483647 w 205"/>
                <a:gd name="T25" fmla="*/ 2147483647 h 169"/>
                <a:gd name="T26" fmla="*/ 2147483647 w 205"/>
                <a:gd name="T27" fmla="*/ 0 h 169"/>
                <a:gd name="T28" fmla="*/ 2147483647 w 205"/>
                <a:gd name="T29" fmla="*/ 2147483647 h 169"/>
                <a:gd name="T30" fmla="*/ 2147483647 w 205"/>
                <a:gd name="T31" fmla="*/ 2147483647 h 169"/>
                <a:gd name="T32" fmla="*/ 2147483647 w 205"/>
                <a:gd name="T33" fmla="*/ 2147483647 h 169"/>
                <a:gd name="T34" fmla="*/ 2147483647 w 205"/>
                <a:gd name="T35" fmla="*/ 2147483647 h 169"/>
                <a:gd name="T36" fmla="*/ 2147483647 w 205"/>
                <a:gd name="T37" fmla="*/ 2147483647 h 169"/>
                <a:gd name="T38" fmla="*/ 2147483647 w 205"/>
                <a:gd name="T39" fmla="*/ 2147483647 h 169"/>
                <a:gd name="T40" fmla="*/ 2147483647 w 205"/>
                <a:gd name="T41" fmla="*/ 2147483647 h 169"/>
                <a:gd name="T42" fmla="*/ 2147483647 w 205"/>
                <a:gd name="T43" fmla="*/ 2147483647 h 169"/>
                <a:gd name="T44" fmla="*/ 2147483647 w 205"/>
                <a:gd name="T45" fmla="*/ 2147483647 h 169"/>
                <a:gd name="T46" fmla="*/ 2147483647 w 205"/>
                <a:gd name="T47" fmla="*/ 2147483647 h 169"/>
                <a:gd name="T48" fmla="*/ 2147483647 w 205"/>
                <a:gd name="T49" fmla="*/ 2147483647 h 169"/>
                <a:gd name="T50" fmla="*/ 2147483647 w 205"/>
                <a:gd name="T51" fmla="*/ 2147483647 h 169"/>
                <a:gd name="T52" fmla="*/ 2147483647 w 205"/>
                <a:gd name="T53" fmla="*/ 2147483647 h 16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5"/>
                <a:gd name="T82" fmla="*/ 0 h 169"/>
                <a:gd name="T83" fmla="*/ 205 w 205"/>
                <a:gd name="T84" fmla="*/ 169 h 16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5" h="169">
                  <a:moveTo>
                    <a:pt x="39" y="145"/>
                  </a:moveTo>
                  <a:lnTo>
                    <a:pt x="45" y="108"/>
                  </a:lnTo>
                  <a:lnTo>
                    <a:pt x="34" y="107"/>
                  </a:lnTo>
                  <a:lnTo>
                    <a:pt x="25" y="117"/>
                  </a:lnTo>
                  <a:lnTo>
                    <a:pt x="9" y="109"/>
                  </a:lnTo>
                  <a:lnTo>
                    <a:pt x="0" y="85"/>
                  </a:lnTo>
                  <a:lnTo>
                    <a:pt x="12" y="76"/>
                  </a:lnTo>
                  <a:lnTo>
                    <a:pt x="0" y="71"/>
                  </a:lnTo>
                  <a:lnTo>
                    <a:pt x="0" y="39"/>
                  </a:lnTo>
                  <a:lnTo>
                    <a:pt x="41" y="16"/>
                  </a:lnTo>
                  <a:lnTo>
                    <a:pt x="56" y="16"/>
                  </a:lnTo>
                  <a:lnTo>
                    <a:pt x="58" y="9"/>
                  </a:lnTo>
                  <a:lnTo>
                    <a:pt x="83" y="12"/>
                  </a:lnTo>
                  <a:lnTo>
                    <a:pt x="95" y="0"/>
                  </a:lnTo>
                  <a:lnTo>
                    <a:pt x="152" y="19"/>
                  </a:lnTo>
                  <a:lnTo>
                    <a:pt x="185" y="20"/>
                  </a:lnTo>
                  <a:lnTo>
                    <a:pt x="194" y="16"/>
                  </a:lnTo>
                  <a:lnTo>
                    <a:pt x="194" y="8"/>
                  </a:lnTo>
                  <a:lnTo>
                    <a:pt x="205" y="20"/>
                  </a:lnTo>
                  <a:lnTo>
                    <a:pt x="188" y="47"/>
                  </a:lnTo>
                  <a:lnTo>
                    <a:pt x="153" y="60"/>
                  </a:lnTo>
                  <a:lnTo>
                    <a:pt x="186" y="144"/>
                  </a:lnTo>
                  <a:lnTo>
                    <a:pt x="172" y="169"/>
                  </a:lnTo>
                  <a:lnTo>
                    <a:pt x="133" y="169"/>
                  </a:lnTo>
                  <a:lnTo>
                    <a:pt x="113" y="146"/>
                  </a:lnTo>
                  <a:lnTo>
                    <a:pt x="77" y="131"/>
                  </a:lnTo>
                  <a:lnTo>
                    <a:pt x="39" y="145"/>
                  </a:lnTo>
                  <a:close/>
                </a:path>
              </a:pathLst>
            </a:custGeom>
            <a:grpFill/>
            <a:ln w="6350">
              <a:solidFill>
                <a:schemeClr val="tx2"/>
              </a:solidFill>
              <a:round/>
              <a:headEnd/>
              <a:tailEnd/>
            </a:ln>
          </p:spPr>
          <p:txBody>
            <a:bodyPr/>
            <a:lstStyle/>
            <a:p>
              <a:endParaRPr lang="en-US"/>
            </a:p>
          </p:txBody>
        </p:sp>
        <p:sp>
          <p:nvSpPr>
            <p:cNvPr id="703" name="Freeform 1450"/>
            <p:cNvSpPr>
              <a:spLocks/>
            </p:cNvSpPr>
            <p:nvPr/>
          </p:nvSpPr>
          <p:spPr bwMode="auto">
            <a:xfrm>
              <a:off x="4917195" y="2984361"/>
              <a:ext cx="213912" cy="197225"/>
            </a:xfrm>
            <a:custGeom>
              <a:avLst/>
              <a:gdLst>
                <a:gd name="T0" fmla="*/ 0 w 428"/>
                <a:gd name="T1" fmla="*/ 2147483647 h 399"/>
                <a:gd name="T2" fmla="*/ 2147483647 w 428"/>
                <a:gd name="T3" fmla="*/ 2147483647 h 399"/>
                <a:gd name="T4" fmla="*/ 2147483647 w 428"/>
                <a:gd name="T5" fmla="*/ 2147483647 h 399"/>
                <a:gd name="T6" fmla="*/ 0 w 428"/>
                <a:gd name="T7" fmla="*/ 2147483647 h 399"/>
                <a:gd name="T8" fmla="*/ 2147483647 w 428"/>
                <a:gd name="T9" fmla="*/ 2147483647 h 399"/>
                <a:gd name="T10" fmla="*/ 2147483647 w 428"/>
                <a:gd name="T11" fmla="*/ 2147483647 h 399"/>
                <a:gd name="T12" fmla="*/ 2147483647 w 428"/>
                <a:gd name="T13" fmla="*/ 2147483647 h 399"/>
                <a:gd name="T14" fmla="*/ 2147483647 w 428"/>
                <a:gd name="T15" fmla="*/ 2147483647 h 399"/>
                <a:gd name="T16" fmla="*/ 2147483647 w 428"/>
                <a:gd name="T17" fmla="*/ 2147483647 h 399"/>
                <a:gd name="T18" fmla="*/ 2147483647 w 428"/>
                <a:gd name="T19" fmla="*/ 2147483647 h 399"/>
                <a:gd name="T20" fmla="*/ 2147483647 w 428"/>
                <a:gd name="T21" fmla="*/ 2147483647 h 399"/>
                <a:gd name="T22" fmla="*/ 2147483647 w 428"/>
                <a:gd name="T23" fmla="*/ 2147483647 h 399"/>
                <a:gd name="T24" fmla="*/ 2147483647 w 428"/>
                <a:gd name="T25" fmla="*/ 2147483647 h 399"/>
                <a:gd name="T26" fmla="*/ 2147483647 w 428"/>
                <a:gd name="T27" fmla="*/ 2147483647 h 399"/>
                <a:gd name="T28" fmla="*/ 2147483647 w 428"/>
                <a:gd name="T29" fmla="*/ 2147483647 h 399"/>
                <a:gd name="T30" fmla="*/ 2147483647 w 428"/>
                <a:gd name="T31" fmla="*/ 2147483647 h 399"/>
                <a:gd name="T32" fmla="*/ 2147483647 w 428"/>
                <a:gd name="T33" fmla="*/ 2147483647 h 399"/>
                <a:gd name="T34" fmla="*/ 2147483647 w 428"/>
                <a:gd name="T35" fmla="*/ 2147483647 h 399"/>
                <a:gd name="T36" fmla="*/ 2147483647 w 428"/>
                <a:gd name="T37" fmla="*/ 2147483647 h 399"/>
                <a:gd name="T38" fmla="*/ 2147483647 w 428"/>
                <a:gd name="T39" fmla="*/ 2147483647 h 399"/>
                <a:gd name="T40" fmla="*/ 2147483647 w 428"/>
                <a:gd name="T41" fmla="*/ 2147483647 h 399"/>
                <a:gd name="T42" fmla="*/ 2147483647 w 428"/>
                <a:gd name="T43" fmla="*/ 2147483647 h 399"/>
                <a:gd name="T44" fmla="*/ 2147483647 w 428"/>
                <a:gd name="T45" fmla="*/ 2147483647 h 399"/>
                <a:gd name="T46" fmla="*/ 2147483647 w 428"/>
                <a:gd name="T47" fmla="*/ 2147483647 h 399"/>
                <a:gd name="T48" fmla="*/ 2147483647 w 428"/>
                <a:gd name="T49" fmla="*/ 2147483647 h 399"/>
                <a:gd name="T50" fmla="*/ 2147483647 w 428"/>
                <a:gd name="T51" fmla="*/ 2147483647 h 399"/>
                <a:gd name="T52" fmla="*/ 2147483647 w 428"/>
                <a:gd name="T53" fmla="*/ 2147483647 h 399"/>
                <a:gd name="T54" fmla="*/ 2147483647 w 428"/>
                <a:gd name="T55" fmla="*/ 2147483647 h 399"/>
                <a:gd name="T56" fmla="*/ 2147483647 w 428"/>
                <a:gd name="T57" fmla="*/ 2147483647 h 399"/>
                <a:gd name="T58" fmla="*/ 2147483647 w 428"/>
                <a:gd name="T59" fmla="*/ 2147483647 h 399"/>
                <a:gd name="T60" fmla="*/ 2147483647 w 428"/>
                <a:gd name="T61" fmla="*/ 2147483647 h 399"/>
                <a:gd name="T62" fmla="*/ 2147483647 w 428"/>
                <a:gd name="T63" fmla="*/ 2147483647 h 399"/>
                <a:gd name="T64" fmla="*/ 2147483647 w 428"/>
                <a:gd name="T65" fmla="*/ 2147483647 h 399"/>
                <a:gd name="T66" fmla="*/ 2147483647 w 428"/>
                <a:gd name="T67" fmla="*/ 2147483647 h 399"/>
                <a:gd name="T68" fmla="*/ 2147483647 w 428"/>
                <a:gd name="T69" fmla="*/ 2147483647 h 399"/>
                <a:gd name="T70" fmla="*/ 2147483647 w 428"/>
                <a:gd name="T71" fmla="*/ 2147483647 h 399"/>
                <a:gd name="T72" fmla="*/ 2147483647 w 428"/>
                <a:gd name="T73" fmla="*/ 2147483647 h 399"/>
                <a:gd name="T74" fmla="*/ 2147483647 w 428"/>
                <a:gd name="T75" fmla="*/ 2147483647 h 399"/>
                <a:gd name="T76" fmla="*/ 2147483647 w 428"/>
                <a:gd name="T77" fmla="*/ 2147483647 h 399"/>
                <a:gd name="T78" fmla="*/ 2147483647 w 428"/>
                <a:gd name="T79" fmla="*/ 2147483647 h 399"/>
                <a:gd name="T80" fmla="*/ 2147483647 w 428"/>
                <a:gd name="T81" fmla="*/ 2147483647 h 399"/>
                <a:gd name="T82" fmla="*/ 2147483647 w 428"/>
                <a:gd name="T83" fmla="*/ 2147483647 h 399"/>
                <a:gd name="T84" fmla="*/ 2147483647 w 428"/>
                <a:gd name="T85" fmla="*/ 2147483647 h 399"/>
                <a:gd name="T86" fmla="*/ 2147483647 w 428"/>
                <a:gd name="T87" fmla="*/ 2147483647 h 399"/>
                <a:gd name="T88" fmla="*/ 2147483647 w 428"/>
                <a:gd name="T89" fmla="*/ 2147483647 h 399"/>
                <a:gd name="T90" fmla="*/ 2147483647 w 428"/>
                <a:gd name="T91" fmla="*/ 2147483647 h 399"/>
                <a:gd name="T92" fmla="*/ 2147483647 w 428"/>
                <a:gd name="T93" fmla="*/ 2147483647 h 399"/>
                <a:gd name="T94" fmla="*/ 2147483647 w 428"/>
                <a:gd name="T95" fmla="*/ 2147483647 h 399"/>
                <a:gd name="T96" fmla="*/ 2147483647 w 428"/>
                <a:gd name="T97" fmla="*/ 2147483647 h 399"/>
                <a:gd name="T98" fmla="*/ 2147483647 w 428"/>
                <a:gd name="T99" fmla="*/ 2147483647 h 399"/>
                <a:gd name="T100" fmla="*/ 2147483647 w 428"/>
                <a:gd name="T101" fmla="*/ 2147483647 h 399"/>
                <a:gd name="T102" fmla="*/ 2147483647 w 428"/>
                <a:gd name="T103" fmla="*/ 0 h 399"/>
                <a:gd name="T104" fmla="*/ 2147483647 w 428"/>
                <a:gd name="T105" fmla="*/ 2147483647 h 399"/>
                <a:gd name="T106" fmla="*/ 2147483647 w 428"/>
                <a:gd name="T107" fmla="*/ 2147483647 h 399"/>
                <a:gd name="T108" fmla="*/ 2147483647 w 428"/>
                <a:gd name="T109" fmla="*/ 2147483647 h 399"/>
                <a:gd name="T110" fmla="*/ 2147483647 w 428"/>
                <a:gd name="T111" fmla="*/ 2147483647 h 399"/>
                <a:gd name="T112" fmla="*/ 2147483647 w 428"/>
                <a:gd name="T113" fmla="*/ 2147483647 h 399"/>
                <a:gd name="T114" fmla="*/ 2147483647 w 428"/>
                <a:gd name="T115" fmla="*/ 2147483647 h 399"/>
                <a:gd name="T116" fmla="*/ 0 w 428"/>
                <a:gd name="T117" fmla="*/ 2147483647 h 3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8"/>
                <a:gd name="T178" fmla="*/ 0 h 399"/>
                <a:gd name="T179" fmla="*/ 428 w 428"/>
                <a:gd name="T180" fmla="*/ 399 h 3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8" h="399">
                  <a:moveTo>
                    <a:pt x="0" y="81"/>
                  </a:moveTo>
                  <a:lnTo>
                    <a:pt x="8" y="101"/>
                  </a:lnTo>
                  <a:lnTo>
                    <a:pt x="8" y="114"/>
                  </a:lnTo>
                  <a:lnTo>
                    <a:pt x="0" y="149"/>
                  </a:lnTo>
                  <a:lnTo>
                    <a:pt x="11" y="157"/>
                  </a:lnTo>
                  <a:lnTo>
                    <a:pt x="16" y="202"/>
                  </a:lnTo>
                  <a:lnTo>
                    <a:pt x="19" y="230"/>
                  </a:lnTo>
                  <a:lnTo>
                    <a:pt x="33" y="248"/>
                  </a:lnTo>
                  <a:lnTo>
                    <a:pt x="25" y="284"/>
                  </a:lnTo>
                  <a:lnTo>
                    <a:pt x="32" y="288"/>
                  </a:lnTo>
                  <a:lnTo>
                    <a:pt x="43" y="276"/>
                  </a:lnTo>
                  <a:lnTo>
                    <a:pt x="55" y="287"/>
                  </a:lnTo>
                  <a:lnTo>
                    <a:pt x="77" y="290"/>
                  </a:lnTo>
                  <a:lnTo>
                    <a:pt x="94" y="301"/>
                  </a:lnTo>
                  <a:lnTo>
                    <a:pt x="90" y="313"/>
                  </a:lnTo>
                  <a:lnTo>
                    <a:pt x="112" y="329"/>
                  </a:lnTo>
                  <a:lnTo>
                    <a:pt x="121" y="323"/>
                  </a:lnTo>
                  <a:lnTo>
                    <a:pt x="119" y="314"/>
                  </a:lnTo>
                  <a:lnTo>
                    <a:pt x="154" y="323"/>
                  </a:lnTo>
                  <a:lnTo>
                    <a:pt x="154" y="335"/>
                  </a:lnTo>
                  <a:lnTo>
                    <a:pt x="173" y="343"/>
                  </a:lnTo>
                  <a:lnTo>
                    <a:pt x="188" y="366"/>
                  </a:lnTo>
                  <a:lnTo>
                    <a:pt x="202" y="372"/>
                  </a:lnTo>
                  <a:lnTo>
                    <a:pt x="211" y="376"/>
                  </a:lnTo>
                  <a:lnTo>
                    <a:pt x="228" y="371"/>
                  </a:lnTo>
                  <a:lnTo>
                    <a:pt x="247" y="390"/>
                  </a:lnTo>
                  <a:lnTo>
                    <a:pt x="268" y="381"/>
                  </a:lnTo>
                  <a:lnTo>
                    <a:pt x="292" y="387"/>
                  </a:lnTo>
                  <a:lnTo>
                    <a:pt x="316" y="378"/>
                  </a:lnTo>
                  <a:lnTo>
                    <a:pt x="358" y="399"/>
                  </a:lnTo>
                  <a:lnTo>
                    <a:pt x="369" y="399"/>
                  </a:lnTo>
                  <a:lnTo>
                    <a:pt x="369" y="378"/>
                  </a:lnTo>
                  <a:lnTo>
                    <a:pt x="383" y="348"/>
                  </a:lnTo>
                  <a:lnTo>
                    <a:pt x="424" y="311"/>
                  </a:lnTo>
                  <a:lnTo>
                    <a:pt x="428" y="300"/>
                  </a:lnTo>
                  <a:lnTo>
                    <a:pt x="424" y="280"/>
                  </a:lnTo>
                  <a:lnTo>
                    <a:pt x="414" y="267"/>
                  </a:lnTo>
                  <a:lnTo>
                    <a:pt x="402" y="231"/>
                  </a:lnTo>
                  <a:lnTo>
                    <a:pt x="406" y="202"/>
                  </a:lnTo>
                  <a:lnTo>
                    <a:pt x="390" y="183"/>
                  </a:lnTo>
                  <a:lnTo>
                    <a:pt x="419" y="154"/>
                  </a:lnTo>
                  <a:lnTo>
                    <a:pt x="419" y="127"/>
                  </a:lnTo>
                  <a:lnTo>
                    <a:pt x="403" y="61"/>
                  </a:lnTo>
                  <a:lnTo>
                    <a:pt x="400" y="49"/>
                  </a:lnTo>
                  <a:lnTo>
                    <a:pt x="372" y="33"/>
                  </a:lnTo>
                  <a:lnTo>
                    <a:pt x="297" y="41"/>
                  </a:lnTo>
                  <a:lnTo>
                    <a:pt x="235" y="28"/>
                  </a:lnTo>
                  <a:lnTo>
                    <a:pt x="200" y="41"/>
                  </a:lnTo>
                  <a:lnTo>
                    <a:pt x="185" y="14"/>
                  </a:lnTo>
                  <a:lnTo>
                    <a:pt x="198" y="17"/>
                  </a:lnTo>
                  <a:lnTo>
                    <a:pt x="194" y="6"/>
                  </a:lnTo>
                  <a:lnTo>
                    <a:pt x="168" y="0"/>
                  </a:lnTo>
                  <a:lnTo>
                    <a:pt x="133" y="8"/>
                  </a:lnTo>
                  <a:lnTo>
                    <a:pt x="79" y="42"/>
                  </a:lnTo>
                  <a:lnTo>
                    <a:pt x="12" y="68"/>
                  </a:lnTo>
                  <a:lnTo>
                    <a:pt x="5" y="73"/>
                  </a:lnTo>
                  <a:lnTo>
                    <a:pt x="15" y="76"/>
                  </a:lnTo>
                  <a:lnTo>
                    <a:pt x="13" y="87"/>
                  </a:lnTo>
                  <a:lnTo>
                    <a:pt x="0" y="81"/>
                  </a:lnTo>
                  <a:close/>
                </a:path>
              </a:pathLst>
            </a:custGeom>
            <a:grpFill/>
            <a:ln w="6350">
              <a:solidFill>
                <a:schemeClr val="tx2"/>
              </a:solidFill>
              <a:round/>
              <a:headEnd/>
              <a:tailEnd/>
            </a:ln>
          </p:spPr>
          <p:txBody>
            <a:bodyPr/>
            <a:lstStyle/>
            <a:p>
              <a:endParaRPr lang="en-US"/>
            </a:p>
          </p:txBody>
        </p:sp>
        <p:sp>
          <p:nvSpPr>
            <p:cNvPr id="704" name="Freeform 1451"/>
            <p:cNvSpPr>
              <a:spLocks/>
            </p:cNvSpPr>
            <p:nvPr/>
          </p:nvSpPr>
          <p:spPr bwMode="auto">
            <a:xfrm>
              <a:off x="5062838" y="2856924"/>
              <a:ext cx="157780" cy="94061"/>
            </a:xfrm>
            <a:custGeom>
              <a:avLst/>
              <a:gdLst>
                <a:gd name="T0" fmla="*/ 2147483647 w 315"/>
                <a:gd name="T1" fmla="*/ 2147483647 h 188"/>
                <a:gd name="T2" fmla="*/ 2147483647 w 315"/>
                <a:gd name="T3" fmla="*/ 2147483647 h 188"/>
                <a:gd name="T4" fmla="*/ 2147483647 w 315"/>
                <a:gd name="T5" fmla="*/ 2147483647 h 188"/>
                <a:gd name="T6" fmla="*/ 2147483647 w 315"/>
                <a:gd name="T7" fmla="*/ 2147483647 h 188"/>
                <a:gd name="T8" fmla="*/ 2147483647 w 315"/>
                <a:gd name="T9" fmla="*/ 2147483647 h 188"/>
                <a:gd name="T10" fmla="*/ 2147483647 w 315"/>
                <a:gd name="T11" fmla="*/ 2147483647 h 188"/>
                <a:gd name="T12" fmla="*/ 2147483647 w 315"/>
                <a:gd name="T13" fmla="*/ 2147483647 h 188"/>
                <a:gd name="T14" fmla="*/ 2147483647 w 315"/>
                <a:gd name="T15" fmla="*/ 2147483647 h 188"/>
                <a:gd name="T16" fmla="*/ 2147483647 w 315"/>
                <a:gd name="T17" fmla="*/ 2147483647 h 188"/>
                <a:gd name="T18" fmla="*/ 2147483647 w 315"/>
                <a:gd name="T19" fmla="*/ 2147483647 h 188"/>
                <a:gd name="T20" fmla="*/ 2147483647 w 315"/>
                <a:gd name="T21" fmla="*/ 2147483647 h 188"/>
                <a:gd name="T22" fmla="*/ 2147483647 w 315"/>
                <a:gd name="T23" fmla="*/ 0 h 188"/>
                <a:gd name="T24" fmla="*/ 2147483647 w 315"/>
                <a:gd name="T25" fmla="*/ 2147483647 h 188"/>
                <a:gd name="T26" fmla="*/ 2147483647 w 315"/>
                <a:gd name="T27" fmla="*/ 2147483647 h 188"/>
                <a:gd name="T28" fmla="*/ 2147483647 w 315"/>
                <a:gd name="T29" fmla="*/ 2147483647 h 188"/>
                <a:gd name="T30" fmla="*/ 2147483647 w 315"/>
                <a:gd name="T31" fmla="*/ 2147483647 h 188"/>
                <a:gd name="T32" fmla="*/ 2147483647 w 315"/>
                <a:gd name="T33" fmla="*/ 2147483647 h 188"/>
                <a:gd name="T34" fmla="*/ 2147483647 w 315"/>
                <a:gd name="T35" fmla="*/ 2147483647 h 188"/>
                <a:gd name="T36" fmla="*/ 2147483647 w 315"/>
                <a:gd name="T37" fmla="*/ 2147483647 h 188"/>
                <a:gd name="T38" fmla="*/ 2147483647 w 315"/>
                <a:gd name="T39" fmla="*/ 2147483647 h 188"/>
                <a:gd name="T40" fmla="*/ 2147483647 w 315"/>
                <a:gd name="T41" fmla="*/ 2147483647 h 188"/>
                <a:gd name="T42" fmla="*/ 2147483647 w 315"/>
                <a:gd name="T43" fmla="*/ 2147483647 h 188"/>
                <a:gd name="T44" fmla="*/ 2147483647 w 315"/>
                <a:gd name="T45" fmla="*/ 2147483647 h 188"/>
                <a:gd name="T46" fmla="*/ 2147483647 w 315"/>
                <a:gd name="T47" fmla="*/ 2147483647 h 188"/>
                <a:gd name="T48" fmla="*/ 0 w 315"/>
                <a:gd name="T49" fmla="*/ 2147483647 h 188"/>
                <a:gd name="T50" fmla="*/ 0 w 315"/>
                <a:gd name="T51" fmla="*/ 2147483647 h 188"/>
                <a:gd name="T52" fmla="*/ 2147483647 w 315"/>
                <a:gd name="T53" fmla="*/ 2147483647 h 188"/>
                <a:gd name="T54" fmla="*/ 2147483647 w 315"/>
                <a:gd name="T55" fmla="*/ 2147483647 h 188"/>
                <a:gd name="T56" fmla="*/ 2147483647 w 315"/>
                <a:gd name="T57" fmla="*/ 2147483647 h 188"/>
                <a:gd name="T58" fmla="*/ 2147483647 w 315"/>
                <a:gd name="T59" fmla="*/ 2147483647 h 188"/>
                <a:gd name="T60" fmla="*/ 2147483647 w 315"/>
                <a:gd name="T61" fmla="*/ 2147483647 h 188"/>
                <a:gd name="T62" fmla="*/ 2147483647 w 315"/>
                <a:gd name="T63" fmla="*/ 2147483647 h 188"/>
                <a:gd name="T64" fmla="*/ 2147483647 w 315"/>
                <a:gd name="T65" fmla="*/ 2147483647 h 188"/>
                <a:gd name="T66" fmla="*/ 2147483647 w 315"/>
                <a:gd name="T67" fmla="*/ 2147483647 h 188"/>
                <a:gd name="T68" fmla="*/ 2147483647 w 315"/>
                <a:gd name="T69" fmla="*/ 2147483647 h 1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15"/>
                <a:gd name="T106" fmla="*/ 0 h 188"/>
                <a:gd name="T107" fmla="*/ 315 w 315"/>
                <a:gd name="T108" fmla="*/ 188 h 1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15" h="188">
                  <a:moveTo>
                    <a:pt x="246" y="188"/>
                  </a:moveTo>
                  <a:lnTo>
                    <a:pt x="265" y="175"/>
                  </a:lnTo>
                  <a:lnTo>
                    <a:pt x="283" y="179"/>
                  </a:lnTo>
                  <a:lnTo>
                    <a:pt x="302" y="152"/>
                  </a:lnTo>
                  <a:lnTo>
                    <a:pt x="315" y="148"/>
                  </a:lnTo>
                  <a:lnTo>
                    <a:pt x="312" y="117"/>
                  </a:lnTo>
                  <a:lnTo>
                    <a:pt x="290" y="88"/>
                  </a:lnTo>
                  <a:lnTo>
                    <a:pt x="296" y="58"/>
                  </a:lnTo>
                  <a:lnTo>
                    <a:pt x="280" y="38"/>
                  </a:lnTo>
                  <a:lnTo>
                    <a:pt x="241" y="38"/>
                  </a:lnTo>
                  <a:lnTo>
                    <a:pt x="221" y="15"/>
                  </a:lnTo>
                  <a:lnTo>
                    <a:pt x="185" y="0"/>
                  </a:lnTo>
                  <a:lnTo>
                    <a:pt x="147" y="14"/>
                  </a:lnTo>
                  <a:lnTo>
                    <a:pt x="146" y="19"/>
                  </a:lnTo>
                  <a:lnTo>
                    <a:pt x="145" y="69"/>
                  </a:lnTo>
                  <a:lnTo>
                    <a:pt x="137" y="91"/>
                  </a:lnTo>
                  <a:lnTo>
                    <a:pt x="133" y="82"/>
                  </a:lnTo>
                  <a:lnTo>
                    <a:pt x="115" y="87"/>
                  </a:lnTo>
                  <a:lnTo>
                    <a:pt x="103" y="80"/>
                  </a:lnTo>
                  <a:lnTo>
                    <a:pt x="95" y="61"/>
                  </a:lnTo>
                  <a:lnTo>
                    <a:pt x="93" y="70"/>
                  </a:lnTo>
                  <a:lnTo>
                    <a:pt x="68" y="28"/>
                  </a:lnTo>
                  <a:lnTo>
                    <a:pt x="33" y="43"/>
                  </a:lnTo>
                  <a:lnTo>
                    <a:pt x="4" y="108"/>
                  </a:lnTo>
                  <a:lnTo>
                    <a:pt x="0" y="147"/>
                  </a:lnTo>
                  <a:lnTo>
                    <a:pt x="0" y="154"/>
                  </a:lnTo>
                  <a:lnTo>
                    <a:pt x="9" y="155"/>
                  </a:lnTo>
                  <a:lnTo>
                    <a:pt x="21" y="140"/>
                  </a:lnTo>
                  <a:lnTo>
                    <a:pt x="50" y="128"/>
                  </a:lnTo>
                  <a:lnTo>
                    <a:pt x="118" y="130"/>
                  </a:lnTo>
                  <a:lnTo>
                    <a:pt x="143" y="139"/>
                  </a:lnTo>
                  <a:lnTo>
                    <a:pt x="170" y="125"/>
                  </a:lnTo>
                  <a:lnTo>
                    <a:pt x="181" y="146"/>
                  </a:lnTo>
                  <a:lnTo>
                    <a:pt x="201" y="148"/>
                  </a:lnTo>
                  <a:lnTo>
                    <a:pt x="246" y="188"/>
                  </a:lnTo>
                  <a:close/>
                </a:path>
              </a:pathLst>
            </a:custGeom>
            <a:grpFill/>
            <a:ln w="6350">
              <a:solidFill>
                <a:schemeClr val="tx2"/>
              </a:solidFill>
              <a:round/>
              <a:headEnd/>
              <a:tailEnd/>
            </a:ln>
          </p:spPr>
          <p:txBody>
            <a:bodyPr/>
            <a:lstStyle/>
            <a:p>
              <a:endParaRPr lang="en-US"/>
            </a:p>
          </p:txBody>
        </p:sp>
        <p:sp>
          <p:nvSpPr>
            <p:cNvPr id="705" name="Freeform 1452"/>
            <p:cNvSpPr>
              <a:spLocks/>
            </p:cNvSpPr>
            <p:nvPr/>
          </p:nvSpPr>
          <p:spPr bwMode="auto">
            <a:xfrm>
              <a:off x="5062838" y="2919126"/>
              <a:ext cx="121369" cy="94061"/>
            </a:xfrm>
            <a:custGeom>
              <a:avLst/>
              <a:gdLst>
                <a:gd name="T0" fmla="*/ 2147483647 w 249"/>
                <a:gd name="T1" fmla="*/ 2147483647 h 189"/>
                <a:gd name="T2" fmla="*/ 2147483647 w 249"/>
                <a:gd name="T3" fmla="*/ 2147483647 h 189"/>
                <a:gd name="T4" fmla="*/ 2147483647 w 249"/>
                <a:gd name="T5" fmla="*/ 2147483647 h 189"/>
                <a:gd name="T6" fmla="*/ 2147483647 w 249"/>
                <a:gd name="T7" fmla="*/ 2147483647 h 189"/>
                <a:gd name="T8" fmla="*/ 2147483647 w 249"/>
                <a:gd name="T9" fmla="*/ 2147483647 h 189"/>
                <a:gd name="T10" fmla="*/ 2147483647 w 249"/>
                <a:gd name="T11" fmla="*/ 2147483647 h 189"/>
                <a:gd name="T12" fmla="*/ 2147483647 w 249"/>
                <a:gd name="T13" fmla="*/ 2147483647 h 189"/>
                <a:gd name="T14" fmla="*/ 2147483647 w 249"/>
                <a:gd name="T15" fmla="*/ 2147483647 h 189"/>
                <a:gd name="T16" fmla="*/ 2147483647 w 249"/>
                <a:gd name="T17" fmla="*/ 2147483647 h 189"/>
                <a:gd name="T18" fmla="*/ 2147483647 w 249"/>
                <a:gd name="T19" fmla="*/ 2147483647 h 189"/>
                <a:gd name="T20" fmla="*/ 2147483647 w 249"/>
                <a:gd name="T21" fmla="*/ 2147483647 h 189"/>
                <a:gd name="T22" fmla="*/ 2147483647 w 249"/>
                <a:gd name="T23" fmla="*/ 2147483647 h 189"/>
                <a:gd name="T24" fmla="*/ 2147483647 w 249"/>
                <a:gd name="T25" fmla="*/ 2147483647 h 189"/>
                <a:gd name="T26" fmla="*/ 2147483647 w 249"/>
                <a:gd name="T27" fmla="*/ 2147483647 h 189"/>
                <a:gd name="T28" fmla="*/ 2147483647 w 249"/>
                <a:gd name="T29" fmla="*/ 0 h 189"/>
                <a:gd name="T30" fmla="*/ 2147483647 w 249"/>
                <a:gd name="T31" fmla="*/ 2147483647 h 189"/>
                <a:gd name="T32" fmla="*/ 2147483647 w 249"/>
                <a:gd name="T33" fmla="*/ 2147483647 h 189"/>
                <a:gd name="T34" fmla="*/ 2147483647 w 249"/>
                <a:gd name="T35" fmla="*/ 2147483647 h 189"/>
                <a:gd name="T36" fmla="*/ 2147483647 w 249"/>
                <a:gd name="T37" fmla="*/ 2147483647 h 189"/>
                <a:gd name="T38" fmla="*/ 2147483647 w 249"/>
                <a:gd name="T39" fmla="*/ 2147483647 h 189"/>
                <a:gd name="T40" fmla="*/ 0 w 249"/>
                <a:gd name="T41" fmla="*/ 2147483647 h 189"/>
                <a:gd name="T42" fmla="*/ 2147483647 w 249"/>
                <a:gd name="T43" fmla="*/ 2147483647 h 189"/>
                <a:gd name="T44" fmla="*/ 2147483647 w 249"/>
                <a:gd name="T45" fmla="*/ 2147483647 h 189"/>
                <a:gd name="T46" fmla="*/ 2147483647 w 249"/>
                <a:gd name="T47" fmla="*/ 2147483647 h 189"/>
                <a:gd name="T48" fmla="*/ 2147483647 w 249"/>
                <a:gd name="T49" fmla="*/ 2147483647 h 189"/>
                <a:gd name="T50" fmla="*/ 2147483647 w 249"/>
                <a:gd name="T51" fmla="*/ 2147483647 h 189"/>
                <a:gd name="T52" fmla="*/ 2147483647 w 249"/>
                <a:gd name="T53" fmla="*/ 2147483647 h 189"/>
                <a:gd name="T54" fmla="*/ 2147483647 w 249"/>
                <a:gd name="T55" fmla="*/ 2147483647 h 189"/>
                <a:gd name="T56" fmla="*/ 2147483647 w 249"/>
                <a:gd name="T57" fmla="*/ 2147483647 h 1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9"/>
                <a:gd name="T88" fmla="*/ 0 h 189"/>
                <a:gd name="T89" fmla="*/ 249 w 249"/>
                <a:gd name="T90" fmla="*/ 189 h 1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9" h="189">
                  <a:moveTo>
                    <a:pt x="167" y="186"/>
                  </a:moveTo>
                  <a:lnTo>
                    <a:pt x="164" y="175"/>
                  </a:lnTo>
                  <a:lnTo>
                    <a:pt x="186" y="165"/>
                  </a:lnTo>
                  <a:lnTo>
                    <a:pt x="207" y="173"/>
                  </a:lnTo>
                  <a:lnTo>
                    <a:pt x="200" y="156"/>
                  </a:lnTo>
                  <a:lnTo>
                    <a:pt x="208" y="139"/>
                  </a:lnTo>
                  <a:lnTo>
                    <a:pt x="211" y="113"/>
                  </a:lnTo>
                  <a:lnTo>
                    <a:pt x="242" y="102"/>
                  </a:lnTo>
                  <a:lnTo>
                    <a:pt x="249" y="87"/>
                  </a:lnTo>
                  <a:lnTo>
                    <a:pt x="237" y="85"/>
                  </a:lnTo>
                  <a:lnTo>
                    <a:pt x="237" y="72"/>
                  </a:lnTo>
                  <a:lnTo>
                    <a:pt x="246" y="63"/>
                  </a:lnTo>
                  <a:lnTo>
                    <a:pt x="201" y="23"/>
                  </a:lnTo>
                  <a:lnTo>
                    <a:pt x="181" y="21"/>
                  </a:lnTo>
                  <a:lnTo>
                    <a:pt x="170" y="0"/>
                  </a:lnTo>
                  <a:lnTo>
                    <a:pt x="143" y="14"/>
                  </a:lnTo>
                  <a:lnTo>
                    <a:pt x="118" y="5"/>
                  </a:lnTo>
                  <a:lnTo>
                    <a:pt x="50" y="3"/>
                  </a:lnTo>
                  <a:lnTo>
                    <a:pt x="21" y="15"/>
                  </a:lnTo>
                  <a:lnTo>
                    <a:pt x="9" y="30"/>
                  </a:lnTo>
                  <a:lnTo>
                    <a:pt x="0" y="29"/>
                  </a:lnTo>
                  <a:lnTo>
                    <a:pt x="15" y="93"/>
                  </a:lnTo>
                  <a:lnTo>
                    <a:pt x="73" y="108"/>
                  </a:lnTo>
                  <a:lnTo>
                    <a:pt x="81" y="126"/>
                  </a:lnTo>
                  <a:lnTo>
                    <a:pt x="77" y="138"/>
                  </a:lnTo>
                  <a:lnTo>
                    <a:pt x="78" y="161"/>
                  </a:lnTo>
                  <a:lnTo>
                    <a:pt x="106" y="177"/>
                  </a:lnTo>
                  <a:lnTo>
                    <a:pt x="109" y="189"/>
                  </a:lnTo>
                  <a:lnTo>
                    <a:pt x="167" y="186"/>
                  </a:lnTo>
                  <a:close/>
                </a:path>
              </a:pathLst>
            </a:custGeom>
            <a:grpFill/>
            <a:ln w="6350">
              <a:solidFill>
                <a:schemeClr val="tx2"/>
              </a:solidFill>
              <a:round/>
              <a:headEnd/>
              <a:tailEnd/>
            </a:ln>
          </p:spPr>
          <p:txBody>
            <a:bodyPr/>
            <a:lstStyle/>
            <a:p>
              <a:endParaRPr lang="en-US"/>
            </a:p>
          </p:txBody>
        </p:sp>
        <p:sp>
          <p:nvSpPr>
            <p:cNvPr id="706" name="Freeform 1453"/>
            <p:cNvSpPr>
              <a:spLocks/>
            </p:cNvSpPr>
            <p:nvPr/>
          </p:nvSpPr>
          <p:spPr bwMode="auto">
            <a:xfrm>
              <a:off x="5032496" y="2950985"/>
              <a:ext cx="69787" cy="51582"/>
            </a:xfrm>
            <a:custGeom>
              <a:avLst/>
              <a:gdLst>
                <a:gd name="T0" fmla="*/ 0 w 140"/>
                <a:gd name="T1" fmla="*/ 2147483647 h 105"/>
                <a:gd name="T2" fmla="*/ 2147483647 w 140"/>
                <a:gd name="T3" fmla="*/ 2147483647 h 105"/>
                <a:gd name="T4" fmla="*/ 2147483647 w 140"/>
                <a:gd name="T5" fmla="*/ 2147483647 h 105"/>
                <a:gd name="T6" fmla="*/ 2147483647 w 140"/>
                <a:gd name="T7" fmla="*/ 2147483647 h 105"/>
                <a:gd name="T8" fmla="*/ 2147483647 w 140"/>
                <a:gd name="T9" fmla="*/ 2147483647 h 105"/>
                <a:gd name="T10" fmla="*/ 2147483647 w 140"/>
                <a:gd name="T11" fmla="*/ 2147483647 h 105"/>
                <a:gd name="T12" fmla="*/ 2147483647 w 140"/>
                <a:gd name="T13" fmla="*/ 2147483647 h 105"/>
                <a:gd name="T14" fmla="*/ 2147483647 w 140"/>
                <a:gd name="T15" fmla="*/ 2147483647 h 105"/>
                <a:gd name="T16" fmla="*/ 2147483647 w 140"/>
                <a:gd name="T17" fmla="*/ 2147483647 h 105"/>
                <a:gd name="T18" fmla="*/ 2147483647 w 140"/>
                <a:gd name="T19" fmla="*/ 2147483647 h 105"/>
                <a:gd name="T20" fmla="*/ 2147483647 w 140"/>
                <a:gd name="T21" fmla="*/ 0 h 105"/>
                <a:gd name="T22" fmla="*/ 2147483647 w 140"/>
                <a:gd name="T23" fmla="*/ 2147483647 h 105"/>
                <a:gd name="T24" fmla="*/ 2147483647 w 140"/>
                <a:gd name="T25" fmla="*/ 2147483647 h 105"/>
                <a:gd name="T26" fmla="*/ 2147483647 w 140"/>
                <a:gd name="T27" fmla="*/ 2147483647 h 105"/>
                <a:gd name="T28" fmla="*/ 2147483647 w 140"/>
                <a:gd name="T29" fmla="*/ 2147483647 h 105"/>
                <a:gd name="T30" fmla="*/ 0 w 140"/>
                <a:gd name="T31" fmla="*/ 2147483647 h 1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05"/>
                <a:gd name="T50" fmla="*/ 140 w 140"/>
                <a:gd name="T51" fmla="*/ 105 h 10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05">
                  <a:moveTo>
                    <a:pt x="0" y="92"/>
                  </a:moveTo>
                  <a:lnTo>
                    <a:pt x="62" y="105"/>
                  </a:lnTo>
                  <a:lnTo>
                    <a:pt x="137" y="97"/>
                  </a:lnTo>
                  <a:lnTo>
                    <a:pt x="136" y="74"/>
                  </a:lnTo>
                  <a:lnTo>
                    <a:pt x="140" y="62"/>
                  </a:lnTo>
                  <a:lnTo>
                    <a:pt x="132" y="44"/>
                  </a:lnTo>
                  <a:lnTo>
                    <a:pt x="74" y="29"/>
                  </a:lnTo>
                  <a:lnTo>
                    <a:pt x="69" y="59"/>
                  </a:lnTo>
                  <a:lnTo>
                    <a:pt x="44" y="50"/>
                  </a:lnTo>
                  <a:lnTo>
                    <a:pt x="63" y="22"/>
                  </a:lnTo>
                  <a:lnTo>
                    <a:pt x="66" y="0"/>
                  </a:lnTo>
                  <a:lnTo>
                    <a:pt x="49" y="35"/>
                  </a:lnTo>
                  <a:lnTo>
                    <a:pt x="35" y="54"/>
                  </a:lnTo>
                  <a:lnTo>
                    <a:pt x="19" y="55"/>
                  </a:lnTo>
                  <a:lnTo>
                    <a:pt x="11" y="80"/>
                  </a:lnTo>
                  <a:lnTo>
                    <a:pt x="0" y="92"/>
                  </a:lnTo>
                  <a:close/>
                </a:path>
              </a:pathLst>
            </a:custGeom>
            <a:grpFill/>
            <a:ln w="6350">
              <a:solidFill>
                <a:schemeClr val="tx2"/>
              </a:solidFill>
              <a:round/>
              <a:headEnd/>
              <a:tailEnd/>
            </a:ln>
          </p:spPr>
          <p:txBody>
            <a:bodyPr/>
            <a:lstStyle/>
            <a:p>
              <a:endParaRPr lang="en-US"/>
            </a:p>
          </p:txBody>
        </p:sp>
        <p:sp>
          <p:nvSpPr>
            <p:cNvPr id="707" name="Freeform 1454"/>
            <p:cNvSpPr>
              <a:spLocks/>
            </p:cNvSpPr>
            <p:nvPr/>
          </p:nvSpPr>
          <p:spPr bwMode="auto">
            <a:xfrm>
              <a:off x="4419582" y="3348468"/>
              <a:ext cx="267013" cy="213913"/>
            </a:xfrm>
            <a:custGeom>
              <a:avLst/>
              <a:gdLst>
                <a:gd name="T0" fmla="*/ 2147483647 w 539"/>
                <a:gd name="T1" fmla="*/ 2147483647 h 427"/>
                <a:gd name="T2" fmla="*/ 2147483647 w 539"/>
                <a:gd name="T3" fmla="*/ 2147483647 h 427"/>
                <a:gd name="T4" fmla="*/ 2147483647 w 539"/>
                <a:gd name="T5" fmla="*/ 2147483647 h 427"/>
                <a:gd name="T6" fmla="*/ 2147483647 w 539"/>
                <a:gd name="T7" fmla="*/ 2147483647 h 427"/>
                <a:gd name="T8" fmla="*/ 2147483647 w 539"/>
                <a:gd name="T9" fmla="*/ 2147483647 h 427"/>
                <a:gd name="T10" fmla="*/ 2147483647 w 539"/>
                <a:gd name="T11" fmla="*/ 2147483647 h 427"/>
                <a:gd name="T12" fmla="*/ 2147483647 w 539"/>
                <a:gd name="T13" fmla="*/ 2147483647 h 427"/>
                <a:gd name="T14" fmla="*/ 2147483647 w 539"/>
                <a:gd name="T15" fmla="*/ 2147483647 h 427"/>
                <a:gd name="T16" fmla="*/ 2147483647 w 539"/>
                <a:gd name="T17" fmla="*/ 2147483647 h 427"/>
                <a:gd name="T18" fmla="*/ 2147483647 w 539"/>
                <a:gd name="T19" fmla="*/ 2147483647 h 427"/>
                <a:gd name="T20" fmla="*/ 2147483647 w 539"/>
                <a:gd name="T21" fmla="*/ 2147483647 h 427"/>
                <a:gd name="T22" fmla="*/ 2147483647 w 539"/>
                <a:gd name="T23" fmla="*/ 2147483647 h 427"/>
                <a:gd name="T24" fmla="*/ 0 w 539"/>
                <a:gd name="T25" fmla="*/ 2147483647 h 427"/>
                <a:gd name="T26" fmla="*/ 2147483647 w 539"/>
                <a:gd name="T27" fmla="*/ 2147483647 h 427"/>
                <a:gd name="T28" fmla="*/ 2147483647 w 539"/>
                <a:gd name="T29" fmla="*/ 0 h 427"/>
                <a:gd name="T30" fmla="*/ 2147483647 w 539"/>
                <a:gd name="T31" fmla="*/ 2147483647 h 427"/>
                <a:gd name="T32" fmla="*/ 2147483647 w 539"/>
                <a:gd name="T33" fmla="*/ 2147483647 h 427"/>
                <a:gd name="T34" fmla="*/ 2147483647 w 539"/>
                <a:gd name="T35" fmla="*/ 2147483647 h 427"/>
                <a:gd name="T36" fmla="*/ 2147483647 w 539"/>
                <a:gd name="T37" fmla="*/ 2147483647 h 427"/>
                <a:gd name="T38" fmla="*/ 2147483647 w 539"/>
                <a:gd name="T39" fmla="*/ 2147483647 h 427"/>
                <a:gd name="T40" fmla="*/ 2147483647 w 539"/>
                <a:gd name="T41" fmla="*/ 2147483647 h 427"/>
                <a:gd name="T42" fmla="*/ 2147483647 w 539"/>
                <a:gd name="T43" fmla="*/ 2147483647 h 427"/>
                <a:gd name="T44" fmla="*/ 2147483647 w 539"/>
                <a:gd name="T45" fmla="*/ 2147483647 h 427"/>
                <a:gd name="T46" fmla="*/ 2147483647 w 539"/>
                <a:gd name="T47" fmla="*/ 2147483647 h 427"/>
                <a:gd name="T48" fmla="*/ 2147483647 w 539"/>
                <a:gd name="T49" fmla="*/ 2147483647 h 427"/>
                <a:gd name="T50" fmla="*/ 2147483647 w 539"/>
                <a:gd name="T51" fmla="*/ 2147483647 h 427"/>
                <a:gd name="T52" fmla="*/ 2147483647 w 539"/>
                <a:gd name="T53" fmla="*/ 2147483647 h 427"/>
                <a:gd name="T54" fmla="*/ 2147483647 w 539"/>
                <a:gd name="T55" fmla="*/ 2147483647 h 427"/>
                <a:gd name="T56" fmla="*/ 2147483647 w 539"/>
                <a:gd name="T57" fmla="*/ 2147483647 h 427"/>
                <a:gd name="T58" fmla="*/ 2147483647 w 539"/>
                <a:gd name="T59" fmla="*/ 2147483647 h 427"/>
                <a:gd name="T60" fmla="*/ 2147483647 w 539"/>
                <a:gd name="T61" fmla="*/ 2147483647 h 427"/>
                <a:gd name="T62" fmla="*/ 2147483647 w 539"/>
                <a:gd name="T63" fmla="*/ 2147483647 h 427"/>
                <a:gd name="T64" fmla="*/ 2147483647 w 539"/>
                <a:gd name="T65" fmla="*/ 2147483647 h 427"/>
                <a:gd name="T66" fmla="*/ 2147483647 w 539"/>
                <a:gd name="T67" fmla="*/ 2147483647 h 427"/>
                <a:gd name="T68" fmla="*/ 2147483647 w 539"/>
                <a:gd name="T69" fmla="*/ 2147483647 h 4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9"/>
                <a:gd name="T106" fmla="*/ 0 h 427"/>
                <a:gd name="T107" fmla="*/ 539 w 539"/>
                <a:gd name="T108" fmla="*/ 427 h 4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9" h="427">
                  <a:moveTo>
                    <a:pt x="81" y="367"/>
                  </a:moveTo>
                  <a:lnTo>
                    <a:pt x="78" y="345"/>
                  </a:lnTo>
                  <a:lnTo>
                    <a:pt x="100" y="322"/>
                  </a:lnTo>
                  <a:lnTo>
                    <a:pt x="88" y="294"/>
                  </a:lnTo>
                  <a:lnTo>
                    <a:pt x="97" y="267"/>
                  </a:lnTo>
                  <a:lnTo>
                    <a:pt x="83" y="236"/>
                  </a:lnTo>
                  <a:lnTo>
                    <a:pt x="105" y="220"/>
                  </a:lnTo>
                  <a:lnTo>
                    <a:pt x="101" y="198"/>
                  </a:lnTo>
                  <a:lnTo>
                    <a:pt x="108" y="156"/>
                  </a:lnTo>
                  <a:lnTo>
                    <a:pt x="126" y="140"/>
                  </a:lnTo>
                  <a:lnTo>
                    <a:pt x="132" y="122"/>
                  </a:lnTo>
                  <a:lnTo>
                    <a:pt x="121" y="108"/>
                  </a:lnTo>
                  <a:lnTo>
                    <a:pt x="56" y="110"/>
                  </a:lnTo>
                  <a:lnTo>
                    <a:pt x="50" y="106"/>
                  </a:lnTo>
                  <a:lnTo>
                    <a:pt x="49" y="96"/>
                  </a:lnTo>
                  <a:lnTo>
                    <a:pt x="27" y="103"/>
                  </a:lnTo>
                  <a:lnTo>
                    <a:pt x="21" y="111"/>
                  </a:lnTo>
                  <a:lnTo>
                    <a:pt x="19" y="99"/>
                  </a:lnTo>
                  <a:lnTo>
                    <a:pt x="26" y="83"/>
                  </a:lnTo>
                  <a:lnTo>
                    <a:pt x="20" y="84"/>
                  </a:lnTo>
                  <a:lnTo>
                    <a:pt x="22" y="78"/>
                  </a:lnTo>
                  <a:lnTo>
                    <a:pt x="15" y="74"/>
                  </a:lnTo>
                  <a:lnTo>
                    <a:pt x="20" y="64"/>
                  </a:lnTo>
                  <a:lnTo>
                    <a:pt x="11" y="61"/>
                  </a:lnTo>
                  <a:lnTo>
                    <a:pt x="12" y="55"/>
                  </a:lnTo>
                  <a:lnTo>
                    <a:pt x="0" y="45"/>
                  </a:lnTo>
                  <a:lnTo>
                    <a:pt x="13" y="27"/>
                  </a:lnTo>
                  <a:lnTo>
                    <a:pt x="36" y="24"/>
                  </a:lnTo>
                  <a:lnTo>
                    <a:pt x="47" y="4"/>
                  </a:lnTo>
                  <a:lnTo>
                    <a:pt x="66" y="0"/>
                  </a:lnTo>
                  <a:lnTo>
                    <a:pt x="100" y="10"/>
                  </a:lnTo>
                  <a:lnTo>
                    <a:pt x="141" y="5"/>
                  </a:lnTo>
                  <a:lnTo>
                    <a:pt x="201" y="17"/>
                  </a:lnTo>
                  <a:lnTo>
                    <a:pt x="240" y="14"/>
                  </a:lnTo>
                  <a:lnTo>
                    <a:pt x="320" y="21"/>
                  </a:lnTo>
                  <a:lnTo>
                    <a:pt x="338" y="38"/>
                  </a:lnTo>
                  <a:lnTo>
                    <a:pt x="368" y="54"/>
                  </a:lnTo>
                  <a:lnTo>
                    <a:pt x="416" y="64"/>
                  </a:lnTo>
                  <a:lnTo>
                    <a:pt x="436" y="57"/>
                  </a:lnTo>
                  <a:lnTo>
                    <a:pt x="454" y="66"/>
                  </a:lnTo>
                  <a:lnTo>
                    <a:pt x="462" y="76"/>
                  </a:lnTo>
                  <a:lnTo>
                    <a:pt x="469" y="72"/>
                  </a:lnTo>
                  <a:lnTo>
                    <a:pt x="483" y="80"/>
                  </a:lnTo>
                  <a:lnTo>
                    <a:pt x="532" y="78"/>
                  </a:lnTo>
                  <a:lnTo>
                    <a:pt x="539" y="85"/>
                  </a:lnTo>
                  <a:lnTo>
                    <a:pt x="532" y="89"/>
                  </a:lnTo>
                  <a:lnTo>
                    <a:pt x="536" y="104"/>
                  </a:lnTo>
                  <a:lnTo>
                    <a:pt x="529" y="113"/>
                  </a:lnTo>
                  <a:lnTo>
                    <a:pt x="488" y="141"/>
                  </a:lnTo>
                  <a:lnTo>
                    <a:pt x="442" y="158"/>
                  </a:lnTo>
                  <a:lnTo>
                    <a:pt x="432" y="169"/>
                  </a:lnTo>
                  <a:lnTo>
                    <a:pt x="389" y="235"/>
                  </a:lnTo>
                  <a:lnTo>
                    <a:pt x="384" y="251"/>
                  </a:lnTo>
                  <a:lnTo>
                    <a:pt x="390" y="270"/>
                  </a:lnTo>
                  <a:lnTo>
                    <a:pt x="407" y="282"/>
                  </a:lnTo>
                  <a:lnTo>
                    <a:pt x="403" y="289"/>
                  </a:lnTo>
                  <a:lnTo>
                    <a:pt x="379" y="308"/>
                  </a:lnTo>
                  <a:lnTo>
                    <a:pt x="366" y="335"/>
                  </a:lnTo>
                  <a:lnTo>
                    <a:pt x="366" y="346"/>
                  </a:lnTo>
                  <a:lnTo>
                    <a:pt x="342" y="349"/>
                  </a:lnTo>
                  <a:lnTo>
                    <a:pt x="326" y="364"/>
                  </a:lnTo>
                  <a:lnTo>
                    <a:pt x="312" y="390"/>
                  </a:lnTo>
                  <a:lnTo>
                    <a:pt x="212" y="395"/>
                  </a:lnTo>
                  <a:lnTo>
                    <a:pt x="203" y="404"/>
                  </a:lnTo>
                  <a:lnTo>
                    <a:pt x="182" y="409"/>
                  </a:lnTo>
                  <a:lnTo>
                    <a:pt x="164" y="427"/>
                  </a:lnTo>
                  <a:lnTo>
                    <a:pt x="141" y="418"/>
                  </a:lnTo>
                  <a:lnTo>
                    <a:pt x="126" y="383"/>
                  </a:lnTo>
                  <a:lnTo>
                    <a:pt x="115" y="373"/>
                  </a:lnTo>
                  <a:lnTo>
                    <a:pt x="98" y="366"/>
                  </a:lnTo>
                  <a:lnTo>
                    <a:pt x="81" y="367"/>
                  </a:lnTo>
                  <a:close/>
                </a:path>
              </a:pathLst>
            </a:custGeom>
            <a:grpFill/>
            <a:ln w="6350">
              <a:solidFill>
                <a:schemeClr val="tx2"/>
              </a:solidFill>
              <a:round/>
              <a:headEnd/>
              <a:tailEnd/>
            </a:ln>
          </p:spPr>
          <p:txBody>
            <a:bodyPr/>
            <a:lstStyle/>
            <a:p>
              <a:endParaRPr lang="en-US"/>
            </a:p>
          </p:txBody>
        </p:sp>
        <p:sp>
          <p:nvSpPr>
            <p:cNvPr id="708" name="Freeform 1455"/>
            <p:cNvSpPr>
              <a:spLocks/>
            </p:cNvSpPr>
            <p:nvPr/>
          </p:nvSpPr>
          <p:spPr bwMode="auto">
            <a:xfrm>
              <a:off x="4515160" y="3116350"/>
              <a:ext cx="271564" cy="273080"/>
            </a:xfrm>
            <a:custGeom>
              <a:avLst/>
              <a:gdLst>
                <a:gd name="T0" fmla="*/ 2147483647 w 544"/>
                <a:gd name="T1" fmla="*/ 2147483647 h 549"/>
                <a:gd name="T2" fmla="*/ 2147483647 w 544"/>
                <a:gd name="T3" fmla="*/ 2147483647 h 549"/>
                <a:gd name="T4" fmla="*/ 2147483647 w 544"/>
                <a:gd name="T5" fmla="*/ 2147483647 h 549"/>
                <a:gd name="T6" fmla="*/ 2147483647 w 544"/>
                <a:gd name="T7" fmla="*/ 2147483647 h 549"/>
                <a:gd name="T8" fmla="*/ 2147483647 w 544"/>
                <a:gd name="T9" fmla="*/ 2147483647 h 549"/>
                <a:gd name="T10" fmla="*/ 2147483647 w 544"/>
                <a:gd name="T11" fmla="*/ 2147483647 h 549"/>
                <a:gd name="T12" fmla="*/ 2147483647 w 544"/>
                <a:gd name="T13" fmla="*/ 2147483647 h 549"/>
                <a:gd name="T14" fmla="*/ 2147483647 w 544"/>
                <a:gd name="T15" fmla="*/ 2147483647 h 549"/>
                <a:gd name="T16" fmla="*/ 2147483647 w 544"/>
                <a:gd name="T17" fmla="*/ 2147483647 h 549"/>
                <a:gd name="T18" fmla="*/ 2147483647 w 544"/>
                <a:gd name="T19" fmla="*/ 2147483647 h 549"/>
                <a:gd name="T20" fmla="*/ 2147483647 w 544"/>
                <a:gd name="T21" fmla="*/ 2147483647 h 549"/>
                <a:gd name="T22" fmla="*/ 2147483647 w 544"/>
                <a:gd name="T23" fmla="*/ 2147483647 h 549"/>
                <a:gd name="T24" fmla="*/ 2147483647 w 544"/>
                <a:gd name="T25" fmla="*/ 2147483647 h 549"/>
                <a:gd name="T26" fmla="*/ 2147483647 w 544"/>
                <a:gd name="T27" fmla="*/ 2147483647 h 549"/>
                <a:gd name="T28" fmla="*/ 2147483647 w 544"/>
                <a:gd name="T29" fmla="*/ 2147483647 h 549"/>
                <a:gd name="T30" fmla="*/ 2147483647 w 544"/>
                <a:gd name="T31" fmla="*/ 2147483647 h 549"/>
                <a:gd name="T32" fmla="*/ 2147483647 w 544"/>
                <a:gd name="T33" fmla="*/ 2147483647 h 549"/>
                <a:gd name="T34" fmla="*/ 2147483647 w 544"/>
                <a:gd name="T35" fmla="*/ 2147483647 h 549"/>
                <a:gd name="T36" fmla="*/ 2147483647 w 544"/>
                <a:gd name="T37" fmla="*/ 2147483647 h 549"/>
                <a:gd name="T38" fmla="*/ 2147483647 w 544"/>
                <a:gd name="T39" fmla="*/ 2147483647 h 549"/>
                <a:gd name="T40" fmla="*/ 2147483647 w 544"/>
                <a:gd name="T41" fmla="*/ 2147483647 h 549"/>
                <a:gd name="T42" fmla="*/ 2147483647 w 544"/>
                <a:gd name="T43" fmla="*/ 2147483647 h 549"/>
                <a:gd name="T44" fmla="*/ 2147483647 w 544"/>
                <a:gd name="T45" fmla="*/ 2147483647 h 549"/>
                <a:gd name="T46" fmla="*/ 2147483647 w 544"/>
                <a:gd name="T47" fmla="*/ 2147483647 h 549"/>
                <a:gd name="T48" fmla="*/ 2147483647 w 544"/>
                <a:gd name="T49" fmla="*/ 2147483647 h 549"/>
                <a:gd name="T50" fmla="*/ 2147483647 w 544"/>
                <a:gd name="T51" fmla="*/ 2147483647 h 549"/>
                <a:gd name="T52" fmla="*/ 2147483647 w 544"/>
                <a:gd name="T53" fmla="*/ 2147483647 h 549"/>
                <a:gd name="T54" fmla="*/ 2147483647 w 544"/>
                <a:gd name="T55" fmla="*/ 2147483647 h 549"/>
                <a:gd name="T56" fmla="*/ 2147483647 w 544"/>
                <a:gd name="T57" fmla="*/ 2147483647 h 549"/>
                <a:gd name="T58" fmla="*/ 2147483647 w 544"/>
                <a:gd name="T59" fmla="*/ 2147483647 h 549"/>
                <a:gd name="T60" fmla="*/ 2147483647 w 544"/>
                <a:gd name="T61" fmla="*/ 2147483647 h 549"/>
                <a:gd name="T62" fmla="*/ 2147483647 w 544"/>
                <a:gd name="T63" fmla="*/ 2147483647 h 549"/>
                <a:gd name="T64" fmla="*/ 2147483647 w 544"/>
                <a:gd name="T65" fmla="*/ 2147483647 h 549"/>
                <a:gd name="T66" fmla="*/ 2147483647 w 544"/>
                <a:gd name="T67" fmla="*/ 2147483647 h 549"/>
                <a:gd name="T68" fmla="*/ 2147483647 w 544"/>
                <a:gd name="T69" fmla="*/ 2147483647 h 549"/>
                <a:gd name="T70" fmla="*/ 2147483647 w 544"/>
                <a:gd name="T71" fmla="*/ 2147483647 h 549"/>
                <a:gd name="T72" fmla="*/ 2147483647 w 544"/>
                <a:gd name="T73" fmla="*/ 2147483647 h 549"/>
                <a:gd name="T74" fmla="*/ 2147483647 w 544"/>
                <a:gd name="T75" fmla="*/ 2147483647 h 549"/>
                <a:gd name="T76" fmla="*/ 2147483647 w 544"/>
                <a:gd name="T77" fmla="*/ 2147483647 h 549"/>
                <a:gd name="T78" fmla="*/ 2147483647 w 544"/>
                <a:gd name="T79" fmla="*/ 2147483647 h 549"/>
                <a:gd name="T80" fmla="*/ 2147483647 w 544"/>
                <a:gd name="T81" fmla="*/ 2147483647 h 549"/>
                <a:gd name="T82" fmla="*/ 2147483647 w 544"/>
                <a:gd name="T83" fmla="*/ 2147483647 h 549"/>
                <a:gd name="T84" fmla="*/ 2147483647 w 544"/>
                <a:gd name="T85" fmla="*/ 2147483647 h 549"/>
                <a:gd name="T86" fmla="*/ 2147483647 w 544"/>
                <a:gd name="T87" fmla="*/ 2147483647 h 549"/>
                <a:gd name="T88" fmla="*/ 2147483647 w 544"/>
                <a:gd name="T89" fmla="*/ 2147483647 h 549"/>
                <a:gd name="T90" fmla="*/ 2147483647 w 544"/>
                <a:gd name="T91" fmla="*/ 2147483647 h 549"/>
                <a:gd name="T92" fmla="*/ 2147483647 w 544"/>
                <a:gd name="T93" fmla="*/ 2147483647 h 549"/>
                <a:gd name="T94" fmla="*/ 2147483647 w 544"/>
                <a:gd name="T95" fmla="*/ 2147483647 h 549"/>
                <a:gd name="T96" fmla="*/ 2147483647 w 544"/>
                <a:gd name="T97" fmla="*/ 2147483647 h 549"/>
                <a:gd name="T98" fmla="*/ 2147483647 w 544"/>
                <a:gd name="T99" fmla="*/ 2147483647 h 549"/>
                <a:gd name="T100" fmla="*/ 2147483647 w 544"/>
                <a:gd name="T101" fmla="*/ 0 h 5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4"/>
                <a:gd name="T154" fmla="*/ 0 h 549"/>
                <a:gd name="T155" fmla="*/ 544 w 544"/>
                <a:gd name="T156" fmla="*/ 549 h 5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4" h="549">
                  <a:moveTo>
                    <a:pt x="320" y="0"/>
                  </a:moveTo>
                  <a:lnTo>
                    <a:pt x="279" y="14"/>
                  </a:lnTo>
                  <a:lnTo>
                    <a:pt x="273" y="29"/>
                  </a:lnTo>
                  <a:lnTo>
                    <a:pt x="273" y="61"/>
                  </a:lnTo>
                  <a:lnTo>
                    <a:pt x="253" y="79"/>
                  </a:lnTo>
                  <a:lnTo>
                    <a:pt x="215" y="94"/>
                  </a:lnTo>
                  <a:lnTo>
                    <a:pt x="211" y="108"/>
                  </a:lnTo>
                  <a:lnTo>
                    <a:pt x="225" y="112"/>
                  </a:lnTo>
                  <a:lnTo>
                    <a:pt x="195" y="121"/>
                  </a:lnTo>
                  <a:lnTo>
                    <a:pt x="159" y="117"/>
                  </a:lnTo>
                  <a:lnTo>
                    <a:pt x="149" y="105"/>
                  </a:lnTo>
                  <a:lnTo>
                    <a:pt x="150" y="98"/>
                  </a:lnTo>
                  <a:lnTo>
                    <a:pt x="123" y="95"/>
                  </a:lnTo>
                  <a:lnTo>
                    <a:pt x="139" y="160"/>
                  </a:lnTo>
                  <a:lnTo>
                    <a:pt x="144" y="163"/>
                  </a:lnTo>
                  <a:lnTo>
                    <a:pt x="141" y="167"/>
                  </a:lnTo>
                  <a:lnTo>
                    <a:pt x="126" y="163"/>
                  </a:lnTo>
                  <a:lnTo>
                    <a:pt x="93" y="170"/>
                  </a:lnTo>
                  <a:lnTo>
                    <a:pt x="73" y="154"/>
                  </a:lnTo>
                  <a:lnTo>
                    <a:pt x="56" y="154"/>
                  </a:lnTo>
                  <a:lnTo>
                    <a:pt x="51" y="160"/>
                  </a:lnTo>
                  <a:lnTo>
                    <a:pt x="3" y="174"/>
                  </a:lnTo>
                  <a:lnTo>
                    <a:pt x="0" y="185"/>
                  </a:lnTo>
                  <a:lnTo>
                    <a:pt x="16" y="183"/>
                  </a:lnTo>
                  <a:lnTo>
                    <a:pt x="7" y="192"/>
                  </a:lnTo>
                  <a:lnTo>
                    <a:pt x="16" y="199"/>
                  </a:lnTo>
                  <a:lnTo>
                    <a:pt x="4" y="204"/>
                  </a:lnTo>
                  <a:lnTo>
                    <a:pt x="18" y="220"/>
                  </a:lnTo>
                  <a:lnTo>
                    <a:pt x="34" y="215"/>
                  </a:lnTo>
                  <a:lnTo>
                    <a:pt x="68" y="234"/>
                  </a:lnTo>
                  <a:lnTo>
                    <a:pt x="97" y="237"/>
                  </a:lnTo>
                  <a:lnTo>
                    <a:pt x="98" y="251"/>
                  </a:lnTo>
                  <a:lnTo>
                    <a:pt x="130" y="255"/>
                  </a:lnTo>
                  <a:lnTo>
                    <a:pt x="113" y="257"/>
                  </a:lnTo>
                  <a:lnTo>
                    <a:pt x="115" y="280"/>
                  </a:lnTo>
                  <a:lnTo>
                    <a:pt x="129" y="300"/>
                  </a:lnTo>
                  <a:lnTo>
                    <a:pt x="157" y="313"/>
                  </a:lnTo>
                  <a:lnTo>
                    <a:pt x="160" y="338"/>
                  </a:lnTo>
                  <a:lnTo>
                    <a:pt x="156" y="346"/>
                  </a:lnTo>
                  <a:lnTo>
                    <a:pt x="172" y="368"/>
                  </a:lnTo>
                  <a:lnTo>
                    <a:pt x="175" y="378"/>
                  </a:lnTo>
                  <a:lnTo>
                    <a:pt x="161" y="361"/>
                  </a:lnTo>
                  <a:lnTo>
                    <a:pt x="155" y="406"/>
                  </a:lnTo>
                  <a:lnTo>
                    <a:pt x="161" y="413"/>
                  </a:lnTo>
                  <a:lnTo>
                    <a:pt x="154" y="430"/>
                  </a:lnTo>
                  <a:lnTo>
                    <a:pt x="145" y="476"/>
                  </a:lnTo>
                  <a:lnTo>
                    <a:pt x="142" y="485"/>
                  </a:lnTo>
                  <a:lnTo>
                    <a:pt x="126" y="490"/>
                  </a:lnTo>
                  <a:lnTo>
                    <a:pt x="144" y="507"/>
                  </a:lnTo>
                  <a:lnTo>
                    <a:pt x="174" y="523"/>
                  </a:lnTo>
                  <a:lnTo>
                    <a:pt x="222" y="533"/>
                  </a:lnTo>
                  <a:lnTo>
                    <a:pt x="242" y="526"/>
                  </a:lnTo>
                  <a:lnTo>
                    <a:pt x="260" y="535"/>
                  </a:lnTo>
                  <a:lnTo>
                    <a:pt x="270" y="534"/>
                  </a:lnTo>
                  <a:lnTo>
                    <a:pt x="275" y="541"/>
                  </a:lnTo>
                  <a:lnTo>
                    <a:pt x="289" y="549"/>
                  </a:lnTo>
                  <a:lnTo>
                    <a:pt x="338" y="547"/>
                  </a:lnTo>
                  <a:lnTo>
                    <a:pt x="333" y="521"/>
                  </a:lnTo>
                  <a:lnTo>
                    <a:pt x="340" y="501"/>
                  </a:lnTo>
                  <a:lnTo>
                    <a:pt x="374" y="480"/>
                  </a:lnTo>
                  <a:lnTo>
                    <a:pt x="403" y="490"/>
                  </a:lnTo>
                  <a:lnTo>
                    <a:pt x="419" y="489"/>
                  </a:lnTo>
                  <a:lnTo>
                    <a:pt x="465" y="507"/>
                  </a:lnTo>
                  <a:lnTo>
                    <a:pt x="484" y="498"/>
                  </a:lnTo>
                  <a:lnTo>
                    <a:pt x="507" y="471"/>
                  </a:lnTo>
                  <a:lnTo>
                    <a:pt x="524" y="462"/>
                  </a:lnTo>
                  <a:lnTo>
                    <a:pt x="522" y="442"/>
                  </a:lnTo>
                  <a:lnTo>
                    <a:pt x="502" y="440"/>
                  </a:lnTo>
                  <a:lnTo>
                    <a:pt x="495" y="424"/>
                  </a:lnTo>
                  <a:lnTo>
                    <a:pt x="496" y="402"/>
                  </a:lnTo>
                  <a:lnTo>
                    <a:pt x="488" y="396"/>
                  </a:lnTo>
                  <a:lnTo>
                    <a:pt x="489" y="386"/>
                  </a:lnTo>
                  <a:lnTo>
                    <a:pt x="501" y="375"/>
                  </a:lnTo>
                  <a:lnTo>
                    <a:pt x="490" y="342"/>
                  </a:lnTo>
                  <a:lnTo>
                    <a:pt x="498" y="338"/>
                  </a:lnTo>
                  <a:lnTo>
                    <a:pt x="496" y="330"/>
                  </a:lnTo>
                  <a:lnTo>
                    <a:pt x="490" y="329"/>
                  </a:lnTo>
                  <a:lnTo>
                    <a:pt x="489" y="307"/>
                  </a:lnTo>
                  <a:lnTo>
                    <a:pt x="473" y="306"/>
                  </a:lnTo>
                  <a:lnTo>
                    <a:pt x="459" y="322"/>
                  </a:lnTo>
                  <a:lnTo>
                    <a:pt x="458" y="303"/>
                  </a:lnTo>
                  <a:lnTo>
                    <a:pt x="479" y="265"/>
                  </a:lnTo>
                  <a:lnTo>
                    <a:pt x="497" y="245"/>
                  </a:lnTo>
                  <a:lnTo>
                    <a:pt x="494" y="241"/>
                  </a:lnTo>
                  <a:lnTo>
                    <a:pt x="497" y="236"/>
                  </a:lnTo>
                  <a:lnTo>
                    <a:pt x="523" y="230"/>
                  </a:lnTo>
                  <a:lnTo>
                    <a:pt x="521" y="198"/>
                  </a:lnTo>
                  <a:lnTo>
                    <a:pt x="529" y="170"/>
                  </a:lnTo>
                  <a:lnTo>
                    <a:pt x="544" y="141"/>
                  </a:lnTo>
                  <a:lnTo>
                    <a:pt x="487" y="126"/>
                  </a:lnTo>
                  <a:lnTo>
                    <a:pt x="467" y="104"/>
                  </a:lnTo>
                  <a:lnTo>
                    <a:pt x="444" y="101"/>
                  </a:lnTo>
                  <a:lnTo>
                    <a:pt x="429" y="100"/>
                  </a:lnTo>
                  <a:lnTo>
                    <a:pt x="414" y="90"/>
                  </a:lnTo>
                  <a:lnTo>
                    <a:pt x="412" y="65"/>
                  </a:lnTo>
                  <a:lnTo>
                    <a:pt x="399" y="76"/>
                  </a:lnTo>
                  <a:lnTo>
                    <a:pt x="384" y="74"/>
                  </a:lnTo>
                  <a:lnTo>
                    <a:pt x="375" y="51"/>
                  </a:lnTo>
                  <a:lnTo>
                    <a:pt x="346" y="39"/>
                  </a:lnTo>
                  <a:lnTo>
                    <a:pt x="339" y="24"/>
                  </a:lnTo>
                  <a:lnTo>
                    <a:pt x="322" y="21"/>
                  </a:lnTo>
                  <a:lnTo>
                    <a:pt x="320" y="0"/>
                  </a:lnTo>
                  <a:close/>
                </a:path>
              </a:pathLst>
            </a:custGeom>
            <a:grpFill/>
            <a:ln w="6350">
              <a:solidFill>
                <a:schemeClr val="tx2"/>
              </a:solidFill>
              <a:round/>
              <a:headEnd/>
              <a:tailEnd/>
            </a:ln>
          </p:spPr>
          <p:txBody>
            <a:bodyPr/>
            <a:lstStyle/>
            <a:p>
              <a:endParaRPr lang="en-US"/>
            </a:p>
          </p:txBody>
        </p:sp>
        <p:sp>
          <p:nvSpPr>
            <p:cNvPr id="709" name="Freeform 1456"/>
            <p:cNvSpPr>
              <a:spLocks/>
            </p:cNvSpPr>
            <p:nvPr/>
          </p:nvSpPr>
          <p:spPr bwMode="auto">
            <a:xfrm>
              <a:off x="4416548" y="3397016"/>
              <a:ext cx="69787" cy="138058"/>
            </a:xfrm>
            <a:custGeom>
              <a:avLst/>
              <a:gdLst>
                <a:gd name="T0" fmla="*/ 2147483647 w 138"/>
                <a:gd name="T1" fmla="*/ 2147483647 h 279"/>
                <a:gd name="T2" fmla="*/ 2147483647 w 138"/>
                <a:gd name="T3" fmla="*/ 2147483647 h 279"/>
                <a:gd name="T4" fmla="*/ 2147483647 w 138"/>
                <a:gd name="T5" fmla="*/ 0 h 279"/>
                <a:gd name="T6" fmla="*/ 2147483647 w 138"/>
                <a:gd name="T7" fmla="*/ 2147483647 h 279"/>
                <a:gd name="T8" fmla="*/ 2147483647 w 138"/>
                <a:gd name="T9" fmla="*/ 2147483647 h 279"/>
                <a:gd name="T10" fmla="*/ 2147483647 w 138"/>
                <a:gd name="T11" fmla="*/ 2147483647 h 279"/>
                <a:gd name="T12" fmla="*/ 2147483647 w 138"/>
                <a:gd name="T13" fmla="*/ 2147483647 h 279"/>
                <a:gd name="T14" fmla="*/ 2147483647 w 138"/>
                <a:gd name="T15" fmla="*/ 2147483647 h 279"/>
                <a:gd name="T16" fmla="*/ 2147483647 w 138"/>
                <a:gd name="T17" fmla="*/ 2147483647 h 279"/>
                <a:gd name="T18" fmla="*/ 2147483647 w 138"/>
                <a:gd name="T19" fmla="*/ 2147483647 h 279"/>
                <a:gd name="T20" fmla="*/ 2147483647 w 138"/>
                <a:gd name="T21" fmla="*/ 2147483647 h 279"/>
                <a:gd name="T22" fmla="*/ 2147483647 w 138"/>
                <a:gd name="T23" fmla="*/ 2147483647 h 279"/>
                <a:gd name="T24" fmla="*/ 2147483647 w 138"/>
                <a:gd name="T25" fmla="*/ 2147483647 h 279"/>
                <a:gd name="T26" fmla="*/ 2147483647 w 138"/>
                <a:gd name="T27" fmla="*/ 2147483647 h 279"/>
                <a:gd name="T28" fmla="*/ 2147483647 w 138"/>
                <a:gd name="T29" fmla="*/ 2147483647 h 279"/>
                <a:gd name="T30" fmla="*/ 2147483647 w 138"/>
                <a:gd name="T31" fmla="*/ 2147483647 h 279"/>
                <a:gd name="T32" fmla="*/ 2147483647 w 138"/>
                <a:gd name="T33" fmla="*/ 2147483647 h 279"/>
                <a:gd name="T34" fmla="*/ 2147483647 w 138"/>
                <a:gd name="T35" fmla="*/ 2147483647 h 279"/>
                <a:gd name="T36" fmla="*/ 2147483647 w 138"/>
                <a:gd name="T37" fmla="*/ 2147483647 h 279"/>
                <a:gd name="T38" fmla="*/ 2147483647 w 138"/>
                <a:gd name="T39" fmla="*/ 2147483647 h 279"/>
                <a:gd name="T40" fmla="*/ 2147483647 w 138"/>
                <a:gd name="T41" fmla="*/ 2147483647 h 279"/>
                <a:gd name="T42" fmla="*/ 2147483647 w 138"/>
                <a:gd name="T43" fmla="*/ 2147483647 h 279"/>
                <a:gd name="T44" fmla="*/ 0 w 138"/>
                <a:gd name="T45" fmla="*/ 2147483647 h 279"/>
                <a:gd name="T46" fmla="*/ 2147483647 w 138"/>
                <a:gd name="T47" fmla="*/ 2147483647 h 279"/>
                <a:gd name="T48" fmla="*/ 2147483647 w 138"/>
                <a:gd name="T49" fmla="*/ 2147483647 h 279"/>
                <a:gd name="T50" fmla="*/ 2147483647 w 138"/>
                <a:gd name="T51" fmla="*/ 2147483647 h 279"/>
                <a:gd name="T52" fmla="*/ 2147483647 w 138"/>
                <a:gd name="T53" fmla="*/ 2147483647 h 2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279"/>
                <a:gd name="T83" fmla="*/ 138 w 138"/>
                <a:gd name="T84" fmla="*/ 279 h 2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279">
                  <a:moveTo>
                    <a:pt x="27" y="15"/>
                  </a:moveTo>
                  <a:lnTo>
                    <a:pt x="33" y="7"/>
                  </a:lnTo>
                  <a:lnTo>
                    <a:pt x="55" y="0"/>
                  </a:lnTo>
                  <a:lnTo>
                    <a:pt x="56" y="10"/>
                  </a:lnTo>
                  <a:lnTo>
                    <a:pt x="62" y="14"/>
                  </a:lnTo>
                  <a:lnTo>
                    <a:pt x="127" y="12"/>
                  </a:lnTo>
                  <a:lnTo>
                    <a:pt x="138" y="26"/>
                  </a:lnTo>
                  <a:lnTo>
                    <a:pt x="132" y="44"/>
                  </a:lnTo>
                  <a:lnTo>
                    <a:pt x="114" y="60"/>
                  </a:lnTo>
                  <a:lnTo>
                    <a:pt x="107" y="102"/>
                  </a:lnTo>
                  <a:lnTo>
                    <a:pt x="111" y="124"/>
                  </a:lnTo>
                  <a:lnTo>
                    <a:pt x="89" y="140"/>
                  </a:lnTo>
                  <a:lnTo>
                    <a:pt x="103" y="171"/>
                  </a:lnTo>
                  <a:lnTo>
                    <a:pt x="94" y="198"/>
                  </a:lnTo>
                  <a:lnTo>
                    <a:pt x="106" y="226"/>
                  </a:lnTo>
                  <a:lnTo>
                    <a:pt x="84" y="249"/>
                  </a:lnTo>
                  <a:lnTo>
                    <a:pt x="87" y="271"/>
                  </a:lnTo>
                  <a:lnTo>
                    <a:pt x="68" y="279"/>
                  </a:lnTo>
                  <a:lnTo>
                    <a:pt x="24" y="279"/>
                  </a:lnTo>
                  <a:lnTo>
                    <a:pt x="31" y="199"/>
                  </a:lnTo>
                  <a:lnTo>
                    <a:pt x="14" y="204"/>
                  </a:lnTo>
                  <a:lnTo>
                    <a:pt x="7" y="192"/>
                  </a:lnTo>
                  <a:lnTo>
                    <a:pt x="0" y="187"/>
                  </a:lnTo>
                  <a:lnTo>
                    <a:pt x="3" y="160"/>
                  </a:lnTo>
                  <a:lnTo>
                    <a:pt x="21" y="122"/>
                  </a:lnTo>
                  <a:lnTo>
                    <a:pt x="32" y="64"/>
                  </a:lnTo>
                  <a:lnTo>
                    <a:pt x="27" y="15"/>
                  </a:lnTo>
                  <a:close/>
                </a:path>
              </a:pathLst>
            </a:custGeom>
            <a:grpFill/>
            <a:ln w="6350">
              <a:solidFill>
                <a:schemeClr val="tx2"/>
              </a:solidFill>
              <a:round/>
              <a:headEnd/>
              <a:tailEnd/>
            </a:ln>
          </p:spPr>
          <p:txBody>
            <a:bodyPr/>
            <a:lstStyle/>
            <a:p>
              <a:endParaRPr lang="en-US"/>
            </a:p>
          </p:txBody>
        </p:sp>
        <p:sp>
          <p:nvSpPr>
            <p:cNvPr id="710" name="Freeform 1457"/>
            <p:cNvSpPr>
              <a:spLocks/>
            </p:cNvSpPr>
            <p:nvPr/>
          </p:nvSpPr>
          <p:spPr bwMode="auto">
            <a:xfrm>
              <a:off x="4735141" y="3148209"/>
              <a:ext cx="15172" cy="19723"/>
            </a:xfrm>
            <a:custGeom>
              <a:avLst/>
              <a:gdLst>
                <a:gd name="T0" fmla="*/ 2147483647 w 29"/>
                <a:gd name="T1" fmla="*/ 2147483647 h 41"/>
                <a:gd name="T2" fmla="*/ 2147483647 w 29"/>
                <a:gd name="T3" fmla="*/ 2147483647 h 41"/>
                <a:gd name="T4" fmla="*/ 2147483647 w 29"/>
                <a:gd name="T5" fmla="*/ 2147483647 h 41"/>
                <a:gd name="T6" fmla="*/ 2147483647 w 29"/>
                <a:gd name="T7" fmla="*/ 2147483647 h 41"/>
                <a:gd name="T8" fmla="*/ 2147483647 w 29"/>
                <a:gd name="T9" fmla="*/ 0 h 41"/>
                <a:gd name="T10" fmla="*/ 2147483647 w 29"/>
                <a:gd name="T11" fmla="*/ 2147483647 h 41"/>
                <a:gd name="T12" fmla="*/ 0 w 29"/>
                <a:gd name="T13" fmla="*/ 2147483647 h 41"/>
                <a:gd name="T14" fmla="*/ 2147483647 w 29"/>
                <a:gd name="T15" fmla="*/ 2147483647 h 41"/>
                <a:gd name="T16" fmla="*/ 2147483647 w 29"/>
                <a:gd name="T17" fmla="*/ 2147483647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41"/>
                <a:gd name="T29" fmla="*/ 29 w 29"/>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41">
                  <a:moveTo>
                    <a:pt x="26" y="41"/>
                  </a:moveTo>
                  <a:lnTo>
                    <a:pt x="29" y="27"/>
                  </a:lnTo>
                  <a:lnTo>
                    <a:pt x="23" y="15"/>
                  </a:lnTo>
                  <a:lnTo>
                    <a:pt x="24" y="3"/>
                  </a:lnTo>
                  <a:lnTo>
                    <a:pt x="18" y="0"/>
                  </a:lnTo>
                  <a:lnTo>
                    <a:pt x="4" y="6"/>
                  </a:lnTo>
                  <a:lnTo>
                    <a:pt x="0" y="16"/>
                  </a:lnTo>
                  <a:lnTo>
                    <a:pt x="3" y="38"/>
                  </a:lnTo>
                  <a:lnTo>
                    <a:pt x="26" y="41"/>
                  </a:lnTo>
                  <a:close/>
                </a:path>
              </a:pathLst>
            </a:custGeom>
            <a:grpFill/>
            <a:ln w="6350">
              <a:solidFill>
                <a:schemeClr val="tx2"/>
              </a:solidFill>
              <a:round/>
              <a:headEnd/>
              <a:tailEnd/>
            </a:ln>
          </p:spPr>
          <p:txBody>
            <a:bodyPr/>
            <a:lstStyle/>
            <a:p>
              <a:endParaRPr lang="en-US"/>
            </a:p>
          </p:txBody>
        </p:sp>
        <p:sp>
          <p:nvSpPr>
            <p:cNvPr id="711" name="Freeform 1458"/>
            <p:cNvSpPr>
              <a:spLocks/>
            </p:cNvSpPr>
            <p:nvPr/>
          </p:nvSpPr>
          <p:spPr bwMode="auto">
            <a:xfrm>
              <a:off x="4744244" y="3230134"/>
              <a:ext cx="94061" cy="54616"/>
            </a:xfrm>
            <a:custGeom>
              <a:avLst/>
              <a:gdLst>
                <a:gd name="T0" fmla="*/ 2147483647 w 189"/>
                <a:gd name="T1" fmla="*/ 2147483647 h 111"/>
                <a:gd name="T2" fmla="*/ 2147483647 w 189"/>
                <a:gd name="T3" fmla="*/ 2147483647 h 111"/>
                <a:gd name="T4" fmla="*/ 2147483647 w 189"/>
                <a:gd name="T5" fmla="*/ 2147483647 h 111"/>
                <a:gd name="T6" fmla="*/ 2147483647 w 189"/>
                <a:gd name="T7" fmla="*/ 2147483647 h 111"/>
                <a:gd name="T8" fmla="*/ 2147483647 w 189"/>
                <a:gd name="T9" fmla="*/ 2147483647 h 111"/>
                <a:gd name="T10" fmla="*/ 2147483647 w 189"/>
                <a:gd name="T11" fmla="*/ 0 h 111"/>
                <a:gd name="T12" fmla="*/ 2147483647 w 189"/>
                <a:gd name="T13" fmla="*/ 2147483647 h 111"/>
                <a:gd name="T14" fmla="*/ 2147483647 w 189"/>
                <a:gd name="T15" fmla="*/ 2147483647 h 111"/>
                <a:gd name="T16" fmla="*/ 2147483647 w 189"/>
                <a:gd name="T17" fmla="*/ 2147483647 h 111"/>
                <a:gd name="T18" fmla="*/ 2147483647 w 189"/>
                <a:gd name="T19" fmla="*/ 2147483647 h 111"/>
                <a:gd name="T20" fmla="*/ 2147483647 w 189"/>
                <a:gd name="T21" fmla="*/ 2147483647 h 111"/>
                <a:gd name="T22" fmla="*/ 2147483647 w 189"/>
                <a:gd name="T23" fmla="*/ 2147483647 h 111"/>
                <a:gd name="T24" fmla="*/ 0 w 189"/>
                <a:gd name="T25" fmla="*/ 2147483647 h 111"/>
                <a:gd name="T26" fmla="*/ 2147483647 w 189"/>
                <a:gd name="T27" fmla="*/ 2147483647 h 111"/>
                <a:gd name="T28" fmla="*/ 2147483647 w 189"/>
                <a:gd name="T29" fmla="*/ 2147483647 h 111"/>
                <a:gd name="T30" fmla="*/ 2147483647 w 189"/>
                <a:gd name="T31" fmla="*/ 2147483647 h 111"/>
                <a:gd name="T32" fmla="*/ 2147483647 w 189"/>
                <a:gd name="T33" fmla="*/ 2147483647 h 111"/>
                <a:gd name="T34" fmla="*/ 2147483647 w 189"/>
                <a:gd name="T35" fmla="*/ 2147483647 h 111"/>
                <a:gd name="T36" fmla="*/ 2147483647 w 189"/>
                <a:gd name="T37" fmla="*/ 2147483647 h 111"/>
                <a:gd name="T38" fmla="*/ 2147483647 w 189"/>
                <a:gd name="T39" fmla="*/ 2147483647 h 111"/>
                <a:gd name="T40" fmla="*/ 2147483647 w 189"/>
                <a:gd name="T41" fmla="*/ 2147483647 h 111"/>
                <a:gd name="T42" fmla="*/ 2147483647 w 189"/>
                <a:gd name="T43" fmla="*/ 2147483647 h 111"/>
                <a:gd name="T44" fmla="*/ 2147483647 w 189"/>
                <a:gd name="T45" fmla="*/ 2147483647 h 111"/>
                <a:gd name="T46" fmla="*/ 2147483647 w 189"/>
                <a:gd name="T47" fmla="*/ 2147483647 h 111"/>
                <a:gd name="T48" fmla="*/ 2147483647 w 189"/>
                <a:gd name="T49" fmla="*/ 2147483647 h 111"/>
                <a:gd name="T50" fmla="*/ 2147483647 w 189"/>
                <a:gd name="T51" fmla="*/ 2147483647 h 111"/>
                <a:gd name="T52" fmla="*/ 2147483647 w 189"/>
                <a:gd name="T53" fmla="*/ 2147483647 h 111"/>
                <a:gd name="T54" fmla="*/ 2147483647 w 189"/>
                <a:gd name="T55" fmla="*/ 2147483647 h 11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9"/>
                <a:gd name="T85" fmla="*/ 0 h 111"/>
                <a:gd name="T86" fmla="*/ 189 w 189"/>
                <a:gd name="T87" fmla="*/ 111 h 11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9" h="111">
                  <a:moveTo>
                    <a:pt x="189" y="50"/>
                  </a:moveTo>
                  <a:lnTo>
                    <a:pt x="156" y="41"/>
                  </a:lnTo>
                  <a:lnTo>
                    <a:pt x="150" y="31"/>
                  </a:lnTo>
                  <a:lnTo>
                    <a:pt x="154" y="17"/>
                  </a:lnTo>
                  <a:lnTo>
                    <a:pt x="148" y="11"/>
                  </a:lnTo>
                  <a:lnTo>
                    <a:pt x="119" y="0"/>
                  </a:lnTo>
                  <a:lnTo>
                    <a:pt x="71" y="8"/>
                  </a:lnTo>
                  <a:lnTo>
                    <a:pt x="65" y="3"/>
                  </a:lnTo>
                  <a:lnTo>
                    <a:pt x="39" y="9"/>
                  </a:lnTo>
                  <a:lnTo>
                    <a:pt x="36" y="14"/>
                  </a:lnTo>
                  <a:lnTo>
                    <a:pt x="39" y="18"/>
                  </a:lnTo>
                  <a:lnTo>
                    <a:pt x="21" y="38"/>
                  </a:lnTo>
                  <a:lnTo>
                    <a:pt x="0" y="76"/>
                  </a:lnTo>
                  <a:lnTo>
                    <a:pt x="1" y="95"/>
                  </a:lnTo>
                  <a:lnTo>
                    <a:pt x="15" y="79"/>
                  </a:lnTo>
                  <a:lnTo>
                    <a:pt x="31" y="80"/>
                  </a:lnTo>
                  <a:lnTo>
                    <a:pt x="32" y="102"/>
                  </a:lnTo>
                  <a:lnTo>
                    <a:pt x="38" y="103"/>
                  </a:lnTo>
                  <a:lnTo>
                    <a:pt x="40" y="111"/>
                  </a:lnTo>
                  <a:lnTo>
                    <a:pt x="77" y="107"/>
                  </a:lnTo>
                  <a:lnTo>
                    <a:pt x="102" y="78"/>
                  </a:lnTo>
                  <a:lnTo>
                    <a:pt x="107" y="93"/>
                  </a:lnTo>
                  <a:lnTo>
                    <a:pt x="127" y="109"/>
                  </a:lnTo>
                  <a:lnTo>
                    <a:pt x="140" y="75"/>
                  </a:lnTo>
                  <a:lnTo>
                    <a:pt x="175" y="86"/>
                  </a:lnTo>
                  <a:lnTo>
                    <a:pt x="175" y="67"/>
                  </a:lnTo>
                  <a:lnTo>
                    <a:pt x="187" y="64"/>
                  </a:lnTo>
                  <a:lnTo>
                    <a:pt x="189" y="50"/>
                  </a:lnTo>
                  <a:close/>
                </a:path>
              </a:pathLst>
            </a:custGeom>
            <a:grpFill/>
            <a:ln w="6350">
              <a:solidFill>
                <a:schemeClr val="tx2"/>
              </a:solidFill>
              <a:round/>
              <a:headEnd/>
              <a:tailEnd/>
            </a:ln>
          </p:spPr>
          <p:txBody>
            <a:bodyPr/>
            <a:lstStyle/>
            <a:p>
              <a:endParaRPr lang="en-US"/>
            </a:p>
          </p:txBody>
        </p:sp>
        <p:sp>
          <p:nvSpPr>
            <p:cNvPr id="712" name="Freeform 1459"/>
            <p:cNvSpPr>
              <a:spLocks/>
            </p:cNvSpPr>
            <p:nvPr/>
          </p:nvSpPr>
          <p:spPr bwMode="auto">
            <a:xfrm>
              <a:off x="4674457" y="3104214"/>
              <a:ext cx="74338" cy="62201"/>
            </a:xfrm>
            <a:custGeom>
              <a:avLst/>
              <a:gdLst>
                <a:gd name="T0" fmla="*/ 2147483647 w 147"/>
                <a:gd name="T1" fmla="*/ 2147483647 h 124"/>
                <a:gd name="T2" fmla="*/ 2147483647 w 147"/>
                <a:gd name="T3" fmla="*/ 2147483647 h 124"/>
                <a:gd name="T4" fmla="*/ 2147483647 w 147"/>
                <a:gd name="T5" fmla="*/ 2147483647 h 124"/>
                <a:gd name="T6" fmla="*/ 2147483647 w 147"/>
                <a:gd name="T7" fmla="*/ 2147483647 h 124"/>
                <a:gd name="T8" fmla="*/ 2147483647 w 147"/>
                <a:gd name="T9" fmla="*/ 2147483647 h 124"/>
                <a:gd name="T10" fmla="*/ 2147483647 w 147"/>
                <a:gd name="T11" fmla="*/ 2147483647 h 124"/>
                <a:gd name="T12" fmla="*/ 2147483647 w 147"/>
                <a:gd name="T13" fmla="*/ 2147483647 h 124"/>
                <a:gd name="T14" fmla="*/ 2147483647 w 147"/>
                <a:gd name="T15" fmla="*/ 2147483647 h 124"/>
                <a:gd name="T16" fmla="*/ 0 w 147"/>
                <a:gd name="T17" fmla="*/ 2147483647 h 124"/>
                <a:gd name="T18" fmla="*/ 2147483647 w 147"/>
                <a:gd name="T19" fmla="*/ 2147483647 h 124"/>
                <a:gd name="T20" fmla="*/ 2147483647 w 147"/>
                <a:gd name="T21" fmla="*/ 2147483647 h 124"/>
                <a:gd name="T22" fmla="*/ 2147483647 w 147"/>
                <a:gd name="T23" fmla="*/ 0 h 124"/>
                <a:gd name="T24" fmla="*/ 2147483647 w 147"/>
                <a:gd name="T25" fmla="*/ 2147483647 h 124"/>
                <a:gd name="T26" fmla="*/ 2147483647 w 147"/>
                <a:gd name="T27" fmla="*/ 2147483647 h 124"/>
                <a:gd name="T28" fmla="*/ 2147483647 w 147"/>
                <a:gd name="T29" fmla="*/ 2147483647 h 124"/>
                <a:gd name="T30" fmla="*/ 2147483647 w 147"/>
                <a:gd name="T31" fmla="*/ 2147483647 h 124"/>
                <a:gd name="T32" fmla="*/ 2147483647 w 147"/>
                <a:gd name="T33" fmla="*/ 2147483647 h 124"/>
                <a:gd name="T34" fmla="*/ 2147483647 w 147"/>
                <a:gd name="T35" fmla="*/ 2147483647 h 124"/>
                <a:gd name="T36" fmla="*/ 2147483647 w 147"/>
                <a:gd name="T37" fmla="*/ 2147483647 h 124"/>
                <a:gd name="T38" fmla="*/ 2147483647 w 147"/>
                <a:gd name="T39" fmla="*/ 2147483647 h 124"/>
                <a:gd name="T40" fmla="*/ 2147483647 w 147"/>
                <a:gd name="T41" fmla="*/ 2147483647 h 124"/>
                <a:gd name="T42" fmla="*/ 2147483647 w 147"/>
                <a:gd name="T43" fmla="*/ 2147483647 h 124"/>
                <a:gd name="T44" fmla="*/ 2147483647 w 147"/>
                <a:gd name="T45" fmla="*/ 2147483647 h 1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24"/>
                <a:gd name="T71" fmla="*/ 147 w 147"/>
                <a:gd name="T72" fmla="*/ 124 h 1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24">
                  <a:moveTo>
                    <a:pt x="94" y="113"/>
                  </a:moveTo>
                  <a:lnTo>
                    <a:pt x="92" y="88"/>
                  </a:lnTo>
                  <a:lnTo>
                    <a:pt x="79" y="99"/>
                  </a:lnTo>
                  <a:lnTo>
                    <a:pt x="64" y="97"/>
                  </a:lnTo>
                  <a:lnTo>
                    <a:pt x="55" y="74"/>
                  </a:lnTo>
                  <a:lnTo>
                    <a:pt x="26" y="62"/>
                  </a:lnTo>
                  <a:lnTo>
                    <a:pt x="19" y="47"/>
                  </a:lnTo>
                  <a:lnTo>
                    <a:pt x="2" y="44"/>
                  </a:lnTo>
                  <a:lnTo>
                    <a:pt x="0" y="23"/>
                  </a:lnTo>
                  <a:lnTo>
                    <a:pt x="31" y="6"/>
                  </a:lnTo>
                  <a:lnTo>
                    <a:pt x="44" y="14"/>
                  </a:lnTo>
                  <a:lnTo>
                    <a:pt x="80" y="0"/>
                  </a:lnTo>
                  <a:lnTo>
                    <a:pt x="99" y="4"/>
                  </a:lnTo>
                  <a:lnTo>
                    <a:pt x="121" y="17"/>
                  </a:lnTo>
                  <a:lnTo>
                    <a:pt x="121" y="42"/>
                  </a:lnTo>
                  <a:lnTo>
                    <a:pt x="138" y="47"/>
                  </a:lnTo>
                  <a:lnTo>
                    <a:pt x="147" y="67"/>
                  </a:lnTo>
                  <a:lnTo>
                    <a:pt x="139" y="86"/>
                  </a:lnTo>
                  <a:lnTo>
                    <a:pt x="125" y="92"/>
                  </a:lnTo>
                  <a:lnTo>
                    <a:pt x="121" y="102"/>
                  </a:lnTo>
                  <a:lnTo>
                    <a:pt x="124" y="124"/>
                  </a:lnTo>
                  <a:lnTo>
                    <a:pt x="109" y="123"/>
                  </a:lnTo>
                  <a:lnTo>
                    <a:pt x="94" y="113"/>
                  </a:lnTo>
                  <a:close/>
                </a:path>
              </a:pathLst>
            </a:custGeom>
            <a:grpFill/>
            <a:ln w="6350">
              <a:solidFill>
                <a:schemeClr val="tx2"/>
              </a:solidFill>
              <a:round/>
              <a:headEnd/>
              <a:tailEnd/>
            </a:ln>
          </p:spPr>
          <p:txBody>
            <a:bodyPr/>
            <a:lstStyle/>
            <a:p>
              <a:endParaRPr lang="en-US"/>
            </a:p>
          </p:txBody>
        </p:sp>
        <p:sp>
          <p:nvSpPr>
            <p:cNvPr id="713" name="Freeform 1460"/>
            <p:cNvSpPr>
              <a:spLocks/>
            </p:cNvSpPr>
            <p:nvPr/>
          </p:nvSpPr>
          <p:spPr bwMode="auto">
            <a:xfrm>
              <a:off x="4689628" y="3035943"/>
              <a:ext cx="75856" cy="92544"/>
            </a:xfrm>
            <a:custGeom>
              <a:avLst/>
              <a:gdLst>
                <a:gd name="T0" fmla="*/ 2147483647 w 152"/>
                <a:gd name="T1" fmla="*/ 2147483647 h 187"/>
                <a:gd name="T2" fmla="*/ 2147483647 w 152"/>
                <a:gd name="T3" fmla="*/ 0 h 187"/>
                <a:gd name="T4" fmla="*/ 2147483647 w 152"/>
                <a:gd name="T5" fmla="*/ 2147483647 h 187"/>
                <a:gd name="T6" fmla="*/ 2147483647 w 152"/>
                <a:gd name="T7" fmla="*/ 2147483647 h 187"/>
                <a:gd name="T8" fmla="*/ 2147483647 w 152"/>
                <a:gd name="T9" fmla="*/ 2147483647 h 187"/>
                <a:gd name="T10" fmla="*/ 2147483647 w 152"/>
                <a:gd name="T11" fmla="*/ 2147483647 h 187"/>
                <a:gd name="T12" fmla="*/ 2147483647 w 152"/>
                <a:gd name="T13" fmla="*/ 2147483647 h 187"/>
                <a:gd name="T14" fmla="*/ 2147483647 w 152"/>
                <a:gd name="T15" fmla="*/ 2147483647 h 187"/>
                <a:gd name="T16" fmla="*/ 2147483647 w 152"/>
                <a:gd name="T17" fmla="*/ 2147483647 h 187"/>
                <a:gd name="T18" fmla="*/ 2147483647 w 152"/>
                <a:gd name="T19" fmla="*/ 2147483647 h 187"/>
                <a:gd name="T20" fmla="*/ 2147483647 w 152"/>
                <a:gd name="T21" fmla="*/ 2147483647 h 187"/>
                <a:gd name="T22" fmla="*/ 2147483647 w 152"/>
                <a:gd name="T23" fmla="*/ 2147483647 h 187"/>
                <a:gd name="T24" fmla="*/ 2147483647 w 152"/>
                <a:gd name="T25" fmla="*/ 2147483647 h 187"/>
                <a:gd name="T26" fmla="*/ 2147483647 w 152"/>
                <a:gd name="T27" fmla="*/ 2147483647 h 187"/>
                <a:gd name="T28" fmla="*/ 2147483647 w 152"/>
                <a:gd name="T29" fmla="*/ 2147483647 h 187"/>
                <a:gd name="T30" fmla="*/ 2147483647 w 152"/>
                <a:gd name="T31" fmla="*/ 2147483647 h 187"/>
                <a:gd name="T32" fmla="*/ 2147483647 w 152"/>
                <a:gd name="T33" fmla="*/ 2147483647 h 187"/>
                <a:gd name="T34" fmla="*/ 2147483647 w 152"/>
                <a:gd name="T35" fmla="*/ 2147483647 h 187"/>
                <a:gd name="T36" fmla="*/ 2147483647 w 152"/>
                <a:gd name="T37" fmla="*/ 2147483647 h 187"/>
                <a:gd name="T38" fmla="*/ 2147483647 w 152"/>
                <a:gd name="T39" fmla="*/ 2147483647 h 187"/>
                <a:gd name="T40" fmla="*/ 2147483647 w 152"/>
                <a:gd name="T41" fmla="*/ 2147483647 h 187"/>
                <a:gd name="T42" fmla="*/ 0 w 152"/>
                <a:gd name="T43" fmla="*/ 2147483647 h 187"/>
                <a:gd name="T44" fmla="*/ 2147483647 w 152"/>
                <a:gd name="T45" fmla="*/ 2147483647 h 187"/>
                <a:gd name="T46" fmla="*/ 2147483647 w 152"/>
                <a:gd name="T47" fmla="*/ 2147483647 h 187"/>
                <a:gd name="T48" fmla="*/ 2147483647 w 152"/>
                <a:gd name="T49" fmla="*/ 2147483647 h 187"/>
                <a:gd name="T50" fmla="*/ 2147483647 w 152"/>
                <a:gd name="T51" fmla="*/ 2147483647 h 187"/>
                <a:gd name="T52" fmla="*/ 2147483647 w 152"/>
                <a:gd name="T53" fmla="*/ 2147483647 h 187"/>
                <a:gd name="T54" fmla="*/ 2147483647 w 152"/>
                <a:gd name="T55" fmla="*/ 2147483647 h 187"/>
                <a:gd name="T56" fmla="*/ 2147483647 w 152"/>
                <a:gd name="T57" fmla="*/ 2147483647 h 187"/>
                <a:gd name="T58" fmla="*/ 2147483647 w 152"/>
                <a:gd name="T59" fmla="*/ 2147483647 h 187"/>
                <a:gd name="T60" fmla="*/ 2147483647 w 152"/>
                <a:gd name="T61" fmla="*/ 2147483647 h 187"/>
                <a:gd name="T62" fmla="*/ 2147483647 w 152"/>
                <a:gd name="T63" fmla="*/ 2147483647 h 187"/>
                <a:gd name="T64" fmla="*/ 2147483647 w 152"/>
                <a:gd name="T65" fmla="*/ 2147483647 h 187"/>
                <a:gd name="T66" fmla="*/ 2147483647 w 152"/>
                <a:gd name="T67" fmla="*/ 2147483647 h 187"/>
                <a:gd name="T68" fmla="*/ 2147483647 w 152"/>
                <a:gd name="T69" fmla="*/ 2147483647 h 187"/>
                <a:gd name="T70" fmla="*/ 2147483647 w 152"/>
                <a:gd name="T71" fmla="*/ 2147483647 h 187"/>
                <a:gd name="T72" fmla="*/ 2147483647 w 152"/>
                <a:gd name="T73" fmla="*/ 2147483647 h 187"/>
                <a:gd name="T74" fmla="*/ 2147483647 w 152"/>
                <a:gd name="T75" fmla="*/ 2147483647 h 187"/>
                <a:gd name="T76" fmla="*/ 2147483647 w 152"/>
                <a:gd name="T77" fmla="*/ 2147483647 h 1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187"/>
                <a:gd name="T119" fmla="*/ 152 w 152"/>
                <a:gd name="T120" fmla="*/ 187 h 18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187">
                  <a:moveTo>
                    <a:pt x="152" y="13"/>
                  </a:moveTo>
                  <a:lnTo>
                    <a:pt x="135" y="0"/>
                  </a:lnTo>
                  <a:lnTo>
                    <a:pt x="100" y="5"/>
                  </a:lnTo>
                  <a:lnTo>
                    <a:pt x="84" y="14"/>
                  </a:lnTo>
                  <a:lnTo>
                    <a:pt x="81" y="38"/>
                  </a:lnTo>
                  <a:lnTo>
                    <a:pt x="89" y="42"/>
                  </a:lnTo>
                  <a:lnTo>
                    <a:pt x="85" y="60"/>
                  </a:lnTo>
                  <a:lnTo>
                    <a:pt x="77" y="65"/>
                  </a:lnTo>
                  <a:lnTo>
                    <a:pt x="81" y="81"/>
                  </a:lnTo>
                  <a:lnTo>
                    <a:pt x="65" y="74"/>
                  </a:lnTo>
                  <a:lnTo>
                    <a:pt x="65" y="57"/>
                  </a:lnTo>
                  <a:lnTo>
                    <a:pt x="73" y="51"/>
                  </a:lnTo>
                  <a:lnTo>
                    <a:pt x="65" y="38"/>
                  </a:lnTo>
                  <a:lnTo>
                    <a:pt x="58" y="41"/>
                  </a:lnTo>
                  <a:lnTo>
                    <a:pt x="48" y="83"/>
                  </a:lnTo>
                  <a:lnTo>
                    <a:pt x="29" y="108"/>
                  </a:lnTo>
                  <a:lnTo>
                    <a:pt x="31" y="116"/>
                  </a:lnTo>
                  <a:lnTo>
                    <a:pt x="35" y="120"/>
                  </a:lnTo>
                  <a:lnTo>
                    <a:pt x="60" y="122"/>
                  </a:lnTo>
                  <a:lnTo>
                    <a:pt x="17" y="135"/>
                  </a:lnTo>
                  <a:lnTo>
                    <a:pt x="14" y="142"/>
                  </a:lnTo>
                  <a:lnTo>
                    <a:pt x="0" y="146"/>
                  </a:lnTo>
                  <a:lnTo>
                    <a:pt x="13" y="154"/>
                  </a:lnTo>
                  <a:lnTo>
                    <a:pt x="49" y="140"/>
                  </a:lnTo>
                  <a:lnTo>
                    <a:pt x="68" y="144"/>
                  </a:lnTo>
                  <a:lnTo>
                    <a:pt x="90" y="157"/>
                  </a:lnTo>
                  <a:lnTo>
                    <a:pt x="90" y="182"/>
                  </a:lnTo>
                  <a:lnTo>
                    <a:pt x="107" y="187"/>
                  </a:lnTo>
                  <a:lnTo>
                    <a:pt x="103" y="168"/>
                  </a:lnTo>
                  <a:lnTo>
                    <a:pt x="108" y="157"/>
                  </a:lnTo>
                  <a:lnTo>
                    <a:pt x="106" y="107"/>
                  </a:lnTo>
                  <a:lnTo>
                    <a:pt x="129" y="110"/>
                  </a:lnTo>
                  <a:lnTo>
                    <a:pt x="134" y="92"/>
                  </a:lnTo>
                  <a:lnTo>
                    <a:pt x="147" y="79"/>
                  </a:lnTo>
                  <a:lnTo>
                    <a:pt x="148" y="70"/>
                  </a:lnTo>
                  <a:lnTo>
                    <a:pt x="134" y="64"/>
                  </a:lnTo>
                  <a:lnTo>
                    <a:pt x="133" y="57"/>
                  </a:lnTo>
                  <a:lnTo>
                    <a:pt x="144" y="49"/>
                  </a:lnTo>
                  <a:lnTo>
                    <a:pt x="152" y="13"/>
                  </a:lnTo>
                  <a:close/>
                </a:path>
              </a:pathLst>
            </a:custGeom>
            <a:grpFill/>
            <a:ln w="6350">
              <a:solidFill>
                <a:schemeClr val="tx2"/>
              </a:solidFill>
              <a:round/>
              <a:headEnd/>
              <a:tailEnd/>
            </a:ln>
          </p:spPr>
          <p:txBody>
            <a:bodyPr/>
            <a:lstStyle/>
            <a:p>
              <a:endParaRPr lang="en-US"/>
            </a:p>
          </p:txBody>
        </p:sp>
        <p:sp>
          <p:nvSpPr>
            <p:cNvPr id="714" name="Freeform 1461"/>
            <p:cNvSpPr>
              <a:spLocks/>
            </p:cNvSpPr>
            <p:nvPr/>
          </p:nvSpPr>
          <p:spPr bwMode="auto">
            <a:xfrm>
              <a:off x="4742727" y="2982845"/>
              <a:ext cx="191156" cy="256391"/>
            </a:xfrm>
            <a:custGeom>
              <a:avLst/>
              <a:gdLst>
                <a:gd name="T0" fmla="*/ 2147483647 w 385"/>
                <a:gd name="T1" fmla="*/ 2147483647 h 516"/>
                <a:gd name="T2" fmla="*/ 2147483647 w 385"/>
                <a:gd name="T3" fmla="*/ 2147483647 h 516"/>
                <a:gd name="T4" fmla="*/ 2147483647 w 385"/>
                <a:gd name="T5" fmla="*/ 2147483647 h 516"/>
                <a:gd name="T6" fmla="*/ 2147483647 w 385"/>
                <a:gd name="T7" fmla="*/ 2147483647 h 516"/>
                <a:gd name="T8" fmla="*/ 2147483647 w 385"/>
                <a:gd name="T9" fmla="*/ 2147483647 h 516"/>
                <a:gd name="T10" fmla="*/ 2147483647 w 385"/>
                <a:gd name="T11" fmla="*/ 2147483647 h 516"/>
                <a:gd name="T12" fmla="*/ 2147483647 w 385"/>
                <a:gd name="T13" fmla="*/ 2147483647 h 516"/>
                <a:gd name="T14" fmla="*/ 2147483647 w 385"/>
                <a:gd name="T15" fmla="*/ 2147483647 h 516"/>
                <a:gd name="T16" fmla="*/ 2147483647 w 385"/>
                <a:gd name="T17" fmla="*/ 2147483647 h 516"/>
                <a:gd name="T18" fmla="*/ 2147483647 w 385"/>
                <a:gd name="T19" fmla="*/ 2147483647 h 516"/>
                <a:gd name="T20" fmla="*/ 2147483647 w 385"/>
                <a:gd name="T21" fmla="*/ 2147483647 h 516"/>
                <a:gd name="T22" fmla="*/ 2147483647 w 385"/>
                <a:gd name="T23" fmla="*/ 2147483647 h 516"/>
                <a:gd name="T24" fmla="*/ 2147483647 w 385"/>
                <a:gd name="T25" fmla="*/ 2147483647 h 516"/>
                <a:gd name="T26" fmla="*/ 2147483647 w 385"/>
                <a:gd name="T27" fmla="*/ 2147483647 h 516"/>
                <a:gd name="T28" fmla="*/ 0 w 385"/>
                <a:gd name="T29" fmla="*/ 2147483647 h 516"/>
                <a:gd name="T30" fmla="*/ 2147483647 w 385"/>
                <a:gd name="T31" fmla="*/ 2147483647 h 516"/>
                <a:gd name="T32" fmla="*/ 2147483647 w 385"/>
                <a:gd name="T33" fmla="*/ 2147483647 h 516"/>
                <a:gd name="T34" fmla="*/ 2147483647 w 385"/>
                <a:gd name="T35" fmla="*/ 2147483647 h 516"/>
                <a:gd name="T36" fmla="*/ 2147483647 w 385"/>
                <a:gd name="T37" fmla="*/ 2147483647 h 516"/>
                <a:gd name="T38" fmla="*/ 2147483647 w 385"/>
                <a:gd name="T39" fmla="*/ 2147483647 h 516"/>
                <a:gd name="T40" fmla="*/ 2147483647 w 385"/>
                <a:gd name="T41" fmla="*/ 2147483647 h 516"/>
                <a:gd name="T42" fmla="*/ 2147483647 w 385"/>
                <a:gd name="T43" fmla="*/ 2147483647 h 516"/>
                <a:gd name="T44" fmla="*/ 2147483647 w 385"/>
                <a:gd name="T45" fmla="*/ 2147483647 h 516"/>
                <a:gd name="T46" fmla="*/ 2147483647 w 385"/>
                <a:gd name="T47" fmla="*/ 2147483647 h 516"/>
                <a:gd name="T48" fmla="*/ 2147483647 w 385"/>
                <a:gd name="T49" fmla="*/ 2147483647 h 516"/>
                <a:gd name="T50" fmla="*/ 2147483647 w 385"/>
                <a:gd name="T51" fmla="*/ 2147483647 h 516"/>
                <a:gd name="T52" fmla="*/ 2147483647 w 385"/>
                <a:gd name="T53" fmla="*/ 2147483647 h 516"/>
                <a:gd name="T54" fmla="*/ 2147483647 w 385"/>
                <a:gd name="T55" fmla="*/ 2147483647 h 516"/>
                <a:gd name="T56" fmla="*/ 2147483647 w 385"/>
                <a:gd name="T57" fmla="*/ 2147483647 h 516"/>
                <a:gd name="T58" fmla="*/ 2147483647 w 385"/>
                <a:gd name="T59" fmla="*/ 0 h 516"/>
                <a:gd name="T60" fmla="*/ 2147483647 w 385"/>
                <a:gd name="T61" fmla="*/ 2147483647 h 516"/>
                <a:gd name="T62" fmla="*/ 2147483647 w 385"/>
                <a:gd name="T63" fmla="*/ 2147483647 h 516"/>
                <a:gd name="T64" fmla="*/ 2147483647 w 385"/>
                <a:gd name="T65" fmla="*/ 2147483647 h 516"/>
                <a:gd name="T66" fmla="*/ 2147483647 w 385"/>
                <a:gd name="T67" fmla="*/ 2147483647 h 516"/>
                <a:gd name="T68" fmla="*/ 2147483647 w 385"/>
                <a:gd name="T69" fmla="*/ 2147483647 h 516"/>
                <a:gd name="T70" fmla="*/ 2147483647 w 385"/>
                <a:gd name="T71" fmla="*/ 2147483647 h 516"/>
                <a:gd name="T72" fmla="*/ 2147483647 w 385"/>
                <a:gd name="T73" fmla="*/ 2147483647 h 516"/>
                <a:gd name="T74" fmla="*/ 2147483647 w 385"/>
                <a:gd name="T75" fmla="*/ 2147483647 h 516"/>
                <a:gd name="T76" fmla="*/ 2147483647 w 385"/>
                <a:gd name="T77" fmla="*/ 2147483647 h 516"/>
                <a:gd name="T78" fmla="*/ 2147483647 w 385"/>
                <a:gd name="T79" fmla="*/ 2147483647 h 516"/>
                <a:gd name="T80" fmla="*/ 2147483647 w 385"/>
                <a:gd name="T81" fmla="*/ 2147483647 h 516"/>
                <a:gd name="T82" fmla="*/ 2147483647 w 385"/>
                <a:gd name="T83" fmla="*/ 2147483647 h 516"/>
                <a:gd name="T84" fmla="*/ 2147483647 w 385"/>
                <a:gd name="T85" fmla="*/ 2147483647 h 516"/>
                <a:gd name="T86" fmla="*/ 2147483647 w 385"/>
                <a:gd name="T87" fmla="*/ 2147483647 h 516"/>
                <a:gd name="T88" fmla="*/ 2147483647 w 385"/>
                <a:gd name="T89" fmla="*/ 2147483647 h 516"/>
                <a:gd name="T90" fmla="*/ 2147483647 w 385"/>
                <a:gd name="T91" fmla="*/ 2147483647 h 516"/>
                <a:gd name="T92" fmla="*/ 2147483647 w 385"/>
                <a:gd name="T93" fmla="*/ 2147483647 h 516"/>
                <a:gd name="T94" fmla="*/ 2147483647 w 385"/>
                <a:gd name="T95" fmla="*/ 2147483647 h 516"/>
                <a:gd name="T96" fmla="*/ 2147483647 w 385"/>
                <a:gd name="T97" fmla="*/ 2147483647 h 516"/>
                <a:gd name="T98" fmla="*/ 2147483647 w 385"/>
                <a:gd name="T99" fmla="*/ 2147483647 h 5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85"/>
                <a:gd name="T151" fmla="*/ 0 h 516"/>
                <a:gd name="T152" fmla="*/ 385 w 385"/>
                <a:gd name="T153" fmla="*/ 516 h 5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85" h="516">
                  <a:moveTo>
                    <a:pt x="337" y="427"/>
                  </a:moveTo>
                  <a:lnTo>
                    <a:pt x="336" y="433"/>
                  </a:lnTo>
                  <a:lnTo>
                    <a:pt x="323" y="439"/>
                  </a:lnTo>
                  <a:lnTo>
                    <a:pt x="317" y="452"/>
                  </a:lnTo>
                  <a:lnTo>
                    <a:pt x="299" y="459"/>
                  </a:lnTo>
                  <a:lnTo>
                    <a:pt x="295" y="468"/>
                  </a:lnTo>
                  <a:lnTo>
                    <a:pt x="302" y="500"/>
                  </a:lnTo>
                  <a:lnTo>
                    <a:pt x="296" y="503"/>
                  </a:lnTo>
                  <a:lnTo>
                    <a:pt x="293" y="497"/>
                  </a:lnTo>
                  <a:lnTo>
                    <a:pt x="272" y="494"/>
                  </a:lnTo>
                  <a:lnTo>
                    <a:pt x="228" y="511"/>
                  </a:lnTo>
                  <a:lnTo>
                    <a:pt x="198" y="504"/>
                  </a:lnTo>
                  <a:lnTo>
                    <a:pt x="187" y="516"/>
                  </a:lnTo>
                  <a:lnTo>
                    <a:pt x="167" y="504"/>
                  </a:lnTo>
                  <a:lnTo>
                    <a:pt x="152" y="508"/>
                  </a:lnTo>
                  <a:lnTo>
                    <a:pt x="123" y="497"/>
                  </a:lnTo>
                  <a:lnTo>
                    <a:pt x="75" y="505"/>
                  </a:lnTo>
                  <a:lnTo>
                    <a:pt x="69" y="500"/>
                  </a:lnTo>
                  <a:lnTo>
                    <a:pt x="67" y="468"/>
                  </a:lnTo>
                  <a:lnTo>
                    <a:pt x="75" y="440"/>
                  </a:lnTo>
                  <a:lnTo>
                    <a:pt x="90" y="411"/>
                  </a:lnTo>
                  <a:lnTo>
                    <a:pt x="33" y="396"/>
                  </a:lnTo>
                  <a:lnTo>
                    <a:pt x="13" y="374"/>
                  </a:lnTo>
                  <a:lnTo>
                    <a:pt x="16" y="360"/>
                  </a:lnTo>
                  <a:lnTo>
                    <a:pt x="10" y="348"/>
                  </a:lnTo>
                  <a:lnTo>
                    <a:pt x="11" y="336"/>
                  </a:lnTo>
                  <a:lnTo>
                    <a:pt x="5" y="333"/>
                  </a:lnTo>
                  <a:lnTo>
                    <a:pt x="13" y="314"/>
                  </a:lnTo>
                  <a:lnTo>
                    <a:pt x="4" y="294"/>
                  </a:lnTo>
                  <a:lnTo>
                    <a:pt x="0" y="275"/>
                  </a:lnTo>
                  <a:lnTo>
                    <a:pt x="5" y="264"/>
                  </a:lnTo>
                  <a:lnTo>
                    <a:pt x="3" y="214"/>
                  </a:lnTo>
                  <a:lnTo>
                    <a:pt x="26" y="217"/>
                  </a:lnTo>
                  <a:lnTo>
                    <a:pt x="31" y="199"/>
                  </a:lnTo>
                  <a:lnTo>
                    <a:pt x="44" y="186"/>
                  </a:lnTo>
                  <a:lnTo>
                    <a:pt x="45" y="177"/>
                  </a:lnTo>
                  <a:lnTo>
                    <a:pt x="31" y="171"/>
                  </a:lnTo>
                  <a:lnTo>
                    <a:pt x="30" y="164"/>
                  </a:lnTo>
                  <a:lnTo>
                    <a:pt x="41" y="156"/>
                  </a:lnTo>
                  <a:lnTo>
                    <a:pt x="49" y="120"/>
                  </a:lnTo>
                  <a:lnTo>
                    <a:pt x="62" y="117"/>
                  </a:lnTo>
                  <a:lnTo>
                    <a:pt x="48" y="107"/>
                  </a:lnTo>
                  <a:lnTo>
                    <a:pt x="56" y="92"/>
                  </a:lnTo>
                  <a:lnTo>
                    <a:pt x="78" y="87"/>
                  </a:lnTo>
                  <a:lnTo>
                    <a:pt x="90" y="90"/>
                  </a:lnTo>
                  <a:lnTo>
                    <a:pt x="96" y="107"/>
                  </a:lnTo>
                  <a:lnTo>
                    <a:pt x="102" y="106"/>
                  </a:lnTo>
                  <a:lnTo>
                    <a:pt x="102" y="98"/>
                  </a:lnTo>
                  <a:lnTo>
                    <a:pt x="108" y="100"/>
                  </a:lnTo>
                  <a:lnTo>
                    <a:pt x="117" y="115"/>
                  </a:lnTo>
                  <a:lnTo>
                    <a:pt x="112" y="100"/>
                  </a:lnTo>
                  <a:lnTo>
                    <a:pt x="114" y="82"/>
                  </a:lnTo>
                  <a:lnTo>
                    <a:pt x="136" y="75"/>
                  </a:lnTo>
                  <a:lnTo>
                    <a:pt x="126" y="68"/>
                  </a:lnTo>
                  <a:lnTo>
                    <a:pt x="131" y="57"/>
                  </a:lnTo>
                  <a:lnTo>
                    <a:pt x="126" y="44"/>
                  </a:lnTo>
                  <a:lnTo>
                    <a:pt x="117" y="42"/>
                  </a:lnTo>
                  <a:lnTo>
                    <a:pt x="131" y="29"/>
                  </a:lnTo>
                  <a:lnTo>
                    <a:pt x="117" y="8"/>
                  </a:lnTo>
                  <a:lnTo>
                    <a:pt x="118" y="0"/>
                  </a:lnTo>
                  <a:lnTo>
                    <a:pt x="153" y="1"/>
                  </a:lnTo>
                  <a:lnTo>
                    <a:pt x="149" y="4"/>
                  </a:lnTo>
                  <a:lnTo>
                    <a:pt x="167" y="8"/>
                  </a:lnTo>
                  <a:lnTo>
                    <a:pt x="171" y="16"/>
                  </a:lnTo>
                  <a:lnTo>
                    <a:pt x="166" y="29"/>
                  </a:lnTo>
                  <a:lnTo>
                    <a:pt x="175" y="38"/>
                  </a:lnTo>
                  <a:lnTo>
                    <a:pt x="183" y="33"/>
                  </a:lnTo>
                  <a:lnTo>
                    <a:pt x="196" y="42"/>
                  </a:lnTo>
                  <a:lnTo>
                    <a:pt x="217" y="40"/>
                  </a:lnTo>
                  <a:lnTo>
                    <a:pt x="206" y="68"/>
                  </a:lnTo>
                  <a:lnTo>
                    <a:pt x="235" y="69"/>
                  </a:lnTo>
                  <a:lnTo>
                    <a:pt x="233" y="63"/>
                  </a:lnTo>
                  <a:lnTo>
                    <a:pt x="244" y="54"/>
                  </a:lnTo>
                  <a:lnTo>
                    <a:pt x="260" y="50"/>
                  </a:lnTo>
                  <a:lnTo>
                    <a:pt x="260" y="55"/>
                  </a:lnTo>
                  <a:lnTo>
                    <a:pt x="284" y="31"/>
                  </a:lnTo>
                  <a:lnTo>
                    <a:pt x="289" y="32"/>
                  </a:lnTo>
                  <a:lnTo>
                    <a:pt x="276" y="45"/>
                  </a:lnTo>
                  <a:lnTo>
                    <a:pt x="299" y="37"/>
                  </a:lnTo>
                  <a:lnTo>
                    <a:pt x="311" y="51"/>
                  </a:lnTo>
                  <a:lnTo>
                    <a:pt x="327" y="55"/>
                  </a:lnTo>
                  <a:lnTo>
                    <a:pt x="335" y="77"/>
                  </a:lnTo>
                  <a:lnTo>
                    <a:pt x="352" y="83"/>
                  </a:lnTo>
                  <a:lnTo>
                    <a:pt x="360" y="103"/>
                  </a:lnTo>
                  <a:lnTo>
                    <a:pt x="360" y="116"/>
                  </a:lnTo>
                  <a:lnTo>
                    <a:pt x="352" y="151"/>
                  </a:lnTo>
                  <a:lnTo>
                    <a:pt x="363" y="159"/>
                  </a:lnTo>
                  <a:lnTo>
                    <a:pt x="368" y="204"/>
                  </a:lnTo>
                  <a:lnTo>
                    <a:pt x="371" y="232"/>
                  </a:lnTo>
                  <a:lnTo>
                    <a:pt x="385" y="250"/>
                  </a:lnTo>
                  <a:lnTo>
                    <a:pt x="377" y="286"/>
                  </a:lnTo>
                  <a:lnTo>
                    <a:pt x="354" y="267"/>
                  </a:lnTo>
                  <a:lnTo>
                    <a:pt x="351" y="285"/>
                  </a:lnTo>
                  <a:lnTo>
                    <a:pt x="277" y="321"/>
                  </a:lnTo>
                  <a:lnTo>
                    <a:pt x="273" y="332"/>
                  </a:lnTo>
                  <a:lnTo>
                    <a:pt x="259" y="321"/>
                  </a:lnTo>
                  <a:lnTo>
                    <a:pt x="258" y="331"/>
                  </a:lnTo>
                  <a:lnTo>
                    <a:pt x="274" y="343"/>
                  </a:lnTo>
                  <a:lnTo>
                    <a:pt x="276" y="368"/>
                  </a:lnTo>
                  <a:lnTo>
                    <a:pt x="284" y="378"/>
                  </a:lnTo>
                  <a:lnTo>
                    <a:pt x="337" y="427"/>
                  </a:lnTo>
                  <a:close/>
                </a:path>
              </a:pathLst>
            </a:custGeom>
            <a:grpFill/>
            <a:ln w="6350">
              <a:solidFill>
                <a:schemeClr val="tx2"/>
              </a:solidFill>
              <a:round/>
              <a:headEnd/>
              <a:tailEnd/>
            </a:ln>
          </p:spPr>
          <p:txBody>
            <a:bodyPr/>
            <a:lstStyle/>
            <a:p>
              <a:endParaRPr lang="en-US"/>
            </a:p>
          </p:txBody>
        </p:sp>
        <p:sp>
          <p:nvSpPr>
            <p:cNvPr id="715" name="Freeform 1462"/>
            <p:cNvSpPr>
              <a:spLocks/>
            </p:cNvSpPr>
            <p:nvPr/>
          </p:nvSpPr>
          <p:spPr bwMode="auto">
            <a:xfrm>
              <a:off x="4850442" y="2324418"/>
              <a:ext cx="280666" cy="638704"/>
            </a:xfrm>
            <a:custGeom>
              <a:avLst/>
              <a:gdLst>
                <a:gd name="T0" fmla="*/ 2147483647 w 562"/>
                <a:gd name="T1" fmla="*/ 2147483647 h 1284"/>
                <a:gd name="T2" fmla="*/ 2147483647 w 562"/>
                <a:gd name="T3" fmla="*/ 2147483647 h 1284"/>
                <a:gd name="T4" fmla="*/ 2147483647 w 562"/>
                <a:gd name="T5" fmla="*/ 2147483647 h 1284"/>
                <a:gd name="T6" fmla="*/ 2147483647 w 562"/>
                <a:gd name="T7" fmla="*/ 2147483647 h 1284"/>
                <a:gd name="T8" fmla="*/ 2147483647 w 562"/>
                <a:gd name="T9" fmla="*/ 2147483647 h 1284"/>
                <a:gd name="T10" fmla="*/ 2147483647 w 562"/>
                <a:gd name="T11" fmla="*/ 2147483647 h 1284"/>
                <a:gd name="T12" fmla="*/ 2147483647 w 562"/>
                <a:gd name="T13" fmla="*/ 2147483647 h 1284"/>
                <a:gd name="T14" fmla="*/ 2147483647 w 562"/>
                <a:gd name="T15" fmla="*/ 2147483647 h 1284"/>
                <a:gd name="T16" fmla="*/ 2147483647 w 562"/>
                <a:gd name="T17" fmla="*/ 2147483647 h 1284"/>
                <a:gd name="T18" fmla="*/ 2147483647 w 562"/>
                <a:gd name="T19" fmla="*/ 2147483647 h 1284"/>
                <a:gd name="T20" fmla="*/ 2147483647 w 562"/>
                <a:gd name="T21" fmla="*/ 2147483647 h 1284"/>
                <a:gd name="T22" fmla="*/ 2147483647 w 562"/>
                <a:gd name="T23" fmla="*/ 2147483647 h 1284"/>
                <a:gd name="T24" fmla="*/ 2147483647 w 562"/>
                <a:gd name="T25" fmla="*/ 2147483647 h 1284"/>
                <a:gd name="T26" fmla="*/ 2147483647 w 562"/>
                <a:gd name="T27" fmla="*/ 2147483647 h 1284"/>
                <a:gd name="T28" fmla="*/ 2147483647 w 562"/>
                <a:gd name="T29" fmla="*/ 2147483647 h 1284"/>
                <a:gd name="T30" fmla="*/ 2147483647 w 562"/>
                <a:gd name="T31" fmla="*/ 2147483647 h 1284"/>
                <a:gd name="T32" fmla="*/ 2147483647 w 562"/>
                <a:gd name="T33" fmla="*/ 2147483647 h 1284"/>
                <a:gd name="T34" fmla="*/ 2147483647 w 562"/>
                <a:gd name="T35" fmla="*/ 2147483647 h 1284"/>
                <a:gd name="T36" fmla="*/ 2147483647 w 562"/>
                <a:gd name="T37" fmla="*/ 2147483647 h 1284"/>
                <a:gd name="T38" fmla="*/ 2147483647 w 562"/>
                <a:gd name="T39" fmla="*/ 2147483647 h 1284"/>
                <a:gd name="T40" fmla="*/ 2147483647 w 562"/>
                <a:gd name="T41" fmla="*/ 2147483647 h 1284"/>
                <a:gd name="T42" fmla="*/ 2147483647 w 562"/>
                <a:gd name="T43" fmla="*/ 2147483647 h 1284"/>
                <a:gd name="T44" fmla="*/ 2147483647 w 562"/>
                <a:gd name="T45" fmla="*/ 2147483647 h 1284"/>
                <a:gd name="T46" fmla="*/ 2147483647 w 562"/>
                <a:gd name="T47" fmla="*/ 2147483647 h 1284"/>
                <a:gd name="T48" fmla="*/ 2147483647 w 562"/>
                <a:gd name="T49" fmla="*/ 2147483647 h 1284"/>
                <a:gd name="T50" fmla="*/ 2147483647 w 562"/>
                <a:gd name="T51" fmla="*/ 2147483647 h 1284"/>
                <a:gd name="T52" fmla="*/ 2147483647 w 562"/>
                <a:gd name="T53" fmla="*/ 2147483647 h 1284"/>
                <a:gd name="T54" fmla="*/ 2147483647 w 562"/>
                <a:gd name="T55" fmla="*/ 2147483647 h 1284"/>
                <a:gd name="T56" fmla="*/ 2147483647 w 562"/>
                <a:gd name="T57" fmla="*/ 2147483647 h 1284"/>
                <a:gd name="T58" fmla="*/ 2147483647 w 562"/>
                <a:gd name="T59" fmla="*/ 2147483647 h 1284"/>
                <a:gd name="T60" fmla="*/ 2147483647 w 562"/>
                <a:gd name="T61" fmla="*/ 2147483647 h 1284"/>
                <a:gd name="T62" fmla="*/ 2147483647 w 562"/>
                <a:gd name="T63" fmla="*/ 2147483647 h 1284"/>
                <a:gd name="T64" fmla="*/ 2147483647 w 562"/>
                <a:gd name="T65" fmla="*/ 2147483647 h 1284"/>
                <a:gd name="T66" fmla="*/ 2147483647 w 562"/>
                <a:gd name="T67" fmla="*/ 2147483647 h 1284"/>
                <a:gd name="T68" fmla="*/ 2147483647 w 562"/>
                <a:gd name="T69" fmla="*/ 2147483647 h 1284"/>
                <a:gd name="T70" fmla="*/ 2147483647 w 562"/>
                <a:gd name="T71" fmla="*/ 2147483647 h 1284"/>
                <a:gd name="T72" fmla="*/ 2147483647 w 562"/>
                <a:gd name="T73" fmla="*/ 2147483647 h 1284"/>
                <a:gd name="T74" fmla="*/ 0 w 562"/>
                <a:gd name="T75" fmla="*/ 2147483647 h 1284"/>
                <a:gd name="T76" fmla="*/ 2147483647 w 562"/>
                <a:gd name="T77" fmla="*/ 2147483647 h 1284"/>
                <a:gd name="T78" fmla="*/ 2147483647 w 562"/>
                <a:gd name="T79" fmla="*/ 2147483647 h 1284"/>
                <a:gd name="T80" fmla="*/ 2147483647 w 562"/>
                <a:gd name="T81" fmla="*/ 2147483647 h 1284"/>
                <a:gd name="T82" fmla="*/ 2147483647 w 562"/>
                <a:gd name="T83" fmla="*/ 2147483647 h 1284"/>
                <a:gd name="T84" fmla="*/ 2147483647 w 562"/>
                <a:gd name="T85" fmla="*/ 2147483647 h 1284"/>
                <a:gd name="T86" fmla="*/ 2147483647 w 562"/>
                <a:gd name="T87" fmla="*/ 2147483647 h 1284"/>
                <a:gd name="T88" fmla="*/ 2147483647 w 562"/>
                <a:gd name="T89" fmla="*/ 2147483647 h 1284"/>
                <a:gd name="T90" fmla="*/ 2147483647 w 562"/>
                <a:gd name="T91" fmla="*/ 2147483647 h 1284"/>
                <a:gd name="T92" fmla="*/ 2147483647 w 562"/>
                <a:gd name="T93" fmla="*/ 2147483647 h 1284"/>
                <a:gd name="T94" fmla="*/ 2147483647 w 562"/>
                <a:gd name="T95" fmla="*/ 2147483647 h 1284"/>
                <a:gd name="T96" fmla="*/ 2147483647 w 562"/>
                <a:gd name="T97" fmla="*/ 2147483647 h 1284"/>
                <a:gd name="T98" fmla="*/ 2147483647 w 562"/>
                <a:gd name="T99" fmla="*/ 2147483647 h 1284"/>
                <a:gd name="T100" fmla="*/ 2147483647 w 562"/>
                <a:gd name="T101" fmla="*/ 2147483647 h 1284"/>
                <a:gd name="T102" fmla="*/ 2147483647 w 562"/>
                <a:gd name="T103" fmla="*/ 2147483647 h 1284"/>
                <a:gd name="T104" fmla="*/ 2147483647 w 562"/>
                <a:gd name="T105" fmla="*/ 2147483647 h 1284"/>
                <a:gd name="T106" fmla="*/ 2147483647 w 562"/>
                <a:gd name="T107" fmla="*/ 2147483647 h 1284"/>
                <a:gd name="T108" fmla="*/ 2147483647 w 562"/>
                <a:gd name="T109" fmla="*/ 2147483647 h 1284"/>
                <a:gd name="T110" fmla="*/ 2147483647 w 562"/>
                <a:gd name="T111" fmla="*/ 2147483647 h 1284"/>
                <a:gd name="T112" fmla="*/ 2147483647 w 562"/>
                <a:gd name="T113" fmla="*/ 2147483647 h 12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62"/>
                <a:gd name="T172" fmla="*/ 0 h 1284"/>
                <a:gd name="T173" fmla="*/ 562 w 562"/>
                <a:gd name="T174" fmla="*/ 1284 h 12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62" h="1284">
                  <a:moveTo>
                    <a:pt x="560" y="352"/>
                  </a:moveTo>
                  <a:lnTo>
                    <a:pt x="562" y="361"/>
                  </a:lnTo>
                  <a:lnTo>
                    <a:pt x="555" y="370"/>
                  </a:lnTo>
                  <a:lnTo>
                    <a:pt x="543" y="359"/>
                  </a:lnTo>
                  <a:lnTo>
                    <a:pt x="523" y="361"/>
                  </a:lnTo>
                  <a:lnTo>
                    <a:pt x="519" y="370"/>
                  </a:lnTo>
                  <a:lnTo>
                    <a:pt x="490" y="356"/>
                  </a:lnTo>
                  <a:lnTo>
                    <a:pt x="481" y="373"/>
                  </a:lnTo>
                  <a:lnTo>
                    <a:pt x="482" y="385"/>
                  </a:lnTo>
                  <a:lnTo>
                    <a:pt x="467" y="373"/>
                  </a:lnTo>
                  <a:lnTo>
                    <a:pt x="474" y="392"/>
                  </a:lnTo>
                  <a:lnTo>
                    <a:pt x="447" y="413"/>
                  </a:lnTo>
                  <a:lnTo>
                    <a:pt x="453" y="434"/>
                  </a:lnTo>
                  <a:lnTo>
                    <a:pt x="434" y="467"/>
                  </a:lnTo>
                  <a:lnTo>
                    <a:pt x="453" y="508"/>
                  </a:lnTo>
                  <a:lnTo>
                    <a:pt x="446" y="518"/>
                  </a:lnTo>
                  <a:lnTo>
                    <a:pt x="446" y="506"/>
                  </a:lnTo>
                  <a:lnTo>
                    <a:pt x="442" y="510"/>
                  </a:lnTo>
                  <a:lnTo>
                    <a:pt x="404" y="570"/>
                  </a:lnTo>
                  <a:lnTo>
                    <a:pt x="370" y="595"/>
                  </a:lnTo>
                  <a:lnTo>
                    <a:pt x="364" y="590"/>
                  </a:lnTo>
                  <a:lnTo>
                    <a:pt x="341" y="614"/>
                  </a:lnTo>
                  <a:lnTo>
                    <a:pt x="328" y="613"/>
                  </a:lnTo>
                  <a:lnTo>
                    <a:pt x="322" y="633"/>
                  </a:lnTo>
                  <a:lnTo>
                    <a:pt x="310" y="644"/>
                  </a:lnTo>
                  <a:lnTo>
                    <a:pt x="313" y="648"/>
                  </a:lnTo>
                  <a:lnTo>
                    <a:pt x="308" y="658"/>
                  </a:lnTo>
                  <a:lnTo>
                    <a:pt x="296" y="664"/>
                  </a:lnTo>
                  <a:lnTo>
                    <a:pt x="286" y="651"/>
                  </a:lnTo>
                  <a:lnTo>
                    <a:pt x="288" y="680"/>
                  </a:lnTo>
                  <a:lnTo>
                    <a:pt x="280" y="695"/>
                  </a:lnTo>
                  <a:lnTo>
                    <a:pt x="267" y="688"/>
                  </a:lnTo>
                  <a:lnTo>
                    <a:pt x="266" y="699"/>
                  </a:lnTo>
                  <a:lnTo>
                    <a:pt x="274" y="714"/>
                  </a:lnTo>
                  <a:lnTo>
                    <a:pt x="267" y="744"/>
                  </a:lnTo>
                  <a:lnTo>
                    <a:pt x="270" y="768"/>
                  </a:lnTo>
                  <a:lnTo>
                    <a:pt x="258" y="762"/>
                  </a:lnTo>
                  <a:lnTo>
                    <a:pt x="256" y="778"/>
                  </a:lnTo>
                  <a:lnTo>
                    <a:pt x="263" y="839"/>
                  </a:lnTo>
                  <a:lnTo>
                    <a:pt x="259" y="853"/>
                  </a:lnTo>
                  <a:lnTo>
                    <a:pt x="266" y="854"/>
                  </a:lnTo>
                  <a:lnTo>
                    <a:pt x="264" y="871"/>
                  </a:lnTo>
                  <a:lnTo>
                    <a:pt x="223" y="895"/>
                  </a:lnTo>
                  <a:lnTo>
                    <a:pt x="219" y="901"/>
                  </a:lnTo>
                  <a:lnTo>
                    <a:pt x="247" y="895"/>
                  </a:lnTo>
                  <a:lnTo>
                    <a:pt x="261" y="884"/>
                  </a:lnTo>
                  <a:lnTo>
                    <a:pt x="275" y="858"/>
                  </a:lnTo>
                  <a:lnTo>
                    <a:pt x="280" y="867"/>
                  </a:lnTo>
                  <a:lnTo>
                    <a:pt x="294" y="865"/>
                  </a:lnTo>
                  <a:lnTo>
                    <a:pt x="299" y="880"/>
                  </a:lnTo>
                  <a:lnTo>
                    <a:pt x="316" y="888"/>
                  </a:lnTo>
                  <a:lnTo>
                    <a:pt x="310" y="891"/>
                  </a:lnTo>
                  <a:lnTo>
                    <a:pt x="331" y="922"/>
                  </a:lnTo>
                  <a:lnTo>
                    <a:pt x="316" y="953"/>
                  </a:lnTo>
                  <a:lnTo>
                    <a:pt x="292" y="966"/>
                  </a:lnTo>
                  <a:lnTo>
                    <a:pt x="279" y="953"/>
                  </a:lnTo>
                  <a:lnTo>
                    <a:pt x="260" y="957"/>
                  </a:lnTo>
                  <a:lnTo>
                    <a:pt x="252" y="949"/>
                  </a:lnTo>
                  <a:lnTo>
                    <a:pt x="222" y="957"/>
                  </a:lnTo>
                  <a:lnTo>
                    <a:pt x="228" y="960"/>
                  </a:lnTo>
                  <a:lnTo>
                    <a:pt x="257" y="966"/>
                  </a:lnTo>
                  <a:lnTo>
                    <a:pt x="264" y="976"/>
                  </a:lnTo>
                  <a:lnTo>
                    <a:pt x="319" y="970"/>
                  </a:lnTo>
                  <a:lnTo>
                    <a:pt x="315" y="979"/>
                  </a:lnTo>
                  <a:lnTo>
                    <a:pt x="306" y="975"/>
                  </a:lnTo>
                  <a:lnTo>
                    <a:pt x="308" y="985"/>
                  </a:lnTo>
                  <a:lnTo>
                    <a:pt x="291" y="1004"/>
                  </a:lnTo>
                  <a:lnTo>
                    <a:pt x="281" y="1005"/>
                  </a:lnTo>
                  <a:lnTo>
                    <a:pt x="281" y="995"/>
                  </a:lnTo>
                  <a:lnTo>
                    <a:pt x="275" y="993"/>
                  </a:lnTo>
                  <a:lnTo>
                    <a:pt x="271" y="1008"/>
                  </a:lnTo>
                  <a:lnTo>
                    <a:pt x="250" y="1025"/>
                  </a:lnTo>
                  <a:lnTo>
                    <a:pt x="219" y="1026"/>
                  </a:lnTo>
                  <a:lnTo>
                    <a:pt x="215" y="1028"/>
                  </a:lnTo>
                  <a:lnTo>
                    <a:pt x="243" y="1034"/>
                  </a:lnTo>
                  <a:lnTo>
                    <a:pt x="245" y="1039"/>
                  </a:lnTo>
                  <a:lnTo>
                    <a:pt x="229" y="1041"/>
                  </a:lnTo>
                  <a:lnTo>
                    <a:pt x="227" y="1042"/>
                  </a:lnTo>
                  <a:lnTo>
                    <a:pt x="241" y="1055"/>
                  </a:lnTo>
                  <a:lnTo>
                    <a:pt x="239" y="1085"/>
                  </a:lnTo>
                  <a:lnTo>
                    <a:pt x="230" y="1086"/>
                  </a:lnTo>
                  <a:lnTo>
                    <a:pt x="236" y="1102"/>
                  </a:lnTo>
                  <a:lnTo>
                    <a:pt x="231" y="1111"/>
                  </a:lnTo>
                  <a:lnTo>
                    <a:pt x="235" y="1125"/>
                  </a:lnTo>
                  <a:lnTo>
                    <a:pt x="228" y="1142"/>
                  </a:lnTo>
                  <a:lnTo>
                    <a:pt x="223" y="1180"/>
                  </a:lnTo>
                  <a:lnTo>
                    <a:pt x="206" y="1227"/>
                  </a:lnTo>
                  <a:lnTo>
                    <a:pt x="161" y="1222"/>
                  </a:lnTo>
                  <a:lnTo>
                    <a:pt x="149" y="1236"/>
                  </a:lnTo>
                  <a:lnTo>
                    <a:pt x="141" y="1234"/>
                  </a:lnTo>
                  <a:lnTo>
                    <a:pt x="133" y="1254"/>
                  </a:lnTo>
                  <a:lnTo>
                    <a:pt x="135" y="1270"/>
                  </a:lnTo>
                  <a:lnTo>
                    <a:pt x="128" y="1284"/>
                  </a:lnTo>
                  <a:lnTo>
                    <a:pt x="73" y="1284"/>
                  </a:lnTo>
                  <a:lnTo>
                    <a:pt x="80" y="1266"/>
                  </a:lnTo>
                  <a:lnTo>
                    <a:pt x="59" y="1221"/>
                  </a:lnTo>
                  <a:lnTo>
                    <a:pt x="71" y="1219"/>
                  </a:lnTo>
                  <a:lnTo>
                    <a:pt x="65" y="1207"/>
                  </a:lnTo>
                  <a:lnTo>
                    <a:pt x="77" y="1202"/>
                  </a:lnTo>
                  <a:lnTo>
                    <a:pt x="77" y="1196"/>
                  </a:lnTo>
                  <a:lnTo>
                    <a:pt x="50" y="1165"/>
                  </a:lnTo>
                  <a:lnTo>
                    <a:pt x="39" y="1131"/>
                  </a:lnTo>
                  <a:lnTo>
                    <a:pt x="33" y="1130"/>
                  </a:lnTo>
                  <a:lnTo>
                    <a:pt x="35" y="1093"/>
                  </a:lnTo>
                  <a:lnTo>
                    <a:pt x="25" y="1095"/>
                  </a:lnTo>
                  <a:lnTo>
                    <a:pt x="25" y="1075"/>
                  </a:lnTo>
                  <a:lnTo>
                    <a:pt x="13" y="1070"/>
                  </a:lnTo>
                  <a:lnTo>
                    <a:pt x="23" y="1060"/>
                  </a:lnTo>
                  <a:lnTo>
                    <a:pt x="17" y="1058"/>
                  </a:lnTo>
                  <a:lnTo>
                    <a:pt x="20" y="1051"/>
                  </a:lnTo>
                  <a:lnTo>
                    <a:pt x="11" y="1059"/>
                  </a:lnTo>
                  <a:lnTo>
                    <a:pt x="11" y="1050"/>
                  </a:lnTo>
                  <a:lnTo>
                    <a:pt x="4" y="1041"/>
                  </a:lnTo>
                  <a:lnTo>
                    <a:pt x="0" y="1001"/>
                  </a:lnTo>
                  <a:lnTo>
                    <a:pt x="5" y="991"/>
                  </a:lnTo>
                  <a:lnTo>
                    <a:pt x="7" y="1012"/>
                  </a:lnTo>
                  <a:lnTo>
                    <a:pt x="10" y="1001"/>
                  </a:lnTo>
                  <a:lnTo>
                    <a:pt x="13" y="1008"/>
                  </a:lnTo>
                  <a:lnTo>
                    <a:pt x="19" y="1004"/>
                  </a:lnTo>
                  <a:lnTo>
                    <a:pt x="25" y="974"/>
                  </a:lnTo>
                  <a:lnTo>
                    <a:pt x="21" y="951"/>
                  </a:lnTo>
                  <a:lnTo>
                    <a:pt x="32" y="935"/>
                  </a:lnTo>
                  <a:lnTo>
                    <a:pt x="32" y="924"/>
                  </a:lnTo>
                  <a:lnTo>
                    <a:pt x="57" y="908"/>
                  </a:lnTo>
                  <a:lnTo>
                    <a:pt x="55" y="888"/>
                  </a:lnTo>
                  <a:lnTo>
                    <a:pt x="61" y="865"/>
                  </a:lnTo>
                  <a:lnTo>
                    <a:pt x="54" y="840"/>
                  </a:lnTo>
                  <a:lnTo>
                    <a:pt x="46" y="830"/>
                  </a:lnTo>
                  <a:lnTo>
                    <a:pt x="68" y="811"/>
                  </a:lnTo>
                  <a:lnTo>
                    <a:pt x="73" y="797"/>
                  </a:lnTo>
                  <a:lnTo>
                    <a:pt x="70" y="780"/>
                  </a:lnTo>
                  <a:lnTo>
                    <a:pt x="47" y="757"/>
                  </a:lnTo>
                  <a:lnTo>
                    <a:pt x="47" y="707"/>
                  </a:lnTo>
                  <a:lnTo>
                    <a:pt x="42" y="682"/>
                  </a:lnTo>
                  <a:lnTo>
                    <a:pt x="53" y="636"/>
                  </a:lnTo>
                  <a:lnTo>
                    <a:pt x="41" y="606"/>
                  </a:lnTo>
                  <a:lnTo>
                    <a:pt x="49" y="579"/>
                  </a:lnTo>
                  <a:lnTo>
                    <a:pt x="82" y="547"/>
                  </a:lnTo>
                  <a:lnTo>
                    <a:pt x="124" y="546"/>
                  </a:lnTo>
                  <a:lnTo>
                    <a:pt x="131" y="535"/>
                  </a:lnTo>
                  <a:lnTo>
                    <a:pt x="133" y="511"/>
                  </a:lnTo>
                  <a:lnTo>
                    <a:pt x="116" y="482"/>
                  </a:lnTo>
                  <a:lnTo>
                    <a:pt x="144" y="428"/>
                  </a:lnTo>
                  <a:lnTo>
                    <a:pt x="151" y="388"/>
                  </a:lnTo>
                  <a:lnTo>
                    <a:pt x="151" y="338"/>
                  </a:lnTo>
                  <a:lnTo>
                    <a:pt x="180" y="323"/>
                  </a:lnTo>
                  <a:lnTo>
                    <a:pt x="190" y="285"/>
                  </a:lnTo>
                  <a:lnTo>
                    <a:pt x="229" y="230"/>
                  </a:lnTo>
                  <a:lnTo>
                    <a:pt x="230" y="214"/>
                  </a:lnTo>
                  <a:lnTo>
                    <a:pt x="219" y="196"/>
                  </a:lnTo>
                  <a:lnTo>
                    <a:pt x="238" y="162"/>
                  </a:lnTo>
                  <a:lnTo>
                    <a:pt x="242" y="140"/>
                  </a:lnTo>
                  <a:lnTo>
                    <a:pt x="273" y="112"/>
                  </a:lnTo>
                  <a:lnTo>
                    <a:pt x="294" y="130"/>
                  </a:lnTo>
                  <a:lnTo>
                    <a:pt x="305" y="99"/>
                  </a:lnTo>
                  <a:lnTo>
                    <a:pt x="305" y="74"/>
                  </a:lnTo>
                  <a:lnTo>
                    <a:pt x="313" y="64"/>
                  </a:lnTo>
                  <a:lnTo>
                    <a:pt x="385" y="75"/>
                  </a:lnTo>
                  <a:lnTo>
                    <a:pt x="390" y="69"/>
                  </a:lnTo>
                  <a:lnTo>
                    <a:pt x="382" y="54"/>
                  </a:lnTo>
                  <a:lnTo>
                    <a:pt x="394" y="21"/>
                  </a:lnTo>
                  <a:lnTo>
                    <a:pt x="388" y="2"/>
                  </a:lnTo>
                  <a:lnTo>
                    <a:pt x="410" y="0"/>
                  </a:lnTo>
                  <a:lnTo>
                    <a:pt x="471" y="64"/>
                  </a:lnTo>
                  <a:lnTo>
                    <a:pt x="513" y="85"/>
                  </a:lnTo>
                  <a:lnTo>
                    <a:pt x="539" y="129"/>
                  </a:lnTo>
                  <a:lnTo>
                    <a:pt x="535" y="173"/>
                  </a:lnTo>
                  <a:lnTo>
                    <a:pt x="542" y="203"/>
                  </a:lnTo>
                  <a:lnTo>
                    <a:pt x="537" y="219"/>
                  </a:lnTo>
                  <a:lnTo>
                    <a:pt x="556" y="268"/>
                  </a:lnTo>
                  <a:lnTo>
                    <a:pt x="555" y="285"/>
                  </a:lnTo>
                  <a:lnTo>
                    <a:pt x="545" y="309"/>
                  </a:lnTo>
                  <a:lnTo>
                    <a:pt x="560" y="352"/>
                  </a:lnTo>
                  <a:close/>
                </a:path>
              </a:pathLst>
            </a:custGeom>
            <a:grpFill/>
            <a:ln w="6350">
              <a:solidFill>
                <a:schemeClr val="tx2"/>
              </a:solidFill>
              <a:round/>
              <a:headEnd/>
              <a:tailEnd/>
            </a:ln>
          </p:spPr>
          <p:txBody>
            <a:bodyPr/>
            <a:lstStyle/>
            <a:p>
              <a:endParaRPr lang="en-US"/>
            </a:p>
          </p:txBody>
        </p:sp>
        <p:sp>
          <p:nvSpPr>
            <p:cNvPr id="716" name="Freeform 1463"/>
            <p:cNvSpPr>
              <a:spLocks/>
            </p:cNvSpPr>
            <p:nvPr/>
          </p:nvSpPr>
          <p:spPr bwMode="auto">
            <a:xfrm>
              <a:off x="4786723" y="2873612"/>
              <a:ext cx="60685" cy="109232"/>
            </a:xfrm>
            <a:custGeom>
              <a:avLst/>
              <a:gdLst>
                <a:gd name="T0" fmla="*/ 2147483647 w 121"/>
                <a:gd name="T1" fmla="*/ 2147483647 h 221"/>
                <a:gd name="T2" fmla="*/ 2147483647 w 121"/>
                <a:gd name="T3" fmla="*/ 2147483647 h 221"/>
                <a:gd name="T4" fmla="*/ 2147483647 w 121"/>
                <a:gd name="T5" fmla="*/ 2147483647 h 221"/>
                <a:gd name="T6" fmla="*/ 2147483647 w 121"/>
                <a:gd name="T7" fmla="*/ 2147483647 h 221"/>
                <a:gd name="T8" fmla="*/ 2147483647 w 121"/>
                <a:gd name="T9" fmla="*/ 2147483647 h 221"/>
                <a:gd name="T10" fmla="*/ 2147483647 w 121"/>
                <a:gd name="T11" fmla="*/ 2147483647 h 221"/>
                <a:gd name="T12" fmla="*/ 2147483647 w 121"/>
                <a:gd name="T13" fmla="*/ 2147483647 h 221"/>
                <a:gd name="T14" fmla="*/ 2147483647 w 121"/>
                <a:gd name="T15" fmla="*/ 2147483647 h 221"/>
                <a:gd name="T16" fmla="*/ 2147483647 w 121"/>
                <a:gd name="T17" fmla="*/ 2147483647 h 221"/>
                <a:gd name="T18" fmla="*/ 2147483647 w 121"/>
                <a:gd name="T19" fmla="*/ 2147483647 h 221"/>
                <a:gd name="T20" fmla="*/ 2147483647 w 121"/>
                <a:gd name="T21" fmla="*/ 2147483647 h 221"/>
                <a:gd name="T22" fmla="*/ 2147483647 w 121"/>
                <a:gd name="T23" fmla="*/ 2147483647 h 221"/>
                <a:gd name="T24" fmla="*/ 2147483647 w 121"/>
                <a:gd name="T25" fmla="*/ 2147483647 h 221"/>
                <a:gd name="T26" fmla="*/ 2147483647 w 121"/>
                <a:gd name="T27" fmla="*/ 2147483647 h 221"/>
                <a:gd name="T28" fmla="*/ 2147483647 w 121"/>
                <a:gd name="T29" fmla="*/ 2147483647 h 221"/>
                <a:gd name="T30" fmla="*/ 2147483647 w 121"/>
                <a:gd name="T31" fmla="*/ 2147483647 h 221"/>
                <a:gd name="T32" fmla="*/ 2147483647 w 121"/>
                <a:gd name="T33" fmla="*/ 2147483647 h 221"/>
                <a:gd name="T34" fmla="*/ 2147483647 w 121"/>
                <a:gd name="T35" fmla="*/ 2147483647 h 221"/>
                <a:gd name="T36" fmla="*/ 2147483647 w 121"/>
                <a:gd name="T37" fmla="*/ 2147483647 h 221"/>
                <a:gd name="T38" fmla="*/ 2147483647 w 121"/>
                <a:gd name="T39" fmla="*/ 2147483647 h 221"/>
                <a:gd name="T40" fmla="*/ 2147483647 w 121"/>
                <a:gd name="T41" fmla="*/ 2147483647 h 221"/>
                <a:gd name="T42" fmla="*/ 2147483647 w 121"/>
                <a:gd name="T43" fmla="*/ 2147483647 h 221"/>
                <a:gd name="T44" fmla="*/ 2147483647 w 121"/>
                <a:gd name="T45" fmla="*/ 2147483647 h 221"/>
                <a:gd name="T46" fmla="*/ 2147483647 w 121"/>
                <a:gd name="T47" fmla="*/ 0 h 221"/>
                <a:gd name="T48" fmla="*/ 2147483647 w 121"/>
                <a:gd name="T49" fmla="*/ 2147483647 h 221"/>
                <a:gd name="T50" fmla="*/ 2147483647 w 121"/>
                <a:gd name="T51" fmla="*/ 2147483647 h 221"/>
                <a:gd name="T52" fmla="*/ 2147483647 w 121"/>
                <a:gd name="T53" fmla="*/ 2147483647 h 221"/>
                <a:gd name="T54" fmla="*/ 2147483647 w 121"/>
                <a:gd name="T55" fmla="*/ 2147483647 h 221"/>
                <a:gd name="T56" fmla="*/ 0 w 121"/>
                <a:gd name="T57" fmla="*/ 2147483647 h 221"/>
                <a:gd name="T58" fmla="*/ 2147483647 w 121"/>
                <a:gd name="T59" fmla="*/ 2147483647 h 221"/>
                <a:gd name="T60" fmla="*/ 2147483647 w 121"/>
                <a:gd name="T61" fmla="*/ 2147483647 h 221"/>
                <a:gd name="T62" fmla="*/ 2147483647 w 121"/>
                <a:gd name="T63" fmla="*/ 2147483647 h 221"/>
                <a:gd name="T64" fmla="*/ 2147483647 w 121"/>
                <a:gd name="T65" fmla="*/ 2147483647 h 2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1"/>
                <a:gd name="T100" fmla="*/ 0 h 221"/>
                <a:gd name="T101" fmla="*/ 121 w 121"/>
                <a:gd name="T102" fmla="*/ 221 h 2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1" h="221">
                  <a:moveTo>
                    <a:pt x="28" y="220"/>
                  </a:moveTo>
                  <a:lnTo>
                    <a:pt x="63" y="221"/>
                  </a:lnTo>
                  <a:lnTo>
                    <a:pt x="70" y="220"/>
                  </a:lnTo>
                  <a:lnTo>
                    <a:pt x="60" y="206"/>
                  </a:lnTo>
                  <a:lnTo>
                    <a:pt x="67" y="194"/>
                  </a:lnTo>
                  <a:lnTo>
                    <a:pt x="65" y="174"/>
                  </a:lnTo>
                  <a:lnTo>
                    <a:pt x="72" y="166"/>
                  </a:lnTo>
                  <a:lnTo>
                    <a:pt x="66" y="158"/>
                  </a:lnTo>
                  <a:lnTo>
                    <a:pt x="81" y="158"/>
                  </a:lnTo>
                  <a:lnTo>
                    <a:pt x="78" y="146"/>
                  </a:lnTo>
                  <a:lnTo>
                    <a:pt x="95" y="138"/>
                  </a:lnTo>
                  <a:lnTo>
                    <a:pt x="97" y="118"/>
                  </a:lnTo>
                  <a:lnTo>
                    <a:pt x="104" y="127"/>
                  </a:lnTo>
                  <a:lnTo>
                    <a:pt x="121" y="112"/>
                  </a:lnTo>
                  <a:lnTo>
                    <a:pt x="120" y="98"/>
                  </a:lnTo>
                  <a:lnTo>
                    <a:pt x="90" y="100"/>
                  </a:lnTo>
                  <a:lnTo>
                    <a:pt x="89" y="92"/>
                  </a:lnTo>
                  <a:lnTo>
                    <a:pt x="94" y="86"/>
                  </a:lnTo>
                  <a:lnTo>
                    <a:pt x="86" y="87"/>
                  </a:lnTo>
                  <a:lnTo>
                    <a:pt x="92" y="81"/>
                  </a:lnTo>
                  <a:lnTo>
                    <a:pt x="97" y="52"/>
                  </a:lnTo>
                  <a:lnTo>
                    <a:pt x="105" y="38"/>
                  </a:lnTo>
                  <a:lnTo>
                    <a:pt x="100" y="16"/>
                  </a:lnTo>
                  <a:lnTo>
                    <a:pt x="103" y="0"/>
                  </a:lnTo>
                  <a:lnTo>
                    <a:pt x="80" y="14"/>
                  </a:lnTo>
                  <a:lnTo>
                    <a:pt x="57" y="42"/>
                  </a:lnTo>
                  <a:lnTo>
                    <a:pt x="23" y="49"/>
                  </a:lnTo>
                  <a:lnTo>
                    <a:pt x="12" y="64"/>
                  </a:lnTo>
                  <a:lnTo>
                    <a:pt x="0" y="105"/>
                  </a:lnTo>
                  <a:lnTo>
                    <a:pt x="4" y="170"/>
                  </a:lnTo>
                  <a:lnTo>
                    <a:pt x="18" y="173"/>
                  </a:lnTo>
                  <a:lnTo>
                    <a:pt x="27" y="186"/>
                  </a:lnTo>
                  <a:lnTo>
                    <a:pt x="28" y="220"/>
                  </a:lnTo>
                  <a:close/>
                </a:path>
              </a:pathLst>
            </a:custGeom>
            <a:grpFill/>
            <a:ln w="6350">
              <a:solidFill>
                <a:schemeClr val="tx2"/>
              </a:solidFill>
              <a:round/>
              <a:headEnd/>
              <a:tailEnd/>
            </a:ln>
          </p:spPr>
          <p:txBody>
            <a:bodyPr/>
            <a:lstStyle/>
            <a:p>
              <a:endParaRPr lang="en-US"/>
            </a:p>
          </p:txBody>
        </p:sp>
        <p:sp>
          <p:nvSpPr>
            <p:cNvPr id="717" name="Freeform 1489"/>
            <p:cNvSpPr>
              <a:spLocks/>
            </p:cNvSpPr>
            <p:nvPr/>
          </p:nvSpPr>
          <p:spPr bwMode="auto">
            <a:xfrm>
              <a:off x="4395309" y="2970708"/>
              <a:ext cx="92543" cy="133506"/>
            </a:xfrm>
            <a:custGeom>
              <a:avLst/>
              <a:gdLst>
                <a:gd name="T0" fmla="*/ 2147483647 w 184"/>
                <a:gd name="T1" fmla="*/ 2147483647 h 271"/>
                <a:gd name="T2" fmla="*/ 2147483647 w 184"/>
                <a:gd name="T3" fmla="*/ 2147483647 h 271"/>
                <a:gd name="T4" fmla="*/ 2147483647 w 184"/>
                <a:gd name="T5" fmla="*/ 2147483647 h 271"/>
                <a:gd name="T6" fmla="*/ 2147483647 w 184"/>
                <a:gd name="T7" fmla="*/ 2147483647 h 271"/>
                <a:gd name="T8" fmla="*/ 2147483647 w 184"/>
                <a:gd name="T9" fmla="*/ 2147483647 h 271"/>
                <a:gd name="T10" fmla="*/ 2147483647 w 184"/>
                <a:gd name="T11" fmla="*/ 2147483647 h 271"/>
                <a:gd name="T12" fmla="*/ 2147483647 w 184"/>
                <a:gd name="T13" fmla="*/ 2147483647 h 271"/>
                <a:gd name="T14" fmla="*/ 2147483647 w 184"/>
                <a:gd name="T15" fmla="*/ 2147483647 h 271"/>
                <a:gd name="T16" fmla="*/ 2147483647 w 184"/>
                <a:gd name="T17" fmla="*/ 2147483647 h 271"/>
                <a:gd name="T18" fmla="*/ 2147483647 w 184"/>
                <a:gd name="T19" fmla="*/ 2147483647 h 271"/>
                <a:gd name="T20" fmla="*/ 2147483647 w 184"/>
                <a:gd name="T21" fmla="*/ 2147483647 h 271"/>
                <a:gd name="T22" fmla="*/ 2147483647 w 184"/>
                <a:gd name="T23" fmla="*/ 2147483647 h 271"/>
                <a:gd name="T24" fmla="*/ 2147483647 w 184"/>
                <a:gd name="T25" fmla="*/ 0 h 271"/>
                <a:gd name="T26" fmla="*/ 2147483647 w 184"/>
                <a:gd name="T27" fmla="*/ 2147483647 h 271"/>
                <a:gd name="T28" fmla="*/ 2147483647 w 184"/>
                <a:gd name="T29" fmla="*/ 2147483647 h 271"/>
                <a:gd name="T30" fmla="*/ 2147483647 w 184"/>
                <a:gd name="T31" fmla="*/ 2147483647 h 271"/>
                <a:gd name="T32" fmla="*/ 2147483647 w 184"/>
                <a:gd name="T33" fmla="*/ 2147483647 h 271"/>
                <a:gd name="T34" fmla="*/ 2147483647 w 184"/>
                <a:gd name="T35" fmla="*/ 2147483647 h 271"/>
                <a:gd name="T36" fmla="*/ 2147483647 w 184"/>
                <a:gd name="T37" fmla="*/ 2147483647 h 271"/>
                <a:gd name="T38" fmla="*/ 2147483647 w 184"/>
                <a:gd name="T39" fmla="*/ 2147483647 h 271"/>
                <a:gd name="T40" fmla="*/ 2147483647 w 184"/>
                <a:gd name="T41" fmla="*/ 2147483647 h 271"/>
                <a:gd name="T42" fmla="*/ 2147483647 w 184"/>
                <a:gd name="T43" fmla="*/ 2147483647 h 271"/>
                <a:gd name="T44" fmla="*/ 2147483647 w 184"/>
                <a:gd name="T45" fmla="*/ 2147483647 h 271"/>
                <a:gd name="T46" fmla="*/ 2147483647 w 184"/>
                <a:gd name="T47" fmla="*/ 2147483647 h 271"/>
                <a:gd name="T48" fmla="*/ 2147483647 w 184"/>
                <a:gd name="T49" fmla="*/ 2147483647 h 271"/>
                <a:gd name="T50" fmla="*/ 2147483647 w 184"/>
                <a:gd name="T51" fmla="*/ 2147483647 h 271"/>
                <a:gd name="T52" fmla="*/ 2147483647 w 184"/>
                <a:gd name="T53" fmla="*/ 2147483647 h 271"/>
                <a:gd name="T54" fmla="*/ 2147483647 w 184"/>
                <a:gd name="T55" fmla="*/ 2147483647 h 271"/>
                <a:gd name="T56" fmla="*/ 2147483647 w 184"/>
                <a:gd name="T57" fmla="*/ 2147483647 h 271"/>
                <a:gd name="T58" fmla="*/ 2147483647 w 184"/>
                <a:gd name="T59" fmla="*/ 2147483647 h 271"/>
                <a:gd name="T60" fmla="*/ 2147483647 w 184"/>
                <a:gd name="T61" fmla="*/ 2147483647 h 271"/>
                <a:gd name="T62" fmla="*/ 2147483647 w 184"/>
                <a:gd name="T63" fmla="*/ 2147483647 h 271"/>
                <a:gd name="T64" fmla="*/ 2147483647 w 184"/>
                <a:gd name="T65" fmla="*/ 2147483647 h 271"/>
                <a:gd name="T66" fmla="*/ 2147483647 w 184"/>
                <a:gd name="T67" fmla="*/ 2147483647 h 271"/>
                <a:gd name="T68" fmla="*/ 2147483647 w 184"/>
                <a:gd name="T69" fmla="*/ 2147483647 h 271"/>
                <a:gd name="T70" fmla="*/ 2147483647 w 184"/>
                <a:gd name="T71" fmla="*/ 2147483647 h 271"/>
                <a:gd name="T72" fmla="*/ 2147483647 w 184"/>
                <a:gd name="T73" fmla="*/ 2147483647 h 271"/>
                <a:gd name="T74" fmla="*/ 0 w 184"/>
                <a:gd name="T75" fmla="*/ 2147483647 h 271"/>
                <a:gd name="T76" fmla="*/ 2147483647 w 184"/>
                <a:gd name="T77" fmla="*/ 2147483647 h 271"/>
                <a:gd name="T78" fmla="*/ 2147483647 w 184"/>
                <a:gd name="T79" fmla="*/ 2147483647 h 271"/>
                <a:gd name="T80" fmla="*/ 2147483647 w 184"/>
                <a:gd name="T81" fmla="*/ 2147483647 h 271"/>
                <a:gd name="T82" fmla="*/ 2147483647 w 184"/>
                <a:gd name="T83" fmla="*/ 2147483647 h 271"/>
                <a:gd name="T84" fmla="*/ 2147483647 w 184"/>
                <a:gd name="T85" fmla="*/ 2147483647 h 271"/>
                <a:gd name="T86" fmla="*/ 2147483647 w 184"/>
                <a:gd name="T87" fmla="*/ 2147483647 h 271"/>
                <a:gd name="T88" fmla="*/ 2147483647 w 184"/>
                <a:gd name="T89" fmla="*/ 2147483647 h 271"/>
                <a:gd name="T90" fmla="*/ 2147483647 w 184"/>
                <a:gd name="T91" fmla="*/ 2147483647 h 271"/>
                <a:gd name="T92" fmla="*/ 2147483647 w 184"/>
                <a:gd name="T93" fmla="*/ 2147483647 h 271"/>
                <a:gd name="T94" fmla="*/ 2147483647 w 184"/>
                <a:gd name="T95" fmla="*/ 2147483647 h 271"/>
                <a:gd name="T96" fmla="*/ 2147483647 w 184"/>
                <a:gd name="T97" fmla="*/ 2147483647 h 271"/>
                <a:gd name="T98" fmla="*/ 2147483647 w 184"/>
                <a:gd name="T99" fmla="*/ 2147483647 h 271"/>
                <a:gd name="T100" fmla="*/ 2147483647 w 184"/>
                <a:gd name="T101" fmla="*/ 2147483647 h 271"/>
                <a:gd name="T102" fmla="*/ 2147483647 w 184"/>
                <a:gd name="T103" fmla="*/ 2147483647 h 271"/>
                <a:gd name="T104" fmla="*/ 2147483647 w 184"/>
                <a:gd name="T105" fmla="*/ 2147483647 h 271"/>
                <a:gd name="T106" fmla="*/ 2147483647 w 184"/>
                <a:gd name="T107" fmla="*/ 2147483647 h 271"/>
                <a:gd name="T108" fmla="*/ 2147483647 w 184"/>
                <a:gd name="T109" fmla="*/ 2147483647 h 271"/>
                <a:gd name="T110" fmla="*/ 2147483647 w 184"/>
                <a:gd name="T111" fmla="*/ 2147483647 h 271"/>
                <a:gd name="T112" fmla="*/ 2147483647 w 184"/>
                <a:gd name="T113" fmla="*/ 2147483647 h 271"/>
                <a:gd name="T114" fmla="*/ 2147483647 w 184"/>
                <a:gd name="T115" fmla="*/ 2147483647 h 271"/>
                <a:gd name="T116" fmla="*/ 2147483647 w 184"/>
                <a:gd name="T117" fmla="*/ 2147483647 h 271"/>
                <a:gd name="T118" fmla="*/ 2147483647 w 184"/>
                <a:gd name="T119" fmla="*/ 2147483647 h 2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4"/>
                <a:gd name="T181" fmla="*/ 0 h 271"/>
                <a:gd name="T182" fmla="*/ 184 w 184"/>
                <a:gd name="T183" fmla="*/ 271 h 27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4" h="271">
                  <a:moveTo>
                    <a:pt x="180" y="93"/>
                  </a:moveTo>
                  <a:lnTo>
                    <a:pt x="175" y="71"/>
                  </a:lnTo>
                  <a:lnTo>
                    <a:pt x="163" y="60"/>
                  </a:lnTo>
                  <a:lnTo>
                    <a:pt x="140" y="65"/>
                  </a:lnTo>
                  <a:lnTo>
                    <a:pt x="126" y="83"/>
                  </a:lnTo>
                  <a:lnTo>
                    <a:pt x="117" y="79"/>
                  </a:lnTo>
                  <a:lnTo>
                    <a:pt x="111" y="65"/>
                  </a:lnTo>
                  <a:lnTo>
                    <a:pt x="98" y="57"/>
                  </a:lnTo>
                  <a:lnTo>
                    <a:pt x="108" y="50"/>
                  </a:lnTo>
                  <a:lnTo>
                    <a:pt x="108" y="40"/>
                  </a:lnTo>
                  <a:lnTo>
                    <a:pt x="116" y="39"/>
                  </a:lnTo>
                  <a:lnTo>
                    <a:pt x="121" y="22"/>
                  </a:lnTo>
                  <a:lnTo>
                    <a:pt x="119" y="0"/>
                  </a:lnTo>
                  <a:lnTo>
                    <a:pt x="95" y="9"/>
                  </a:lnTo>
                  <a:lnTo>
                    <a:pt x="70" y="42"/>
                  </a:lnTo>
                  <a:lnTo>
                    <a:pt x="94" y="47"/>
                  </a:lnTo>
                  <a:lnTo>
                    <a:pt x="91" y="57"/>
                  </a:lnTo>
                  <a:lnTo>
                    <a:pt x="78" y="66"/>
                  </a:lnTo>
                  <a:lnTo>
                    <a:pt x="77" y="74"/>
                  </a:lnTo>
                  <a:lnTo>
                    <a:pt x="29" y="69"/>
                  </a:lnTo>
                  <a:lnTo>
                    <a:pt x="20" y="82"/>
                  </a:lnTo>
                  <a:lnTo>
                    <a:pt x="23" y="95"/>
                  </a:lnTo>
                  <a:lnTo>
                    <a:pt x="11" y="95"/>
                  </a:lnTo>
                  <a:lnTo>
                    <a:pt x="35" y="107"/>
                  </a:lnTo>
                  <a:lnTo>
                    <a:pt x="14" y="125"/>
                  </a:lnTo>
                  <a:lnTo>
                    <a:pt x="22" y="141"/>
                  </a:lnTo>
                  <a:lnTo>
                    <a:pt x="62" y="151"/>
                  </a:lnTo>
                  <a:lnTo>
                    <a:pt x="43" y="165"/>
                  </a:lnTo>
                  <a:lnTo>
                    <a:pt x="38" y="183"/>
                  </a:lnTo>
                  <a:lnTo>
                    <a:pt x="25" y="195"/>
                  </a:lnTo>
                  <a:lnTo>
                    <a:pt x="52" y="191"/>
                  </a:lnTo>
                  <a:lnTo>
                    <a:pt x="64" y="178"/>
                  </a:lnTo>
                  <a:lnTo>
                    <a:pt x="64" y="187"/>
                  </a:lnTo>
                  <a:lnTo>
                    <a:pt x="71" y="190"/>
                  </a:lnTo>
                  <a:lnTo>
                    <a:pt x="32" y="197"/>
                  </a:lnTo>
                  <a:lnTo>
                    <a:pt x="21" y="218"/>
                  </a:lnTo>
                  <a:lnTo>
                    <a:pt x="2" y="222"/>
                  </a:lnTo>
                  <a:lnTo>
                    <a:pt x="0" y="228"/>
                  </a:lnTo>
                  <a:lnTo>
                    <a:pt x="21" y="230"/>
                  </a:lnTo>
                  <a:lnTo>
                    <a:pt x="3" y="247"/>
                  </a:lnTo>
                  <a:lnTo>
                    <a:pt x="30" y="246"/>
                  </a:lnTo>
                  <a:lnTo>
                    <a:pt x="13" y="262"/>
                  </a:lnTo>
                  <a:lnTo>
                    <a:pt x="36" y="255"/>
                  </a:lnTo>
                  <a:lnTo>
                    <a:pt x="35" y="262"/>
                  </a:lnTo>
                  <a:lnTo>
                    <a:pt x="26" y="266"/>
                  </a:lnTo>
                  <a:lnTo>
                    <a:pt x="27" y="271"/>
                  </a:lnTo>
                  <a:lnTo>
                    <a:pt x="48" y="269"/>
                  </a:lnTo>
                  <a:lnTo>
                    <a:pt x="80" y="258"/>
                  </a:lnTo>
                  <a:lnTo>
                    <a:pt x="86" y="254"/>
                  </a:lnTo>
                  <a:lnTo>
                    <a:pt x="86" y="243"/>
                  </a:lnTo>
                  <a:lnTo>
                    <a:pt x="94" y="249"/>
                  </a:lnTo>
                  <a:lnTo>
                    <a:pt x="114" y="240"/>
                  </a:lnTo>
                  <a:lnTo>
                    <a:pt x="121" y="228"/>
                  </a:lnTo>
                  <a:lnTo>
                    <a:pt x="169" y="223"/>
                  </a:lnTo>
                  <a:lnTo>
                    <a:pt x="169" y="210"/>
                  </a:lnTo>
                  <a:lnTo>
                    <a:pt x="184" y="170"/>
                  </a:lnTo>
                  <a:lnTo>
                    <a:pt x="179" y="140"/>
                  </a:lnTo>
                  <a:lnTo>
                    <a:pt x="183" y="126"/>
                  </a:lnTo>
                  <a:lnTo>
                    <a:pt x="173" y="101"/>
                  </a:lnTo>
                  <a:lnTo>
                    <a:pt x="180" y="93"/>
                  </a:lnTo>
                  <a:close/>
                </a:path>
              </a:pathLst>
            </a:custGeom>
            <a:grpFill/>
            <a:ln w="6350">
              <a:solidFill>
                <a:schemeClr val="tx2"/>
              </a:solidFill>
              <a:round/>
              <a:headEnd/>
              <a:tailEnd/>
            </a:ln>
          </p:spPr>
          <p:txBody>
            <a:bodyPr/>
            <a:lstStyle/>
            <a:p>
              <a:endParaRPr lang="en-US"/>
            </a:p>
          </p:txBody>
        </p:sp>
        <p:sp>
          <p:nvSpPr>
            <p:cNvPr id="718" name="Freeform 1490"/>
            <p:cNvSpPr>
              <a:spLocks/>
            </p:cNvSpPr>
            <p:nvPr/>
          </p:nvSpPr>
          <p:spPr bwMode="auto">
            <a:xfrm>
              <a:off x="5181173" y="3201309"/>
              <a:ext cx="72821" cy="91027"/>
            </a:xfrm>
            <a:custGeom>
              <a:avLst/>
              <a:gdLst>
                <a:gd name="T0" fmla="*/ 2147483647 w 146"/>
                <a:gd name="T1" fmla="*/ 2147483647 h 184"/>
                <a:gd name="T2" fmla="*/ 2147483647 w 146"/>
                <a:gd name="T3" fmla="*/ 2147483647 h 184"/>
                <a:gd name="T4" fmla="*/ 2147483647 w 146"/>
                <a:gd name="T5" fmla="*/ 2147483647 h 184"/>
                <a:gd name="T6" fmla="*/ 2147483647 w 146"/>
                <a:gd name="T7" fmla="*/ 2147483647 h 184"/>
                <a:gd name="T8" fmla="*/ 2147483647 w 146"/>
                <a:gd name="T9" fmla="*/ 2147483647 h 184"/>
                <a:gd name="T10" fmla="*/ 2147483647 w 146"/>
                <a:gd name="T11" fmla="*/ 2147483647 h 184"/>
                <a:gd name="T12" fmla="*/ 2147483647 w 146"/>
                <a:gd name="T13" fmla="*/ 2147483647 h 184"/>
                <a:gd name="T14" fmla="*/ 2147483647 w 146"/>
                <a:gd name="T15" fmla="*/ 2147483647 h 184"/>
                <a:gd name="T16" fmla="*/ 2147483647 w 146"/>
                <a:gd name="T17" fmla="*/ 2147483647 h 184"/>
                <a:gd name="T18" fmla="*/ 2147483647 w 146"/>
                <a:gd name="T19" fmla="*/ 2147483647 h 184"/>
                <a:gd name="T20" fmla="*/ 2147483647 w 146"/>
                <a:gd name="T21" fmla="*/ 2147483647 h 184"/>
                <a:gd name="T22" fmla="*/ 2147483647 w 146"/>
                <a:gd name="T23" fmla="*/ 2147483647 h 184"/>
                <a:gd name="T24" fmla="*/ 2147483647 w 146"/>
                <a:gd name="T25" fmla="*/ 2147483647 h 184"/>
                <a:gd name="T26" fmla="*/ 2147483647 w 146"/>
                <a:gd name="T27" fmla="*/ 2147483647 h 184"/>
                <a:gd name="T28" fmla="*/ 2147483647 w 146"/>
                <a:gd name="T29" fmla="*/ 0 h 184"/>
                <a:gd name="T30" fmla="*/ 2147483647 w 146"/>
                <a:gd name="T31" fmla="*/ 2147483647 h 184"/>
                <a:gd name="T32" fmla="*/ 0 w 146"/>
                <a:gd name="T33" fmla="*/ 2147483647 h 184"/>
                <a:gd name="T34" fmla="*/ 2147483647 w 146"/>
                <a:gd name="T35" fmla="*/ 2147483647 h 184"/>
                <a:gd name="T36" fmla="*/ 2147483647 w 146"/>
                <a:gd name="T37" fmla="*/ 2147483647 h 184"/>
                <a:gd name="T38" fmla="*/ 2147483647 w 146"/>
                <a:gd name="T39" fmla="*/ 2147483647 h 184"/>
                <a:gd name="T40" fmla="*/ 2147483647 w 146"/>
                <a:gd name="T41" fmla="*/ 2147483647 h 184"/>
                <a:gd name="T42" fmla="*/ 2147483647 w 146"/>
                <a:gd name="T43" fmla="*/ 2147483647 h 1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6"/>
                <a:gd name="T67" fmla="*/ 0 h 184"/>
                <a:gd name="T68" fmla="*/ 146 w 146"/>
                <a:gd name="T69" fmla="*/ 184 h 18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6" h="184">
                  <a:moveTo>
                    <a:pt x="69" y="160"/>
                  </a:moveTo>
                  <a:lnTo>
                    <a:pt x="70" y="184"/>
                  </a:lnTo>
                  <a:lnTo>
                    <a:pt x="83" y="182"/>
                  </a:lnTo>
                  <a:lnTo>
                    <a:pt x="85" y="170"/>
                  </a:lnTo>
                  <a:lnTo>
                    <a:pt x="102" y="153"/>
                  </a:lnTo>
                  <a:lnTo>
                    <a:pt x="107" y="129"/>
                  </a:lnTo>
                  <a:lnTo>
                    <a:pt x="146" y="129"/>
                  </a:lnTo>
                  <a:lnTo>
                    <a:pt x="146" y="104"/>
                  </a:lnTo>
                  <a:lnTo>
                    <a:pt x="131" y="93"/>
                  </a:lnTo>
                  <a:lnTo>
                    <a:pt x="125" y="70"/>
                  </a:lnTo>
                  <a:lnTo>
                    <a:pt x="111" y="59"/>
                  </a:lnTo>
                  <a:lnTo>
                    <a:pt x="113" y="33"/>
                  </a:lnTo>
                  <a:lnTo>
                    <a:pt x="110" y="28"/>
                  </a:lnTo>
                  <a:lnTo>
                    <a:pt x="70" y="19"/>
                  </a:lnTo>
                  <a:lnTo>
                    <a:pt x="37" y="0"/>
                  </a:lnTo>
                  <a:lnTo>
                    <a:pt x="11" y="3"/>
                  </a:lnTo>
                  <a:lnTo>
                    <a:pt x="0" y="20"/>
                  </a:lnTo>
                  <a:lnTo>
                    <a:pt x="9" y="17"/>
                  </a:lnTo>
                  <a:lnTo>
                    <a:pt x="36" y="46"/>
                  </a:lnTo>
                  <a:lnTo>
                    <a:pt x="39" y="60"/>
                  </a:lnTo>
                  <a:lnTo>
                    <a:pt x="67" y="108"/>
                  </a:lnTo>
                  <a:lnTo>
                    <a:pt x="69" y="160"/>
                  </a:lnTo>
                  <a:close/>
                </a:path>
              </a:pathLst>
            </a:custGeom>
            <a:grpFill/>
            <a:ln w="6350">
              <a:solidFill>
                <a:schemeClr val="tx2"/>
              </a:solidFill>
              <a:round/>
              <a:headEnd/>
              <a:tailEnd/>
            </a:ln>
          </p:spPr>
          <p:txBody>
            <a:bodyPr/>
            <a:lstStyle/>
            <a:p>
              <a:endParaRPr lang="en-US"/>
            </a:p>
          </p:txBody>
        </p:sp>
        <p:sp>
          <p:nvSpPr>
            <p:cNvPr id="719" name="Freeform 1491"/>
            <p:cNvSpPr>
              <a:spLocks/>
            </p:cNvSpPr>
            <p:nvPr/>
          </p:nvSpPr>
          <p:spPr bwMode="auto">
            <a:xfrm>
              <a:off x="5049184" y="3210412"/>
              <a:ext cx="203293" cy="139575"/>
            </a:xfrm>
            <a:custGeom>
              <a:avLst/>
              <a:gdLst>
                <a:gd name="T0" fmla="*/ 2147483647 w 408"/>
                <a:gd name="T1" fmla="*/ 2147483647 h 284"/>
                <a:gd name="T2" fmla="*/ 2147483647 w 408"/>
                <a:gd name="T3" fmla="*/ 2147483647 h 284"/>
                <a:gd name="T4" fmla="*/ 2147483647 w 408"/>
                <a:gd name="T5" fmla="*/ 2147483647 h 284"/>
                <a:gd name="T6" fmla="*/ 2147483647 w 408"/>
                <a:gd name="T7" fmla="*/ 0 h 284"/>
                <a:gd name="T8" fmla="*/ 2147483647 w 408"/>
                <a:gd name="T9" fmla="*/ 2147483647 h 284"/>
                <a:gd name="T10" fmla="*/ 2147483647 w 408"/>
                <a:gd name="T11" fmla="*/ 2147483647 h 284"/>
                <a:gd name="T12" fmla="*/ 2147483647 w 408"/>
                <a:gd name="T13" fmla="*/ 2147483647 h 284"/>
                <a:gd name="T14" fmla="*/ 2147483647 w 408"/>
                <a:gd name="T15" fmla="*/ 2147483647 h 284"/>
                <a:gd name="T16" fmla="*/ 2147483647 w 408"/>
                <a:gd name="T17" fmla="*/ 2147483647 h 284"/>
                <a:gd name="T18" fmla="*/ 2147483647 w 408"/>
                <a:gd name="T19" fmla="*/ 2147483647 h 284"/>
                <a:gd name="T20" fmla="*/ 2147483647 w 408"/>
                <a:gd name="T21" fmla="*/ 2147483647 h 284"/>
                <a:gd name="T22" fmla="*/ 0 w 408"/>
                <a:gd name="T23" fmla="*/ 2147483647 h 284"/>
                <a:gd name="T24" fmla="*/ 2147483647 w 408"/>
                <a:gd name="T25" fmla="*/ 2147483647 h 284"/>
                <a:gd name="T26" fmla="*/ 2147483647 w 408"/>
                <a:gd name="T27" fmla="*/ 2147483647 h 284"/>
                <a:gd name="T28" fmla="*/ 2147483647 w 408"/>
                <a:gd name="T29" fmla="*/ 2147483647 h 284"/>
                <a:gd name="T30" fmla="*/ 2147483647 w 408"/>
                <a:gd name="T31" fmla="*/ 2147483647 h 284"/>
                <a:gd name="T32" fmla="*/ 2147483647 w 408"/>
                <a:gd name="T33" fmla="*/ 2147483647 h 284"/>
                <a:gd name="T34" fmla="*/ 2147483647 w 408"/>
                <a:gd name="T35" fmla="*/ 2147483647 h 284"/>
                <a:gd name="T36" fmla="*/ 2147483647 w 408"/>
                <a:gd name="T37" fmla="*/ 2147483647 h 284"/>
                <a:gd name="T38" fmla="*/ 2147483647 w 408"/>
                <a:gd name="T39" fmla="*/ 2147483647 h 284"/>
                <a:gd name="T40" fmla="*/ 2147483647 w 408"/>
                <a:gd name="T41" fmla="*/ 2147483647 h 284"/>
                <a:gd name="T42" fmla="*/ 2147483647 w 408"/>
                <a:gd name="T43" fmla="*/ 2147483647 h 284"/>
                <a:gd name="T44" fmla="*/ 2147483647 w 408"/>
                <a:gd name="T45" fmla="*/ 2147483647 h 284"/>
                <a:gd name="T46" fmla="*/ 2147483647 w 408"/>
                <a:gd name="T47" fmla="*/ 2147483647 h 284"/>
                <a:gd name="T48" fmla="*/ 2147483647 w 408"/>
                <a:gd name="T49" fmla="*/ 2147483647 h 284"/>
                <a:gd name="T50" fmla="*/ 2147483647 w 408"/>
                <a:gd name="T51" fmla="*/ 2147483647 h 284"/>
                <a:gd name="T52" fmla="*/ 2147483647 w 408"/>
                <a:gd name="T53" fmla="*/ 2147483647 h 284"/>
                <a:gd name="T54" fmla="*/ 2147483647 w 408"/>
                <a:gd name="T55" fmla="*/ 2147483647 h 284"/>
                <a:gd name="T56" fmla="*/ 2147483647 w 408"/>
                <a:gd name="T57" fmla="*/ 2147483647 h 284"/>
                <a:gd name="T58" fmla="*/ 2147483647 w 408"/>
                <a:gd name="T59" fmla="*/ 2147483647 h 284"/>
                <a:gd name="T60" fmla="*/ 2147483647 w 408"/>
                <a:gd name="T61" fmla="*/ 2147483647 h 284"/>
                <a:gd name="T62" fmla="*/ 2147483647 w 408"/>
                <a:gd name="T63" fmla="*/ 2147483647 h 284"/>
                <a:gd name="T64" fmla="*/ 2147483647 w 408"/>
                <a:gd name="T65" fmla="*/ 2147483647 h 284"/>
                <a:gd name="T66" fmla="*/ 2147483647 w 408"/>
                <a:gd name="T67" fmla="*/ 2147483647 h 284"/>
                <a:gd name="T68" fmla="*/ 2147483647 w 408"/>
                <a:gd name="T69" fmla="*/ 2147483647 h 284"/>
                <a:gd name="T70" fmla="*/ 2147483647 w 408"/>
                <a:gd name="T71" fmla="*/ 2147483647 h 284"/>
                <a:gd name="T72" fmla="*/ 2147483647 w 408"/>
                <a:gd name="T73" fmla="*/ 2147483647 h 284"/>
                <a:gd name="T74" fmla="*/ 2147483647 w 408"/>
                <a:gd name="T75" fmla="*/ 2147483647 h 284"/>
                <a:gd name="T76" fmla="*/ 2147483647 w 408"/>
                <a:gd name="T77" fmla="*/ 2147483647 h 284"/>
                <a:gd name="T78" fmla="*/ 2147483647 w 408"/>
                <a:gd name="T79" fmla="*/ 2147483647 h 284"/>
                <a:gd name="T80" fmla="*/ 2147483647 w 408"/>
                <a:gd name="T81" fmla="*/ 2147483647 h 284"/>
                <a:gd name="T82" fmla="*/ 2147483647 w 408"/>
                <a:gd name="T83" fmla="*/ 2147483647 h 284"/>
                <a:gd name="T84" fmla="*/ 2147483647 w 408"/>
                <a:gd name="T85" fmla="*/ 2147483647 h 284"/>
                <a:gd name="T86" fmla="*/ 2147483647 w 408"/>
                <a:gd name="T87" fmla="*/ 2147483647 h 284"/>
                <a:gd name="T88" fmla="*/ 2147483647 w 408"/>
                <a:gd name="T89" fmla="*/ 2147483647 h 284"/>
                <a:gd name="T90" fmla="*/ 2147483647 w 408"/>
                <a:gd name="T91" fmla="*/ 2147483647 h 284"/>
                <a:gd name="T92" fmla="*/ 2147483647 w 408"/>
                <a:gd name="T93" fmla="*/ 2147483647 h 284"/>
                <a:gd name="T94" fmla="*/ 2147483647 w 408"/>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284"/>
                <a:gd name="T146" fmla="*/ 408 w 408"/>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284">
                  <a:moveTo>
                    <a:pt x="338" y="91"/>
                  </a:moveTo>
                  <a:lnTo>
                    <a:pt x="310" y="43"/>
                  </a:lnTo>
                  <a:lnTo>
                    <a:pt x="307" y="29"/>
                  </a:lnTo>
                  <a:lnTo>
                    <a:pt x="280" y="0"/>
                  </a:lnTo>
                  <a:lnTo>
                    <a:pt x="271" y="3"/>
                  </a:lnTo>
                  <a:lnTo>
                    <a:pt x="203" y="28"/>
                  </a:lnTo>
                  <a:lnTo>
                    <a:pt x="187" y="16"/>
                  </a:lnTo>
                  <a:lnTo>
                    <a:pt x="111" y="19"/>
                  </a:lnTo>
                  <a:lnTo>
                    <a:pt x="77" y="43"/>
                  </a:lnTo>
                  <a:lnTo>
                    <a:pt x="69" y="66"/>
                  </a:lnTo>
                  <a:lnTo>
                    <a:pt x="39" y="121"/>
                  </a:lnTo>
                  <a:lnTo>
                    <a:pt x="0" y="134"/>
                  </a:lnTo>
                  <a:lnTo>
                    <a:pt x="20" y="151"/>
                  </a:lnTo>
                  <a:lnTo>
                    <a:pt x="37" y="186"/>
                  </a:lnTo>
                  <a:lnTo>
                    <a:pt x="52" y="192"/>
                  </a:lnTo>
                  <a:lnTo>
                    <a:pt x="55" y="211"/>
                  </a:lnTo>
                  <a:lnTo>
                    <a:pt x="88" y="228"/>
                  </a:lnTo>
                  <a:lnTo>
                    <a:pt x="98" y="221"/>
                  </a:lnTo>
                  <a:lnTo>
                    <a:pt x="104" y="230"/>
                  </a:lnTo>
                  <a:lnTo>
                    <a:pt x="96" y="238"/>
                  </a:lnTo>
                  <a:lnTo>
                    <a:pt x="102" y="252"/>
                  </a:lnTo>
                  <a:lnTo>
                    <a:pt x="109" y="253"/>
                  </a:lnTo>
                  <a:lnTo>
                    <a:pt x="119" y="257"/>
                  </a:lnTo>
                  <a:lnTo>
                    <a:pt x="114" y="268"/>
                  </a:lnTo>
                  <a:lnTo>
                    <a:pt x="122" y="275"/>
                  </a:lnTo>
                  <a:lnTo>
                    <a:pt x="227" y="284"/>
                  </a:lnTo>
                  <a:lnTo>
                    <a:pt x="291" y="257"/>
                  </a:lnTo>
                  <a:lnTo>
                    <a:pt x="307" y="257"/>
                  </a:lnTo>
                  <a:lnTo>
                    <a:pt x="334" y="267"/>
                  </a:lnTo>
                  <a:lnTo>
                    <a:pt x="351" y="279"/>
                  </a:lnTo>
                  <a:lnTo>
                    <a:pt x="364" y="277"/>
                  </a:lnTo>
                  <a:lnTo>
                    <a:pt x="364" y="248"/>
                  </a:lnTo>
                  <a:lnTo>
                    <a:pt x="375" y="205"/>
                  </a:lnTo>
                  <a:lnTo>
                    <a:pt x="381" y="205"/>
                  </a:lnTo>
                  <a:lnTo>
                    <a:pt x="381" y="216"/>
                  </a:lnTo>
                  <a:lnTo>
                    <a:pt x="371" y="231"/>
                  </a:lnTo>
                  <a:lnTo>
                    <a:pt x="373" y="236"/>
                  </a:lnTo>
                  <a:lnTo>
                    <a:pt x="400" y="215"/>
                  </a:lnTo>
                  <a:lnTo>
                    <a:pt x="404" y="211"/>
                  </a:lnTo>
                  <a:lnTo>
                    <a:pt x="408" y="198"/>
                  </a:lnTo>
                  <a:lnTo>
                    <a:pt x="406" y="179"/>
                  </a:lnTo>
                  <a:lnTo>
                    <a:pt x="395" y="176"/>
                  </a:lnTo>
                  <a:lnTo>
                    <a:pt x="360" y="188"/>
                  </a:lnTo>
                  <a:lnTo>
                    <a:pt x="350" y="175"/>
                  </a:lnTo>
                  <a:lnTo>
                    <a:pt x="343" y="177"/>
                  </a:lnTo>
                  <a:lnTo>
                    <a:pt x="341" y="167"/>
                  </a:lnTo>
                  <a:lnTo>
                    <a:pt x="340" y="143"/>
                  </a:lnTo>
                  <a:lnTo>
                    <a:pt x="338" y="91"/>
                  </a:lnTo>
                  <a:close/>
                </a:path>
              </a:pathLst>
            </a:custGeom>
            <a:grpFill/>
            <a:ln w="6350">
              <a:solidFill>
                <a:schemeClr val="tx2"/>
              </a:solidFill>
              <a:round/>
              <a:headEnd/>
              <a:tailEnd/>
            </a:ln>
          </p:spPr>
          <p:txBody>
            <a:bodyPr/>
            <a:lstStyle/>
            <a:p>
              <a:endParaRPr lang="en-US"/>
            </a:p>
          </p:txBody>
        </p:sp>
        <p:sp>
          <p:nvSpPr>
            <p:cNvPr id="720" name="Freeform 1492"/>
            <p:cNvSpPr>
              <a:spLocks/>
            </p:cNvSpPr>
            <p:nvPr/>
          </p:nvSpPr>
          <p:spPr bwMode="auto">
            <a:xfrm>
              <a:off x="4445373" y="2967674"/>
              <a:ext cx="53099" cy="48548"/>
            </a:xfrm>
            <a:custGeom>
              <a:avLst/>
              <a:gdLst>
                <a:gd name="T0" fmla="*/ 2147483647 w 110"/>
                <a:gd name="T1" fmla="*/ 2147483647 h 99"/>
                <a:gd name="T2" fmla="*/ 2147483647 w 110"/>
                <a:gd name="T3" fmla="*/ 2147483647 h 99"/>
                <a:gd name="T4" fmla="*/ 2147483647 w 110"/>
                <a:gd name="T5" fmla="*/ 2147483647 h 99"/>
                <a:gd name="T6" fmla="*/ 2147483647 w 110"/>
                <a:gd name="T7" fmla="*/ 2147483647 h 99"/>
                <a:gd name="T8" fmla="*/ 2147483647 w 110"/>
                <a:gd name="T9" fmla="*/ 2147483647 h 99"/>
                <a:gd name="T10" fmla="*/ 2147483647 w 110"/>
                <a:gd name="T11" fmla="*/ 2147483647 h 99"/>
                <a:gd name="T12" fmla="*/ 2147483647 w 110"/>
                <a:gd name="T13" fmla="*/ 2147483647 h 99"/>
                <a:gd name="T14" fmla="*/ 2147483647 w 110"/>
                <a:gd name="T15" fmla="*/ 2147483647 h 99"/>
                <a:gd name="T16" fmla="*/ 2147483647 w 110"/>
                <a:gd name="T17" fmla="*/ 2147483647 h 99"/>
                <a:gd name="T18" fmla="*/ 2147483647 w 110"/>
                <a:gd name="T19" fmla="*/ 2147483647 h 99"/>
                <a:gd name="T20" fmla="*/ 2147483647 w 110"/>
                <a:gd name="T21" fmla="*/ 2147483647 h 99"/>
                <a:gd name="T22" fmla="*/ 2147483647 w 110"/>
                <a:gd name="T23" fmla="*/ 2147483647 h 99"/>
                <a:gd name="T24" fmla="*/ 2147483647 w 110"/>
                <a:gd name="T25" fmla="*/ 2147483647 h 99"/>
                <a:gd name="T26" fmla="*/ 2147483647 w 110"/>
                <a:gd name="T27" fmla="*/ 2147483647 h 99"/>
                <a:gd name="T28" fmla="*/ 2147483647 w 110"/>
                <a:gd name="T29" fmla="*/ 2147483647 h 99"/>
                <a:gd name="T30" fmla="*/ 2147483647 w 110"/>
                <a:gd name="T31" fmla="*/ 2147483647 h 99"/>
                <a:gd name="T32" fmla="*/ 2147483647 w 110"/>
                <a:gd name="T33" fmla="*/ 2147483647 h 99"/>
                <a:gd name="T34" fmla="*/ 2147483647 w 110"/>
                <a:gd name="T35" fmla="*/ 2147483647 h 99"/>
                <a:gd name="T36" fmla="*/ 2147483647 w 110"/>
                <a:gd name="T37" fmla="*/ 0 h 99"/>
                <a:gd name="T38" fmla="*/ 2147483647 w 110"/>
                <a:gd name="T39" fmla="*/ 2147483647 h 99"/>
                <a:gd name="T40" fmla="*/ 2147483647 w 110"/>
                <a:gd name="T41" fmla="*/ 2147483647 h 99"/>
                <a:gd name="T42" fmla="*/ 2147483647 w 110"/>
                <a:gd name="T43" fmla="*/ 2147483647 h 99"/>
                <a:gd name="T44" fmla="*/ 2147483647 w 110"/>
                <a:gd name="T45" fmla="*/ 2147483647 h 99"/>
                <a:gd name="T46" fmla="*/ 2147483647 w 110"/>
                <a:gd name="T47" fmla="*/ 2147483647 h 99"/>
                <a:gd name="T48" fmla="*/ 2147483647 w 110"/>
                <a:gd name="T49" fmla="*/ 2147483647 h 99"/>
                <a:gd name="T50" fmla="*/ 0 w 110"/>
                <a:gd name="T51" fmla="*/ 2147483647 h 99"/>
                <a:gd name="T52" fmla="*/ 2147483647 w 110"/>
                <a:gd name="T53" fmla="*/ 2147483647 h 99"/>
                <a:gd name="T54" fmla="*/ 2147483647 w 110"/>
                <a:gd name="T55" fmla="*/ 2147483647 h 99"/>
                <a:gd name="T56" fmla="*/ 2147483647 w 110"/>
                <a:gd name="T57" fmla="*/ 2147483647 h 99"/>
                <a:gd name="T58" fmla="*/ 2147483647 w 110"/>
                <a:gd name="T59" fmla="*/ 2147483647 h 99"/>
                <a:gd name="T60" fmla="*/ 2147483647 w 110"/>
                <a:gd name="T61" fmla="*/ 2147483647 h 99"/>
                <a:gd name="T62" fmla="*/ 2147483647 w 110"/>
                <a:gd name="T63" fmla="*/ 2147483647 h 99"/>
                <a:gd name="T64" fmla="*/ 2147483647 w 110"/>
                <a:gd name="T65" fmla="*/ 2147483647 h 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0"/>
                <a:gd name="T100" fmla="*/ 0 h 99"/>
                <a:gd name="T101" fmla="*/ 110 w 110"/>
                <a:gd name="T102" fmla="*/ 99 h 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0" h="99">
                  <a:moveTo>
                    <a:pt x="82" y="99"/>
                  </a:moveTo>
                  <a:lnTo>
                    <a:pt x="92" y="91"/>
                  </a:lnTo>
                  <a:lnTo>
                    <a:pt x="94" y="83"/>
                  </a:lnTo>
                  <a:lnTo>
                    <a:pt x="104" y="81"/>
                  </a:lnTo>
                  <a:lnTo>
                    <a:pt x="108" y="76"/>
                  </a:lnTo>
                  <a:lnTo>
                    <a:pt x="103" y="61"/>
                  </a:lnTo>
                  <a:lnTo>
                    <a:pt x="109" y="70"/>
                  </a:lnTo>
                  <a:lnTo>
                    <a:pt x="110" y="61"/>
                  </a:lnTo>
                  <a:lnTo>
                    <a:pt x="103" y="50"/>
                  </a:lnTo>
                  <a:lnTo>
                    <a:pt x="92" y="52"/>
                  </a:lnTo>
                  <a:lnTo>
                    <a:pt x="96" y="44"/>
                  </a:lnTo>
                  <a:lnTo>
                    <a:pt x="96" y="30"/>
                  </a:lnTo>
                  <a:lnTo>
                    <a:pt x="84" y="12"/>
                  </a:lnTo>
                  <a:lnTo>
                    <a:pt x="69" y="7"/>
                  </a:lnTo>
                  <a:lnTo>
                    <a:pt x="40" y="20"/>
                  </a:lnTo>
                  <a:lnTo>
                    <a:pt x="39" y="17"/>
                  </a:lnTo>
                  <a:lnTo>
                    <a:pt x="47" y="8"/>
                  </a:lnTo>
                  <a:lnTo>
                    <a:pt x="39" y="1"/>
                  </a:lnTo>
                  <a:lnTo>
                    <a:pt x="32" y="0"/>
                  </a:lnTo>
                  <a:lnTo>
                    <a:pt x="27" y="10"/>
                  </a:lnTo>
                  <a:lnTo>
                    <a:pt x="26" y="25"/>
                  </a:lnTo>
                  <a:lnTo>
                    <a:pt x="23" y="28"/>
                  </a:lnTo>
                  <a:lnTo>
                    <a:pt x="18" y="45"/>
                  </a:lnTo>
                  <a:lnTo>
                    <a:pt x="10" y="46"/>
                  </a:lnTo>
                  <a:lnTo>
                    <a:pt x="10" y="56"/>
                  </a:lnTo>
                  <a:lnTo>
                    <a:pt x="0" y="63"/>
                  </a:lnTo>
                  <a:lnTo>
                    <a:pt x="13" y="71"/>
                  </a:lnTo>
                  <a:lnTo>
                    <a:pt x="19" y="85"/>
                  </a:lnTo>
                  <a:lnTo>
                    <a:pt x="28" y="89"/>
                  </a:lnTo>
                  <a:lnTo>
                    <a:pt x="42" y="71"/>
                  </a:lnTo>
                  <a:lnTo>
                    <a:pt x="65" y="66"/>
                  </a:lnTo>
                  <a:lnTo>
                    <a:pt x="77" y="77"/>
                  </a:lnTo>
                  <a:lnTo>
                    <a:pt x="82" y="99"/>
                  </a:lnTo>
                  <a:close/>
                </a:path>
              </a:pathLst>
            </a:custGeom>
            <a:grpFill/>
            <a:ln w="6350">
              <a:solidFill>
                <a:schemeClr val="tx2"/>
              </a:solidFill>
              <a:round/>
              <a:headEnd/>
              <a:tailEnd/>
            </a:ln>
          </p:spPr>
          <p:txBody>
            <a:bodyPr/>
            <a:lstStyle/>
            <a:p>
              <a:endParaRPr lang="en-US"/>
            </a:p>
          </p:txBody>
        </p:sp>
        <p:sp>
          <p:nvSpPr>
            <p:cNvPr id="721" name="Freeform 1697"/>
            <p:cNvSpPr>
              <a:spLocks/>
            </p:cNvSpPr>
            <p:nvPr/>
          </p:nvSpPr>
          <p:spPr bwMode="auto">
            <a:xfrm>
              <a:off x="5683338" y="2294076"/>
              <a:ext cx="47031" cy="48548"/>
            </a:xfrm>
            <a:custGeom>
              <a:avLst/>
              <a:gdLst>
                <a:gd name="T0" fmla="*/ 2147483647 w 92"/>
                <a:gd name="T1" fmla="*/ 2147483647 h 98"/>
                <a:gd name="T2" fmla="*/ 2147483647 w 92"/>
                <a:gd name="T3" fmla="*/ 0 h 98"/>
                <a:gd name="T4" fmla="*/ 2147483647 w 92"/>
                <a:gd name="T5" fmla="*/ 2147483647 h 98"/>
                <a:gd name="T6" fmla="*/ 2147483647 w 92"/>
                <a:gd name="T7" fmla="*/ 2147483647 h 98"/>
                <a:gd name="T8" fmla="*/ 2147483647 w 92"/>
                <a:gd name="T9" fmla="*/ 2147483647 h 98"/>
                <a:gd name="T10" fmla="*/ 2147483647 w 92"/>
                <a:gd name="T11" fmla="*/ 2147483647 h 98"/>
                <a:gd name="T12" fmla="*/ 2147483647 w 92"/>
                <a:gd name="T13" fmla="*/ 2147483647 h 98"/>
                <a:gd name="T14" fmla="*/ 2147483647 w 92"/>
                <a:gd name="T15" fmla="*/ 2147483647 h 98"/>
                <a:gd name="T16" fmla="*/ 2147483647 w 92"/>
                <a:gd name="T17" fmla="*/ 2147483647 h 98"/>
                <a:gd name="T18" fmla="*/ 2147483647 w 92"/>
                <a:gd name="T19" fmla="*/ 2147483647 h 98"/>
                <a:gd name="T20" fmla="*/ 2147483647 w 92"/>
                <a:gd name="T21" fmla="*/ 2147483647 h 98"/>
                <a:gd name="T22" fmla="*/ 2147483647 w 92"/>
                <a:gd name="T23" fmla="*/ 2147483647 h 98"/>
                <a:gd name="T24" fmla="*/ 0 w 92"/>
                <a:gd name="T25" fmla="*/ 2147483647 h 98"/>
                <a:gd name="T26" fmla="*/ 2147483647 w 92"/>
                <a:gd name="T27" fmla="*/ 2147483647 h 98"/>
                <a:gd name="T28" fmla="*/ 2147483647 w 92"/>
                <a:gd name="T29" fmla="*/ 2147483647 h 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98"/>
                <a:gd name="T47" fmla="*/ 92 w 92"/>
                <a:gd name="T48" fmla="*/ 98 h 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98">
                  <a:moveTo>
                    <a:pt x="21" y="6"/>
                  </a:moveTo>
                  <a:lnTo>
                    <a:pt x="42" y="0"/>
                  </a:lnTo>
                  <a:lnTo>
                    <a:pt x="79" y="40"/>
                  </a:lnTo>
                  <a:lnTo>
                    <a:pt x="82" y="26"/>
                  </a:lnTo>
                  <a:lnTo>
                    <a:pt x="92" y="50"/>
                  </a:lnTo>
                  <a:lnTo>
                    <a:pt x="90" y="61"/>
                  </a:lnTo>
                  <a:lnTo>
                    <a:pt x="85" y="50"/>
                  </a:lnTo>
                  <a:lnTo>
                    <a:pt x="61" y="82"/>
                  </a:lnTo>
                  <a:lnTo>
                    <a:pt x="36" y="96"/>
                  </a:lnTo>
                  <a:lnTo>
                    <a:pt x="21" y="98"/>
                  </a:lnTo>
                  <a:lnTo>
                    <a:pt x="5" y="81"/>
                  </a:lnTo>
                  <a:lnTo>
                    <a:pt x="7" y="97"/>
                  </a:lnTo>
                  <a:lnTo>
                    <a:pt x="0" y="81"/>
                  </a:lnTo>
                  <a:lnTo>
                    <a:pt x="3" y="44"/>
                  </a:lnTo>
                  <a:lnTo>
                    <a:pt x="21" y="6"/>
                  </a:lnTo>
                  <a:close/>
                </a:path>
              </a:pathLst>
            </a:custGeom>
            <a:grpFill/>
            <a:ln w="6350">
              <a:solidFill>
                <a:schemeClr val="tx2"/>
              </a:solidFill>
              <a:round/>
              <a:headEnd/>
              <a:tailEnd/>
            </a:ln>
          </p:spPr>
          <p:txBody>
            <a:bodyPr/>
            <a:lstStyle/>
            <a:p>
              <a:endParaRPr lang="en-US"/>
            </a:p>
          </p:txBody>
        </p:sp>
        <p:sp>
          <p:nvSpPr>
            <p:cNvPr id="722" name="Freeform 1698"/>
            <p:cNvSpPr>
              <a:spLocks/>
            </p:cNvSpPr>
            <p:nvPr/>
          </p:nvSpPr>
          <p:spPr bwMode="auto">
            <a:xfrm>
              <a:off x="5756159" y="2034648"/>
              <a:ext cx="130472" cy="198743"/>
            </a:xfrm>
            <a:custGeom>
              <a:avLst/>
              <a:gdLst>
                <a:gd name="T0" fmla="*/ 2147483647 w 264"/>
                <a:gd name="T1" fmla="*/ 2147483647 h 399"/>
                <a:gd name="T2" fmla="*/ 2147483647 w 264"/>
                <a:gd name="T3" fmla="*/ 0 h 399"/>
                <a:gd name="T4" fmla="*/ 2147483647 w 264"/>
                <a:gd name="T5" fmla="*/ 2147483647 h 399"/>
                <a:gd name="T6" fmla="*/ 2147483647 w 264"/>
                <a:gd name="T7" fmla="*/ 2147483647 h 399"/>
                <a:gd name="T8" fmla="*/ 2147483647 w 264"/>
                <a:gd name="T9" fmla="*/ 2147483647 h 399"/>
                <a:gd name="T10" fmla="*/ 2147483647 w 264"/>
                <a:gd name="T11" fmla="*/ 2147483647 h 399"/>
                <a:gd name="T12" fmla="*/ 2147483647 w 264"/>
                <a:gd name="T13" fmla="*/ 2147483647 h 399"/>
                <a:gd name="T14" fmla="*/ 2147483647 w 264"/>
                <a:gd name="T15" fmla="*/ 2147483647 h 399"/>
                <a:gd name="T16" fmla="*/ 2147483647 w 264"/>
                <a:gd name="T17" fmla="*/ 2147483647 h 399"/>
                <a:gd name="T18" fmla="*/ 2147483647 w 264"/>
                <a:gd name="T19" fmla="*/ 2147483647 h 399"/>
                <a:gd name="T20" fmla="*/ 2147483647 w 264"/>
                <a:gd name="T21" fmla="*/ 2147483647 h 399"/>
                <a:gd name="T22" fmla="*/ 2147483647 w 264"/>
                <a:gd name="T23" fmla="*/ 2147483647 h 399"/>
                <a:gd name="T24" fmla="*/ 2147483647 w 264"/>
                <a:gd name="T25" fmla="*/ 2147483647 h 399"/>
                <a:gd name="T26" fmla="*/ 2147483647 w 264"/>
                <a:gd name="T27" fmla="*/ 2147483647 h 399"/>
                <a:gd name="T28" fmla="*/ 2147483647 w 264"/>
                <a:gd name="T29" fmla="*/ 2147483647 h 399"/>
                <a:gd name="T30" fmla="*/ 2147483647 w 264"/>
                <a:gd name="T31" fmla="*/ 2147483647 h 399"/>
                <a:gd name="T32" fmla="*/ 2147483647 w 264"/>
                <a:gd name="T33" fmla="*/ 2147483647 h 399"/>
                <a:gd name="T34" fmla="*/ 2147483647 w 264"/>
                <a:gd name="T35" fmla="*/ 2147483647 h 399"/>
                <a:gd name="T36" fmla="*/ 2147483647 w 264"/>
                <a:gd name="T37" fmla="*/ 2147483647 h 399"/>
                <a:gd name="T38" fmla="*/ 2147483647 w 264"/>
                <a:gd name="T39" fmla="*/ 2147483647 h 399"/>
                <a:gd name="T40" fmla="*/ 2147483647 w 264"/>
                <a:gd name="T41" fmla="*/ 2147483647 h 399"/>
                <a:gd name="T42" fmla="*/ 2147483647 w 264"/>
                <a:gd name="T43" fmla="*/ 2147483647 h 399"/>
                <a:gd name="T44" fmla="*/ 2147483647 w 264"/>
                <a:gd name="T45" fmla="*/ 2147483647 h 399"/>
                <a:gd name="T46" fmla="*/ 2147483647 w 264"/>
                <a:gd name="T47" fmla="*/ 2147483647 h 399"/>
                <a:gd name="T48" fmla="*/ 2147483647 w 264"/>
                <a:gd name="T49" fmla="*/ 2147483647 h 399"/>
                <a:gd name="T50" fmla="*/ 2147483647 w 264"/>
                <a:gd name="T51" fmla="*/ 2147483647 h 399"/>
                <a:gd name="T52" fmla="*/ 2147483647 w 264"/>
                <a:gd name="T53" fmla="*/ 2147483647 h 399"/>
                <a:gd name="T54" fmla="*/ 2147483647 w 264"/>
                <a:gd name="T55" fmla="*/ 2147483647 h 399"/>
                <a:gd name="T56" fmla="*/ 2147483647 w 264"/>
                <a:gd name="T57" fmla="*/ 2147483647 h 399"/>
                <a:gd name="T58" fmla="*/ 2147483647 w 264"/>
                <a:gd name="T59" fmla="*/ 2147483647 h 399"/>
                <a:gd name="T60" fmla="*/ 2147483647 w 264"/>
                <a:gd name="T61" fmla="*/ 2147483647 h 399"/>
                <a:gd name="T62" fmla="*/ 2147483647 w 264"/>
                <a:gd name="T63" fmla="*/ 2147483647 h 399"/>
                <a:gd name="T64" fmla="*/ 2147483647 w 264"/>
                <a:gd name="T65" fmla="*/ 2147483647 h 399"/>
                <a:gd name="T66" fmla="*/ 2147483647 w 264"/>
                <a:gd name="T67" fmla="*/ 2147483647 h 399"/>
                <a:gd name="T68" fmla="*/ 2147483647 w 264"/>
                <a:gd name="T69" fmla="*/ 2147483647 h 399"/>
                <a:gd name="T70" fmla="*/ 2147483647 w 264"/>
                <a:gd name="T71" fmla="*/ 2147483647 h 399"/>
                <a:gd name="T72" fmla="*/ 2147483647 w 264"/>
                <a:gd name="T73" fmla="*/ 2147483647 h 399"/>
                <a:gd name="T74" fmla="*/ 2147483647 w 264"/>
                <a:gd name="T75" fmla="*/ 2147483647 h 399"/>
                <a:gd name="T76" fmla="*/ 0 w 264"/>
                <a:gd name="T77" fmla="*/ 2147483647 h 399"/>
                <a:gd name="T78" fmla="*/ 2147483647 w 264"/>
                <a:gd name="T79" fmla="*/ 2147483647 h 399"/>
                <a:gd name="T80" fmla="*/ 2147483647 w 264"/>
                <a:gd name="T81" fmla="*/ 2147483647 h 399"/>
                <a:gd name="T82" fmla="*/ 2147483647 w 264"/>
                <a:gd name="T83" fmla="*/ 2147483647 h 399"/>
                <a:gd name="T84" fmla="*/ 2147483647 w 264"/>
                <a:gd name="T85" fmla="*/ 2147483647 h 399"/>
                <a:gd name="T86" fmla="*/ 2147483647 w 264"/>
                <a:gd name="T87" fmla="*/ 2147483647 h 399"/>
                <a:gd name="T88" fmla="*/ 2147483647 w 264"/>
                <a:gd name="T89" fmla="*/ 2147483647 h 399"/>
                <a:gd name="T90" fmla="*/ 2147483647 w 264"/>
                <a:gd name="T91" fmla="*/ 2147483647 h 399"/>
                <a:gd name="T92" fmla="*/ 2147483647 w 264"/>
                <a:gd name="T93" fmla="*/ 2147483647 h 399"/>
                <a:gd name="T94" fmla="*/ 2147483647 w 264"/>
                <a:gd name="T95" fmla="*/ 2147483647 h 399"/>
                <a:gd name="T96" fmla="*/ 2147483647 w 264"/>
                <a:gd name="T97" fmla="*/ 2147483647 h 399"/>
                <a:gd name="T98" fmla="*/ 2147483647 w 264"/>
                <a:gd name="T99" fmla="*/ 2147483647 h 399"/>
                <a:gd name="T100" fmla="*/ 2147483647 w 264"/>
                <a:gd name="T101" fmla="*/ 2147483647 h 399"/>
                <a:gd name="T102" fmla="*/ 2147483647 w 264"/>
                <a:gd name="T103" fmla="*/ 2147483647 h 399"/>
                <a:gd name="T104" fmla="*/ 2147483647 w 264"/>
                <a:gd name="T105" fmla="*/ 2147483647 h 399"/>
                <a:gd name="T106" fmla="*/ 2147483647 w 264"/>
                <a:gd name="T107" fmla="*/ 2147483647 h 399"/>
                <a:gd name="T108" fmla="*/ 2147483647 w 264"/>
                <a:gd name="T109" fmla="*/ 2147483647 h 399"/>
                <a:gd name="T110" fmla="*/ 2147483647 w 264"/>
                <a:gd name="T111" fmla="*/ 2147483647 h 39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4"/>
                <a:gd name="T169" fmla="*/ 0 h 399"/>
                <a:gd name="T170" fmla="*/ 264 w 264"/>
                <a:gd name="T171" fmla="*/ 399 h 39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4" h="399">
                  <a:moveTo>
                    <a:pt x="96" y="16"/>
                  </a:moveTo>
                  <a:lnTo>
                    <a:pt x="154" y="0"/>
                  </a:lnTo>
                  <a:lnTo>
                    <a:pt x="214" y="36"/>
                  </a:lnTo>
                  <a:lnTo>
                    <a:pt x="190" y="50"/>
                  </a:lnTo>
                  <a:lnTo>
                    <a:pt x="208" y="58"/>
                  </a:lnTo>
                  <a:lnTo>
                    <a:pt x="206" y="63"/>
                  </a:lnTo>
                  <a:lnTo>
                    <a:pt x="204" y="81"/>
                  </a:lnTo>
                  <a:lnTo>
                    <a:pt x="173" y="95"/>
                  </a:lnTo>
                  <a:lnTo>
                    <a:pt x="188" y="102"/>
                  </a:lnTo>
                  <a:lnTo>
                    <a:pt x="170" y="139"/>
                  </a:lnTo>
                  <a:lnTo>
                    <a:pt x="174" y="176"/>
                  </a:lnTo>
                  <a:lnTo>
                    <a:pt x="170" y="209"/>
                  </a:lnTo>
                  <a:lnTo>
                    <a:pt x="179" y="260"/>
                  </a:lnTo>
                  <a:lnTo>
                    <a:pt x="198" y="309"/>
                  </a:lnTo>
                  <a:lnTo>
                    <a:pt x="264" y="371"/>
                  </a:lnTo>
                  <a:lnTo>
                    <a:pt x="249" y="390"/>
                  </a:lnTo>
                  <a:lnTo>
                    <a:pt x="241" y="399"/>
                  </a:lnTo>
                  <a:lnTo>
                    <a:pt x="219" y="378"/>
                  </a:lnTo>
                  <a:lnTo>
                    <a:pt x="221" y="369"/>
                  </a:lnTo>
                  <a:lnTo>
                    <a:pt x="202" y="378"/>
                  </a:lnTo>
                  <a:lnTo>
                    <a:pt x="214" y="390"/>
                  </a:lnTo>
                  <a:lnTo>
                    <a:pt x="171" y="374"/>
                  </a:lnTo>
                  <a:lnTo>
                    <a:pt x="157" y="392"/>
                  </a:lnTo>
                  <a:lnTo>
                    <a:pt x="138" y="370"/>
                  </a:lnTo>
                  <a:lnTo>
                    <a:pt x="98" y="363"/>
                  </a:lnTo>
                  <a:lnTo>
                    <a:pt x="93" y="333"/>
                  </a:lnTo>
                  <a:lnTo>
                    <a:pt x="121" y="324"/>
                  </a:lnTo>
                  <a:lnTo>
                    <a:pt x="88" y="305"/>
                  </a:lnTo>
                  <a:lnTo>
                    <a:pt x="107" y="273"/>
                  </a:lnTo>
                  <a:lnTo>
                    <a:pt x="84" y="299"/>
                  </a:lnTo>
                  <a:lnTo>
                    <a:pt x="84" y="264"/>
                  </a:lnTo>
                  <a:lnTo>
                    <a:pt x="58" y="278"/>
                  </a:lnTo>
                  <a:lnTo>
                    <a:pt x="56" y="256"/>
                  </a:lnTo>
                  <a:lnTo>
                    <a:pt x="50" y="250"/>
                  </a:lnTo>
                  <a:lnTo>
                    <a:pt x="42" y="272"/>
                  </a:lnTo>
                  <a:lnTo>
                    <a:pt x="38" y="260"/>
                  </a:lnTo>
                  <a:lnTo>
                    <a:pt x="23" y="272"/>
                  </a:lnTo>
                  <a:lnTo>
                    <a:pt x="7" y="259"/>
                  </a:lnTo>
                  <a:lnTo>
                    <a:pt x="0" y="231"/>
                  </a:lnTo>
                  <a:lnTo>
                    <a:pt x="4" y="192"/>
                  </a:lnTo>
                  <a:lnTo>
                    <a:pt x="31" y="183"/>
                  </a:lnTo>
                  <a:lnTo>
                    <a:pt x="35" y="195"/>
                  </a:lnTo>
                  <a:lnTo>
                    <a:pt x="44" y="162"/>
                  </a:lnTo>
                  <a:lnTo>
                    <a:pt x="49" y="161"/>
                  </a:lnTo>
                  <a:lnTo>
                    <a:pt x="47" y="148"/>
                  </a:lnTo>
                  <a:lnTo>
                    <a:pt x="66" y="117"/>
                  </a:lnTo>
                  <a:lnTo>
                    <a:pt x="58" y="124"/>
                  </a:lnTo>
                  <a:lnTo>
                    <a:pt x="54" y="119"/>
                  </a:lnTo>
                  <a:lnTo>
                    <a:pt x="58" y="109"/>
                  </a:lnTo>
                  <a:lnTo>
                    <a:pt x="39" y="99"/>
                  </a:lnTo>
                  <a:lnTo>
                    <a:pt x="42" y="87"/>
                  </a:lnTo>
                  <a:lnTo>
                    <a:pt x="79" y="68"/>
                  </a:lnTo>
                  <a:lnTo>
                    <a:pt x="69" y="62"/>
                  </a:lnTo>
                  <a:lnTo>
                    <a:pt x="77" y="56"/>
                  </a:lnTo>
                  <a:lnTo>
                    <a:pt x="70" y="41"/>
                  </a:lnTo>
                  <a:lnTo>
                    <a:pt x="96" y="16"/>
                  </a:lnTo>
                  <a:close/>
                </a:path>
              </a:pathLst>
            </a:custGeom>
            <a:grpFill/>
            <a:ln w="6350">
              <a:solidFill>
                <a:schemeClr val="tx2"/>
              </a:solidFill>
              <a:round/>
              <a:headEnd/>
              <a:tailEnd/>
            </a:ln>
          </p:spPr>
          <p:txBody>
            <a:bodyPr/>
            <a:lstStyle/>
            <a:p>
              <a:endParaRPr lang="en-US"/>
            </a:p>
          </p:txBody>
        </p:sp>
        <p:sp>
          <p:nvSpPr>
            <p:cNvPr id="723" name="Freeform 1699"/>
            <p:cNvSpPr>
              <a:spLocks/>
            </p:cNvSpPr>
            <p:nvPr/>
          </p:nvSpPr>
          <p:spPr bwMode="auto">
            <a:xfrm>
              <a:off x="5771329" y="1731226"/>
              <a:ext cx="330731" cy="309491"/>
            </a:xfrm>
            <a:custGeom>
              <a:avLst/>
              <a:gdLst>
                <a:gd name="T0" fmla="*/ 2147483647 w 663"/>
                <a:gd name="T1" fmla="*/ 2147483647 h 624"/>
                <a:gd name="T2" fmla="*/ 2147483647 w 663"/>
                <a:gd name="T3" fmla="*/ 2147483647 h 624"/>
                <a:gd name="T4" fmla="*/ 2147483647 w 663"/>
                <a:gd name="T5" fmla="*/ 2147483647 h 624"/>
                <a:gd name="T6" fmla="*/ 2147483647 w 663"/>
                <a:gd name="T7" fmla="*/ 2147483647 h 624"/>
                <a:gd name="T8" fmla="*/ 2147483647 w 663"/>
                <a:gd name="T9" fmla="*/ 2147483647 h 624"/>
                <a:gd name="T10" fmla="*/ 2147483647 w 663"/>
                <a:gd name="T11" fmla="*/ 2147483647 h 624"/>
                <a:gd name="T12" fmla="*/ 2147483647 w 663"/>
                <a:gd name="T13" fmla="*/ 2147483647 h 624"/>
                <a:gd name="T14" fmla="*/ 2147483647 w 663"/>
                <a:gd name="T15" fmla="*/ 2147483647 h 624"/>
                <a:gd name="T16" fmla="*/ 2147483647 w 663"/>
                <a:gd name="T17" fmla="*/ 2147483647 h 624"/>
                <a:gd name="T18" fmla="*/ 2147483647 w 663"/>
                <a:gd name="T19" fmla="*/ 2147483647 h 624"/>
                <a:gd name="T20" fmla="*/ 2147483647 w 663"/>
                <a:gd name="T21" fmla="*/ 2147483647 h 624"/>
                <a:gd name="T22" fmla="*/ 2147483647 w 663"/>
                <a:gd name="T23" fmla="*/ 2147483647 h 624"/>
                <a:gd name="T24" fmla="*/ 2147483647 w 663"/>
                <a:gd name="T25" fmla="*/ 2147483647 h 624"/>
                <a:gd name="T26" fmla="*/ 2147483647 w 663"/>
                <a:gd name="T27" fmla="*/ 2147483647 h 624"/>
                <a:gd name="T28" fmla="*/ 2147483647 w 663"/>
                <a:gd name="T29" fmla="*/ 2147483647 h 624"/>
                <a:gd name="T30" fmla="*/ 2147483647 w 663"/>
                <a:gd name="T31" fmla="*/ 2147483647 h 624"/>
                <a:gd name="T32" fmla="*/ 2147483647 w 663"/>
                <a:gd name="T33" fmla="*/ 2147483647 h 624"/>
                <a:gd name="T34" fmla="*/ 2147483647 w 663"/>
                <a:gd name="T35" fmla="*/ 2147483647 h 624"/>
                <a:gd name="T36" fmla="*/ 2147483647 w 663"/>
                <a:gd name="T37" fmla="*/ 2147483647 h 624"/>
                <a:gd name="T38" fmla="*/ 2147483647 w 663"/>
                <a:gd name="T39" fmla="*/ 2147483647 h 624"/>
                <a:gd name="T40" fmla="*/ 2147483647 w 663"/>
                <a:gd name="T41" fmla="*/ 0 h 624"/>
                <a:gd name="T42" fmla="*/ 2147483647 w 663"/>
                <a:gd name="T43" fmla="*/ 2147483647 h 624"/>
                <a:gd name="T44" fmla="*/ 2147483647 w 663"/>
                <a:gd name="T45" fmla="*/ 2147483647 h 624"/>
                <a:gd name="T46" fmla="*/ 2147483647 w 663"/>
                <a:gd name="T47" fmla="*/ 2147483647 h 624"/>
                <a:gd name="T48" fmla="*/ 2147483647 w 663"/>
                <a:gd name="T49" fmla="*/ 2147483647 h 624"/>
                <a:gd name="T50" fmla="*/ 2147483647 w 663"/>
                <a:gd name="T51" fmla="*/ 2147483647 h 624"/>
                <a:gd name="T52" fmla="*/ 2147483647 w 663"/>
                <a:gd name="T53" fmla="*/ 2147483647 h 624"/>
                <a:gd name="T54" fmla="*/ 2147483647 w 663"/>
                <a:gd name="T55" fmla="*/ 2147483647 h 624"/>
                <a:gd name="T56" fmla="*/ 2147483647 w 663"/>
                <a:gd name="T57" fmla="*/ 2147483647 h 624"/>
                <a:gd name="T58" fmla="*/ 2147483647 w 663"/>
                <a:gd name="T59" fmla="*/ 2147483647 h 624"/>
                <a:gd name="T60" fmla="*/ 2147483647 w 663"/>
                <a:gd name="T61" fmla="*/ 2147483647 h 624"/>
                <a:gd name="T62" fmla="*/ 2147483647 w 663"/>
                <a:gd name="T63" fmla="*/ 2147483647 h 624"/>
                <a:gd name="T64" fmla="*/ 2147483647 w 663"/>
                <a:gd name="T65" fmla="*/ 2147483647 h 624"/>
                <a:gd name="T66" fmla="*/ 2147483647 w 663"/>
                <a:gd name="T67" fmla="*/ 2147483647 h 624"/>
                <a:gd name="T68" fmla="*/ 2147483647 w 663"/>
                <a:gd name="T69" fmla="*/ 2147483647 h 624"/>
                <a:gd name="T70" fmla="*/ 2147483647 w 663"/>
                <a:gd name="T71" fmla="*/ 2147483647 h 624"/>
                <a:gd name="T72" fmla="*/ 2147483647 w 663"/>
                <a:gd name="T73" fmla="*/ 2147483647 h 624"/>
                <a:gd name="T74" fmla="*/ 2147483647 w 663"/>
                <a:gd name="T75" fmla="*/ 2147483647 h 624"/>
                <a:gd name="T76" fmla="*/ 2147483647 w 663"/>
                <a:gd name="T77" fmla="*/ 2147483647 h 624"/>
                <a:gd name="T78" fmla="*/ 2147483647 w 663"/>
                <a:gd name="T79" fmla="*/ 2147483647 h 624"/>
                <a:gd name="T80" fmla="*/ 2147483647 w 663"/>
                <a:gd name="T81" fmla="*/ 2147483647 h 624"/>
                <a:gd name="T82" fmla="*/ 2147483647 w 663"/>
                <a:gd name="T83" fmla="*/ 2147483647 h 624"/>
                <a:gd name="T84" fmla="*/ 2147483647 w 663"/>
                <a:gd name="T85" fmla="*/ 2147483647 h 624"/>
                <a:gd name="T86" fmla="*/ 2147483647 w 663"/>
                <a:gd name="T87" fmla="*/ 2147483647 h 624"/>
                <a:gd name="T88" fmla="*/ 2147483647 w 663"/>
                <a:gd name="T89" fmla="*/ 2147483647 h 624"/>
                <a:gd name="T90" fmla="*/ 2147483647 w 663"/>
                <a:gd name="T91" fmla="*/ 2147483647 h 624"/>
                <a:gd name="T92" fmla="*/ 2147483647 w 663"/>
                <a:gd name="T93" fmla="*/ 2147483647 h 624"/>
                <a:gd name="T94" fmla="*/ 2147483647 w 663"/>
                <a:gd name="T95" fmla="*/ 2147483647 h 624"/>
                <a:gd name="T96" fmla="*/ 0 w 663"/>
                <a:gd name="T97" fmla="*/ 2147483647 h 62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3"/>
                <a:gd name="T148" fmla="*/ 0 h 624"/>
                <a:gd name="T149" fmla="*/ 663 w 663"/>
                <a:gd name="T150" fmla="*/ 624 h 62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3" h="624">
                  <a:moveTo>
                    <a:pt x="0" y="543"/>
                  </a:moveTo>
                  <a:lnTo>
                    <a:pt x="47" y="516"/>
                  </a:lnTo>
                  <a:lnTo>
                    <a:pt x="43" y="512"/>
                  </a:lnTo>
                  <a:lnTo>
                    <a:pt x="47" y="499"/>
                  </a:lnTo>
                  <a:lnTo>
                    <a:pt x="60" y="487"/>
                  </a:lnTo>
                  <a:lnTo>
                    <a:pt x="60" y="474"/>
                  </a:lnTo>
                  <a:lnTo>
                    <a:pt x="85" y="466"/>
                  </a:lnTo>
                  <a:lnTo>
                    <a:pt x="66" y="448"/>
                  </a:lnTo>
                  <a:lnTo>
                    <a:pt x="100" y="443"/>
                  </a:lnTo>
                  <a:lnTo>
                    <a:pt x="81" y="428"/>
                  </a:lnTo>
                  <a:lnTo>
                    <a:pt x="79" y="408"/>
                  </a:lnTo>
                  <a:lnTo>
                    <a:pt x="85" y="391"/>
                  </a:lnTo>
                  <a:lnTo>
                    <a:pt x="96" y="358"/>
                  </a:lnTo>
                  <a:lnTo>
                    <a:pt x="81" y="358"/>
                  </a:lnTo>
                  <a:lnTo>
                    <a:pt x="76" y="343"/>
                  </a:lnTo>
                  <a:lnTo>
                    <a:pt x="83" y="321"/>
                  </a:lnTo>
                  <a:lnTo>
                    <a:pt x="103" y="339"/>
                  </a:lnTo>
                  <a:lnTo>
                    <a:pt x="120" y="329"/>
                  </a:lnTo>
                  <a:lnTo>
                    <a:pt x="130" y="303"/>
                  </a:lnTo>
                  <a:lnTo>
                    <a:pt x="164" y="300"/>
                  </a:lnTo>
                  <a:lnTo>
                    <a:pt x="179" y="284"/>
                  </a:lnTo>
                  <a:lnTo>
                    <a:pt x="177" y="266"/>
                  </a:lnTo>
                  <a:lnTo>
                    <a:pt x="183" y="252"/>
                  </a:lnTo>
                  <a:lnTo>
                    <a:pt x="211" y="237"/>
                  </a:lnTo>
                  <a:lnTo>
                    <a:pt x="218" y="210"/>
                  </a:lnTo>
                  <a:lnTo>
                    <a:pt x="293" y="153"/>
                  </a:lnTo>
                  <a:lnTo>
                    <a:pt x="301" y="157"/>
                  </a:lnTo>
                  <a:lnTo>
                    <a:pt x="292" y="180"/>
                  </a:lnTo>
                  <a:lnTo>
                    <a:pt x="317" y="166"/>
                  </a:lnTo>
                  <a:lnTo>
                    <a:pt x="321" y="157"/>
                  </a:lnTo>
                  <a:lnTo>
                    <a:pt x="313" y="144"/>
                  </a:lnTo>
                  <a:lnTo>
                    <a:pt x="321" y="127"/>
                  </a:lnTo>
                  <a:lnTo>
                    <a:pt x="317" y="123"/>
                  </a:lnTo>
                  <a:lnTo>
                    <a:pt x="370" y="129"/>
                  </a:lnTo>
                  <a:lnTo>
                    <a:pt x="370" y="145"/>
                  </a:lnTo>
                  <a:lnTo>
                    <a:pt x="378" y="148"/>
                  </a:lnTo>
                  <a:lnTo>
                    <a:pt x="458" y="122"/>
                  </a:lnTo>
                  <a:lnTo>
                    <a:pt x="519" y="82"/>
                  </a:lnTo>
                  <a:lnTo>
                    <a:pt x="524" y="75"/>
                  </a:lnTo>
                  <a:lnTo>
                    <a:pt x="521" y="54"/>
                  </a:lnTo>
                  <a:lnTo>
                    <a:pt x="524" y="44"/>
                  </a:lnTo>
                  <a:lnTo>
                    <a:pt x="589" y="0"/>
                  </a:lnTo>
                  <a:lnTo>
                    <a:pt x="637" y="9"/>
                  </a:lnTo>
                  <a:lnTo>
                    <a:pt x="654" y="28"/>
                  </a:lnTo>
                  <a:lnTo>
                    <a:pt x="662" y="59"/>
                  </a:lnTo>
                  <a:lnTo>
                    <a:pt x="651" y="86"/>
                  </a:lnTo>
                  <a:lnTo>
                    <a:pt x="663" y="87"/>
                  </a:lnTo>
                  <a:lnTo>
                    <a:pt x="627" y="138"/>
                  </a:lnTo>
                  <a:lnTo>
                    <a:pt x="633" y="147"/>
                  </a:lnTo>
                  <a:lnTo>
                    <a:pt x="614" y="141"/>
                  </a:lnTo>
                  <a:lnTo>
                    <a:pt x="575" y="172"/>
                  </a:lnTo>
                  <a:lnTo>
                    <a:pt x="509" y="192"/>
                  </a:lnTo>
                  <a:lnTo>
                    <a:pt x="439" y="243"/>
                  </a:lnTo>
                  <a:lnTo>
                    <a:pt x="428" y="226"/>
                  </a:lnTo>
                  <a:lnTo>
                    <a:pt x="420" y="249"/>
                  </a:lnTo>
                  <a:lnTo>
                    <a:pt x="369" y="284"/>
                  </a:lnTo>
                  <a:lnTo>
                    <a:pt x="333" y="338"/>
                  </a:lnTo>
                  <a:lnTo>
                    <a:pt x="294" y="337"/>
                  </a:lnTo>
                  <a:lnTo>
                    <a:pt x="289" y="349"/>
                  </a:lnTo>
                  <a:lnTo>
                    <a:pt x="303" y="364"/>
                  </a:lnTo>
                  <a:lnTo>
                    <a:pt x="284" y="385"/>
                  </a:lnTo>
                  <a:lnTo>
                    <a:pt x="282" y="401"/>
                  </a:lnTo>
                  <a:lnTo>
                    <a:pt x="248" y="392"/>
                  </a:lnTo>
                  <a:lnTo>
                    <a:pt x="269" y="426"/>
                  </a:lnTo>
                  <a:lnTo>
                    <a:pt x="231" y="408"/>
                  </a:lnTo>
                  <a:lnTo>
                    <a:pt x="238" y="430"/>
                  </a:lnTo>
                  <a:lnTo>
                    <a:pt x="230" y="425"/>
                  </a:lnTo>
                  <a:lnTo>
                    <a:pt x="233" y="441"/>
                  </a:lnTo>
                  <a:lnTo>
                    <a:pt x="223" y="447"/>
                  </a:lnTo>
                  <a:lnTo>
                    <a:pt x="197" y="422"/>
                  </a:lnTo>
                  <a:lnTo>
                    <a:pt x="219" y="474"/>
                  </a:lnTo>
                  <a:lnTo>
                    <a:pt x="206" y="481"/>
                  </a:lnTo>
                  <a:lnTo>
                    <a:pt x="208" y="493"/>
                  </a:lnTo>
                  <a:lnTo>
                    <a:pt x="205" y="497"/>
                  </a:lnTo>
                  <a:lnTo>
                    <a:pt x="197" y="490"/>
                  </a:lnTo>
                  <a:lnTo>
                    <a:pt x="197" y="510"/>
                  </a:lnTo>
                  <a:lnTo>
                    <a:pt x="191" y="512"/>
                  </a:lnTo>
                  <a:lnTo>
                    <a:pt x="167" y="472"/>
                  </a:lnTo>
                  <a:lnTo>
                    <a:pt x="163" y="487"/>
                  </a:lnTo>
                  <a:lnTo>
                    <a:pt x="165" y="497"/>
                  </a:lnTo>
                  <a:lnTo>
                    <a:pt x="155" y="501"/>
                  </a:lnTo>
                  <a:lnTo>
                    <a:pt x="181" y="523"/>
                  </a:lnTo>
                  <a:lnTo>
                    <a:pt x="177" y="526"/>
                  </a:lnTo>
                  <a:lnTo>
                    <a:pt x="177" y="549"/>
                  </a:lnTo>
                  <a:lnTo>
                    <a:pt x="152" y="542"/>
                  </a:lnTo>
                  <a:lnTo>
                    <a:pt x="165" y="567"/>
                  </a:lnTo>
                  <a:lnTo>
                    <a:pt x="157" y="579"/>
                  </a:lnTo>
                  <a:lnTo>
                    <a:pt x="136" y="561"/>
                  </a:lnTo>
                  <a:lnTo>
                    <a:pt x="151" y="595"/>
                  </a:lnTo>
                  <a:lnTo>
                    <a:pt x="130" y="624"/>
                  </a:lnTo>
                  <a:lnTo>
                    <a:pt x="64" y="596"/>
                  </a:lnTo>
                  <a:lnTo>
                    <a:pt x="19" y="609"/>
                  </a:lnTo>
                  <a:lnTo>
                    <a:pt x="31" y="594"/>
                  </a:lnTo>
                  <a:lnTo>
                    <a:pt x="26" y="593"/>
                  </a:lnTo>
                  <a:lnTo>
                    <a:pt x="30" y="578"/>
                  </a:lnTo>
                  <a:lnTo>
                    <a:pt x="60" y="557"/>
                  </a:lnTo>
                  <a:lnTo>
                    <a:pt x="15" y="568"/>
                  </a:lnTo>
                  <a:lnTo>
                    <a:pt x="0" y="543"/>
                  </a:lnTo>
                  <a:close/>
                </a:path>
              </a:pathLst>
            </a:custGeom>
            <a:grpFill/>
            <a:ln w="6350">
              <a:solidFill>
                <a:schemeClr val="tx2"/>
              </a:solidFill>
              <a:round/>
              <a:headEnd/>
              <a:tailEnd/>
            </a:ln>
          </p:spPr>
          <p:txBody>
            <a:bodyPr/>
            <a:lstStyle/>
            <a:p>
              <a:endParaRPr lang="en-US"/>
            </a:p>
          </p:txBody>
        </p:sp>
        <p:sp>
          <p:nvSpPr>
            <p:cNvPr id="724" name="Freeform 1700"/>
            <p:cNvSpPr>
              <a:spLocks/>
            </p:cNvSpPr>
            <p:nvPr/>
          </p:nvSpPr>
          <p:spPr bwMode="auto">
            <a:xfrm>
              <a:off x="5742505" y="2175740"/>
              <a:ext cx="19722" cy="25791"/>
            </a:xfrm>
            <a:custGeom>
              <a:avLst/>
              <a:gdLst>
                <a:gd name="T0" fmla="*/ 0 w 39"/>
                <a:gd name="T1" fmla="*/ 2147483647 h 53"/>
                <a:gd name="T2" fmla="*/ 2147483647 w 39"/>
                <a:gd name="T3" fmla="*/ 0 h 53"/>
                <a:gd name="T4" fmla="*/ 2147483647 w 39"/>
                <a:gd name="T5" fmla="*/ 2147483647 h 53"/>
                <a:gd name="T6" fmla="*/ 2147483647 w 39"/>
                <a:gd name="T7" fmla="*/ 2147483647 h 53"/>
                <a:gd name="T8" fmla="*/ 2147483647 w 39"/>
                <a:gd name="T9" fmla="*/ 2147483647 h 53"/>
                <a:gd name="T10" fmla="*/ 0 w 39"/>
                <a:gd name="T11" fmla="*/ 2147483647 h 53"/>
                <a:gd name="T12" fmla="*/ 0 60000 65536"/>
                <a:gd name="T13" fmla="*/ 0 60000 65536"/>
                <a:gd name="T14" fmla="*/ 0 60000 65536"/>
                <a:gd name="T15" fmla="*/ 0 60000 65536"/>
                <a:gd name="T16" fmla="*/ 0 60000 65536"/>
                <a:gd name="T17" fmla="*/ 0 60000 65536"/>
                <a:gd name="T18" fmla="*/ 0 w 39"/>
                <a:gd name="T19" fmla="*/ 0 h 53"/>
                <a:gd name="T20" fmla="*/ 39 w 39"/>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39" h="53">
                  <a:moveTo>
                    <a:pt x="0" y="1"/>
                  </a:moveTo>
                  <a:lnTo>
                    <a:pt x="29" y="0"/>
                  </a:lnTo>
                  <a:lnTo>
                    <a:pt x="38" y="15"/>
                  </a:lnTo>
                  <a:lnTo>
                    <a:pt x="39" y="53"/>
                  </a:lnTo>
                  <a:lnTo>
                    <a:pt x="20" y="13"/>
                  </a:lnTo>
                  <a:lnTo>
                    <a:pt x="0" y="1"/>
                  </a:lnTo>
                  <a:close/>
                </a:path>
              </a:pathLst>
            </a:custGeom>
            <a:grpFill/>
            <a:ln w="6350">
              <a:solidFill>
                <a:schemeClr val="tx2"/>
              </a:solidFill>
              <a:round/>
              <a:headEnd/>
              <a:tailEnd/>
            </a:ln>
          </p:spPr>
          <p:txBody>
            <a:bodyPr/>
            <a:lstStyle/>
            <a:p>
              <a:endParaRPr lang="en-US"/>
            </a:p>
          </p:txBody>
        </p:sp>
        <p:sp>
          <p:nvSpPr>
            <p:cNvPr id="725" name="Freeform 1701"/>
            <p:cNvSpPr>
              <a:spLocks/>
            </p:cNvSpPr>
            <p:nvPr/>
          </p:nvSpPr>
          <p:spPr bwMode="auto">
            <a:xfrm>
              <a:off x="5876011" y="2231874"/>
              <a:ext cx="42479" cy="48548"/>
            </a:xfrm>
            <a:custGeom>
              <a:avLst/>
              <a:gdLst>
                <a:gd name="T0" fmla="*/ 2147483647 w 89"/>
                <a:gd name="T1" fmla="*/ 2147483647 h 97"/>
                <a:gd name="T2" fmla="*/ 0 w 89"/>
                <a:gd name="T3" fmla="*/ 2147483647 h 97"/>
                <a:gd name="T4" fmla="*/ 2147483647 w 89"/>
                <a:gd name="T5" fmla="*/ 2147483647 h 97"/>
                <a:gd name="T6" fmla="*/ 2147483647 w 89"/>
                <a:gd name="T7" fmla="*/ 2147483647 h 97"/>
                <a:gd name="T8" fmla="*/ 2147483647 w 89"/>
                <a:gd name="T9" fmla="*/ 0 h 97"/>
                <a:gd name="T10" fmla="*/ 2147483647 w 89"/>
                <a:gd name="T11" fmla="*/ 2147483647 h 97"/>
                <a:gd name="T12" fmla="*/ 2147483647 w 89"/>
                <a:gd name="T13" fmla="*/ 2147483647 h 97"/>
                <a:gd name="T14" fmla="*/ 2147483647 w 89"/>
                <a:gd name="T15" fmla="*/ 2147483647 h 97"/>
                <a:gd name="T16" fmla="*/ 2147483647 w 89"/>
                <a:gd name="T17" fmla="*/ 2147483647 h 97"/>
                <a:gd name="T18" fmla="*/ 2147483647 w 89"/>
                <a:gd name="T19" fmla="*/ 2147483647 h 97"/>
                <a:gd name="T20" fmla="*/ 2147483647 w 89"/>
                <a:gd name="T21" fmla="*/ 2147483647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9"/>
                <a:gd name="T34" fmla="*/ 0 h 97"/>
                <a:gd name="T35" fmla="*/ 89 w 89"/>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9" h="97">
                  <a:moveTo>
                    <a:pt x="12" y="59"/>
                  </a:moveTo>
                  <a:lnTo>
                    <a:pt x="0" y="29"/>
                  </a:lnTo>
                  <a:lnTo>
                    <a:pt x="15" y="30"/>
                  </a:lnTo>
                  <a:lnTo>
                    <a:pt x="5" y="20"/>
                  </a:lnTo>
                  <a:lnTo>
                    <a:pt x="21" y="0"/>
                  </a:lnTo>
                  <a:lnTo>
                    <a:pt x="89" y="86"/>
                  </a:lnTo>
                  <a:lnTo>
                    <a:pt x="82" y="97"/>
                  </a:lnTo>
                  <a:lnTo>
                    <a:pt x="59" y="96"/>
                  </a:lnTo>
                  <a:lnTo>
                    <a:pt x="20" y="65"/>
                  </a:lnTo>
                  <a:lnTo>
                    <a:pt x="29" y="89"/>
                  </a:lnTo>
                  <a:lnTo>
                    <a:pt x="12" y="59"/>
                  </a:lnTo>
                  <a:close/>
                </a:path>
              </a:pathLst>
            </a:custGeom>
            <a:grpFill/>
            <a:ln w="6350">
              <a:solidFill>
                <a:schemeClr val="tx2"/>
              </a:solidFill>
              <a:round/>
              <a:headEnd/>
              <a:tailEnd/>
            </a:ln>
          </p:spPr>
          <p:txBody>
            <a:bodyPr/>
            <a:lstStyle/>
            <a:p>
              <a:endParaRPr lang="en-US"/>
            </a:p>
          </p:txBody>
        </p:sp>
        <p:sp>
          <p:nvSpPr>
            <p:cNvPr id="726" name="Freeform 1702"/>
            <p:cNvSpPr>
              <a:spLocks/>
            </p:cNvSpPr>
            <p:nvPr/>
          </p:nvSpPr>
          <p:spPr bwMode="auto">
            <a:xfrm>
              <a:off x="6124817" y="2024029"/>
              <a:ext cx="30342" cy="31859"/>
            </a:xfrm>
            <a:custGeom>
              <a:avLst/>
              <a:gdLst>
                <a:gd name="T0" fmla="*/ 2147483647 w 62"/>
                <a:gd name="T1" fmla="*/ 2147483647 h 63"/>
                <a:gd name="T2" fmla="*/ 0 w 62"/>
                <a:gd name="T3" fmla="*/ 2147483647 h 63"/>
                <a:gd name="T4" fmla="*/ 2147483647 w 62"/>
                <a:gd name="T5" fmla="*/ 2147483647 h 63"/>
                <a:gd name="T6" fmla="*/ 2147483647 w 62"/>
                <a:gd name="T7" fmla="*/ 2147483647 h 63"/>
                <a:gd name="T8" fmla="*/ 2147483647 w 62"/>
                <a:gd name="T9" fmla="*/ 0 h 63"/>
                <a:gd name="T10" fmla="*/ 2147483647 w 62"/>
                <a:gd name="T11" fmla="*/ 2147483647 h 63"/>
                <a:gd name="T12" fmla="*/ 2147483647 w 62"/>
                <a:gd name="T13" fmla="*/ 2147483647 h 63"/>
                <a:gd name="T14" fmla="*/ 2147483647 w 62"/>
                <a:gd name="T15" fmla="*/ 2147483647 h 63"/>
                <a:gd name="T16" fmla="*/ 2147483647 w 62"/>
                <a:gd name="T17" fmla="*/ 2147483647 h 63"/>
                <a:gd name="T18" fmla="*/ 2147483647 w 62"/>
                <a:gd name="T19" fmla="*/ 2147483647 h 63"/>
                <a:gd name="T20" fmla="*/ 2147483647 w 62"/>
                <a:gd name="T21" fmla="*/ 2147483647 h 63"/>
                <a:gd name="T22" fmla="*/ 2147483647 w 62"/>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63"/>
                <a:gd name="T38" fmla="*/ 62 w 62"/>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63">
                  <a:moveTo>
                    <a:pt x="4" y="63"/>
                  </a:moveTo>
                  <a:lnTo>
                    <a:pt x="0" y="62"/>
                  </a:lnTo>
                  <a:lnTo>
                    <a:pt x="5" y="46"/>
                  </a:lnTo>
                  <a:lnTo>
                    <a:pt x="4" y="24"/>
                  </a:lnTo>
                  <a:lnTo>
                    <a:pt x="15" y="0"/>
                  </a:lnTo>
                  <a:lnTo>
                    <a:pt x="41" y="1"/>
                  </a:lnTo>
                  <a:lnTo>
                    <a:pt x="46" y="10"/>
                  </a:lnTo>
                  <a:lnTo>
                    <a:pt x="40" y="29"/>
                  </a:lnTo>
                  <a:lnTo>
                    <a:pt x="62" y="40"/>
                  </a:lnTo>
                  <a:lnTo>
                    <a:pt x="17" y="59"/>
                  </a:lnTo>
                  <a:lnTo>
                    <a:pt x="14" y="47"/>
                  </a:lnTo>
                  <a:lnTo>
                    <a:pt x="4" y="63"/>
                  </a:lnTo>
                  <a:close/>
                </a:path>
              </a:pathLst>
            </a:custGeom>
            <a:grpFill/>
            <a:ln w="6350">
              <a:solidFill>
                <a:schemeClr val="tx2"/>
              </a:solidFill>
              <a:round/>
              <a:headEnd/>
              <a:tailEnd/>
            </a:ln>
          </p:spPr>
          <p:txBody>
            <a:bodyPr/>
            <a:lstStyle/>
            <a:p>
              <a:endParaRPr lang="en-US"/>
            </a:p>
          </p:txBody>
        </p:sp>
        <p:sp>
          <p:nvSpPr>
            <p:cNvPr id="727" name="Freeform 1721"/>
            <p:cNvSpPr>
              <a:spLocks/>
            </p:cNvSpPr>
            <p:nvPr/>
          </p:nvSpPr>
          <p:spPr bwMode="auto">
            <a:xfrm>
              <a:off x="5176621" y="3462253"/>
              <a:ext cx="16689" cy="10619"/>
            </a:xfrm>
            <a:custGeom>
              <a:avLst/>
              <a:gdLst>
                <a:gd name="T0" fmla="*/ 2147483647 w 33"/>
                <a:gd name="T1" fmla="*/ 2147483647 h 21"/>
                <a:gd name="T2" fmla="*/ 2147483647 w 33"/>
                <a:gd name="T3" fmla="*/ 2147483647 h 21"/>
                <a:gd name="T4" fmla="*/ 2147483647 w 33"/>
                <a:gd name="T5" fmla="*/ 0 h 21"/>
                <a:gd name="T6" fmla="*/ 2147483647 w 33"/>
                <a:gd name="T7" fmla="*/ 2147483647 h 21"/>
                <a:gd name="T8" fmla="*/ 0 w 33"/>
                <a:gd name="T9" fmla="*/ 2147483647 h 21"/>
                <a:gd name="T10" fmla="*/ 2147483647 w 33"/>
                <a:gd name="T11" fmla="*/ 2147483647 h 21"/>
                <a:gd name="T12" fmla="*/ 2147483647 w 33"/>
                <a:gd name="T13" fmla="*/ 2147483647 h 21"/>
                <a:gd name="T14" fmla="*/ 2147483647 w 33"/>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21"/>
                <a:gd name="T26" fmla="*/ 33 w 33"/>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21">
                  <a:moveTo>
                    <a:pt x="28" y="20"/>
                  </a:moveTo>
                  <a:lnTo>
                    <a:pt x="33" y="21"/>
                  </a:lnTo>
                  <a:lnTo>
                    <a:pt x="21" y="0"/>
                  </a:lnTo>
                  <a:lnTo>
                    <a:pt x="2" y="9"/>
                  </a:lnTo>
                  <a:lnTo>
                    <a:pt x="0" y="16"/>
                  </a:lnTo>
                  <a:lnTo>
                    <a:pt x="16" y="13"/>
                  </a:lnTo>
                  <a:lnTo>
                    <a:pt x="12" y="21"/>
                  </a:lnTo>
                  <a:lnTo>
                    <a:pt x="28" y="20"/>
                  </a:lnTo>
                  <a:close/>
                </a:path>
              </a:pathLst>
            </a:custGeom>
            <a:grpFill/>
            <a:ln w="6350">
              <a:solidFill>
                <a:schemeClr val="tx2"/>
              </a:solidFill>
              <a:round/>
              <a:headEnd/>
              <a:tailEnd/>
            </a:ln>
          </p:spPr>
          <p:txBody>
            <a:bodyPr/>
            <a:lstStyle/>
            <a:p>
              <a:endParaRPr lang="en-US"/>
            </a:p>
          </p:txBody>
        </p:sp>
        <p:sp>
          <p:nvSpPr>
            <p:cNvPr id="728" name="Freeform 1725"/>
            <p:cNvSpPr>
              <a:spLocks/>
            </p:cNvSpPr>
            <p:nvPr/>
          </p:nvSpPr>
          <p:spPr bwMode="auto">
            <a:xfrm>
              <a:off x="5147796" y="3424324"/>
              <a:ext cx="6069" cy="4551"/>
            </a:xfrm>
            <a:custGeom>
              <a:avLst/>
              <a:gdLst>
                <a:gd name="T0" fmla="*/ 2147483647 w 12"/>
                <a:gd name="T1" fmla="*/ 2147483647 h 10"/>
                <a:gd name="T2" fmla="*/ 2147483647 w 12"/>
                <a:gd name="T3" fmla="*/ 2147483647 h 10"/>
                <a:gd name="T4" fmla="*/ 2147483647 w 12"/>
                <a:gd name="T5" fmla="*/ 0 h 10"/>
                <a:gd name="T6" fmla="*/ 0 w 12"/>
                <a:gd name="T7" fmla="*/ 2147483647 h 10"/>
                <a:gd name="T8" fmla="*/ 2147483647 w 12"/>
                <a:gd name="T9" fmla="*/ 2147483647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8" y="10"/>
                  </a:moveTo>
                  <a:lnTo>
                    <a:pt x="12" y="8"/>
                  </a:lnTo>
                  <a:lnTo>
                    <a:pt x="10" y="0"/>
                  </a:lnTo>
                  <a:lnTo>
                    <a:pt x="0" y="6"/>
                  </a:lnTo>
                  <a:lnTo>
                    <a:pt x="8" y="10"/>
                  </a:lnTo>
                  <a:close/>
                </a:path>
              </a:pathLst>
            </a:custGeom>
            <a:grpFill/>
            <a:ln w="6350">
              <a:solidFill>
                <a:schemeClr val="tx2"/>
              </a:solidFill>
              <a:round/>
              <a:headEnd/>
              <a:tailEnd/>
            </a:ln>
          </p:spPr>
          <p:txBody>
            <a:bodyPr/>
            <a:lstStyle/>
            <a:p>
              <a:endParaRPr lang="en-US"/>
            </a:p>
          </p:txBody>
        </p:sp>
        <p:sp>
          <p:nvSpPr>
            <p:cNvPr id="729" name="Freeform 1726"/>
            <p:cNvSpPr>
              <a:spLocks/>
            </p:cNvSpPr>
            <p:nvPr/>
          </p:nvSpPr>
          <p:spPr bwMode="auto">
            <a:xfrm>
              <a:off x="5159934" y="3447081"/>
              <a:ext cx="6069" cy="6069"/>
            </a:xfrm>
            <a:custGeom>
              <a:avLst/>
              <a:gdLst>
                <a:gd name="T0" fmla="*/ 2147483647 w 16"/>
                <a:gd name="T1" fmla="*/ 2147483647 h 10"/>
                <a:gd name="T2" fmla="*/ 2147483647 w 16"/>
                <a:gd name="T3" fmla="*/ 0 h 10"/>
                <a:gd name="T4" fmla="*/ 2147483647 w 16"/>
                <a:gd name="T5" fmla="*/ 2147483647 h 10"/>
                <a:gd name="T6" fmla="*/ 0 w 16"/>
                <a:gd name="T7" fmla="*/ 2147483647 h 10"/>
                <a:gd name="T8" fmla="*/ 2147483647 w 16"/>
                <a:gd name="T9" fmla="*/ 2147483647 h 10"/>
                <a:gd name="T10" fmla="*/ 2147483647 w 16"/>
                <a:gd name="T11" fmla="*/ 2147483647 h 10"/>
                <a:gd name="T12" fmla="*/ 0 60000 65536"/>
                <a:gd name="T13" fmla="*/ 0 60000 65536"/>
                <a:gd name="T14" fmla="*/ 0 60000 65536"/>
                <a:gd name="T15" fmla="*/ 0 60000 65536"/>
                <a:gd name="T16" fmla="*/ 0 60000 65536"/>
                <a:gd name="T17" fmla="*/ 0 60000 65536"/>
                <a:gd name="T18" fmla="*/ 0 w 16"/>
                <a:gd name="T19" fmla="*/ 0 h 10"/>
                <a:gd name="T20" fmla="*/ 16 w 1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6" h="10">
                  <a:moveTo>
                    <a:pt x="16" y="3"/>
                  </a:moveTo>
                  <a:lnTo>
                    <a:pt x="14" y="0"/>
                  </a:lnTo>
                  <a:lnTo>
                    <a:pt x="2" y="1"/>
                  </a:lnTo>
                  <a:lnTo>
                    <a:pt x="0" y="8"/>
                  </a:lnTo>
                  <a:lnTo>
                    <a:pt x="11" y="10"/>
                  </a:lnTo>
                  <a:lnTo>
                    <a:pt x="16" y="3"/>
                  </a:lnTo>
                  <a:close/>
                </a:path>
              </a:pathLst>
            </a:custGeom>
            <a:grpFill/>
            <a:ln w="6350">
              <a:solidFill>
                <a:schemeClr val="tx2"/>
              </a:solidFill>
              <a:round/>
              <a:headEnd/>
              <a:tailEnd/>
            </a:ln>
          </p:spPr>
          <p:txBody>
            <a:bodyPr/>
            <a:lstStyle/>
            <a:p>
              <a:endParaRPr lang="en-US"/>
            </a:p>
          </p:txBody>
        </p:sp>
        <p:sp>
          <p:nvSpPr>
            <p:cNvPr id="730" name="Freeform 1733"/>
            <p:cNvSpPr>
              <a:spLocks/>
            </p:cNvSpPr>
            <p:nvPr/>
          </p:nvSpPr>
          <p:spPr bwMode="auto">
            <a:xfrm>
              <a:off x="5044633" y="3454667"/>
              <a:ext cx="6069" cy="9103"/>
            </a:xfrm>
            <a:custGeom>
              <a:avLst/>
              <a:gdLst>
                <a:gd name="T0" fmla="*/ 2147483647 w 17"/>
                <a:gd name="T1" fmla="*/ 2147483647 h 20"/>
                <a:gd name="T2" fmla="*/ 2147483647 w 17"/>
                <a:gd name="T3" fmla="*/ 2147483647 h 20"/>
                <a:gd name="T4" fmla="*/ 0 w 17"/>
                <a:gd name="T5" fmla="*/ 0 h 20"/>
                <a:gd name="T6" fmla="*/ 2147483647 w 17"/>
                <a:gd name="T7" fmla="*/ 2147483647 h 20"/>
                <a:gd name="T8" fmla="*/ 2147483647 w 17"/>
                <a:gd name="T9" fmla="*/ 2147483647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lnTo>
                    <a:pt x="10" y="2"/>
                  </a:lnTo>
                  <a:lnTo>
                    <a:pt x="0" y="0"/>
                  </a:lnTo>
                  <a:lnTo>
                    <a:pt x="7" y="15"/>
                  </a:lnTo>
                  <a:lnTo>
                    <a:pt x="17" y="20"/>
                  </a:lnTo>
                  <a:close/>
                </a:path>
              </a:pathLst>
            </a:custGeom>
            <a:grpFill/>
            <a:ln w="6350">
              <a:solidFill>
                <a:schemeClr val="tx2"/>
              </a:solidFill>
              <a:round/>
              <a:headEnd/>
              <a:tailEnd/>
            </a:ln>
          </p:spPr>
          <p:txBody>
            <a:bodyPr/>
            <a:lstStyle/>
            <a:p>
              <a:endParaRPr lang="en-US"/>
            </a:p>
          </p:txBody>
        </p:sp>
        <p:sp>
          <p:nvSpPr>
            <p:cNvPr id="731" name="Freeform 1734"/>
            <p:cNvSpPr>
              <a:spLocks/>
            </p:cNvSpPr>
            <p:nvPr/>
          </p:nvSpPr>
          <p:spPr bwMode="auto">
            <a:xfrm>
              <a:off x="4929333" y="3295370"/>
              <a:ext cx="9103" cy="7585"/>
            </a:xfrm>
            <a:custGeom>
              <a:avLst/>
              <a:gdLst>
                <a:gd name="T0" fmla="*/ 2147483647 w 13"/>
                <a:gd name="T1" fmla="*/ 0 h 15"/>
                <a:gd name="T2" fmla="*/ 2147483647 w 13"/>
                <a:gd name="T3" fmla="*/ 2147483647 h 15"/>
                <a:gd name="T4" fmla="*/ 0 w 13"/>
                <a:gd name="T5" fmla="*/ 2147483647 h 15"/>
                <a:gd name="T6" fmla="*/ 2147483647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4" y="0"/>
                  </a:moveTo>
                  <a:lnTo>
                    <a:pt x="13" y="15"/>
                  </a:lnTo>
                  <a:lnTo>
                    <a:pt x="0" y="10"/>
                  </a:lnTo>
                  <a:lnTo>
                    <a:pt x="4" y="0"/>
                  </a:lnTo>
                  <a:close/>
                </a:path>
              </a:pathLst>
            </a:custGeom>
            <a:grpFill/>
            <a:ln w="6350">
              <a:solidFill>
                <a:schemeClr val="tx2"/>
              </a:solidFill>
              <a:round/>
              <a:headEnd/>
              <a:tailEnd/>
            </a:ln>
          </p:spPr>
          <p:txBody>
            <a:bodyPr/>
            <a:lstStyle/>
            <a:p>
              <a:endParaRPr lang="en-US"/>
            </a:p>
          </p:txBody>
        </p:sp>
        <p:sp>
          <p:nvSpPr>
            <p:cNvPr id="732" name="Freeform 1735"/>
            <p:cNvSpPr>
              <a:spLocks/>
            </p:cNvSpPr>
            <p:nvPr/>
          </p:nvSpPr>
          <p:spPr bwMode="auto">
            <a:xfrm>
              <a:off x="4927815" y="3298404"/>
              <a:ext cx="4551" cy="13653"/>
            </a:xfrm>
            <a:custGeom>
              <a:avLst/>
              <a:gdLst>
                <a:gd name="T0" fmla="*/ 2147483647 w 7"/>
                <a:gd name="T1" fmla="*/ 0 h 28"/>
                <a:gd name="T2" fmla="*/ 2147483647 w 7"/>
                <a:gd name="T3" fmla="*/ 2147483647 h 28"/>
                <a:gd name="T4" fmla="*/ 0 w 7"/>
                <a:gd name="T5" fmla="*/ 2147483647 h 28"/>
                <a:gd name="T6" fmla="*/ 2147483647 w 7"/>
                <a:gd name="T7" fmla="*/ 0 h 28"/>
                <a:gd name="T8" fmla="*/ 0 60000 65536"/>
                <a:gd name="T9" fmla="*/ 0 60000 65536"/>
                <a:gd name="T10" fmla="*/ 0 60000 65536"/>
                <a:gd name="T11" fmla="*/ 0 60000 65536"/>
                <a:gd name="T12" fmla="*/ 0 w 7"/>
                <a:gd name="T13" fmla="*/ 0 h 28"/>
                <a:gd name="T14" fmla="*/ 7 w 7"/>
                <a:gd name="T15" fmla="*/ 28 h 28"/>
              </a:gdLst>
              <a:ahLst/>
              <a:cxnLst>
                <a:cxn ang="T8">
                  <a:pos x="T0" y="T1"/>
                </a:cxn>
                <a:cxn ang="T9">
                  <a:pos x="T2" y="T3"/>
                </a:cxn>
                <a:cxn ang="T10">
                  <a:pos x="T4" y="T5"/>
                </a:cxn>
                <a:cxn ang="T11">
                  <a:pos x="T6" y="T7"/>
                </a:cxn>
              </a:cxnLst>
              <a:rect l="T12" t="T13" r="T14" b="T15"/>
              <a:pathLst>
                <a:path w="7" h="28">
                  <a:moveTo>
                    <a:pt x="1" y="0"/>
                  </a:moveTo>
                  <a:lnTo>
                    <a:pt x="7" y="28"/>
                  </a:lnTo>
                  <a:lnTo>
                    <a:pt x="0" y="16"/>
                  </a:lnTo>
                  <a:lnTo>
                    <a:pt x="1" y="0"/>
                  </a:lnTo>
                  <a:close/>
                </a:path>
              </a:pathLst>
            </a:custGeom>
            <a:grpFill/>
            <a:ln w="6350">
              <a:solidFill>
                <a:schemeClr val="tx2"/>
              </a:solidFill>
              <a:round/>
              <a:headEnd/>
              <a:tailEnd/>
            </a:ln>
          </p:spPr>
          <p:txBody>
            <a:bodyPr/>
            <a:lstStyle/>
            <a:p>
              <a:endParaRPr lang="en-US"/>
            </a:p>
          </p:txBody>
        </p:sp>
        <p:sp>
          <p:nvSpPr>
            <p:cNvPr id="733" name="Freeform 1736"/>
            <p:cNvSpPr>
              <a:spLocks/>
            </p:cNvSpPr>
            <p:nvPr/>
          </p:nvSpPr>
          <p:spPr bwMode="auto">
            <a:xfrm>
              <a:off x="4973328" y="3348468"/>
              <a:ext cx="10620" cy="4551"/>
            </a:xfrm>
            <a:custGeom>
              <a:avLst/>
              <a:gdLst>
                <a:gd name="T0" fmla="*/ 0 w 19"/>
                <a:gd name="T1" fmla="*/ 0 h 8"/>
                <a:gd name="T2" fmla="*/ 2147483647 w 19"/>
                <a:gd name="T3" fmla="*/ 2147483647 h 8"/>
                <a:gd name="T4" fmla="*/ 2147483647 w 19"/>
                <a:gd name="T5" fmla="*/ 2147483647 h 8"/>
                <a:gd name="T6" fmla="*/ 2147483647 w 19"/>
                <a:gd name="T7" fmla="*/ 2147483647 h 8"/>
                <a:gd name="T8" fmla="*/ 0 w 19"/>
                <a:gd name="T9" fmla="*/ 0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0"/>
                  </a:moveTo>
                  <a:lnTo>
                    <a:pt x="19" y="5"/>
                  </a:lnTo>
                  <a:lnTo>
                    <a:pt x="18" y="8"/>
                  </a:lnTo>
                  <a:lnTo>
                    <a:pt x="2" y="6"/>
                  </a:lnTo>
                  <a:lnTo>
                    <a:pt x="0" y="0"/>
                  </a:lnTo>
                  <a:close/>
                </a:path>
              </a:pathLst>
            </a:custGeom>
            <a:grpFill/>
            <a:ln w="6350">
              <a:solidFill>
                <a:schemeClr val="tx2"/>
              </a:solidFill>
              <a:round/>
              <a:headEnd/>
              <a:tailEnd/>
            </a:ln>
          </p:spPr>
          <p:txBody>
            <a:bodyPr/>
            <a:lstStyle/>
            <a:p>
              <a:endParaRPr lang="en-US"/>
            </a:p>
          </p:txBody>
        </p:sp>
        <p:sp>
          <p:nvSpPr>
            <p:cNvPr id="734" name="Freeform 1738"/>
            <p:cNvSpPr>
              <a:spLocks/>
            </p:cNvSpPr>
            <p:nvPr/>
          </p:nvSpPr>
          <p:spPr bwMode="auto">
            <a:xfrm>
              <a:off x="4798861" y="3410670"/>
              <a:ext cx="31859" cy="66753"/>
            </a:xfrm>
            <a:custGeom>
              <a:avLst/>
              <a:gdLst>
                <a:gd name="T0" fmla="*/ 2147483647 w 63"/>
                <a:gd name="T1" fmla="*/ 0 h 136"/>
                <a:gd name="T2" fmla="*/ 2147483647 w 63"/>
                <a:gd name="T3" fmla="*/ 2147483647 h 136"/>
                <a:gd name="T4" fmla="*/ 2147483647 w 63"/>
                <a:gd name="T5" fmla="*/ 2147483647 h 136"/>
                <a:gd name="T6" fmla="*/ 2147483647 w 63"/>
                <a:gd name="T7" fmla="*/ 2147483647 h 136"/>
                <a:gd name="T8" fmla="*/ 2147483647 w 63"/>
                <a:gd name="T9" fmla="*/ 2147483647 h 136"/>
                <a:gd name="T10" fmla="*/ 2147483647 w 63"/>
                <a:gd name="T11" fmla="*/ 2147483647 h 136"/>
                <a:gd name="T12" fmla="*/ 2147483647 w 63"/>
                <a:gd name="T13" fmla="*/ 2147483647 h 136"/>
                <a:gd name="T14" fmla="*/ 2147483647 w 63"/>
                <a:gd name="T15" fmla="*/ 2147483647 h 136"/>
                <a:gd name="T16" fmla="*/ 2147483647 w 63"/>
                <a:gd name="T17" fmla="*/ 2147483647 h 136"/>
                <a:gd name="T18" fmla="*/ 2147483647 w 63"/>
                <a:gd name="T19" fmla="*/ 2147483647 h 136"/>
                <a:gd name="T20" fmla="*/ 2147483647 w 63"/>
                <a:gd name="T21" fmla="*/ 2147483647 h 136"/>
                <a:gd name="T22" fmla="*/ 2147483647 w 63"/>
                <a:gd name="T23" fmla="*/ 2147483647 h 136"/>
                <a:gd name="T24" fmla="*/ 0 w 63"/>
                <a:gd name="T25" fmla="*/ 2147483647 h 136"/>
                <a:gd name="T26" fmla="*/ 0 w 63"/>
                <a:gd name="T27" fmla="*/ 2147483647 h 136"/>
                <a:gd name="T28" fmla="*/ 2147483647 w 63"/>
                <a:gd name="T29" fmla="*/ 2147483647 h 136"/>
                <a:gd name="T30" fmla="*/ 2147483647 w 63"/>
                <a:gd name="T31" fmla="*/ 0 h 1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136"/>
                <a:gd name="T50" fmla="*/ 63 w 63"/>
                <a:gd name="T51" fmla="*/ 136 h 1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136">
                  <a:moveTo>
                    <a:pt x="40" y="0"/>
                  </a:moveTo>
                  <a:lnTo>
                    <a:pt x="54" y="9"/>
                  </a:lnTo>
                  <a:lnTo>
                    <a:pt x="63" y="34"/>
                  </a:lnTo>
                  <a:lnTo>
                    <a:pt x="62" y="109"/>
                  </a:lnTo>
                  <a:lnTo>
                    <a:pt x="55" y="121"/>
                  </a:lnTo>
                  <a:lnTo>
                    <a:pt x="45" y="118"/>
                  </a:lnTo>
                  <a:lnTo>
                    <a:pt x="37" y="130"/>
                  </a:lnTo>
                  <a:lnTo>
                    <a:pt x="25" y="136"/>
                  </a:lnTo>
                  <a:lnTo>
                    <a:pt x="10" y="114"/>
                  </a:lnTo>
                  <a:lnTo>
                    <a:pt x="8" y="103"/>
                  </a:lnTo>
                  <a:lnTo>
                    <a:pt x="14" y="79"/>
                  </a:lnTo>
                  <a:lnTo>
                    <a:pt x="10" y="48"/>
                  </a:lnTo>
                  <a:lnTo>
                    <a:pt x="0" y="37"/>
                  </a:lnTo>
                  <a:lnTo>
                    <a:pt x="0" y="19"/>
                  </a:lnTo>
                  <a:lnTo>
                    <a:pt x="15" y="24"/>
                  </a:lnTo>
                  <a:lnTo>
                    <a:pt x="40" y="0"/>
                  </a:lnTo>
                  <a:close/>
                </a:path>
              </a:pathLst>
            </a:custGeom>
            <a:grpFill/>
            <a:ln w="6350">
              <a:solidFill>
                <a:schemeClr val="tx2"/>
              </a:solidFill>
              <a:round/>
              <a:headEnd/>
              <a:tailEnd/>
            </a:ln>
          </p:spPr>
          <p:txBody>
            <a:bodyPr/>
            <a:lstStyle/>
            <a:p>
              <a:endParaRPr lang="en-US"/>
            </a:p>
          </p:txBody>
        </p:sp>
        <p:sp>
          <p:nvSpPr>
            <p:cNvPr id="735" name="Freeform 1739"/>
            <p:cNvSpPr>
              <a:spLocks/>
            </p:cNvSpPr>
            <p:nvPr/>
          </p:nvSpPr>
          <p:spPr bwMode="auto">
            <a:xfrm>
              <a:off x="4806446" y="3360606"/>
              <a:ext cx="21239" cy="48548"/>
            </a:xfrm>
            <a:custGeom>
              <a:avLst/>
              <a:gdLst>
                <a:gd name="T0" fmla="*/ 2147483647 w 41"/>
                <a:gd name="T1" fmla="*/ 0 h 95"/>
                <a:gd name="T2" fmla="*/ 2147483647 w 41"/>
                <a:gd name="T3" fmla="*/ 2147483647 h 95"/>
                <a:gd name="T4" fmla="*/ 2147483647 w 41"/>
                <a:gd name="T5" fmla="*/ 2147483647 h 95"/>
                <a:gd name="T6" fmla="*/ 2147483647 w 41"/>
                <a:gd name="T7" fmla="*/ 2147483647 h 95"/>
                <a:gd name="T8" fmla="*/ 2147483647 w 41"/>
                <a:gd name="T9" fmla="*/ 2147483647 h 95"/>
                <a:gd name="T10" fmla="*/ 0 w 41"/>
                <a:gd name="T11" fmla="*/ 2147483647 h 95"/>
                <a:gd name="T12" fmla="*/ 2147483647 w 41"/>
                <a:gd name="T13" fmla="*/ 2147483647 h 95"/>
                <a:gd name="T14" fmla="*/ 2147483647 w 41"/>
                <a:gd name="T15" fmla="*/ 2147483647 h 95"/>
                <a:gd name="T16" fmla="*/ 2147483647 w 41"/>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95"/>
                <a:gd name="T29" fmla="*/ 41 w 41"/>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95">
                  <a:moveTo>
                    <a:pt x="32" y="0"/>
                  </a:moveTo>
                  <a:lnTo>
                    <a:pt x="35" y="2"/>
                  </a:lnTo>
                  <a:lnTo>
                    <a:pt x="41" y="46"/>
                  </a:lnTo>
                  <a:lnTo>
                    <a:pt x="26" y="95"/>
                  </a:lnTo>
                  <a:lnTo>
                    <a:pt x="6" y="72"/>
                  </a:lnTo>
                  <a:lnTo>
                    <a:pt x="0" y="34"/>
                  </a:lnTo>
                  <a:lnTo>
                    <a:pt x="4" y="24"/>
                  </a:lnTo>
                  <a:lnTo>
                    <a:pt x="28" y="14"/>
                  </a:lnTo>
                  <a:lnTo>
                    <a:pt x="32" y="0"/>
                  </a:lnTo>
                  <a:close/>
                </a:path>
              </a:pathLst>
            </a:custGeom>
            <a:grpFill/>
            <a:ln w="6350">
              <a:solidFill>
                <a:schemeClr val="tx2"/>
              </a:solidFill>
              <a:round/>
              <a:headEnd/>
              <a:tailEnd/>
            </a:ln>
          </p:spPr>
          <p:txBody>
            <a:bodyPr/>
            <a:lstStyle/>
            <a:p>
              <a:endParaRPr lang="en-US"/>
            </a:p>
          </p:txBody>
        </p:sp>
        <p:sp>
          <p:nvSpPr>
            <p:cNvPr id="736" name="Freeform 1741"/>
            <p:cNvSpPr>
              <a:spLocks/>
            </p:cNvSpPr>
            <p:nvPr/>
          </p:nvSpPr>
          <p:spPr bwMode="auto">
            <a:xfrm>
              <a:off x="4674457" y="3448598"/>
              <a:ext cx="21239" cy="18206"/>
            </a:xfrm>
            <a:custGeom>
              <a:avLst/>
              <a:gdLst>
                <a:gd name="T0" fmla="*/ 2147483647 w 44"/>
                <a:gd name="T1" fmla="*/ 0 h 37"/>
                <a:gd name="T2" fmla="*/ 2147483647 w 44"/>
                <a:gd name="T3" fmla="*/ 2147483647 h 37"/>
                <a:gd name="T4" fmla="*/ 2147483647 w 44"/>
                <a:gd name="T5" fmla="*/ 2147483647 h 37"/>
                <a:gd name="T6" fmla="*/ 2147483647 w 44"/>
                <a:gd name="T7" fmla="*/ 2147483647 h 37"/>
                <a:gd name="T8" fmla="*/ 2147483647 w 44"/>
                <a:gd name="T9" fmla="*/ 2147483647 h 37"/>
                <a:gd name="T10" fmla="*/ 2147483647 w 44"/>
                <a:gd name="T11" fmla="*/ 2147483647 h 37"/>
                <a:gd name="T12" fmla="*/ 0 w 44"/>
                <a:gd name="T13" fmla="*/ 2147483647 h 37"/>
                <a:gd name="T14" fmla="*/ 2147483647 w 44"/>
                <a:gd name="T15" fmla="*/ 2147483647 h 37"/>
                <a:gd name="T16" fmla="*/ 2147483647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35" y="0"/>
                  </a:moveTo>
                  <a:lnTo>
                    <a:pt x="33" y="10"/>
                  </a:lnTo>
                  <a:lnTo>
                    <a:pt x="44" y="16"/>
                  </a:lnTo>
                  <a:lnTo>
                    <a:pt x="31" y="37"/>
                  </a:lnTo>
                  <a:lnTo>
                    <a:pt x="16" y="23"/>
                  </a:lnTo>
                  <a:lnTo>
                    <a:pt x="5" y="27"/>
                  </a:lnTo>
                  <a:lnTo>
                    <a:pt x="0" y="20"/>
                  </a:lnTo>
                  <a:lnTo>
                    <a:pt x="8" y="11"/>
                  </a:lnTo>
                  <a:lnTo>
                    <a:pt x="35" y="0"/>
                  </a:lnTo>
                  <a:close/>
                </a:path>
              </a:pathLst>
            </a:custGeom>
            <a:grpFill/>
            <a:ln w="6350">
              <a:solidFill>
                <a:schemeClr val="tx2"/>
              </a:solidFill>
              <a:round/>
              <a:headEnd/>
              <a:tailEnd/>
            </a:ln>
          </p:spPr>
          <p:txBody>
            <a:bodyPr/>
            <a:lstStyle/>
            <a:p>
              <a:endParaRPr lang="en-US"/>
            </a:p>
          </p:txBody>
        </p:sp>
        <p:sp>
          <p:nvSpPr>
            <p:cNvPr id="737" name="Freeform 1742"/>
            <p:cNvSpPr>
              <a:spLocks/>
            </p:cNvSpPr>
            <p:nvPr/>
          </p:nvSpPr>
          <p:spPr bwMode="auto">
            <a:xfrm>
              <a:off x="4706316" y="3445564"/>
              <a:ext cx="9103" cy="6069"/>
            </a:xfrm>
            <a:custGeom>
              <a:avLst/>
              <a:gdLst>
                <a:gd name="T0" fmla="*/ 2147483647 w 18"/>
                <a:gd name="T1" fmla="*/ 0 h 10"/>
                <a:gd name="T2" fmla="*/ 2147483647 w 18"/>
                <a:gd name="T3" fmla="*/ 2147483647 h 10"/>
                <a:gd name="T4" fmla="*/ 0 w 18"/>
                <a:gd name="T5" fmla="*/ 2147483647 h 10"/>
                <a:gd name="T6" fmla="*/ 2147483647 w 18"/>
                <a:gd name="T7" fmla="*/ 0 h 10"/>
                <a:gd name="T8" fmla="*/ 0 60000 65536"/>
                <a:gd name="T9" fmla="*/ 0 60000 65536"/>
                <a:gd name="T10" fmla="*/ 0 60000 65536"/>
                <a:gd name="T11" fmla="*/ 0 60000 65536"/>
                <a:gd name="T12" fmla="*/ 0 w 18"/>
                <a:gd name="T13" fmla="*/ 0 h 10"/>
                <a:gd name="T14" fmla="*/ 18 w 18"/>
                <a:gd name="T15" fmla="*/ 10 h 10"/>
              </a:gdLst>
              <a:ahLst/>
              <a:cxnLst>
                <a:cxn ang="T8">
                  <a:pos x="T0" y="T1"/>
                </a:cxn>
                <a:cxn ang="T9">
                  <a:pos x="T2" y="T3"/>
                </a:cxn>
                <a:cxn ang="T10">
                  <a:pos x="T4" y="T5"/>
                </a:cxn>
                <a:cxn ang="T11">
                  <a:pos x="T6" y="T7"/>
                </a:cxn>
              </a:cxnLst>
              <a:rect l="T12" t="T13" r="T14" b="T15"/>
              <a:pathLst>
                <a:path w="18" h="10">
                  <a:moveTo>
                    <a:pt x="16" y="0"/>
                  </a:moveTo>
                  <a:lnTo>
                    <a:pt x="18" y="10"/>
                  </a:lnTo>
                  <a:lnTo>
                    <a:pt x="0" y="1"/>
                  </a:lnTo>
                  <a:lnTo>
                    <a:pt x="16" y="0"/>
                  </a:lnTo>
                  <a:close/>
                </a:path>
              </a:pathLst>
            </a:custGeom>
            <a:grpFill/>
            <a:ln w="6350">
              <a:solidFill>
                <a:schemeClr val="tx2"/>
              </a:solidFill>
              <a:round/>
              <a:headEnd/>
              <a:tailEnd/>
            </a:ln>
          </p:spPr>
          <p:txBody>
            <a:bodyPr/>
            <a:lstStyle/>
            <a:p>
              <a:endParaRPr lang="en-US"/>
            </a:p>
          </p:txBody>
        </p:sp>
        <p:sp>
          <p:nvSpPr>
            <p:cNvPr id="738" name="Freeform 1743"/>
            <p:cNvSpPr>
              <a:spLocks/>
            </p:cNvSpPr>
            <p:nvPr/>
          </p:nvSpPr>
          <p:spPr bwMode="auto">
            <a:xfrm>
              <a:off x="4653217" y="3372743"/>
              <a:ext cx="7585" cy="6069"/>
            </a:xfrm>
            <a:custGeom>
              <a:avLst/>
              <a:gdLst>
                <a:gd name="T0" fmla="*/ 2147483647 w 15"/>
                <a:gd name="T1" fmla="*/ 0 h 11"/>
                <a:gd name="T2" fmla="*/ 2147483647 w 15"/>
                <a:gd name="T3" fmla="*/ 2147483647 h 11"/>
                <a:gd name="T4" fmla="*/ 2147483647 w 15"/>
                <a:gd name="T5" fmla="*/ 2147483647 h 11"/>
                <a:gd name="T6" fmla="*/ 0 w 15"/>
                <a:gd name="T7" fmla="*/ 2147483647 h 11"/>
                <a:gd name="T8" fmla="*/ 2147483647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10" y="0"/>
                  </a:moveTo>
                  <a:lnTo>
                    <a:pt x="15" y="7"/>
                  </a:lnTo>
                  <a:lnTo>
                    <a:pt x="8" y="11"/>
                  </a:lnTo>
                  <a:lnTo>
                    <a:pt x="0" y="1"/>
                  </a:lnTo>
                  <a:lnTo>
                    <a:pt x="10" y="0"/>
                  </a:lnTo>
                  <a:close/>
                </a:path>
              </a:pathLst>
            </a:custGeom>
            <a:grpFill/>
            <a:ln w="6350">
              <a:solidFill>
                <a:schemeClr val="tx2"/>
              </a:solidFill>
              <a:round/>
              <a:headEnd/>
              <a:tailEnd/>
            </a:ln>
          </p:spPr>
          <p:txBody>
            <a:bodyPr/>
            <a:lstStyle/>
            <a:p>
              <a:endParaRPr lang="en-US"/>
            </a:p>
          </p:txBody>
        </p:sp>
        <p:sp>
          <p:nvSpPr>
            <p:cNvPr id="739" name="Freeform 1744"/>
            <p:cNvSpPr>
              <a:spLocks/>
            </p:cNvSpPr>
            <p:nvPr/>
          </p:nvSpPr>
          <p:spPr bwMode="auto">
            <a:xfrm>
              <a:off x="4724521" y="3034426"/>
              <a:ext cx="4551" cy="10619"/>
            </a:xfrm>
            <a:custGeom>
              <a:avLst/>
              <a:gdLst>
                <a:gd name="T0" fmla="*/ 2147483647 w 9"/>
                <a:gd name="T1" fmla="*/ 0 h 21"/>
                <a:gd name="T2" fmla="*/ 0 w 9"/>
                <a:gd name="T3" fmla="*/ 2147483647 h 21"/>
                <a:gd name="T4" fmla="*/ 2147483647 w 9"/>
                <a:gd name="T5" fmla="*/ 2147483647 h 21"/>
                <a:gd name="T6" fmla="*/ 2147483647 w 9"/>
                <a:gd name="T7" fmla="*/ 0 h 21"/>
                <a:gd name="T8" fmla="*/ 0 60000 65536"/>
                <a:gd name="T9" fmla="*/ 0 60000 65536"/>
                <a:gd name="T10" fmla="*/ 0 60000 65536"/>
                <a:gd name="T11" fmla="*/ 0 60000 65536"/>
                <a:gd name="T12" fmla="*/ 0 w 9"/>
                <a:gd name="T13" fmla="*/ 0 h 21"/>
                <a:gd name="T14" fmla="*/ 9 w 9"/>
                <a:gd name="T15" fmla="*/ 21 h 21"/>
              </a:gdLst>
              <a:ahLst/>
              <a:cxnLst>
                <a:cxn ang="T8">
                  <a:pos x="T0" y="T1"/>
                </a:cxn>
                <a:cxn ang="T9">
                  <a:pos x="T2" y="T3"/>
                </a:cxn>
                <a:cxn ang="T10">
                  <a:pos x="T4" y="T5"/>
                </a:cxn>
                <a:cxn ang="T11">
                  <a:pos x="T6" y="T7"/>
                </a:cxn>
              </a:cxnLst>
              <a:rect l="T12" t="T13" r="T14" b="T15"/>
              <a:pathLst>
                <a:path w="9" h="21">
                  <a:moveTo>
                    <a:pt x="9" y="0"/>
                  </a:moveTo>
                  <a:lnTo>
                    <a:pt x="0" y="21"/>
                  </a:lnTo>
                  <a:lnTo>
                    <a:pt x="6" y="17"/>
                  </a:lnTo>
                  <a:lnTo>
                    <a:pt x="9" y="0"/>
                  </a:lnTo>
                  <a:close/>
                </a:path>
              </a:pathLst>
            </a:custGeom>
            <a:grpFill/>
            <a:ln w="6350">
              <a:solidFill>
                <a:schemeClr val="tx2"/>
              </a:solidFill>
              <a:round/>
              <a:headEnd/>
              <a:tailEnd/>
            </a:ln>
          </p:spPr>
          <p:txBody>
            <a:bodyPr/>
            <a:lstStyle/>
            <a:p>
              <a:endParaRPr lang="en-US"/>
            </a:p>
          </p:txBody>
        </p:sp>
        <p:sp>
          <p:nvSpPr>
            <p:cNvPr id="740" name="Freeform 1745"/>
            <p:cNvSpPr>
              <a:spLocks/>
            </p:cNvSpPr>
            <p:nvPr/>
          </p:nvSpPr>
          <p:spPr bwMode="auto">
            <a:xfrm>
              <a:off x="4698731" y="3092077"/>
              <a:ext cx="3034" cy="4550"/>
            </a:xfrm>
            <a:custGeom>
              <a:avLst/>
              <a:gdLst>
                <a:gd name="T0" fmla="*/ 2147483647 w 4"/>
                <a:gd name="T1" fmla="*/ 0 h 7"/>
                <a:gd name="T2" fmla="*/ 0 w 4"/>
                <a:gd name="T3" fmla="*/ 2147483647 h 7"/>
                <a:gd name="T4" fmla="*/ 2147483647 w 4"/>
                <a:gd name="T5" fmla="*/ 2147483647 h 7"/>
                <a:gd name="T6" fmla="*/ 2147483647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1" y="0"/>
                  </a:moveTo>
                  <a:lnTo>
                    <a:pt x="0" y="7"/>
                  </a:lnTo>
                  <a:lnTo>
                    <a:pt x="4" y="4"/>
                  </a:lnTo>
                  <a:lnTo>
                    <a:pt x="1" y="0"/>
                  </a:lnTo>
                  <a:close/>
                </a:path>
              </a:pathLst>
            </a:custGeom>
            <a:grpFill/>
            <a:ln w="6350">
              <a:solidFill>
                <a:schemeClr val="tx2"/>
              </a:solidFill>
              <a:round/>
              <a:headEnd/>
              <a:tailEnd/>
            </a:ln>
          </p:spPr>
          <p:txBody>
            <a:bodyPr/>
            <a:lstStyle/>
            <a:p>
              <a:endParaRPr lang="en-US"/>
            </a:p>
          </p:txBody>
        </p:sp>
        <p:sp>
          <p:nvSpPr>
            <p:cNvPr id="741" name="Freeform 1746"/>
            <p:cNvSpPr>
              <a:spLocks/>
            </p:cNvSpPr>
            <p:nvPr/>
          </p:nvSpPr>
          <p:spPr bwMode="auto">
            <a:xfrm>
              <a:off x="4970294" y="2878164"/>
              <a:ext cx="15172" cy="42479"/>
            </a:xfrm>
            <a:custGeom>
              <a:avLst/>
              <a:gdLst>
                <a:gd name="T0" fmla="*/ 0 w 30"/>
                <a:gd name="T1" fmla="*/ 2147483647 h 85"/>
                <a:gd name="T2" fmla="*/ 2147483647 w 30"/>
                <a:gd name="T3" fmla="*/ 2147483647 h 85"/>
                <a:gd name="T4" fmla="*/ 2147483647 w 30"/>
                <a:gd name="T5" fmla="*/ 0 h 85"/>
                <a:gd name="T6" fmla="*/ 2147483647 w 30"/>
                <a:gd name="T7" fmla="*/ 2147483647 h 85"/>
                <a:gd name="T8" fmla="*/ 0 w 30"/>
                <a:gd name="T9" fmla="*/ 2147483647 h 85"/>
                <a:gd name="T10" fmla="*/ 0 60000 65536"/>
                <a:gd name="T11" fmla="*/ 0 60000 65536"/>
                <a:gd name="T12" fmla="*/ 0 60000 65536"/>
                <a:gd name="T13" fmla="*/ 0 60000 65536"/>
                <a:gd name="T14" fmla="*/ 0 60000 65536"/>
                <a:gd name="T15" fmla="*/ 0 w 30"/>
                <a:gd name="T16" fmla="*/ 0 h 85"/>
                <a:gd name="T17" fmla="*/ 30 w 30"/>
                <a:gd name="T18" fmla="*/ 85 h 85"/>
              </a:gdLst>
              <a:ahLst/>
              <a:cxnLst>
                <a:cxn ang="T10">
                  <a:pos x="T0" y="T1"/>
                </a:cxn>
                <a:cxn ang="T11">
                  <a:pos x="T2" y="T3"/>
                </a:cxn>
                <a:cxn ang="T12">
                  <a:pos x="T4" y="T5"/>
                </a:cxn>
                <a:cxn ang="T13">
                  <a:pos x="T6" y="T7"/>
                </a:cxn>
                <a:cxn ang="T14">
                  <a:pos x="T8" y="T9"/>
                </a:cxn>
              </a:cxnLst>
              <a:rect l="T15" t="T16" r="T17" b="T18"/>
              <a:pathLst>
                <a:path w="30" h="85">
                  <a:moveTo>
                    <a:pt x="0" y="85"/>
                  </a:moveTo>
                  <a:lnTo>
                    <a:pt x="10" y="69"/>
                  </a:lnTo>
                  <a:lnTo>
                    <a:pt x="30" y="0"/>
                  </a:lnTo>
                  <a:lnTo>
                    <a:pt x="5" y="55"/>
                  </a:lnTo>
                  <a:lnTo>
                    <a:pt x="0" y="85"/>
                  </a:lnTo>
                  <a:close/>
                </a:path>
              </a:pathLst>
            </a:custGeom>
            <a:grpFill/>
            <a:ln w="6350">
              <a:solidFill>
                <a:schemeClr val="tx2"/>
              </a:solidFill>
              <a:round/>
              <a:headEnd/>
              <a:tailEnd/>
            </a:ln>
          </p:spPr>
          <p:txBody>
            <a:bodyPr/>
            <a:lstStyle/>
            <a:p>
              <a:endParaRPr lang="en-US"/>
            </a:p>
          </p:txBody>
        </p:sp>
        <p:sp>
          <p:nvSpPr>
            <p:cNvPr id="742" name="Freeform 1747"/>
            <p:cNvSpPr>
              <a:spLocks/>
            </p:cNvSpPr>
            <p:nvPr/>
          </p:nvSpPr>
          <p:spPr bwMode="auto">
            <a:xfrm>
              <a:off x="5005188" y="2855407"/>
              <a:ext cx="21239" cy="39445"/>
            </a:xfrm>
            <a:custGeom>
              <a:avLst/>
              <a:gdLst>
                <a:gd name="T0" fmla="*/ 2147483647 w 37"/>
                <a:gd name="T1" fmla="*/ 2147483647 h 77"/>
                <a:gd name="T2" fmla="*/ 2147483647 w 37"/>
                <a:gd name="T3" fmla="*/ 2147483647 h 77"/>
                <a:gd name="T4" fmla="*/ 2147483647 w 37"/>
                <a:gd name="T5" fmla="*/ 2147483647 h 77"/>
                <a:gd name="T6" fmla="*/ 2147483647 w 37"/>
                <a:gd name="T7" fmla="*/ 0 h 77"/>
                <a:gd name="T8" fmla="*/ 2147483647 w 37"/>
                <a:gd name="T9" fmla="*/ 0 h 77"/>
                <a:gd name="T10" fmla="*/ 2147483647 w 37"/>
                <a:gd name="T11" fmla="*/ 2147483647 h 77"/>
                <a:gd name="T12" fmla="*/ 0 w 37"/>
                <a:gd name="T13" fmla="*/ 2147483647 h 77"/>
                <a:gd name="T14" fmla="*/ 2147483647 w 37"/>
                <a:gd name="T15" fmla="*/ 2147483647 h 77"/>
                <a:gd name="T16" fmla="*/ 2147483647 w 37"/>
                <a:gd name="T17" fmla="*/ 2147483647 h 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77"/>
                <a:gd name="T29" fmla="*/ 37 w 37"/>
                <a:gd name="T30" fmla="*/ 77 h 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77">
                  <a:moveTo>
                    <a:pt x="1" y="77"/>
                  </a:moveTo>
                  <a:lnTo>
                    <a:pt x="33" y="40"/>
                  </a:lnTo>
                  <a:lnTo>
                    <a:pt x="30" y="16"/>
                  </a:lnTo>
                  <a:lnTo>
                    <a:pt x="37" y="0"/>
                  </a:lnTo>
                  <a:lnTo>
                    <a:pt x="22" y="0"/>
                  </a:lnTo>
                  <a:lnTo>
                    <a:pt x="3" y="29"/>
                  </a:lnTo>
                  <a:lnTo>
                    <a:pt x="0" y="56"/>
                  </a:lnTo>
                  <a:lnTo>
                    <a:pt x="6" y="65"/>
                  </a:lnTo>
                  <a:lnTo>
                    <a:pt x="1" y="77"/>
                  </a:lnTo>
                  <a:close/>
                </a:path>
              </a:pathLst>
            </a:custGeom>
            <a:grpFill/>
            <a:ln w="6350">
              <a:solidFill>
                <a:schemeClr val="tx2"/>
              </a:solidFill>
              <a:round/>
              <a:headEnd/>
              <a:tailEnd/>
            </a:ln>
          </p:spPr>
          <p:txBody>
            <a:bodyPr/>
            <a:lstStyle/>
            <a:p>
              <a:endParaRPr lang="en-US"/>
            </a:p>
          </p:txBody>
        </p:sp>
        <p:sp>
          <p:nvSpPr>
            <p:cNvPr id="743" name="Freeform 1748"/>
            <p:cNvSpPr>
              <a:spLocks/>
            </p:cNvSpPr>
            <p:nvPr/>
          </p:nvSpPr>
          <p:spPr bwMode="auto">
            <a:xfrm>
              <a:off x="5041599" y="2753760"/>
              <a:ext cx="9103" cy="15172"/>
            </a:xfrm>
            <a:custGeom>
              <a:avLst/>
              <a:gdLst>
                <a:gd name="T0" fmla="*/ 2147483647 w 19"/>
                <a:gd name="T1" fmla="*/ 0 h 32"/>
                <a:gd name="T2" fmla="*/ 2147483647 w 19"/>
                <a:gd name="T3" fmla="*/ 0 h 32"/>
                <a:gd name="T4" fmla="*/ 2147483647 w 19"/>
                <a:gd name="T5" fmla="*/ 2147483647 h 32"/>
                <a:gd name="T6" fmla="*/ 0 w 19"/>
                <a:gd name="T7" fmla="*/ 2147483647 h 32"/>
                <a:gd name="T8" fmla="*/ 0 w 19"/>
                <a:gd name="T9" fmla="*/ 2147483647 h 32"/>
                <a:gd name="T10" fmla="*/ 2147483647 w 19"/>
                <a:gd name="T11" fmla="*/ 2147483647 h 32"/>
                <a:gd name="T12" fmla="*/ 2147483647 w 19"/>
                <a:gd name="T13" fmla="*/ 2147483647 h 32"/>
                <a:gd name="T14" fmla="*/ 2147483647 w 19"/>
                <a:gd name="T15" fmla="*/ 2147483647 h 32"/>
                <a:gd name="T16" fmla="*/ 2147483647 w 19"/>
                <a:gd name="T17" fmla="*/ 2147483647 h 32"/>
                <a:gd name="T18" fmla="*/ 2147483647 w 19"/>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32"/>
                <a:gd name="T32" fmla="*/ 19 w 1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32">
                  <a:moveTo>
                    <a:pt x="15" y="0"/>
                  </a:moveTo>
                  <a:lnTo>
                    <a:pt x="2" y="0"/>
                  </a:lnTo>
                  <a:lnTo>
                    <a:pt x="5" y="9"/>
                  </a:lnTo>
                  <a:lnTo>
                    <a:pt x="0" y="7"/>
                  </a:lnTo>
                  <a:lnTo>
                    <a:pt x="0" y="22"/>
                  </a:lnTo>
                  <a:lnTo>
                    <a:pt x="16" y="32"/>
                  </a:lnTo>
                  <a:lnTo>
                    <a:pt x="19" y="27"/>
                  </a:lnTo>
                  <a:lnTo>
                    <a:pt x="12" y="17"/>
                  </a:lnTo>
                  <a:lnTo>
                    <a:pt x="18" y="9"/>
                  </a:lnTo>
                  <a:lnTo>
                    <a:pt x="15" y="0"/>
                  </a:lnTo>
                  <a:close/>
                </a:path>
              </a:pathLst>
            </a:custGeom>
            <a:grpFill/>
            <a:ln w="6350">
              <a:solidFill>
                <a:schemeClr val="tx2"/>
              </a:solidFill>
              <a:round/>
              <a:headEnd/>
              <a:tailEnd/>
            </a:ln>
          </p:spPr>
          <p:txBody>
            <a:bodyPr/>
            <a:lstStyle/>
            <a:p>
              <a:endParaRPr lang="en-US"/>
            </a:p>
          </p:txBody>
        </p:sp>
        <p:sp>
          <p:nvSpPr>
            <p:cNvPr id="744" name="Freeform 1749"/>
            <p:cNvSpPr>
              <a:spLocks/>
            </p:cNvSpPr>
            <p:nvPr/>
          </p:nvSpPr>
          <p:spPr bwMode="auto">
            <a:xfrm>
              <a:off x="4935400" y="2958571"/>
              <a:ext cx="7585" cy="10619"/>
            </a:xfrm>
            <a:custGeom>
              <a:avLst/>
              <a:gdLst>
                <a:gd name="T0" fmla="*/ 2147483647 w 18"/>
                <a:gd name="T1" fmla="*/ 2147483647 h 19"/>
                <a:gd name="T2" fmla="*/ 2147483647 w 18"/>
                <a:gd name="T3" fmla="*/ 2147483647 h 19"/>
                <a:gd name="T4" fmla="*/ 2147483647 w 18"/>
                <a:gd name="T5" fmla="*/ 0 h 19"/>
                <a:gd name="T6" fmla="*/ 0 w 18"/>
                <a:gd name="T7" fmla="*/ 2147483647 h 19"/>
                <a:gd name="T8" fmla="*/ 2147483647 w 18"/>
                <a:gd name="T9" fmla="*/ 2147483647 h 19"/>
                <a:gd name="T10" fmla="*/ 0 60000 65536"/>
                <a:gd name="T11" fmla="*/ 0 60000 65536"/>
                <a:gd name="T12" fmla="*/ 0 60000 65536"/>
                <a:gd name="T13" fmla="*/ 0 60000 65536"/>
                <a:gd name="T14" fmla="*/ 0 60000 65536"/>
                <a:gd name="T15" fmla="*/ 0 w 18"/>
                <a:gd name="T16" fmla="*/ 0 h 19"/>
                <a:gd name="T17" fmla="*/ 18 w 18"/>
                <a:gd name="T18" fmla="*/ 19 h 19"/>
              </a:gdLst>
              <a:ahLst/>
              <a:cxnLst>
                <a:cxn ang="T10">
                  <a:pos x="T0" y="T1"/>
                </a:cxn>
                <a:cxn ang="T11">
                  <a:pos x="T2" y="T3"/>
                </a:cxn>
                <a:cxn ang="T12">
                  <a:pos x="T4" y="T5"/>
                </a:cxn>
                <a:cxn ang="T13">
                  <a:pos x="T6" y="T7"/>
                </a:cxn>
                <a:cxn ang="T14">
                  <a:pos x="T8" y="T9"/>
                </a:cxn>
              </a:cxnLst>
              <a:rect l="T15" t="T16" r="T17" b="T18"/>
              <a:pathLst>
                <a:path w="18" h="19">
                  <a:moveTo>
                    <a:pt x="18" y="19"/>
                  </a:moveTo>
                  <a:lnTo>
                    <a:pt x="16" y="8"/>
                  </a:lnTo>
                  <a:lnTo>
                    <a:pt x="3" y="0"/>
                  </a:lnTo>
                  <a:lnTo>
                    <a:pt x="0" y="13"/>
                  </a:lnTo>
                  <a:lnTo>
                    <a:pt x="18" y="19"/>
                  </a:lnTo>
                  <a:close/>
                </a:path>
              </a:pathLst>
            </a:custGeom>
            <a:grpFill/>
            <a:ln w="6350">
              <a:solidFill>
                <a:schemeClr val="tx2"/>
              </a:solidFill>
              <a:round/>
              <a:headEnd/>
              <a:tailEnd/>
            </a:ln>
          </p:spPr>
          <p:txBody>
            <a:bodyPr/>
            <a:lstStyle/>
            <a:p>
              <a:endParaRPr lang="en-US"/>
            </a:p>
          </p:txBody>
        </p:sp>
        <p:sp>
          <p:nvSpPr>
            <p:cNvPr id="745" name="Freeform 1750"/>
            <p:cNvSpPr>
              <a:spLocks/>
            </p:cNvSpPr>
            <p:nvPr/>
          </p:nvSpPr>
          <p:spPr bwMode="auto">
            <a:xfrm>
              <a:off x="4856510" y="2925194"/>
              <a:ext cx="37928" cy="43995"/>
            </a:xfrm>
            <a:custGeom>
              <a:avLst/>
              <a:gdLst>
                <a:gd name="T0" fmla="*/ 2147483647 w 76"/>
                <a:gd name="T1" fmla="*/ 2147483647 h 86"/>
                <a:gd name="T2" fmla="*/ 2147483647 w 76"/>
                <a:gd name="T3" fmla="*/ 2147483647 h 86"/>
                <a:gd name="T4" fmla="*/ 2147483647 w 76"/>
                <a:gd name="T5" fmla="*/ 2147483647 h 86"/>
                <a:gd name="T6" fmla="*/ 2147483647 w 76"/>
                <a:gd name="T7" fmla="*/ 2147483647 h 86"/>
                <a:gd name="T8" fmla="*/ 2147483647 w 76"/>
                <a:gd name="T9" fmla="*/ 2147483647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0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0 w 76"/>
                <a:gd name="T47" fmla="*/ 2147483647 h 86"/>
                <a:gd name="T48" fmla="*/ 2147483647 w 76"/>
                <a:gd name="T49" fmla="*/ 2147483647 h 86"/>
                <a:gd name="T50" fmla="*/ 2147483647 w 76"/>
                <a:gd name="T51" fmla="*/ 2147483647 h 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6"/>
                <a:gd name="T79" fmla="*/ 0 h 86"/>
                <a:gd name="T80" fmla="*/ 76 w 76"/>
                <a:gd name="T81" fmla="*/ 86 h 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6" h="86">
                  <a:moveTo>
                    <a:pt x="19" y="12"/>
                  </a:moveTo>
                  <a:lnTo>
                    <a:pt x="38" y="13"/>
                  </a:lnTo>
                  <a:lnTo>
                    <a:pt x="32" y="26"/>
                  </a:lnTo>
                  <a:lnTo>
                    <a:pt x="37" y="36"/>
                  </a:lnTo>
                  <a:lnTo>
                    <a:pt x="44" y="17"/>
                  </a:lnTo>
                  <a:lnTo>
                    <a:pt x="48" y="27"/>
                  </a:lnTo>
                  <a:lnTo>
                    <a:pt x="45" y="34"/>
                  </a:lnTo>
                  <a:lnTo>
                    <a:pt x="49" y="36"/>
                  </a:lnTo>
                  <a:lnTo>
                    <a:pt x="49" y="17"/>
                  </a:lnTo>
                  <a:lnTo>
                    <a:pt x="43" y="10"/>
                  </a:lnTo>
                  <a:lnTo>
                    <a:pt x="62" y="0"/>
                  </a:lnTo>
                  <a:lnTo>
                    <a:pt x="71" y="15"/>
                  </a:lnTo>
                  <a:lnTo>
                    <a:pt x="76" y="37"/>
                  </a:lnTo>
                  <a:lnTo>
                    <a:pt x="58" y="49"/>
                  </a:lnTo>
                  <a:lnTo>
                    <a:pt x="65" y="67"/>
                  </a:lnTo>
                  <a:lnTo>
                    <a:pt x="54" y="70"/>
                  </a:lnTo>
                  <a:lnTo>
                    <a:pt x="53" y="86"/>
                  </a:lnTo>
                  <a:lnTo>
                    <a:pt x="35" y="82"/>
                  </a:lnTo>
                  <a:lnTo>
                    <a:pt x="31" y="79"/>
                  </a:lnTo>
                  <a:lnTo>
                    <a:pt x="37" y="73"/>
                  </a:lnTo>
                  <a:lnTo>
                    <a:pt x="15" y="71"/>
                  </a:lnTo>
                  <a:lnTo>
                    <a:pt x="8" y="60"/>
                  </a:lnTo>
                  <a:lnTo>
                    <a:pt x="11" y="42"/>
                  </a:lnTo>
                  <a:lnTo>
                    <a:pt x="0" y="34"/>
                  </a:lnTo>
                  <a:lnTo>
                    <a:pt x="25" y="21"/>
                  </a:lnTo>
                  <a:lnTo>
                    <a:pt x="19" y="12"/>
                  </a:lnTo>
                  <a:close/>
                </a:path>
              </a:pathLst>
            </a:custGeom>
            <a:grpFill/>
            <a:ln w="6350">
              <a:solidFill>
                <a:schemeClr val="tx2"/>
              </a:solidFill>
              <a:round/>
              <a:headEnd/>
              <a:tailEnd/>
            </a:ln>
          </p:spPr>
          <p:txBody>
            <a:bodyPr/>
            <a:lstStyle/>
            <a:p>
              <a:endParaRPr lang="en-US"/>
            </a:p>
          </p:txBody>
        </p:sp>
        <p:sp>
          <p:nvSpPr>
            <p:cNvPr id="746" name="Freeform 1751"/>
            <p:cNvSpPr>
              <a:spLocks/>
            </p:cNvSpPr>
            <p:nvPr/>
          </p:nvSpPr>
          <p:spPr bwMode="auto">
            <a:xfrm>
              <a:off x="4874716" y="2970708"/>
              <a:ext cx="7585" cy="15172"/>
            </a:xfrm>
            <a:custGeom>
              <a:avLst/>
              <a:gdLst>
                <a:gd name="T0" fmla="*/ 2147483647 w 16"/>
                <a:gd name="T1" fmla="*/ 0 h 29"/>
                <a:gd name="T2" fmla="*/ 2147483647 w 16"/>
                <a:gd name="T3" fmla="*/ 2147483647 h 29"/>
                <a:gd name="T4" fmla="*/ 2147483647 w 16"/>
                <a:gd name="T5" fmla="*/ 2147483647 h 29"/>
                <a:gd name="T6" fmla="*/ 0 w 16"/>
                <a:gd name="T7" fmla="*/ 2147483647 h 29"/>
                <a:gd name="T8" fmla="*/ 2147483647 w 16"/>
                <a:gd name="T9" fmla="*/ 0 h 29"/>
                <a:gd name="T10" fmla="*/ 0 60000 65536"/>
                <a:gd name="T11" fmla="*/ 0 60000 65536"/>
                <a:gd name="T12" fmla="*/ 0 60000 65536"/>
                <a:gd name="T13" fmla="*/ 0 60000 65536"/>
                <a:gd name="T14" fmla="*/ 0 60000 65536"/>
                <a:gd name="T15" fmla="*/ 0 w 16"/>
                <a:gd name="T16" fmla="*/ 0 h 29"/>
                <a:gd name="T17" fmla="*/ 16 w 16"/>
                <a:gd name="T18" fmla="*/ 29 h 29"/>
              </a:gdLst>
              <a:ahLst/>
              <a:cxnLst>
                <a:cxn ang="T10">
                  <a:pos x="T0" y="T1"/>
                </a:cxn>
                <a:cxn ang="T11">
                  <a:pos x="T2" y="T3"/>
                </a:cxn>
                <a:cxn ang="T12">
                  <a:pos x="T4" y="T5"/>
                </a:cxn>
                <a:cxn ang="T13">
                  <a:pos x="T6" y="T7"/>
                </a:cxn>
                <a:cxn ang="T14">
                  <a:pos x="T8" y="T9"/>
                </a:cxn>
              </a:cxnLst>
              <a:rect l="T15" t="T16" r="T17" b="T18"/>
              <a:pathLst>
                <a:path w="16" h="29">
                  <a:moveTo>
                    <a:pt x="4" y="0"/>
                  </a:moveTo>
                  <a:lnTo>
                    <a:pt x="16" y="8"/>
                  </a:lnTo>
                  <a:lnTo>
                    <a:pt x="11" y="29"/>
                  </a:lnTo>
                  <a:lnTo>
                    <a:pt x="0" y="3"/>
                  </a:lnTo>
                  <a:lnTo>
                    <a:pt x="4" y="0"/>
                  </a:lnTo>
                  <a:close/>
                </a:path>
              </a:pathLst>
            </a:custGeom>
            <a:grpFill/>
            <a:ln w="6350">
              <a:solidFill>
                <a:schemeClr val="tx2"/>
              </a:solidFill>
              <a:round/>
              <a:headEnd/>
              <a:tailEnd/>
            </a:ln>
          </p:spPr>
          <p:txBody>
            <a:bodyPr/>
            <a:lstStyle/>
            <a:p>
              <a:endParaRPr lang="en-US"/>
            </a:p>
          </p:txBody>
        </p:sp>
        <p:sp>
          <p:nvSpPr>
            <p:cNvPr id="747" name="Freeform 1752"/>
            <p:cNvSpPr>
              <a:spLocks/>
            </p:cNvSpPr>
            <p:nvPr/>
          </p:nvSpPr>
          <p:spPr bwMode="auto">
            <a:xfrm>
              <a:off x="4856510" y="2970708"/>
              <a:ext cx="18206" cy="12137"/>
            </a:xfrm>
            <a:custGeom>
              <a:avLst/>
              <a:gdLst>
                <a:gd name="T0" fmla="*/ 2147483647 w 34"/>
                <a:gd name="T1" fmla="*/ 0 h 25"/>
                <a:gd name="T2" fmla="*/ 2147483647 w 34"/>
                <a:gd name="T3" fmla="*/ 2147483647 h 25"/>
                <a:gd name="T4" fmla="*/ 2147483647 w 34"/>
                <a:gd name="T5" fmla="*/ 2147483647 h 25"/>
                <a:gd name="T6" fmla="*/ 2147483647 w 34"/>
                <a:gd name="T7" fmla="*/ 2147483647 h 25"/>
                <a:gd name="T8" fmla="*/ 2147483647 w 34"/>
                <a:gd name="T9" fmla="*/ 2147483647 h 25"/>
                <a:gd name="T10" fmla="*/ 2147483647 w 34"/>
                <a:gd name="T11" fmla="*/ 2147483647 h 25"/>
                <a:gd name="T12" fmla="*/ 2147483647 w 34"/>
                <a:gd name="T13" fmla="*/ 2147483647 h 25"/>
                <a:gd name="T14" fmla="*/ 0 w 34"/>
                <a:gd name="T15" fmla="*/ 2147483647 h 25"/>
                <a:gd name="T16" fmla="*/ 2147483647 w 34"/>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25"/>
                <a:gd name="T29" fmla="*/ 34 w 3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25">
                  <a:moveTo>
                    <a:pt x="10" y="0"/>
                  </a:moveTo>
                  <a:lnTo>
                    <a:pt x="19" y="9"/>
                  </a:lnTo>
                  <a:lnTo>
                    <a:pt x="27" y="6"/>
                  </a:lnTo>
                  <a:lnTo>
                    <a:pt x="34" y="22"/>
                  </a:lnTo>
                  <a:lnTo>
                    <a:pt x="17" y="25"/>
                  </a:lnTo>
                  <a:lnTo>
                    <a:pt x="1" y="15"/>
                  </a:lnTo>
                  <a:lnTo>
                    <a:pt x="5" y="8"/>
                  </a:lnTo>
                  <a:lnTo>
                    <a:pt x="0" y="4"/>
                  </a:lnTo>
                  <a:lnTo>
                    <a:pt x="10" y="0"/>
                  </a:lnTo>
                  <a:close/>
                </a:path>
              </a:pathLst>
            </a:custGeom>
            <a:grpFill/>
            <a:ln w="6350">
              <a:solidFill>
                <a:schemeClr val="tx2"/>
              </a:solidFill>
              <a:round/>
              <a:headEnd/>
              <a:tailEnd/>
            </a:ln>
          </p:spPr>
          <p:txBody>
            <a:bodyPr/>
            <a:lstStyle/>
            <a:p>
              <a:endParaRPr lang="en-US"/>
            </a:p>
          </p:txBody>
        </p:sp>
        <p:sp>
          <p:nvSpPr>
            <p:cNvPr id="748" name="Freeform 1753"/>
            <p:cNvSpPr>
              <a:spLocks/>
            </p:cNvSpPr>
            <p:nvPr/>
          </p:nvSpPr>
          <p:spPr bwMode="auto">
            <a:xfrm>
              <a:off x="4832237" y="2946433"/>
              <a:ext cx="21239" cy="19722"/>
            </a:xfrm>
            <a:custGeom>
              <a:avLst/>
              <a:gdLst>
                <a:gd name="T0" fmla="*/ 2147483647 w 49"/>
                <a:gd name="T1" fmla="*/ 2147483647 h 41"/>
                <a:gd name="T2" fmla="*/ 2147483647 w 49"/>
                <a:gd name="T3" fmla="*/ 2147483647 h 41"/>
                <a:gd name="T4" fmla="*/ 2147483647 w 49"/>
                <a:gd name="T5" fmla="*/ 0 h 41"/>
                <a:gd name="T6" fmla="*/ 2147483647 w 49"/>
                <a:gd name="T7" fmla="*/ 2147483647 h 41"/>
                <a:gd name="T8" fmla="*/ 2147483647 w 49"/>
                <a:gd name="T9" fmla="*/ 2147483647 h 41"/>
                <a:gd name="T10" fmla="*/ 2147483647 w 49"/>
                <a:gd name="T11" fmla="*/ 2147483647 h 41"/>
                <a:gd name="T12" fmla="*/ 2147483647 w 49"/>
                <a:gd name="T13" fmla="*/ 2147483647 h 41"/>
                <a:gd name="T14" fmla="*/ 2147483647 w 49"/>
                <a:gd name="T15" fmla="*/ 2147483647 h 41"/>
                <a:gd name="T16" fmla="*/ 0 w 49"/>
                <a:gd name="T17" fmla="*/ 2147483647 h 41"/>
                <a:gd name="T18" fmla="*/ 2147483647 w 4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1"/>
                <a:gd name="T32" fmla="*/ 49 w 4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1">
                  <a:moveTo>
                    <a:pt x="12" y="6"/>
                  </a:moveTo>
                  <a:lnTo>
                    <a:pt x="33" y="7"/>
                  </a:lnTo>
                  <a:lnTo>
                    <a:pt x="37" y="0"/>
                  </a:lnTo>
                  <a:lnTo>
                    <a:pt x="49" y="26"/>
                  </a:lnTo>
                  <a:lnTo>
                    <a:pt x="45" y="40"/>
                  </a:lnTo>
                  <a:lnTo>
                    <a:pt x="16" y="41"/>
                  </a:lnTo>
                  <a:lnTo>
                    <a:pt x="19" y="34"/>
                  </a:lnTo>
                  <a:lnTo>
                    <a:pt x="7" y="31"/>
                  </a:lnTo>
                  <a:lnTo>
                    <a:pt x="0" y="10"/>
                  </a:lnTo>
                  <a:lnTo>
                    <a:pt x="12" y="6"/>
                  </a:lnTo>
                  <a:close/>
                </a:path>
              </a:pathLst>
            </a:custGeom>
            <a:grpFill/>
            <a:ln w="6350">
              <a:solidFill>
                <a:schemeClr val="tx2"/>
              </a:solidFill>
              <a:round/>
              <a:headEnd/>
              <a:tailEnd/>
            </a:ln>
          </p:spPr>
          <p:txBody>
            <a:bodyPr/>
            <a:lstStyle/>
            <a:p>
              <a:endParaRPr lang="en-US"/>
            </a:p>
          </p:txBody>
        </p:sp>
        <p:sp>
          <p:nvSpPr>
            <p:cNvPr id="749" name="Freeform 1754"/>
            <p:cNvSpPr>
              <a:spLocks/>
            </p:cNvSpPr>
            <p:nvPr/>
          </p:nvSpPr>
          <p:spPr bwMode="auto">
            <a:xfrm>
              <a:off x="4850442" y="2963122"/>
              <a:ext cx="6069" cy="16689"/>
            </a:xfrm>
            <a:custGeom>
              <a:avLst/>
              <a:gdLst>
                <a:gd name="T0" fmla="*/ 2147483647 w 13"/>
                <a:gd name="T1" fmla="*/ 2147483647 h 34"/>
                <a:gd name="T2" fmla="*/ 2147483647 w 13"/>
                <a:gd name="T3" fmla="*/ 0 h 34"/>
                <a:gd name="T4" fmla="*/ 2147483647 w 13"/>
                <a:gd name="T5" fmla="*/ 2147483647 h 34"/>
                <a:gd name="T6" fmla="*/ 2147483647 w 13"/>
                <a:gd name="T7" fmla="*/ 2147483647 h 34"/>
                <a:gd name="T8" fmla="*/ 0 w 13"/>
                <a:gd name="T9" fmla="*/ 2147483647 h 34"/>
                <a:gd name="T10" fmla="*/ 2147483647 w 13"/>
                <a:gd name="T11" fmla="*/ 2147483647 h 34"/>
                <a:gd name="T12" fmla="*/ 0 60000 65536"/>
                <a:gd name="T13" fmla="*/ 0 60000 65536"/>
                <a:gd name="T14" fmla="*/ 0 60000 65536"/>
                <a:gd name="T15" fmla="*/ 0 60000 65536"/>
                <a:gd name="T16" fmla="*/ 0 60000 65536"/>
                <a:gd name="T17" fmla="*/ 0 60000 65536"/>
                <a:gd name="T18" fmla="*/ 0 w 13"/>
                <a:gd name="T19" fmla="*/ 0 h 34"/>
                <a:gd name="T20" fmla="*/ 13 w 13"/>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13" h="34">
                  <a:moveTo>
                    <a:pt x="9" y="8"/>
                  </a:moveTo>
                  <a:lnTo>
                    <a:pt x="13" y="0"/>
                  </a:lnTo>
                  <a:lnTo>
                    <a:pt x="13" y="11"/>
                  </a:lnTo>
                  <a:lnTo>
                    <a:pt x="3" y="34"/>
                  </a:lnTo>
                  <a:lnTo>
                    <a:pt x="0" y="23"/>
                  </a:lnTo>
                  <a:lnTo>
                    <a:pt x="9" y="8"/>
                  </a:lnTo>
                  <a:close/>
                </a:path>
              </a:pathLst>
            </a:custGeom>
            <a:grpFill/>
            <a:ln w="6350">
              <a:solidFill>
                <a:schemeClr val="tx2"/>
              </a:solidFill>
              <a:round/>
              <a:headEnd/>
              <a:tailEnd/>
            </a:ln>
          </p:spPr>
          <p:txBody>
            <a:bodyPr/>
            <a:lstStyle/>
            <a:p>
              <a:endParaRPr lang="en-US"/>
            </a:p>
          </p:txBody>
        </p:sp>
        <p:sp>
          <p:nvSpPr>
            <p:cNvPr id="750" name="Freeform 1755"/>
            <p:cNvSpPr>
              <a:spLocks/>
            </p:cNvSpPr>
            <p:nvPr/>
          </p:nvSpPr>
          <p:spPr bwMode="auto">
            <a:xfrm>
              <a:off x="4902024" y="2981327"/>
              <a:ext cx="9103" cy="15172"/>
            </a:xfrm>
            <a:custGeom>
              <a:avLst/>
              <a:gdLst>
                <a:gd name="T0" fmla="*/ 2147483647 w 22"/>
                <a:gd name="T1" fmla="*/ 2147483647 h 28"/>
                <a:gd name="T2" fmla="*/ 2147483647 w 22"/>
                <a:gd name="T3" fmla="*/ 2147483647 h 28"/>
                <a:gd name="T4" fmla="*/ 0 w 22"/>
                <a:gd name="T5" fmla="*/ 2147483647 h 28"/>
                <a:gd name="T6" fmla="*/ 0 w 22"/>
                <a:gd name="T7" fmla="*/ 2147483647 h 28"/>
                <a:gd name="T8" fmla="*/ 2147483647 w 22"/>
                <a:gd name="T9" fmla="*/ 2147483647 h 28"/>
                <a:gd name="T10" fmla="*/ 2147483647 w 22"/>
                <a:gd name="T11" fmla="*/ 0 h 28"/>
                <a:gd name="T12" fmla="*/ 2147483647 w 22"/>
                <a:gd name="T13" fmla="*/ 2147483647 h 28"/>
                <a:gd name="T14" fmla="*/ 2147483647 w 2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8"/>
                <a:gd name="T26" fmla="*/ 22 w 2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8">
                  <a:moveTo>
                    <a:pt x="20" y="16"/>
                  </a:moveTo>
                  <a:lnTo>
                    <a:pt x="22" y="28"/>
                  </a:lnTo>
                  <a:lnTo>
                    <a:pt x="0" y="23"/>
                  </a:lnTo>
                  <a:lnTo>
                    <a:pt x="0" y="10"/>
                  </a:lnTo>
                  <a:lnTo>
                    <a:pt x="14" y="14"/>
                  </a:lnTo>
                  <a:lnTo>
                    <a:pt x="6" y="0"/>
                  </a:lnTo>
                  <a:lnTo>
                    <a:pt x="22" y="7"/>
                  </a:lnTo>
                  <a:lnTo>
                    <a:pt x="20" y="16"/>
                  </a:lnTo>
                  <a:close/>
                </a:path>
              </a:pathLst>
            </a:custGeom>
            <a:grpFill/>
            <a:ln w="6350">
              <a:solidFill>
                <a:schemeClr val="tx2"/>
              </a:solidFill>
              <a:round/>
              <a:headEnd/>
              <a:tailEnd/>
            </a:ln>
          </p:spPr>
          <p:txBody>
            <a:bodyPr/>
            <a:lstStyle/>
            <a:p>
              <a:endParaRPr lang="en-US"/>
            </a:p>
          </p:txBody>
        </p:sp>
        <p:sp>
          <p:nvSpPr>
            <p:cNvPr id="751" name="Freeform 1756"/>
            <p:cNvSpPr>
              <a:spLocks/>
            </p:cNvSpPr>
            <p:nvPr/>
          </p:nvSpPr>
          <p:spPr bwMode="auto">
            <a:xfrm>
              <a:off x="5085594" y="2761346"/>
              <a:ext cx="3034" cy="3034"/>
            </a:xfrm>
            <a:custGeom>
              <a:avLst/>
              <a:gdLst>
                <a:gd name="T0" fmla="*/ 2147483647 w 8"/>
                <a:gd name="T1" fmla="*/ 0 h 6"/>
                <a:gd name="T2" fmla="*/ 0 w 8"/>
                <a:gd name="T3" fmla="*/ 2147483647 h 6"/>
                <a:gd name="T4" fmla="*/ 2147483647 w 8"/>
                <a:gd name="T5" fmla="*/ 2147483647 h 6"/>
                <a:gd name="T6" fmla="*/ 2147483647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8" y="0"/>
                  </a:moveTo>
                  <a:lnTo>
                    <a:pt x="0" y="3"/>
                  </a:lnTo>
                  <a:lnTo>
                    <a:pt x="7" y="6"/>
                  </a:lnTo>
                  <a:lnTo>
                    <a:pt x="8" y="0"/>
                  </a:lnTo>
                  <a:close/>
                </a:path>
              </a:pathLst>
            </a:custGeom>
            <a:grpFill/>
            <a:ln w="6350">
              <a:solidFill>
                <a:schemeClr val="tx2"/>
              </a:solidFill>
              <a:round/>
              <a:headEnd/>
              <a:tailEnd/>
            </a:ln>
          </p:spPr>
          <p:txBody>
            <a:bodyPr/>
            <a:lstStyle/>
            <a:p>
              <a:endParaRPr lang="en-US"/>
            </a:p>
          </p:txBody>
        </p:sp>
        <p:sp>
          <p:nvSpPr>
            <p:cNvPr id="752" name="Freeform 1757"/>
            <p:cNvSpPr>
              <a:spLocks/>
            </p:cNvSpPr>
            <p:nvPr/>
          </p:nvSpPr>
          <p:spPr bwMode="auto">
            <a:xfrm>
              <a:off x="5099249" y="2756795"/>
              <a:ext cx="9103" cy="12137"/>
            </a:xfrm>
            <a:custGeom>
              <a:avLst/>
              <a:gdLst>
                <a:gd name="T0" fmla="*/ 2147483647 w 20"/>
                <a:gd name="T1" fmla="*/ 2147483647 h 23"/>
                <a:gd name="T2" fmla="*/ 2147483647 w 20"/>
                <a:gd name="T3" fmla="*/ 0 h 23"/>
                <a:gd name="T4" fmla="*/ 2147483647 w 20"/>
                <a:gd name="T5" fmla="*/ 2147483647 h 23"/>
                <a:gd name="T6" fmla="*/ 0 w 20"/>
                <a:gd name="T7" fmla="*/ 2147483647 h 23"/>
                <a:gd name="T8" fmla="*/ 2147483647 w 20"/>
                <a:gd name="T9" fmla="*/ 2147483647 h 23"/>
                <a:gd name="T10" fmla="*/ 0 60000 65536"/>
                <a:gd name="T11" fmla="*/ 0 60000 65536"/>
                <a:gd name="T12" fmla="*/ 0 60000 65536"/>
                <a:gd name="T13" fmla="*/ 0 60000 65536"/>
                <a:gd name="T14" fmla="*/ 0 60000 65536"/>
                <a:gd name="T15" fmla="*/ 0 w 20"/>
                <a:gd name="T16" fmla="*/ 0 h 23"/>
                <a:gd name="T17" fmla="*/ 20 w 20"/>
                <a:gd name="T18" fmla="*/ 23 h 23"/>
              </a:gdLst>
              <a:ahLst/>
              <a:cxnLst>
                <a:cxn ang="T10">
                  <a:pos x="T0" y="T1"/>
                </a:cxn>
                <a:cxn ang="T11">
                  <a:pos x="T2" y="T3"/>
                </a:cxn>
                <a:cxn ang="T12">
                  <a:pos x="T4" y="T5"/>
                </a:cxn>
                <a:cxn ang="T13">
                  <a:pos x="T6" y="T7"/>
                </a:cxn>
                <a:cxn ang="T14">
                  <a:pos x="T8" y="T9"/>
                </a:cxn>
              </a:cxnLst>
              <a:rect l="T15" t="T16" r="T17" b="T18"/>
              <a:pathLst>
                <a:path w="20" h="23">
                  <a:moveTo>
                    <a:pt x="14" y="23"/>
                  </a:moveTo>
                  <a:lnTo>
                    <a:pt x="20" y="0"/>
                  </a:lnTo>
                  <a:lnTo>
                    <a:pt x="7" y="9"/>
                  </a:lnTo>
                  <a:lnTo>
                    <a:pt x="0" y="21"/>
                  </a:lnTo>
                  <a:lnTo>
                    <a:pt x="14" y="23"/>
                  </a:lnTo>
                  <a:close/>
                </a:path>
              </a:pathLst>
            </a:custGeom>
            <a:grpFill/>
            <a:ln w="6350">
              <a:solidFill>
                <a:schemeClr val="tx2"/>
              </a:solidFill>
              <a:round/>
              <a:headEnd/>
              <a:tailEnd/>
            </a:ln>
          </p:spPr>
          <p:txBody>
            <a:bodyPr/>
            <a:lstStyle/>
            <a:p>
              <a:endParaRPr lang="en-US"/>
            </a:p>
          </p:txBody>
        </p:sp>
        <p:sp>
          <p:nvSpPr>
            <p:cNvPr id="753" name="Freeform 1758"/>
            <p:cNvSpPr>
              <a:spLocks/>
            </p:cNvSpPr>
            <p:nvPr/>
          </p:nvSpPr>
          <p:spPr bwMode="auto">
            <a:xfrm>
              <a:off x="5090147" y="2828099"/>
              <a:ext cx="27308" cy="25791"/>
            </a:xfrm>
            <a:custGeom>
              <a:avLst/>
              <a:gdLst>
                <a:gd name="T0" fmla="*/ 2147483647 w 58"/>
                <a:gd name="T1" fmla="*/ 0 h 54"/>
                <a:gd name="T2" fmla="*/ 0 w 58"/>
                <a:gd name="T3" fmla="*/ 2147483647 h 54"/>
                <a:gd name="T4" fmla="*/ 0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2147483647 h 54"/>
                <a:gd name="T14" fmla="*/ 2147483647 w 58"/>
                <a:gd name="T15" fmla="*/ 2147483647 h 54"/>
                <a:gd name="T16" fmla="*/ 2147483647 w 58"/>
                <a:gd name="T17" fmla="*/ 2147483647 h 54"/>
                <a:gd name="T18" fmla="*/ 2147483647 w 58"/>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54"/>
                <a:gd name="T32" fmla="*/ 58 w 58"/>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54">
                  <a:moveTo>
                    <a:pt x="48" y="0"/>
                  </a:moveTo>
                  <a:lnTo>
                    <a:pt x="0" y="9"/>
                  </a:lnTo>
                  <a:lnTo>
                    <a:pt x="0" y="27"/>
                  </a:lnTo>
                  <a:lnTo>
                    <a:pt x="9" y="35"/>
                  </a:lnTo>
                  <a:lnTo>
                    <a:pt x="4" y="49"/>
                  </a:lnTo>
                  <a:lnTo>
                    <a:pt x="5" y="54"/>
                  </a:lnTo>
                  <a:lnTo>
                    <a:pt x="21" y="26"/>
                  </a:lnTo>
                  <a:lnTo>
                    <a:pt x="33" y="30"/>
                  </a:lnTo>
                  <a:lnTo>
                    <a:pt x="58" y="13"/>
                  </a:lnTo>
                  <a:lnTo>
                    <a:pt x="48" y="0"/>
                  </a:lnTo>
                  <a:close/>
                </a:path>
              </a:pathLst>
            </a:custGeom>
            <a:grpFill/>
            <a:ln w="6350">
              <a:solidFill>
                <a:schemeClr val="tx2"/>
              </a:solidFill>
              <a:round/>
              <a:headEnd/>
              <a:tailEnd/>
            </a:ln>
          </p:spPr>
          <p:txBody>
            <a:bodyPr/>
            <a:lstStyle/>
            <a:p>
              <a:endParaRPr lang="en-US"/>
            </a:p>
          </p:txBody>
        </p:sp>
        <p:sp>
          <p:nvSpPr>
            <p:cNvPr id="754" name="Freeform 1759"/>
            <p:cNvSpPr>
              <a:spLocks/>
            </p:cNvSpPr>
            <p:nvPr/>
          </p:nvSpPr>
          <p:spPr bwMode="auto">
            <a:xfrm>
              <a:off x="5093180" y="2808376"/>
              <a:ext cx="21239" cy="15172"/>
            </a:xfrm>
            <a:custGeom>
              <a:avLst/>
              <a:gdLst>
                <a:gd name="T0" fmla="*/ 2147483647 w 40"/>
                <a:gd name="T1" fmla="*/ 2147483647 h 31"/>
                <a:gd name="T2" fmla="*/ 2147483647 w 40"/>
                <a:gd name="T3" fmla="*/ 0 h 31"/>
                <a:gd name="T4" fmla="*/ 2147483647 w 40"/>
                <a:gd name="T5" fmla="*/ 2147483647 h 31"/>
                <a:gd name="T6" fmla="*/ 0 w 40"/>
                <a:gd name="T7" fmla="*/ 2147483647 h 31"/>
                <a:gd name="T8" fmla="*/ 2147483647 w 40"/>
                <a:gd name="T9" fmla="*/ 2147483647 h 31"/>
                <a:gd name="T10" fmla="*/ 2147483647 w 40"/>
                <a:gd name="T11" fmla="*/ 2147483647 h 31"/>
                <a:gd name="T12" fmla="*/ 2147483647 w 40"/>
                <a:gd name="T13" fmla="*/ 2147483647 h 31"/>
                <a:gd name="T14" fmla="*/ 2147483647 w 40"/>
                <a:gd name="T15" fmla="*/ 2147483647 h 31"/>
                <a:gd name="T16" fmla="*/ 2147483647 w 40"/>
                <a:gd name="T17" fmla="*/ 2147483647 h 31"/>
                <a:gd name="T18" fmla="*/ 2147483647 w 40"/>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1"/>
                <a:gd name="T32" fmla="*/ 40 w 40"/>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1">
                  <a:moveTo>
                    <a:pt x="32" y="7"/>
                  </a:moveTo>
                  <a:lnTo>
                    <a:pt x="23" y="0"/>
                  </a:lnTo>
                  <a:lnTo>
                    <a:pt x="16" y="12"/>
                  </a:lnTo>
                  <a:lnTo>
                    <a:pt x="0" y="16"/>
                  </a:lnTo>
                  <a:lnTo>
                    <a:pt x="2" y="20"/>
                  </a:lnTo>
                  <a:lnTo>
                    <a:pt x="10" y="18"/>
                  </a:lnTo>
                  <a:lnTo>
                    <a:pt x="17" y="31"/>
                  </a:lnTo>
                  <a:lnTo>
                    <a:pt x="40" y="19"/>
                  </a:lnTo>
                  <a:lnTo>
                    <a:pt x="40" y="12"/>
                  </a:lnTo>
                  <a:lnTo>
                    <a:pt x="32" y="7"/>
                  </a:lnTo>
                  <a:close/>
                </a:path>
              </a:pathLst>
            </a:custGeom>
            <a:grpFill/>
            <a:ln w="6350">
              <a:solidFill>
                <a:schemeClr val="tx2"/>
              </a:solidFill>
              <a:round/>
              <a:headEnd/>
              <a:tailEnd/>
            </a:ln>
          </p:spPr>
          <p:txBody>
            <a:bodyPr/>
            <a:lstStyle/>
            <a:p>
              <a:endParaRPr lang="en-US"/>
            </a:p>
          </p:txBody>
        </p:sp>
        <p:sp>
          <p:nvSpPr>
            <p:cNvPr id="755" name="Freeform 1760"/>
            <p:cNvSpPr>
              <a:spLocks/>
            </p:cNvSpPr>
            <p:nvPr/>
          </p:nvSpPr>
          <p:spPr bwMode="auto">
            <a:xfrm>
              <a:off x="4926298" y="2324418"/>
              <a:ext cx="48548" cy="40961"/>
            </a:xfrm>
            <a:custGeom>
              <a:avLst/>
              <a:gdLst>
                <a:gd name="T0" fmla="*/ 2147483647 w 98"/>
                <a:gd name="T1" fmla="*/ 2147483647 h 86"/>
                <a:gd name="T2" fmla="*/ 2147483647 w 98"/>
                <a:gd name="T3" fmla="*/ 0 h 86"/>
                <a:gd name="T4" fmla="*/ 2147483647 w 98"/>
                <a:gd name="T5" fmla="*/ 2147483647 h 86"/>
                <a:gd name="T6" fmla="*/ 2147483647 w 98"/>
                <a:gd name="T7" fmla="*/ 2147483647 h 86"/>
                <a:gd name="T8" fmla="*/ 2147483647 w 98"/>
                <a:gd name="T9" fmla="*/ 2147483647 h 86"/>
                <a:gd name="T10" fmla="*/ 2147483647 w 98"/>
                <a:gd name="T11" fmla="*/ 2147483647 h 86"/>
                <a:gd name="T12" fmla="*/ 2147483647 w 98"/>
                <a:gd name="T13" fmla="*/ 2147483647 h 86"/>
                <a:gd name="T14" fmla="*/ 2147483647 w 98"/>
                <a:gd name="T15" fmla="*/ 2147483647 h 86"/>
                <a:gd name="T16" fmla="*/ 2147483647 w 98"/>
                <a:gd name="T17" fmla="*/ 2147483647 h 86"/>
                <a:gd name="T18" fmla="*/ 2147483647 w 98"/>
                <a:gd name="T19" fmla="*/ 2147483647 h 86"/>
                <a:gd name="T20" fmla="*/ 2147483647 w 98"/>
                <a:gd name="T21" fmla="*/ 2147483647 h 86"/>
                <a:gd name="T22" fmla="*/ 2147483647 w 98"/>
                <a:gd name="T23" fmla="*/ 2147483647 h 86"/>
                <a:gd name="T24" fmla="*/ 2147483647 w 98"/>
                <a:gd name="T25" fmla="*/ 2147483647 h 86"/>
                <a:gd name="T26" fmla="*/ 2147483647 w 98"/>
                <a:gd name="T27" fmla="*/ 2147483647 h 86"/>
                <a:gd name="T28" fmla="*/ 0 w 98"/>
                <a:gd name="T29" fmla="*/ 2147483647 h 86"/>
                <a:gd name="T30" fmla="*/ 2147483647 w 98"/>
                <a:gd name="T31" fmla="*/ 2147483647 h 86"/>
                <a:gd name="T32" fmla="*/ 2147483647 w 98"/>
                <a:gd name="T33" fmla="*/ 2147483647 h 86"/>
                <a:gd name="T34" fmla="*/ 2147483647 w 98"/>
                <a:gd name="T35" fmla="*/ 2147483647 h 8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86"/>
                <a:gd name="T56" fmla="*/ 98 w 98"/>
                <a:gd name="T57" fmla="*/ 86 h 8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86">
                  <a:moveTo>
                    <a:pt x="59" y="2"/>
                  </a:moveTo>
                  <a:lnTo>
                    <a:pt x="65" y="0"/>
                  </a:lnTo>
                  <a:lnTo>
                    <a:pt x="71" y="25"/>
                  </a:lnTo>
                  <a:lnTo>
                    <a:pt x="64" y="43"/>
                  </a:lnTo>
                  <a:lnTo>
                    <a:pt x="82" y="23"/>
                  </a:lnTo>
                  <a:lnTo>
                    <a:pt x="83" y="9"/>
                  </a:lnTo>
                  <a:lnTo>
                    <a:pt x="98" y="20"/>
                  </a:lnTo>
                  <a:lnTo>
                    <a:pt x="97" y="39"/>
                  </a:lnTo>
                  <a:lnTo>
                    <a:pt x="74" y="61"/>
                  </a:lnTo>
                  <a:lnTo>
                    <a:pt x="71" y="54"/>
                  </a:lnTo>
                  <a:lnTo>
                    <a:pt x="57" y="75"/>
                  </a:lnTo>
                  <a:lnTo>
                    <a:pt x="54" y="57"/>
                  </a:lnTo>
                  <a:lnTo>
                    <a:pt x="25" y="86"/>
                  </a:lnTo>
                  <a:lnTo>
                    <a:pt x="19" y="78"/>
                  </a:lnTo>
                  <a:lnTo>
                    <a:pt x="0" y="86"/>
                  </a:lnTo>
                  <a:lnTo>
                    <a:pt x="7" y="68"/>
                  </a:lnTo>
                  <a:lnTo>
                    <a:pt x="43" y="54"/>
                  </a:lnTo>
                  <a:lnTo>
                    <a:pt x="59" y="2"/>
                  </a:lnTo>
                  <a:close/>
                </a:path>
              </a:pathLst>
            </a:custGeom>
            <a:grpFill/>
            <a:ln w="6350">
              <a:solidFill>
                <a:schemeClr val="tx2"/>
              </a:solidFill>
              <a:round/>
              <a:headEnd/>
              <a:tailEnd/>
            </a:ln>
          </p:spPr>
          <p:txBody>
            <a:bodyPr/>
            <a:lstStyle/>
            <a:p>
              <a:endParaRPr lang="en-US"/>
            </a:p>
          </p:txBody>
        </p:sp>
        <p:sp>
          <p:nvSpPr>
            <p:cNvPr id="756" name="Freeform 1761"/>
            <p:cNvSpPr>
              <a:spLocks/>
            </p:cNvSpPr>
            <p:nvPr/>
          </p:nvSpPr>
          <p:spPr bwMode="auto">
            <a:xfrm>
              <a:off x="4932366" y="2322900"/>
              <a:ext cx="18206" cy="21239"/>
            </a:xfrm>
            <a:custGeom>
              <a:avLst/>
              <a:gdLst>
                <a:gd name="T0" fmla="*/ 0 w 37"/>
                <a:gd name="T1" fmla="*/ 2147483647 h 45"/>
                <a:gd name="T2" fmla="*/ 2147483647 w 37"/>
                <a:gd name="T3" fmla="*/ 2147483647 h 45"/>
                <a:gd name="T4" fmla="*/ 2147483647 w 37"/>
                <a:gd name="T5" fmla="*/ 2147483647 h 45"/>
                <a:gd name="T6" fmla="*/ 2147483647 w 37"/>
                <a:gd name="T7" fmla="*/ 0 h 45"/>
                <a:gd name="T8" fmla="*/ 2147483647 w 37"/>
                <a:gd name="T9" fmla="*/ 2147483647 h 45"/>
                <a:gd name="T10" fmla="*/ 2147483647 w 37"/>
                <a:gd name="T11" fmla="*/ 2147483647 h 45"/>
                <a:gd name="T12" fmla="*/ 2147483647 w 37"/>
                <a:gd name="T13" fmla="*/ 2147483647 h 45"/>
                <a:gd name="T14" fmla="*/ 2147483647 w 37"/>
                <a:gd name="T15" fmla="*/ 2147483647 h 45"/>
                <a:gd name="T16" fmla="*/ 2147483647 w 37"/>
                <a:gd name="T17" fmla="*/ 2147483647 h 45"/>
                <a:gd name="T18" fmla="*/ 2147483647 w 37"/>
                <a:gd name="T19" fmla="*/ 2147483647 h 45"/>
                <a:gd name="T20" fmla="*/ 0 w 37"/>
                <a:gd name="T21" fmla="*/ 2147483647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5"/>
                <a:gd name="T35" fmla="*/ 37 w 37"/>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5">
                  <a:moveTo>
                    <a:pt x="0" y="32"/>
                  </a:moveTo>
                  <a:lnTo>
                    <a:pt x="17" y="9"/>
                  </a:lnTo>
                  <a:lnTo>
                    <a:pt x="27" y="15"/>
                  </a:lnTo>
                  <a:lnTo>
                    <a:pt x="27" y="0"/>
                  </a:lnTo>
                  <a:lnTo>
                    <a:pt x="36" y="16"/>
                  </a:lnTo>
                  <a:lnTo>
                    <a:pt x="37" y="37"/>
                  </a:lnTo>
                  <a:lnTo>
                    <a:pt x="20" y="45"/>
                  </a:lnTo>
                  <a:lnTo>
                    <a:pt x="18" y="38"/>
                  </a:lnTo>
                  <a:lnTo>
                    <a:pt x="26" y="26"/>
                  </a:lnTo>
                  <a:lnTo>
                    <a:pt x="1" y="44"/>
                  </a:lnTo>
                  <a:lnTo>
                    <a:pt x="0" y="32"/>
                  </a:lnTo>
                  <a:close/>
                </a:path>
              </a:pathLst>
            </a:custGeom>
            <a:grpFill/>
            <a:ln w="6350">
              <a:solidFill>
                <a:schemeClr val="tx2"/>
              </a:solidFill>
              <a:round/>
              <a:headEnd/>
              <a:tailEnd/>
            </a:ln>
          </p:spPr>
          <p:txBody>
            <a:bodyPr/>
            <a:lstStyle/>
            <a:p>
              <a:endParaRPr lang="en-US"/>
            </a:p>
          </p:txBody>
        </p:sp>
        <p:sp>
          <p:nvSpPr>
            <p:cNvPr id="757" name="Freeform 1762"/>
            <p:cNvSpPr>
              <a:spLocks/>
            </p:cNvSpPr>
            <p:nvPr/>
          </p:nvSpPr>
          <p:spPr bwMode="auto">
            <a:xfrm>
              <a:off x="4953606" y="2301661"/>
              <a:ext cx="15172" cy="18206"/>
            </a:xfrm>
            <a:custGeom>
              <a:avLst/>
              <a:gdLst>
                <a:gd name="T0" fmla="*/ 2147483647 w 28"/>
                <a:gd name="T1" fmla="*/ 2147483647 h 37"/>
                <a:gd name="T2" fmla="*/ 2147483647 w 28"/>
                <a:gd name="T3" fmla="*/ 0 h 37"/>
                <a:gd name="T4" fmla="*/ 2147483647 w 28"/>
                <a:gd name="T5" fmla="*/ 2147483647 h 37"/>
                <a:gd name="T6" fmla="*/ 2147483647 w 28"/>
                <a:gd name="T7" fmla="*/ 2147483647 h 37"/>
                <a:gd name="T8" fmla="*/ 0 w 28"/>
                <a:gd name="T9" fmla="*/ 2147483647 h 37"/>
                <a:gd name="T10" fmla="*/ 2147483647 w 28"/>
                <a:gd name="T11" fmla="*/ 2147483647 h 37"/>
                <a:gd name="T12" fmla="*/ 0 60000 65536"/>
                <a:gd name="T13" fmla="*/ 0 60000 65536"/>
                <a:gd name="T14" fmla="*/ 0 60000 65536"/>
                <a:gd name="T15" fmla="*/ 0 60000 65536"/>
                <a:gd name="T16" fmla="*/ 0 60000 65536"/>
                <a:gd name="T17" fmla="*/ 0 60000 65536"/>
                <a:gd name="T18" fmla="*/ 0 w 28"/>
                <a:gd name="T19" fmla="*/ 0 h 37"/>
                <a:gd name="T20" fmla="*/ 28 w 28"/>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8" h="37">
                  <a:moveTo>
                    <a:pt x="11" y="14"/>
                  </a:moveTo>
                  <a:lnTo>
                    <a:pt x="17" y="0"/>
                  </a:lnTo>
                  <a:lnTo>
                    <a:pt x="28" y="4"/>
                  </a:lnTo>
                  <a:lnTo>
                    <a:pt x="12" y="37"/>
                  </a:lnTo>
                  <a:lnTo>
                    <a:pt x="0" y="35"/>
                  </a:lnTo>
                  <a:lnTo>
                    <a:pt x="11" y="14"/>
                  </a:lnTo>
                  <a:close/>
                </a:path>
              </a:pathLst>
            </a:custGeom>
            <a:grpFill/>
            <a:ln w="6350">
              <a:solidFill>
                <a:schemeClr val="tx2"/>
              </a:solidFill>
              <a:round/>
              <a:headEnd/>
              <a:tailEnd/>
            </a:ln>
          </p:spPr>
          <p:txBody>
            <a:bodyPr/>
            <a:lstStyle/>
            <a:p>
              <a:endParaRPr lang="en-US"/>
            </a:p>
          </p:txBody>
        </p:sp>
        <p:sp>
          <p:nvSpPr>
            <p:cNvPr id="758" name="Freeform 1763"/>
            <p:cNvSpPr>
              <a:spLocks/>
            </p:cNvSpPr>
            <p:nvPr/>
          </p:nvSpPr>
          <p:spPr bwMode="auto">
            <a:xfrm>
              <a:off x="4938435" y="2386619"/>
              <a:ext cx="13653" cy="10620"/>
            </a:xfrm>
            <a:custGeom>
              <a:avLst/>
              <a:gdLst>
                <a:gd name="T0" fmla="*/ 2147483647 w 27"/>
                <a:gd name="T1" fmla="*/ 2147483647 h 21"/>
                <a:gd name="T2" fmla="*/ 2147483647 w 27"/>
                <a:gd name="T3" fmla="*/ 0 h 21"/>
                <a:gd name="T4" fmla="*/ 2147483647 w 27"/>
                <a:gd name="T5" fmla="*/ 0 h 21"/>
                <a:gd name="T6" fmla="*/ 2147483647 w 27"/>
                <a:gd name="T7" fmla="*/ 2147483647 h 21"/>
                <a:gd name="T8" fmla="*/ 0 w 27"/>
                <a:gd name="T9" fmla="*/ 2147483647 h 21"/>
                <a:gd name="T10" fmla="*/ 2147483647 w 27"/>
                <a:gd name="T11" fmla="*/ 2147483647 h 21"/>
                <a:gd name="T12" fmla="*/ 0 60000 65536"/>
                <a:gd name="T13" fmla="*/ 0 60000 65536"/>
                <a:gd name="T14" fmla="*/ 0 60000 65536"/>
                <a:gd name="T15" fmla="*/ 0 60000 65536"/>
                <a:gd name="T16" fmla="*/ 0 60000 65536"/>
                <a:gd name="T17" fmla="*/ 0 60000 65536"/>
                <a:gd name="T18" fmla="*/ 0 w 27"/>
                <a:gd name="T19" fmla="*/ 0 h 21"/>
                <a:gd name="T20" fmla="*/ 27 w 2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7" h="21">
                  <a:moveTo>
                    <a:pt x="10" y="8"/>
                  </a:moveTo>
                  <a:lnTo>
                    <a:pt x="6" y="0"/>
                  </a:lnTo>
                  <a:lnTo>
                    <a:pt x="27" y="0"/>
                  </a:lnTo>
                  <a:lnTo>
                    <a:pt x="9" y="21"/>
                  </a:lnTo>
                  <a:lnTo>
                    <a:pt x="0" y="19"/>
                  </a:lnTo>
                  <a:lnTo>
                    <a:pt x="10" y="8"/>
                  </a:lnTo>
                  <a:close/>
                </a:path>
              </a:pathLst>
            </a:custGeom>
            <a:grpFill/>
            <a:ln w="6350">
              <a:solidFill>
                <a:schemeClr val="tx2"/>
              </a:solidFill>
              <a:round/>
              <a:headEnd/>
              <a:tailEnd/>
            </a:ln>
          </p:spPr>
          <p:txBody>
            <a:bodyPr/>
            <a:lstStyle/>
            <a:p>
              <a:endParaRPr lang="en-US"/>
            </a:p>
          </p:txBody>
        </p:sp>
        <p:sp>
          <p:nvSpPr>
            <p:cNvPr id="759" name="Freeform 1764"/>
            <p:cNvSpPr>
              <a:spLocks/>
            </p:cNvSpPr>
            <p:nvPr/>
          </p:nvSpPr>
          <p:spPr bwMode="auto">
            <a:xfrm>
              <a:off x="4983948" y="2284973"/>
              <a:ext cx="21239" cy="33376"/>
            </a:xfrm>
            <a:custGeom>
              <a:avLst/>
              <a:gdLst>
                <a:gd name="T0" fmla="*/ 2147483647 w 51"/>
                <a:gd name="T1" fmla="*/ 2147483647 h 65"/>
                <a:gd name="T2" fmla="*/ 2147483647 w 51"/>
                <a:gd name="T3" fmla="*/ 2147483647 h 65"/>
                <a:gd name="T4" fmla="*/ 2147483647 w 51"/>
                <a:gd name="T5" fmla="*/ 2147483647 h 65"/>
                <a:gd name="T6" fmla="*/ 2147483647 w 51"/>
                <a:gd name="T7" fmla="*/ 2147483647 h 65"/>
                <a:gd name="T8" fmla="*/ 2147483647 w 51"/>
                <a:gd name="T9" fmla="*/ 2147483647 h 65"/>
                <a:gd name="T10" fmla="*/ 2147483647 w 51"/>
                <a:gd name="T11" fmla="*/ 2147483647 h 65"/>
                <a:gd name="T12" fmla="*/ 2147483647 w 51"/>
                <a:gd name="T13" fmla="*/ 0 h 65"/>
                <a:gd name="T14" fmla="*/ 2147483647 w 51"/>
                <a:gd name="T15" fmla="*/ 2147483647 h 65"/>
                <a:gd name="T16" fmla="*/ 2147483647 w 51"/>
                <a:gd name="T17" fmla="*/ 2147483647 h 65"/>
                <a:gd name="T18" fmla="*/ 2147483647 w 51"/>
                <a:gd name="T19" fmla="*/ 2147483647 h 65"/>
                <a:gd name="T20" fmla="*/ 2147483647 w 51"/>
                <a:gd name="T21" fmla="*/ 2147483647 h 65"/>
                <a:gd name="T22" fmla="*/ 0 w 51"/>
                <a:gd name="T23" fmla="*/ 2147483647 h 65"/>
                <a:gd name="T24" fmla="*/ 2147483647 w 51"/>
                <a:gd name="T25" fmla="*/ 2147483647 h 65"/>
                <a:gd name="T26" fmla="*/ 2147483647 w 51"/>
                <a:gd name="T27" fmla="*/ 2147483647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65"/>
                <a:gd name="T44" fmla="*/ 51 w 51"/>
                <a:gd name="T45" fmla="*/ 65 h 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65">
                  <a:moveTo>
                    <a:pt x="6" y="46"/>
                  </a:moveTo>
                  <a:lnTo>
                    <a:pt x="1" y="41"/>
                  </a:lnTo>
                  <a:lnTo>
                    <a:pt x="8" y="39"/>
                  </a:lnTo>
                  <a:lnTo>
                    <a:pt x="6" y="27"/>
                  </a:lnTo>
                  <a:lnTo>
                    <a:pt x="28" y="14"/>
                  </a:lnTo>
                  <a:lnTo>
                    <a:pt x="31" y="11"/>
                  </a:lnTo>
                  <a:lnTo>
                    <a:pt x="28" y="0"/>
                  </a:lnTo>
                  <a:lnTo>
                    <a:pt x="40" y="1"/>
                  </a:lnTo>
                  <a:lnTo>
                    <a:pt x="51" y="26"/>
                  </a:lnTo>
                  <a:lnTo>
                    <a:pt x="47" y="50"/>
                  </a:lnTo>
                  <a:lnTo>
                    <a:pt x="3" y="65"/>
                  </a:lnTo>
                  <a:lnTo>
                    <a:pt x="0" y="59"/>
                  </a:lnTo>
                  <a:lnTo>
                    <a:pt x="10" y="49"/>
                  </a:lnTo>
                  <a:lnTo>
                    <a:pt x="6" y="46"/>
                  </a:lnTo>
                  <a:close/>
                </a:path>
              </a:pathLst>
            </a:custGeom>
            <a:grpFill/>
            <a:ln w="6350">
              <a:solidFill>
                <a:schemeClr val="tx2"/>
              </a:solidFill>
              <a:round/>
              <a:headEnd/>
              <a:tailEnd/>
            </a:ln>
          </p:spPr>
          <p:txBody>
            <a:bodyPr/>
            <a:lstStyle/>
            <a:p>
              <a:endParaRPr lang="en-US"/>
            </a:p>
          </p:txBody>
        </p:sp>
        <p:sp>
          <p:nvSpPr>
            <p:cNvPr id="760" name="Freeform 1765"/>
            <p:cNvSpPr>
              <a:spLocks/>
            </p:cNvSpPr>
            <p:nvPr/>
          </p:nvSpPr>
          <p:spPr bwMode="auto">
            <a:xfrm>
              <a:off x="5008223" y="2268284"/>
              <a:ext cx="18206" cy="19723"/>
            </a:xfrm>
            <a:custGeom>
              <a:avLst/>
              <a:gdLst>
                <a:gd name="T0" fmla="*/ 2147483647 w 39"/>
                <a:gd name="T1" fmla="*/ 2147483647 h 39"/>
                <a:gd name="T2" fmla="*/ 2147483647 w 39"/>
                <a:gd name="T3" fmla="*/ 2147483647 h 39"/>
                <a:gd name="T4" fmla="*/ 2147483647 w 39"/>
                <a:gd name="T5" fmla="*/ 0 h 39"/>
                <a:gd name="T6" fmla="*/ 2147483647 w 39"/>
                <a:gd name="T7" fmla="*/ 2147483647 h 39"/>
                <a:gd name="T8" fmla="*/ 2147483647 w 39"/>
                <a:gd name="T9" fmla="*/ 2147483647 h 39"/>
                <a:gd name="T10" fmla="*/ 2147483647 w 39"/>
                <a:gd name="T11" fmla="*/ 2147483647 h 39"/>
                <a:gd name="T12" fmla="*/ 0 w 39"/>
                <a:gd name="T13" fmla="*/ 2147483647 h 39"/>
                <a:gd name="T14" fmla="*/ 2147483647 w 39"/>
                <a:gd name="T15" fmla="*/ 2147483647 h 39"/>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9"/>
                <a:gd name="T26" fmla="*/ 39 w 39"/>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9">
                  <a:moveTo>
                    <a:pt x="8" y="20"/>
                  </a:moveTo>
                  <a:lnTo>
                    <a:pt x="26" y="16"/>
                  </a:lnTo>
                  <a:lnTo>
                    <a:pt x="28" y="0"/>
                  </a:lnTo>
                  <a:lnTo>
                    <a:pt x="39" y="11"/>
                  </a:lnTo>
                  <a:lnTo>
                    <a:pt x="32" y="31"/>
                  </a:lnTo>
                  <a:lnTo>
                    <a:pt x="13" y="39"/>
                  </a:lnTo>
                  <a:lnTo>
                    <a:pt x="0" y="35"/>
                  </a:lnTo>
                  <a:lnTo>
                    <a:pt x="8" y="20"/>
                  </a:lnTo>
                  <a:close/>
                </a:path>
              </a:pathLst>
            </a:custGeom>
            <a:grpFill/>
            <a:ln w="6350">
              <a:solidFill>
                <a:schemeClr val="tx2"/>
              </a:solidFill>
              <a:round/>
              <a:headEnd/>
              <a:tailEnd/>
            </a:ln>
          </p:spPr>
          <p:txBody>
            <a:bodyPr/>
            <a:lstStyle/>
            <a:p>
              <a:endParaRPr lang="en-US"/>
            </a:p>
          </p:txBody>
        </p:sp>
        <p:sp>
          <p:nvSpPr>
            <p:cNvPr id="761" name="Freeform 1766"/>
            <p:cNvSpPr>
              <a:spLocks/>
            </p:cNvSpPr>
            <p:nvPr/>
          </p:nvSpPr>
          <p:spPr bwMode="auto">
            <a:xfrm>
              <a:off x="5026427" y="2257664"/>
              <a:ext cx="15172" cy="13653"/>
            </a:xfrm>
            <a:custGeom>
              <a:avLst/>
              <a:gdLst>
                <a:gd name="T0" fmla="*/ 2147483647 w 31"/>
                <a:gd name="T1" fmla="*/ 0 h 28"/>
                <a:gd name="T2" fmla="*/ 2147483647 w 31"/>
                <a:gd name="T3" fmla="*/ 2147483647 h 28"/>
                <a:gd name="T4" fmla="*/ 2147483647 w 31"/>
                <a:gd name="T5" fmla="*/ 2147483647 h 28"/>
                <a:gd name="T6" fmla="*/ 0 w 31"/>
                <a:gd name="T7" fmla="*/ 2147483647 h 28"/>
                <a:gd name="T8" fmla="*/ 2147483647 w 31"/>
                <a:gd name="T9" fmla="*/ 0 h 28"/>
                <a:gd name="T10" fmla="*/ 0 60000 65536"/>
                <a:gd name="T11" fmla="*/ 0 60000 65536"/>
                <a:gd name="T12" fmla="*/ 0 60000 65536"/>
                <a:gd name="T13" fmla="*/ 0 60000 65536"/>
                <a:gd name="T14" fmla="*/ 0 60000 65536"/>
                <a:gd name="T15" fmla="*/ 0 w 31"/>
                <a:gd name="T16" fmla="*/ 0 h 28"/>
                <a:gd name="T17" fmla="*/ 31 w 31"/>
                <a:gd name="T18" fmla="*/ 28 h 28"/>
              </a:gdLst>
              <a:ahLst/>
              <a:cxnLst>
                <a:cxn ang="T10">
                  <a:pos x="T0" y="T1"/>
                </a:cxn>
                <a:cxn ang="T11">
                  <a:pos x="T2" y="T3"/>
                </a:cxn>
                <a:cxn ang="T12">
                  <a:pos x="T4" y="T5"/>
                </a:cxn>
                <a:cxn ang="T13">
                  <a:pos x="T6" y="T7"/>
                </a:cxn>
                <a:cxn ang="T14">
                  <a:pos x="T8" y="T9"/>
                </a:cxn>
              </a:cxnLst>
              <a:rect l="T15" t="T16" r="T17" b="T18"/>
              <a:pathLst>
                <a:path w="31" h="28">
                  <a:moveTo>
                    <a:pt x="1" y="0"/>
                  </a:moveTo>
                  <a:lnTo>
                    <a:pt x="31" y="6"/>
                  </a:lnTo>
                  <a:lnTo>
                    <a:pt x="16" y="28"/>
                  </a:lnTo>
                  <a:lnTo>
                    <a:pt x="0" y="15"/>
                  </a:lnTo>
                  <a:lnTo>
                    <a:pt x="1" y="0"/>
                  </a:lnTo>
                  <a:close/>
                </a:path>
              </a:pathLst>
            </a:custGeom>
            <a:grpFill/>
            <a:ln w="6350">
              <a:solidFill>
                <a:schemeClr val="tx2"/>
              </a:solidFill>
              <a:round/>
              <a:headEnd/>
              <a:tailEnd/>
            </a:ln>
          </p:spPr>
          <p:txBody>
            <a:bodyPr/>
            <a:lstStyle/>
            <a:p>
              <a:endParaRPr lang="en-US"/>
            </a:p>
          </p:txBody>
        </p:sp>
        <p:sp>
          <p:nvSpPr>
            <p:cNvPr id="762" name="Freeform 1767"/>
            <p:cNvSpPr>
              <a:spLocks/>
            </p:cNvSpPr>
            <p:nvPr/>
          </p:nvSpPr>
          <p:spPr bwMode="auto">
            <a:xfrm>
              <a:off x="5041599" y="2244010"/>
              <a:ext cx="9103" cy="10620"/>
            </a:xfrm>
            <a:custGeom>
              <a:avLst/>
              <a:gdLst>
                <a:gd name="T0" fmla="*/ 2147483647 w 22"/>
                <a:gd name="T1" fmla="*/ 2147483647 h 21"/>
                <a:gd name="T2" fmla="*/ 2147483647 w 22"/>
                <a:gd name="T3" fmla="*/ 2147483647 h 21"/>
                <a:gd name="T4" fmla="*/ 2147483647 w 22"/>
                <a:gd name="T5" fmla="*/ 2147483647 h 21"/>
                <a:gd name="T6" fmla="*/ 0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11" y="9"/>
                  </a:moveTo>
                  <a:lnTo>
                    <a:pt x="22" y="20"/>
                  </a:lnTo>
                  <a:lnTo>
                    <a:pt x="7" y="21"/>
                  </a:lnTo>
                  <a:lnTo>
                    <a:pt x="0" y="0"/>
                  </a:lnTo>
                  <a:lnTo>
                    <a:pt x="11" y="9"/>
                  </a:lnTo>
                  <a:close/>
                </a:path>
              </a:pathLst>
            </a:custGeom>
            <a:grpFill/>
            <a:ln w="6350">
              <a:solidFill>
                <a:schemeClr val="tx2"/>
              </a:solidFill>
              <a:round/>
              <a:headEnd/>
              <a:tailEnd/>
            </a:ln>
          </p:spPr>
          <p:txBody>
            <a:bodyPr/>
            <a:lstStyle/>
            <a:p>
              <a:endParaRPr lang="en-US"/>
            </a:p>
          </p:txBody>
        </p:sp>
        <p:sp>
          <p:nvSpPr>
            <p:cNvPr id="763" name="Freeform 1768"/>
            <p:cNvSpPr>
              <a:spLocks/>
            </p:cNvSpPr>
            <p:nvPr/>
          </p:nvSpPr>
          <p:spPr bwMode="auto">
            <a:xfrm>
              <a:off x="5059804" y="2245528"/>
              <a:ext cx="7585" cy="10619"/>
            </a:xfrm>
            <a:custGeom>
              <a:avLst/>
              <a:gdLst>
                <a:gd name="T0" fmla="*/ 2147483647 w 14"/>
                <a:gd name="T1" fmla="*/ 0 h 21"/>
                <a:gd name="T2" fmla="*/ 2147483647 w 14"/>
                <a:gd name="T3" fmla="*/ 2147483647 h 21"/>
                <a:gd name="T4" fmla="*/ 2147483647 w 14"/>
                <a:gd name="T5" fmla="*/ 2147483647 h 21"/>
                <a:gd name="T6" fmla="*/ 0 w 14"/>
                <a:gd name="T7" fmla="*/ 2147483647 h 21"/>
                <a:gd name="T8" fmla="*/ 2147483647 w 14"/>
                <a:gd name="T9" fmla="*/ 0 h 21"/>
                <a:gd name="T10" fmla="*/ 0 60000 65536"/>
                <a:gd name="T11" fmla="*/ 0 60000 65536"/>
                <a:gd name="T12" fmla="*/ 0 60000 65536"/>
                <a:gd name="T13" fmla="*/ 0 60000 65536"/>
                <a:gd name="T14" fmla="*/ 0 60000 65536"/>
                <a:gd name="T15" fmla="*/ 0 w 14"/>
                <a:gd name="T16" fmla="*/ 0 h 21"/>
                <a:gd name="T17" fmla="*/ 14 w 14"/>
                <a:gd name="T18" fmla="*/ 21 h 21"/>
              </a:gdLst>
              <a:ahLst/>
              <a:cxnLst>
                <a:cxn ang="T10">
                  <a:pos x="T0" y="T1"/>
                </a:cxn>
                <a:cxn ang="T11">
                  <a:pos x="T2" y="T3"/>
                </a:cxn>
                <a:cxn ang="T12">
                  <a:pos x="T4" y="T5"/>
                </a:cxn>
                <a:cxn ang="T13">
                  <a:pos x="T6" y="T7"/>
                </a:cxn>
                <a:cxn ang="T14">
                  <a:pos x="T8" y="T9"/>
                </a:cxn>
              </a:cxnLst>
              <a:rect l="T15" t="T16" r="T17" b="T18"/>
              <a:pathLst>
                <a:path w="14" h="21">
                  <a:moveTo>
                    <a:pt x="9" y="0"/>
                  </a:moveTo>
                  <a:lnTo>
                    <a:pt x="14" y="5"/>
                  </a:lnTo>
                  <a:lnTo>
                    <a:pt x="11" y="21"/>
                  </a:lnTo>
                  <a:lnTo>
                    <a:pt x="0" y="16"/>
                  </a:lnTo>
                  <a:lnTo>
                    <a:pt x="9" y="0"/>
                  </a:lnTo>
                  <a:close/>
                </a:path>
              </a:pathLst>
            </a:custGeom>
            <a:grpFill/>
            <a:ln w="6350">
              <a:solidFill>
                <a:schemeClr val="tx2"/>
              </a:solidFill>
              <a:round/>
              <a:headEnd/>
              <a:tailEnd/>
            </a:ln>
          </p:spPr>
          <p:txBody>
            <a:bodyPr/>
            <a:lstStyle/>
            <a:p>
              <a:endParaRPr lang="en-US"/>
            </a:p>
          </p:txBody>
        </p:sp>
        <p:sp>
          <p:nvSpPr>
            <p:cNvPr id="764" name="Freeform 1769"/>
            <p:cNvSpPr>
              <a:spLocks/>
            </p:cNvSpPr>
            <p:nvPr/>
          </p:nvSpPr>
          <p:spPr bwMode="auto">
            <a:xfrm>
              <a:off x="5103800" y="2239459"/>
              <a:ext cx="10620" cy="4550"/>
            </a:xfrm>
            <a:custGeom>
              <a:avLst/>
              <a:gdLst>
                <a:gd name="T0" fmla="*/ 2147483647 w 21"/>
                <a:gd name="T1" fmla="*/ 2147483647 h 13"/>
                <a:gd name="T2" fmla="*/ 0 w 21"/>
                <a:gd name="T3" fmla="*/ 0 h 13"/>
                <a:gd name="T4" fmla="*/ 2147483647 w 21"/>
                <a:gd name="T5" fmla="*/ 0 h 13"/>
                <a:gd name="T6" fmla="*/ 2147483647 w 21"/>
                <a:gd name="T7" fmla="*/ 2147483647 h 13"/>
                <a:gd name="T8" fmla="*/ 2147483647 w 21"/>
                <a:gd name="T9" fmla="*/ 2147483647 h 13"/>
                <a:gd name="T10" fmla="*/ 0 60000 65536"/>
                <a:gd name="T11" fmla="*/ 0 60000 65536"/>
                <a:gd name="T12" fmla="*/ 0 60000 65536"/>
                <a:gd name="T13" fmla="*/ 0 60000 65536"/>
                <a:gd name="T14" fmla="*/ 0 60000 65536"/>
                <a:gd name="T15" fmla="*/ 0 w 21"/>
                <a:gd name="T16" fmla="*/ 0 h 13"/>
                <a:gd name="T17" fmla="*/ 21 w 21"/>
                <a:gd name="T18" fmla="*/ 13 h 13"/>
              </a:gdLst>
              <a:ahLst/>
              <a:cxnLst>
                <a:cxn ang="T10">
                  <a:pos x="T0" y="T1"/>
                </a:cxn>
                <a:cxn ang="T11">
                  <a:pos x="T2" y="T3"/>
                </a:cxn>
                <a:cxn ang="T12">
                  <a:pos x="T4" y="T5"/>
                </a:cxn>
                <a:cxn ang="T13">
                  <a:pos x="T6" y="T7"/>
                </a:cxn>
                <a:cxn ang="T14">
                  <a:pos x="T8" y="T9"/>
                </a:cxn>
              </a:cxnLst>
              <a:rect l="T15" t="T16" r="T17" b="T18"/>
              <a:pathLst>
                <a:path w="21" h="13">
                  <a:moveTo>
                    <a:pt x="12" y="13"/>
                  </a:moveTo>
                  <a:lnTo>
                    <a:pt x="0" y="0"/>
                  </a:lnTo>
                  <a:lnTo>
                    <a:pt x="16" y="0"/>
                  </a:lnTo>
                  <a:lnTo>
                    <a:pt x="21" y="11"/>
                  </a:lnTo>
                  <a:lnTo>
                    <a:pt x="12" y="13"/>
                  </a:lnTo>
                  <a:close/>
                </a:path>
              </a:pathLst>
            </a:custGeom>
            <a:grpFill/>
            <a:ln w="6350">
              <a:solidFill>
                <a:schemeClr val="tx2"/>
              </a:solidFill>
              <a:round/>
              <a:headEnd/>
              <a:tailEnd/>
            </a:ln>
          </p:spPr>
          <p:txBody>
            <a:bodyPr/>
            <a:lstStyle/>
            <a:p>
              <a:endParaRPr lang="en-US"/>
            </a:p>
          </p:txBody>
        </p:sp>
        <p:sp>
          <p:nvSpPr>
            <p:cNvPr id="765" name="Freeform 1770"/>
            <p:cNvSpPr>
              <a:spLocks/>
            </p:cNvSpPr>
            <p:nvPr/>
          </p:nvSpPr>
          <p:spPr bwMode="auto">
            <a:xfrm>
              <a:off x="5094697" y="2213668"/>
              <a:ext cx="22757" cy="16689"/>
            </a:xfrm>
            <a:custGeom>
              <a:avLst/>
              <a:gdLst>
                <a:gd name="T0" fmla="*/ 2147483647 w 46"/>
                <a:gd name="T1" fmla="*/ 2147483647 h 33"/>
                <a:gd name="T2" fmla="*/ 2147483647 w 46"/>
                <a:gd name="T3" fmla="*/ 0 h 33"/>
                <a:gd name="T4" fmla="*/ 2147483647 w 46"/>
                <a:gd name="T5" fmla="*/ 2147483647 h 33"/>
                <a:gd name="T6" fmla="*/ 2147483647 w 46"/>
                <a:gd name="T7" fmla="*/ 2147483647 h 33"/>
                <a:gd name="T8" fmla="*/ 2147483647 w 46"/>
                <a:gd name="T9" fmla="*/ 2147483647 h 33"/>
                <a:gd name="T10" fmla="*/ 0 w 46"/>
                <a:gd name="T11" fmla="*/ 2147483647 h 33"/>
                <a:gd name="T12" fmla="*/ 2147483647 w 46"/>
                <a:gd name="T13" fmla="*/ 2147483647 h 33"/>
                <a:gd name="T14" fmla="*/ 0 60000 65536"/>
                <a:gd name="T15" fmla="*/ 0 60000 65536"/>
                <a:gd name="T16" fmla="*/ 0 60000 65536"/>
                <a:gd name="T17" fmla="*/ 0 60000 65536"/>
                <a:gd name="T18" fmla="*/ 0 60000 65536"/>
                <a:gd name="T19" fmla="*/ 0 60000 65536"/>
                <a:gd name="T20" fmla="*/ 0 60000 65536"/>
                <a:gd name="T21" fmla="*/ 0 w 46"/>
                <a:gd name="T22" fmla="*/ 0 h 33"/>
                <a:gd name="T23" fmla="*/ 46 w 46"/>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3">
                  <a:moveTo>
                    <a:pt x="14" y="8"/>
                  </a:moveTo>
                  <a:lnTo>
                    <a:pt x="36" y="0"/>
                  </a:lnTo>
                  <a:lnTo>
                    <a:pt x="46" y="11"/>
                  </a:lnTo>
                  <a:lnTo>
                    <a:pt x="37" y="26"/>
                  </a:lnTo>
                  <a:lnTo>
                    <a:pt x="9" y="33"/>
                  </a:lnTo>
                  <a:lnTo>
                    <a:pt x="0" y="16"/>
                  </a:lnTo>
                  <a:lnTo>
                    <a:pt x="14" y="8"/>
                  </a:lnTo>
                  <a:close/>
                </a:path>
              </a:pathLst>
            </a:custGeom>
            <a:grpFill/>
            <a:ln w="6350">
              <a:solidFill>
                <a:schemeClr val="tx2"/>
              </a:solidFill>
              <a:round/>
              <a:headEnd/>
              <a:tailEnd/>
            </a:ln>
          </p:spPr>
          <p:txBody>
            <a:bodyPr/>
            <a:lstStyle/>
            <a:p>
              <a:endParaRPr lang="en-US"/>
            </a:p>
          </p:txBody>
        </p:sp>
        <p:sp>
          <p:nvSpPr>
            <p:cNvPr id="766" name="Freeform 1771"/>
            <p:cNvSpPr>
              <a:spLocks/>
            </p:cNvSpPr>
            <p:nvPr/>
          </p:nvSpPr>
          <p:spPr bwMode="auto">
            <a:xfrm>
              <a:off x="5114420" y="2224288"/>
              <a:ext cx="12137" cy="15172"/>
            </a:xfrm>
            <a:custGeom>
              <a:avLst/>
              <a:gdLst>
                <a:gd name="T0" fmla="*/ 2147483647 w 27"/>
                <a:gd name="T1" fmla="*/ 2147483647 h 34"/>
                <a:gd name="T2" fmla="*/ 2147483647 w 27"/>
                <a:gd name="T3" fmla="*/ 2147483647 h 34"/>
                <a:gd name="T4" fmla="*/ 0 w 27"/>
                <a:gd name="T5" fmla="*/ 2147483647 h 34"/>
                <a:gd name="T6" fmla="*/ 2147483647 w 27"/>
                <a:gd name="T7" fmla="*/ 0 h 34"/>
                <a:gd name="T8" fmla="*/ 2147483647 w 27"/>
                <a:gd name="T9" fmla="*/ 2147483647 h 34"/>
                <a:gd name="T10" fmla="*/ 2147483647 w 27"/>
                <a:gd name="T11" fmla="*/ 2147483647 h 34"/>
                <a:gd name="T12" fmla="*/ 0 60000 65536"/>
                <a:gd name="T13" fmla="*/ 0 60000 65536"/>
                <a:gd name="T14" fmla="*/ 0 60000 65536"/>
                <a:gd name="T15" fmla="*/ 0 60000 65536"/>
                <a:gd name="T16" fmla="*/ 0 60000 65536"/>
                <a:gd name="T17" fmla="*/ 0 60000 65536"/>
                <a:gd name="T18" fmla="*/ 0 w 27"/>
                <a:gd name="T19" fmla="*/ 0 h 34"/>
                <a:gd name="T20" fmla="*/ 27 w 27"/>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7" h="34">
                  <a:moveTo>
                    <a:pt x="19" y="30"/>
                  </a:moveTo>
                  <a:lnTo>
                    <a:pt x="5" y="34"/>
                  </a:lnTo>
                  <a:lnTo>
                    <a:pt x="0" y="14"/>
                  </a:lnTo>
                  <a:lnTo>
                    <a:pt x="20" y="0"/>
                  </a:lnTo>
                  <a:lnTo>
                    <a:pt x="27" y="14"/>
                  </a:lnTo>
                  <a:lnTo>
                    <a:pt x="19" y="30"/>
                  </a:lnTo>
                  <a:close/>
                </a:path>
              </a:pathLst>
            </a:custGeom>
            <a:grpFill/>
            <a:ln w="6350">
              <a:solidFill>
                <a:schemeClr val="tx2"/>
              </a:solidFill>
              <a:round/>
              <a:headEnd/>
              <a:tailEnd/>
            </a:ln>
          </p:spPr>
          <p:txBody>
            <a:bodyPr/>
            <a:lstStyle/>
            <a:p>
              <a:endParaRPr lang="en-US"/>
            </a:p>
          </p:txBody>
        </p:sp>
        <p:sp>
          <p:nvSpPr>
            <p:cNvPr id="767" name="Freeform 1772"/>
            <p:cNvSpPr>
              <a:spLocks/>
            </p:cNvSpPr>
            <p:nvPr/>
          </p:nvSpPr>
          <p:spPr bwMode="auto">
            <a:xfrm>
              <a:off x="5129592" y="2215185"/>
              <a:ext cx="9103" cy="13653"/>
            </a:xfrm>
            <a:custGeom>
              <a:avLst/>
              <a:gdLst>
                <a:gd name="T0" fmla="*/ 2147483647 w 16"/>
                <a:gd name="T1" fmla="*/ 2147483647 h 26"/>
                <a:gd name="T2" fmla="*/ 2147483647 w 16"/>
                <a:gd name="T3" fmla="*/ 2147483647 h 26"/>
                <a:gd name="T4" fmla="*/ 0 w 16"/>
                <a:gd name="T5" fmla="*/ 0 h 26"/>
                <a:gd name="T6" fmla="*/ 2147483647 w 16"/>
                <a:gd name="T7" fmla="*/ 2147483647 h 26"/>
                <a:gd name="T8" fmla="*/ 2147483647 w 16"/>
                <a:gd name="T9" fmla="*/ 2147483647 h 26"/>
                <a:gd name="T10" fmla="*/ 2147483647 w 16"/>
                <a:gd name="T11" fmla="*/ 2147483647 h 26"/>
                <a:gd name="T12" fmla="*/ 0 60000 65536"/>
                <a:gd name="T13" fmla="*/ 0 60000 65536"/>
                <a:gd name="T14" fmla="*/ 0 60000 65536"/>
                <a:gd name="T15" fmla="*/ 0 60000 65536"/>
                <a:gd name="T16" fmla="*/ 0 60000 65536"/>
                <a:gd name="T17" fmla="*/ 0 60000 65536"/>
                <a:gd name="T18" fmla="*/ 0 w 16"/>
                <a:gd name="T19" fmla="*/ 0 h 26"/>
                <a:gd name="T20" fmla="*/ 16 w 1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6" h="26">
                  <a:moveTo>
                    <a:pt x="11" y="23"/>
                  </a:moveTo>
                  <a:lnTo>
                    <a:pt x="8" y="26"/>
                  </a:lnTo>
                  <a:lnTo>
                    <a:pt x="0" y="0"/>
                  </a:lnTo>
                  <a:lnTo>
                    <a:pt x="14" y="6"/>
                  </a:lnTo>
                  <a:lnTo>
                    <a:pt x="16" y="22"/>
                  </a:lnTo>
                  <a:lnTo>
                    <a:pt x="11" y="23"/>
                  </a:lnTo>
                  <a:close/>
                </a:path>
              </a:pathLst>
            </a:custGeom>
            <a:grpFill/>
            <a:ln w="6350">
              <a:solidFill>
                <a:schemeClr val="tx2"/>
              </a:solidFill>
              <a:round/>
              <a:headEnd/>
              <a:tailEnd/>
            </a:ln>
          </p:spPr>
          <p:txBody>
            <a:bodyPr/>
            <a:lstStyle/>
            <a:p>
              <a:endParaRPr lang="en-US"/>
            </a:p>
          </p:txBody>
        </p:sp>
        <p:sp>
          <p:nvSpPr>
            <p:cNvPr id="768" name="Freeform 1773"/>
            <p:cNvSpPr>
              <a:spLocks/>
            </p:cNvSpPr>
            <p:nvPr/>
          </p:nvSpPr>
          <p:spPr bwMode="auto">
            <a:xfrm>
              <a:off x="5162968" y="2187877"/>
              <a:ext cx="15172" cy="10619"/>
            </a:xfrm>
            <a:custGeom>
              <a:avLst/>
              <a:gdLst>
                <a:gd name="T0" fmla="*/ 2147483647 w 32"/>
                <a:gd name="T1" fmla="*/ 2147483647 h 21"/>
                <a:gd name="T2" fmla="*/ 2147483647 w 32"/>
                <a:gd name="T3" fmla="*/ 2147483647 h 21"/>
                <a:gd name="T4" fmla="*/ 0 w 32"/>
                <a:gd name="T5" fmla="*/ 2147483647 h 21"/>
                <a:gd name="T6" fmla="*/ 2147483647 w 32"/>
                <a:gd name="T7" fmla="*/ 0 h 21"/>
                <a:gd name="T8" fmla="*/ 2147483647 w 32"/>
                <a:gd name="T9" fmla="*/ 2147483647 h 21"/>
                <a:gd name="T10" fmla="*/ 0 60000 65536"/>
                <a:gd name="T11" fmla="*/ 0 60000 65536"/>
                <a:gd name="T12" fmla="*/ 0 60000 65536"/>
                <a:gd name="T13" fmla="*/ 0 60000 65536"/>
                <a:gd name="T14" fmla="*/ 0 60000 65536"/>
                <a:gd name="T15" fmla="*/ 0 w 32"/>
                <a:gd name="T16" fmla="*/ 0 h 21"/>
                <a:gd name="T17" fmla="*/ 32 w 32"/>
                <a:gd name="T18" fmla="*/ 21 h 21"/>
              </a:gdLst>
              <a:ahLst/>
              <a:cxnLst>
                <a:cxn ang="T10">
                  <a:pos x="T0" y="T1"/>
                </a:cxn>
                <a:cxn ang="T11">
                  <a:pos x="T2" y="T3"/>
                </a:cxn>
                <a:cxn ang="T12">
                  <a:pos x="T4" y="T5"/>
                </a:cxn>
                <a:cxn ang="T13">
                  <a:pos x="T6" y="T7"/>
                </a:cxn>
                <a:cxn ang="T14">
                  <a:pos x="T8" y="T9"/>
                </a:cxn>
              </a:cxnLst>
              <a:rect l="T15" t="T16" r="T17" b="T18"/>
              <a:pathLst>
                <a:path w="32" h="21">
                  <a:moveTo>
                    <a:pt x="25" y="6"/>
                  </a:moveTo>
                  <a:lnTo>
                    <a:pt x="32" y="21"/>
                  </a:lnTo>
                  <a:lnTo>
                    <a:pt x="0" y="13"/>
                  </a:lnTo>
                  <a:lnTo>
                    <a:pt x="16" y="0"/>
                  </a:lnTo>
                  <a:lnTo>
                    <a:pt x="25" y="6"/>
                  </a:lnTo>
                  <a:close/>
                </a:path>
              </a:pathLst>
            </a:custGeom>
            <a:grpFill/>
            <a:ln w="6350">
              <a:solidFill>
                <a:schemeClr val="tx2"/>
              </a:solidFill>
              <a:round/>
              <a:headEnd/>
              <a:tailEnd/>
            </a:ln>
          </p:spPr>
          <p:txBody>
            <a:bodyPr/>
            <a:lstStyle/>
            <a:p>
              <a:endParaRPr lang="en-US"/>
            </a:p>
          </p:txBody>
        </p:sp>
        <p:sp>
          <p:nvSpPr>
            <p:cNvPr id="769" name="Freeform 1774"/>
            <p:cNvSpPr>
              <a:spLocks/>
            </p:cNvSpPr>
            <p:nvPr/>
          </p:nvSpPr>
          <p:spPr bwMode="auto">
            <a:xfrm>
              <a:off x="4804929" y="2602048"/>
              <a:ext cx="15172" cy="12137"/>
            </a:xfrm>
            <a:custGeom>
              <a:avLst/>
              <a:gdLst>
                <a:gd name="T0" fmla="*/ 0 w 33"/>
                <a:gd name="T1" fmla="*/ 2147483647 h 22"/>
                <a:gd name="T2" fmla="*/ 2147483647 w 33"/>
                <a:gd name="T3" fmla="*/ 0 h 22"/>
                <a:gd name="T4" fmla="*/ 2147483647 w 33"/>
                <a:gd name="T5" fmla="*/ 0 h 22"/>
                <a:gd name="T6" fmla="*/ 2147483647 w 33"/>
                <a:gd name="T7" fmla="*/ 2147483647 h 22"/>
                <a:gd name="T8" fmla="*/ 2147483647 w 33"/>
                <a:gd name="T9" fmla="*/ 2147483647 h 22"/>
                <a:gd name="T10" fmla="*/ 0 w 33"/>
                <a:gd name="T11" fmla="*/ 2147483647 h 22"/>
                <a:gd name="T12" fmla="*/ 0 60000 65536"/>
                <a:gd name="T13" fmla="*/ 0 60000 65536"/>
                <a:gd name="T14" fmla="*/ 0 60000 65536"/>
                <a:gd name="T15" fmla="*/ 0 60000 65536"/>
                <a:gd name="T16" fmla="*/ 0 60000 65536"/>
                <a:gd name="T17" fmla="*/ 0 60000 65536"/>
                <a:gd name="T18" fmla="*/ 0 w 33"/>
                <a:gd name="T19" fmla="*/ 0 h 22"/>
                <a:gd name="T20" fmla="*/ 33 w 3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3" h="22">
                  <a:moveTo>
                    <a:pt x="0" y="13"/>
                  </a:moveTo>
                  <a:lnTo>
                    <a:pt x="22" y="0"/>
                  </a:lnTo>
                  <a:lnTo>
                    <a:pt x="29" y="0"/>
                  </a:lnTo>
                  <a:lnTo>
                    <a:pt x="33" y="12"/>
                  </a:lnTo>
                  <a:lnTo>
                    <a:pt x="6" y="22"/>
                  </a:lnTo>
                  <a:lnTo>
                    <a:pt x="0" y="13"/>
                  </a:lnTo>
                  <a:close/>
                </a:path>
              </a:pathLst>
            </a:custGeom>
            <a:grpFill/>
            <a:ln w="6350">
              <a:solidFill>
                <a:schemeClr val="tx2"/>
              </a:solidFill>
              <a:round/>
              <a:headEnd/>
              <a:tailEnd/>
            </a:ln>
          </p:spPr>
          <p:txBody>
            <a:bodyPr/>
            <a:lstStyle/>
            <a:p>
              <a:endParaRPr lang="en-US"/>
            </a:p>
          </p:txBody>
        </p:sp>
        <p:sp>
          <p:nvSpPr>
            <p:cNvPr id="770" name="Freeform 1775"/>
            <p:cNvSpPr>
              <a:spLocks/>
            </p:cNvSpPr>
            <p:nvPr/>
          </p:nvSpPr>
          <p:spPr bwMode="auto">
            <a:xfrm>
              <a:off x="4747279" y="2664250"/>
              <a:ext cx="3034" cy="7585"/>
            </a:xfrm>
            <a:custGeom>
              <a:avLst/>
              <a:gdLst>
                <a:gd name="T0" fmla="*/ 2147483647 w 8"/>
                <a:gd name="T1" fmla="*/ 2147483647 h 14"/>
                <a:gd name="T2" fmla="*/ 2147483647 w 8"/>
                <a:gd name="T3" fmla="*/ 0 h 14"/>
                <a:gd name="T4" fmla="*/ 0 w 8"/>
                <a:gd name="T5" fmla="*/ 2147483647 h 14"/>
                <a:gd name="T6" fmla="*/ 2147483647 w 8"/>
                <a:gd name="T7" fmla="*/ 2147483647 h 14"/>
                <a:gd name="T8" fmla="*/ 0 60000 65536"/>
                <a:gd name="T9" fmla="*/ 0 60000 65536"/>
                <a:gd name="T10" fmla="*/ 0 60000 65536"/>
                <a:gd name="T11" fmla="*/ 0 60000 65536"/>
                <a:gd name="T12" fmla="*/ 0 w 8"/>
                <a:gd name="T13" fmla="*/ 0 h 14"/>
                <a:gd name="T14" fmla="*/ 8 w 8"/>
                <a:gd name="T15" fmla="*/ 14 h 14"/>
              </a:gdLst>
              <a:ahLst/>
              <a:cxnLst>
                <a:cxn ang="T8">
                  <a:pos x="T0" y="T1"/>
                </a:cxn>
                <a:cxn ang="T9">
                  <a:pos x="T2" y="T3"/>
                </a:cxn>
                <a:cxn ang="T10">
                  <a:pos x="T4" y="T5"/>
                </a:cxn>
                <a:cxn ang="T11">
                  <a:pos x="T6" y="T7"/>
                </a:cxn>
              </a:cxnLst>
              <a:rect l="T12" t="T13" r="T14" b="T15"/>
              <a:pathLst>
                <a:path w="8" h="14">
                  <a:moveTo>
                    <a:pt x="4" y="14"/>
                  </a:moveTo>
                  <a:lnTo>
                    <a:pt x="8" y="0"/>
                  </a:lnTo>
                  <a:lnTo>
                    <a:pt x="0" y="2"/>
                  </a:lnTo>
                  <a:lnTo>
                    <a:pt x="4" y="14"/>
                  </a:lnTo>
                  <a:close/>
                </a:path>
              </a:pathLst>
            </a:custGeom>
            <a:grpFill/>
            <a:ln w="6350">
              <a:solidFill>
                <a:schemeClr val="tx2"/>
              </a:solidFill>
              <a:round/>
              <a:headEnd/>
              <a:tailEnd/>
            </a:ln>
          </p:spPr>
          <p:txBody>
            <a:bodyPr/>
            <a:lstStyle/>
            <a:p>
              <a:endParaRPr lang="en-US"/>
            </a:p>
          </p:txBody>
        </p:sp>
        <p:sp>
          <p:nvSpPr>
            <p:cNvPr id="771" name="Freeform 1776"/>
            <p:cNvSpPr>
              <a:spLocks/>
            </p:cNvSpPr>
            <p:nvPr/>
          </p:nvSpPr>
          <p:spPr bwMode="auto">
            <a:xfrm>
              <a:off x="4735141" y="2773483"/>
              <a:ext cx="3034" cy="7585"/>
            </a:xfrm>
            <a:custGeom>
              <a:avLst/>
              <a:gdLst>
                <a:gd name="T0" fmla="*/ 2147483647 w 7"/>
                <a:gd name="T1" fmla="*/ 2147483647 h 17"/>
                <a:gd name="T2" fmla="*/ 2147483647 w 7"/>
                <a:gd name="T3" fmla="*/ 2147483647 h 17"/>
                <a:gd name="T4" fmla="*/ 2147483647 w 7"/>
                <a:gd name="T5" fmla="*/ 0 h 17"/>
                <a:gd name="T6" fmla="*/ 0 w 7"/>
                <a:gd name="T7" fmla="*/ 2147483647 h 17"/>
                <a:gd name="T8" fmla="*/ 2147483647 w 7"/>
                <a:gd name="T9" fmla="*/ 2147483647 h 17"/>
                <a:gd name="T10" fmla="*/ 0 60000 65536"/>
                <a:gd name="T11" fmla="*/ 0 60000 65536"/>
                <a:gd name="T12" fmla="*/ 0 60000 65536"/>
                <a:gd name="T13" fmla="*/ 0 60000 65536"/>
                <a:gd name="T14" fmla="*/ 0 60000 65536"/>
                <a:gd name="T15" fmla="*/ 0 w 7"/>
                <a:gd name="T16" fmla="*/ 0 h 17"/>
                <a:gd name="T17" fmla="*/ 7 w 7"/>
                <a:gd name="T18" fmla="*/ 17 h 17"/>
              </a:gdLst>
              <a:ahLst/>
              <a:cxnLst>
                <a:cxn ang="T10">
                  <a:pos x="T0" y="T1"/>
                </a:cxn>
                <a:cxn ang="T11">
                  <a:pos x="T2" y="T3"/>
                </a:cxn>
                <a:cxn ang="T12">
                  <a:pos x="T4" y="T5"/>
                </a:cxn>
                <a:cxn ang="T13">
                  <a:pos x="T6" y="T7"/>
                </a:cxn>
                <a:cxn ang="T14">
                  <a:pos x="T8" y="T9"/>
                </a:cxn>
              </a:cxnLst>
              <a:rect l="T15" t="T16" r="T17" b="T18"/>
              <a:pathLst>
                <a:path w="7" h="17">
                  <a:moveTo>
                    <a:pt x="7" y="17"/>
                  </a:moveTo>
                  <a:lnTo>
                    <a:pt x="7" y="4"/>
                  </a:lnTo>
                  <a:lnTo>
                    <a:pt x="1" y="0"/>
                  </a:lnTo>
                  <a:lnTo>
                    <a:pt x="0" y="12"/>
                  </a:lnTo>
                  <a:lnTo>
                    <a:pt x="7" y="17"/>
                  </a:lnTo>
                  <a:close/>
                </a:path>
              </a:pathLst>
            </a:custGeom>
            <a:grpFill/>
            <a:ln w="6350">
              <a:solidFill>
                <a:schemeClr val="tx2"/>
              </a:solidFill>
              <a:round/>
              <a:headEnd/>
              <a:tailEnd/>
            </a:ln>
          </p:spPr>
          <p:txBody>
            <a:bodyPr/>
            <a:lstStyle/>
            <a:p>
              <a:endParaRPr lang="en-US"/>
            </a:p>
          </p:txBody>
        </p:sp>
        <p:sp>
          <p:nvSpPr>
            <p:cNvPr id="772" name="Freeform 1777"/>
            <p:cNvSpPr>
              <a:spLocks/>
            </p:cNvSpPr>
            <p:nvPr/>
          </p:nvSpPr>
          <p:spPr bwMode="auto">
            <a:xfrm>
              <a:off x="4732107" y="2797757"/>
              <a:ext cx="3034" cy="9103"/>
            </a:xfrm>
            <a:custGeom>
              <a:avLst/>
              <a:gdLst>
                <a:gd name="T0" fmla="*/ 2147483647 w 4"/>
                <a:gd name="T1" fmla="*/ 2147483647 h 16"/>
                <a:gd name="T2" fmla="*/ 2147483647 w 4"/>
                <a:gd name="T3" fmla="*/ 0 h 16"/>
                <a:gd name="T4" fmla="*/ 0 w 4"/>
                <a:gd name="T5" fmla="*/ 2147483647 h 16"/>
                <a:gd name="T6" fmla="*/ 2147483647 w 4"/>
                <a:gd name="T7" fmla="*/ 2147483647 h 16"/>
                <a:gd name="T8" fmla="*/ 0 60000 65536"/>
                <a:gd name="T9" fmla="*/ 0 60000 65536"/>
                <a:gd name="T10" fmla="*/ 0 60000 65536"/>
                <a:gd name="T11" fmla="*/ 0 60000 65536"/>
                <a:gd name="T12" fmla="*/ 0 w 4"/>
                <a:gd name="T13" fmla="*/ 0 h 16"/>
                <a:gd name="T14" fmla="*/ 4 w 4"/>
                <a:gd name="T15" fmla="*/ 16 h 16"/>
              </a:gdLst>
              <a:ahLst/>
              <a:cxnLst>
                <a:cxn ang="T8">
                  <a:pos x="T0" y="T1"/>
                </a:cxn>
                <a:cxn ang="T9">
                  <a:pos x="T2" y="T3"/>
                </a:cxn>
                <a:cxn ang="T10">
                  <a:pos x="T4" y="T5"/>
                </a:cxn>
                <a:cxn ang="T11">
                  <a:pos x="T6" y="T7"/>
                </a:cxn>
              </a:cxnLst>
              <a:rect l="T12" t="T13" r="T14" b="T15"/>
              <a:pathLst>
                <a:path w="4" h="16">
                  <a:moveTo>
                    <a:pt x="4" y="16"/>
                  </a:moveTo>
                  <a:lnTo>
                    <a:pt x="2" y="0"/>
                  </a:lnTo>
                  <a:lnTo>
                    <a:pt x="0" y="16"/>
                  </a:lnTo>
                  <a:lnTo>
                    <a:pt x="4" y="16"/>
                  </a:lnTo>
                  <a:close/>
                </a:path>
              </a:pathLst>
            </a:custGeom>
            <a:grpFill/>
            <a:ln w="6350">
              <a:solidFill>
                <a:schemeClr val="tx2"/>
              </a:solidFill>
              <a:round/>
              <a:headEnd/>
              <a:tailEnd/>
            </a:ln>
          </p:spPr>
          <p:txBody>
            <a:bodyPr/>
            <a:lstStyle/>
            <a:p>
              <a:endParaRPr lang="en-US"/>
            </a:p>
          </p:txBody>
        </p:sp>
        <p:sp>
          <p:nvSpPr>
            <p:cNvPr id="773" name="Freeform 1795"/>
            <p:cNvSpPr>
              <a:spLocks/>
            </p:cNvSpPr>
            <p:nvPr/>
          </p:nvSpPr>
          <p:spPr bwMode="auto">
            <a:xfrm>
              <a:off x="4589499" y="2744657"/>
              <a:ext cx="12137" cy="30342"/>
            </a:xfrm>
            <a:custGeom>
              <a:avLst/>
              <a:gdLst>
                <a:gd name="T0" fmla="*/ 2147483647 w 22"/>
                <a:gd name="T1" fmla="*/ 0 h 65"/>
                <a:gd name="T2" fmla="*/ 2147483647 w 22"/>
                <a:gd name="T3" fmla="*/ 2147483647 h 65"/>
                <a:gd name="T4" fmla="*/ 2147483647 w 22"/>
                <a:gd name="T5" fmla="*/ 2147483647 h 65"/>
                <a:gd name="T6" fmla="*/ 0 w 22"/>
                <a:gd name="T7" fmla="*/ 2147483647 h 65"/>
                <a:gd name="T8" fmla="*/ 2147483647 w 22"/>
                <a:gd name="T9" fmla="*/ 2147483647 h 65"/>
                <a:gd name="T10" fmla="*/ 2147483647 w 22"/>
                <a:gd name="T11" fmla="*/ 2147483647 h 65"/>
                <a:gd name="T12" fmla="*/ 2147483647 w 22"/>
                <a:gd name="T13" fmla="*/ 2147483647 h 65"/>
                <a:gd name="T14" fmla="*/ 2147483647 w 22"/>
                <a:gd name="T15" fmla="*/ 2147483647 h 65"/>
                <a:gd name="T16" fmla="*/ 2147483647 w 22"/>
                <a:gd name="T17" fmla="*/ 2147483647 h 65"/>
                <a:gd name="T18" fmla="*/ 2147483647 w 22"/>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65"/>
                <a:gd name="T32" fmla="*/ 22 w 22"/>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65">
                  <a:moveTo>
                    <a:pt x="13" y="0"/>
                  </a:moveTo>
                  <a:lnTo>
                    <a:pt x="3" y="10"/>
                  </a:lnTo>
                  <a:lnTo>
                    <a:pt x="8" y="25"/>
                  </a:lnTo>
                  <a:lnTo>
                    <a:pt x="0" y="33"/>
                  </a:lnTo>
                  <a:lnTo>
                    <a:pt x="13" y="40"/>
                  </a:lnTo>
                  <a:lnTo>
                    <a:pt x="10" y="65"/>
                  </a:lnTo>
                  <a:lnTo>
                    <a:pt x="19" y="53"/>
                  </a:lnTo>
                  <a:lnTo>
                    <a:pt x="22" y="18"/>
                  </a:lnTo>
                  <a:lnTo>
                    <a:pt x="14" y="14"/>
                  </a:lnTo>
                  <a:lnTo>
                    <a:pt x="13" y="0"/>
                  </a:lnTo>
                  <a:close/>
                </a:path>
              </a:pathLst>
            </a:custGeom>
            <a:grpFill/>
            <a:ln w="6350">
              <a:solidFill>
                <a:schemeClr val="tx2"/>
              </a:solidFill>
              <a:round/>
              <a:headEnd/>
              <a:tailEnd/>
            </a:ln>
          </p:spPr>
          <p:txBody>
            <a:bodyPr/>
            <a:lstStyle/>
            <a:p>
              <a:endParaRPr lang="en-US"/>
            </a:p>
          </p:txBody>
        </p:sp>
        <p:sp>
          <p:nvSpPr>
            <p:cNvPr id="774" name="Freeform 1796"/>
            <p:cNvSpPr>
              <a:spLocks/>
            </p:cNvSpPr>
            <p:nvPr/>
          </p:nvSpPr>
          <p:spPr bwMode="auto">
            <a:xfrm>
              <a:off x="4474198" y="2834167"/>
              <a:ext cx="18206" cy="28825"/>
            </a:xfrm>
            <a:custGeom>
              <a:avLst/>
              <a:gdLst>
                <a:gd name="T0" fmla="*/ 2147483647 w 36"/>
                <a:gd name="T1" fmla="*/ 0 h 56"/>
                <a:gd name="T2" fmla="*/ 2147483647 w 36"/>
                <a:gd name="T3" fmla="*/ 2147483647 h 56"/>
                <a:gd name="T4" fmla="*/ 2147483647 w 36"/>
                <a:gd name="T5" fmla="*/ 2147483647 h 56"/>
                <a:gd name="T6" fmla="*/ 0 w 36"/>
                <a:gd name="T7" fmla="*/ 2147483647 h 56"/>
                <a:gd name="T8" fmla="*/ 0 w 36"/>
                <a:gd name="T9" fmla="*/ 2147483647 h 56"/>
                <a:gd name="T10" fmla="*/ 2147483647 w 36"/>
                <a:gd name="T11" fmla="*/ 2147483647 h 56"/>
                <a:gd name="T12" fmla="*/ 2147483647 w 36"/>
                <a:gd name="T13" fmla="*/ 2147483647 h 56"/>
                <a:gd name="T14" fmla="*/ 2147483647 w 36"/>
                <a:gd name="T15" fmla="*/ 2147483647 h 56"/>
                <a:gd name="T16" fmla="*/ 2147483647 w 36"/>
                <a:gd name="T17" fmla="*/ 2147483647 h 56"/>
                <a:gd name="T18" fmla="*/ 2147483647 w 36"/>
                <a:gd name="T19" fmla="*/ 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56"/>
                <a:gd name="T32" fmla="*/ 36 w 3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56">
                  <a:moveTo>
                    <a:pt x="33" y="0"/>
                  </a:moveTo>
                  <a:lnTo>
                    <a:pt x="8" y="15"/>
                  </a:lnTo>
                  <a:lnTo>
                    <a:pt x="10" y="22"/>
                  </a:lnTo>
                  <a:lnTo>
                    <a:pt x="0" y="20"/>
                  </a:lnTo>
                  <a:lnTo>
                    <a:pt x="0" y="56"/>
                  </a:lnTo>
                  <a:lnTo>
                    <a:pt x="25" y="37"/>
                  </a:lnTo>
                  <a:lnTo>
                    <a:pt x="23" y="27"/>
                  </a:lnTo>
                  <a:lnTo>
                    <a:pt x="36" y="19"/>
                  </a:lnTo>
                  <a:lnTo>
                    <a:pt x="31" y="16"/>
                  </a:lnTo>
                  <a:lnTo>
                    <a:pt x="33" y="0"/>
                  </a:lnTo>
                  <a:close/>
                </a:path>
              </a:pathLst>
            </a:custGeom>
            <a:grpFill/>
            <a:ln w="6350">
              <a:solidFill>
                <a:schemeClr val="tx2"/>
              </a:solidFill>
              <a:round/>
              <a:headEnd/>
              <a:tailEnd/>
            </a:ln>
          </p:spPr>
          <p:txBody>
            <a:bodyPr/>
            <a:lstStyle/>
            <a:p>
              <a:endParaRPr lang="en-US"/>
            </a:p>
          </p:txBody>
        </p:sp>
        <p:sp>
          <p:nvSpPr>
            <p:cNvPr id="775" name="Freeform 1797"/>
            <p:cNvSpPr>
              <a:spLocks/>
            </p:cNvSpPr>
            <p:nvPr/>
          </p:nvSpPr>
          <p:spPr bwMode="auto">
            <a:xfrm>
              <a:off x="4463577" y="2869061"/>
              <a:ext cx="9103" cy="4551"/>
            </a:xfrm>
            <a:custGeom>
              <a:avLst/>
              <a:gdLst>
                <a:gd name="T0" fmla="*/ 2147483647 w 16"/>
                <a:gd name="T1" fmla="*/ 0 h 8"/>
                <a:gd name="T2" fmla="*/ 0 w 16"/>
                <a:gd name="T3" fmla="*/ 2147483647 h 8"/>
                <a:gd name="T4" fmla="*/ 2147483647 w 16"/>
                <a:gd name="T5" fmla="*/ 2147483647 h 8"/>
                <a:gd name="T6" fmla="*/ 2147483647 w 16"/>
                <a:gd name="T7" fmla="*/ 0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16" y="0"/>
                  </a:moveTo>
                  <a:lnTo>
                    <a:pt x="0" y="2"/>
                  </a:lnTo>
                  <a:lnTo>
                    <a:pt x="14" y="8"/>
                  </a:lnTo>
                  <a:lnTo>
                    <a:pt x="16" y="0"/>
                  </a:lnTo>
                  <a:close/>
                </a:path>
              </a:pathLst>
            </a:custGeom>
            <a:grpFill/>
            <a:ln w="6350">
              <a:solidFill>
                <a:schemeClr val="tx2"/>
              </a:solidFill>
              <a:round/>
              <a:headEnd/>
              <a:tailEnd/>
            </a:ln>
          </p:spPr>
          <p:txBody>
            <a:bodyPr/>
            <a:lstStyle/>
            <a:p>
              <a:endParaRPr lang="en-US"/>
            </a:p>
          </p:txBody>
        </p:sp>
        <p:sp>
          <p:nvSpPr>
            <p:cNvPr id="776" name="Freeform 1798"/>
            <p:cNvSpPr>
              <a:spLocks/>
            </p:cNvSpPr>
            <p:nvPr/>
          </p:nvSpPr>
          <p:spPr bwMode="auto">
            <a:xfrm>
              <a:off x="4553088" y="2806860"/>
              <a:ext cx="12137" cy="9103"/>
            </a:xfrm>
            <a:custGeom>
              <a:avLst/>
              <a:gdLst>
                <a:gd name="T0" fmla="*/ 2147483647 w 25"/>
                <a:gd name="T1" fmla="*/ 2147483647 h 17"/>
                <a:gd name="T2" fmla="*/ 2147483647 w 25"/>
                <a:gd name="T3" fmla="*/ 2147483647 h 17"/>
                <a:gd name="T4" fmla="*/ 2147483647 w 25"/>
                <a:gd name="T5" fmla="*/ 0 h 17"/>
                <a:gd name="T6" fmla="*/ 0 w 25"/>
                <a:gd name="T7" fmla="*/ 2147483647 h 17"/>
                <a:gd name="T8" fmla="*/ 2147483647 w 25"/>
                <a:gd name="T9" fmla="*/ 2147483647 h 17"/>
                <a:gd name="T10" fmla="*/ 2147483647 w 25"/>
                <a:gd name="T11" fmla="*/ 2147483647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25" y="17"/>
                  </a:moveTo>
                  <a:lnTo>
                    <a:pt x="11" y="12"/>
                  </a:lnTo>
                  <a:lnTo>
                    <a:pt x="5" y="0"/>
                  </a:lnTo>
                  <a:lnTo>
                    <a:pt x="0" y="7"/>
                  </a:lnTo>
                  <a:lnTo>
                    <a:pt x="4" y="16"/>
                  </a:lnTo>
                  <a:lnTo>
                    <a:pt x="25" y="17"/>
                  </a:lnTo>
                  <a:close/>
                </a:path>
              </a:pathLst>
            </a:custGeom>
            <a:grpFill/>
            <a:ln w="6350">
              <a:solidFill>
                <a:schemeClr val="tx2"/>
              </a:solidFill>
              <a:round/>
              <a:headEnd/>
              <a:tailEnd/>
            </a:ln>
          </p:spPr>
          <p:txBody>
            <a:bodyPr/>
            <a:lstStyle/>
            <a:p>
              <a:endParaRPr lang="en-US"/>
            </a:p>
          </p:txBody>
        </p:sp>
        <p:sp>
          <p:nvSpPr>
            <p:cNvPr id="777" name="Freeform 1799"/>
            <p:cNvSpPr>
              <a:spLocks/>
            </p:cNvSpPr>
            <p:nvPr/>
          </p:nvSpPr>
          <p:spPr bwMode="auto">
            <a:xfrm>
              <a:off x="4553088" y="2817479"/>
              <a:ext cx="3034" cy="3034"/>
            </a:xfrm>
            <a:custGeom>
              <a:avLst/>
              <a:gdLst>
                <a:gd name="T0" fmla="*/ 2147483647 w 8"/>
                <a:gd name="T1" fmla="*/ 2147483647 h 6"/>
                <a:gd name="T2" fmla="*/ 0 w 8"/>
                <a:gd name="T3" fmla="*/ 0 h 6"/>
                <a:gd name="T4" fmla="*/ 2147483647 w 8"/>
                <a:gd name="T5" fmla="*/ 2147483647 h 6"/>
                <a:gd name="T6" fmla="*/ 0 60000 65536"/>
                <a:gd name="T7" fmla="*/ 0 60000 65536"/>
                <a:gd name="T8" fmla="*/ 0 60000 65536"/>
                <a:gd name="T9" fmla="*/ 0 w 8"/>
                <a:gd name="T10" fmla="*/ 0 h 6"/>
                <a:gd name="T11" fmla="*/ 8 w 8"/>
                <a:gd name="T12" fmla="*/ 6 h 6"/>
              </a:gdLst>
              <a:ahLst/>
              <a:cxnLst>
                <a:cxn ang="T6">
                  <a:pos x="T0" y="T1"/>
                </a:cxn>
                <a:cxn ang="T7">
                  <a:pos x="T2" y="T3"/>
                </a:cxn>
                <a:cxn ang="T8">
                  <a:pos x="T4" y="T5"/>
                </a:cxn>
              </a:cxnLst>
              <a:rect l="T9" t="T10" r="T11" b="T12"/>
              <a:pathLst>
                <a:path w="8" h="6">
                  <a:moveTo>
                    <a:pt x="8" y="6"/>
                  </a:moveTo>
                  <a:lnTo>
                    <a:pt x="0" y="0"/>
                  </a:lnTo>
                  <a:lnTo>
                    <a:pt x="8" y="6"/>
                  </a:lnTo>
                  <a:close/>
                </a:path>
              </a:pathLst>
            </a:custGeom>
            <a:grpFill/>
            <a:ln w="6350">
              <a:solidFill>
                <a:schemeClr val="tx2"/>
              </a:solidFill>
              <a:round/>
              <a:headEnd/>
              <a:tailEnd/>
            </a:ln>
          </p:spPr>
          <p:txBody>
            <a:bodyPr/>
            <a:lstStyle/>
            <a:p>
              <a:endParaRPr lang="en-US"/>
            </a:p>
          </p:txBody>
        </p:sp>
        <p:sp>
          <p:nvSpPr>
            <p:cNvPr id="778" name="Freeform 1800"/>
            <p:cNvSpPr>
              <a:spLocks/>
            </p:cNvSpPr>
            <p:nvPr/>
          </p:nvSpPr>
          <p:spPr bwMode="auto">
            <a:xfrm>
              <a:off x="4492403" y="2828099"/>
              <a:ext cx="169917" cy="317076"/>
            </a:xfrm>
            <a:custGeom>
              <a:avLst/>
              <a:gdLst>
                <a:gd name="T0" fmla="*/ 2147483647 w 338"/>
                <a:gd name="T1" fmla="*/ 2147483647 h 638"/>
                <a:gd name="T2" fmla="*/ 2147483647 w 338"/>
                <a:gd name="T3" fmla="*/ 2147483647 h 638"/>
                <a:gd name="T4" fmla="*/ 2147483647 w 338"/>
                <a:gd name="T5" fmla="*/ 2147483647 h 638"/>
                <a:gd name="T6" fmla="*/ 2147483647 w 338"/>
                <a:gd name="T7" fmla="*/ 2147483647 h 638"/>
                <a:gd name="T8" fmla="*/ 2147483647 w 338"/>
                <a:gd name="T9" fmla="*/ 2147483647 h 638"/>
                <a:gd name="T10" fmla="*/ 2147483647 w 338"/>
                <a:gd name="T11" fmla="*/ 2147483647 h 638"/>
                <a:gd name="T12" fmla="*/ 2147483647 w 338"/>
                <a:gd name="T13" fmla="*/ 2147483647 h 638"/>
                <a:gd name="T14" fmla="*/ 2147483647 w 338"/>
                <a:gd name="T15" fmla="*/ 2147483647 h 638"/>
                <a:gd name="T16" fmla="*/ 2147483647 w 338"/>
                <a:gd name="T17" fmla="*/ 2147483647 h 638"/>
                <a:gd name="T18" fmla="*/ 2147483647 w 338"/>
                <a:gd name="T19" fmla="*/ 2147483647 h 638"/>
                <a:gd name="T20" fmla="*/ 2147483647 w 338"/>
                <a:gd name="T21" fmla="*/ 2147483647 h 638"/>
                <a:gd name="T22" fmla="*/ 2147483647 w 338"/>
                <a:gd name="T23" fmla="*/ 2147483647 h 638"/>
                <a:gd name="T24" fmla="*/ 2147483647 w 338"/>
                <a:gd name="T25" fmla="*/ 2147483647 h 638"/>
                <a:gd name="T26" fmla="*/ 2147483647 w 338"/>
                <a:gd name="T27" fmla="*/ 2147483647 h 638"/>
                <a:gd name="T28" fmla="*/ 2147483647 w 338"/>
                <a:gd name="T29" fmla="*/ 2147483647 h 638"/>
                <a:gd name="T30" fmla="*/ 2147483647 w 338"/>
                <a:gd name="T31" fmla="*/ 2147483647 h 638"/>
                <a:gd name="T32" fmla="*/ 2147483647 w 338"/>
                <a:gd name="T33" fmla="*/ 2147483647 h 638"/>
                <a:gd name="T34" fmla="*/ 2147483647 w 338"/>
                <a:gd name="T35" fmla="*/ 2147483647 h 638"/>
                <a:gd name="T36" fmla="*/ 2147483647 w 338"/>
                <a:gd name="T37" fmla="*/ 2147483647 h 638"/>
                <a:gd name="T38" fmla="*/ 2147483647 w 338"/>
                <a:gd name="T39" fmla="*/ 2147483647 h 638"/>
                <a:gd name="T40" fmla="*/ 2147483647 w 338"/>
                <a:gd name="T41" fmla="*/ 2147483647 h 638"/>
                <a:gd name="T42" fmla="*/ 2147483647 w 338"/>
                <a:gd name="T43" fmla="*/ 2147483647 h 638"/>
                <a:gd name="T44" fmla="*/ 2147483647 w 338"/>
                <a:gd name="T45" fmla="*/ 2147483647 h 638"/>
                <a:gd name="T46" fmla="*/ 2147483647 w 338"/>
                <a:gd name="T47" fmla="*/ 2147483647 h 638"/>
                <a:gd name="T48" fmla="*/ 2147483647 w 338"/>
                <a:gd name="T49" fmla="*/ 2147483647 h 638"/>
                <a:gd name="T50" fmla="*/ 2147483647 w 338"/>
                <a:gd name="T51" fmla="*/ 2147483647 h 638"/>
                <a:gd name="T52" fmla="*/ 2147483647 w 338"/>
                <a:gd name="T53" fmla="*/ 2147483647 h 638"/>
                <a:gd name="T54" fmla="*/ 2147483647 w 338"/>
                <a:gd name="T55" fmla="*/ 2147483647 h 638"/>
                <a:gd name="T56" fmla="*/ 2147483647 w 338"/>
                <a:gd name="T57" fmla="*/ 2147483647 h 638"/>
                <a:gd name="T58" fmla="*/ 2147483647 w 338"/>
                <a:gd name="T59" fmla="*/ 2147483647 h 638"/>
                <a:gd name="T60" fmla="*/ 2147483647 w 338"/>
                <a:gd name="T61" fmla="*/ 2147483647 h 638"/>
                <a:gd name="T62" fmla="*/ 2147483647 w 338"/>
                <a:gd name="T63" fmla="*/ 2147483647 h 638"/>
                <a:gd name="T64" fmla="*/ 2147483647 w 338"/>
                <a:gd name="T65" fmla="*/ 2147483647 h 638"/>
                <a:gd name="T66" fmla="*/ 2147483647 w 338"/>
                <a:gd name="T67" fmla="*/ 2147483647 h 638"/>
                <a:gd name="T68" fmla="*/ 2147483647 w 338"/>
                <a:gd name="T69" fmla="*/ 2147483647 h 638"/>
                <a:gd name="T70" fmla="*/ 2147483647 w 338"/>
                <a:gd name="T71" fmla="*/ 2147483647 h 638"/>
                <a:gd name="T72" fmla="*/ 2147483647 w 338"/>
                <a:gd name="T73" fmla="*/ 2147483647 h 638"/>
                <a:gd name="T74" fmla="*/ 2147483647 w 338"/>
                <a:gd name="T75" fmla="*/ 2147483647 h 638"/>
                <a:gd name="T76" fmla="*/ 2147483647 w 338"/>
                <a:gd name="T77" fmla="*/ 2147483647 h 638"/>
                <a:gd name="T78" fmla="*/ 2147483647 w 338"/>
                <a:gd name="T79" fmla="*/ 2147483647 h 638"/>
                <a:gd name="T80" fmla="*/ 2147483647 w 338"/>
                <a:gd name="T81" fmla="*/ 2147483647 h 638"/>
                <a:gd name="T82" fmla="*/ 2147483647 w 338"/>
                <a:gd name="T83" fmla="*/ 2147483647 h 638"/>
                <a:gd name="T84" fmla="*/ 2147483647 w 338"/>
                <a:gd name="T85" fmla="*/ 2147483647 h 638"/>
                <a:gd name="T86" fmla="*/ 2147483647 w 338"/>
                <a:gd name="T87" fmla="*/ 2147483647 h 638"/>
                <a:gd name="T88" fmla="*/ 2147483647 w 338"/>
                <a:gd name="T89" fmla="*/ 2147483647 h 638"/>
                <a:gd name="T90" fmla="*/ 2147483647 w 338"/>
                <a:gd name="T91" fmla="*/ 2147483647 h 638"/>
                <a:gd name="T92" fmla="*/ 2147483647 w 338"/>
                <a:gd name="T93" fmla="*/ 2147483647 h 638"/>
                <a:gd name="T94" fmla="*/ 2147483647 w 338"/>
                <a:gd name="T95" fmla="*/ 2147483647 h 638"/>
                <a:gd name="T96" fmla="*/ 2147483647 w 338"/>
                <a:gd name="T97" fmla="*/ 2147483647 h 638"/>
                <a:gd name="T98" fmla="*/ 2147483647 w 338"/>
                <a:gd name="T99" fmla="*/ 2147483647 h 638"/>
                <a:gd name="T100" fmla="*/ 2147483647 w 338"/>
                <a:gd name="T101" fmla="*/ 2147483647 h 638"/>
                <a:gd name="T102" fmla="*/ 2147483647 w 338"/>
                <a:gd name="T103" fmla="*/ 2147483647 h 638"/>
                <a:gd name="T104" fmla="*/ 2147483647 w 338"/>
                <a:gd name="T105" fmla="*/ 2147483647 h 638"/>
                <a:gd name="T106" fmla="*/ 2147483647 w 338"/>
                <a:gd name="T107" fmla="*/ 2147483647 h 638"/>
                <a:gd name="T108" fmla="*/ 2147483647 w 338"/>
                <a:gd name="T109" fmla="*/ 2147483647 h 638"/>
                <a:gd name="T110" fmla="*/ 2147483647 w 338"/>
                <a:gd name="T111" fmla="*/ 2147483647 h 638"/>
                <a:gd name="T112" fmla="*/ 2147483647 w 338"/>
                <a:gd name="T113" fmla="*/ 2147483647 h 638"/>
                <a:gd name="T114" fmla="*/ 2147483647 w 338"/>
                <a:gd name="T115" fmla="*/ 2147483647 h 638"/>
                <a:gd name="T116" fmla="*/ 2147483647 w 338"/>
                <a:gd name="T117" fmla="*/ 2147483647 h 638"/>
                <a:gd name="T118" fmla="*/ 2147483647 w 338"/>
                <a:gd name="T119" fmla="*/ 2147483647 h 638"/>
                <a:gd name="T120" fmla="*/ 2147483647 w 338"/>
                <a:gd name="T121" fmla="*/ 2147483647 h 638"/>
                <a:gd name="T122" fmla="*/ 2147483647 w 338"/>
                <a:gd name="T123" fmla="*/ 2147483647 h 638"/>
                <a:gd name="T124" fmla="*/ 2147483647 w 338"/>
                <a:gd name="T125" fmla="*/ 2147483647 h 6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8"/>
                <a:gd name="T190" fmla="*/ 0 h 638"/>
                <a:gd name="T191" fmla="*/ 338 w 338"/>
                <a:gd name="T192" fmla="*/ 638 h 6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8" h="638">
                  <a:moveTo>
                    <a:pt x="157" y="603"/>
                  </a:moveTo>
                  <a:lnTo>
                    <a:pt x="179" y="597"/>
                  </a:lnTo>
                  <a:lnTo>
                    <a:pt x="177" y="592"/>
                  </a:lnTo>
                  <a:lnTo>
                    <a:pt x="198" y="591"/>
                  </a:lnTo>
                  <a:lnTo>
                    <a:pt x="205" y="587"/>
                  </a:lnTo>
                  <a:lnTo>
                    <a:pt x="206" y="579"/>
                  </a:lnTo>
                  <a:lnTo>
                    <a:pt x="228" y="589"/>
                  </a:lnTo>
                  <a:lnTo>
                    <a:pt x="305" y="576"/>
                  </a:lnTo>
                  <a:lnTo>
                    <a:pt x="324" y="560"/>
                  </a:lnTo>
                  <a:lnTo>
                    <a:pt x="326" y="551"/>
                  </a:lnTo>
                  <a:lnTo>
                    <a:pt x="294" y="548"/>
                  </a:lnTo>
                  <a:lnTo>
                    <a:pt x="290" y="536"/>
                  </a:lnTo>
                  <a:lnTo>
                    <a:pt x="303" y="525"/>
                  </a:lnTo>
                  <a:lnTo>
                    <a:pt x="297" y="520"/>
                  </a:lnTo>
                  <a:lnTo>
                    <a:pt x="318" y="516"/>
                  </a:lnTo>
                  <a:lnTo>
                    <a:pt x="318" y="504"/>
                  </a:lnTo>
                  <a:lnTo>
                    <a:pt x="333" y="493"/>
                  </a:lnTo>
                  <a:lnTo>
                    <a:pt x="338" y="465"/>
                  </a:lnTo>
                  <a:lnTo>
                    <a:pt x="336" y="453"/>
                  </a:lnTo>
                  <a:lnTo>
                    <a:pt x="315" y="436"/>
                  </a:lnTo>
                  <a:lnTo>
                    <a:pt x="287" y="438"/>
                  </a:lnTo>
                  <a:lnTo>
                    <a:pt x="279" y="449"/>
                  </a:lnTo>
                  <a:lnTo>
                    <a:pt x="270" y="445"/>
                  </a:lnTo>
                  <a:lnTo>
                    <a:pt x="265" y="444"/>
                  </a:lnTo>
                  <a:lnTo>
                    <a:pt x="279" y="412"/>
                  </a:lnTo>
                  <a:lnTo>
                    <a:pt x="250" y="381"/>
                  </a:lnTo>
                  <a:lnTo>
                    <a:pt x="271" y="389"/>
                  </a:lnTo>
                  <a:lnTo>
                    <a:pt x="270" y="376"/>
                  </a:lnTo>
                  <a:lnTo>
                    <a:pt x="237" y="322"/>
                  </a:lnTo>
                  <a:lnTo>
                    <a:pt x="215" y="314"/>
                  </a:lnTo>
                  <a:lnTo>
                    <a:pt x="199" y="275"/>
                  </a:lnTo>
                  <a:lnTo>
                    <a:pt x="196" y="246"/>
                  </a:lnTo>
                  <a:lnTo>
                    <a:pt x="175" y="223"/>
                  </a:lnTo>
                  <a:lnTo>
                    <a:pt x="153" y="209"/>
                  </a:lnTo>
                  <a:lnTo>
                    <a:pt x="124" y="210"/>
                  </a:lnTo>
                  <a:lnTo>
                    <a:pt x="130" y="198"/>
                  </a:lnTo>
                  <a:lnTo>
                    <a:pt x="151" y="192"/>
                  </a:lnTo>
                  <a:lnTo>
                    <a:pt x="138" y="174"/>
                  </a:lnTo>
                  <a:lnTo>
                    <a:pt x="150" y="172"/>
                  </a:lnTo>
                  <a:lnTo>
                    <a:pt x="166" y="143"/>
                  </a:lnTo>
                  <a:lnTo>
                    <a:pt x="173" y="114"/>
                  </a:lnTo>
                  <a:lnTo>
                    <a:pt x="185" y="101"/>
                  </a:lnTo>
                  <a:lnTo>
                    <a:pt x="181" y="80"/>
                  </a:lnTo>
                  <a:lnTo>
                    <a:pt x="122" y="75"/>
                  </a:lnTo>
                  <a:lnTo>
                    <a:pt x="85" y="89"/>
                  </a:lnTo>
                  <a:lnTo>
                    <a:pt x="86" y="81"/>
                  </a:lnTo>
                  <a:lnTo>
                    <a:pt x="80" y="79"/>
                  </a:lnTo>
                  <a:lnTo>
                    <a:pt x="98" y="68"/>
                  </a:lnTo>
                  <a:lnTo>
                    <a:pt x="85" y="66"/>
                  </a:lnTo>
                  <a:lnTo>
                    <a:pt x="86" y="60"/>
                  </a:lnTo>
                  <a:lnTo>
                    <a:pt x="127" y="24"/>
                  </a:lnTo>
                  <a:lnTo>
                    <a:pt x="130" y="3"/>
                  </a:lnTo>
                  <a:lnTo>
                    <a:pt x="121" y="0"/>
                  </a:lnTo>
                  <a:lnTo>
                    <a:pt x="50" y="8"/>
                  </a:lnTo>
                  <a:lnTo>
                    <a:pt x="42" y="33"/>
                  </a:lnTo>
                  <a:lnTo>
                    <a:pt x="33" y="34"/>
                  </a:lnTo>
                  <a:lnTo>
                    <a:pt x="34" y="45"/>
                  </a:lnTo>
                  <a:lnTo>
                    <a:pt x="29" y="47"/>
                  </a:lnTo>
                  <a:lnTo>
                    <a:pt x="37" y="57"/>
                  </a:lnTo>
                  <a:lnTo>
                    <a:pt x="16" y="69"/>
                  </a:lnTo>
                  <a:lnTo>
                    <a:pt x="16" y="86"/>
                  </a:lnTo>
                  <a:lnTo>
                    <a:pt x="21" y="89"/>
                  </a:lnTo>
                  <a:lnTo>
                    <a:pt x="13" y="91"/>
                  </a:lnTo>
                  <a:lnTo>
                    <a:pt x="13" y="103"/>
                  </a:lnTo>
                  <a:lnTo>
                    <a:pt x="27" y="101"/>
                  </a:lnTo>
                  <a:lnTo>
                    <a:pt x="22" y="107"/>
                  </a:lnTo>
                  <a:lnTo>
                    <a:pt x="27" y="109"/>
                  </a:lnTo>
                  <a:lnTo>
                    <a:pt x="13" y="151"/>
                  </a:lnTo>
                  <a:lnTo>
                    <a:pt x="0" y="156"/>
                  </a:lnTo>
                  <a:lnTo>
                    <a:pt x="19" y="174"/>
                  </a:lnTo>
                  <a:lnTo>
                    <a:pt x="36" y="162"/>
                  </a:lnTo>
                  <a:lnTo>
                    <a:pt x="21" y="216"/>
                  </a:lnTo>
                  <a:lnTo>
                    <a:pt x="27" y="230"/>
                  </a:lnTo>
                  <a:lnTo>
                    <a:pt x="15" y="263"/>
                  </a:lnTo>
                  <a:lnTo>
                    <a:pt x="23" y="259"/>
                  </a:lnTo>
                  <a:lnTo>
                    <a:pt x="34" y="230"/>
                  </a:lnTo>
                  <a:lnTo>
                    <a:pt x="30" y="209"/>
                  </a:lnTo>
                  <a:lnTo>
                    <a:pt x="42" y="194"/>
                  </a:lnTo>
                  <a:lnTo>
                    <a:pt x="36" y="223"/>
                  </a:lnTo>
                  <a:lnTo>
                    <a:pt x="50" y="216"/>
                  </a:lnTo>
                  <a:lnTo>
                    <a:pt x="50" y="206"/>
                  </a:lnTo>
                  <a:lnTo>
                    <a:pt x="63" y="214"/>
                  </a:lnTo>
                  <a:lnTo>
                    <a:pt x="57" y="220"/>
                  </a:lnTo>
                  <a:lnTo>
                    <a:pt x="55" y="236"/>
                  </a:lnTo>
                  <a:lnTo>
                    <a:pt x="63" y="251"/>
                  </a:lnTo>
                  <a:lnTo>
                    <a:pt x="47" y="293"/>
                  </a:lnTo>
                  <a:lnTo>
                    <a:pt x="41" y="293"/>
                  </a:lnTo>
                  <a:lnTo>
                    <a:pt x="47" y="311"/>
                  </a:lnTo>
                  <a:lnTo>
                    <a:pt x="53" y="312"/>
                  </a:lnTo>
                  <a:lnTo>
                    <a:pt x="56" y="299"/>
                  </a:lnTo>
                  <a:lnTo>
                    <a:pt x="74" y="310"/>
                  </a:lnTo>
                  <a:lnTo>
                    <a:pt x="76" y="299"/>
                  </a:lnTo>
                  <a:lnTo>
                    <a:pt x="131" y="292"/>
                  </a:lnTo>
                  <a:lnTo>
                    <a:pt x="119" y="299"/>
                  </a:lnTo>
                  <a:lnTo>
                    <a:pt x="107" y="326"/>
                  </a:lnTo>
                  <a:lnTo>
                    <a:pt x="126" y="353"/>
                  </a:lnTo>
                  <a:lnTo>
                    <a:pt x="146" y="344"/>
                  </a:lnTo>
                  <a:lnTo>
                    <a:pt x="135" y="376"/>
                  </a:lnTo>
                  <a:lnTo>
                    <a:pt x="143" y="379"/>
                  </a:lnTo>
                  <a:lnTo>
                    <a:pt x="134" y="397"/>
                  </a:lnTo>
                  <a:lnTo>
                    <a:pt x="140" y="402"/>
                  </a:lnTo>
                  <a:lnTo>
                    <a:pt x="134" y="411"/>
                  </a:lnTo>
                  <a:lnTo>
                    <a:pt x="102" y="409"/>
                  </a:lnTo>
                  <a:lnTo>
                    <a:pt x="63" y="444"/>
                  </a:lnTo>
                  <a:lnTo>
                    <a:pt x="87" y="437"/>
                  </a:lnTo>
                  <a:lnTo>
                    <a:pt x="89" y="459"/>
                  </a:lnTo>
                  <a:lnTo>
                    <a:pt x="94" y="466"/>
                  </a:lnTo>
                  <a:lnTo>
                    <a:pt x="86" y="483"/>
                  </a:lnTo>
                  <a:lnTo>
                    <a:pt x="37" y="512"/>
                  </a:lnTo>
                  <a:lnTo>
                    <a:pt x="47" y="529"/>
                  </a:lnTo>
                  <a:lnTo>
                    <a:pt x="73" y="518"/>
                  </a:lnTo>
                  <a:lnTo>
                    <a:pt x="80" y="532"/>
                  </a:lnTo>
                  <a:lnTo>
                    <a:pt x="98" y="527"/>
                  </a:lnTo>
                  <a:lnTo>
                    <a:pt x="116" y="545"/>
                  </a:lnTo>
                  <a:lnTo>
                    <a:pt x="154" y="521"/>
                  </a:lnTo>
                  <a:lnTo>
                    <a:pt x="154" y="526"/>
                  </a:lnTo>
                  <a:lnTo>
                    <a:pt x="134" y="555"/>
                  </a:lnTo>
                  <a:lnTo>
                    <a:pt x="87" y="560"/>
                  </a:lnTo>
                  <a:lnTo>
                    <a:pt x="25" y="628"/>
                  </a:lnTo>
                  <a:lnTo>
                    <a:pt x="22" y="638"/>
                  </a:lnTo>
                  <a:lnTo>
                    <a:pt x="28" y="631"/>
                  </a:lnTo>
                  <a:lnTo>
                    <a:pt x="42" y="638"/>
                  </a:lnTo>
                  <a:lnTo>
                    <a:pt x="63" y="615"/>
                  </a:lnTo>
                  <a:lnTo>
                    <a:pt x="107" y="621"/>
                  </a:lnTo>
                  <a:lnTo>
                    <a:pt x="117" y="596"/>
                  </a:lnTo>
                  <a:lnTo>
                    <a:pt x="144" y="589"/>
                  </a:lnTo>
                  <a:lnTo>
                    <a:pt x="157" y="603"/>
                  </a:lnTo>
                  <a:close/>
                </a:path>
              </a:pathLst>
            </a:custGeom>
            <a:grpFill/>
            <a:ln w="6350">
              <a:solidFill>
                <a:schemeClr val="tx2"/>
              </a:solidFill>
              <a:round/>
              <a:headEnd/>
              <a:tailEnd/>
            </a:ln>
          </p:spPr>
          <p:txBody>
            <a:bodyPr/>
            <a:lstStyle/>
            <a:p>
              <a:endParaRPr lang="en-US"/>
            </a:p>
          </p:txBody>
        </p:sp>
        <p:sp>
          <p:nvSpPr>
            <p:cNvPr id="779" name="Freeform 1801"/>
            <p:cNvSpPr>
              <a:spLocks/>
            </p:cNvSpPr>
            <p:nvPr/>
          </p:nvSpPr>
          <p:spPr bwMode="auto">
            <a:xfrm>
              <a:off x="4594049" y="3120902"/>
              <a:ext cx="9103" cy="4551"/>
            </a:xfrm>
            <a:custGeom>
              <a:avLst/>
              <a:gdLst>
                <a:gd name="T0" fmla="*/ 2147483647 w 16"/>
                <a:gd name="T1" fmla="*/ 0 h 7"/>
                <a:gd name="T2" fmla="*/ 0 w 16"/>
                <a:gd name="T3" fmla="*/ 2147483647 h 7"/>
                <a:gd name="T4" fmla="*/ 2147483647 w 16"/>
                <a:gd name="T5" fmla="*/ 2147483647 h 7"/>
                <a:gd name="T6" fmla="*/ 2147483647 w 16"/>
                <a:gd name="T7" fmla="*/ 2147483647 h 7"/>
                <a:gd name="T8" fmla="*/ 2147483647 w 16"/>
                <a:gd name="T9" fmla="*/ 0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11" y="0"/>
                  </a:moveTo>
                  <a:lnTo>
                    <a:pt x="0" y="4"/>
                  </a:lnTo>
                  <a:lnTo>
                    <a:pt x="12" y="7"/>
                  </a:lnTo>
                  <a:lnTo>
                    <a:pt x="16" y="3"/>
                  </a:lnTo>
                  <a:lnTo>
                    <a:pt x="11" y="0"/>
                  </a:lnTo>
                  <a:close/>
                </a:path>
              </a:pathLst>
            </a:custGeom>
            <a:grpFill/>
            <a:ln w="6350">
              <a:solidFill>
                <a:schemeClr val="tx2"/>
              </a:solidFill>
              <a:round/>
              <a:headEnd/>
              <a:tailEnd/>
            </a:ln>
          </p:spPr>
          <p:txBody>
            <a:bodyPr/>
            <a:lstStyle/>
            <a:p>
              <a:endParaRPr lang="en-US"/>
            </a:p>
          </p:txBody>
        </p:sp>
        <p:sp>
          <p:nvSpPr>
            <p:cNvPr id="780" name="Freeform 1802"/>
            <p:cNvSpPr>
              <a:spLocks/>
            </p:cNvSpPr>
            <p:nvPr/>
          </p:nvSpPr>
          <p:spPr bwMode="auto">
            <a:xfrm>
              <a:off x="4528814" y="3028359"/>
              <a:ext cx="6069" cy="6069"/>
            </a:xfrm>
            <a:custGeom>
              <a:avLst/>
              <a:gdLst>
                <a:gd name="T0" fmla="*/ 2147483647 w 13"/>
                <a:gd name="T1" fmla="*/ 2147483647 h 12"/>
                <a:gd name="T2" fmla="*/ 2147483647 w 13"/>
                <a:gd name="T3" fmla="*/ 2147483647 h 12"/>
                <a:gd name="T4" fmla="*/ 0 w 13"/>
                <a:gd name="T5" fmla="*/ 0 h 12"/>
                <a:gd name="T6" fmla="*/ 2147483647 w 13"/>
                <a:gd name="T7" fmla="*/ 2147483647 h 12"/>
                <a:gd name="T8" fmla="*/ 0 60000 65536"/>
                <a:gd name="T9" fmla="*/ 0 60000 65536"/>
                <a:gd name="T10" fmla="*/ 0 60000 65536"/>
                <a:gd name="T11" fmla="*/ 0 60000 65536"/>
                <a:gd name="T12" fmla="*/ 0 w 13"/>
                <a:gd name="T13" fmla="*/ 0 h 12"/>
                <a:gd name="T14" fmla="*/ 13 w 13"/>
                <a:gd name="T15" fmla="*/ 12 h 12"/>
              </a:gdLst>
              <a:ahLst/>
              <a:cxnLst>
                <a:cxn ang="T8">
                  <a:pos x="T0" y="T1"/>
                </a:cxn>
                <a:cxn ang="T9">
                  <a:pos x="T2" y="T3"/>
                </a:cxn>
                <a:cxn ang="T10">
                  <a:pos x="T4" y="T5"/>
                </a:cxn>
                <a:cxn ang="T11">
                  <a:pos x="T6" y="T7"/>
                </a:cxn>
              </a:cxnLst>
              <a:rect l="T12" t="T13" r="T14" b="T15"/>
              <a:pathLst>
                <a:path w="13" h="12">
                  <a:moveTo>
                    <a:pt x="9" y="12"/>
                  </a:moveTo>
                  <a:lnTo>
                    <a:pt x="13" y="8"/>
                  </a:lnTo>
                  <a:lnTo>
                    <a:pt x="0" y="0"/>
                  </a:lnTo>
                  <a:lnTo>
                    <a:pt x="9" y="12"/>
                  </a:lnTo>
                  <a:close/>
                </a:path>
              </a:pathLst>
            </a:custGeom>
            <a:grpFill/>
            <a:ln w="6350">
              <a:solidFill>
                <a:schemeClr val="tx2"/>
              </a:solidFill>
              <a:round/>
              <a:headEnd/>
              <a:tailEnd/>
            </a:ln>
          </p:spPr>
          <p:txBody>
            <a:bodyPr/>
            <a:lstStyle/>
            <a:p>
              <a:endParaRPr lang="en-US"/>
            </a:p>
          </p:txBody>
        </p:sp>
        <p:sp>
          <p:nvSpPr>
            <p:cNvPr id="781" name="Freeform 1803"/>
            <p:cNvSpPr>
              <a:spLocks/>
            </p:cNvSpPr>
            <p:nvPr/>
          </p:nvSpPr>
          <p:spPr bwMode="auto">
            <a:xfrm>
              <a:off x="4522745" y="2993464"/>
              <a:ext cx="9103" cy="10620"/>
            </a:xfrm>
            <a:custGeom>
              <a:avLst/>
              <a:gdLst>
                <a:gd name="T0" fmla="*/ 2147483647 w 19"/>
                <a:gd name="T1" fmla="*/ 0 h 23"/>
                <a:gd name="T2" fmla="*/ 0 w 19"/>
                <a:gd name="T3" fmla="*/ 2147483647 h 23"/>
                <a:gd name="T4" fmla="*/ 2147483647 w 19"/>
                <a:gd name="T5" fmla="*/ 2147483647 h 23"/>
                <a:gd name="T6" fmla="*/ 2147483647 w 19"/>
                <a:gd name="T7" fmla="*/ 2147483647 h 23"/>
                <a:gd name="T8" fmla="*/ 2147483647 w 19"/>
                <a:gd name="T9" fmla="*/ 0 h 23"/>
                <a:gd name="T10" fmla="*/ 0 60000 65536"/>
                <a:gd name="T11" fmla="*/ 0 60000 65536"/>
                <a:gd name="T12" fmla="*/ 0 60000 65536"/>
                <a:gd name="T13" fmla="*/ 0 60000 65536"/>
                <a:gd name="T14" fmla="*/ 0 60000 65536"/>
                <a:gd name="T15" fmla="*/ 0 w 19"/>
                <a:gd name="T16" fmla="*/ 0 h 23"/>
                <a:gd name="T17" fmla="*/ 19 w 19"/>
                <a:gd name="T18" fmla="*/ 23 h 23"/>
              </a:gdLst>
              <a:ahLst/>
              <a:cxnLst>
                <a:cxn ang="T10">
                  <a:pos x="T0" y="T1"/>
                </a:cxn>
                <a:cxn ang="T11">
                  <a:pos x="T2" y="T3"/>
                </a:cxn>
                <a:cxn ang="T12">
                  <a:pos x="T4" y="T5"/>
                </a:cxn>
                <a:cxn ang="T13">
                  <a:pos x="T6" y="T7"/>
                </a:cxn>
                <a:cxn ang="T14">
                  <a:pos x="T8" y="T9"/>
                </a:cxn>
              </a:cxnLst>
              <a:rect l="T15" t="T16" r="T17" b="T18"/>
              <a:pathLst>
                <a:path w="19" h="23">
                  <a:moveTo>
                    <a:pt x="16" y="0"/>
                  </a:moveTo>
                  <a:lnTo>
                    <a:pt x="0" y="23"/>
                  </a:lnTo>
                  <a:lnTo>
                    <a:pt x="15" y="17"/>
                  </a:lnTo>
                  <a:lnTo>
                    <a:pt x="19" y="7"/>
                  </a:lnTo>
                  <a:lnTo>
                    <a:pt x="16" y="0"/>
                  </a:lnTo>
                  <a:close/>
                </a:path>
              </a:pathLst>
            </a:custGeom>
            <a:grpFill/>
            <a:ln w="6350">
              <a:solidFill>
                <a:schemeClr val="tx2"/>
              </a:solidFill>
              <a:round/>
              <a:headEnd/>
              <a:tailEnd/>
            </a:ln>
          </p:spPr>
          <p:txBody>
            <a:bodyPr/>
            <a:lstStyle/>
            <a:p>
              <a:endParaRPr lang="en-US"/>
            </a:p>
          </p:txBody>
        </p:sp>
        <p:sp>
          <p:nvSpPr>
            <p:cNvPr id="782" name="Freeform 1804"/>
            <p:cNvSpPr>
              <a:spLocks/>
            </p:cNvSpPr>
            <p:nvPr/>
          </p:nvSpPr>
          <p:spPr bwMode="auto">
            <a:xfrm>
              <a:off x="4510609" y="2944916"/>
              <a:ext cx="3034" cy="9103"/>
            </a:xfrm>
            <a:custGeom>
              <a:avLst/>
              <a:gdLst>
                <a:gd name="T0" fmla="*/ 0 w 8"/>
                <a:gd name="T1" fmla="*/ 0 h 18"/>
                <a:gd name="T2" fmla="*/ 0 w 8"/>
                <a:gd name="T3" fmla="*/ 2147483647 h 18"/>
                <a:gd name="T4" fmla="*/ 2147483647 w 8"/>
                <a:gd name="T5" fmla="*/ 2147483647 h 18"/>
                <a:gd name="T6" fmla="*/ 2147483647 w 8"/>
                <a:gd name="T7" fmla="*/ 0 h 18"/>
                <a:gd name="T8" fmla="*/ 0 w 8"/>
                <a:gd name="T9" fmla="*/ 0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0" y="0"/>
                  </a:moveTo>
                  <a:lnTo>
                    <a:pt x="0" y="14"/>
                  </a:lnTo>
                  <a:lnTo>
                    <a:pt x="7" y="18"/>
                  </a:lnTo>
                  <a:lnTo>
                    <a:pt x="8" y="0"/>
                  </a:lnTo>
                  <a:lnTo>
                    <a:pt x="0" y="0"/>
                  </a:lnTo>
                  <a:close/>
                </a:path>
              </a:pathLst>
            </a:custGeom>
            <a:grpFill/>
            <a:ln w="6350">
              <a:solidFill>
                <a:schemeClr val="tx2"/>
              </a:solidFill>
              <a:round/>
              <a:headEnd/>
              <a:tailEnd/>
            </a:ln>
          </p:spPr>
          <p:txBody>
            <a:bodyPr/>
            <a:lstStyle/>
            <a:p>
              <a:endParaRPr lang="en-US"/>
            </a:p>
          </p:txBody>
        </p:sp>
        <p:sp>
          <p:nvSpPr>
            <p:cNvPr id="783" name="Freeform 1805"/>
            <p:cNvSpPr>
              <a:spLocks/>
            </p:cNvSpPr>
            <p:nvPr/>
          </p:nvSpPr>
          <p:spPr bwMode="auto">
            <a:xfrm>
              <a:off x="4486335" y="2937332"/>
              <a:ext cx="6069" cy="9103"/>
            </a:xfrm>
            <a:custGeom>
              <a:avLst/>
              <a:gdLst>
                <a:gd name="T0" fmla="*/ 2147483647 w 17"/>
                <a:gd name="T1" fmla="*/ 0 h 19"/>
                <a:gd name="T2" fmla="*/ 2147483647 w 17"/>
                <a:gd name="T3" fmla="*/ 2147483647 h 19"/>
                <a:gd name="T4" fmla="*/ 0 w 17"/>
                <a:gd name="T5" fmla="*/ 2147483647 h 19"/>
                <a:gd name="T6" fmla="*/ 2147483647 w 17"/>
                <a:gd name="T7" fmla="*/ 2147483647 h 19"/>
                <a:gd name="T8" fmla="*/ 2147483647 w 17"/>
                <a:gd name="T9" fmla="*/ 2147483647 h 19"/>
                <a:gd name="T10" fmla="*/ 2147483647 w 17"/>
                <a:gd name="T11" fmla="*/ 2147483647 h 19"/>
                <a:gd name="T12" fmla="*/ 2147483647 w 17"/>
                <a:gd name="T13" fmla="*/ 0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14" y="0"/>
                  </a:moveTo>
                  <a:lnTo>
                    <a:pt x="3" y="4"/>
                  </a:lnTo>
                  <a:lnTo>
                    <a:pt x="0" y="15"/>
                  </a:lnTo>
                  <a:lnTo>
                    <a:pt x="6" y="8"/>
                  </a:lnTo>
                  <a:lnTo>
                    <a:pt x="10" y="19"/>
                  </a:lnTo>
                  <a:lnTo>
                    <a:pt x="17" y="15"/>
                  </a:lnTo>
                  <a:lnTo>
                    <a:pt x="14" y="0"/>
                  </a:lnTo>
                  <a:close/>
                </a:path>
              </a:pathLst>
            </a:custGeom>
            <a:grpFill/>
            <a:ln w="6350">
              <a:solidFill>
                <a:schemeClr val="tx2"/>
              </a:solidFill>
              <a:round/>
              <a:headEnd/>
              <a:tailEnd/>
            </a:ln>
          </p:spPr>
          <p:txBody>
            <a:bodyPr/>
            <a:lstStyle/>
            <a:p>
              <a:endParaRPr lang="en-US"/>
            </a:p>
          </p:txBody>
        </p:sp>
        <p:sp>
          <p:nvSpPr>
            <p:cNvPr id="784" name="Freeform 1806"/>
            <p:cNvSpPr>
              <a:spLocks/>
            </p:cNvSpPr>
            <p:nvPr/>
          </p:nvSpPr>
          <p:spPr bwMode="auto">
            <a:xfrm>
              <a:off x="4492403" y="2928229"/>
              <a:ext cx="6069" cy="12137"/>
            </a:xfrm>
            <a:custGeom>
              <a:avLst/>
              <a:gdLst>
                <a:gd name="T0" fmla="*/ 2147483647 w 12"/>
                <a:gd name="T1" fmla="*/ 0 h 23"/>
                <a:gd name="T2" fmla="*/ 0 w 12"/>
                <a:gd name="T3" fmla="*/ 2147483647 h 23"/>
                <a:gd name="T4" fmla="*/ 2147483647 w 12"/>
                <a:gd name="T5" fmla="*/ 0 h 23"/>
                <a:gd name="T6" fmla="*/ 0 60000 65536"/>
                <a:gd name="T7" fmla="*/ 0 60000 65536"/>
                <a:gd name="T8" fmla="*/ 0 60000 65536"/>
                <a:gd name="T9" fmla="*/ 0 w 12"/>
                <a:gd name="T10" fmla="*/ 0 h 23"/>
                <a:gd name="T11" fmla="*/ 12 w 12"/>
                <a:gd name="T12" fmla="*/ 23 h 23"/>
              </a:gdLst>
              <a:ahLst/>
              <a:cxnLst>
                <a:cxn ang="T6">
                  <a:pos x="T0" y="T1"/>
                </a:cxn>
                <a:cxn ang="T7">
                  <a:pos x="T2" y="T3"/>
                </a:cxn>
                <a:cxn ang="T8">
                  <a:pos x="T4" y="T5"/>
                </a:cxn>
              </a:cxnLst>
              <a:rect l="T9" t="T10" r="T11" b="T12"/>
              <a:pathLst>
                <a:path w="12" h="23">
                  <a:moveTo>
                    <a:pt x="12" y="0"/>
                  </a:moveTo>
                  <a:lnTo>
                    <a:pt x="0" y="23"/>
                  </a:lnTo>
                  <a:lnTo>
                    <a:pt x="12" y="0"/>
                  </a:lnTo>
                  <a:close/>
                </a:path>
              </a:pathLst>
            </a:custGeom>
            <a:grpFill/>
            <a:ln w="6350">
              <a:solidFill>
                <a:schemeClr val="tx2"/>
              </a:solidFill>
              <a:round/>
              <a:headEnd/>
              <a:tailEnd/>
            </a:ln>
          </p:spPr>
          <p:txBody>
            <a:bodyPr/>
            <a:lstStyle/>
            <a:p>
              <a:endParaRPr lang="en-US"/>
            </a:p>
          </p:txBody>
        </p:sp>
        <p:sp>
          <p:nvSpPr>
            <p:cNvPr id="785" name="Freeform 1807"/>
            <p:cNvSpPr>
              <a:spLocks/>
            </p:cNvSpPr>
            <p:nvPr/>
          </p:nvSpPr>
          <p:spPr bwMode="auto">
            <a:xfrm>
              <a:off x="4489369" y="2910023"/>
              <a:ext cx="9103" cy="10619"/>
            </a:xfrm>
            <a:custGeom>
              <a:avLst/>
              <a:gdLst>
                <a:gd name="T0" fmla="*/ 0 w 25"/>
                <a:gd name="T1" fmla="*/ 2147483647 h 24"/>
                <a:gd name="T2" fmla="*/ 2147483647 w 25"/>
                <a:gd name="T3" fmla="*/ 2147483647 h 24"/>
                <a:gd name="T4" fmla="*/ 2147483647 w 25"/>
                <a:gd name="T5" fmla="*/ 0 h 24"/>
                <a:gd name="T6" fmla="*/ 2147483647 w 25"/>
                <a:gd name="T7" fmla="*/ 2147483647 h 24"/>
                <a:gd name="T8" fmla="*/ 2147483647 w 25"/>
                <a:gd name="T9" fmla="*/ 2147483647 h 24"/>
                <a:gd name="T10" fmla="*/ 0 w 25"/>
                <a:gd name="T11" fmla="*/ 2147483647 h 24"/>
                <a:gd name="T12" fmla="*/ 0 60000 65536"/>
                <a:gd name="T13" fmla="*/ 0 60000 65536"/>
                <a:gd name="T14" fmla="*/ 0 60000 65536"/>
                <a:gd name="T15" fmla="*/ 0 60000 65536"/>
                <a:gd name="T16" fmla="*/ 0 60000 65536"/>
                <a:gd name="T17" fmla="*/ 0 60000 65536"/>
                <a:gd name="T18" fmla="*/ 0 w 25"/>
                <a:gd name="T19" fmla="*/ 0 h 24"/>
                <a:gd name="T20" fmla="*/ 25 w 2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5" h="24">
                  <a:moveTo>
                    <a:pt x="0" y="24"/>
                  </a:moveTo>
                  <a:lnTo>
                    <a:pt x="25" y="20"/>
                  </a:lnTo>
                  <a:lnTo>
                    <a:pt x="11" y="0"/>
                  </a:lnTo>
                  <a:lnTo>
                    <a:pt x="3" y="4"/>
                  </a:lnTo>
                  <a:lnTo>
                    <a:pt x="10" y="19"/>
                  </a:lnTo>
                  <a:lnTo>
                    <a:pt x="0" y="24"/>
                  </a:lnTo>
                  <a:close/>
                </a:path>
              </a:pathLst>
            </a:custGeom>
            <a:grpFill/>
            <a:ln w="6350">
              <a:solidFill>
                <a:schemeClr val="tx2"/>
              </a:solidFill>
              <a:round/>
              <a:headEnd/>
              <a:tailEnd/>
            </a:ln>
          </p:spPr>
          <p:txBody>
            <a:bodyPr/>
            <a:lstStyle/>
            <a:p>
              <a:endParaRPr lang="en-US"/>
            </a:p>
          </p:txBody>
        </p:sp>
        <p:sp>
          <p:nvSpPr>
            <p:cNvPr id="786" name="Freeform 1808"/>
            <p:cNvSpPr>
              <a:spLocks/>
            </p:cNvSpPr>
            <p:nvPr/>
          </p:nvSpPr>
          <p:spPr bwMode="auto">
            <a:xfrm>
              <a:off x="4480266" y="2866027"/>
              <a:ext cx="19722" cy="24273"/>
            </a:xfrm>
            <a:custGeom>
              <a:avLst/>
              <a:gdLst>
                <a:gd name="T0" fmla="*/ 2147483647 w 42"/>
                <a:gd name="T1" fmla="*/ 0 h 48"/>
                <a:gd name="T2" fmla="*/ 2147483647 w 42"/>
                <a:gd name="T3" fmla="*/ 2147483647 h 48"/>
                <a:gd name="T4" fmla="*/ 2147483647 w 42"/>
                <a:gd name="T5" fmla="*/ 2147483647 h 48"/>
                <a:gd name="T6" fmla="*/ 0 w 42"/>
                <a:gd name="T7" fmla="*/ 2147483647 h 48"/>
                <a:gd name="T8" fmla="*/ 2147483647 w 42"/>
                <a:gd name="T9" fmla="*/ 2147483647 h 48"/>
                <a:gd name="T10" fmla="*/ 2147483647 w 42"/>
                <a:gd name="T11" fmla="*/ 2147483647 h 48"/>
                <a:gd name="T12" fmla="*/ 2147483647 w 42"/>
                <a:gd name="T13" fmla="*/ 2147483647 h 48"/>
                <a:gd name="T14" fmla="*/ 2147483647 w 42"/>
                <a:gd name="T15" fmla="*/ 2147483647 h 48"/>
                <a:gd name="T16" fmla="*/ 2147483647 w 42"/>
                <a:gd name="T17" fmla="*/ 2147483647 h 48"/>
                <a:gd name="T18" fmla="*/ 2147483647 w 42"/>
                <a:gd name="T19" fmla="*/ 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48"/>
                <a:gd name="T32" fmla="*/ 42 w 42"/>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48">
                  <a:moveTo>
                    <a:pt x="17" y="0"/>
                  </a:moveTo>
                  <a:lnTo>
                    <a:pt x="12" y="16"/>
                  </a:lnTo>
                  <a:lnTo>
                    <a:pt x="6" y="10"/>
                  </a:lnTo>
                  <a:lnTo>
                    <a:pt x="0" y="23"/>
                  </a:lnTo>
                  <a:lnTo>
                    <a:pt x="9" y="26"/>
                  </a:lnTo>
                  <a:lnTo>
                    <a:pt x="17" y="43"/>
                  </a:lnTo>
                  <a:lnTo>
                    <a:pt x="38" y="48"/>
                  </a:lnTo>
                  <a:lnTo>
                    <a:pt x="42" y="36"/>
                  </a:lnTo>
                  <a:lnTo>
                    <a:pt x="29" y="32"/>
                  </a:lnTo>
                  <a:lnTo>
                    <a:pt x="17" y="0"/>
                  </a:lnTo>
                  <a:close/>
                </a:path>
              </a:pathLst>
            </a:custGeom>
            <a:grpFill/>
            <a:ln w="6350">
              <a:solidFill>
                <a:schemeClr val="tx2"/>
              </a:solidFill>
              <a:round/>
              <a:headEnd/>
              <a:tailEnd/>
            </a:ln>
          </p:spPr>
          <p:txBody>
            <a:bodyPr/>
            <a:lstStyle/>
            <a:p>
              <a:endParaRPr lang="en-US"/>
            </a:p>
          </p:txBody>
        </p:sp>
        <p:sp>
          <p:nvSpPr>
            <p:cNvPr id="787" name="Freeform 1809"/>
            <p:cNvSpPr>
              <a:spLocks/>
            </p:cNvSpPr>
            <p:nvPr/>
          </p:nvSpPr>
          <p:spPr bwMode="auto">
            <a:xfrm>
              <a:off x="4466612" y="2668802"/>
              <a:ext cx="10620" cy="15172"/>
            </a:xfrm>
            <a:custGeom>
              <a:avLst/>
              <a:gdLst>
                <a:gd name="T0" fmla="*/ 2147483647 w 21"/>
                <a:gd name="T1" fmla="*/ 2147483647 h 29"/>
                <a:gd name="T2" fmla="*/ 2147483647 w 21"/>
                <a:gd name="T3" fmla="*/ 2147483647 h 29"/>
                <a:gd name="T4" fmla="*/ 2147483647 w 21"/>
                <a:gd name="T5" fmla="*/ 0 h 29"/>
                <a:gd name="T6" fmla="*/ 0 w 21"/>
                <a:gd name="T7" fmla="*/ 2147483647 h 29"/>
                <a:gd name="T8" fmla="*/ 2147483647 w 21"/>
                <a:gd name="T9" fmla="*/ 2147483647 h 29"/>
                <a:gd name="T10" fmla="*/ 0 60000 65536"/>
                <a:gd name="T11" fmla="*/ 0 60000 65536"/>
                <a:gd name="T12" fmla="*/ 0 60000 65536"/>
                <a:gd name="T13" fmla="*/ 0 60000 65536"/>
                <a:gd name="T14" fmla="*/ 0 60000 65536"/>
                <a:gd name="T15" fmla="*/ 0 w 21"/>
                <a:gd name="T16" fmla="*/ 0 h 29"/>
                <a:gd name="T17" fmla="*/ 21 w 21"/>
                <a:gd name="T18" fmla="*/ 29 h 29"/>
              </a:gdLst>
              <a:ahLst/>
              <a:cxnLst>
                <a:cxn ang="T10">
                  <a:pos x="T0" y="T1"/>
                </a:cxn>
                <a:cxn ang="T11">
                  <a:pos x="T2" y="T3"/>
                </a:cxn>
                <a:cxn ang="T12">
                  <a:pos x="T4" y="T5"/>
                </a:cxn>
                <a:cxn ang="T13">
                  <a:pos x="T6" y="T7"/>
                </a:cxn>
                <a:cxn ang="T14">
                  <a:pos x="T8" y="T9"/>
                </a:cxn>
              </a:cxnLst>
              <a:rect l="T15" t="T16" r="T17" b="T18"/>
              <a:pathLst>
                <a:path w="21" h="29">
                  <a:moveTo>
                    <a:pt x="21" y="29"/>
                  </a:moveTo>
                  <a:lnTo>
                    <a:pt x="11" y="6"/>
                  </a:lnTo>
                  <a:lnTo>
                    <a:pt x="3" y="0"/>
                  </a:lnTo>
                  <a:lnTo>
                    <a:pt x="0" y="9"/>
                  </a:lnTo>
                  <a:lnTo>
                    <a:pt x="21" y="29"/>
                  </a:lnTo>
                  <a:close/>
                </a:path>
              </a:pathLst>
            </a:custGeom>
            <a:grpFill/>
            <a:ln w="6350">
              <a:solidFill>
                <a:schemeClr val="tx2"/>
              </a:solidFill>
              <a:round/>
              <a:headEnd/>
              <a:tailEnd/>
            </a:ln>
          </p:spPr>
          <p:txBody>
            <a:bodyPr/>
            <a:lstStyle/>
            <a:p>
              <a:endParaRPr lang="en-US"/>
            </a:p>
          </p:txBody>
        </p:sp>
        <p:sp>
          <p:nvSpPr>
            <p:cNvPr id="788" name="Freeform 1810"/>
            <p:cNvSpPr>
              <a:spLocks/>
            </p:cNvSpPr>
            <p:nvPr/>
          </p:nvSpPr>
          <p:spPr bwMode="auto">
            <a:xfrm>
              <a:off x="4474198" y="2688525"/>
              <a:ext cx="6069" cy="4550"/>
            </a:xfrm>
            <a:custGeom>
              <a:avLst/>
              <a:gdLst>
                <a:gd name="T0" fmla="*/ 2147483647 w 10"/>
                <a:gd name="T1" fmla="*/ 2147483647 h 10"/>
                <a:gd name="T2" fmla="*/ 2147483647 w 10"/>
                <a:gd name="T3" fmla="*/ 0 h 10"/>
                <a:gd name="T4" fmla="*/ 0 w 10"/>
                <a:gd name="T5" fmla="*/ 0 h 10"/>
                <a:gd name="T6" fmla="*/ 2147483647 w 10"/>
                <a:gd name="T7" fmla="*/ 2147483647 h 10"/>
                <a:gd name="T8" fmla="*/ 0 60000 65536"/>
                <a:gd name="T9" fmla="*/ 0 60000 65536"/>
                <a:gd name="T10" fmla="*/ 0 60000 65536"/>
                <a:gd name="T11" fmla="*/ 0 60000 65536"/>
                <a:gd name="T12" fmla="*/ 0 w 10"/>
                <a:gd name="T13" fmla="*/ 0 h 10"/>
                <a:gd name="T14" fmla="*/ 10 w 10"/>
                <a:gd name="T15" fmla="*/ 10 h 10"/>
              </a:gdLst>
              <a:ahLst/>
              <a:cxnLst>
                <a:cxn ang="T8">
                  <a:pos x="T0" y="T1"/>
                </a:cxn>
                <a:cxn ang="T9">
                  <a:pos x="T2" y="T3"/>
                </a:cxn>
                <a:cxn ang="T10">
                  <a:pos x="T4" y="T5"/>
                </a:cxn>
                <a:cxn ang="T11">
                  <a:pos x="T6" y="T7"/>
                </a:cxn>
              </a:cxnLst>
              <a:rect l="T12" t="T13" r="T14" b="T15"/>
              <a:pathLst>
                <a:path w="10" h="10">
                  <a:moveTo>
                    <a:pt x="10" y="10"/>
                  </a:moveTo>
                  <a:lnTo>
                    <a:pt x="9" y="0"/>
                  </a:lnTo>
                  <a:lnTo>
                    <a:pt x="0" y="0"/>
                  </a:lnTo>
                  <a:lnTo>
                    <a:pt x="10" y="10"/>
                  </a:lnTo>
                  <a:close/>
                </a:path>
              </a:pathLst>
            </a:custGeom>
            <a:grpFill/>
            <a:ln w="6350">
              <a:solidFill>
                <a:schemeClr val="tx2"/>
              </a:solidFill>
              <a:round/>
              <a:headEnd/>
              <a:tailEnd/>
            </a:ln>
          </p:spPr>
          <p:txBody>
            <a:bodyPr/>
            <a:lstStyle/>
            <a:p>
              <a:endParaRPr lang="en-US"/>
            </a:p>
          </p:txBody>
        </p:sp>
        <p:sp>
          <p:nvSpPr>
            <p:cNvPr id="789" name="Freeform 1811"/>
            <p:cNvSpPr>
              <a:spLocks/>
            </p:cNvSpPr>
            <p:nvPr/>
          </p:nvSpPr>
          <p:spPr bwMode="auto">
            <a:xfrm>
              <a:off x="4474198" y="2700662"/>
              <a:ext cx="3034" cy="9103"/>
            </a:xfrm>
            <a:custGeom>
              <a:avLst/>
              <a:gdLst>
                <a:gd name="T0" fmla="*/ 2147483647 w 7"/>
                <a:gd name="T1" fmla="*/ 0 h 18"/>
                <a:gd name="T2" fmla="*/ 0 w 7"/>
                <a:gd name="T3" fmla="*/ 2147483647 h 18"/>
                <a:gd name="T4" fmla="*/ 2147483647 w 7"/>
                <a:gd name="T5" fmla="*/ 2147483647 h 18"/>
                <a:gd name="T6" fmla="*/ 2147483647 w 7"/>
                <a:gd name="T7" fmla="*/ 0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1" y="0"/>
                  </a:moveTo>
                  <a:lnTo>
                    <a:pt x="0" y="14"/>
                  </a:lnTo>
                  <a:lnTo>
                    <a:pt x="7" y="18"/>
                  </a:lnTo>
                  <a:lnTo>
                    <a:pt x="1" y="0"/>
                  </a:lnTo>
                  <a:close/>
                </a:path>
              </a:pathLst>
            </a:custGeom>
            <a:grpFill/>
            <a:ln w="6350">
              <a:solidFill>
                <a:schemeClr val="tx2"/>
              </a:solidFill>
              <a:round/>
              <a:headEnd/>
              <a:tailEnd/>
            </a:ln>
          </p:spPr>
          <p:txBody>
            <a:bodyPr/>
            <a:lstStyle/>
            <a:p>
              <a:endParaRPr lang="en-US"/>
            </a:p>
          </p:txBody>
        </p:sp>
        <p:sp>
          <p:nvSpPr>
            <p:cNvPr id="790" name="Freeform 1814"/>
            <p:cNvSpPr>
              <a:spLocks/>
            </p:cNvSpPr>
            <p:nvPr/>
          </p:nvSpPr>
          <p:spPr bwMode="auto">
            <a:xfrm>
              <a:off x="4980914" y="3365157"/>
              <a:ext cx="25791" cy="16688"/>
            </a:xfrm>
            <a:custGeom>
              <a:avLst/>
              <a:gdLst>
                <a:gd name="T0" fmla="*/ 2147483647 w 59"/>
                <a:gd name="T1" fmla="*/ 2147483647 h 33"/>
                <a:gd name="T2" fmla="*/ 2147483647 w 59"/>
                <a:gd name="T3" fmla="*/ 2147483647 h 33"/>
                <a:gd name="T4" fmla="*/ 2147483647 w 59"/>
                <a:gd name="T5" fmla="*/ 2147483647 h 33"/>
                <a:gd name="T6" fmla="*/ 2147483647 w 59"/>
                <a:gd name="T7" fmla="*/ 0 h 33"/>
                <a:gd name="T8" fmla="*/ 0 w 59"/>
                <a:gd name="T9" fmla="*/ 2147483647 h 33"/>
                <a:gd name="T10" fmla="*/ 2147483647 w 59"/>
                <a:gd name="T11" fmla="*/ 2147483647 h 33"/>
                <a:gd name="T12" fmla="*/ 2147483647 w 59"/>
                <a:gd name="T13" fmla="*/ 2147483647 h 33"/>
                <a:gd name="T14" fmla="*/ 2147483647 w 59"/>
                <a:gd name="T15" fmla="*/ 2147483647 h 33"/>
                <a:gd name="T16" fmla="*/ 2147483647 w 59"/>
                <a:gd name="T17" fmla="*/ 2147483647 h 33"/>
                <a:gd name="T18" fmla="*/ 2147483647 w 59"/>
                <a:gd name="T19" fmla="*/ 2147483647 h 33"/>
                <a:gd name="T20" fmla="*/ 2147483647 w 59"/>
                <a:gd name="T21" fmla="*/ 2147483647 h 33"/>
                <a:gd name="T22" fmla="*/ 2147483647 w 59"/>
                <a:gd name="T23" fmla="*/ 2147483647 h 33"/>
                <a:gd name="T24" fmla="*/ 2147483647 w 59"/>
                <a:gd name="T25" fmla="*/ 2147483647 h 33"/>
                <a:gd name="T26" fmla="*/ 2147483647 w 59"/>
                <a:gd name="T27" fmla="*/ 2147483647 h 33"/>
                <a:gd name="T28" fmla="*/ 2147483647 w 59"/>
                <a:gd name="T29" fmla="*/ 2147483647 h 33"/>
                <a:gd name="T30" fmla="*/ 2147483647 w 59"/>
                <a:gd name="T31" fmla="*/ 2147483647 h 33"/>
                <a:gd name="T32" fmla="*/ 2147483647 w 59"/>
                <a:gd name="T33" fmla="*/ 2147483647 h 33"/>
                <a:gd name="T34" fmla="*/ 2147483647 w 59"/>
                <a:gd name="T35" fmla="*/ 2147483647 h 33"/>
                <a:gd name="T36" fmla="*/ 2147483647 w 59"/>
                <a:gd name="T37" fmla="*/ 2147483647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33"/>
                <a:gd name="T59" fmla="*/ 59 w 59"/>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33">
                  <a:moveTo>
                    <a:pt x="19" y="8"/>
                  </a:moveTo>
                  <a:lnTo>
                    <a:pt x="15" y="7"/>
                  </a:lnTo>
                  <a:lnTo>
                    <a:pt x="11" y="2"/>
                  </a:lnTo>
                  <a:lnTo>
                    <a:pt x="3" y="0"/>
                  </a:lnTo>
                  <a:lnTo>
                    <a:pt x="0" y="3"/>
                  </a:lnTo>
                  <a:lnTo>
                    <a:pt x="10" y="6"/>
                  </a:lnTo>
                  <a:lnTo>
                    <a:pt x="22" y="13"/>
                  </a:lnTo>
                  <a:lnTo>
                    <a:pt x="35" y="15"/>
                  </a:lnTo>
                  <a:lnTo>
                    <a:pt x="59" y="33"/>
                  </a:lnTo>
                  <a:lnTo>
                    <a:pt x="59" y="27"/>
                  </a:lnTo>
                  <a:lnTo>
                    <a:pt x="56" y="26"/>
                  </a:lnTo>
                  <a:lnTo>
                    <a:pt x="56" y="22"/>
                  </a:lnTo>
                  <a:lnTo>
                    <a:pt x="49" y="21"/>
                  </a:lnTo>
                  <a:lnTo>
                    <a:pt x="43" y="15"/>
                  </a:lnTo>
                  <a:lnTo>
                    <a:pt x="38" y="13"/>
                  </a:lnTo>
                  <a:lnTo>
                    <a:pt x="32" y="9"/>
                  </a:lnTo>
                  <a:lnTo>
                    <a:pt x="31" y="5"/>
                  </a:lnTo>
                  <a:lnTo>
                    <a:pt x="25" y="4"/>
                  </a:lnTo>
                  <a:lnTo>
                    <a:pt x="19" y="8"/>
                  </a:lnTo>
                  <a:close/>
                </a:path>
              </a:pathLst>
            </a:custGeom>
            <a:grpFill/>
            <a:ln w="6350">
              <a:solidFill>
                <a:schemeClr val="tx2"/>
              </a:solidFill>
              <a:round/>
              <a:headEnd/>
              <a:tailEnd/>
            </a:ln>
          </p:spPr>
          <p:txBody>
            <a:bodyPr/>
            <a:lstStyle/>
            <a:p>
              <a:endParaRPr lang="en-US"/>
            </a:p>
          </p:txBody>
        </p:sp>
        <p:sp>
          <p:nvSpPr>
            <p:cNvPr id="791" name="Freeform 1816"/>
            <p:cNvSpPr>
              <a:spLocks/>
            </p:cNvSpPr>
            <p:nvPr/>
          </p:nvSpPr>
          <p:spPr bwMode="auto">
            <a:xfrm>
              <a:off x="4738176" y="2767415"/>
              <a:ext cx="6069" cy="6069"/>
            </a:xfrm>
            <a:custGeom>
              <a:avLst/>
              <a:gdLst>
                <a:gd name="T0" fmla="*/ 2147483647 w 13"/>
                <a:gd name="T1" fmla="*/ 2147483647 h 13"/>
                <a:gd name="T2" fmla="*/ 0 w 13"/>
                <a:gd name="T3" fmla="*/ 2147483647 h 13"/>
                <a:gd name="T4" fmla="*/ 2147483647 w 13"/>
                <a:gd name="T5" fmla="*/ 0 h 13"/>
                <a:gd name="T6" fmla="*/ 2147483647 w 13"/>
                <a:gd name="T7" fmla="*/ 2147483647 h 13"/>
                <a:gd name="T8" fmla="*/ 0 60000 65536"/>
                <a:gd name="T9" fmla="*/ 0 60000 65536"/>
                <a:gd name="T10" fmla="*/ 0 60000 65536"/>
                <a:gd name="T11" fmla="*/ 0 60000 65536"/>
                <a:gd name="T12" fmla="*/ 0 w 13"/>
                <a:gd name="T13" fmla="*/ 0 h 13"/>
                <a:gd name="T14" fmla="*/ 13 w 13"/>
                <a:gd name="T15" fmla="*/ 13 h 13"/>
              </a:gdLst>
              <a:ahLst/>
              <a:cxnLst>
                <a:cxn ang="T8">
                  <a:pos x="T0" y="T1"/>
                </a:cxn>
                <a:cxn ang="T9">
                  <a:pos x="T2" y="T3"/>
                </a:cxn>
                <a:cxn ang="T10">
                  <a:pos x="T4" y="T5"/>
                </a:cxn>
                <a:cxn ang="T11">
                  <a:pos x="T6" y="T7"/>
                </a:cxn>
              </a:cxnLst>
              <a:rect l="T12" t="T13" r="T14" b="T15"/>
              <a:pathLst>
                <a:path w="13" h="13">
                  <a:moveTo>
                    <a:pt x="4" y="13"/>
                  </a:moveTo>
                  <a:lnTo>
                    <a:pt x="0" y="6"/>
                  </a:lnTo>
                  <a:lnTo>
                    <a:pt x="13" y="0"/>
                  </a:lnTo>
                  <a:lnTo>
                    <a:pt x="4" y="13"/>
                  </a:lnTo>
                  <a:close/>
                </a:path>
              </a:pathLst>
            </a:custGeom>
            <a:grpFill/>
            <a:ln w="6350">
              <a:solidFill>
                <a:schemeClr val="tx2"/>
              </a:solidFill>
              <a:round/>
              <a:headEnd/>
              <a:tailEnd/>
            </a:ln>
          </p:spPr>
          <p:txBody>
            <a:bodyPr/>
            <a:lstStyle/>
            <a:p>
              <a:endParaRPr lang="en-US"/>
            </a:p>
          </p:txBody>
        </p:sp>
        <p:sp>
          <p:nvSpPr>
            <p:cNvPr id="792" name="Line 937"/>
            <p:cNvSpPr>
              <a:spLocks noChangeShapeType="1"/>
            </p:cNvSpPr>
            <p:nvPr/>
          </p:nvSpPr>
          <p:spPr bwMode="auto">
            <a:xfrm flipH="1">
              <a:off x="4483300" y="3082974"/>
              <a:ext cx="94061" cy="50064"/>
            </a:xfrm>
            <a:prstGeom prst="line">
              <a:avLst/>
            </a:prstGeom>
            <a:grpFill/>
            <a:ln w="12700">
              <a:solidFill>
                <a:schemeClr val="tx2"/>
              </a:solidFill>
              <a:round/>
              <a:headEnd type="none" w="sm" len="sm"/>
              <a:tailEnd type="none" w="sm" len="sm"/>
            </a:ln>
          </p:spPr>
          <p:txBody>
            <a:bodyPr>
              <a:spAutoFit/>
            </a:bodyPr>
            <a:lstStyle/>
            <a:p>
              <a:endParaRPr lang="en-US"/>
            </a:p>
          </p:txBody>
        </p:sp>
      </p:grpSp>
    </p:spTree>
    <p:extLst>
      <p:ext uri="{BB962C8B-B14F-4D97-AF65-F5344CB8AC3E}">
        <p14:creationId xmlns:p14="http://schemas.microsoft.com/office/powerpoint/2010/main" val="14577863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57E9D2F-56AD-0543-8CAC-FAE4C9E1A821}"/>
              </a:ext>
            </a:extLst>
          </p:cNvPr>
          <p:cNvSpPr>
            <a:spLocks noGrp="1"/>
          </p:cNvSpPr>
          <p:nvPr>
            <p:ph type="body" sz="quarter" idx="13"/>
          </p:nvPr>
        </p:nvSpPr>
        <p:spPr/>
        <p:txBody>
          <a:bodyPr/>
          <a:lstStyle/>
          <a:p>
            <a:endParaRPr lang="en-GB"/>
          </a:p>
        </p:txBody>
      </p:sp>
      <p:sp>
        <p:nvSpPr>
          <p:cNvPr id="793" name="Text Placeholder 792">
            <a:extLst>
              <a:ext uri="{FF2B5EF4-FFF2-40B4-BE49-F238E27FC236}">
                <a16:creationId xmlns:a16="http://schemas.microsoft.com/office/drawing/2014/main" id="{1AD8E528-1B39-6E46-87A1-D065CDEFEACE}"/>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a:t>World Map</a:t>
            </a:r>
          </a:p>
        </p:txBody>
      </p:sp>
      <p:sp>
        <p:nvSpPr>
          <p:cNvPr id="6" name="Freeform 1012"/>
          <p:cNvSpPr>
            <a:spLocks/>
          </p:cNvSpPr>
          <p:nvPr/>
        </p:nvSpPr>
        <p:spPr bwMode="auto">
          <a:xfrm>
            <a:off x="4795732" y="3697508"/>
            <a:ext cx="2866" cy="2547"/>
          </a:xfrm>
          <a:custGeom>
            <a:avLst/>
            <a:gdLst>
              <a:gd name="T0" fmla="*/ 2147483647 w 4"/>
              <a:gd name="T1" fmla="*/ 2147483647 h 6"/>
              <a:gd name="T2" fmla="*/ 2147483647 w 4"/>
              <a:gd name="T3" fmla="*/ 0 h 6"/>
              <a:gd name="T4" fmla="*/ 0 w 4"/>
              <a:gd name="T5" fmla="*/ 2147483647 h 6"/>
              <a:gd name="T6" fmla="*/ 2147483647 w 4"/>
              <a:gd name="T7" fmla="*/ 2147483647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4" y="4"/>
                </a:moveTo>
                <a:lnTo>
                  <a:pt x="1" y="0"/>
                </a:lnTo>
                <a:lnTo>
                  <a:pt x="0" y="6"/>
                </a:lnTo>
                <a:lnTo>
                  <a:pt x="4" y="4"/>
                </a:lnTo>
                <a:close/>
              </a:path>
            </a:pathLst>
          </a:custGeom>
          <a:solidFill>
            <a:schemeClr val="accent1"/>
          </a:solidFill>
          <a:ln w="6350">
            <a:solidFill>
              <a:schemeClr val="tx2"/>
            </a:solidFill>
            <a:round/>
            <a:headEnd/>
            <a:tailEnd/>
          </a:ln>
        </p:spPr>
        <p:txBody>
          <a:bodyPr/>
          <a:lstStyle/>
          <a:p>
            <a:endParaRPr lang="en-US"/>
          </a:p>
        </p:txBody>
      </p:sp>
      <p:sp>
        <p:nvSpPr>
          <p:cNvPr id="7" name="Freeform 1013"/>
          <p:cNvSpPr>
            <a:spLocks/>
          </p:cNvSpPr>
          <p:nvPr/>
        </p:nvSpPr>
        <p:spPr bwMode="auto">
          <a:xfrm>
            <a:off x="4847332" y="3717885"/>
            <a:ext cx="2866" cy="2547"/>
          </a:xfrm>
          <a:custGeom>
            <a:avLst/>
            <a:gdLst>
              <a:gd name="T0" fmla="*/ 2147483647 w 2"/>
              <a:gd name="T1" fmla="*/ 0 h 6"/>
              <a:gd name="T2" fmla="*/ 0 w 2"/>
              <a:gd name="T3" fmla="*/ 2147483647 h 6"/>
              <a:gd name="T4" fmla="*/ 2147483647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2" y="0"/>
                </a:moveTo>
                <a:lnTo>
                  <a:pt x="0" y="6"/>
                </a:lnTo>
                <a:lnTo>
                  <a:pt x="2" y="0"/>
                </a:lnTo>
                <a:close/>
              </a:path>
            </a:pathLst>
          </a:custGeom>
          <a:solidFill>
            <a:schemeClr val="accent1"/>
          </a:solidFill>
          <a:ln w="6350">
            <a:solidFill>
              <a:schemeClr val="tx2"/>
            </a:solidFill>
            <a:round/>
            <a:headEnd/>
            <a:tailEnd/>
          </a:ln>
        </p:spPr>
        <p:txBody>
          <a:bodyPr/>
          <a:lstStyle/>
          <a:p>
            <a:endParaRPr lang="en-US"/>
          </a:p>
        </p:txBody>
      </p:sp>
      <p:sp>
        <p:nvSpPr>
          <p:cNvPr id="8" name="Freeform 1014"/>
          <p:cNvSpPr>
            <a:spLocks/>
          </p:cNvSpPr>
          <p:nvPr/>
        </p:nvSpPr>
        <p:spPr bwMode="auto">
          <a:xfrm>
            <a:off x="4853065" y="3720433"/>
            <a:ext cx="8600" cy="2547"/>
          </a:xfrm>
          <a:custGeom>
            <a:avLst/>
            <a:gdLst>
              <a:gd name="T0" fmla="*/ 2147483647 w 19"/>
              <a:gd name="T1" fmla="*/ 2147483647 h 7"/>
              <a:gd name="T2" fmla="*/ 2147483647 w 19"/>
              <a:gd name="T3" fmla="*/ 2147483647 h 7"/>
              <a:gd name="T4" fmla="*/ 2147483647 w 19"/>
              <a:gd name="T5" fmla="*/ 2147483647 h 7"/>
              <a:gd name="T6" fmla="*/ 0 w 19"/>
              <a:gd name="T7" fmla="*/ 0 h 7"/>
              <a:gd name="T8" fmla="*/ 2147483647 w 19"/>
              <a:gd name="T9" fmla="*/ 2147483647 h 7"/>
              <a:gd name="T10" fmla="*/ 0 60000 65536"/>
              <a:gd name="T11" fmla="*/ 0 60000 65536"/>
              <a:gd name="T12" fmla="*/ 0 60000 65536"/>
              <a:gd name="T13" fmla="*/ 0 60000 65536"/>
              <a:gd name="T14" fmla="*/ 0 60000 65536"/>
              <a:gd name="T15" fmla="*/ 0 w 19"/>
              <a:gd name="T16" fmla="*/ 0 h 7"/>
              <a:gd name="T17" fmla="*/ 19 w 19"/>
              <a:gd name="T18" fmla="*/ 7 h 7"/>
            </a:gdLst>
            <a:ahLst/>
            <a:cxnLst>
              <a:cxn ang="T10">
                <a:pos x="T0" y="T1"/>
              </a:cxn>
              <a:cxn ang="T11">
                <a:pos x="T2" y="T3"/>
              </a:cxn>
              <a:cxn ang="T12">
                <a:pos x="T4" y="T5"/>
              </a:cxn>
              <a:cxn ang="T13">
                <a:pos x="T6" y="T7"/>
              </a:cxn>
              <a:cxn ang="T14">
                <a:pos x="T8" y="T9"/>
              </a:cxn>
            </a:cxnLst>
            <a:rect l="T15" t="T16" r="T17" b="T18"/>
            <a:pathLst>
              <a:path w="19" h="7">
                <a:moveTo>
                  <a:pt x="16" y="7"/>
                </a:moveTo>
                <a:lnTo>
                  <a:pt x="19" y="6"/>
                </a:lnTo>
                <a:lnTo>
                  <a:pt x="15" y="3"/>
                </a:lnTo>
                <a:lnTo>
                  <a:pt x="0" y="0"/>
                </a:lnTo>
                <a:lnTo>
                  <a:pt x="16" y="7"/>
                </a:lnTo>
                <a:close/>
              </a:path>
            </a:pathLst>
          </a:custGeom>
          <a:solidFill>
            <a:schemeClr val="accent1"/>
          </a:solidFill>
          <a:ln w="6350">
            <a:solidFill>
              <a:schemeClr val="tx2"/>
            </a:solidFill>
            <a:round/>
            <a:headEnd/>
            <a:tailEnd/>
          </a:ln>
        </p:spPr>
        <p:txBody>
          <a:bodyPr/>
          <a:lstStyle/>
          <a:p>
            <a:endParaRPr lang="en-US"/>
          </a:p>
        </p:txBody>
      </p:sp>
      <p:sp>
        <p:nvSpPr>
          <p:cNvPr id="9" name="Freeform 992"/>
          <p:cNvSpPr>
            <a:spLocks/>
          </p:cNvSpPr>
          <p:nvPr/>
        </p:nvSpPr>
        <p:spPr bwMode="auto">
          <a:xfrm>
            <a:off x="3783794" y="4448964"/>
            <a:ext cx="114667" cy="114630"/>
          </a:xfrm>
          <a:custGeom>
            <a:avLst/>
            <a:gdLst>
              <a:gd name="T0" fmla="*/ 2147483647 w 243"/>
              <a:gd name="T1" fmla="*/ 2147483647 h 271"/>
              <a:gd name="T2" fmla="*/ 2147483647 w 243"/>
              <a:gd name="T3" fmla="*/ 2147483647 h 271"/>
              <a:gd name="T4" fmla="*/ 2147483647 w 243"/>
              <a:gd name="T5" fmla="*/ 2147483647 h 271"/>
              <a:gd name="T6" fmla="*/ 2147483647 w 243"/>
              <a:gd name="T7" fmla="*/ 2147483647 h 271"/>
              <a:gd name="T8" fmla="*/ 2147483647 w 243"/>
              <a:gd name="T9" fmla="*/ 2147483647 h 271"/>
              <a:gd name="T10" fmla="*/ 2147483647 w 243"/>
              <a:gd name="T11" fmla="*/ 2147483647 h 271"/>
              <a:gd name="T12" fmla="*/ 2147483647 w 243"/>
              <a:gd name="T13" fmla="*/ 2147483647 h 271"/>
              <a:gd name="T14" fmla="*/ 2147483647 w 243"/>
              <a:gd name="T15" fmla="*/ 0 h 271"/>
              <a:gd name="T16" fmla="*/ 2147483647 w 243"/>
              <a:gd name="T17" fmla="*/ 2147483647 h 271"/>
              <a:gd name="T18" fmla="*/ 2147483647 w 243"/>
              <a:gd name="T19" fmla="*/ 2147483647 h 271"/>
              <a:gd name="T20" fmla="*/ 2147483647 w 243"/>
              <a:gd name="T21" fmla="*/ 2147483647 h 271"/>
              <a:gd name="T22" fmla="*/ 2147483647 w 243"/>
              <a:gd name="T23" fmla="*/ 2147483647 h 271"/>
              <a:gd name="T24" fmla="*/ 2147483647 w 243"/>
              <a:gd name="T25" fmla="*/ 2147483647 h 271"/>
              <a:gd name="T26" fmla="*/ 2147483647 w 243"/>
              <a:gd name="T27" fmla="*/ 2147483647 h 271"/>
              <a:gd name="T28" fmla="*/ 0 w 243"/>
              <a:gd name="T29" fmla="*/ 2147483647 h 271"/>
              <a:gd name="T30" fmla="*/ 0 w 243"/>
              <a:gd name="T31" fmla="*/ 2147483647 h 271"/>
              <a:gd name="T32" fmla="*/ 2147483647 w 243"/>
              <a:gd name="T33" fmla="*/ 2147483647 h 271"/>
              <a:gd name="T34" fmla="*/ 2147483647 w 243"/>
              <a:gd name="T35" fmla="*/ 2147483647 h 271"/>
              <a:gd name="T36" fmla="*/ 2147483647 w 243"/>
              <a:gd name="T37" fmla="*/ 2147483647 h 271"/>
              <a:gd name="T38" fmla="*/ 2147483647 w 243"/>
              <a:gd name="T39" fmla="*/ 2147483647 h 271"/>
              <a:gd name="T40" fmla="*/ 2147483647 w 243"/>
              <a:gd name="T41" fmla="*/ 2147483647 h 271"/>
              <a:gd name="T42" fmla="*/ 2147483647 w 243"/>
              <a:gd name="T43" fmla="*/ 2147483647 h 271"/>
              <a:gd name="T44" fmla="*/ 2147483647 w 243"/>
              <a:gd name="T45" fmla="*/ 2147483647 h 271"/>
              <a:gd name="T46" fmla="*/ 2147483647 w 243"/>
              <a:gd name="T47" fmla="*/ 2147483647 h 271"/>
              <a:gd name="T48" fmla="*/ 2147483647 w 243"/>
              <a:gd name="T49" fmla="*/ 2147483647 h 271"/>
              <a:gd name="T50" fmla="*/ 2147483647 w 243"/>
              <a:gd name="T51" fmla="*/ 2147483647 h 271"/>
              <a:gd name="T52" fmla="*/ 2147483647 w 243"/>
              <a:gd name="T53" fmla="*/ 2147483647 h 271"/>
              <a:gd name="T54" fmla="*/ 2147483647 w 243"/>
              <a:gd name="T55" fmla="*/ 2147483647 h 271"/>
              <a:gd name="T56" fmla="*/ 2147483647 w 243"/>
              <a:gd name="T57" fmla="*/ 2147483647 h 271"/>
              <a:gd name="T58" fmla="*/ 2147483647 w 243"/>
              <a:gd name="T59" fmla="*/ 2147483647 h 271"/>
              <a:gd name="T60" fmla="*/ 2147483647 w 243"/>
              <a:gd name="T61" fmla="*/ 2147483647 h 271"/>
              <a:gd name="T62" fmla="*/ 2147483647 w 243"/>
              <a:gd name="T63" fmla="*/ 2147483647 h 271"/>
              <a:gd name="T64" fmla="*/ 2147483647 w 243"/>
              <a:gd name="T65" fmla="*/ 2147483647 h 271"/>
              <a:gd name="T66" fmla="*/ 2147483647 w 243"/>
              <a:gd name="T67" fmla="*/ 2147483647 h 271"/>
              <a:gd name="T68" fmla="*/ 2147483647 w 243"/>
              <a:gd name="T69" fmla="*/ 2147483647 h 271"/>
              <a:gd name="T70" fmla="*/ 2147483647 w 243"/>
              <a:gd name="T71" fmla="*/ 2147483647 h 271"/>
              <a:gd name="T72" fmla="*/ 2147483647 w 243"/>
              <a:gd name="T73" fmla="*/ 2147483647 h 271"/>
              <a:gd name="T74" fmla="*/ 2147483647 w 243"/>
              <a:gd name="T75" fmla="*/ 2147483647 h 271"/>
              <a:gd name="T76" fmla="*/ 2147483647 w 243"/>
              <a:gd name="T77" fmla="*/ 2147483647 h 271"/>
              <a:gd name="T78" fmla="*/ 2147483647 w 243"/>
              <a:gd name="T79" fmla="*/ 2147483647 h 271"/>
              <a:gd name="T80" fmla="*/ 2147483647 w 243"/>
              <a:gd name="T81" fmla="*/ 2147483647 h 2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3"/>
              <a:gd name="T124" fmla="*/ 0 h 271"/>
              <a:gd name="T125" fmla="*/ 243 w 243"/>
              <a:gd name="T126" fmla="*/ 271 h 2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3" h="271">
                <a:moveTo>
                  <a:pt x="238" y="60"/>
                </a:moveTo>
                <a:lnTo>
                  <a:pt x="206" y="43"/>
                </a:lnTo>
                <a:lnTo>
                  <a:pt x="197" y="49"/>
                </a:lnTo>
                <a:lnTo>
                  <a:pt x="153" y="48"/>
                </a:lnTo>
                <a:lnTo>
                  <a:pt x="147" y="33"/>
                </a:lnTo>
                <a:lnTo>
                  <a:pt x="137" y="25"/>
                </a:lnTo>
                <a:lnTo>
                  <a:pt x="112" y="13"/>
                </a:lnTo>
                <a:lnTo>
                  <a:pt x="84" y="0"/>
                </a:lnTo>
                <a:lnTo>
                  <a:pt x="52" y="21"/>
                </a:lnTo>
                <a:lnTo>
                  <a:pt x="35" y="21"/>
                </a:lnTo>
                <a:lnTo>
                  <a:pt x="31" y="26"/>
                </a:lnTo>
                <a:lnTo>
                  <a:pt x="33" y="52"/>
                </a:lnTo>
                <a:lnTo>
                  <a:pt x="20" y="70"/>
                </a:lnTo>
                <a:lnTo>
                  <a:pt x="18" y="87"/>
                </a:lnTo>
                <a:lnTo>
                  <a:pt x="0" y="102"/>
                </a:lnTo>
                <a:lnTo>
                  <a:pt x="0" y="156"/>
                </a:lnTo>
                <a:lnTo>
                  <a:pt x="22" y="170"/>
                </a:lnTo>
                <a:lnTo>
                  <a:pt x="40" y="150"/>
                </a:lnTo>
                <a:lnTo>
                  <a:pt x="45" y="167"/>
                </a:lnTo>
                <a:lnTo>
                  <a:pt x="41" y="190"/>
                </a:lnTo>
                <a:lnTo>
                  <a:pt x="20" y="205"/>
                </a:lnTo>
                <a:lnTo>
                  <a:pt x="24" y="223"/>
                </a:lnTo>
                <a:lnTo>
                  <a:pt x="10" y="232"/>
                </a:lnTo>
                <a:lnTo>
                  <a:pt x="15" y="252"/>
                </a:lnTo>
                <a:lnTo>
                  <a:pt x="32" y="246"/>
                </a:lnTo>
                <a:lnTo>
                  <a:pt x="39" y="254"/>
                </a:lnTo>
                <a:lnTo>
                  <a:pt x="51" y="254"/>
                </a:lnTo>
                <a:lnTo>
                  <a:pt x="60" y="271"/>
                </a:lnTo>
                <a:lnTo>
                  <a:pt x="75" y="268"/>
                </a:lnTo>
                <a:lnTo>
                  <a:pt x="89" y="258"/>
                </a:lnTo>
                <a:lnTo>
                  <a:pt x="93" y="224"/>
                </a:lnTo>
                <a:lnTo>
                  <a:pt x="105" y="208"/>
                </a:lnTo>
                <a:lnTo>
                  <a:pt x="114" y="209"/>
                </a:lnTo>
                <a:lnTo>
                  <a:pt x="121" y="192"/>
                </a:lnTo>
                <a:lnTo>
                  <a:pt x="181" y="167"/>
                </a:lnTo>
                <a:lnTo>
                  <a:pt x="219" y="130"/>
                </a:lnTo>
                <a:lnTo>
                  <a:pt x="236" y="98"/>
                </a:lnTo>
                <a:lnTo>
                  <a:pt x="243" y="98"/>
                </a:lnTo>
                <a:lnTo>
                  <a:pt x="226" y="68"/>
                </a:lnTo>
                <a:lnTo>
                  <a:pt x="227" y="62"/>
                </a:lnTo>
                <a:lnTo>
                  <a:pt x="238" y="60"/>
                </a:lnTo>
                <a:close/>
              </a:path>
            </a:pathLst>
          </a:custGeom>
          <a:solidFill>
            <a:schemeClr val="accent1"/>
          </a:solidFill>
          <a:ln w="6350">
            <a:solidFill>
              <a:schemeClr val="tx2"/>
            </a:solidFill>
            <a:round/>
            <a:headEnd/>
            <a:tailEnd/>
          </a:ln>
        </p:spPr>
        <p:txBody>
          <a:bodyPr/>
          <a:lstStyle/>
          <a:p>
            <a:endParaRPr lang="en-US"/>
          </a:p>
        </p:txBody>
      </p:sp>
      <p:sp>
        <p:nvSpPr>
          <p:cNvPr id="10" name="Freeform 993"/>
          <p:cNvSpPr>
            <a:spLocks/>
          </p:cNvSpPr>
          <p:nvPr/>
        </p:nvSpPr>
        <p:spPr bwMode="auto">
          <a:xfrm>
            <a:off x="3823927" y="4250274"/>
            <a:ext cx="243668" cy="296763"/>
          </a:xfrm>
          <a:custGeom>
            <a:avLst/>
            <a:gdLst>
              <a:gd name="T0" fmla="*/ 2147483647 w 521"/>
              <a:gd name="T1" fmla="*/ 2147483647 h 712"/>
              <a:gd name="T2" fmla="*/ 2147483647 w 521"/>
              <a:gd name="T3" fmla="*/ 2147483647 h 712"/>
              <a:gd name="T4" fmla="*/ 2147483647 w 521"/>
              <a:gd name="T5" fmla="*/ 2147483647 h 712"/>
              <a:gd name="T6" fmla="*/ 2147483647 w 521"/>
              <a:gd name="T7" fmla="*/ 2147483647 h 712"/>
              <a:gd name="T8" fmla="*/ 2147483647 w 521"/>
              <a:gd name="T9" fmla="*/ 2147483647 h 712"/>
              <a:gd name="T10" fmla="*/ 2147483647 w 521"/>
              <a:gd name="T11" fmla="*/ 2147483647 h 712"/>
              <a:gd name="T12" fmla="*/ 2147483647 w 521"/>
              <a:gd name="T13" fmla="*/ 2147483647 h 712"/>
              <a:gd name="T14" fmla="*/ 2147483647 w 521"/>
              <a:gd name="T15" fmla="*/ 2147483647 h 712"/>
              <a:gd name="T16" fmla="*/ 2147483647 w 521"/>
              <a:gd name="T17" fmla="*/ 2147483647 h 712"/>
              <a:gd name="T18" fmla="*/ 2147483647 w 521"/>
              <a:gd name="T19" fmla="*/ 2147483647 h 712"/>
              <a:gd name="T20" fmla="*/ 2147483647 w 521"/>
              <a:gd name="T21" fmla="*/ 2147483647 h 712"/>
              <a:gd name="T22" fmla="*/ 2147483647 w 521"/>
              <a:gd name="T23" fmla="*/ 2147483647 h 712"/>
              <a:gd name="T24" fmla="*/ 2147483647 w 521"/>
              <a:gd name="T25" fmla="*/ 2147483647 h 712"/>
              <a:gd name="T26" fmla="*/ 2147483647 w 521"/>
              <a:gd name="T27" fmla="*/ 2147483647 h 712"/>
              <a:gd name="T28" fmla="*/ 2147483647 w 521"/>
              <a:gd name="T29" fmla="*/ 2147483647 h 712"/>
              <a:gd name="T30" fmla="*/ 2147483647 w 521"/>
              <a:gd name="T31" fmla="*/ 2147483647 h 712"/>
              <a:gd name="T32" fmla="*/ 2147483647 w 521"/>
              <a:gd name="T33" fmla="*/ 2147483647 h 712"/>
              <a:gd name="T34" fmla="*/ 2147483647 w 521"/>
              <a:gd name="T35" fmla="*/ 2147483647 h 712"/>
              <a:gd name="T36" fmla="*/ 2147483647 w 521"/>
              <a:gd name="T37" fmla="*/ 2147483647 h 712"/>
              <a:gd name="T38" fmla="*/ 2147483647 w 521"/>
              <a:gd name="T39" fmla="*/ 2147483647 h 712"/>
              <a:gd name="T40" fmla="*/ 2147483647 w 521"/>
              <a:gd name="T41" fmla="*/ 2147483647 h 712"/>
              <a:gd name="T42" fmla="*/ 2147483647 w 521"/>
              <a:gd name="T43" fmla="*/ 2147483647 h 712"/>
              <a:gd name="T44" fmla="*/ 2147483647 w 521"/>
              <a:gd name="T45" fmla="*/ 2147483647 h 712"/>
              <a:gd name="T46" fmla="*/ 2147483647 w 521"/>
              <a:gd name="T47" fmla="*/ 2147483647 h 712"/>
              <a:gd name="T48" fmla="*/ 2147483647 w 521"/>
              <a:gd name="T49" fmla="*/ 2147483647 h 712"/>
              <a:gd name="T50" fmla="*/ 2147483647 w 521"/>
              <a:gd name="T51" fmla="*/ 2147483647 h 712"/>
              <a:gd name="T52" fmla="*/ 2147483647 w 521"/>
              <a:gd name="T53" fmla="*/ 2147483647 h 712"/>
              <a:gd name="T54" fmla="*/ 2147483647 w 521"/>
              <a:gd name="T55" fmla="*/ 2147483647 h 712"/>
              <a:gd name="T56" fmla="*/ 2147483647 w 521"/>
              <a:gd name="T57" fmla="*/ 2147483647 h 712"/>
              <a:gd name="T58" fmla="*/ 2147483647 w 521"/>
              <a:gd name="T59" fmla="*/ 2147483647 h 712"/>
              <a:gd name="T60" fmla="*/ 2147483647 w 521"/>
              <a:gd name="T61" fmla="*/ 2147483647 h 712"/>
              <a:gd name="T62" fmla="*/ 2147483647 w 521"/>
              <a:gd name="T63" fmla="*/ 2147483647 h 712"/>
              <a:gd name="T64" fmla="*/ 2147483647 w 521"/>
              <a:gd name="T65" fmla="*/ 2147483647 h 712"/>
              <a:gd name="T66" fmla="*/ 2147483647 w 521"/>
              <a:gd name="T67" fmla="*/ 2147483647 h 712"/>
              <a:gd name="T68" fmla="*/ 2147483647 w 521"/>
              <a:gd name="T69" fmla="*/ 2147483647 h 712"/>
              <a:gd name="T70" fmla="*/ 2147483647 w 521"/>
              <a:gd name="T71" fmla="*/ 2147483647 h 712"/>
              <a:gd name="T72" fmla="*/ 2147483647 w 521"/>
              <a:gd name="T73" fmla="*/ 2147483647 h 712"/>
              <a:gd name="T74" fmla="*/ 2147483647 w 521"/>
              <a:gd name="T75" fmla="*/ 2147483647 h 712"/>
              <a:gd name="T76" fmla="*/ 2147483647 w 521"/>
              <a:gd name="T77" fmla="*/ 2147483647 h 712"/>
              <a:gd name="T78" fmla="*/ 2147483647 w 521"/>
              <a:gd name="T79" fmla="*/ 2147483647 h 712"/>
              <a:gd name="T80" fmla="*/ 2147483647 w 521"/>
              <a:gd name="T81" fmla="*/ 2147483647 h 712"/>
              <a:gd name="T82" fmla="*/ 2147483647 w 521"/>
              <a:gd name="T83" fmla="*/ 2147483647 h 712"/>
              <a:gd name="T84" fmla="*/ 2147483647 w 521"/>
              <a:gd name="T85" fmla="*/ 2147483647 h 712"/>
              <a:gd name="T86" fmla="*/ 2147483647 w 521"/>
              <a:gd name="T87" fmla="*/ 2147483647 h 712"/>
              <a:gd name="T88" fmla="*/ 2147483647 w 521"/>
              <a:gd name="T89" fmla="*/ 2147483647 h 712"/>
              <a:gd name="T90" fmla="*/ 2147483647 w 521"/>
              <a:gd name="T91" fmla="*/ 2147483647 h 712"/>
              <a:gd name="T92" fmla="*/ 2147483647 w 521"/>
              <a:gd name="T93" fmla="*/ 2147483647 h 712"/>
              <a:gd name="T94" fmla="*/ 2147483647 w 521"/>
              <a:gd name="T95" fmla="*/ 2147483647 h 712"/>
              <a:gd name="T96" fmla="*/ 2147483647 w 521"/>
              <a:gd name="T97" fmla="*/ 2147483647 h 712"/>
              <a:gd name="T98" fmla="*/ 2147483647 w 521"/>
              <a:gd name="T99" fmla="*/ 2147483647 h 712"/>
              <a:gd name="T100" fmla="*/ 2147483647 w 521"/>
              <a:gd name="T101" fmla="*/ 2147483647 h 712"/>
              <a:gd name="T102" fmla="*/ 2147483647 w 521"/>
              <a:gd name="T103" fmla="*/ 2147483647 h 712"/>
              <a:gd name="T104" fmla="*/ 2147483647 w 521"/>
              <a:gd name="T105" fmla="*/ 2147483647 h 712"/>
              <a:gd name="T106" fmla="*/ 2147483647 w 521"/>
              <a:gd name="T107" fmla="*/ 2147483647 h 712"/>
              <a:gd name="T108" fmla="*/ 2147483647 w 521"/>
              <a:gd name="T109" fmla="*/ 2147483647 h 712"/>
              <a:gd name="T110" fmla="*/ 2147483647 w 521"/>
              <a:gd name="T111" fmla="*/ 2147483647 h 712"/>
              <a:gd name="T112" fmla="*/ 2147483647 w 521"/>
              <a:gd name="T113" fmla="*/ 2147483647 h 71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1"/>
              <a:gd name="T172" fmla="*/ 0 h 712"/>
              <a:gd name="T173" fmla="*/ 521 w 521"/>
              <a:gd name="T174" fmla="*/ 712 h 71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1" h="712">
                <a:moveTo>
                  <a:pt x="403" y="623"/>
                </a:moveTo>
                <a:lnTo>
                  <a:pt x="395" y="667"/>
                </a:lnTo>
                <a:lnTo>
                  <a:pt x="387" y="712"/>
                </a:lnTo>
                <a:lnTo>
                  <a:pt x="371" y="699"/>
                </a:lnTo>
                <a:lnTo>
                  <a:pt x="360" y="697"/>
                </a:lnTo>
                <a:lnTo>
                  <a:pt x="360" y="689"/>
                </a:lnTo>
                <a:lnTo>
                  <a:pt x="382" y="658"/>
                </a:lnTo>
                <a:lnTo>
                  <a:pt x="374" y="645"/>
                </a:lnTo>
                <a:lnTo>
                  <a:pt x="342" y="632"/>
                </a:lnTo>
                <a:lnTo>
                  <a:pt x="327" y="637"/>
                </a:lnTo>
                <a:lnTo>
                  <a:pt x="305" y="632"/>
                </a:lnTo>
                <a:lnTo>
                  <a:pt x="286" y="642"/>
                </a:lnTo>
                <a:lnTo>
                  <a:pt x="254" y="639"/>
                </a:lnTo>
                <a:lnTo>
                  <a:pt x="247" y="631"/>
                </a:lnTo>
                <a:lnTo>
                  <a:pt x="247" y="614"/>
                </a:lnTo>
                <a:lnTo>
                  <a:pt x="234" y="611"/>
                </a:lnTo>
                <a:lnTo>
                  <a:pt x="226" y="586"/>
                </a:lnTo>
                <a:lnTo>
                  <a:pt x="209" y="580"/>
                </a:lnTo>
                <a:lnTo>
                  <a:pt x="195" y="557"/>
                </a:lnTo>
                <a:lnTo>
                  <a:pt x="180" y="545"/>
                </a:lnTo>
                <a:lnTo>
                  <a:pt x="158" y="538"/>
                </a:lnTo>
                <a:lnTo>
                  <a:pt x="126" y="521"/>
                </a:lnTo>
                <a:lnTo>
                  <a:pt x="117" y="527"/>
                </a:lnTo>
                <a:lnTo>
                  <a:pt x="73" y="526"/>
                </a:lnTo>
                <a:lnTo>
                  <a:pt x="67" y="511"/>
                </a:lnTo>
                <a:lnTo>
                  <a:pt x="57" y="503"/>
                </a:lnTo>
                <a:lnTo>
                  <a:pt x="32" y="491"/>
                </a:lnTo>
                <a:lnTo>
                  <a:pt x="4" y="478"/>
                </a:lnTo>
                <a:lnTo>
                  <a:pt x="0" y="466"/>
                </a:lnTo>
                <a:lnTo>
                  <a:pt x="5" y="459"/>
                </a:lnTo>
                <a:lnTo>
                  <a:pt x="15" y="457"/>
                </a:lnTo>
                <a:lnTo>
                  <a:pt x="19" y="428"/>
                </a:lnTo>
                <a:lnTo>
                  <a:pt x="56" y="418"/>
                </a:lnTo>
                <a:lnTo>
                  <a:pt x="63" y="397"/>
                </a:lnTo>
                <a:lnTo>
                  <a:pt x="86" y="369"/>
                </a:lnTo>
                <a:lnTo>
                  <a:pt x="86" y="365"/>
                </a:lnTo>
                <a:lnTo>
                  <a:pt x="77" y="370"/>
                </a:lnTo>
                <a:lnTo>
                  <a:pt x="66" y="367"/>
                </a:lnTo>
                <a:lnTo>
                  <a:pt x="70" y="344"/>
                </a:lnTo>
                <a:lnTo>
                  <a:pt x="64" y="302"/>
                </a:lnTo>
                <a:lnTo>
                  <a:pt x="69" y="291"/>
                </a:lnTo>
                <a:lnTo>
                  <a:pt x="67" y="259"/>
                </a:lnTo>
                <a:lnTo>
                  <a:pt x="54" y="244"/>
                </a:lnTo>
                <a:lnTo>
                  <a:pt x="46" y="221"/>
                </a:lnTo>
                <a:lnTo>
                  <a:pt x="54" y="206"/>
                </a:lnTo>
                <a:lnTo>
                  <a:pt x="61" y="208"/>
                </a:lnTo>
                <a:lnTo>
                  <a:pt x="76" y="192"/>
                </a:lnTo>
                <a:lnTo>
                  <a:pt x="65" y="173"/>
                </a:lnTo>
                <a:lnTo>
                  <a:pt x="67" y="163"/>
                </a:lnTo>
                <a:lnTo>
                  <a:pt x="94" y="191"/>
                </a:lnTo>
                <a:lnTo>
                  <a:pt x="92" y="163"/>
                </a:lnTo>
                <a:lnTo>
                  <a:pt x="112" y="149"/>
                </a:lnTo>
                <a:lnTo>
                  <a:pt x="125" y="132"/>
                </a:lnTo>
                <a:lnTo>
                  <a:pt x="140" y="124"/>
                </a:lnTo>
                <a:lnTo>
                  <a:pt x="144" y="82"/>
                </a:lnTo>
                <a:lnTo>
                  <a:pt x="170" y="62"/>
                </a:lnTo>
                <a:lnTo>
                  <a:pt x="182" y="62"/>
                </a:lnTo>
                <a:lnTo>
                  <a:pt x="189" y="62"/>
                </a:lnTo>
                <a:lnTo>
                  <a:pt x="193" y="70"/>
                </a:lnTo>
                <a:lnTo>
                  <a:pt x="205" y="49"/>
                </a:lnTo>
                <a:lnTo>
                  <a:pt x="226" y="50"/>
                </a:lnTo>
                <a:lnTo>
                  <a:pt x="246" y="45"/>
                </a:lnTo>
                <a:lnTo>
                  <a:pt x="287" y="26"/>
                </a:lnTo>
                <a:lnTo>
                  <a:pt x="298" y="9"/>
                </a:lnTo>
                <a:lnTo>
                  <a:pt x="307" y="9"/>
                </a:lnTo>
                <a:lnTo>
                  <a:pt x="307" y="3"/>
                </a:lnTo>
                <a:lnTo>
                  <a:pt x="316" y="0"/>
                </a:lnTo>
                <a:lnTo>
                  <a:pt x="335" y="9"/>
                </a:lnTo>
                <a:lnTo>
                  <a:pt x="335" y="16"/>
                </a:lnTo>
                <a:lnTo>
                  <a:pt x="328" y="25"/>
                </a:lnTo>
                <a:lnTo>
                  <a:pt x="305" y="32"/>
                </a:lnTo>
                <a:lnTo>
                  <a:pt x="274" y="66"/>
                </a:lnTo>
                <a:lnTo>
                  <a:pt x="264" y="83"/>
                </a:lnTo>
                <a:lnTo>
                  <a:pt x="254" y="119"/>
                </a:lnTo>
                <a:lnTo>
                  <a:pt x="243" y="141"/>
                </a:lnTo>
                <a:lnTo>
                  <a:pt x="262" y="141"/>
                </a:lnTo>
                <a:lnTo>
                  <a:pt x="267" y="161"/>
                </a:lnTo>
                <a:lnTo>
                  <a:pt x="283" y="181"/>
                </a:lnTo>
                <a:lnTo>
                  <a:pt x="285" y="216"/>
                </a:lnTo>
                <a:lnTo>
                  <a:pt x="301" y="228"/>
                </a:lnTo>
                <a:lnTo>
                  <a:pt x="326" y="234"/>
                </a:lnTo>
                <a:lnTo>
                  <a:pt x="361" y="229"/>
                </a:lnTo>
                <a:lnTo>
                  <a:pt x="384" y="237"/>
                </a:lnTo>
                <a:lnTo>
                  <a:pt x="413" y="274"/>
                </a:lnTo>
                <a:lnTo>
                  <a:pt x="434" y="270"/>
                </a:lnTo>
                <a:lnTo>
                  <a:pt x="458" y="276"/>
                </a:lnTo>
                <a:lnTo>
                  <a:pt x="483" y="268"/>
                </a:lnTo>
                <a:lnTo>
                  <a:pt x="495" y="270"/>
                </a:lnTo>
                <a:lnTo>
                  <a:pt x="497" y="280"/>
                </a:lnTo>
                <a:lnTo>
                  <a:pt x="484" y="307"/>
                </a:lnTo>
                <a:lnTo>
                  <a:pt x="479" y="338"/>
                </a:lnTo>
                <a:lnTo>
                  <a:pt x="484" y="363"/>
                </a:lnTo>
                <a:lnTo>
                  <a:pt x="497" y="375"/>
                </a:lnTo>
                <a:lnTo>
                  <a:pt x="504" y="392"/>
                </a:lnTo>
                <a:lnTo>
                  <a:pt x="483" y="416"/>
                </a:lnTo>
                <a:lnTo>
                  <a:pt x="503" y="435"/>
                </a:lnTo>
                <a:lnTo>
                  <a:pt x="521" y="479"/>
                </a:lnTo>
                <a:lnTo>
                  <a:pt x="512" y="485"/>
                </a:lnTo>
                <a:lnTo>
                  <a:pt x="507" y="462"/>
                </a:lnTo>
                <a:lnTo>
                  <a:pt x="497" y="449"/>
                </a:lnTo>
                <a:lnTo>
                  <a:pt x="474" y="457"/>
                </a:lnTo>
                <a:lnTo>
                  <a:pt x="463" y="451"/>
                </a:lnTo>
                <a:lnTo>
                  <a:pt x="457" y="462"/>
                </a:lnTo>
                <a:lnTo>
                  <a:pt x="392" y="461"/>
                </a:lnTo>
                <a:lnTo>
                  <a:pt x="393" y="488"/>
                </a:lnTo>
                <a:lnTo>
                  <a:pt x="398" y="492"/>
                </a:lnTo>
                <a:lnTo>
                  <a:pt x="414" y="490"/>
                </a:lnTo>
                <a:lnTo>
                  <a:pt x="423" y="508"/>
                </a:lnTo>
                <a:lnTo>
                  <a:pt x="405" y="506"/>
                </a:lnTo>
                <a:lnTo>
                  <a:pt x="383" y="512"/>
                </a:lnTo>
                <a:lnTo>
                  <a:pt x="383" y="542"/>
                </a:lnTo>
                <a:lnTo>
                  <a:pt x="401" y="559"/>
                </a:lnTo>
                <a:lnTo>
                  <a:pt x="410" y="588"/>
                </a:lnTo>
                <a:lnTo>
                  <a:pt x="403" y="623"/>
                </a:lnTo>
                <a:close/>
              </a:path>
            </a:pathLst>
          </a:custGeom>
          <a:solidFill>
            <a:schemeClr val="accent1"/>
          </a:solidFill>
          <a:ln w="6350">
            <a:solidFill>
              <a:schemeClr val="tx2"/>
            </a:solidFill>
            <a:round/>
            <a:headEnd/>
            <a:tailEnd/>
          </a:ln>
        </p:spPr>
        <p:txBody>
          <a:bodyPr/>
          <a:lstStyle/>
          <a:p>
            <a:endParaRPr lang="en-US"/>
          </a:p>
        </p:txBody>
      </p:sp>
      <p:sp>
        <p:nvSpPr>
          <p:cNvPr id="11" name="Freeform 994"/>
          <p:cNvSpPr>
            <a:spLocks/>
          </p:cNvSpPr>
          <p:nvPr/>
        </p:nvSpPr>
        <p:spPr bwMode="auto">
          <a:xfrm>
            <a:off x="3927127" y="4380187"/>
            <a:ext cx="786903" cy="732352"/>
          </a:xfrm>
          <a:custGeom>
            <a:avLst/>
            <a:gdLst>
              <a:gd name="T0" fmla="*/ 2147483647 w 1676"/>
              <a:gd name="T1" fmla="*/ 2147483647 h 1756"/>
              <a:gd name="T2" fmla="*/ 2147483647 w 1676"/>
              <a:gd name="T3" fmla="*/ 2147483647 h 1756"/>
              <a:gd name="T4" fmla="*/ 2147483647 w 1676"/>
              <a:gd name="T5" fmla="*/ 2147483647 h 1756"/>
              <a:gd name="T6" fmla="*/ 2147483647 w 1676"/>
              <a:gd name="T7" fmla="*/ 2147483647 h 1756"/>
              <a:gd name="T8" fmla="*/ 2147483647 w 1676"/>
              <a:gd name="T9" fmla="*/ 2147483647 h 1756"/>
              <a:gd name="T10" fmla="*/ 2147483647 w 1676"/>
              <a:gd name="T11" fmla="*/ 2147483647 h 1756"/>
              <a:gd name="T12" fmla="*/ 2147483647 w 1676"/>
              <a:gd name="T13" fmla="*/ 2147483647 h 1756"/>
              <a:gd name="T14" fmla="*/ 2147483647 w 1676"/>
              <a:gd name="T15" fmla="*/ 2147483647 h 1756"/>
              <a:gd name="T16" fmla="*/ 2147483647 w 1676"/>
              <a:gd name="T17" fmla="*/ 2147483647 h 1756"/>
              <a:gd name="T18" fmla="*/ 2147483647 w 1676"/>
              <a:gd name="T19" fmla="*/ 2147483647 h 1756"/>
              <a:gd name="T20" fmla="*/ 2147483647 w 1676"/>
              <a:gd name="T21" fmla="*/ 2147483647 h 1756"/>
              <a:gd name="T22" fmla="*/ 2147483647 w 1676"/>
              <a:gd name="T23" fmla="*/ 2147483647 h 1756"/>
              <a:gd name="T24" fmla="*/ 2147483647 w 1676"/>
              <a:gd name="T25" fmla="*/ 2147483647 h 1756"/>
              <a:gd name="T26" fmla="*/ 2147483647 w 1676"/>
              <a:gd name="T27" fmla="*/ 2147483647 h 1756"/>
              <a:gd name="T28" fmla="*/ 2147483647 w 1676"/>
              <a:gd name="T29" fmla="*/ 2147483647 h 1756"/>
              <a:gd name="T30" fmla="*/ 2147483647 w 1676"/>
              <a:gd name="T31" fmla="*/ 2147483647 h 1756"/>
              <a:gd name="T32" fmla="*/ 2147483647 w 1676"/>
              <a:gd name="T33" fmla="*/ 2147483647 h 1756"/>
              <a:gd name="T34" fmla="*/ 2147483647 w 1676"/>
              <a:gd name="T35" fmla="*/ 2147483647 h 1756"/>
              <a:gd name="T36" fmla="*/ 2147483647 w 1676"/>
              <a:gd name="T37" fmla="*/ 2147483647 h 1756"/>
              <a:gd name="T38" fmla="*/ 2147483647 w 1676"/>
              <a:gd name="T39" fmla="*/ 2147483647 h 1756"/>
              <a:gd name="T40" fmla="*/ 2147483647 w 1676"/>
              <a:gd name="T41" fmla="*/ 2147483647 h 1756"/>
              <a:gd name="T42" fmla="*/ 2147483647 w 1676"/>
              <a:gd name="T43" fmla="*/ 2147483647 h 1756"/>
              <a:gd name="T44" fmla="*/ 2147483647 w 1676"/>
              <a:gd name="T45" fmla="*/ 2147483647 h 1756"/>
              <a:gd name="T46" fmla="*/ 2147483647 w 1676"/>
              <a:gd name="T47" fmla="*/ 2147483647 h 1756"/>
              <a:gd name="T48" fmla="*/ 2147483647 w 1676"/>
              <a:gd name="T49" fmla="*/ 2147483647 h 1756"/>
              <a:gd name="T50" fmla="*/ 2147483647 w 1676"/>
              <a:gd name="T51" fmla="*/ 2147483647 h 1756"/>
              <a:gd name="T52" fmla="*/ 2147483647 w 1676"/>
              <a:gd name="T53" fmla="*/ 2147483647 h 1756"/>
              <a:gd name="T54" fmla="*/ 2147483647 w 1676"/>
              <a:gd name="T55" fmla="*/ 2147483647 h 1756"/>
              <a:gd name="T56" fmla="*/ 2147483647 w 1676"/>
              <a:gd name="T57" fmla="*/ 2147483647 h 1756"/>
              <a:gd name="T58" fmla="*/ 2147483647 w 1676"/>
              <a:gd name="T59" fmla="*/ 2147483647 h 1756"/>
              <a:gd name="T60" fmla="*/ 2147483647 w 1676"/>
              <a:gd name="T61" fmla="*/ 0 h 1756"/>
              <a:gd name="T62" fmla="*/ 2147483647 w 1676"/>
              <a:gd name="T63" fmla="*/ 2147483647 h 1756"/>
              <a:gd name="T64" fmla="*/ 2147483647 w 1676"/>
              <a:gd name="T65" fmla="*/ 2147483647 h 1756"/>
              <a:gd name="T66" fmla="*/ 2147483647 w 1676"/>
              <a:gd name="T67" fmla="*/ 2147483647 h 1756"/>
              <a:gd name="T68" fmla="*/ 2147483647 w 1676"/>
              <a:gd name="T69" fmla="*/ 2147483647 h 1756"/>
              <a:gd name="T70" fmla="*/ 2147483647 w 1676"/>
              <a:gd name="T71" fmla="*/ 2147483647 h 1756"/>
              <a:gd name="T72" fmla="*/ 2147483647 w 1676"/>
              <a:gd name="T73" fmla="*/ 2147483647 h 1756"/>
              <a:gd name="T74" fmla="*/ 2147483647 w 1676"/>
              <a:gd name="T75" fmla="*/ 2147483647 h 1756"/>
              <a:gd name="T76" fmla="*/ 2147483647 w 1676"/>
              <a:gd name="T77" fmla="*/ 2147483647 h 1756"/>
              <a:gd name="T78" fmla="*/ 2147483647 w 1676"/>
              <a:gd name="T79" fmla="*/ 2147483647 h 1756"/>
              <a:gd name="T80" fmla="*/ 2147483647 w 1676"/>
              <a:gd name="T81" fmla="*/ 2147483647 h 1756"/>
              <a:gd name="T82" fmla="*/ 2147483647 w 1676"/>
              <a:gd name="T83" fmla="*/ 2147483647 h 1756"/>
              <a:gd name="T84" fmla="*/ 2147483647 w 1676"/>
              <a:gd name="T85" fmla="*/ 2147483647 h 1756"/>
              <a:gd name="T86" fmla="*/ 2147483647 w 1676"/>
              <a:gd name="T87" fmla="*/ 2147483647 h 1756"/>
              <a:gd name="T88" fmla="*/ 2147483647 w 1676"/>
              <a:gd name="T89" fmla="*/ 2147483647 h 1756"/>
              <a:gd name="T90" fmla="*/ 2147483647 w 1676"/>
              <a:gd name="T91" fmla="*/ 2147483647 h 1756"/>
              <a:gd name="T92" fmla="*/ 2147483647 w 1676"/>
              <a:gd name="T93" fmla="*/ 2147483647 h 1756"/>
              <a:gd name="T94" fmla="*/ 2147483647 w 1676"/>
              <a:gd name="T95" fmla="*/ 2147483647 h 1756"/>
              <a:gd name="T96" fmla="*/ 2147483647 w 1676"/>
              <a:gd name="T97" fmla="*/ 2147483647 h 1756"/>
              <a:gd name="T98" fmla="*/ 2147483647 w 1676"/>
              <a:gd name="T99" fmla="*/ 2147483647 h 1756"/>
              <a:gd name="T100" fmla="*/ 2147483647 w 1676"/>
              <a:gd name="T101" fmla="*/ 2147483647 h 1756"/>
              <a:gd name="T102" fmla="*/ 2147483647 w 1676"/>
              <a:gd name="T103" fmla="*/ 2147483647 h 1756"/>
              <a:gd name="T104" fmla="*/ 2147483647 w 1676"/>
              <a:gd name="T105" fmla="*/ 2147483647 h 1756"/>
              <a:gd name="T106" fmla="*/ 2147483647 w 1676"/>
              <a:gd name="T107" fmla="*/ 2147483647 h 1756"/>
              <a:gd name="T108" fmla="*/ 2147483647 w 1676"/>
              <a:gd name="T109" fmla="*/ 2147483647 h 1756"/>
              <a:gd name="T110" fmla="*/ 2147483647 w 1676"/>
              <a:gd name="T111" fmla="*/ 2147483647 h 1756"/>
              <a:gd name="T112" fmla="*/ 2147483647 w 1676"/>
              <a:gd name="T113" fmla="*/ 2147483647 h 1756"/>
              <a:gd name="T114" fmla="*/ 2147483647 w 1676"/>
              <a:gd name="T115" fmla="*/ 2147483647 h 1756"/>
              <a:gd name="T116" fmla="*/ 2147483647 w 1676"/>
              <a:gd name="T117" fmla="*/ 2147483647 h 1756"/>
              <a:gd name="T118" fmla="*/ 2147483647 w 1676"/>
              <a:gd name="T119" fmla="*/ 2147483647 h 1756"/>
              <a:gd name="T120" fmla="*/ 2147483647 w 1676"/>
              <a:gd name="T121" fmla="*/ 2147483647 h 1756"/>
              <a:gd name="T122" fmla="*/ 2147483647 w 1676"/>
              <a:gd name="T123" fmla="*/ 2147483647 h 1756"/>
              <a:gd name="T124" fmla="*/ 2147483647 w 1676"/>
              <a:gd name="T125" fmla="*/ 2147483647 h 17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6"/>
              <a:gd name="T190" fmla="*/ 0 h 1756"/>
              <a:gd name="T191" fmla="*/ 1676 w 1676"/>
              <a:gd name="T192" fmla="*/ 1756 h 17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6" h="1756">
                <a:moveTo>
                  <a:pt x="878" y="1756"/>
                </a:moveTo>
                <a:lnTo>
                  <a:pt x="899" y="1735"/>
                </a:lnTo>
                <a:lnTo>
                  <a:pt x="917" y="1711"/>
                </a:lnTo>
                <a:lnTo>
                  <a:pt x="926" y="1683"/>
                </a:lnTo>
                <a:lnTo>
                  <a:pt x="978" y="1642"/>
                </a:lnTo>
                <a:lnTo>
                  <a:pt x="1011" y="1591"/>
                </a:lnTo>
                <a:lnTo>
                  <a:pt x="1014" y="1574"/>
                </a:lnTo>
                <a:lnTo>
                  <a:pt x="1033" y="1538"/>
                </a:lnTo>
                <a:lnTo>
                  <a:pt x="1052" y="1512"/>
                </a:lnTo>
                <a:lnTo>
                  <a:pt x="1071" y="1501"/>
                </a:lnTo>
                <a:lnTo>
                  <a:pt x="1081" y="1485"/>
                </a:lnTo>
                <a:lnTo>
                  <a:pt x="1085" y="1436"/>
                </a:lnTo>
                <a:lnTo>
                  <a:pt x="1093" y="1430"/>
                </a:lnTo>
                <a:lnTo>
                  <a:pt x="1084" y="1417"/>
                </a:lnTo>
                <a:lnTo>
                  <a:pt x="1081" y="1379"/>
                </a:lnTo>
                <a:lnTo>
                  <a:pt x="1097" y="1346"/>
                </a:lnTo>
                <a:lnTo>
                  <a:pt x="1168" y="1281"/>
                </a:lnTo>
                <a:lnTo>
                  <a:pt x="1195" y="1267"/>
                </a:lnTo>
                <a:lnTo>
                  <a:pt x="1217" y="1264"/>
                </a:lnTo>
                <a:lnTo>
                  <a:pt x="1240" y="1246"/>
                </a:lnTo>
                <a:lnTo>
                  <a:pt x="1256" y="1244"/>
                </a:lnTo>
                <a:lnTo>
                  <a:pt x="1254" y="1234"/>
                </a:lnTo>
                <a:lnTo>
                  <a:pt x="1261" y="1228"/>
                </a:lnTo>
                <a:lnTo>
                  <a:pt x="1269" y="1232"/>
                </a:lnTo>
                <a:lnTo>
                  <a:pt x="1286" y="1227"/>
                </a:lnTo>
                <a:lnTo>
                  <a:pt x="1302" y="1229"/>
                </a:lnTo>
                <a:lnTo>
                  <a:pt x="1315" y="1225"/>
                </a:lnTo>
                <a:lnTo>
                  <a:pt x="1361" y="1225"/>
                </a:lnTo>
                <a:lnTo>
                  <a:pt x="1370" y="1208"/>
                </a:lnTo>
                <a:lnTo>
                  <a:pt x="1404" y="1184"/>
                </a:lnTo>
                <a:lnTo>
                  <a:pt x="1411" y="1151"/>
                </a:lnTo>
                <a:lnTo>
                  <a:pt x="1435" y="1122"/>
                </a:lnTo>
                <a:lnTo>
                  <a:pt x="1450" y="1087"/>
                </a:lnTo>
                <a:lnTo>
                  <a:pt x="1464" y="1069"/>
                </a:lnTo>
                <a:lnTo>
                  <a:pt x="1471" y="1011"/>
                </a:lnTo>
                <a:lnTo>
                  <a:pt x="1488" y="988"/>
                </a:lnTo>
                <a:lnTo>
                  <a:pt x="1499" y="904"/>
                </a:lnTo>
                <a:lnTo>
                  <a:pt x="1494" y="845"/>
                </a:lnTo>
                <a:lnTo>
                  <a:pt x="1501" y="789"/>
                </a:lnTo>
                <a:lnTo>
                  <a:pt x="1510" y="779"/>
                </a:lnTo>
                <a:lnTo>
                  <a:pt x="1521" y="780"/>
                </a:lnTo>
                <a:lnTo>
                  <a:pt x="1533" y="771"/>
                </a:lnTo>
                <a:lnTo>
                  <a:pt x="1569" y="706"/>
                </a:lnTo>
                <a:lnTo>
                  <a:pt x="1610" y="673"/>
                </a:lnTo>
                <a:lnTo>
                  <a:pt x="1615" y="667"/>
                </a:lnTo>
                <a:lnTo>
                  <a:pt x="1661" y="607"/>
                </a:lnTo>
                <a:lnTo>
                  <a:pt x="1673" y="566"/>
                </a:lnTo>
                <a:lnTo>
                  <a:pt x="1676" y="526"/>
                </a:lnTo>
                <a:lnTo>
                  <a:pt x="1676" y="509"/>
                </a:lnTo>
                <a:lnTo>
                  <a:pt x="1665" y="467"/>
                </a:lnTo>
                <a:lnTo>
                  <a:pt x="1651" y="446"/>
                </a:lnTo>
                <a:lnTo>
                  <a:pt x="1582" y="437"/>
                </a:lnTo>
                <a:lnTo>
                  <a:pt x="1516" y="379"/>
                </a:lnTo>
                <a:lnTo>
                  <a:pt x="1479" y="355"/>
                </a:lnTo>
                <a:lnTo>
                  <a:pt x="1461" y="346"/>
                </a:lnTo>
                <a:lnTo>
                  <a:pt x="1377" y="344"/>
                </a:lnTo>
                <a:lnTo>
                  <a:pt x="1309" y="327"/>
                </a:lnTo>
                <a:lnTo>
                  <a:pt x="1304" y="322"/>
                </a:lnTo>
                <a:lnTo>
                  <a:pt x="1265" y="337"/>
                </a:lnTo>
                <a:lnTo>
                  <a:pt x="1272" y="320"/>
                </a:lnTo>
                <a:lnTo>
                  <a:pt x="1266" y="314"/>
                </a:lnTo>
                <a:lnTo>
                  <a:pt x="1257" y="314"/>
                </a:lnTo>
                <a:lnTo>
                  <a:pt x="1261" y="302"/>
                </a:lnTo>
                <a:lnTo>
                  <a:pt x="1247" y="286"/>
                </a:lnTo>
                <a:lnTo>
                  <a:pt x="1228" y="295"/>
                </a:lnTo>
                <a:lnTo>
                  <a:pt x="1221" y="276"/>
                </a:lnTo>
                <a:lnTo>
                  <a:pt x="1191" y="264"/>
                </a:lnTo>
                <a:lnTo>
                  <a:pt x="1176" y="263"/>
                </a:lnTo>
                <a:lnTo>
                  <a:pt x="1151" y="250"/>
                </a:lnTo>
                <a:lnTo>
                  <a:pt x="1119" y="249"/>
                </a:lnTo>
                <a:lnTo>
                  <a:pt x="1112" y="252"/>
                </a:lnTo>
                <a:lnTo>
                  <a:pt x="1093" y="285"/>
                </a:lnTo>
                <a:lnTo>
                  <a:pt x="1072" y="293"/>
                </a:lnTo>
                <a:lnTo>
                  <a:pt x="1056" y="327"/>
                </a:lnTo>
                <a:lnTo>
                  <a:pt x="1055" y="301"/>
                </a:lnTo>
                <a:lnTo>
                  <a:pt x="999" y="302"/>
                </a:lnTo>
                <a:lnTo>
                  <a:pt x="988" y="306"/>
                </a:lnTo>
                <a:lnTo>
                  <a:pt x="970" y="302"/>
                </a:lnTo>
                <a:lnTo>
                  <a:pt x="963" y="310"/>
                </a:lnTo>
                <a:lnTo>
                  <a:pt x="968" y="297"/>
                </a:lnTo>
                <a:lnTo>
                  <a:pt x="990" y="301"/>
                </a:lnTo>
                <a:lnTo>
                  <a:pt x="999" y="296"/>
                </a:lnTo>
                <a:lnTo>
                  <a:pt x="1000" y="276"/>
                </a:lnTo>
                <a:lnTo>
                  <a:pt x="988" y="267"/>
                </a:lnTo>
                <a:lnTo>
                  <a:pt x="996" y="257"/>
                </a:lnTo>
                <a:lnTo>
                  <a:pt x="986" y="258"/>
                </a:lnTo>
                <a:lnTo>
                  <a:pt x="980" y="270"/>
                </a:lnTo>
                <a:lnTo>
                  <a:pt x="972" y="271"/>
                </a:lnTo>
                <a:lnTo>
                  <a:pt x="968" y="240"/>
                </a:lnTo>
                <a:lnTo>
                  <a:pt x="1024" y="180"/>
                </a:lnTo>
                <a:lnTo>
                  <a:pt x="1032" y="152"/>
                </a:lnTo>
                <a:lnTo>
                  <a:pt x="1010" y="145"/>
                </a:lnTo>
                <a:lnTo>
                  <a:pt x="995" y="100"/>
                </a:lnTo>
                <a:lnTo>
                  <a:pt x="980" y="52"/>
                </a:lnTo>
                <a:lnTo>
                  <a:pt x="968" y="40"/>
                </a:lnTo>
                <a:lnTo>
                  <a:pt x="960" y="48"/>
                </a:lnTo>
                <a:lnTo>
                  <a:pt x="930" y="88"/>
                </a:lnTo>
                <a:lnTo>
                  <a:pt x="921" y="110"/>
                </a:lnTo>
                <a:lnTo>
                  <a:pt x="897" y="131"/>
                </a:lnTo>
                <a:lnTo>
                  <a:pt x="874" y="130"/>
                </a:lnTo>
                <a:lnTo>
                  <a:pt x="855" y="138"/>
                </a:lnTo>
                <a:lnTo>
                  <a:pt x="838" y="123"/>
                </a:lnTo>
                <a:lnTo>
                  <a:pt x="813" y="115"/>
                </a:lnTo>
                <a:lnTo>
                  <a:pt x="796" y="120"/>
                </a:lnTo>
                <a:lnTo>
                  <a:pt x="780" y="117"/>
                </a:lnTo>
                <a:lnTo>
                  <a:pt x="775" y="120"/>
                </a:lnTo>
                <a:lnTo>
                  <a:pt x="774" y="142"/>
                </a:lnTo>
                <a:lnTo>
                  <a:pt x="749" y="138"/>
                </a:lnTo>
                <a:lnTo>
                  <a:pt x="729" y="140"/>
                </a:lnTo>
                <a:lnTo>
                  <a:pt x="717" y="136"/>
                </a:lnTo>
                <a:lnTo>
                  <a:pt x="701" y="149"/>
                </a:lnTo>
                <a:lnTo>
                  <a:pt x="665" y="158"/>
                </a:lnTo>
                <a:lnTo>
                  <a:pt x="656" y="167"/>
                </a:lnTo>
                <a:lnTo>
                  <a:pt x="637" y="165"/>
                </a:lnTo>
                <a:lnTo>
                  <a:pt x="625" y="157"/>
                </a:lnTo>
                <a:lnTo>
                  <a:pt x="612" y="144"/>
                </a:lnTo>
                <a:lnTo>
                  <a:pt x="611" y="125"/>
                </a:lnTo>
                <a:lnTo>
                  <a:pt x="601" y="114"/>
                </a:lnTo>
                <a:lnTo>
                  <a:pt x="607" y="65"/>
                </a:lnTo>
                <a:lnTo>
                  <a:pt x="617" y="53"/>
                </a:lnTo>
                <a:lnTo>
                  <a:pt x="612" y="31"/>
                </a:lnTo>
                <a:lnTo>
                  <a:pt x="594" y="27"/>
                </a:lnTo>
                <a:lnTo>
                  <a:pt x="598" y="11"/>
                </a:lnTo>
                <a:lnTo>
                  <a:pt x="594" y="0"/>
                </a:lnTo>
                <a:lnTo>
                  <a:pt x="569" y="1"/>
                </a:lnTo>
                <a:lnTo>
                  <a:pt x="569" y="11"/>
                </a:lnTo>
                <a:lnTo>
                  <a:pt x="555" y="26"/>
                </a:lnTo>
                <a:lnTo>
                  <a:pt x="540" y="28"/>
                </a:lnTo>
                <a:lnTo>
                  <a:pt x="520" y="43"/>
                </a:lnTo>
                <a:lnTo>
                  <a:pt x="484" y="47"/>
                </a:lnTo>
                <a:lnTo>
                  <a:pt x="466" y="56"/>
                </a:lnTo>
                <a:lnTo>
                  <a:pt x="447" y="56"/>
                </a:lnTo>
                <a:lnTo>
                  <a:pt x="416" y="42"/>
                </a:lnTo>
                <a:lnTo>
                  <a:pt x="390" y="38"/>
                </a:lnTo>
                <a:lnTo>
                  <a:pt x="394" y="53"/>
                </a:lnTo>
                <a:lnTo>
                  <a:pt x="413" y="64"/>
                </a:lnTo>
                <a:lnTo>
                  <a:pt x="410" y="89"/>
                </a:lnTo>
                <a:lnTo>
                  <a:pt x="417" y="118"/>
                </a:lnTo>
                <a:lnTo>
                  <a:pt x="451" y="119"/>
                </a:lnTo>
                <a:lnTo>
                  <a:pt x="450" y="128"/>
                </a:lnTo>
                <a:lnTo>
                  <a:pt x="422" y="140"/>
                </a:lnTo>
                <a:lnTo>
                  <a:pt x="411" y="159"/>
                </a:lnTo>
                <a:lnTo>
                  <a:pt x="363" y="177"/>
                </a:lnTo>
                <a:lnTo>
                  <a:pt x="352" y="187"/>
                </a:lnTo>
                <a:lnTo>
                  <a:pt x="321" y="189"/>
                </a:lnTo>
                <a:lnTo>
                  <a:pt x="299" y="166"/>
                </a:lnTo>
                <a:lnTo>
                  <a:pt x="290" y="172"/>
                </a:lnTo>
                <a:lnTo>
                  <a:pt x="285" y="149"/>
                </a:lnTo>
                <a:lnTo>
                  <a:pt x="275" y="136"/>
                </a:lnTo>
                <a:lnTo>
                  <a:pt x="252" y="144"/>
                </a:lnTo>
                <a:lnTo>
                  <a:pt x="241" y="138"/>
                </a:lnTo>
                <a:lnTo>
                  <a:pt x="235" y="149"/>
                </a:lnTo>
                <a:lnTo>
                  <a:pt x="170" y="148"/>
                </a:lnTo>
                <a:lnTo>
                  <a:pt x="171" y="175"/>
                </a:lnTo>
                <a:lnTo>
                  <a:pt x="176" y="179"/>
                </a:lnTo>
                <a:lnTo>
                  <a:pt x="192" y="177"/>
                </a:lnTo>
                <a:lnTo>
                  <a:pt x="201" y="195"/>
                </a:lnTo>
                <a:lnTo>
                  <a:pt x="183" y="193"/>
                </a:lnTo>
                <a:lnTo>
                  <a:pt x="161" y="199"/>
                </a:lnTo>
                <a:lnTo>
                  <a:pt x="161" y="229"/>
                </a:lnTo>
                <a:lnTo>
                  <a:pt x="179" y="246"/>
                </a:lnTo>
                <a:lnTo>
                  <a:pt x="188" y="275"/>
                </a:lnTo>
                <a:lnTo>
                  <a:pt x="181" y="310"/>
                </a:lnTo>
                <a:lnTo>
                  <a:pt x="173" y="354"/>
                </a:lnTo>
                <a:lnTo>
                  <a:pt x="165" y="399"/>
                </a:lnTo>
                <a:lnTo>
                  <a:pt x="159" y="403"/>
                </a:lnTo>
                <a:lnTo>
                  <a:pt x="143" y="402"/>
                </a:lnTo>
                <a:lnTo>
                  <a:pt x="93" y="419"/>
                </a:lnTo>
                <a:lnTo>
                  <a:pt x="57" y="440"/>
                </a:lnTo>
                <a:lnTo>
                  <a:pt x="33" y="474"/>
                </a:lnTo>
                <a:lnTo>
                  <a:pt x="31" y="503"/>
                </a:lnTo>
                <a:lnTo>
                  <a:pt x="14" y="509"/>
                </a:lnTo>
                <a:lnTo>
                  <a:pt x="0" y="546"/>
                </a:lnTo>
                <a:lnTo>
                  <a:pt x="12" y="577"/>
                </a:lnTo>
                <a:lnTo>
                  <a:pt x="39" y="606"/>
                </a:lnTo>
                <a:lnTo>
                  <a:pt x="35" y="624"/>
                </a:lnTo>
                <a:lnTo>
                  <a:pt x="61" y="627"/>
                </a:lnTo>
                <a:lnTo>
                  <a:pt x="72" y="646"/>
                </a:lnTo>
                <a:lnTo>
                  <a:pt x="94" y="650"/>
                </a:lnTo>
                <a:lnTo>
                  <a:pt x="114" y="642"/>
                </a:lnTo>
                <a:lnTo>
                  <a:pt x="142" y="619"/>
                </a:lnTo>
                <a:lnTo>
                  <a:pt x="142" y="689"/>
                </a:lnTo>
                <a:lnTo>
                  <a:pt x="152" y="695"/>
                </a:lnTo>
                <a:lnTo>
                  <a:pt x="177" y="689"/>
                </a:lnTo>
                <a:lnTo>
                  <a:pt x="232" y="694"/>
                </a:lnTo>
                <a:lnTo>
                  <a:pt x="270" y="678"/>
                </a:lnTo>
                <a:lnTo>
                  <a:pt x="306" y="642"/>
                </a:lnTo>
                <a:lnTo>
                  <a:pt x="360" y="636"/>
                </a:lnTo>
                <a:lnTo>
                  <a:pt x="366" y="644"/>
                </a:lnTo>
                <a:lnTo>
                  <a:pt x="368" y="658"/>
                </a:lnTo>
                <a:lnTo>
                  <a:pt x="368" y="682"/>
                </a:lnTo>
                <a:lnTo>
                  <a:pt x="362" y="705"/>
                </a:lnTo>
                <a:lnTo>
                  <a:pt x="373" y="733"/>
                </a:lnTo>
                <a:lnTo>
                  <a:pt x="401" y="753"/>
                </a:lnTo>
                <a:lnTo>
                  <a:pt x="452" y="761"/>
                </a:lnTo>
                <a:lnTo>
                  <a:pt x="464" y="776"/>
                </a:lnTo>
                <a:lnTo>
                  <a:pt x="499" y="786"/>
                </a:lnTo>
                <a:lnTo>
                  <a:pt x="517" y="800"/>
                </a:lnTo>
                <a:lnTo>
                  <a:pt x="545" y="800"/>
                </a:lnTo>
                <a:lnTo>
                  <a:pt x="560" y="809"/>
                </a:lnTo>
                <a:lnTo>
                  <a:pt x="570" y="821"/>
                </a:lnTo>
                <a:lnTo>
                  <a:pt x="581" y="856"/>
                </a:lnTo>
                <a:lnTo>
                  <a:pt x="580" y="876"/>
                </a:lnTo>
                <a:lnTo>
                  <a:pt x="572" y="880"/>
                </a:lnTo>
                <a:lnTo>
                  <a:pt x="589" y="924"/>
                </a:lnTo>
                <a:lnTo>
                  <a:pt x="663" y="930"/>
                </a:lnTo>
                <a:lnTo>
                  <a:pt x="661" y="953"/>
                </a:lnTo>
                <a:lnTo>
                  <a:pt x="664" y="968"/>
                </a:lnTo>
                <a:lnTo>
                  <a:pt x="680" y="975"/>
                </a:lnTo>
                <a:lnTo>
                  <a:pt x="693" y="1009"/>
                </a:lnTo>
                <a:lnTo>
                  <a:pt x="692" y="1050"/>
                </a:lnTo>
                <a:lnTo>
                  <a:pt x="683" y="1076"/>
                </a:lnTo>
                <a:lnTo>
                  <a:pt x="685" y="1095"/>
                </a:lnTo>
                <a:lnTo>
                  <a:pt x="677" y="1099"/>
                </a:lnTo>
                <a:lnTo>
                  <a:pt x="676" y="1104"/>
                </a:lnTo>
                <a:lnTo>
                  <a:pt x="683" y="1117"/>
                </a:lnTo>
                <a:lnTo>
                  <a:pt x="683" y="1180"/>
                </a:lnTo>
                <a:lnTo>
                  <a:pt x="686" y="1186"/>
                </a:lnTo>
                <a:lnTo>
                  <a:pt x="722" y="1198"/>
                </a:lnTo>
                <a:lnTo>
                  <a:pt x="751" y="1191"/>
                </a:lnTo>
                <a:lnTo>
                  <a:pt x="776" y="1201"/>
                </a:lnTo>
                <a:lnTo>
                  <a:pt x="782" y="1212"/>
                </a:lnTo>
                <a:lnTo>
                  <a:pt x="786" y="1259"/>
                </a:lnTo>
                <a:lnTo>
                  <a:pt x="791" y="1270"/>
                </a:lnTo>
                <a:lnTo>
                  <a:pt x="802" y="1275"/>
                </a:lnTo>
                <a:lnTo>
                  <a:pt x="831" y="1271"/>
                </a:lnTo>
                <a:lnTo>
                  <a:pt x="835" y="1275"/>
                </a:lnTo>
                <a:lnTo>
                  <a:pt x="840" y="1301"/>
                </a:lnTo>
                <a:lnTo>
                  <a:pt x="831" y="1352"/>
                </a:lnTo>
                <a:lnTo>
                  <a:pt x="853" y="1351"/>
                </a:lnTo>
                <a:lnTo>
                  <a:pt x="858" y="1356"/>
                </a:lnTo>
                <a:lnTo>
                  <a:pt x="868" y="1387"/>
                </a:lnTo>
                <a:lnTo>
                  <a:pt x="864" y="1424"/>
                </a:lnTo>
                <a:lnTo>
                  <a:pt x="845" y="1439"/>
                </a:lnTo>
                <a:lnTo>
                  <a:pt x="822" y="1445"/>
                </a:lnTo>
                <a:lnTo>
                  <a:pt x="774" y="1493"/>
                </a:lnTo>
                <a:lnTo>
                  <a:pt x="736" y="1541"/>
                </a:lnTo>
                <a:lnTo>
                  <a:pt x="695" y="1579"/>
                </a:lnTo>
                <a:lnTo>
                  <a:pt x="711" y="1580"/>
                </a:lnTo>
                <a:lnTo>
                  <a:pt x="722" y="1571"/>
                </a:lnTo>
                <a:lnTo>
                  <a:pt x="731" y="1573"/>
                </a:lnTo>
                <a:lnTo>
                  <a:pt x="761" y="1598"/>
                </a:lnTo>
                <a:lnTo>
                  <a:pt x="766" y="1617"/>
                </a:lnTo>
                <a:lnTo>
                  <a:pt x="776" y="1617"/>
                </a:lnTo>
                <a:lnTo>
                  <a:pt x="786" y="1608"/>
                </a:lnTo>
                <a:lnTo>
                  <a:pt x="803" y="1630"/>
                </a:lnTo>
                <a:lnTo>
                  <a:pt x="827" y="1639"/>
                </a:lnTo>
                <a:lnTo>
                  <a:pt x="840" y="1655"/>
                </a:lnTo>
                <a:lnTo>
                  <a:pt x="862" y="1665"/>
                </a:lnTo>
                <a:lnTo>
                  <a:pt x="870" y="1688"/>
                </a:lnTo>
                <a:lnTo>
                  <a:pt x="890" y="1705"/>
                </a:lnTo>
                <a:lnTo>
                  <a:pt x="876" y="1726"/>
                </a:lnTo>
                <a:lnTo>
                  <a:pt x="874" y="1750"/>
                </a:lnTo>
                <a:lnTo>
                  <a:pt x="878" y="1756"/>
                </a:lnTo>
                <a:close/>
              </a:path>
            </a:pathLst>
          </a:custGeom>
          <a:solidFill>
            <a:schemeClr val="accent1"/>
          </a:solidFill>
          <a:ln w="6350">
            <a:solidFill>
              <a:schemeClr val="tx2"/>
            </a:solidFill>
            <a:round/>
            <a:headEnd/>
            <a:tailEnd/>
          </a:ln>
        </p:spPr>
        <p:txBody>
          <a:bodyPr/>
          <a:lstStyle/>
          <a:p>
            <a:endParaRPr lang="en-US"/>
          </a:p>
        </p:txBody>
      </p:sp>
      <p:sp>
        <p:nvSpPr>
          <p:cNvPr id="12" name="Freeform 1003"/>
          <p:cNvSpPr>
            <a:spLocks/>
          </p:cNvSpPr>
          <p:nvPr/>
        </p:nvSpPr>
        <p:spPr bwMode="auto">
          <a:xfrm>
            <a:off x="3937161" y="4254095"/>
            <a:ext cx="272335" cy="205058"/>
          </a:xfrm>
          <a:custGeom>
            <a:avLst/>
            <a:gdLst>
              <a:gd name="T0" fmla="*/ 2147483647 w 583"/>
              <a:gd name="T1" fmla="*/ 2147483647 h 494"/>
              <a:gd name="T2" fmla="*/ 2147483647 w 583"/>
              <a:gd name="T3" fmla="*/ 2147483647 h 494"/>
              <a:gd name="T4" fmla="*/ 2147483647 w 583"/>
              <a:gd name="T5" fmla="*/ 2147483647 h 494"/>
              <a:gd name="T6" fmla="*/ 2147483647 w 583"/>
              <a:gd name="T7" fmla="*/ 2147483647 h 494"/>
              <a:gd name="T8" fmla="*/ 2147483647 w 583"/>
              <a:gd name="T9" fmla="*/ 2147483647 h 494"/>
              <a:gd name="T10" fmla="*/ 2147483647 w 583"/>
              <a:gd name="T11" fmla="*/ 2147483647 h 494"/>
              <a:gd name="T12" fmla="*/ 2147483647 w 583"/>
              <a:gd name="T13" fmla="*/ 2147483647 h 494"/>
              <a:gd name="T14" fmla="*/ 2147483647 w 583"/>
              <a:gd name="T15" fmla="*/ 2147483647 h 494"/>
              <a:gd name="T16" fmla="*/ 2147483647 w 583"/>
              <a:gd name="T17" fmla="*/ 2147483647 h 494"/>
              <a:gd name="T18" fmla="*/ 2147483647 w 583"/>
              <a:gd name="T19" fmla="*/ 2147483647 h 494"/>
              <a:gd name="T20" fmla="*/ 2147483647 w 583"/>
              <a:gd name="T21" fmla="*/ 2147483647 h 494"/>
              <a:gd name="T22" fmla="*/ 2147483647 w 583"/>
              <a:gd name="T23" fmla="*/ 2147483647 h 494"/>
              <a:gd name="T24" fmla="*/ 2147483647 w 583"/>
              <a:gd name="T25" fmla="*/ 2147483647 h 494"/>
              <a:gd name="T26" fmla="*/ 2147483647 w 583"/>
              <a:gd name="T27" fmla="*/ 2147483647 h 494"/>
              <a:gd name="T28" fmla="*/ 2147483647 w 583"/>
              <a:gd name="T29" fmla="*/ 2147483647 h 494"/>
              <a:gd name="T30" fmla="*/ 2147483647 w 583"/>
              <a:gd name="T31" fmla="*/ 2147483647 h 494"/>
              <a:gd name="T32" fmla="*/ 2147483647 w 583"/>
              <a:gd name="T33" fmla="*/ 2147483647 h 494"/>
              <a:gd name="T34" fmla="*/ 2147483647 w 583"/>
              <a:gd name="T35" fmla="*/ 2147483647 h 494"/>
              <a:gd name="T36" fmla="*/ 2147483647 w 583"/>
              <a:gd name="T37" fmla="*/ 2147483647 h 494"/>
              <a:gd name="T38" fmla="*/ 2147483647 w 583"/>
              <a:gd name="T39" fmla="*/ 2147483647 h 494"/>
              <a:gd name="T40" fmla="*/ 2147483647 w 583"/>
              <a:gd name="T41" fmla="*/ 2147483647 h 494"/>
              <a:gd name="T42" fmla="*/ 2147483647 w 583"/>
              <a:gd name="T43" fmla="*/ 2147483647 h 494"/>
              <a:gd name="T44" fmla="*/ 2147483647 w 583"/>
              <a:gd name="T45" fmla="*/ 2147483647 h 494"/>
              <a:gd name="T46" fmla="*/ 2147483647 w 583"/>
              <a:gd name="T47" fmla="*/ 2147483647 h 494"/>
              <a:gd name="T48" fmla="*/ 2147483647 w 583"/>
              <a:gd name="T49" fmla="*/ 2147483647 h 494"/>
              <a:gd name="T50" fmla="*/ 2147483647 w 583"/>
              <a:gd name="T51" fmla="*/ 2147483647 h 494"/>
              <a:gd name="T52" fmla="*/ 2147483647 w 583"/>
              <a:gd name="T53" fmla="*/ 2147483647 h 494"/>
              <a:gd name="T54" fmla="*/ 2147483647 w 583"/>
              <a:gd name="T55" fmla="*/ 2147483647 h 494"/>
              <a:gd name="T56" fmla="*/ 2147483647 w 583"/>
              <a:gd name="T57" fmla="*/ 2147483647 h 494"/>
              <a:gd name="T58" fmla="*/ 2147483647 w 583"/>
              <a:gd name="T59" fmla="*/ 2147483647 h 494"/>
              <a:gd name="T60" fmla="*/ 2147483647 w 583"/>
              <a:gd name="T61" fmla="*/ 2147483647 h 494"/>
              <a:gd name="T62" fmla="*/ 2147483647 w 583"/>
              <a:gd name="T63" fmla="*/ 2147483647 h 494"/>
              <a:gd name="T64" fmla="*/ 2147483647 w 583"/>
              <a:gd name="T65" fmla="*/ 2147483647 h 494"/>
              <a:gd name="T66" fmla="*/ 2147483647 w 583"/>
              <a:gd name="T67" fmla="*/ 2147483647 h 494"/>
              <a:gd name="T68" fmla="*/ 2147483647 w 583"/>
              <a:gd name="T69" fmla="*/ 2147483647 h 494"/>
              <a:gd name="T70" fmla="*/ 2147483647 w 583"/>
              <a:gd name="T71" fmla="*/ 2147483647 h 494"/>
              <a:gd name="T72" fmla="*/ 2147483647 w 583"/>
              <a:gd name="T73" fmla="*/ 2147483647 h 494"/>
              <a:gd name="T74" fmla="*/ 2147483647 w 583"/>
              <a:gd name="T75" fmla="*/ 2147483647 h 494"/>
              <a:gd name="T76" fmla="*/ 2147483647 w 583"/>
              <a:gd name="T77" fmla="*/ 2147483647 h 494"/>
              <a:gd name="T78" fmla="*/ 2147483647 w 583"/>
              <a:gd name="T79" fmla="*/ 2147483647 h 494"/>
              <a:gd name="T80" fmla="*/ 2147483647 w 583"/>
              <a:gd name="T81" fmla="*/ 2147483647 h 494"/>
              <a:gd name="T82" fmla="*/ 2147483647 w 583"/>
              <a:gd name="T83" fmla="*/ 2147483647 h 494"/>
              <a:gd name="T84" fmla="*/ 2147483647 w 583"/>
              <a:gd name="T85" fmla="*/ 2147483647 h 494"/>
              <a:gd name="T86" fmla="*/ 2147483647 w 583"/>
              <a:gd name="T87" fmla="*/ 2147483647 h 494"/>
              <a:gd name="T88" fmla="*/ 2147483647 w 583"/>
              <a:gd name="T89" fmla="*/ 2147483647 h 494"/>
              <a:gd name="T90" fmla="*/ 2147483647 w 583"/>
              <a:gd name="T91" fmla="*/ 2147483647 h 494"/>
              <a:gd name="T92" fmla="*/ 2147483647 w 583"/>
              <a:gd name="T93" fmla="*/ 2147483647 h 494"/>
              <a:gd name="T94" fmla="*/ 2147483647 w 583"/>
              <a:gd name="T95" fmla="*/ 2147483647 h 494"/>
              <a:gd name="T96" fmla="*/ 2147483647 w 583"/>
              <a:gd name="T97" fmla="*/ 2147483647 h 494"/>
              <a:gd name="T98" fmla="*/ 2147483647 w 583"/>
              <a:gd name="T99" fmla="*/ 2147483647 h 494"/>
              <a:gd name="T100" fmla="*/ 2147483647 w 583"/>
              <a:gd name="T101" fmla="*/ 2147483647 h 494"/>
              <a:gd name="T102" fmla="*/ 2147483647 w 583"/>
              <a:gd name="T103" fmla="*/ 2147483647 h 4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83"/>
              <a:gd name="T157" fmla="*/ 0 h 494"/>
              <a:gd name="T158" fmla="*/ 583 w 583"/>
              <a:gd name="T159" fmla="*/ 494 h 4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83" h="494">
                <a:moveTo>
                  <a:pt x="85" y="17"/>
                </a:moveTo>
                <a:lnTo>
                  <a:pt x="64" y="28"/>
                </a:lnTo>
                <a:lnTo>
                  <a:pt x="75" y="65"/>
                </a:lnTo>
                <a:lnTo>
                  <a:pt x="73" y="75"/>
                </a:lnTo>
                <a:lnTo>
                  <a:pt x="57" y="94"/>
                </a:lnTo>
                <a:lnTo>
                  <a:pt x="59" y="111"/>
                </a:lnTo>
                <a:lnTo>
                  <a:pt x="68" y="120"/>
                </a:lnTo>
                <a:lnTo>
                  <a:pt x="76" y="138"/>
                </a:lnTo>
                <a:lnTo>
                  <a:pt x="88" y="137"/>
                </a:lnTo>
                <a:lnTo>
                  <a:pt x="98" y="125"/>
                </a:lnTo>
                <a:lnTo>
                  <a:pt x="97" y="106"/>
                </a:lnTo>
                <a:lnTo>
                  <a:pt x="81" y="79"/>
                </a:lnTo>
                <a:lnTo>
                  <a:pt x="81" y="61"/>
                </a:lnTo>
                <a:lnTo>
                  <a:pt x="109" y="42"/>
                </a:lnTo>
                <a:lnTo>
                  <a:pt x="153" y="34"/>
                </a:lnTo>
                <a:lnTo>
                  <a:pt x="152" y="26"/>
                </a:lnTo>
                <a:lnTo>
                  <a:pt x="131" y="21"/>
                </a:lnTo>
                <a:lnTo>
                  <a:pt x="137" y="4"/>
                </a:lnTo>
                <a:lnTo>
                  <a:pt x="145" y="0"/>
                </a:lnTo>
                <a:lnTo>
                  <a:pt x="150" y="4"/>
                </a:lnTo>
                <a:lnTo>
                  <a:pt x="162" y="32"/>
                </a:lnTo>
                <a:lnTo>
                  <a:pt x="213" y="44"/>
                </a:lnTo>
                <a:lnTo>
                  <a:pt x="223" y="69"/>
                </a:lnTo>
                <a:lnTo>
                  <a:pt x="229" y="75"/>
                </a:lnTo>
                <a:lnTo>
                  <a:pt x="311" y="69"/>
                </a:lnTo>
                <a:lnTo>
                  <a:pt x="332" y="88"/>
                </a:lnTo>
                <a:lnTo>
                  <a:pt x="354" y="91"/>
                </a:lnTo>
                <a:lnTo>
                  <a:pt x="374" y="86"/>
                </a:lnTo>
                <a:lnTo>
                  <a:pt x="389" y="77"/>
                </a:lnTo>
                <a:lnTo>
                  <a:pt x="411" y="75"/>
                </a:lnTo>
                <a:lnTo>
                  <a:pt x="413" y="72"/>
                </a:lnTo>
                <a:lnTo>
                  <a:pt x="392" y="69"/>
                </a:lnTo>
                <a:lnTo>
                  <a:pt x="397" y="66"/>
                </a:lnTo>
                <a:lnTo>
                  <a:pt x="486" y="68"/>
                </a:lnTo>
                <a:lnTo>
                  <a:pt x="471" y="74"/>
                </a:lnTo>
                <a:lnTo>
                  <a:pt x="450" y="75"/>
                </a:lnTo>
                <a:lnTo>
                  <a:pt x="448" y="81"/>
                </a:lnTo>
                <a:lnTo>
                  <a:pt x="463" y="87"/>
                </a:lnTo>
                <a:lnTo>
                  <a:pt x="474" y="106"/>
                </a:lnTo>
                <a:lnTo>
                  <a:pt x="501" y="107"/>
                </a:lnTo>
                <a:lnTo>
                  <a:pt x="532" y="125"/>
                </a:lnTo>
                <a:lnTo>
                  <a:pt x="541" y="151"/>
                </a:lnTo>
                <a:lnTo>
                  <a:pt x="531" y="159"/>
                </a:lnTo>
                <a:lnTo>
                  <a:pt x="533" y="163"/>
                </a:lnTo>
                <a:lnTo>
                  <a:pt x="549" y="166"/>
                </a:lnTo>
                <a:lnTo>
                  <a:pt x="567" y="157"/>
                </a:lnTo>
                <a:lnTo>
                  <a:pt x="583" y="171"/>
                </a:lnTo>
                <a:lnTo>
                  <a:pt x="581" y="179"/>
                </a:lnTo>
                <a:lnTo>
                  <a:pt x="540" y="198"/>
                </a:lnTo>
                <a:lnTo>
                  <a:pt x="540" y="220"/>
                </a:lnTo>
                <a:lnTo>
                  <a:pt x="555" y="224"/>
                </a:lnTo>
                <a:lnTo>
                  <a:pt x="529" y="240"/>
                </a:lnTo>
                <a:lnTo>
                  <a:pt x="528" y="253"/>
                </a:lnTo>
                <a:lnTo>
                  <a:pt x="520" y="265"/>
                </a:lnTo>
                <a:lnTo>
                  <a:pt x="520" y="270"/>
                </a:lnTo>
                <a:lnTo>
                  <a:pt x="548" y="306"/>
                </a:lnTo>
                <a:lnTo>
                  <a:pt x="548" y="316"/>
                </a:lnTo>
                <a:lnTo>
                  <a:pt x="534" y="331"/>
                </a:lnTo>
                <a:lnTo>
                  <a:pt x="519" y="333"/>
                </a:lnTo>
                <a:lnTo>
                  <a:pt x="499" y="348"/>
                </a:lnTo>
                <a:lnTo>
                  <a:pt x="463" y="352"/>
                </a:lnTo>
                <a:lnTo>
                  <a:pt x="445" y="361"/>
                </a:lnTo>
                <a:lnTo>
                  <a:pt x="426" y="361"/>
                </a:lnTo>
                <a:lnTo>
                  <a:pt x="395" y="347"/>
                </a:lnTo>
                <a:lnTo>
                  <a:pt x="369" y="343"/>
                </a:lnTo>
                <a:lnTo>
                  <a:pt x="373" y="358"/>
                </a:lnTo>
                <a:lnTo>
                  <a:pt x="392" y="369"/>
                </a:lnTo>
                <a:lnTo>
                  <a:pt x="389" y="394"/>
                </a:lnTo>
                <a:lnTo>
                  <a:pt x="396" y="423"/>
                </a:lnTo>
                <a:lnTo>
                  <a:pt x="430" y="424"/>
                </a:lnTo>
                <a:lnTo>
                  <a:pt x="429" y="433"/>
                </a:lnTo>
                <a:lnTo>
                  <a:pt x="401" y="445"/>
                </a:lnTo>
                <a:lnTo>
                  <a:pt x="390" y="464"/>
                </a:lnTo>
                <a:lnTo>
                  <a:pt x="342" y="482"/>
                </a:lnTo>
                <a:lnTo>
                  <a:pt x="331" y="492"/>
                </a:lnTo>
                <a:lnTo>
                  <a:pt x="300" y="494"/>
                </a:lnTo>
                <a:lnTo>
                  <a:pt x="278" y="471"/>
                </a:lnTo>
                <a:lnTo>
                  <a:pt x="260" y="427"/>
                </a:lnTo>
                <a:lnTo>
                  <a:pt x="240" y="408"/>
                </a:lnTo>
                <a:lnTo>
                  <a:pt x="261" y="384"/>
                </a:lnTo>
                <a:lnTo>
                  <a:pt x="254" y="367"/>
                </a:lnTo>
                <a:lnTo>
                  <a:pt x="241" y="355"/>
                </a:lnTo>
                <a:lnTo>
                  <a:pt x="236" y="330"/>
                </a:lnTo>
                <a:lnTo>
                  <a:pt x="241" y="299"/>
                </a:lnTo>
                <a:lnTo>
                  <a:pt x="254" y="272"/>
                </a:lnTo>
                <a:lnTo>
                  <a:pt x="252" y="262"/>
                </a:lnTo>
                <a:lnTo>
                  <a:pt x="240" y="260"/>
                </a:lnTo>
                <a:lnTo>
                  <a:pt x="215" y="268"/>
                </a:lnTo>
                <a:lnTo>
                  <a:pt x="191" y="262"/>
                </a:lnTo>
                <a:lnTo>
                  <a:pt x="170" y="266"/>
                </a:lnTo>
                <a:lnTo>
                  <a:pt x="141" y="229"/>
                </a:lnTo>
                <a:lnTo>
                  <a:pt x="118" y="221"/>
                </a:lnTo>
                <a:lnTo>
                  <a:pt x="83" y="226"/>
                </a:lnTo>
                <a:lnTo>
                  <a:pt x="58" y="220"/>
                </a:lnTo>
                <a:lnTo>
                  <a:pt x="42" y="208"/>
                </a:lnTo>
                <a:lnTo>
                  <a:pt x="40" y="173"/>
                </a:lnTo>
                <a:lnTo>
                  <a:pt x="24" y="153"/>
                </a:lnTo>
                <a:lnTo>
                  <a:pt x="19" y="133"/>
                </a:lnTo>
                <a:lnTo>
                  <a:pt x="0" y="133"/>
                </a:lnTo>
                <a:lnTo>
                  <a:pt x="11" y="111"/>
                </a:lnTo>
                <a:lnTo>
                  <a:pt x="21" y="75"/>
                </a:lnTo>
                <a:lnTo>
                  <a:pt x="31" y="58"/>
                </a:lnTo>
                <a:lnTo>
                  <a:pt x="62" y="24"/>
                </a:lnTo>
                <a:lnTo>
                  <a:pt x="85" y="17"/>
                </a:lnTo>
                <a:close/>
              </a:path>
            </a:pathLst>
          </a:custGeom>
          <a:solidFill>
            <a:schemeClr val="accent1"/>
          </a:solidFill>
          <a:ln w="6350">
            <a:solidFill>
              <a:schemeClr val="tx2"/>
            </a:solidFill>
            <a:round/>
            <a:headEnd/>
            <a:tailEnd/>
          </a:ln>
        </p:spPr>
        <p:txBody>
          <a:bodyPr/>
          <a:lstStyle/>
          <a:p>
            <a:endParaRPr lang="en-US"/>
          </a:p>
        </p:txBody>
      </p:sp>
      <p:sp>
        <p:nvSpPr>
          <p:cNvPr id="13" name="Freeform 1004"/>
          <p:cNvSpPr>
            <a:spLocks/>
          </p:cNvSpPr>
          <p:nvPr/>
        </p:nvSpPr>
        <p:spPr bwMode="auto">
          <a:xfrm>
            <a:off x="4246762" y="4367450"/>
            <a:ext cx="83134" cy="72599"/>
          </a:xfrm>
          <a:custGeom>
            <a:avLst/>
            <a:gdLst>
              <a:gd name="T0" fmla="*/ 2147483647 w 179"/>
              <a:gd name="T1" fmla="*/ 2147483647 h 174"/>
              <a:gd name="T2" fmla="*/ 2147483647 w 179"/>
              <a:gd name="T3" fmla="*/ 2147483647 h 174"/>
              <a:gd name="T4" fmla="*/ 2147483647 w 179"/>
              <a:gd name="T5" fmla="*/ 2147483647 h 174"/>
              <a:gd name="T6" fmla="*/ 2147483647 w 179"/>
              <a:gd name="T7" fmla="*/ 2147483647 h 174"/>
              <a:gd name="T8" fmla="*/ 2147483647 w 179"/>
              <a:gd name="T9" fmla="*/ 2147483647 h 174"/>
              <a:gd name="T10" fmla="*/ 2147483647 w 179"/>
              <a:gd name="T11" fmla="*/ 2147483647 h 174"/>
              <a:gd name="T12" fmla="*/ 2147483647 w 179"/>
              <a:gd name="T13" fmla="*/ 2147483647 h 174"/>
              <a:gd name="T14" fmla="*/ 2147483647 w 179"/>
              <a:gd name="T15" fmla="*/ 2147483647 h 174"/>
              <a:gd name="T16" fmla="*/ 2147483647 w 179"/>
              <a:gd name="T17" fmla="*/ 2147483647 h 174"/>
              <a:gd name="T18" fmla="*/ 2147483647 w 179"/>
              <a:gd name="T19" fmla="*/ 2147483647 h 174"/>
              <a:gd name="T20" fmla="*/ 0 w 179"/>
              <a:gd name="T21" fmla="*/ 2147483647 h 174"/>
              <a:gd name="T22" fmla="*/ 2147483647 w 179"/>
              <a:gd name="T23" fmla="*/ 2147483647 h 174"/>
              <a:gd name="T24" fmla="*/ 2147483647 w 179"/>
              <a:gd name="T25" fmla="*/ 2147483647 h 174"/>
              <a:gd name="T26" fmla="*/ 2147483647 w 179"/>
              <a:gd name="T27" fmla="*/ 2147483647 h 174"/>
              <a:gd name="T28" fmla="*/ 2147483647 w 179"/>
              <a:gd name="T29" fmla="*/ 2147483647 h 174"/>
              <a:gd name="T30" fmla="*/ 2147483647 w 179"/>
              <a:gd name="T31" fmla="*/ 2147483647 h 174"/>
              <a:gd name="T32" fmla="*/ 2147483647 w 179"/>
              <a:gd name="T33" fmla="*/ 0 h 174"/>
              <a:gd name="T34" fmla="*/ 2147483647 w 179"/>
              <a:gd name="T35" fmla="*/ 2147483647 h 174"/>
              <a:gd name="T36" fmla="*/ 2147483647 w 179"/>
              <a:gd name="T37" fmla="*/ 0 h 174"/>
              <a:gd name="T38" fmla="*/ 2147483647 w 179"/>
              <a:gd name="T39" fmla="*/ 2147483647 h 174"/>
              <a:gd name="T40" fmla="*/ 2147483647 w 179"/>
              <a:gd name="T41" fmla="*/ 2147483647 h 174"/>
              <a:gd name="T42" fmla="*/ 2147483647 w 179"/>
              <a:gd name="T43" fmla="*/ 2147483647 h 174"/>
              <a:gd name="T44" fmla="*/ 2147483647 w 179"/>
              <a:gd name="T45" fmla="*/ 2147483647 h 174"/>
              <a:gd name="T46" fmla="*/ 2147483647 w 179"/>
              <a:gd name="T47" fmla="*/ 2147483647 h 174"/>
              <a:gd name="T48" fmla="*/ 2147483647 w 179"/>
              <a:gd name="T49" fmla="*/ 2147483647 h 174"/>
              <a:gd name="T50" fmla="*/ 2147483647 w 179"/>
              <a:gd name="T51" fmla="*/ 2147483647 h 1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9"/>
              <a:gd name="T79" fmla="*/ 0 h 174"/>
              <a:gd name="T80" fmla="*/ 179 w 179"/>
              <a:gd name="T81" fmla="*/ 174 h 1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9" h="174">
                <a:moveTo>
                  <a:pt x="161" y="155"/>
                </a:moveTo>
                <a:lnTo>
                  <a:pt x="136" y="147"/>
                </a:lnTo>
                <a:lnTo>
                  <a:pt x="119" y="152"/>
                </a:lnTo>
                <a:lnTo>
                  <a:pt x="103" y="149"/>
                </a:lnTo>
                <a:lnTo>
                  <a:pt x="98" y="152"/>
                </a:lnTo>
                <a:lnTo>
                  <a:pt x="97" y="174"/>
                </a:lnTo>
                <a:lnTo>
                  <a:pt x="72" y="170"/>
                </a:lnTo>
                <a:lnTo>
                  <a:pt x="52" y="148"/>
                </a:lnTo>
                <a:lnTo>
                  <a:pt x="36" y="113"/>
                </a:lnTo>
                <a:lnTo>
                  <a:pt x="23" y="110"/>
                </a:lnTo>
                <a:lnTo>
                  <a:pt x="0" y="79"/>
                </a:lnTo>
                <a:lnTo>
                  <a:pt x="8" y="46"/>
                </a:lnTo>
                <a:lnTo>
                  <a:pt x="31" y="40"/>
                </a:lnTo>
                <a:lnTo>
                  <a:pt x="36" y="32"/>
                </a:lnTo>
                <a:lnTo>
                  <a:pt x="34" y="21"/>
                </a:lnTo>
                <a:lnTo>
                  <a:pt x="46" y="6"/>
                </a:lnTo>
                <a:lnTo>
                  <a:pt x="52" y="0"/>
                </a:lnTo>
                <a:lnTo>
                  <a:pt x="74" y="6"/>
                </a:lnTo>
                <a:lnTo>
                  <a:pt x="138" y="0"/>
                </a:lnTo>
                <a:lnTo>
                  <a:pt x="177" y="8"/>
                </a:lnTo>
                <a:lnTo>
                  <a:pt x="178" y="18"/>
                </a:lnTo>
                <a:lnTo>
                  <a:pt x="163" y="40"/>
                </a:lnTo>
                <a:lnTo>
                  <a:pt x="164" y="71"/>
                </a:lnTo>
                <a:lnTo>
                  <a:pt x="179" y="99"/>
                </a:lnTo>
                <a:lnTo>
                  <a:pt x="172" y="142"/>
                </a:lnTo>
                <a:lnTo>
                  <a:pt x="161" y="155"/>
                </a:lnTo>
                <a:close/>
              </a:path>
            </a:pathLst>
          </a:custGeom>
          <a:solidFill>
            <a:schemeClr val="accent1"/>
          </a:solidFill>
          <a:ln w="6350">
            <a:solidFill>
              <a:schemeClr val="tx2"/>
            </a:solidFill>
            <a:round/>
            <a:headEnd/>
            <a:tailEnd/>
          </a:ln>
        </p:spPr>
        <p:txBody>
          <a:bodyPr/>
          <a:lstStyle/>
          <a:p>
            <a:endParaRPr lang="en-US"/>
          </a:p>
        </p:txBody>
      </p:sp>
      <p:sp>
        <p:nvSpPr>
          <p:cNvPr id="14" name="Freeform 1005"/>
          <p:cNvSpPr>
            <a:spLocks/>
          </p:cNvSpPr>
          <p:nvPr/>
        </p:nvSpPr>
        <p:spPr bwMode="auto">
          <a:xfrm>
            <a:off x="4179396" y="4324147"/>
            <a:ext cx="100334" cy="126093"/>
          </a:xfrm>
          <a:custGeom>
            <a:avLst/>
            <a:gdLst>
              <a:gd name="T0" fmla="*/ 2147483647 w 208"/>
              <a:gd name="T1" fmla="*/ 2147483647 h 302"/>
              <a:gd name="T2" fmla="*/ 2147483647 w 208"/>
              <a:gd name="T3" fmla="*/ 2147483647 h 302"/>
              <a:gd name="T4" fmla="*/ 2147483647 w 208"/>
              <a:gd name="T5" fmla="*/ 2147483647 h 302"/>
              <a:gd name="T6" fmla="*/ 2147483647 w 208"/>
              <a:gd name="T7" fmla="*/ 2147483647 h 302"/>
              <a:gd name="T8" fmla="*/ 2147483647 w 208"/>
              <a:gd name="T9" fmla="*/ 2147483647 h 302"/>
              <a:gd name="T10" fmla="*/ 2147483647 w 208"/>
              <a:gd name="T11" fmla="*/ 2147483647 h 302"/>
              <a:gd name="T12" fmla="*/ 2147483647 w 208"/>
              <a:gd name="T13" fmla="*/ 2147483647 h 302"/>
              <a:gd name="T14" fmla="*/ 2147483647 w 208"/>
              <a:gd name="T15" fmla="*/ 2147483647 h 302"/>
              <a:gd name="T16" fmla="*/ 2147483647 w 208"/>
              <a:gd name="T17" fmla="*/ 2147483647 h 302"/>
              <a:gd name="T18" fmla="*/ 2147483647 w 208"/>
              <a:gd name="T19" fmla="*/ 2147483647 h 302"/>
              <a:gd name="T20" fmla="*/ 2147483647 w 208"/>
              <a:gd name="T21" fmla="*/ 2147483647 h 302"/>
              <a:gd name="T22" fmla="*/ 2147483647 w 208"/>
              <a:gd name="T23" fmla="*/ 2147483647 h 302"/>
              <a:gd name="T24" fmla="*/ 2147483647 w 208"/>
              <a:gd name="T25" fmla="*/ 2147483647 h 302"/>
              <a:gd name="T26" fmla="*/ 2147483647 w 208"/>
              <a:gd name="T27" fmla="*/ 2147483647 h 302"/>
              <a:gd name="T28" fmla="*/ 2147483647 w 208"/>
              <a:gd name="T29" fmla="*/ 2147483647 h 302"/>
              <a:gd name="T30" fmla="*/ 2147483647 w 208"/>
              <a:gd name="T31" fmla="*/ 2147483647 h 302"/>
              <a:gd name="T32" fmla="*/ 2147483647 w 208"/>
              <a:gd name="T33" fmla="*/ 2147483647 h 302"/>
              <a:gd name="T34" fmla="*/ 2147483647 w 208"/>
              <a:gd name="T35" fmla="*/ 2147483647 h 302"/>
              <a:gd name="T36" fmla="*/ 0 w 208"/>
              <a:gd name="T37" fmla="*/ 2147483647 h 302"/>
              <a:gd name="T38" fmla="*/ 0 w 208"/>
              <a:gd name="T39" fmla="*/ 2147483647 h 302"/>
              <a:gd name="T40" fmla="*/ 2147483647 w 208"/>
              <a:gd name="T41" fmla="*/ 2147483647 h 302"/>
              <a:gd name="T42" fmla="*/ 2147483647 w 208"/>
              <a:gd name="T43" fmla="*/ 2147483647 h 302"/>
              <a:gd name="T44" fmla="*/ 2147483647 w 208"/>
              <a:gd name="T45" fmla="*/ 2147483647 h 302"/>
              <a:gd name="T46" fmla="*/ 2147483647 w 208"/>
              <a:gd name="T47" fmla="*/ 2147483647 h 302"/>
              <a:gd name="T48" fmla="*/ 2147483647 w 208"/>
              <a:gd name="T49" fmla="*/ 2147483647 h 302"/>
              <a:gd name="T50" fmla="*/ 2147483647 w 208"/>
              <a:gd name="T51" fmla="*/ 2147483647 h 302"/>
              <a:gd name="T52" fmla="*/ 2147483647 w 208"/>
              <a:gd name="T53" fmla="*/ 2147483647 h 302"/>
              <a:gd name="T54" fmla="*/ 2147483647 w 208"/>
              <a:gd name="T55" fmla="*/ 0 h 302"/>
              <a:gd name="T56" fmla="*/ 2147483647 w 208"/>
              <a:gd name="T57" fmla="*/ 2147483647 h 302"/>
              <a:gd name="T58" fmla="*/ 2147483647 w 208"/>
              <a:gd name="T59" fmla="*/ 2147483647 h 302"/>
              <a:gd name="T60" fmla="*/ 2147483647 w 208"/>
              <a:gd name="T61" fmla="*/ 2147483647 h 302"/>
              <a:gd name="T62" fmla="*/ 2147483647 w 208"/>
              <a:gd name="T63" fmla="*/ 2147483647 h 302"/>
              <a:gd name="T64" fmla="*/ 2147483647 w 208"/>
              <a:gd name="T65" fmla="*/ 2147483647 h 302"/>
              <a:gd name="T66" fmla="*/ 2147483647 w 208"/>
              <a:gd name="T67" fmla="*/ 2147483647 h 302"/>
              <a:gd name="T68" fmla="*/ 2147483647 w 208"/>
              <a:gd name="T69" fmla="*/ 2147483647 h 302"/>
              <a:gd name="T70" fmla="*/ 2147483647 w 208"/>
              <a:gd name="T71" fmla="*/ 2147483647 h 302"/>
              <a:gd name="T72" fmla="*/ 2147483647 w 208"/>
              <a:gd name="T73" fmla="*/ 2147483647 h 302"/>
              <a:gd name="T74" fmla="*/ 2147483647 w 208"/>
              <a:gd name="T75" fmla="*/ 2147483647 h 302"/>
              <a:gd name="T76" fmla="*/ 2147483647 w 208"/>
              <a:gd name="T77" fmla="*/ 2147483647 h 302"/>
              <a:gd name="T78" fmla="*/ 2147483647 w 208"/>
              <a:gd name="T79" fmla="*/ 2147483647 h 302"/>
              <a:gd name="T80" fmla="*/ 2147483647 w 208"/>
              <a:gd name="T81" fmla="*/ 2147483647 h 302"/>
              <a:gd name="T82" fmla="*/ 2147483647 w 208"/>
              <a:gd name="T83" fmla="*/ 2147483647 h 302"/>
              <a:gd name="T84" fmla="*/ 2147483647 w 208"/>
              <a:gd name="T85" fmla="*/ 2147483647 h 302"/>
              <a:gd name="T86" fmla="*/ 2147483647 w 208"/>
              <a:gd name="T87" fmla="*/ 2147483647 h 302"/>
              <a:gd name="T88" fmla="*/ 2147483647 w 208"/>
              <a:gd name="T89" fmla="*/ 2147483647 h 3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8"/>
              <a:gd name="T136" fmla="*/ 0 h 302"/>
              <a:gd name="T137" fmla="*/ 208 w 208"/>
              <a:gd name="T138" fmla="*/ 302 h 3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8" h="302">
                <a:moveTo>
                  <a:pt x="208" y="273"/>
                </a:moveTo>
                <a:lnTo>
                  <a:pt x="188" y="275"/>
                </a:lnTo>
                <a:lnTo>
                  <a:pt x="176" y="271"/>
                </a:lnTo>
                <a:lnTo>
                  <a:pt x="160" y="284"/>
                </a:lnTo>
                <a:lnTo>
                  <a:pt x="124" y="293"/>
                </a:lnTo>
                <a:lnTo>
                  <a:pt x="115" y="302"/>
                </a:lnTo>
                <a:lnTo>
                  <a:pt x="96" y="300"/>
                </a:lnTo>
                <a:lnTo>
                  <a:pt x="84" y="292"/>
                </a:lnTo>
                <a:lnTo>
                  <a:pt x="71" y="279"/>
                </a:lnTo>
                <a:lnTo>
                  <a:pt x="70" y="260"/>
                </a:lnTo>
                <a:lnTo>
                  <a:pt x="60" y="249"/>
                </a:lnTo>
                <a:lnTo>
                  <a:pt x="66" y="200"/>
                </a:lnTo>
                <a:lnTo>
                  <a:pt x="76" y="188"/>
                </a:lnTo>
                <a:lnTo>
                  <a:pt x="71" y="166"/>
                </a:lnTo>
                <a:lnTo>
                  <a:pt x="53" y="162"/>
                </a:lnTo>
                <a:lnTo>
                  <a:pt x="57" y="146"/>
                </a:lnTo>
                <a:lnTo>
                  <a:pt x="53" y="135"/>
                </a:lnTo>
                <a:lnTo>
                  <a:pt x="28" y="136"/>
                </a:lnTo>
                <a:lnTo>
                  <a:pt x="0" y="100"/>
                </a:lnTo>
                <a:lnTo>
                  <a:pt x="0" y="95"/>
                </a:lnTo>
                <a:lnTo>
                  <a:pt x="8" y="83"/>
                </a:lnTo>
                <a:lnTo>
                  <a:pt x="9" y="70"/>
                </a:lnTo>
                <a:lnTo>
                  <a:pt x="35" y="54"/>
                </a:lnTo>
                <a:lnTo>
                  <a:pt x="20" y="50"/>
                </a:lnTo>
                <a:lnTo>
                  <a:pt x="20" y="28"/>
                </a:lnTo>
                <a:lnTo>
                  <a:pt x="61" y="9"/>
                </a:lnTo>
                <a:lnTo>
                  <a:pt x="63" y="1"/>
                </a:lnTo>
                <a:lnTo>
                  <a:pt x="73" y="0"/>
                </a:lnTo>
                <a:lnTo>
                  <a:pt x="111" y="31"/>
                </a:lnTo>
                <a:lnTo>
                  <a:pt x="117" y="41"/>
                </a:lnTo>
                <a:lnTo>
                  <a:pt x="119" y="65"/>
                </a:lnTo>
                <a:lnTo>
                  <a:pt x="123" y="67"/>
                </a:lnTo>
                <a:lnTo>
                  <a:pt x="140" y="67"/>
                </a:lnTo>
                <a:lnTo>
                  <a:pt x="152" y="73"/>
                </a:lnTo>
                <a:lnTo>
                  <a:pt x="174" y="93"/>
                </a:lnTo>
                <a:lnTo>
                  <a:pt x="182" y="109"/>
                </a:lnTo>
                <a:lnTo>
                  <a:pt x="170" y="124"/>
                </a:lnTo>
                <a:lnTo>
                  <a:pt x="172" y="135"/>
                </a:lnTo>
                <a:lnTo>
                  <a:pt x="167" y="143"/>
                </a:lnTo>
                <a:lnTo>
                  <a:pt x="144" y="149"/>
                </a:lnTo>
                <a:lnTo>
                  <a:pt x="136" y="182"/>
                </a:lnTo>
                <a:lnTo>
                  <a:pt x="159" y="213"/>
                </a:lnTo>
                <a:lnTo>
                  <a:pt x="172" y="216"/>
                </a:lnTo>
                <a:lnTo>
                  <a:pt x="188" y="251"/>
                </a:lnTo>
                <a:lnTo>
                  <a:pt x="208" y="273"/>
                </a:lnTo>
                <a:close/>
              </a:path>
            </a:pathLst>
          </a:custGeom>
          <a:solidFill>
            <a:schemeClr val="accent1"/>
          </a:solidFill>
          <a:ln w="6350">
            <a:solidFill>
              <a:schemeClr val="tx2"/>
            </a:solidFill>
            <a:round/>
            <a:headEnd/>
            <a:tailEnd/>
          </a:ln>
        </p:spPr>
        <p:txBody>
          <a:bodyPr/>
          <a:lstStyle/>
          <a:p>
            <a:endParaRPr lang="en-US"/>
          </a:p>
        </p:txBody>
      </p:sp>
      <p:sp>
        <p:nvSpPr>
          <p:cNvPr id="15" name="Freeform 1006"/>
          <p:cNvSpPr>
            <a:spLocks/>
          </p:cNvSpPr>
          <p:nvPr/>
        </p:nvSpPr>
        <p:spPr bwMode="auto">
          <a:xfrm>
            <a:off x="3775193" y="4474437"/>
            <a:ext cx="252269" cy="327331"/>
          </a:xfrm>
          <a:custGeom>
            <a:avLst/>
            <a:gdLst>
              <a:gd name="T0" fmla="*/ 2147483647 w 537"/>
              <a:gd name="T1" fmla="*/ 2147483647 h 788"/>
              <a:gd name="T2" fmla="*/ 2147483647 w 537"/>
              <a:gd name="T3" fmla="*/ 2147483647 h 788"/>
              <a:gd name="T4" fmla="*/ 2147483647 w 537"/>
              <a:gd name="T5" fmla="*/ 2147483647 h 788"/>
              <a:gd name="T6" fmla="*/ 2147483647 w 537"/>
              <a:gd name="T7" fmla="*/ 2147483647 h 788"/>
              <a:gd name="T8" fmla="*/ 2147483647 w 537"/>
              <a:gd name="T9" fmla="*/ 2147483647 h 788"/>
              <a:gd name="T10" fmla="*/ 2147483647 w 537"/>
              <a:gd name="T11" fmla="*/ 2147483647 h 788"/>
              <a:gd name="T12" fmla="*/ 2147483647 w 537"/>
              <a:gd name="T13" fmla="*/ 2147483647 h 788"/>
              <a:gd name="T14" fmla="*/ 2147483647 w 537"/>
              <a:gd name="T15" fmla="*/ 2147483647 h 788"/>
              <a:gd name="T16" fmla="*/ 2147483647 w 537"/>
              <a:gd name="T17" fmla="*/ 2147483647 h 788"/>
              <a:gd name="T18" fmla="*/ 2147483647 w 537"/>
              <a:gd name="T19" fmla="*/ 2147483647 h 788"/>
              <a:gd name="T20" fmla="*/ 2147483647 w 537"/>
              <a:gd name="T21" fmla="*/ 2147483647 h 788"/>
              <a:gd name="T22" fmla="*/ 2147483647 w 537"/>
              <a:gd name="T23" fmla="*/ 2147483647 h 788"/>
              <a:gd name="T24" fmla="*/ 2147483647 w 537"/>
              <a:gd name="T25" fmla="*/ 2147483647 h 788"/>
              <a:gd name="T26" fmla="*/ 2147483647 w 537"/>
              <a:gd name="T27" fmla="*/ 2147483647 h 788"/>
              <a:gd name="T28" fmla="*/ 2147483647 w 537"/>
              <a:gd name="T29" fmla="*/ 2147483647 h 788"/>
              <a:gd name="T30" fmla="*/ 2147483647 w 537"/>
              <a:gd name="T31" fmla="*/ 2147483647 h 788"/>
              <a:gd name="T32" fmla="*/ 2147483647 w 537"/>
              <a:gd name="T33" fmla="*/ 2147483647 h 788"/>
              <a:gd name="T34" fmla="*/ 2147483647 w 537"/>
              <a:gd name="T35" fmla="*/ 2147483647 h 788"/>
              <a:gd name="T36" fmla="*/ 2147483647 w 537"/>
              <a:gd name="T37" fmla="*/ 2147483647 h 788"/>
              <a:gd name="T38" fmla="*/ 2147483647 w 537"/>
              <a:gd name="T39" fmla="*/ 2147483647 h 788"/>
              <a:gd name="T40" fmla="*/ 2147483647 w 537"/>
              <a:gd name="T41" fmla="*/ 2147483647 h 788"/>
              <a:gd name="T42" fmla="*/ 2147483647 w 537"/>
              <a:gd name="T43" fmla="*/ 2147483647 h 788"/>
              <a:gd name="T44" fmla="*/ 2147483647 w 537"/>
              <a:gd name="T45" fmla="*/ 2147483647 h 788"/>
              <a:gd name="T46" fmla="*/ 2147483647 w 537"/>
              <a:gd name="T47" fmla="*/ 2147483647 h 788"/>
              <a:gd name="T48" fmla="*/ 2147483647 w 537"/>
              <a:gd name="T49" fmla="*/ 2147483647 h 788"/>
              <a:gd name="T50" fmla="*/ 2147483647 w 537"/>
              <a:gd name="T51" fmla="*/ 0 h 788"/>
              <a:gd name="T52" fmla="*/ 2147483647 w 537"/>
              <a:gd name="T53" fmla="*/ 2147483647 h 788"/>
              <a:gd name="T54" fmla="*/ 2147483647 w 537"/>
              <a:gd name="T55" fmla="*/ 2147483647 h 788"/>
              <a:gd name="T56" fmla="*/ 2147483647 w 537"/>
              <a:gd name="T57" fmla="*/ 2147483647 h 788"/>
              <a:gd name="T58" fmla="*/ 2147483647 w 537"/>
              <a:gd name="T59" fmla="*/ 2147483647 h 788"/>
              <a:gd name="T60" fmla="*/ 2147483647 w 537"/>
              <a:gd name="T61" fmla="*/ 2147483647 h 788"/>
              <a:gd name="T62" fmla="*/ 2147483647 w 537"/>
              <a:gd name="T63" fmla="*/ 2147483647 h 788"/>
              <a:gd name="T64" fmla="*/ 2147483647 w 537"/>
              <a:gd name="T65" fmla="*/ 2147483647 h 788"/>
              <a:gd name="T66" fmla="*/ 2147483647 w 537"/>
              <a:gd name="T67" fmla="*/ 2147483647 h 788"/>
              <a:gd name="T68" fmla="*/ 2147483647 w 537"/>
              <a:gd name="T69" fmla="*/ 2147483647 h 788"/>
              <a:gd name="T70" fmla="*/ 2147483647 w 537"/>
              <a:gd name="T71" fmla="*/ 2147483647 h 788"/>
              <a:gd name="T72" fmla="*/ 2147483647 w 537"/>
              <a:gd name="T73" fmla="*/ 2147483647 h 788"/>
              <a:gd name="T74" fmla="*/ 2147483647 w 537"/>
              <a:gd name="T75" fmla="*/ 2147483647 h 788"/>
              <a:gd name="T76" fmla="*/ 2147483647 w 537"/>
              <a:gd name="T77" fmla="*/ 2147483647 h 788"/>
              <a:gd name="T78" fmla="*/ 2147483647 w 537"/>
              <a:gd name="T79" fmla="*/ 2147483647 h 788"/>
              <a:gd name="T80" fmla="*/ 2147483647 w 537"/>
              <a:gd name="T81" fmla="*/ 2147483647 h 788"/>
              <a:gd name="T82" fmla="*/ 2147483647 w 537"/>
              <a:gd name="T83" fmla="*/ 2147483647 h 788"/>
              <a:gd name="T84" fmla="*/ 2147483647 w 537"/>
              <a:gd name="T85" fmla="*/ 2147483647 h 788"/>
              <a:gd name="T86" fmla="*/ 2147483647 w 537"/>
              <a:gd name="T87" fmla="*/ 2147483647 h 788"/>
              <a:gd name="T88" fmla="*/ 2147483647 w 537"/>
              <a:gd name="T89" fmla="*/ 2147483647 h 788"/>
              <a:gd name="T90" fmla="*/ 2147483647 w 537"/>
              <a:gd name="T91" fmla="*/ 2147483647 h 788"/>
              <a:gd name="T92" fmla="*/ 2147483647 w 537"/>
              <a:gd name="T93" fmla="*/ 2147483647 h 7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37"/>
              <a:gd name="T142" fmla="*/ 0 h 788"/>
              <a:gd name="T143" fmla="*/ 537 w 537"/>
              <a:gd name="T144" fmla="*/ 788 h 7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37" h="788">
                <a:moveTo>
                  <a:pt x="460" y="788"/>
                </a:moveTo>
                <a:lnTo>
                  <a:pt x="470" y="781"/>
                </a:lnTo>
                <a:lnTo>
                  <a:pt x="489" y="779"/>
                </a:lnTo>
                <a:lnTo>
                  <a:pt x="500" y="759"/>
                </a:lnTo>
                <a:lnTo>
                  <a:pt x="497" y="749"/>
                </a:lnTo>
                <a:lnTo>
                  <a:pt x="526" y="712"/>
                </a:lnTo>
                <a:lnTo>
                  <a:pt x="525" y="700"/>
                </a:lnTo>
                <a:lnTo>
                  <a:pt x="510" y="684"/>
                </a:lnTo>
                <a:lnTo>
                  <a:pt x="510" y="667"/>
                </a:lnTo>
                <a:lnTo>
                  <a:pt x="521" y="652"/>
                </a:lnTo>
                <a:lnTo>
                  <a:pt x="511" y="631"/>
                </a:lnTo>
                <a:lnTo>
                  <a:pt x="526" y="620"/>
                </a:lnTo>
                <a:lnTo>
                  <a:pt x="526" y="549"/>
                </a:lnTo>
                <a:lnTo>
                  <a:pt x="537" y="530"/>
                </a:lnTo>
                <a:lnTo>
                  <a:pt x="497" y="464"/>
                </a:lnTo>
                <a:lnTo>
                  <a:pt x="472" y="470"/>
                </a:lnTo>
                <a:lnTo>
                  <a:pt x="462" y="464"/>
                </a:lnTo>
                <a:lnTo>
                  <a:pt x="462" y="394"/>
                </a:lnTo>
                <a:lnTo>
                  <a:pt x="434" y="417"/>
                </a:lnTo>
                <a:lnTo>
                  <a:pt x="414" y="425"/>
                </a:lnTo>
                <a:lnTo>
                  <a:pt x="392" y="421"/>
                </a:lnTo>
                <a:lnTo>
                  <a:pt x="381" y="402"/>
                </a:lnTo>
                <a:lnTo>
                  <a:pt x="355" y="399"/>
                </a:lnTo>
                <a:lnTo>
                  <a:pt x="359" y="381"/>
                </a:lnTo>
                <a:lnTo>
                  <a:pt x="332" y="352"/>
                </a:lnTo>
                <a:lnTo>
                  <a:pt x="320" y="321"/>
                </a:lnTo>
                <a:lnTo>
                  <a:pt x="334" y="284"/>
                </a:lnTo>
                <a:lnTo>
                  <a:pt x="351" y="278"/>
                </a:lnTo>
                <a:lnTo>
                  <a:pt x="353" y="249"/>
                </a:lnTo>
                <a:lnTo>
                  <a:pt x="377" y="215"/>
                </a:lnTo>
                <a:lnTo>
                  <a:pt x="413" y="194"/>
                </a:lnTo>
                <a:lnTo>
                  <a:pt x="463" y="177"/>
                </a:lnTo>
                <a:lnTo>
                  <a:pt x="479" y="178"/>
                </a:lnTo>
                <a:lnTo>
                  <a:pt x="485" y="174"/>
                </a:lnTo>
                <a:lnTo>
                  <a:pt x="469" y="161"/>
                </a:lnTo>
                <a:lnTo>
                  <a:pt x="458" y="159"/>
                </a:lnTo>
                <a:lnTo>
                  <a:pt x="458" y="151"/>
                </a:lnTo>
                <a:lnTo>
                  <a:pt x="480" y="120"/>
                </a:lnTo>
                <a:lnTo>
                  <a:pt x="472" y="107"/>
                </a:lnTo>
                <a:lnTo>
                  <a:pt x="440" y="94"/>
                </a:lnTo>
                <a:lnTo>
                  <a:pt x="425" y="99"/>
                </a:lnTo>
                <a:lnTo>
                  <a:pt x="403" y="94"/>
                </a:lnTo>
                <a:lnTo>
                  <a:pt x="384" y="104"/>
                </a:lnTo>
                <a:lnTo>
                  <a:pt x="352" y="101"/>
                </a:lnTo>
                <a:lnTo>
                  <a:pt x="345" y="93"/>
                </a:lnTo>
                <a:lnTo>
                  <a:pt x="345" y="76"/>
                </a:lnTo>
                <a:lnTo>
                  <a:pt x="332" y="73"/>
                </a:lnTo>
                <a:lnTo>
                  <a:pt x="324" y="48"/>
                </a:lnTo>
                <a:lnTo>
                  <a:pt x="307" y="42"/>
                </a:lnTo>
                <a:lnTo>
                  <a:pt x="293" y="19"/>
                </a:lnTo>
                <a:lnTo>
                  <a:pt x="278" y="7"/>
                </a:lnTo>
                <a:lnTo>
                  <a:pt x="256" y="0"/>
                </a:lnTo>
                <a:lnTo>
                  <a:pt x="245" y="2"/>
                </a:lnTo>
                <a:lnTo>
                  <a:pt x="244" y="8"/>
                </a:lnTo>
                <a:lnTo>
                  <a:pt x="261" y="38"/>
                </a:lnTo>
                <a:lnTo>
                  <a:pt x="254" y="38"/>
                </a:lnTo>
                <a:lnTo>
                  <a:pt x="237" y="70"/>
                </a:lnTo>
                <a:lnTo>
                  <a:pt x="199" y="107"/>
                </a:lnTo>
                <a:lnTo>
                  <a:pt x="139" y="132"/>
                </a:lnTo>
                <a:lnTo>
                  <a:pt x="132" y="149"/>
                </a:lnTo>
                <a:lnTo>
                  <a:pt x="123" y="148"/>
                </a:lnTo>
                <a:lnTo>
                  <a:pt x="111" y="164"/>
                </a:lnTo>
                <a:lnTo>
                  <a:pt x="107" y="198"/>
                </a:lnTo>
                <a:lnTo>
                  <a:pt x="93" y="208"/>
                </a:lnTo>
                <a:lnTo>
                  <a:pt x="78" y="211"/>
                </a:lnTo>
                <a:lnTo>
                  <a:pt x="69" y="194"/>
                </a:lnTo>
                <a:lnTo>
                  <a:pt x="57" y="194"/>
                </a:lnTo>
                <a:lnTo>
                  <a:pt x="50" y="186"/>
                </a:lnTo>
                <a:lnTo>
                  <a:pt x="33" y="192"/>
                </a:lnTo>
                <a:lnTo>
                  <a:pt x="28" y="172"/>
                </a:lnTo>
                <a:lnTo>
                  <a:pt x="42" y="163"/>
                </a:lnTo>
                <a:lnTo>
                  <a:pt x="38" y="145"/>
                </a:lnTo>
                <a:lnTo>
                  <a:pt x="0" y="184"/>
                </a:lnTo>
                <a:lnTo>
                  <a:pt x="7" y="223"/>
                </a:lnTo>
                <a:lnTo>
                  <a:pt x="17" y="235"/>
                </a:lnTo>
                <a:lnTo>
                  <a:pt x="7" y="249"/>
                </a:lnTo>
                <a:lnTo>
                  <a:pt x="54" y="288"/>
                </a:lnTo>
                <a:lnTo>
                  <a:pt x="68" y="304"/>
                </a:lnTo>
                <a:lnTo>
                  <a:pt x="79" y="331"/>
                </a:lnTo>
                <a:lnTo>
                  <a:pt x="102" y="355"/>
                </a:lnTo>
                <a:lnTo>
                  <a:pt x="132" y="430"/>
                </a:lnTo>
                <a:lnTo>
                  <a:pt x="146" y="453"/>
                </a:lnTo>
                <a:lnTo>
                  <a:pt x="155" y="490"/>
                </a:lnTo>
                <a:lnTo>
                  <a:pt x="168" y="501"/>
                </a:lnTo>
                <a:lnTo>
                  <a:pt x="199" y="558"/>
                </a:lnTo>
                <a:lnTo>
                  <a:pt x="209" y="569"/>
                </a:lnTo>
                <a:lnTo>
                  <a:pt x="215" y="591"/>
                </a:lnTo>
                <a:lnTo>
                  <a:pt x="208" y="599"/>
                </a:lnTo>
                <a:lnTo>
                  <a:pt x="212" y="611"/>
                </a:lnTo>
                <a:lnTo>
                  <a:pt x="261" y="660"/>
                </a:lnTo>
                <a:lnTo>
                  <a:pt x="321" y="698"/>
                </a:lnTo>
                <a:lnTo>
                  <a:pt x="383" y="725"/>
                </a:lnTo>
                <a:lnTo>
                  <a:pt x="410" y="743"/>
                </a:lnTo>
                <a:lnTo>
                  <a:pt x="438" y="776"/>
                </a:lnTo>
                <a:lnTo>
                  <a:pt x="460" y="788"/>
                </a:lnTo>
                <a:close/>
              </a:path>
            </a:pathLst>
          </a:custGeom>
          <a:solidFill>
            <a:schemeClr val="accent1"/>
          </a:solidFill>
          <a:ln w="6350">
            <a:solidFill>
              <a:schemeClr val="tx2"/>
            </a:solidFill>
            <a:round/>
            <a:headEnd/>
            <a:tailEnd/>
          </a:ln>
        </p:spPr>
        <p:txBody>
          <a:bodyPr/>
          <a:lstStyle/>
          <a:p>
            <a:endParaRPr lang="en-US"/>
          </a:p>
        </p:txBody>
      </p:sp>
      <p:sp>
        <p:nvSpPr>
          <p:cNvPr id="16" name="Freeform 1007"/>
          <p:cNvSpPr>
            <a:spLocks/>
          </p:cNvSpPr>
          <p:nvPr/>
        </p:nvSpPr>
        <p:spPr bwMode="auto">
          <a:xfrm>
            <a:off x="4150729" y="4822146"/>
            <a:ext cx="169135" cy="159207"/>
          </a:xfrm>
          <a:custGeom>
            <a:avLst/>
            <a:gdLst>
              <a:gd name="T0" fmla="*/ 0 w 362"/>
              <a:gd name="T1" fmla="*/ 2147483647 h 383"/>
              <a:gd name="T2" fmla="*/ 2147483647 w 362"/>
              <a:gd name="T3" fmla="*/ 2147483647 h 383"/>
              <a:gd name="T4" fmla="*/ 2147483647 w 362"/>
              <a:gd name="T5" fmla="*/ 2147483647 h 383"/>
              <a:gd name="T6" fmla="*/ 2147483647 w 362"/>
              <a:gd name="T7" fmla="*/ 2147483647 h 383"/>
              <a:gd name="T8" fmla="*/ 2147483647 w 362"/>
              <a:gd name="T9" fmla="*/ 2147483647 h 383"/>
              <a:gd name="T10" fmla="*/ 2147483647 w 362"/>
              <a:gd name="T11" fmla="*/ 0 h 383"/>
              <a:gd name="T12" fmla="*/ 2147483647 w 362"/>
              <a:gd name="T13" fmla="*/ 0 h 383"/>
              <a:gd name="T14" fmla="*/ 2147483647 w 362"/>
              <a:gd name="T15" fmla="*/ 2147483647 h 383"/>
              <a:gd name="T16" fmla="*/ 2147483647 w 362"/>
              <a:gd name="T17" fmla="*/ 2147483647 h 383"/>
              <a:gd name="T18" fmla="*/ 2147483647 w 362"/>
              <a:gd name="T19" fmla="*/ 2147483647 h 383"/>
              <a:gd name="T20" fmla="*/ 2147483647 w 362"/>
              <a:gd name="T21" fmla="*/ 2147483647 h 383"/>
              <a:gd name="T22" fmla="*/ 2147483647 w 362"/>
              <a:gd name="T23" fmla="*/ 2147483647 h 383"/>
              <a:gd name="T24" fmla="*/ 2147483647 w 362"/>
              <a:gd name="T25" fmla="*/ 2147483647 h 383"/>
              <a:gd name="T26" fmla="*/ 2147483647 w 362"/>
              <a:gd name="T27" fmla="*/ 2147483647 h 383"/>
              <a:gd name="T28" fmla="*/ 2147483647 w 362"/>
              <a:gd name="T29" fmla="*/ 2147483647 h 383"/>
              <a:gd name="T30" fmla="*/ 2147483647 w 362"/>
              <a:gd name="T31" fmla="*/ 2147483647 h 383"/>
              <a:gd name="T32" fmla="*/ 2147483647 w 362"/>
              <a:gd name="T33" fmla="*/ 2147483647 h 383"/>
              <a:gd name="T34" fmla="*/ 2147483647 w 362"/>
              <a:gd name="T35" fmla="*/ 2147483647 h 383"/>
              <a:gd name="T36" fmla="*/ 2147483647 w 362"/>
              <a:gd name="T37" fmla="*/ 2147483647 h 383"/>
              <a:gd name="T38" fmla="*/ 2147483647 w 362"/>
              <a:gd name="T39" fmla="*/ 2147483647 h 383"/>
              <a:gd name="T40" fmla="*/ 2147483647 w 362"/>
              <a:gd name="T41" fmla="*/ 2147483647 h 383"/>
              <a:gd name="T42" fmla="*/ 2147483647 w 362"/>
              <a:gd name="T43" fmla="*/ 2147483647 h 383"/>
              <a:gd name="T44" fmla="*/ 2147483647 w 362"/>
              <a:gd name="T45" fmla="*/ 2147483647 h 383"/>
              <a:gd name="T46" fmla="*/ 2147483647 w 362"/>
              <a:gd name="T47" fmla="*/ 2147483647 h 383"/>
              <a:gd name="T48" fmla="*/ 2147483647 w 362"/>
              <a:gd name="T49" fmla="*/ 2147483647 h 383"/>
              <a:gd name="T50" fmla="*/ 2147483647 w 362"/>
              <a:gd name="T51" fmla="*/ 2147483647 h 383"/>
              <a:gd name="T52" fmla="*/ 2147483647 w 362"/>
              <a:gd name="T53" fmla="*/ 2147483647 h 383"/>
              <a:gd name="T54" fmla="*/ 2147483647 w 362"/>
              <a:gd name="T55" fmla="*/ 2147483647 h 383"/>
              <a:gd name="T56" fmla="*/ 2147483647 w 362"/>
              <a:gd name="T57" fmla="*/ 2147483647 h 383"/>
              <a:gd name="T58" fmla="*/ 2147483647 w 362"/>
              <a:gd name="T59" fmla="*/ 2147483647 h 383"/>
              <a:gd name="T60" fmla="*/ 2147483647 w 362"/>
              <a:gd name="T61" fmla="*/ 2147483647 h 383"/>
              <a:gd name="T62" fmla="*/ 2147483647 w 362"/>
              <a:gd name="T63" fmla="*/ 2147483647 h 383"/>
              <a:gd name="T64" fmla="*/ 2147483647 w 362"/>
              <a:gd name="T65" fmla="*/ 2147483647 h 383"/>
              <a:gd name="T66" fmla="*/ 2147483647 w 362"/>
              <a:gd name="T67" fmla="*/ 2147483647 h 383"/>
              <a:gd name="T68" fmla="*/ 2147483647 w 362"/>
              <a:gd name="T69" fmla="*/ 2147483647 h 383"/>
              <a:gd name="T70" fmla="*/ 2147483647 w 362"/>
              <a:gd name="T71" fmla="*/ 2147483647 h 383"/>
              <a:gd name="T72" fmla="*/ 2147483647 w 362"/>
              <a:gd name="T73" fmla="*/ 2147483647 h 383"/>
              <a:gd name="T74" fmla="*/ 2147483647 w 362"/>
              <a:gd name="T75" fmla="*/ 2147483647 h 383"/>
              <a:gd name="T76" fmla="*/ 2147483647 w 362"/>
              <a:gd name="T77" fmla="*/ 2147483647 h 383"/>
              <a:gd name="T78" fmla="*/ 0 w 362"/>
              <a:gd name="T79" fmla="*/ 2147483647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2"/>
              <a:gd name="T121" fmla="*/ 0 h 383"/>
              <a:gd name="T122" fmla="*/ 362 w 362"/>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2" h="383">
                <a:moveTo>
                  <a:pt x="0" y="140"/>
                </a:moveTo>
                <a:lnTo>
                  <a:pt x="15" y="97"/>
                </a:lnTo>
                <a:lnTo>
                  <a:pt x="15" y="66"/>
                </a:lnTo>
                <a:lnTo>
                  <a:pt x="31" y="39"/>
                </a:lnTo>
                <a:lnTo>
                  <a:pt x="36" y="23"/>
                </a:lnTo>
                <a:lnTo>
                  <a:pt x="119" y="0"/>
                </a:lnTo>
                <a:lnTo>
                  <a:pt x="155" y="0"/>
                </a:lnTo>
                <a:lnTo>
                  <a:pt x="175" y="8"/>
                </a:lnTo>
                <a:lnTo>
                  <a:pt x="199" y="39"/>
                </a:lnTo>
                <a:lnTo>
                  <a:pt x="198" y="44"/>
                </a:lnTo>
                <a:lnTo>
                  <a:pt x="205" y="57"/>
                </a:lnTo>
                <a:lnTo>
                  <a:pt x="205" y="120"/>
                </a:lnTo>
                <a:lnTo>
                  <a:pt x="208" y="126"/>
                </a:lnTo>
                <a:lnTo>
                  <a:pt x="244" y="138"/>
                </a:lnTo>
                <a:lnTo>
                  <a:pt x="273" y="131"/>
                </a:lnTo>
                <a:lnTo>
                  <a:pt x="298" y="141"/>
                </a:lnTo>
                <a:lnTo>
                  <a:pt x="304" y="152"/>
                </a:lnTo>
                <a:lnTo>
                  <a:pt x="308" y="199"/>
                </a:lnTo>
                <a:lnTo>
                  <a:pt x="313" y="210"/>
                </a:lnTo>
                <a:lnTo>
                  <a:pt x="324" y="215"/>
                </a:lnTo>
                <a:lnTo>
                  <a:pt x="353" y="211"/>
                </a:lnTo>
                <a:lnTo>
                  <a:pt x="357" y="215"/>
                </a:lnTo>
                <a:lnTo>
                  <a:pt x="362" y="241"/>
                </a:lnTo>
                <a:lnTo>
                  <a:pt x="353" y="292"/>
                </a:lnTo>
                <a:lnTo>
                  <a:pt x="345" y="335"/>
                </a:lnTo>
                <a:lnTo>
                  <a:pt x="304" y="375"/>
                </a:lnTo>
                <a:lnTo>
                  <a:pt x="254" y="383"/>
                </a:lnTo>
                <a:lnTo>
                  <a:pt x="227" y="371"/>
                </a:lnTo>
                <a:lnTo>
                  <a:pt x="185" y="367"/>
                </a:lnTo>
                <a:lnTo>
                  <a:pt x="186" y="356"/>
                </a:lnTo>
                <a:lnTo>
                  <a:pt x="187" y="345"/>
                </a:lnTo>
                <a:lnTo>
                  <a:pt x="214" y="299"/>
                </a:lnTo>
                <a:lnTo>
                  <a:pt x="211" y="281"/>
                </a:lnTo>
                <a:lnTo>
                  <a:pt x="180" y="256"/>
                </a:lnTo>
                <a:lnTo>
                  <a:pt x="131" y="227"/>
                </a:lnTo>
                <a:lnTo>
                  <a:pt x="80" y="216"/>
                </a:lnTo>
                <a:lnTo>
                  <a:pt x="70" y="200"/>
                </a:lnTo>
                <a:lnTo>
                  <a:pt x="39" y="178"/>
                </a:lnTo>
                <a:lnTo>
                  <a:pt x="13" y="144"/>
                </a:lnTo>
                <a:lnTo>
                  <a:pt x="0" y="140"/>
                </a:lnTo>
                <a:close/>
              </a:path>
            </a:pathLst>
          </a:custGeom>
          <a:solidFill>
            <a:schemeClr val="accent1"/>
          </a:solidFill>
          <a:ln w="6350">
            <a:solidFill>
              <a:schemeClr val="tx2"/>
            </a:solidFill>
            <a:round/>
            <a:headEnd/>
            <a:tailEnd/>
          </a:ln>
        </p:spPr>
        <p:txBody>
          <a:bodyPr/>
          <a:lstStyle/>
          <a:p>
            <a:endParaRPr lang="en-US"/>
          </a:p>
        </p:txBody>
      </p:sp>
      <p:sp>
        <p:nvSpPr>
          <p:cNvPr id="17" name="Freeform 1008"/>
          <p:cNvSpPr>
            <a:spLocks/>
          </p:cNvSpPr>
          <p:nvPr/>
        </p:nvSpPr>
        <p:spPr bwMode="auto">
          <a:xfrm>
            <a:off x="4319863" y="4372545"/>
            <a:ext cx="57334" cy="64958"/>
          </a:xfrm>
          <a:custGeom>
            <a:avLst/>
            <a:gdLst>
              <a:gd name="T0" fmla="*/ 2147483647 w 122"/>
              <a:gd name="T1" fmla="*/ 2147483647 h 158"/>
              <a:gd name="T2" fmla="*/ 2147483647 w 122"/>
              <a:gd name="T3" fmla="*/ 2147483647 h 158"/>
              <a:gd name="T4" fmla="*/ 2147483647 w 122"/>
              <a:gd name="T5" fmla="*/ 2147483647 h 158"/>
              <a:gd name="T6" fmla="*/ 2147483647 w 122"/>
              <a:gd name="T7" fmla="*/ 2147483647 h 158"/>
              <a:gd name="T8" fmla="*/ 2147483647 w 122"/>
              <a:gd name="T9" fmla="*/ 0 h 158"/>
              <a:gd name="T10" fmla="*/ 2147483647 w 122"/>
              <a:gd name="T11" fmla="*/ 2147483647 h 158"/>
              <a:gd name="T12" fmla="*/ 2147483647 w 122"/>
              <a:gd name="T13" fmla="*/ 2147483647 h 158"/>
              <a:gd name="T14" fmla="*/ 2147483647 w 122"/>
              <a:gd name="T15" fmla="*/ 2147483647 h 158"/>
              <a:gd name="T16" fmla="*/ 2147483647 w 122"/>
              <a:gd name="T17" fmla="*/ 2147483647 h 158"/>
              <a:gd name="T18" fmla="*/ 2147483647 w 122"/>
              <a:gd name="T19" fmla="*/ 2147483647 h 158"/>
              <a:gd name="T20" fmla="*/ 0 w 122"/>
              <a:gd name="T21" fmla="*/ 2147483647 h 158"/>
              <a:gd name="T22" fmla="*/ 2147483647 w 122"/>
              <a:gd name="T23" fmla="*/ 2147483647 h 158"/>
              <a:gd name="T24" fmla="*/ 2147483647 w 122"/>
              <a:gd name="T25" fmla="*/ 2147483647 h 158"/>
              <a:gd name="T26" fmla="*/ 2147483647 w 122"/>
              <a:gd name="T27" fmla="*/ 2147483647 h 158"/>
              <a:gd name="T28" fmla="*/ 2147483647 w 122"/>
              <a:gd name="T29" fmla="*/ 2147483647 h 158"/>
              <a:gd name="T30" fmla="*/ 2147483647 w 122"/>
              <a:gd name="T31" fmla="*/ 2147483647 h 158"/>
              <a:gd name="T32" fmla="*/ 2147483647 w 122"/>
              <a:gd name="T33" fmla="*/ 2147483647 h 1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2"/>
              <a:gd name="T52" fmla="*/ 0 h 158"/>
              <a:gd name="T53" fmla="*/ 122 w 122"/>
              <a:gd name="T54" fmla="*/ 158 h 1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2" h="158">
                <a:moveTo>
                  <a:pt x="122" y="68"/>
                </a:moveTo>
                <a:lnTo>
                  <a:pt x="121" y="59"/>
                </a:lnTo>
                <a:lnTo>
                  <a:pt x="114" y="51"/>
                </a:lnTo>
                <a:lnTo>
                  <a:pt x="77" y="23"/>
                </a:lnTo>
                <a:lnTo>
                  <a:pt x="27" y="0"/>
                </a:lnTo>
                <a:lnTo>
                  <a:pt x="17" y="6"/>
                </a:lnTo>
                <a:lnTo>
                  <a:pt x="2" y="28"/>
                </a:lnTo>
                <a:lnTo>
                  <a:pt x="3" y="59"/>
                </a:lnTo>
                <a:lnTo>
                  <a:pt x="18" y="87"/>
                </a:lnTo>
                <a:lnTo>
                  <a:pt x="11" y="130"/>
                </a:lnTo>
                <a:lnTo>
                  <a:pt x="0" y="143"/>
                </a:lnTo>
                <a:lnTo>
                  <a:pt x="17" y="158"/>
                </a:lnTo>
                <a:lnTo>
                  <a:pt x="36" y="150"/>
                </a:lnTo>
                <a:lnTo>
                  <a:pt x="59" y="151"/>
                </a:lnTo>
                <a:lnTo>
                  <a:pt x="83" y="130"/>
                </a:lnTo>
                <a:lnTo>
                  <a:pt x="92" y="108"/>
                </a:lnTo>
                <a:lnTo>
                  <a:pt x="122" y="68"/>
                </a:lnTo>
                <a:close/>
              </a:path>
            </a:pathLst>
          </a:custGeom>
          <a:solidFill>
            <a:schemeClr val="accent1"/>
          </a:solidFill>
          <a:ln w="6350">
            <a:solidFill>
              <a:schemeClr val="tx2"/>
            </a:solidFill>
            <a:round/>
            <a:headEnd/>
            <a:tailEnd/>
          </a:ln>
        </p:spPr>
        <p:txBody>
          <a:bodyPr/>
          <a:lstStyle/>
          <a:p>
            <a:endParaRPr lang="en-US"/>
          </a:p>
        </p:txBody>
      </p:sp>
      <p:sp>
        <p:nvSpPr>
          <p:cNvPr id="18" name="Freeform 1009"/>
          <p:cNvSpPr>
            <a:spLocks/>
          </p:cNvSpPr>
          <p:nvPr/>
        </p:nvSpPr>
        <p:spPr bwMode="auto">
          <a:xfrm>
            <a:off x="4236729" y="5034847"/>
            <a:ext cx="108933" cy="103166"/>
          </a:xfrm>
          <a:custGeom>
            <a:avLst/>
            <a:gdLst>
              <a:gd name="T0" fmla="*/ 2147483647 w 229"/>
              <a:gd name="T1" fmla="*/ 2147483647 h 246"/>
              <a:gd name="T2" fmla="*/ 2147483647 w 229"/>
              <a:gd name="T3" fmla="*/ 2147483647 h 246"/>
              <a:gd name="T4" fmla="*/ 2147483647 w 229"/>
              <a:gd name="T5" fmla="*/ 2147483647 h 246"/>
              <a:gd name="T6" fmla="*/ 2147483647 w 229"/>
              <a:gd name="T7" fmla="*/ 2147483647 h 246"/>
              <a:gd name="T8" fmla="*/ 2147483647 w 229"/>
              <a:gd name="T9" fmla="*/ 2147483647 h 246"/>
              <a:gd name="T10" fmla="*/ 2147483647 w 229"/>
              <a:gd name="T11" fmla="*/ 2147483647 h 246"/>
              <a:gd name="T12" fmla="*/ 0 w 229"/>
              <a:gd name="T13" fmla="*/ 2147483647 h 246"/>
              <a:gd name="T14" fmla="*/ 2147483647 w 229"/>
              <a:gd name="T15" fmla="*/ 2147483647 h 246"/>
              <a:gd name="T16" fmla="*/ 2147483647 w 229"/>
              <a:gd name="T17" fmla="*/ 2147483647 h 246"/>
              <a:gd name="T18" fmla="*/ 2147483647 w 229"/>
              <a:gd name="T19" fmla="*/ 2147483647 h 246"/>
              <a:gd name="T20" fmla="*/ 2147483647 w 229"/>
              <a:gd name="T21" fmla="*/ 2147483647 h 246"/>
              <a:gd name="T22" fmla="*/ 2147483647 w 229"/>
              <a:gd name="T23" fmla="*/ 2147483647 h 246"/>
              <a:gd name="T24" fmla="*/ 2147483647 w 229"/>
              <a:gd name="T25" fmla="*/ 2147483647 h 246"/>
              <a:gd name="T26" fmla="*/ 2147483647 w 229"/>
              <a:gd name="T27" fmla="*/ 2147483647 h 246"/>
              <a:gd name="T28" fmla="*/ 2147483647 w 229"/>
              <a:gd name="T29" fmla="*/ 2147483647 h 246"/>
              <a:gd name="T30" fmla="*/ 2147483647 w 229"/>
              <a:gd name="T31" fmla="*/ 2147483647 h 246"/>
              <a:gd name="T32" fmla="*/ 2147483647 w 229"/>
              <a:gd name="T33" fmla="*/ 2147483647 h 246"/>
              <a:gd name="T34" fmla="*/ 2147483647 w 229"/>
              <a:gd name="T35" fmla="*/ 2147483647 h 246"/>
              <a:gd name="T36" fmla="*/ 2147483647 w 229"/>
              <a:gd name="T37" fmla="*/ 2147483647 h 246"/>
              <a:gd name="T38" fmla="*/ 2147483647 w 229"/>
              <a:gd name="T39" fmla="*/ 2147483647 h 246"/>
              <a:gd name="T40" fmla="*/ 2147483647 w 229"/>
              <a:gd name="T41" fmla="*/ 2147483647 h 246"/>
              <a:gd name="T42" fmla="*/ 2147483647 w 229"/>
              <a:gd name="T43" fmla="*/ 2147483647 h 246"/>
              <a:gd name="T44" fmla="*/ 2147483647 w 229"/>
              <a:gd name="T45" fmla="*/ 2147483647 h 246"/>
              <a:gd name="T46" fmla="*/ 2147483647 w 229"/>
              <a:gd name="T47" fmla="*/ 2147483647 h 246"/>
              <a:gd name="T48" fmla="*/ 2147483647 w 229"/>
              <a:gd name="T49" fmla="*/ 2147483647 h 246"/>
              <a:gd name="T50" fmla="*/ 2147483647 w 229"/>
              <a:gd name="T51" fmla="*/ 2147483647 h 246"/>
              <a:gd name="T52" fmla="*/ 2147483647 w 229"/>
              <a:gd name="T53" fmla="*/ 2147483647 h 246"/>
              <a:gd name="T54" fmla="*/ 2147483647 w 229"/>
              <a:gd name="T55" fmla="*/ 2147483647 h 246"/>
              <a:gd name="T56" fmla="*/ 2147483647 w 229"/>
              <a:gd name="T57" fmla="*/ 0 h 246"/>
              <a:gd name="T58" fmla="*/ 2147483647 w 229"/>
              <a:gd name="T59" fmla="*/ 2147483647 h 246"/>
              <a:gd name="T60" fmla="*/ 2147483647 w 229"/>
              <a:gd name="T61" fmla="*/ 2147483647 h 2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9"/>
              <a:gd name="T94" fmla="*/ 0 h 246"/>
              <a:gd name="T95" fmla="*/ 229 w 229"/>
              <a:gd name="T96" fmla="*/ 246 h 2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9" h="246">
                <a:moveTo>
                  <a:pt x="34" y="8"/>
                </a:moveTo>
                <a:lnTo>
                  <a:pt x="25" y="21"/>
                </a:lnTo>
                <a:lnTo>
                  <a:pt x="23" y="68"/>
                </a:lnTo>
                <a:lnTo>
                  <a:pt x="15" y="95"/>
                </a:lnTo>
                <a:lnTo>
                  <a:pt x="14" y="142"/>
                </a:lnTo>
                <a:lnTo>
                  <a:pt x="3" y="164"/>
                </a:lnTo>
                <a:lnTo>
                  <a:pt x="0" y="198"/>
                </a:lnTo>
                <a:lnTo>
                  <a:pt x="5" y="198"/>
                </a:lnTo>
                <a:lnTo>
                  <a:pt x="22" y="220"/>
                </a:lnTo>
                <a:lnTo>
                  <a:pt x="52" y="222"/>
                </a:lnTo>
                <a:lnTo>
                  <a:pt x="96" y="242"/>
                </a:lnTo>
                <a:lnTo>
                  <a:pt x="127" y="239"/>
                </a:lnTo>
                <a:lnTo>
                  <a:pt x="154" y="246"/>
                </a:lnTo>
                <a:lnTo>
                  <a:pt x="186" y="230"/>
                </a:lnTo>
                <a:lnTo>
                  <a:pt x="217" y="185"/>
                </a:lnTo>
                <a:lnTo>
                  <a:pt x="213" y="179"/>
                </a:lnTo>
                <a:lnTo>
                  <a:pt x="215" y="155"/>
                </a:lnTo>
                <a:lnTo>
                  <a:pt x="229" y="134"/>
                </a:lnTo>
                <a:lnTo>
                  <a:pt x="209" y="117"/>
                </a:lnTo>
                <a:lnTo>
                  <a:pt x="201" y="94"/>
                </a:lnTo>
                <a:lnTo>
                  <a:pt x="179" y="84"/>
                </a:lnTo>
                <a:lnTo>
                  <a:pt x="166" y="68"/>
                </a:lnTo>
                <a:lnTo>
                  <a:pt x="142" y="59"/>
                </a:lnTo>
                <a:lnTo>
                  <a:pt x="125" y="37"/>
                </a:lnTo>
                <a:lnTo>
                  <a:pt x="115" y="46"/>
                </a:lnTo>
                <a:lnTo>
                  <a:pt x="105" y="46"/>
                </a:lnTo>
                <a:lnTo>
                  <a:pt x="100" y="27"/>
                </a:lnTo>
                <a:lnTo>
                  <a:pt x="70" y="2"/>
                </a:lnTo>
                <a:lnTo>
                  <a:pt x="61" y="0"/>
                </a:lnTo>
                <a:lnTo>
                  <a:pt x="50" y="9"/>
                </a:lnTo>
                <a:lnTo>
                  <a:pt x="34" y="8"/>
                </a:lnTo>
                <a:close/>
              </a:path>
            </a:pathLst>
          </a:custGeom>
          <a:solidFill>
            <a:schemeClr val="accent1"/>
          </a:solidFill>
          <a:ln w="6350">
            <a:solidFill>
              <a:schemeClr val="tx2"/>
            </a:solidFill>
            <a:round/>
            <a:headEnd/>
            <a:tailEnd/>
          </a:ln>
        </p:spPr>
        <p:txBody>
          <a:bodyPr/>
          <a:lstStyle/>
          <a:p>
            <a:endParaRPr lang="en-US"/>
          </a:p>
        </p:txBody>
      </p:sp>
      <p:sp>
        <p:nvSpPr>
          <p:cNvPr id="19" name="Freeform 1010"/>
          <p:cNvSpPr>
            <a:spLocks/>
          </p:cNvSpPr>
          <p:nvPr/>
        </p:nvSpPr>
        <p:spPr bwMode="auto">
          <a:xfrm>
            <a:off x="4010261" y="4646382"/>
            <a:ext cx="242234" cy="244542"/>
          </a:xfrm>
          <a:custGeom>
            <a:avLst/>
            <a:gdLst>
              <a:gd name="T0" fmla="*/ 2147483647 w 516"/>
              <a:gd name="T1" fmla="*/ 2147483647 h 591"/>
              <a:gd name="T2" fmla="*/ 2147483647 w 516"/>
              <a:gd name="T3" fmla="*/ 2147483647 h 591"/>
              <a:gd name="T4" fmla="*/ 2147483647 w 516"/>
              <a:gd name="T5" fmla="*/ 2147483647 h 591"/>
              <a:gd name="T6" fmla="*/ 2147483647 w 516"/>
              <a:gd name="T7" fmla="*/ 2147483647 h 591"/>
              <a:gd name="T8" fmla="*/ 2147483647 w 516"/>
              <a:gd name="T9" fmla="*/ 2147483647 h 591"/>
              <a:gd name="T10" fmla="*/ 2147483647 w 516"/>
              <a:gd name="T11" fmla="*/ 2147483647 h 591"/>
              <a:gd name="T12" fmla="*/ 2147483647 w 516"/>
              <a:gd name="T13" fmla="*/ 2147483647 h 591"/>
              <a:gd name="T14" fmla="*/ 2147483647 w 516"/>
              <a:gd name="T15" fmla="*/ 2147483647 h 591"/>
              <a:gd name="T16" fmla="*/ 2147483647 w 516"/>
              <a:gd name="T17" fmla="*/ 2147483647 h 591"/>
              <a:gd name="T18" fmla="*/ 2147483647 w 516"/>
              <a:gd name="T19" fmla="*/ 2147483647 h 591"/>
              <a:gd name="T20" fmla="*/ 2147483647 w 516"/>
              <a:gd name="T21" fmla="*/ 2147483647 h 591"/>
              <a:gd name="T22" fmla="*/ 2147483647 w 516"/>
              <a:gd name="T23" fmla="*/ 2147483647 h 591"/>
              <a:gd name="T24" fmla="*/ 2147483647 w 516"/>
              <a:gd name="T25" fmla="*/ 2147483647 h 591"/>
              <a:gd name="T26" fmla="*/ 2147483647 w 516"/>
              <a:gd name="T27" fmla="*/ 2147483647 h 591"/>
              <a:gd name="T28" fmla="*/ 2147483647 w 516"/>
              <a:gd name="T29" fmla="*/ 2147483647 h 591"/>
              <a:gd name="T30" fmla="*/ 2147483647 w 516"/>
              <a:gd name="T31" fmla="*/ 2147483647 h 591"/>
              <a:gd name="T32" fmla="*/ 2147483647 w 516"/>
              <a:gd name="T33" fmla="*/ 2147483647 h 591"/>
              <a:gd name="T34" fmla="*/ 2147483647 w 516"/>
              <a:gd name="T35" fmla="*/ 2147483647 h 591"/>
              <a:gd name="T36" fmla="*/ 2147483647 w 516"/>
              <a:gd name="T37" fmla="*/ 2147483647 h 591"/>
              <a:gd name="T38" fmla="*/ 2147483647 w 516"/>
              <a:gd name="T39" fmla="*/ 2147483647 h 591"/>
              <a:gd name="T40" fmla="*/ 2147483647 w 516"/>
              <a:gd name="T41" fmla="*/ 2147483647 h 591"/>
              <a:gd name="T42" fmla="*/ 2147483647 w 516"/>
              <a:gd name="T43" fmla="*/ 2147483647 h 591"/>
              <a:gd name="T44" fmla="*/ 2147483647 w 516"/>
              <a:gd name="T45" fmla="*/ 2147483647 h 591"/>
              <a:gd name="T46" fmla="*/ 2147483647 w 516"/>
              <a:gd name="T47" fmla="*/ 2147483647 h 591"/>
              <a:gd name="T48" fmla="*/ 2147483647 w 516"/>
              <a:gd name="T49" fmla="*/ 2147483647 h 591"/>
              <a:gd name="T50" fmla="*/ 2147483647 w 516"/>
              <a:gd name="T51" fmla="*/ 2147483647 h 591"/>
              <a:gd name="T52" fmla="*/ 2147483647 w 516"/>
              <a:gd name="T53" fmla="*/ 2147483647 h 591"/>
              <a:gd name="T54" fmla="*/ 2147483647 w 516"/>
              <a:gd name="T55" fmla="*/ 2147483647 h 591"/>
              <a:gd name="T56" fmla="*/ 2147483647 w 516"/>
              <a:gd name="T57" fmla="*/ 2147483647 h 591"/>
              <a:gd name="T58" fmla="*/ 2147483647 w 516"/>
              <a:gd name="T59" fmla="*/ 2147483647 h 591"/>
              <a:gd name="T60" fmla="*/ 2147483647 w 516"/>
              <a:gd name="T61" fmla="*/ 2147483647 h 591"/>
              <a:gd name="T62" fmla="*/ 2147483647 w 516"/>
              <a:gd name="T63" fmla="*/ 2147483647 h 591"/>
              <a:gd name="T64" fmla="*/ 2147483647 w 516"/>
              <a:gd name="T65" fmla="*/ 2147483647 h 591"/>
              <a:gd name="T66" fmla="*/ 2147483647 w 516"/>
              <a:gd name="T67" fmla="*/ 2147483647 h 5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591"/>
              <a:gd name="T104" fmla="*/ 516 w 516"/>
              <a:gd name="T105" fmla="*/ 591 h 5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591">
                <a:moveTo>
                  <a:pt x="0" y="53"/>
                </a:moveTo>
                <a:lnTo>
                  <a:pt x="55" y="58"/>
                </a:lnTo>
                <a:lnTo>
                  <a:pt x="93" y="42"/>
                </a:lnTo>
                <a:lnTo>
                  <a:pt x="129" y="6"/>
                </a:lnTo>
                <a:lnTo>
                  <a:pt x="183" y="0"/>
                </a:lnTo>
                <a:lnTo>
                  <a:pt x="189" y="8"/>
                </a:lnTo>
                <a:lnTo>
                  <a:pt x="191" y="22"/>
                </a:lnTo>
                <a:lnTo>
                  <a:pt x="191" y="46"/>
                </a:lnTo>
                <a:lnTo>
                  <a:pt x="185" y="69"/>
                </a:lnTo>
                <a:lnTo>
                  <a:pt x="196" y="97"/>
                </a:lnTo>
                <a:lnTo>
                  <a:pt x="224" y="117"/>
                </a:lnTo>
                <a:lnTo>
                  <a:pt x="275" y="125"/>
                </a:lnTo>
                <a:lnTo>
                  <a:pt x="287" y="140"/>
                </a:lnTo>
                <a:lnTo>
                  <a:pt x="322" y="150"/>
                </a:lnTo>
                <a:lnTo>
                  <a:pt x="340" y="164"/>
                </a:lnTo>
                <a:lnTo>
                  <a:pt x="368" y="164"/>
                </a:lnTo>
                <a:lnTo>
                  <a:pt x="383" y="173"/>
                </a:lnTo>
                <a:lnTo>
                  <a:pt x="393" y="185"/>
                </a:lnTo>
                <a:lnTo>
                  <a:pt x="404" y="220"/>
                </a:lnTo>
                <a:lnTo>
                  <a:pt x="403" y="240"/>
                </a:lnTo>
                <a:lnTo>
                  <a:pt x="395" y="244"/>
                </a:lnTo>
                <a:lnTo>
                  <a:pt x="412" y="288"/>
                </a:lnTo>
                <a:lnTo>
                  <a:pt x="486" y="294"/>
                </a:lnTo>
                <a:lnTo>
                  <a:pt x="484" y="317"/>
                </a:lnTo>
                <a:lnTo>
                  <a:pt x="487" y="332"/>
                </a:lnTo>
                <a:lnTo>
                  <a:pt x="503" y="339"/>
                </a:lnTo>
                <a:lnTo>
                  <a:pt x="516" y="373"/>
                </a:lnTo>
                <a:lnTo>
                  <a:pt x="515" y="414"/>
                </a:lnTo>
                <a:lnTo>
                  <a:pt x="506" y="440"/>
                </a:lnTo>
                <a:lnTo>
                  <a:pt x="508" y="459"/>
                </a:lnTo>
                <a:lnTo>
                  <a:pt x="500" y="463"/>
                </a:lnTo>
                <a:lnTo>
                  <a:pt x="476" y="432"/>
                </a:lnTo>
                <a:lnTo>
                  <a:pt x="456" y="424"/>
                </a:lnTo>
                <a:lnTo>
                  <a:pt x="420" y="424"/>
                </a:lnTo>
                <a:lnTo>
                  <a:pt x="337" y="447"/>
                </a:lnTo>
                <a:lnTo>
                  <a:pt x="332" y="463"/>
                </a:lnTo>
                <a:lnTo>
                  <a:pt x="316" y="490"/>
                </a:lnTo>
                <a:lnTo>
                  <a:pt x="316" y="521"/>
                </a:lnTo>
                <a:lnTo>
                  <a:pt x="301" y="564"/>
                </a:lnTo>
                <a:lnTo>
                  <a:pt x="283" y="552"/>
                </a:lnTo>
                <a:lnTo>
                  <a:pt x="241" y="549"/>
                </a:lnTo>
                <a:lnTo>
                  <a:pt x="231" y="580"/>
                </a:lnTo>
                <a:lnTo>
                  <a:pt x="213" y="561"/>
                </a:lnTo>
                <a:lnTo>
                  <a:pt x="166" y="554"/>
                </a:lnTo>
                <a:lnTo>
                  <a:pt x="152" y="539"/>
                </a:lnTo>
                <a:lnTo>
                  <a:pt x="108" y="589"/>
                </a:lnTo>
                <a:lnTo>
                  <a:pt x="86" y="591"/>
                </a:lnTo>
                <a:lnTo>
                  <a:pt x="74" y="587"/>
                </a:lnTo>
                <a:lnTo>
                  <a:pt x="59" y="500"/>
                </a:lnTo>
                <a:lnTo>
                  <a:pt x="47" y="488"/>
                </a:lnTo>
                <a:lnTo>
                  <a:pt x="47" y="475"/>
                </a:lnTo>
                <a:lnTo>
                  <a:pt x="38" y="468"/>
                </a:lnTo>
                <a:lnTo>
                  <a:pt x="40" y="454"/>
                </a:lnTo>
                <a:lnTo>
                  <a:pt x="48" y="449"/>
                </a:lnTo>
                <a:lnTo>
                  <a:pt x="49" y="426"/>
                </a:lnTo>
                <a:lnTo>
                  <a:pt x="29" y="407"/>
                </a:lnTo>
                <a:lnTo>
                  <a:pt x="24" y="369"/>
                </a:lnTo>
                <a:lnTo>
                  <a:pt x="3" y="348"/>
                </a:lnTo>
                <a:lnTo>
                  <a:pt x="0" y="338"/>
                </a:lnTo>
                <a:lnTo>
                  <a:pt x="29" y="301"/>
                </a:lnTo>
                <a:lnTo>
                  <a:pt x="28" y="289"/>
                </a:lnTo>
                <a:lnTo>
                  <a:pt x="13" y="273"/>
                </a:lnTo>
                <a:lnTo>
                  <a:pt x="13" y="256"/>
                </a:lnTo>
                <a:lnTo>
                  <a:pt x="24" y="241"/>
                </a:lnTo>
                <a:lnTo>
                  <a:pt x="14" y="220"/>
                </a:lnTo>
                <a:lnTo>
                  <a:pt x="29" y="209"/>
                </a:lnTo>
                <a:lnTo>
                  <a:pt x="29" y="138"/>
                </a:lnTo>
                <a:lnTo>
                  <a:pt x="40" y="119"/>
                </a:lnTo>
                <a:lnTo>
                  <a:pt x="0" y="53"/>
                </a:lnTo>
                <a:close/>
              </a:path>
            </a:pathLst>
          </a:custGeom>
          <a:solidFill>
            <a:schemeClr val="accent1"/>
          </a:solidFill>
          <a:ln w="6350">
            <a:solidFill>
              <a:schemeClr val="tx2"/>
            </a:solidFill>
            <a:round/>
            <a:headEnd/>
            <a:tailEnd/>
          </a:ln>
        </p:spPr>
        <p:txBody>
          <a:bodyPr/>
          <a:lstStyle/>
          <a:p>
            <a:endParaRPr lang="en-US"/>
          </a:p>
        </p:txBody>
      </p:sp>
      <p:sp>
        <p:nvSpPr>
          <p:cNvPr id="20" name="Freeform 1011"/>
          <p:cNvSpPr>
            <a:spLocks/>
          </p:cNvSpPr>
          <p:nvPr/>
        </p:nvSpPr>
        <p:spPr bwMode="auto">
          <a:xfrm>
            <a:off x="4150729" y="4822146"/>
            <a:ext cx="169135" cy="159207"/>
          </a:xfrm>
          <a:custGeom>
            <a:avLst/>
            <a:gdLst>
              <a:gd name="T0" fmla="*/ 2147483647 w 362"/>
              <a:gd name="T1" fmla="*/ 2147483647 h 383"/>
              <a:gd name="T2" fmla="*/ 2147483647 w 362"/>
              <a:gd name="T3" fmla="*/ 2147483647 h 383"/>
              <a:gd name="T4" fmla="*/ 2147483647 w 362"/>
              <a:gd name="T5" fmla="*/ 2147483647 h 383"/>
              <a:gd name="T6" fmla="*/ 2147483647 w 362"/>
              <a:gd name="T7" fmla="*/ 2147483647 h 383"/>
              <a:gd name="T8" fmla="*/ 2147483647 w 362"/>
              <a:gd name="T9" fmla="*/ 2147483647 h 383"/>
              <a:gd name="T10" fmla="*/ 2147483647 w 362"/>
              <a:gd name="T11" fmla="*/ 2147483647 h 383"/>
              <a:gd name="T12" fmla="*/ 2147483647 w 362"/>
              <a:gd name="T13" fmla="*/ 2147483647 h 383"/>
              <a:gd name="T14" fmla="*/ 2147483647 w 362"/>
              <a:gd name="T15" fmla="*/ 2147483647 h 383"/>
              <a:gd name="T16" fmla="*/ 2147483647 w 362"/>
              <a:gd name="T17" fmla="*/ 2147483647 h 383"/>
              <a:gd name="T18" fmla="*/ 2147483647 w 362"/>
              <a:gd name="T19" fmla="*/ 2147483647 h 383"/>
              <a:gd name="T20" fmla="*/ 2147483647 w 362"/>
              <a:gd name="T21" fmla="*/ 2147483647 h 383"/>
              <a:gd name="T22" fmla="*/ 2147483647 w 362"/>
              <a:gd name="T23" fmla="*/ 2147483647 h 383"/>
              <a:gd name="T24" fmla="*/ 2147483647 w 362"/>
              <a:gd name="T25" fmla="*/ 2147483647 h 383"/>
              <a:gd name="T26" fmla="*/ 2147483647 w 362"/>
              <a:gd name="T27" fmla="*/ 2147483647 h 383"/>
              <a:gd name="T28" fmla="*/ 2147483647 w 362"/>
              <a:gd name="T29" fmla="*/ 2147483647 h 383"/>
              <a:gd name="T30" fmla="*/ 2147483647 w 362"/>
              <a:gd name="T31" fmla="*/ 2147483647 h 383"/>
              <a:gd name="T32" fmla="*/ 2147483647 w 362"/>
              <a:gd name="T33" fmla="*/ 2147483647 h 383"/>
              <a:gd name="T34" fmla="*/ 2147483647 w 362"/>
              <a:gd name="T35" fmla="*/ 2147483647 h 383"/>
              <a:gd name="T36" fmla="*/ 2147483647 w 362"/>
              <a:gd name="T37" fmla="*/ 2147483647 h 383"/>
              <a:gd name="T38" fmla="*/ 2147483647 w 362"/>
              <a:gd name="T39" fmla="*/ 2147483647 h 383"/>
              <a:gd name="T40" fmla="*/ 2147483647 w 362"/>
              <a:gd name="T41" fmla="*/ 2147483647 h 383"/>
              <a:gd name="T42" fmla="*/ 2147483647 w 362"/>
              <a:gd name="T43" fmla="*/ 2147483647 h 383"/>
              <a:gd name="T44" fmla="*/ 2147483647 w 362"/>
              <a:gd name="T45" fmla="*/ 2147483647 h 383"/>
              <a:gd name="T46" fmla="*/ 2147483647 w 362"/>
              <a:gd name="T47" fmla="*/ 2147483647 h 383"/>
              <a:gd name="T48" fmla="*/ 2147483647 w 362"/>
              <a:gd name="T49" fmla="*/ 2147483647 h 383"/>
              <a:gd name="T50" fmla="*/ 2147483647 w 362"/>
              <a:gd name="T51" fmla="*/ 2147483647 h 383"/>
              <a:gd name="T52" fmla="*/ 2147483647 w 362"/>
              <a:gd name="T53" fmla="*/ 2147483647 h 383"/>
              <a:gd name="T54" fmla="*/ 2147483647 w 362"/>
              <a:gd name="T55" fmla="*/ 2147483647 h 383"/>
              <a:gd name="T56" fmla="*/ 2147483647 w 362"/>
              <a:gd name="T57" fmla="*/ 2147483647 h 383"/>
              <a:gd name="T58" fmla="*/ 2147483647 w 362"/>
              <a:gd name="T59" fmla="*/ 2147483647 h 383"/>
              <a:gd name="T60" fmla="*/ 2147483647 w 362"/>
              <a:gd name="T61" fmla="*/ 2147483647 h 383"/>
              <a:gd name="T62" fmla="*/ 0 w 362"/>
              <a:gd name="T63" fmla="*/ 2147483647 h 383"/>
              <a:gd name="T64" fmla="*/ 2147483647 w 362"/>
              <a:gd name="T65" fmla="*/ 2147483647 h 383"/>
              <a:gd name="T66" fmla="*/ 2147483647 w 362"/>
              <a:gd name="T67" fmla="*/ 2147483647 h 383"/>
              <a:gd name="T68" fmla="*/ 2147483647 w 362"/>
              <a:gd name="T69" fmla="*/ 2147483647 h 383"/>
              <a:gd name="T70" fmla="*/ 2147483647 w 362"/>
              <a:gd name="T71" fmla="*/ 2147483647 h 383"/>
              <a:gd name="T72" fmla="*/ 2147483647 w 362"/>
              <a:gd name="T73" fmla="*/ 0 h 383"/>
              <a:gd name="T74" fmla="*/ 2147483647 w 362"/>
              <a:gd name="T75" fmla="*/ 0 h 383"/>
              <a:gd name="T76" fmla="*/ 2147483647 w 362"/>
              <a:gd name="T77" fmla="*/ 2147483647 h 383"/>
              <a:gd name="T78" fmla="*/ 2147483647 w 362"/>
              <a:gd name="T79" fmla="*/ 2147483647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2"/>
              <a:gd name="T121" fmla="*/ 0 h 383"/>
              <a:gd name="T122" fmla="*/ 362 w 362"/>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2" h="383">
                <a:moveTo>
                  <a:pt x="199" y="39"/>
                </a:moveTo>
                <a:lnTo>
                  <a:pt x="198" y="44"/>
                </a:lnTo>
                <a:lnTo>
                  <a:pt x="205" y="57"/>
                </a:lnTo>
                <a:lnTo>
                  <a:pt x="205" y="120"/>
                </a:lnTo>
                <a:lnTo>
                  <a:pt x="208" y="126"/>
                </a:lnTo>
                <a:lnTo>
                  <a:pt x="244" y="138"/>
                </a:lnTo>
                <a:lnTo>
                  <a:pt x="273" y="131"/>
                </a:lnTo>
                <a:lnTo>
                  <a:pt x="298" y="141"/>
                </a:lnTo>
                <a:lnTo>
                  <a:pt x="304" y="152"/>
                </a:lnTo>
                <a:lnTo>
                  <a:pt x="308" y="199"/>
                </a:lnTo>
                <a:lnTo>
                  <a:pt x="313" y="210"/>
                </a:lnTo>
                <a:lnTo>
                  <a:pt x="324" y="215"/>
                </a:lnTo>
                <a:lnTo>
                  <a:pt x="353" y="211"/>
                </a:lnTo>
                <a:lnTo>
                  <a:pt x="357" y="215"/>
                </a:lnTo>
                <a:lnTo>
                  <a:pt x="362" y="241"/>
                </a:lnTo>
                <a:lnTo>
                  <a:pt x="353" y="292"/>
                </a:lnTo>
                <a:lnTo>
                  <a:pt x="345" y="335"/>
                </a:lnTo>
                <a:lnTo>
                  <a:pt x="304" y="375"/>
                </a:lnTo>
                <a:lnTo>
                  <a:pt x="254" y="383"/>
                </a:lnTo>
                <a:lnTo>
                  <a:pt x="227" y="371"/>
                </a:lnTo>
                <a:lnTo>
                  <a:pt x="185" y="367"/>
                </a:lnTo>
                <a:lnTo>
                  <a:pt x="186" y="356"/>
                </a:lnTo>
                <a:lnTo>
                  <a:pt x="187" y="345"/>
                </a:lnTo>
                <a:lnTo>
                  <a:pt x="214" y="299"/>
                </a:lnTo>
                <a:lnTo>
                  <a:pt x="211" y="281"/>
                </a:lnTo>
                <a:lnTo>
                  <a:pt x="180" y="256"/>
                </a:lnTo>
                <a:lnTo>
                  <a:pt x="131" y="227"/>
                </a:lnTo>
                <a:lnTo>
                  <a:pt x="80" y="216"/>
                </a:lnTo>
                <a:lnTo>
                  <a:pt x="70" y="200"/>
                </a:lnTo>
                <a:lnTo>
                  <a:pt x="39" y="178"/>
                </a:lnTo>
                <a:lnTo>
                  <a:pt x="13" y="144"/>
                </a:lnTo>
                <a:lnTo>
                  <a:pt x="0" y="140"/>
                </a:lnTo>
                <a:lnTo>
                  <a:pt x="15" y="97"/>
                </a:lnTo>
                <a:lnTo>
                  <a:pt x="15" y="66"/>
                </a:lnTo>
                <a:lnTo>
                  <a:pt x="31" y="39"/>
                </a:lnTo>
                <a:lnTo>
                  <a:pt x="36" y="23"/>
                </a:lnTo>
                <a:lnTo>
                  <a:pt x="119" y="0"/>
                </a:lnTo>
                <a:lnTo>
                  <a:pt x="155" y="0"/>
                </a:lnTo>
                <a:lnTo>
                  <a:pt x="175" y="8"/>
                </a:lnTo>
                <a:lnTo>
                  <a:pt x="199" y="39"/>
                </a:lnTo>
                <a:close/>
              </a:path>
            </a:pathLst>
          </a:custGeom>
          <a:solidFill>
            <a:schemeClr val="accent1"/>
          </a:solidFill>
          <a:ln w="6350">
            <a:solidFill>
              <a:schemeClr val="tx2"/>
            </a:solidFill>
            <a:round/>
            <a:headEnd/>
            <a:tailEnd/>
          </a:ln>
        </p:spPr>
        <p:txBody>
          <a:bodyPr/>
          <a:lstStyle/>
          <a:p>
            <a:endParaRPr lang="en-US"/>
          </a:p>
        </p:txBody>
      </p:sp>
      <p:sp>
        <p:nvSpPr>
          <p:cNvPr id="21" name="Freeform 1032"/>
          <p:cNvSpPr>
            <a:spLocks/>
          </p:cNvSpPr>
          <p:nvPr/>
        </p:nvSpPr>
        <p:spPr bwMode="auto">
          <a:xfrm>
            <a:off x="3574526" y="4462975"/>
            <a:ext cx="14334" cy="22926"/>
          </a:xfrm>
          <a:custGeom>
            <a:avLst/>
            <a:gdLst>
              <a:gd name="T0" fmla="*/ 2147483647 w 28"/>
              <a:gd name="T1" fmla="*/ 0 h 54"/>
              <a:gd name="T2" fmla="*/ 2147483647 w 28"/>
              <a:gd name="T3" fmla="*/ 2147483647 h 54"/>
              <a:gd name="T4" fmla="*/ 2147483647 w 28"/>
              <a:gd name="T5" fmla="*/ 2147483647 h 54"/>
              <a:gd name="T6" fmla="*/ 2147483647 w 28"/>
              <a:gd name="T7" fmla="*/ 2147483647 h 54"/>
              <a:gd name="T8" fmla="*/ 2147483647 w 28"/>
              <a:gd name="T9" fmla="*/ 2147483647 h 54"/>
              <a:gd name="T10" fmla="*/ 2147483647 w 28"/>
              <a:gd name="T11" fmla="*/ 2147483647 h 54"/>
              <a:gd name="T12" fmla="*/ 2147483647 w 28"/>
              <a:gd name="T13" fmla="*/ 2147483647 h 54"/>
              <a:gd name="T14" fmla="*/ 2147483647 w 28"/>
              <a:gd name="T15" fmla="*/ 2147483647 h 54"/>
              <a:gd name="T16" fmla="*/ 2147483647 w 28"/>
              <a:gd name="T17" fmla="*/ 2147483647 h 54"/>
              <a:gd name="T18" fmla="*/ 0 w 28"/>
              <a:gd name="T19" fmla="*/ 2147483647 h 54"/>
              <a:gd name="T20" fmla="*/ 0 w 28"/>
              <a:gd name="T21" fmla="*/ 2147483647 h 54"/>
              <a:gd name="T22" fmla="*/ 2147483647 w 28"/>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54"/>
              <a:gd name="T38" fmla="*/ 28 w 28"/>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54">
                <a:moveTo>
                  <a:pt x="10" y="0"/>
                </a:moveTo>
                <a:lnTo>
                  <a:pt x="14" y="18"/>
                </a:lnTo>
                <a:lnTo>
                  <a:pt x="22" y="26"/>
                </a:lnTo>
                <a:lnTo>
                  <a:pt x="28" y="42"/>
                </a:lnTo>
                <a:lnTo>
                  <a:pt x="21" y="51"/>
                </a:lnTo>
                <a:lnTo>
                  <a:pt x="12" y="54"/>
                </a:lnTo>
                <a:lnTo>
                  <a:pt x="6" y="51"/>
                </a:lnTo>
                <a:lnTo>
                  <a:pt x="4" y="42"/>
                </a:lnTo>
                <a:lnTo>
                  <a:pt x="16" y="27"/>
                </a:lnTo>
                <a:lnTo>
                  <a:pt x="0" y="9"/>
                </a:lnTo>
                <a:lnTo>
                  <a:pt x="0" y="4"/>
                </a:lnTo>
                <a:lnTo>
                  <a:pt x="10" y="0"/>
                </a:lnTo>
                <a:close/>
              </a:path>
            </a:pathLst>
          </a:custGeom>
          <a:solidFill>
            <a:schemeClr val="accent1"/>
          </a:solidFill>
          <a:ln w="6350">
            <a:solidFill>
              <a:schemeClr val="tx2"/>
            </a:solidFill>
            <a:round/>
            <a:headEnd/>
            <a:tailEnd/>
          </a:ln>
        </p:spPr>
        <p:txBody>
          <a:bodyPr/>
          <a:lstStyle/>
          <a:p>
            <a:endParaRPr lang="en-US"/>
          </a:p>
        </p:txBody>
      </p:sp>
      <p:sp>
        <p:nvSpPr>
          <p:cNvPr id="22" name="Freeform 1033"/>
          <p:cNvSpPr>
            <a:spLocks/>
          </p:cNvSpPr>
          <p:nvPr/>
        </p:nvSpPr>
        <p:spPr bwMode="auto">
          <a:xfrm>
            <a:off x="3588860" y="4469343"/>
            <a:ext cx="5734" cy="3821"/>
          </a:xfrm>
          <a:custGeom>
            <a:avLst/>
            <a:gdLst>
              <a:gd name="T0" fmla="*/ 2147483647 w 10"/>
              <a:gd name="T1" fmla="*/ 0 h 9"/>
              <a:gd name="T2" fmla="*/ 2147483647 w 10"/>
              <a:gd name="T3" fmla="*/ 0 h 9"/>
              <a:gd name="T4" fmla="*/ 0 w 10"/>
              <a:gd name="T5" fmla="*/ 2147483647 h 9"/>
              <a:gd name="T6" fmla="*/ 2147483647 w 10"/>
              <a:gd name="T7" fmla="*/ 2147483647 h 9"/>
              <a:gd name="T8" fmla="*/ 2147483647 w 10"/>
              <a:gd name="T9" fmla="*/ 2147483647 h 9"/>
              <a:gd name="T10" fmla="*/ 2147483647 w 10"/>
              <a:gd name="T11" fmla="*/ 0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7" y="0"/>
                </a:moveTo>
                <a:lnTo>
                  <a:pt x="2" y="0"/>
                </a:lnTo>
                <a:lnTo>
                  <a:pt x="0" y="7"/>
                </a:lnTo>
                <a:lnTo>
                  <a:pt x="8" y="9"/>
                </a:lnTo>
                <a:lnTo>
                  <a:pt x="10" y="3"/>
                </a:lnTo>
                <a:lnTo>
                  <a:pt x="7" y="0"/>
                </a:lnTo>
                <a:close/>
              </a:path>
            </a:pathLst>
          </a:custGeom>
          <a:solidFill>
            <a:schemeClr val="accent1"/>
          </a:solidFill>
          <a:ln w="6350">
            <a:solidFill>
              <a:schemeClr val="tx2"/>
            </a:solidFill>
            <a:round/>
            <a:headEnd/>
            <a:tailEnd/>
          </a:ln>
        </p:spPr>
        <p:txBody>
          <a:bodyPr/>
          <a:lstStyle/>
          <a:p>
            <a:endParaRPr lang="en-US"/>
          </a:p>
        </p:txBody>
      </p:sp>
      <p:sp>
        <p:nvSpPr>
          <p:cNvPr id="23" name="Freeform 1034"/>
          <p:cNvSpPr>
            <a:spLocks/>
          </p:cNvSpPr>
          <p:nvPr/>
        </p:nvSpPr>
        <p:spPr bwMode="auto">
          <a:xfrm>
            <a:off x="3597460" y="4475712"/>
            <a:ext cx="5734" cy="3820"/>
          </a:xfrm>
          <a:custGeom>
            <a:avLst/>
            <a:gdLst>
              <a:gd name="T0" fmla="*/ 2147483647 w 12"/>
              <a:gd name="T1" fmla="*/ 0 h 10"/>
              <a:gd name="T2" fmla="*/ 2147483647 w 12"/>
              <a:gd name="T3" fmla="*/ 2147483647 h 10"/>
              <a:gd name="T4" fmla="*/ 0 w 12"/>
              <a:gd name="T5" fmla="*/ 2147483647 h 10"/>
              <a:gd name="T6" fmla="*/ 2147483647 w 12"/>
              <a:gd name="T7" fmla="*/ 0 h 10"/>
              <a:gd name="T8" fmla="*/ 2147483647 w 12"/>
              <a:gd name="T9" fmla="*/ 0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2" y="0"/>
                </a:moveTo>
                <a:lnTo>
                  <a:pt x="8" y="10"/>
                </a:lnTo>
                <a:lnTo>
                  <a:pt x="0" y="7"/>
                </a:lnTo>
                <a:lnTo>
                  <a:pt x="3" y="0"/>
                </a:lnTo>
                <a:lnTo>
                  <a:pt x="12" y="0"/>
                </a:lnTo>
                <a:close/>
              </a:path>
            </a:pathLst>
          </a:custGeom>
          <a:solidFill>
            <a:schemeClr val="accent1"/>
          </a:solidFill>
          <a:ln w="6350">
            <a:solidFill>
              <a:schemeClr val="tx2"/>
            </a:solidFill>
            <a:round/>
            <a:headEnd/>
            <a:tailEnd/>
          </a:ln>
        </p:spPr>
        <p:txBody>
          <a:bodyPr/>
          <a:lstStyle/>
          <a:p>
            <a:endParaRPr lang="en-US"/>
          </a:p>
        </p:txBody>
      </p:sp>
      <p:sp>
        <p:nvSpPr>
          <p:cNvPr id="24" name="Freeform 1035"/>
          <p:cNvSpPr>
            <a:spLocks/>
          </p:cNvSpPr>
          <p:nvPr/>
        </p:nvSpPr>
        <p:spPr bwMode="auto">
          <a:xfrm>
            <a:off x="3611793" y="4479532"/>
            <a:ext cx="5734" cy="3821"/>
          </a:xfrm>
          <a:custGeom>
            <a:avLst/>
            <a:gdLst>
              <a:gd name="T0" fmla="*/ 2147483647 w 11"/>
              <a:gd name="T1" fmla="*/ 0 h 9"/>
              <a:gd name="T2" fmla="*/ 2147483647 w 11"/>
              <a:gd name="T3" fmla="*/ 2147483647 h 9"/>
              <a:gd name="T4" fmla="*/ 0 w 11"/>
              <a:gd name="T5" fmla="*/ 2147483647 h 9"/>
              <a:gd name="T6" fmla="*/ 2147483647 w 11"/>
              <a:gd name="T7" fmla="*/ 0 h 9"/>
              <a:gd name="T8" fmla="*/ 0 60000 65536"/>
              <a:gd name="T9" fmla="*/ 0 60000 65536"/>
              <a:gd name="T10" fmla="*/ 0 60000 65536"/>
              <a:gd name="T11" fmla="*/ 0 60000 65536"/>
              <a:gd name="T12" fmla="*/ 0 w 11"/>
              <a:gd name="T13" fmla="*/ 0 h 9"/>
              <a:gd name="T14" fmla="*/ 11 w 11"/>
              <a:gd name="T15" fmla="*/ 9 h 9"/>
            </a:gdLst>
            <a:ahLst/>
            <a:cxnLst>
              <a:cxn ang="T8">
                <a:pos x="T0" y="T1"/>
              </a:cxn>
              <a:cxn ang="T9">
                <a:pos x="T2" y="T3"/>
              </a:cxn>
              <a:cxn ang="T10">
                <a:pos x="T4" y="T5"/>
              </a:cxn>
              <a:cxn ang="T11">
                <a:pos x="T6" y="T7"/>
              </a:cxn>
            </a:cxnLst>
            <a:rect l="T12" t="T13" r="T14" b="T15"/>
            <a:pathLst>
              <a:path w="11" h="9">
                <a:moveTo>
                  <a:pt x="11" y="0"/>
                </a:moveTo>
                <a:lnTo>
                  <a:pt x="6" y="9"/>
                </a:lnTo>
                <a:lnTo>
                  <a:pt x="0" y="8"/>
                </a:lnTo>
                <a:lnTo>
                  <a:pt x="11" y="0"/>
                </a:lnTo>
                <a:close/>
              </a:path>
            </a:pathLst>
          </a:custGeom>
          <a:solidFill>
            <a:schemeClr val="accent1"/>
          </a:solidFill>
          <a:ln w="6350">
            <a:solidFill>
              <a:schemeClr val="tx2"/>
            </a:solidFill>
            <a:round/>
            <a:headEnd/>
            <a:tailEnd/>
          </a:ln>
        </p:spPr>
        <p:txBody>
          <a:bodyPr/>
          <a:lstStyle/>
          <a:p>
            <a:endParaRPr lang="en-US"/>
          </a:p>
        </p:txBody>
      </p:sp>
      <p:sp>
        <p:nvSpPr>
          <p:cNvPr id="25" name="Freeform 1073"/>
          <p:cNvSpPr>
            <a:spLocks/>
          </p:cNvSpPr>
          <p:nvPr/>
        </p:nvSpPr>
        <p:spPr bwMode="auto">
          <a:xfrm>
            <a:off x="4402996" y="4456606"/>
            <a:ext cx="11467" cy="8916"/>
          </a:xfrm>
          <a:custGeom>
            <a:avLst/>
            <a:gdLst>
              <a:gd name="T0" fmla="*/ 2147483647 w 25"/>
              <a:gd name="T1" fmla="*/ 0 h 20"/>
              <a:gd name="T2" fmla="*/ 0 w 25"/>
              <a:gd name="T3" fmla="*/ 2147483647 h 20"/>
              <a:gd name="T4" fmla="*/ 2147483647 w 25"/>
              <a:gd name="T5" fmla="*/ 2147483647 h 20"/>
              <a:gd name="T6" fmla="*/ 2147483647 w 25"/>
              <a:gd name="T7" fmla="*/ 2147483647 h 20"/>
              <a:gd name="T8" fmla="*/ 2147483647 w 25"/>
              <a:gd name="T9" fmla="*/ 2147483647 h 20"/>
              <a:gd name="T10" fmla="*/ 2147483647 w 25"/>
              <a:gd name="T11" fmla="*/ 0 h 20"/>
              <a:gd name="T12" fmla="*/ 0 60000 65536"/>
              <a:gd name="T13" fmla="*/ 0 60000 65536"/>
              <a:gd name="T14" fmla="*/ 0 60000 65536"/>
              <a:gd name="T15" fmla="*/ 0 60000 65536"/>
              <a:gd name="T16" fmla="*/ 0 60000 65536"/>
              <a:gd name="T17" fmla="*/ 0 60000 65536"/>
              <a:gd name="T18" fmla="*/ 0 w 25"/>
              <a:gd name="T19" fmla="*/ 0 h 20"/>
              <a:gd name="T20" fmla="*/ 25 w 2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25" h="20">
                <a:moveTo>
                  <a:pt x="6" y="0"/>
                </a:moveTo>
                <a:lnTo>
                  <a:pt x="0" y="6"/>
                </a:lnTo>
                <a:lnTo>
                  <a:pt x="5" y="17"/>
                </a:lnTo>
                <a:lnTo>
                  <a:pt x="24" y="20"/>
                </a:lnTo>
                <a:lnTo>
                  <a:pt x="25" y="14"/>
                </a:lnTo>
                <a:lnTo>
                  <a:pt x="6" y="0"/>
                </a:lnTo>
                <a:close/>
              </a:path>
            </a:pathLst>
          </a:custGeom>
          <a:solidFill>
            <a:schemeClr val="accent1"/>
          </a:solidFill>
          <a:ln w="6350">
            <a:solidFill>
              <a:schemeClr val="tx2"/>
            </a:solidFill>
            <a:round/>
            <a:headEnd/>
            <a:tailEnd/>
          </a:ln>
        </p:spPr>
        <p:txBody>
          <a:bodyPr/>
          <a:lstStyle/>
          <a:p>
            <a:endParaRPr lang="en-US"/>
          </a:p>
        </p:txBody>
      </p:sp>
      <p:sp>
        <p:nvSpPr>
          <p:cNvPr id="26" name="Freeform 1074"/>
          <p:cNvSpPr>
            <a:spLocks/>
          </p:cNvSpPr>
          <p:nvPr/>
        </p:nvSpPr>
        <p:spPr bwMode="auto">
          <a:xfrm>
            <a:off x="4417330" y="4465522"/>
            <a:ext cx="7166" cy="3820"/>
          </a:xfrm>
          <a:custGeom>
            <a:avLst/>
            <a:gdLst>
              <a:gd name="T0" fmla="*/ 2147483647 w 14"/>
              <a:gd name="T1" fmla="*/ 2147483647 h 8"/>
              <a:gd name="T2" fmla="*/ 0 w 14"/>
              <a:gd name="T3" fmla="*/ 2147483647 h 8"/>
              <a:gd name="T4" fmla="*/ 2147483647 w 14"/>
              <a:gd name="T5" fmla="*/ 0 h 8"/>
              <a:gd name="T6" fmla="*/ 2147483647 w 14"/>
              <a:gd name="T7" fmla="*/ 2147483647 h 8"/>
              <a:gd name="T8" fmla="*/ 2147483647 w 14"/>
              <a:gd name="T9" fmla="*/ 2147483647 h 8"/>
              <a:gd name="T10" fmla="*/ 0 60000 65536"/>
              <a:gd name="T11" fmla="*/ 0 60000 65536"/>
              <a:gd name="T12" fmla="*/ 0 60000 65536"/>
              <a:gd name="T13" fmla="*/ 0 60000 65536"/>
              <a:gd name="T14" fmla="*/ 0 60000 65536"/>
              <a:gd name="T15" fmla="*/ 0 w 14"/>
              <a:gd name="T16" fmla="*/ 0 h 8"/>
              <a:gd name="T17" fmla="*/ 14 w 14"/>
              <a:gd name="T18" fmla="*/ 8 h 8"/>
            </a:gdLst>
            <a:ahLst/>
            <a:cxnLst>
              <a:cxn ang="T10">
                <a:pos x="T0" y="T1"/>
              </a:cxn>
              <a:cxn ang="T11">
                <a:pos x="T2" y="T3"/>
              </a:cxn>
              <a:cxn ang="T12">
                <a:pos x="T4" y="T5"/>
              </a:cxn>
              <a:cxn ang="T13">
                <a:pos x="T6" y="T7"/>
              </a:cxn>
              <a:cxn ang="T14">
                <a:pos x="T8" y="T9"/>
              </a:cxn>
            </a:cxnLst>
            <a:rect l="T15" t="T16" r="T17" b="T18"/>
            <a:pathLst>
              <a:path w="14" h="8">
                <a:moveTo>
                  <a:pt x="13" y="6"/>
                </a:moveTo>
                <a:lnTo>
                  <a:pt x="0" y="8"/>
                </a:lnTo>
                <a:lnTo>
                  <a:pt x="9" y="0"/>
                </a:lnTo>
                <a:lnTo>
                  <a:pt x="14" y="1"/>
                </a:lnTo>
                <a:lnTo>
                  <a:pt x="13" y="6"/>
                </a:lnTo>
                <a:close/>
              </a:path>
            </a:pathLst>
          </a:custGeom>
          <a:solidFill>
            <a:schemeClr val="accent1"/>
          </a:solidFill>
          <a:ln w="6350">
            <a:solidFill>
              <a:schemeClr val="tx2"/>
            </a:solidFill>
            <a:round/>
            <a:headEnd/>
            <a:tailEnd/>
          </a:ln>
        </p:spPr>
        <p:txBody>
          <a:bodyPr/>
          <a:lstStyle/>
          <a:p>
            <a:endParaRPr lang="en-US"/>
          </a:p>
        </p:txBody>
      </p:sp>
      <p:sp>
        <p:nvSpPr>
          <p:cNvPr id="27" name="Freeform 1075"/>
          <p:cNvSpPr>
            <a:spLocks/>
          </p:cNvSpPr>
          <p:nvPr/>
        </p:nvSpPr>
        <p:spPr bwMode="auto">
          <a:xfrm>
            <a:off x="4398696" y="4471890"/>
            <a:ext cx="43001" cy="29294"/>
          </a:xfrm>
          <a:custGeom>
            <a:avLst/>
            <a:gdLst>
              <a:gd name="T0" fmla="*/ 2147483647 w 91"/>
              <a:gd name="T1" fmla="*/ 2147483647 h 69"/>
              <a:gd name="T2" fmla="*/ 2147483647 w 91"/>
              <a:gd name="T3" fmla="*/ 2147483647 h 69"/>
              <a:gd name="T4" fmla="*/ 2147483647 w 91"/>
              <a:gd name="T5" fmla="*/ 2147483647 h 69"/>
              <a:gd name="T6" fmla="*/ 2147483647 w 91"/>
              <a:gd name="T7" fmla="*/ 2147483647 h 69"/>
              <a:gd name="T8" fmla="*/ 2147483647 w 91"/>
              <a:gd name="T9" fmla="*/ 2147483647 h 69"/>
              <a:gd name="T10" fmla="*/ 2147483647 w 91"/>
              <a:gd name="T11" fmla="*/ 2147483647 h 69"/>
              <a:gd name="T12" fmla="*/ 0 w 91"/>
              <a:gd name="T13" fmla="*/ 2147483647 h 69"/>
              <a:gd name="T14" fmla="*/ 2147483647 w 91"/>
              <a:gd name="T15" fmla="*/ 2147483647 h 69"/>
              <a:gd name="T16" fmla="*/ 2147483647 w 91"/>
              <a:gd name="T17" fmla="*/ 2147483647 h 69"/>
              <a:gd name="T18" fmla="*/ 2147483647 w 91"/>
              <a:gd name="T19" fmla="*/ 0 h 69"/>
              <a:gd name="T20" fmla="*/ 2147483647 w 91"/>
              <a:gd name="T21" fmla="*/ 2147483647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69"/>
              <a:gd name="T35" fmla="*/ 91 w 91"/>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69">
                <a:moveTo>
                  <a:pt x="91" y="8"/>
                </a:moveTo>
                <a:lnTo>
                  <a:pt x="91" y="30"/>
                </a:lnTo>
                <a:lnTo>
                  <a:pt x="65" y="59"/>
                </a:lnTo>
                <a:lnTo>
                  <a:pt x="33" y="69"/>
                </a:lnTo>
                <a:lnTo>
                  <a:pt x="12" y="68"/>
                </a:lnTo>
                <a:lnTo>
                  <a:pt x="3" y="62"/>
                </a:lnTo>
                <a:lnTo>
                  <a:pt x="0" y="13"/>
                </a:lnTo>
                <a:lnTo>
                  <a:pt x="12" y="4"/>
                </a:lnTo>
                <a:lnTo>
                  <a:pt x="49" y="5"/>
                </a:lnTo>
                <a:lnTo>
                  <a:pt x="74" y="0"/>
                </a:lnTo>
                <a:lnTo>
                  <a:pt x="91" y="8"/>
                </a:lnTo>
                <a:close/>
              </a:path>
            </a:pathLst>
          </a:custGeom>
          <a:solidFill>
            <a:schemeClr val="accent1"/>
          </a:solidFill>
          <a:ln w="6350">
            <a:solidFill>
              <a:schemeClr val="tx2"/>
            </a:solidFill>
            <a:round/>
            <a:headEnd/>
            <a:tailEnd/>
          </a:ln>
        </p:spPr>
        <p:txBody>
          <a:bodyPr/>
          <a:lstStyle/>
          <a:p>
            <a:endParaRPr lang="en-US"/>
          </a:p>
        </p:txBody>
      </p:sp>
      <p:sp>
        <p:nvSpPr>
          <p:cNvPr id="28" name="Freeform 1076"/>
          <p:cNvSpPr>
            <a:spLocks/>
          </p:cNvSpPr>
          <p:nvPr/>
        </p:nvSpPr>
        <p:spPr bwMode="auto">
          <a:xfrm>
            <a:off x="4385797" y="4471890"/>
            <a:ext cx="8600" cy="12737"/>
          </a:xfrm>
          <a:custGeom>
            <a:avLst/>
            <a:gdLst>
              <a:gd name="T0" fmla="*/ 2147483647 w 24"/>
              <a:gd name="T1" fmla="*/ 2147483647 h 30"/>
              <a:gd name="T2" fmla="*/ 2147483647 w 24"/>
              <a:gd name="T3" fmla="*/ 2147483647 h 30"/>
              <a:gd name="T4" fmla="*/ 2147483647 w 24"/>
              <a:gd name="T5" fmla="*/ 2147483647 h 30"/>
              <a:gd name="T6" fmla="*/ 0 w 24"/>
              <a:gd name="T7" fmla="*/ 2147483647 h 30"/>
              <a:gd name="T8" fmla="*/ 2147483647 w 24"/>
              <a:gd name="T9" fmla="*/ 2147483647 h 30"/>
              <a:gd name="T10" fmla="*/ 2147483647 w 24"/>
              <a:gd name="T11" fmla="*/ 0 h 30"/>
              <a:gd name="T12" fmla="*/ 2147483647 w 24"/>
              <a:gd name="T13" fmla="*/ 2147483647 h 30"/>
              <a:gd name="T14" fmla="*/ 2147483647 w 24"/>
              <a:gd name="T15" fmla="*/ 2147483647 h 30"/>
              <a:gd name="T16" fmla="*/ 2147483647 w 24"/>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30"/>
              <a:gd name="T29" fmla="*/ 24 w 24"/>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30">
                <a:moveTo>
                  <a:pt x="24" y="12"/>
                </a:moveTo>
                <a:lnTo>
                  <a:pt x="9" y="29"/>
                </a:lnTo>
                <a:lnTo>
                  <a:pt x="4" y="30"/>
                </a:lnTo>
                <a:lnTo>
                  <a:pt x="0" y="21"/>
                </a:lnTo>
                <a:lnTo>
                  <a:pt x="9" y="5"/>
                </a:lnTo>
                <a:lnTo>
                  <a:pt x="24" y="0"/>
                </a:lnTo>
                <a:lnTo>
                  <a:pt x="15" y="10"/>
                </a:lnTo>
                <a:lnTo>
                  <a:pt x="22" y="9"/>
                </a:lnTo>
                <a:lnTo>
                  <a:pt x="24" y="12"/>
                </a:lnTo>
                <a:close/>
              </a:path>
            </a:pathLst>
          </a:custGeom>
          <a:solidFill>
            <a:schemeClr val="accent1"/>
          </a:solidFill>
          <a:ln w="6350">
            <a:solidFill>
              <a:schemeClr val="tx2"/>
            </a:solidFill>
            <a:round/>
            <a:headEnd/>
            <a:tailEnd/>
          </a:ln>
        </p:spPr>
        <p:txBody>
          <a:bodyPr/>
          <a:lstStyle/>
          <a:p>
            <a:endParaRPr lang="en-US"/>
          </a:p>
        </p:txBody>
      </p:sp>
      <p:sp>
        <p:nvSpPr>
          <p:cNvPr id="29" name="Freeform 1077"/>
          <p:cNvSpPr>
            <a:spLocks/>
          </p:cNvSpPr>
          <p:nvPr/>
        </p:nvSpPr>
        <p:spPr bwMode="auto">
          <a:xfrm>
            <a:off x="4400130" y="4465522"/>
            <a:ext cx="2866" cy="2547"/>
          </a:xfrm>
          <a:custGeom>
            <a:avLst/>
            <a:gdLst>
              <a:gd name="T0" fmla="*/ 2147483647 w 5"/>
              <a:gd name="T1" fmla="*/ 0 h 5"/>
              <a:gd name="T2" fmla="*/ 2147483647 w 5"/>
              <a:gd name="T3" fmla="*/ 2147483647 h 5"/>
              <a:gd name="T4" fmla="*/ 2147483647 w 5"/>
              <a:gd name="T5" fmla="*/ 2147483647 h 5"/>
              <a:gd name="T6" fmla="*/ 0 w 5"/>
              <a:gd name="T7" fmla="*/ 2147483647 h 5"/>
              <a:gd name="T8" fmla="*/ 2147483647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lnTo>
                  <a:pt x="5" y="5"/>
                </a:lnTo>
                <a:lnTo>
                  <a:pt x="1" y="5"/>
                </a:lnTo>
                <a:lnTo>
                  <a:pt x="0" y="1"/>
                </a:lnTo>
                <a:lnTo>
                  <a:pt x="4" y="0"/>
                </a:lnTo>
                <a:close/>
              </a:path>
            </a:pathLst>
          </a:custGeom>
          <a:solidFill>
            <a:schemeClr val="accent1"/>
          </a:solidFill>
          <a:ln w="6350">
            <a:solidFill>
              <a:schemeClr val="tx2"/>
            </a:solidFill>
            <a:round/>
            <a:headEnd/>
            <a:tailEnd/>
          </a:ln>
        </p:spPr>
        <p:txBody>
          <a:bodyPr/>
          <a:lstStyle/>
          <a:p>
            <a:endParaRPr lang="en-US"/>
          </a:p>
        </p:txBody>
      </p:sp>
      <p:sp>
        <p:nvSpPr>
          <p:cNvPr id="30" name="Freeform 1078"/>
          <p:cNvSpPr>
            <a:spLocks/>
          </p:cNvSpPr>
          <p:nvPr/>
        </p:nvSpPr>
        <p:spPr bwMode="auto">
          <a:xfrm>
            <a:off x="3934294" y="4867998"/>
            <a:ext cx="398469" cy="701784"/>
          </a:xfrm>
          <a:custGeom>
            <a:avLst/>
            <a:gdLst>
              <a:gd name="T0" fmla="*/ 2147483647 w 849"/>
              <a:gd name="T1" fmla="*/ 2147483647 h 1683"/>
              <a:gd name="T2" fmla="*/ 2147483647 w 849"/>
              <a:gd name="T3" fmla="*/ 2147483647 h 1683"/>
              <a:gd name="T4" fmla="*/ 2147483647 w 849"/>
              <a:gd name="T5" fmla="*/ 2147483647 h 1683"/>
              <a:gd name="T6" fmla="*/ 2147483647 w 849"/>
              <a:gd name="T7" fmla="*/ 2147483647 h 1683"/>
              <a:gd name="T8" fmla="*/ 2147483647 w 849"/>
              <a:gd name="T9" fmla="*/ 2147483647 h 1683"/>
              <a:gd name="T10" fmla="*/ 2147483647 w 849"/>
              <a:gd name="T11" fmla="*/ 2147483647 h 1683"/>
              <a:gd name="T12" fmla="*/ 2147483647 w 849"/>
              <a:gd name="T13" fmla="*/ 2147483647 h 1683"/>
              <a:gd name="T14" fmla="*/ 2147483647 w 849"/>
              <a:gd name="T15" fmla="*/ 2147483647 h 1683"/>
              <a:gd name="T16" fmla="*/ 2147483647 w 849"/>
              <a:gd name="T17" fmla="*/ 2147483647 h 1683"/>
              <a:gd name="T18" fmla="*/ 2147483647 w 849"/>
              <a:gd name="T19" fmla="*/ 2147483647 h 1683"/>
              <a:gd name="T20" fmla="*/ 2147483647 w 849"/>
              <a:gd name="T21" fmla="*/ 2147483647 h 1683"/>
              <a:gd name="T22" fmla="*/ 2147483647 w 849"/>
              <a:gd name="T23" fmla="*/ 2147483647 h 1683"/>
              <a:gd name="T24" fmla="*/ 2147483647 w 849"/>
              <a:gd name="T25" fmla="*/ 2147483647 h 1683"/>
              <a:gd name="T26" fmla="*/ 2147483647 w 849"/>
              <a:gd name="T27" fmla="*/ 2147483647 h 1683"/>
              <a:gd name="T28" fmla="*/ 2147483647 w 849"/>
              <a:gd name="T29" fmla="*/ 2147483647 h 1683"/>
              <a:gd name="T30" fmla="*/ 2147483647 w 849"/>
              <a:gd name="T31" fmla="*/ 2147483647 h 1683"/>
              <a:gd name="T32" fmla="*/ 2147483647 w 849"/>
              <a:gd name="T33" fmla="*/ 2147483647 h 1683"/>
              <a:gd name="T34" fmla="*/ 2147483647 w 849"/>
              <a:gd name="T35" fmla="*/ 2147483647 h 1683"/>
              <a:gd name="T36" fmla="*/ 2147483647 w 849"/>
              <a:gd name="T37" fmla="*/ 2147483647 h 1683"/>
              <a:gd name="T38" fmla="*/ 2147483647 w 849"/>
              <a:gd name="T39" fmla="*/ 2147483647 h 1683"/>
              <a:gd name="T40" fmla="*/ 2147483647 w 849"/>
              <a:gd name="T41" fmla="*/ 2147483647 h 1683"/>
              <a:gd name="T42" fmla="*/ 2147483647 w 849"/>
              <a:gd name="T43" fmla="*/ 2147483647 h 1683"/>
              <a:gd name="T44" fmla="*/ 2147483647 w 849"/>
              <a:gd name="T45" fmla="*/ 2147483647 h 1683"/>
              <a:gd name="T46" fmla="*/ 2147483647 w 849"/>
              <a:gd name="T47" fmla="*/ 2147483647 h 1683"/>
              <a:gd name="T48" fmla="*/ 2147483647 w 849"/>
              <a:gd name="T49" fmla="*/ 2147483647 h 1683"/>
              <a:gd name="T50" fmla="*/ 2147483647 w 849"/>
              <a:gd name="T51" fmla="*/ 2147483647 h 1683"/>
              <a:gd name="T52" fmla="*/ 2147483647 w 849"/>
              <a:gd name="T53" fmla="*/ 2147483647 h 1683"/>
              <a:gd name="T54" fmla="*/ 2147483647 w 849"/>
              <a:gd name="T55" fmla="*/ 2147483647 h 1683"/>
              <a:gd name="T56" fmla="*/ 2147483647 w 849"/>
              <a:gd name="T57" fmla="*/ 2147483647 h 1683"/>
              <a:gd name="T58" fmla="*/ 2147483647 w 849"/>
              <a:gd name="T59" fmla="*/ 2147483647 h 1683"/>
              <a:gd name="T60" fmla="*/ 2147483647 w 849"/>
              <a:gd name="T61" fmla="*/ 2147483647 h 1683"/>
              <a:gd name="T62" fmla="*/ 2147483647 w 849"/>
              <a:gd name="T63" fmla="*/ 2147483647 h 1683"/>
              <a:gd name="T64" fmla="*/ 2147483647 w 849"/>
              <a:gd name="T65" fmla="*/ 2147483647 h 1683"/>
              <a:gd name="T66" fmla="*/ 2147483647 w 849"/>
              <a:gd name="T67" fmla="*/ 2147483647 h 1683"/>
              <a:gd name="T68" fmla="*/ 2147483647 w 849"/>
              <a:gd name="T69" fmla="*/ 2147483647 h 1683"/>
              <a:gd name="T70" fmla="*/ 2147483647 w 849"/>
              <a:gd name="T71" fmla="*/ 2147483647 h 1683"/>
              <a:gd name="T72" fmla="*/ 2147483647 w 849"/>
              <a:gd name="T73" fmla="*/ 2147483647 h 1683"/>
              <a:gd name="T74" fmla="*/ 2147483647 w 849"/>
              <a:gd name="T75" fmla="*/ 2147483647 h 1683"/>
              <a:gd name="T76" fmla="*/ 2147483647 w 849"/>
              <a:gd name="T77" fmla="*/ 2147483647 h 1683"/>
              <a:gd name="T78" fmla="*/ 2147483647 w 849"/>
              <a:gd name="T79" fmla="*/ 2147483647 h 1683"/>
              <a:gd name="T80" fmla="*/ 2147483647 w 849"/>
              <a:gd name="T81" fmla="*/ 2147483647 h 1683"/>
              <a:gd name="T82" fmla="*/ 2147483647 w 849"/>
              <a:gd name="T83" fmla="*/ 2147483647 h 1683"/>
              <a:gd name="T84" fmla="*/ 2147483647 w 849"/>
              <a:gd name="T85" fmla="*/ 2147483647 h 1683"/>
              <a:gd name="T86" fmla="*/ 2147483647 w 849"/>
              <a:gd name="T87" fmla="*/ 2147483647 h 1683"/>
              <a:gd name="T88" fmla="*/ 2147483647 w 849"/>
              <a:gd name="T89" fmla="*/ 2147483647 h 1683"/>
              <a:gd name="T90" fmla="*/ 2147483647 w 849"/>
              <a:gd name="T91" fmla="*/ 2147483647 h 1683"/>
              <a:gd name="T92" fmla="*/ 2147483647 w 849"/>
              <a:gd name="T93" fmla="*/ 2147483647 h 1683"/>
              <a:gd name="T94" fmla="*/ 2147483647 w 849"/>
              <a:gd name="T95" fmla="*/ 2147483647 h 1683"/>
              <a:gd name="T96" fmla="*/ 2147483647 w 849"/>
              <a:gd name="T97" fmla="*/ 2147483647 h 1683"/>
              <a:gd name="T98" fmla="*/ 2147483647 w 849"/>
              <a:gd name="T99" fmla="*/ 2147483647 h 1683"/>
              <a:gd name="T100" fmla="*/ 2147483647 w 849"/>
              <a:gd name="T101" fmla="*/ 2147483647 h 1683"/>
              <a:gd name="T102" fmla="*/ 2147483647 w 849"/>
              <a:gd name="T103" fmla="*/ 2147483647 h 1683"/>
              <a:gd name="T104" fmla="*/ 2147483647 w 849"/>
              <a:gd name="T105" fmla="*/ 2147483647 h 1683"/>
              <a:gd name="T106" fmla="*/ 2147483647 w 849"/>
              <a:gd name="T107" fmla="*/ 2147483647 h 1683"/>
              <a:gd name="T108" fmla="*/ 2147483647 w 849"/>
              <a:gd name="T109" fmla="*/ 2147483647 h 1683"/>
              <a:gd name="T110" fmla="*/ 2147483647 w 849"/>
              <a:gd name="T111" fmla="*/ 2147483647 h 1683"/>
              <a:gd name="T112" fmla="*/ 2147483647 w 849"/>
              <a:gd name="T113" fmla="*/ 2147483647 h 1683"/>
              <a:gd name="T114" fmla="*/ 2147483647 w 849"/>
              <a:gd name="T115" fmla="*/ 2147483647 h 1683"/>
              <a:gd name="T116" fmla="*/ 2147483647 w 849"/>
              <a:gd name="T117" fmla="*/ 2147483647 h 1683"/>
              <a:gd name="T118" fmla="*/ 2147483647 w 849"/>
              <a:gd name="T119" fmla="*/ 2147483647 h 16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9"/>
              <a:gd name="T181" fmla="*/ 0 h 1683"/>
              <a:gd name="T182" fmla="*/ 849 w 849"/>
              <a:gd name="T183" fmla="*/ 1683 h 16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9" h="1683">
                <a:moveTo>
                  <a:pt x="216" y="1683"/>
                </a:moveTo>
                <a:lnTo>
                  <a:pt x="155" y="1665"/>
                </a:lnTo>
                <a:lnTo>
                  <a:pt x="55" y="1661"/>
                </a:lnTo>
                <a:lnTo>
                  <a:pt x="46" y="1643"/>
                </a:lnTo>
                <a:lnTo>
                  <a:pt x="44" y="1572"/>
                </a:lnTo>
                <a:lnTo>
                  <a:pt x="19" y="1571"/>
                </a:lnTo>
                <a:lnTo>
                  <a:pt x="5" y="1582"/>
                </a:lnTo>
                <a:lnTo>
                  <a:pt x="0" y="1539"/>
                </a:lnTo>
                <a:lnTo>
                  <a:pt x="6" y="1497"/>
                </a:lnTo>
                <a:lnTo>
                  <a:pt x="35" y="1450"/>
                </a:lnTo>
                <a:lnTo>
                  <a:pt x="44" y="1417"/>
                </a:lnTo>
                <a:lnTo>
                  <a:pt x="42" y="1375"/>
                </a:lnTo>
                <a:lnTo>
                  <a:pt x="62" y="1341"/>
                </a:lnTo>
                <a:lnTo>
                  <a:pt x="73" y="1309"/>
                </a:lnTo>
                <a:lnTo>
                  <a:pt x="74" y="1239"/>
                </a:lnTo>
                <a:lnTo>
                  <a:pt x="82" y="1217"/>
                </a:lnTo>
                <a:lnTo>
                  <a:pt x="63" y="1202"/>
                </a:lnTo>
                <a:lnTo>
                  <a:pt x="61" y="1194"/>
                </a:lnTo>
                <a:lnTo>
                  <a:pt x="86" y="1193"/>
                </a:lnTo>
                <a:lnTo>
                  <a:pt x="87" y="1187"/>
                </a:lnTo>
                <a:lnTo>
                  <a:pt x="81" y="1174"/>
                </a:lnTo>
                <a:lnTo>
                  <a:pt x="65" y="1170"/>
                </a:lnTo>
                <a:lnTo>
                  <a:pt x="67" y="1143"/>
                </a:lnTo>
                <a:lnTo>
                  <a:pt x="61" y="1123"/>
                </a:lnTo>
                <a:lnTo>
                  <a:pt x="61" y="1095"/>
                </a:lnTo>
                <a:lnTo>
                  <a:pt x="55" y="1088"/>
                </a:lnTo>
                <a:lnTo>
                  <a:pt x="55" y="1060"/>
                </a:lnTo>
                <a:lnTo>
                  <a:pt x="71" y="1023"/>
                </a:lnTo>
                <a:lnTo>
                  <a:pt x="71" y="1013"/>
                </a:lnTo>
                <a:lnTo>
                  <a:pt x="61" y="991"/>
                </a:lnTo>
                <a:lnTo>
                  <a:pt x="69" y="920"/>
                </a:lnTo>
                <a:lnTo>
                  <a:pt x="85" y="860"/>
                </a:lnTo>
                <a:lnTo>
                  <a:pt x="99" y="838"/>
                </a:lnTo>
                <a:lnTo>
                  <a:pt x="93" y="797"/>
                </a:lnTo>
                <a:lnTo>
                  <a:pt x="96" y="737"/>
                </a:lnTo>
                <a:lnTo>
                  <a:pt x="99" y="726"/>
                </a:lnTo>
                <a:lnTo>
                  <a:pt x="124" y="702"/>
                </a:lnTo>
                <a:lnTo>
                  <a:pt x="122" y="660"/>
                </a:lnTo>
                <a:lnTo>
                  <a:pt x="131" y="651"/>
                </a:lnTo>
                <a:lnTo>
                  <a:pt x="135" y="626"/>
                </a:lnTo>
                <a:lnTo>
                  <a:pt x="150" y="602"/>
                </a:lnTo>
                <a:lnTo>
                  <a:pt x="146" y="560"/>
                </a:lnTo>
                <a:lnTo>
                  <a:pt x="139" y="550"/>
                </a:lnTo>
                <a:lnTo>
                  <a:pt x="139" y="533"/>
                </a:lnTo>
                <a:lnTo>
                  <a:pt x="128" y="507"/>
                </a:lnTo>
                <a:lnTo>
                  <a:pt x="128" y="484"/>
                </a:lnTo>
                <a:lnTo>
                  <a:pt x="122" y="477"/>
                </a:lnTo>
                <a:lnTo>
                  <a:pt x="123" y="455"/>
                </a:lnTo>
                <a:lnTo>
                  <a:pt x="145" y="405"/>
                </a:lnTo>
                <a:lnTo>
                  <a:pt x="148" y="360"/>
                </a:lnTo>
                <a:lnTo>
                  <a:pt x="164" y="301"/>
                </a:lnTo>
                <a:lnTo>
                  <a:pt x="185" y="278"/>
                </a:lnTo>
                <a:lnTo>
                  <a:pt x="193" y="256"/>
                </a:lnTo>
                <a:lnTo>
                  <a:pt x="216" y="240"/>
                </a:lnTo>
                <a:lnTo>
                  <a:pt x="207" y="174"/>
                </a:lnTo>
                <a:lnTo>
                  <a:pt x="207" y="161"/>
                </a:lnTo>
                <a:lnTo>
                  <a:pt x="212" y="153"/>
                </a:lnTo>
                <a:lnTo>
                  <a:pt x="211" y="127"/>
                </a:lnTo>
                <a:lnTo>
                  <a:pt x="263" y="104"/>
                </a:lnTo>
                <a:lnTo>
                  <a:pt x="270" y="67"/>
                </a:lnTo>
                <a:lnTo>
                  <a:pt x="266" y="50"/>
                </a:lnTo>
                <a:lnTo>
                  <a:pt x="310" y="0"/>
                </a:lnTo>
                <a:lnTo>
                  <a:pt x="324" y="15"/>
                </a:lnTo>
                <a:lnTo>
                  <a:pt x="371" y="22"/>
                </a:lnTo>
                <a:lnTo>
                  <a:pt x="389" y="41"/>
                </a:lnTo>
                <a:lnTo>
                  <a:pt x="399" y="10"/>
                </a:lnTo>
                <a:lnTo>
                  <a:pt x="441" y="13"/>
                </a:lnTo>
                <a:lnTo>
                  <a:pt x="459" y="25"/>
                </a:lnTo>
                <a:lnTo>
                  <a:pt x="472" y="29"/>
                </a:lnTo>
                <a:lnTo>
                  <a:pt x="498" y="63"/>
                </a:lnTo>
                <a:lnTo>
                  <a:pt x="529" y="85"/>
                </a:lnTo>
                <a:lnTo>
                  <a:pt x="539" y="101"/>
                </a:lnTo>
                <a:lnTo>
                  <a:pt x="590" y="112"/>
                </a:lnTo>
                <a:lnTo>
                  <a:pt x="639" y="141"/>
                </a:lnTo>
                <a:lnTo>
                  <a:pt x="670" y="166"/>
                </a:lnTo>
                <a:lnTo>
                  <a:pt x="673" y="184"/>
                </a:lnTo>
                <a:lnTo>
                  <a:pt x="646" y="230"/>
                </a:lnTo>
                <a:lnTo>
                  <a:pt x="645" y="241"/>
                </a:lnTo>
                <a:lnTo>
                  <a:pt x="644" y="252"/>
                </a:lnTo>
                <a:lnTo>
                  <a:pt x="686" y="256"/>
                </a:lnTo>
                <a:lnTo>
                  <a:pt x="713" y="268"/>
                </a:lnTo>
                <a:lnTo>
                  <a:pt x="763" y="260"/>
                </a:lnTo>
                <a:lnTo>
                  <a:pt x="804" y="220"/>
                </a:lnTo>
                <a:lnTo>
                  <a:pt x="812" y="177"/>
                </a:lnTo>
                <a:lnTo>
                  <a:pt x="834" y="176"/>
                </a:lnTo>
                <a:lnTo>
                  <a:pt x="839" y="181"/>
                </a:lnTo>
                <a:lnTo>
                  <a:pt x="849" y="212"/>
                </a:lnTo>
                <a:lnTo>
                  <a:pt x="845" y="249"/>
                </a:lnTo>
                <a:lnTo>
                  <a:pt x="826" y="264"/>
                </a:lnTo>
                <a:lnTo>
                  <a:pt x="803" y="270"/>
                </a:lnTo>
                <a:lnTo>
                  <a:pt x="755" y="318"/>
                </a:lnTo>
                <a:lnTo>
                  <a:pt x="717" y="366"/>
                </a:lnTo>
                <a:lnTo>
                  <a:pt x="676" y="404"/>
                </a:lnTo>
                <a:lnTo>
                  <a:pt x="667" y="417"/>
                </a:lnTo>
                <a:lnTo>
                  <a:pt x="665" y="464"/>
                </a:lnTo>
                <a:lnTo>
                  <a:pt x="657" y="491"/>
                </a:lnTo>
                <a:lnTo>
                  <a:pt x="656" y="538"/>
                </a:lnTo>
                <a:lnTo>
                  <a:pt x="645" y="560"/>
                </a:lnTo>
                <a:lnTo>
                  <a:pt x="642" y="594"/>
                </a:lnTo>
                <a:lnTo>
                  <a:pt x="639" y="609"/>
                </a:lnTo>
                <a:lnTo>
                  <a:pt x="645" y="625"/>
                </a:lnTo>
                <a:lnTo>
                  <a:pt x="672" y="641"/>
                </a:lnTo>
                <a:lnTo>
                  <a:pt x="695" y="663"/>
                </a:lnTo>
                <a:lnTo>
                  <a:pt x="686" y="690"/>
                </a:lnTo>
                <a:lnTo>
                  <a:pt x="698" y="710"/>
                </a:lnTo>
                <a:lnTo>
                  <a:pt x="716" y="715"/>
                </a:lnTo>
                <a:lnTo>
                  <a:pt x="717" y="745"/>
                </a:lnTo>
                <a:lnTo>
                  <a:pt x="712" y="756"/>
                </a:lnTo>
                <a:lnTo>
                  <a:pt x="682" y="796"/>
                </a:lnTo>
                <a:lnTo>
                  <a:pt x="678" y="816"/>
                </a:lnTo>
                <a:lnTo>
                  <a:pt x="659" y="829"/>
                </a:lnTo>
                <a:lnTo>
                  <a:pt x="600" y="848"/>
                </a:lnTo>
                <a:lnTo>
                  <a:pt x="531" y="859"/>
                </a:lnTo>
                <a:lnTo>
                  <a:pt x="487" y="856"/>
                </a:lnTo>
                <a:lnTo>
                  <a:pt x="476" y="847"/>
                </a:lnTo>
                <a:lnTo>
                  <a:pt x="476" y="874"/>
                </a:lnTo>
                <a:lnTo>
                  <a:pt x="485" y="887"/>
                </a:lnTo>
                <a:lnTo>
                  <a:pt x="483" y="901"/>
                </a:lnTo>
                <a:lnTo>
                  <a:pt x="483" y="907"/>
                </a:lnTo>
                <a:lnTo>
                  <a:pt x="474" y="918"/>
                </a:lnTo>
                <a:lnTo>
                  <a:pt x="476" y="958"/>
                </a:lnTo>
                <a:lnTo>
                  <a:pt x="468" y="970"/>
                </a:lnTo>
                <a:lnTo>
                  <a:pt x="457" y="974"/>
                </a:lnTo>
                <a:lnTo>
                  <a:pt x="443" y="982"/>
                </a:lnTo>
                <a:lnTo>
                  <a:pt x="412" y="981"/>
                </a:lnTo>
                <a:lnTo>
                  <a:pt x="370" y="963"/>
                </a:lnTo>
                <a:lnTo>
                  <a:pt x="362" y="954"/>
                </a:lnTo>
                <a:lnTo>
                  <a:pt x="354" y="965"/>
                </a:lnTo>
                <a:lnTo>
                  <a:pt x="360" y="1033"/>
                </a:lnTo>
                <a:lnTo>
                  <a:pt x="382" y="1046"/>
                </a:lnTo>
                <a:lnTo>
                  <a:pt x="379" y="1051"/>
                </a:lnTo>
                <a:lnTo>
                  <a:pt x="383" y="1055"/>
                </a:lnTo>
                <a:lnTo>
                  <a:pt x="399" y="1051"/>
                </a:lnTo>
                <a:lnTo>
                  <a:pt x="391" y="1041"/>
                </a:lnTo>
                <a:lnTo>
                  <a:pt x="413" y="1034"/>
                </a:lnTo>
                <a:lnTo>
                  <a:pt x="419" y="1043"/>
                </a:lnTo>
                <a:lnTo>
                  <a:pt x="422" y="1063"/>
                </a:lnTo>
                <a:lnTo>
                  <a:pt x="415" y="1077"/>
                </a:lnTo>
                <a:lnTo>
                  <a:pt x="393" y="1077"/>
                </a:lnTo>
                <a:lnTo>
                  <a:pt x="393" y="1066"/>
                </a:lnTo>
                <a:lnTo>
                  <a:pt x="380" y="1059"/>
                </a:lnTo>
                <a:lnTo>
                  <a:pt x="360" y="1071"/>
                </a:lnTo>
                <a:lnTo>
                  <a:pt x="360" y="1077"/>
                </a:lnTo>
                <a:lnTo>
                  <a:pt x="392" y="1090"/>
                </a:lnTo>
                <a:lnTo>
                  <a:pt x="366" y="1104"/>
                </a:lnTo>
                <a:lnTo>
                  <a:pt x="362" y="1110"/>
                </a:lnTo>
                <a:lnTo>
                  <a:pt x="352" y="1124"/>
                </a:lnTo>
                <a:lnTo>
                  <a:pt x="352" y="1169"/>
                </a:lnTo>
                <a:lnTo>
                  <a:pt x="334" y="1191"/>
                </a:lnTo>
                <a:lnTo>
                  <a:pt x="337" y="1210"/>
                </a:lnTo>
                <a:lnTo>
                  <a:pt x="311" y="1208"/>
                </a:lnTo>
                <a:lnTo>
                  <a:pt x="297" y="1221"/>
                </a:lnTo>
                <a:lnTo>
                  <a:pt x="281" y="1224"/>
                </a:lnTo>
                <a:lnTo>
                  <a:pt x="253" y="1267"/>
                </a:lnTo>
                <a:lnTo>
                  <a:pt x="250" y="1279"/>
                </a:lnTo>
                <a:lnTo>
                  <a:pt x="262" y="1306"/>
                </a:lnTo>
                <a:lnTo>
                  <a:pt x="286" y="1331"/>
                </a:lnTo>
                <a:lnTo>
                  <a:pt x="325" y="1338"/>
                </a:lnTo>
                <a:lnTo>
                  <a:pt x="331" y="1343"/>
                </a:lnTo>
                <a:lnTo>
                  <a:pt x="333" y="1365"/>
                </a:lnTo>
                <a:lnTo>
                  <a:pt x="324" y="1377"/>
                </a:lnTo>
                <a:lnTo>
                  <a:pt x="328" y="1394"/>
                </a:lnTo>
                <a:lnTo>
                  <a:pt x="322" y="1396"/>
                </a:lnTo>
                <a:lnTo>
                  <a:pt x="321" y="1405"/>
                </a:lnTo>
                <a:lnTo>
                  <a:pt x="309" y="1409"/>
                </a:lnTo>
                <a:lnTo>
                  <a:pt x="252" y="1461"/>
                </a:lnTo>
                <a:lnTo>
                  <a:pt x="245" y="1476"/>
                </a:lnTo>
                <a:lnTo>
                  <a:pt x="243" y="1485"/>
                </a:lnTo>
                <a:lnTo>
                  <a:pt x="250" y="1480"/>
                </a:lnTo>
                <a:lnTo>
                  <a:pt x="240" y="1521"/>
                </a:lnTo>
                <a:lnTo>
                  <a:pt x="217" y="1532"/>
                </a:lnTo>
                <a:lnTo>
                  <a:pt x="204" y="1511"/>
                </a:lnTo>
                <a:lnTo>
                  <a:pt x="205" y="1525"/>
                </a:lnTo>
                <a:lnTo>
                  <a:pt x="213" y="1536"/>
                </a:lnTo>
                <a:lnTo>
                  <a:pt x="188" y="1555"/>
                </a:lnTo>
                <a:lnTo>
                  <a:pt x="171" y="1597"/>
                </a:lnTo>
                <a:lnTo>
                  <a:pt x="181" y="1595"/>
                </a:lnTo>
                <a:lnTo>
                  <a:pt x="189" y="1626"/>
                </a:lnTo>
                <a:lnTo>
                  <a:pt x="172" y="1633"/>
                </a:lnTo>
                <a:lnTo>
                  <a:pt x="189" y="1640"/>
                </a:lnTo>
                <a:lnTo>
                  <a:pt x="216" y="1683"/>
                </a:lnTo>
                <a:close/>
              </a:path>
            </a:pathLst>
          </a:custGeom>
          <a:solidFill>
            <a:schemeClr val="accent1"/>
          </a:solidFill>
          <a:ln w="6350">
            <a:solidFill>
              <a:schemeClr val="tx2"/>
            </a:solidFill>
            <a:round/>
            <a:headEnd/>
            <a:tailEnd/>
          </a:ln>
        </p:spPr>
        <p:txBody>
          <a:bodyPr/>
          <a:lstStyle/>
          <a:p>
            <a:endParaRPr lang="en-US"/>
          </a:p>
        </p:txBody>
      </p:sp>
      <p:sp>
        <p:nvSpPr>
          <p:cNvPr id="31" name="Freeform 1079"/>
          <p:cNvSpPr>
            <a:spLocks/>
          </p:cNvSpPr>
          <p:nvPr/>
        </p:nvSpPr>
        <p:spPr bwMode="auto">
          <a:xfrm>
            <a:off x="4030328" y="5579972"/>
            <a:ext cx="68800" cy="72599"/>
          </a:xfrm>
          <a:custGeom>
            <a:avLst/>
            <a:gdLst>
              <a:gd name="T0" fmla="*/ 2147483647 w 150"/>
              <a:gd name="T1" fmla="*/ 2147483647 h 175"/>
              <a:gd name="T2" fmla="*/ 0 w 150"/>
              <a:gd name="T3" fmla="*/ 0 h 175"/>
              <a:gd name="T4" fmla="*/ 2147483647 w 150"/>
              <a:gd name="T5" fmla="*/ 2147483647 h 175"/>
              <a:gd name="T6" fmla="*/ 2147483647 w 150"/>
              <a:gd name="T7" fmla="*/ 2147483647 h 175"/>
              <a:gd name="T8" fmla="*/ 2147483647 w 150"/>
              <a:gd name="T9" fmla="*/ 2147483647 h 175"/>
              <a:gd name="T10" fmla="*/ 2147483647 w 150"/>
              <a:gd name="T11" fmla="*/ 2147483647 h 175"/>
              <a:gd name="T12" fmla="*/ 2147483647 w 150"/>
              <a:gd name="T13" fmla="*/ 2147483647 h 175"/>
              <a:gd name="T14" fmla="*/ 2147483647 w 150"/>
              <a:gd name="T15" fmla="*/ 2147483647 h 175"/>
              <a:gd name="T16" fmla="*/ 2147483647 w 150"/>
              <a:gd name="T17" fmla="*/ 2147483647 h 175"/>
              <a:gd name="T18" fmla="*/ 2147483647 w 150"/>
              <a:gd name="T19" fmla="*/ 2147483647 h 175"/>
              <a:gd name="T20" fmla="*/ 2147483647 w 150"/>
              <a:gd name="T21" fmla="*/ 2147483647 h 175"/>
              <a:gd name="T22" fmla="*/ 2147483647 w 150"/>
              <a:gd name="T23" fmla="*/ 2147483647 h 175"/>
              <a:gd name="T24" fmla="*/ 2147483647 w 150"/>
              <a:gd name="T25" fmla="*/ 2147483647 h 175"/>
              <a:gd name="T26" fmla="*/ 2147483647 w 150"/>
              <a:gd name="T27" fmla="*/ 2147483647 h 1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0"/>
              <a:gd name="T43" fmla="*/ 0 h 175"/>
              <a:gd name="T44" fmla="*/ 150 w 150"/>
              <a:gd name="T45" fmla="*/ 175 h 1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0" h="175">
                <a:moveTo>
                  <a:pt x="3" y="163"/>
                </a:moveTo>
                <a:lnTo>
                  <a:pt x="0" y="0"/>
                </a:lnTo>
                <a:lnTo>
                  <a:pt x="21" y="33"/>
                </a:lnTo>
                <a:lnTo>
                  <a:pt x="13" y="30"/>
                </a:lnTo>
                <a:lnTo>
                  <a:pt x="7" y="37"/>
                </a:lnTo>
                <a:lnTo>
                  <a:pt x="33" y="76"/>
                </a:lnTo>
                <a:lnTo>
                  <a:pt x="110" y="139"/>
                </a:lnTo>
                <a:lnTo>
                  <a:pt x="150" y="151"/>
                </a:lnTo>
                <a:lnTo>
                  <a:pt x="146" y="164"/>
                </a:lnTo>
                <a:lnTo>
                  <a:pt x="136" y="169"/>
                </a:lnTo>
                <a:lnTo>
                  <a:pt x="121" y="165"/>
                </a:lnTo>
                <a:lnTo>
                  <a:pt x="100" y="175"/>
                </a:lnTo>
                <a:lnTo>
                  <a:pt x="25" y="157"/>
                </a:lnTo>
                <a:lnTo>
                  <a:pt x="3" y="163"/>
                </a:lnTo>
                <a:close/>
              </a:path>
            </a:pathLst>
          </a:custGeom>
          <a:solidFill>
            <a:schemeClr val="accent1"/>
          </a:solidFill>
          <a:ln w="6350">
            <a:solidFill>
              <a:schemeClr val="tx2"/>
            </a:solidFill>
            <a:round/>
            <a:headEnd/>
            <a:tailEnd/>
          </a:ln>
        </p:spPr>
        <p:txBody>
          <a:bodyPr/>
          <a:lstStyle/>
          <a:p>
            <a:endParaRPr lang="en-US"/>
          </a:p>
        </p:txBody>
      </p:sp>
      <p:sp>
        <p:nvSpPr>
          <p:cNvPr id="32" name="Freeform 1080"/>
          <p:cNvSpPr>
            <a:spLocks/>
          </p:cNvSpPr>
          <p:nvPr/>
        </p:nvSpPr>
        <p:spPr bwMode="auto">
          <a:xfrm>
            <a:off x="4036062" y="5648749"/>
            <a:ext cx="25800" cy="12737"/>
          </a:xfrm>
          <a:custGeom>
            <a:avLst/>
            <a:gdLst>
              <a:gd name="T0" fmla="*/ 2147483647 w 53"/>
              <a:gd name="T1" fmla="*/ 2147483647 h 31"/>
              <a:gd name="T2" fmla="*/ 0 w 53"/>
              <a:gd name="T3" fmla="*/ 2147483647 h 31"/>
              <a:gd name="T4" fmla="*/ 2147483647 w 53"/>
              <a:gd name="T5" fmla="*/ 0 h 31"/>
              <a:gd name="T6" fmla="*/ 2147483647 w 53"/>
              <a:gd name="T7" fmla="*/ 2147483647 h 31"/>
              <a:gd name="T8" fmla="*/ 2147483647 w 53"/>
              <a:gd name="T9" fmla="*/ 2147483647 h 31"/>
              <a:gd name="T10" fmla="*/ 2147483647 w 53"/>
              <a:gd name="T11" fmla="*/ 2147483647 h 31"/>
              <a:gd name="T12" fmla="*/ 2147483647 w 53"/>
              <a:gd name="T13" fmla="*/ 2147483647 h 31"/>
              <a:gd name="T14" fmla="*/ 2147483647 w 53"/>
              <a:gd name="T15" fmla="*/ 2147483647 h 31"/>
              <a:gd name="T16" fmla="*/ 2147483647 w 53"/>
              <a:gd name="T17" fmla="*/ 2147483647 h 31"/>
              <a:gd name="T18" fmla="*/ 2147483647 w 53"/>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31"/>
              <a:gd name="T32" fmla="*/ 53 w 53"/>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31">
                <a:moveTo>
                  <a:pt x="8" y="7"/>
                </a:moveTo>
                <a:lnTo>
                  <a:pt x="0" y="3"/>
                </a:lnTo>
                <a:lnTo>
                  <a:pt x="21" y="0"/>
                </a:lnTo>
                <a:lnTo>
                  <a:pt x="48" y="5"/>
                </a:lnTo>
                <a:lnTo>
                  <a:pt x="53" y="22"/>
                </a:lnTo>
                <a:lnTo>
                  <a:pt x="45" y="31"/>
                </a:lnTo>
                <a:lnTo>
                  <a:pt x="34" y="23"/>
                </a:lnTo>
                <a:lnTo>
                  <a:pt x="26" y="26"/>
                </a:lnTo>
                <a:lnTo>
                  <a:pt x="11" y="21"/>
                </a:lnTo>
                <a:lnTo>
                  <a:pt x="8" y="7"/>
                </a:lnTo>
                <a:close/>
              </a:path>
            </a:pathLst>
          </a:custGeom>
          <a:solidFill>
            <a:schemeClr val="accent1"/>
          </a:solidFill>
          <a:ln w="6350">
            <a:solidFill>
              <a:schemeClr val="tx2"/>
            </a:solidFill>
            <a:round/>
            <a:headEnd/>
            <a:tailEnd/>
          </a:ln>
        </p:spPr>
        <p:txBody>
          <a:bodyPr/>
          <a:lstStyle/>
          <a:p>
            <a:endParaRPr lang="en-US"/>
          </a:p>
        </p:txBody>
      </p:sp>
      <p:sp>
        <p:nvSpPr>
          <p:cNvPr id="33" name="Freeform 1081"/>
          <p:cNvSpPr>
            <a:spLocks/>
          </p:cNvSpPr>
          <p:nvPr/>
        </p:nvSpPr>
        <p:spPr bwMode="auto">
          <a:xfrm>
            <a:off x="4112028" y="5643654"/>
            <a:ext cx="20066" cy="5095"/>
          </a:xfrm>
          <a:custGeom>
            <a:avLst/>
            <a:gdLst>
              <a:gd name="T0" fmla="*/ 2147483647 w 40"/>
              <a:gd name="T1" fmla="*/ 2147483647 h 12"/>
              <a:gd name="T2" fmla="*/ 2147483647 w 40"/>
              <a:gd name="T3" fmla="*/ 0 h 12"/>
              <a:gd name="T4" fmla="*/ 2147483647 w 40"/>
              <a:gd name="T5" fmla="*/ 2147483647 h 12"/>
              <a:gd name="T6" fmla="*/ 0 w 40"/>
              <a:gd name="T7" fmla="*/ 2147483647 h 12"/>
              <a:gd name="T8" fmla="*/ 2147483647 w 40"/>
              <a:gd name="T9" fmla="*/ 2147483647 h 12"/>
              <a:gd name="T10" fmla="*/ 0 60000 65536"/>
              <a:gd name="T11" fmla="*/ 0 60000 65536"/>
              <a:gd name="T12" fmla="*/ 0 60000 65536"/>
              <a:gd name="T13" fmla="*/ 0 60000 65536"/>
              <a:gd name="T14" fmla="*/ 0 60000 65536"/>
              <a:gd name="T15" fmla="*/ 0 w 40"/>
              <a:gd name="T16" fmla="*/ 0 h 12"/>
              <a:gd name="T17" fmla="*/ 40 w 40"/>
              <a:gd name="T18" fmla="*/ 12 h 12"/>
            </a:gdLst>
            <a:ahLst/>
            <a:cxnLst>
              <a:cxn ang="T10">
                <a:pos x="T0" y="T1"/>
              </a:cxn>
              <a:cxn ang="T11">
                <a:pos x="T2" y="T3"/>
              </a:cxn>
              <a:cxn ang="T12">
                <a:pos x="T4" y="T5"/>
              </a:cxn>
              <a:cxn ang="T13">
                <a:pos x="T6" y="T7"/>
              </a:cxn>
              <a:cxn ang="T14">
                <a:pos x="T8" y="T9"/>
              </a:cxn>
            </a:cxnLst>
            <a:rect l="T15" t="T16" r="T17" b="T18"/>
            <a:pathLst>
              <a:path w="40" h="12">
                <a:moveTo>
                  <a:pt x="9" y="4"/>
                </a:moveTo>
                <a:lnTo>
                  <a:pt x="40" y="0"/>
                </a:lnTo>
                <a:lnTo>
                  <a:pt x="9" y="12"/>
                </a:lnTo>
                <a:lnTo>
                  <a:pt x="0" y="11"/>
                </a:lnTo>
                <a:lnTo>
                  <a:pt x="9" y="4"/>
                </a:lnTo>
                <a:close/>
              </a:path>
            </a:pathLst>
          </a:custGeom>
          <a:solidFill>
            <a:schemeClr val="accent1"/>
          </a:solidFill>
          <a:ln w="6350">
            <a:solidFill>
              <a:schemeClr val="tx2"/>
            </a:solidFill>
            <a:round/>
            <a:headEnd/>
            <a:tailEnd/>
          </a:ln>
        </p:spPr>
        <p:txBody>
          <a:bodyPr/>
          <a:lstStyle/>
          <a:p>
            <a:endParaRPr lang="en-US"/>
          </a:p>
        </p:txBody>
      </p:sp>
      <p:sp>
        <p:nvSpPr>
          <p:cNvPr id="34" name="Freeform 1082"/>
          <p:cNvSpPr>
            <a:spLocks/>
          </p:cNvSpPr>
          <p:nvPr/>
        </p:nvSpPr>
        <p:spPr bwMode="auto">
          <a:xfrm>
            <a:off x="4187996" y="5543035"/>
            <a:ext cx="34400" cy="25473"/>
          </a:xfrm>
          <a:custGeom>
            <a:avLst/>
            <a:gdLst>
              <a:gd name="T0" fmla="*/ 2147483647 w 74"/>
              <a:gd name="T1" fmla="*/ 2147483647 h 60"/>
              <a:gd name="T2" fmla="*/ 2147483647 w 74"/>
              <a:gd name="T3" fmla="*/ 2147483647 h 60"/>
              <a:gd name="T4" fmla="*/ 2147483647 w 74"/>
              <a:gd name="T5" fmla="*/ 2147483647 h 60"/>
              <a:gd name="T6" fmla="*/ 2147483647 w 74"/>
              <a:gd name="T7" fmla="*/ 2147483647 h 60"/>
              <a:gd name="T8" fmla="*/ 2147483647 w 74"/>
              <a:gd name="T9" fmla="*/ 2147483647 h 60"/>
              <a:gd name="T10" fmla="*/ 2147483647 w 74"/>
              <a:gd name="T11" fmla="*/ 2147483647 h 60"/>
              <a:gd name="T12" fmla="*/ 2147483647 w 74"/>
              <a:gd name="T13" fmla="*/ 2147483647 h 60"/>
              <a:gd name="T14" fmla="*/ 0 w 74"/>
              <a:gd name="T15" fmla="*/ 2147483647 h 60"/>
              <a:gd name="T16" fmla="*/ 2147483647 w 74"/>
              <a:gd name="T17" fmla="*/ 2147483647 h 60"/>
              <a:gd name="T18" fmla="*/ 2147483647 w 74"/>
              <a:gd name="T19" fmla="*/ 2147483647 h 60"/>
              <a:gd name="T20" fmla="*/ 2147483647 w 74"/>
              <a:gd name="T21" fmla="*/ 2147483647 h 60"/>
              <a:gd name="T22" fmla="*/ 2147483647 w 74"/>
              <a:gd name="T23" fmla="*/ 2147483647 h 60"/>
              <a:gd name="T24" fmla="*/ 2147483647 w 74"/>
              <a:gd name="T25" fmla="*/ 2147483647 h 60"/>
              <a:gd name="T26" fmla="*/ 2147483647 w 74"/>
              <a:gd name="T27" fmla="*/ 0 h 60"/>
              <a:gd name="T28" fmla="*/ 2147483647 w 74"/>
              <a:gd name="T29" fmla="*/ 2147483647 h 60"/>
              <a:gd name="T30" fmla="*/ 2147483647 w 74"/>
              <a:gd name="T31" fmla="*/ 2147483647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60"/>
              <a:gd name="T50" fmla="*/ 74 w 74"/>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60">
                <a:moveTo>
                  <a:pt x="67" y="3"/>
                </a:moveTo>
                <a:lnTo>
                  <a:pt x="74" y="8"/>
                </a:lnTo>
                <a:lnTo>
                  <a:pt x="70" y="16"/>
                </a:lnTo>
                <a:lnTo>
                  <a:pt x="49" y="43"/>
                </a:lnTo>
                <a:lnTo>
                  <a:pt x="31" y="44"/>
                </a:lnTo>
                <a:lnTo>
                  <a:pt x="31" y="52"/>
                </a:lnTo>
                <a:lnTo>
                  <a:pt x="15" y="60"/>
                </a:lnTo>
                <a:lnTo>
                  <a:pt x="0" y="48"/>
                </a:lnTo>
                <a:lnTo>
                  <a:pt x="19" y="43"/>
                </a:lnTo>
                <a:lnTo>
                  <a:pt x="23" y="32"/>
                </a:lnTo>
                <a:lnTo>
                  <a:pt x="40" y="24"/>
                </a:lnTo>
                <a:lnTo>
                  <a:pt x="21" y="10"/>
                </a:lnTo>
                <a:lnTo>
                  <a:pt x="24" y="8"/>
                </a:lnTo>
                <a:lnTo>
                  <a:pt x="16" y="0"/>
                </a:lnTo>
                <a:lnTo>
                  <a:pt x="36" y="8"/>
                </a:lnTo>
                <a:lnTo>
                  <a:pt x="67" y="3"/>
                </a:lnTo>
                <a:close/>
              </a:path>
            </a:pathLst>
          </a:custGeom>
          <a:solidFill>
            <a:schemeClr val="accent1"/>
          </a:solidFill>
          <a:ln w="6350">
            <a:solidFill>
              <a:schemeClr val="tx2"/>
            </a:solidFill>
            <a:round/>
            <a:headEnd/>
            <a:tailEnd/>
          </a:ln>
        </p:spPr>
        <p:txBody>
          <a:bodyPr/>
          <a:lstStyle/>
          <a:p>
            <a:endParaRPr lang="en-US"/>
          </a:p>
        </p:txBody>
      </p:sp>
      <p:sp>
        <p:nvSpPr>
          <p:cNvPr id="35" name="Freeform 1083"/>
          <p:cNvSpPr>
            <a:spLocks/>
          </p:cNvSpPr>
          <p:nvPr/>
        </p:nvSpPr>
        <p:spPr bwMode="auto">
          <a:xfrm>
            <a:off x="4213795" y="5540488"/>
            <a:ext cx="37267" cy="30568"/>
          </a:xfrm>
          <a:custGeom>
            <a:avLst/>
            <a:gdLst>
              <a:gd name="T0" fmla="*/ 2147483647 w 80"/>
              <a:gd name="T1" fmla="*/ 2147483647 h 73"/>
              <a:gd name="T2" fmla="*/ 2147483647 w 80"/>
              <a:gd name="T3" fmla="*/ 2147483647 h 73"/>
              <a:gd name="T4" fmla="*/ 2147483647 w 80"/>
              <a:gd name="T5" fmla="*/ 2147483647 h 73"/>
              <a:gd name="T6" fmla="*/ 2147483647 w 80"/>
              <a:gd name="T7" fmla="*/ 2147483647 h 73"/>
              <a:gd name="T8" fmla="*/ 2147483647 w 80"/>
              <a:gd name="T9" fmla="*/ 2147483647 h 73"/>
              <a:gd name="T10" fmla="*/ 2147483647 w 80"/>
              <a:gd name="T11" fmla="*/ 2147483647 h 73"/>
              <a:gd name="T12" fmla="*/ 2147483647 w 80"/>
              <a:gd name="T13" fmla="*/ 2147483647 h 73"/>
              <a:gd name="T14" fmla="*/ 2147483647 w 80"/>
              <a:gd name="T15" fmla="*/ 2147483647 h 73"/>
              <a:gd name="T16" fmla="*/ 2147483647 w 80"/>
              <a:gd name="T17" fmla="*/ 2147483647 h 73"/>
              <a:gd name="T18" fmla="*/ 0 w 80"/>
              <a:gd name="T19" fmla="*/ 2147483647 h 73"/>
              <a:gd name="T20" fmla="*/ 2147483647 w 80"/>
              <a:gd name="T21" fmla="*/ 2147483647 h 73"/>
              <a:gd name="T22" fmla="*/ 2147483647 w 80"/>
              <a:gd name="T23" fmla="*/ 2147483647 h 73"/>
              <a:gd name="T24" fmla="*/ 2147483647 w 80"/>
              <a:gd name="T25" fmla="*/ 2147483647 h 73"/>
              <a:gd name="T26" fmla="*/ 2147483647 w 80"/>
              <a:gd name="T27" fmla="*/ 2147483647 h 73"/>
              <a:gd name="T28" fmla="*/ 2147483647 w 80"/>
              <a:gd name="T29" fmla="*/ 0 h 73"/>
              <a:gd name="T30" fmla="*/ 2147483647 w 80"/>
              <a:gd name="T31" fmla="*/ 0 h 73"/>
              <a:gd name="T32" fmla="*/ 2147483647 w 80"/>
              <a:gd name="T33" fmla="*/ 2147483647 h 73"/>
              <a:gd name="T34" fmla="*/ 2147483647 w 80"/>
              <a:gd name="T35" fmla="*/ 2147483647 h 73"/>
              <a:gd name="T36" fmla="*/ 2147483647 w 80"/>
              <a:gd name="T37" fmla="*/ 2147483647 h 73"/>
              <a:gd name="T38" fmla="*/ 2147483647 w 80"/>
              <a:gd name="T39" fmla="*/ 2147483647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73"/>
              <a:gd name="T62" fmla="*/ 80 w 80"/>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73">
                <a:moveTo>
                  <a:pt x="74" y="32"/>
                </a:moveTo>
                <a:lnTo>
                  <a:pt x="59" y="41"/>
                </a:lnTo>
                <a:lnTo>
                  <a:pt x="34" y="40"/>
                </a:lnTo>
                <a:lnTo>
                  <a:pt x="44" y="57"/>
                </a:lnTo>
                <a:lnTo>
                  <a:pt x="25" y="52"/>
                </a:lnTo>
                <a:lnTo>
                  <a:pt x="24" y="61"/>
                </a:lnTo>
                <a:lnTo>
                  <a:pt x="30" y="66"/>
                </a:lnTo>
                <a:lnTo>
                  <a:pt x="14" y="60"/>
                </a:lnTo>
                <a:lnTo>
                  <a:pt x="12" y="73"/>
                </a:lnTo>
                <a:lnTo>
                  <a:pt x="0" y="56"/>
                </a:lnTo>
                <a:lnTo>
                  <a:pt x="4" y="39"/>
                </a:lnTo>
                <a:lnTo>
                  <a:pt x="17" y="29"/>
                </a:lnTo>
                <a:lnTo>
                  <a:pt x="28" y="35"/>
                </a:lnTo>
                <a:lnTo>
                  <a:pt x="23" y="10"/>
                </a:lnTo>
                <a:lnTo>
                  <a:pt x="36" y="0"/>
                </a:lnTo>
                <a:lnTo>
                  <a:pt x="48" y="0"/>
                </a:lnTo>
                <a:lnTo>
                  <a:pt x="57" y="11"/>
                </a:lnTo>
                <a:lnTo>
                  <a:pt x="73" y="10"/>
                </a:lnTo>
                <a:lnTo>
                  <a:pt x="80" y="27"/>
                </a:lnTo>
                <a:lnTo>
                  <a:pt x="74" y="32"/>
                </a:lnTo>
                <a:close/>
              </a:path>
            </a:pathLst>
          </a:custGeom>
          <a:solidFill>
            <a:schemeClr val="accent1"/>
          </a:solidFill>
          <a:ln w="6350">
            <a:solidFill>
              <a:schemeClr val="tx2"/>
            </a:solidFill>
            <a:round/>
            <a:headEnd/>
            <a:tailEnd/>
          </a:ln>
        </p:spPr>
        <p:txBody>
          <a:bodyPr/>
          <a:lstStyle/>
          <a:p>
            <a:endParaRPr lang="en-US"/>
          </a:p>
        </p:txBody>
      </p:sp>
      <p:sp>
        <p:nvSpPr>
          <p:cNvPr id="36" name="Freeform 1084"/>
          <p:cNvSpPr>
            <a:spLocks/>
          </p:cNvSpPr>
          <p:nvPr/>
        </p:nvSpPr>
        <p:spPr bwMode="auto">
          <a:xfrm>
            <a:off x="3981595" y="5650023"/>
            <a:ext cx="5734" cy="3820"/>
          </a:xfrm>
          <a:custGeom>
            <a:avLst/>
            <a:gdLst>
              <a:gd name="T0" fmla="*/ 0 w 11"/>
              <a:gd name="T1" fmla="*/ 2147483647 h 9"/>
              <a:gd name="T2" fmla="*/ 2147483647 w 11"/>
              <a:gd name="T3" fmla="*/ 0 h 9"/>
              <a:gd name="T4" fmla="*/ 2147483647 w 11"/>
              <a:gd name="T5" fmla="*/ 2147483647 h 9"/>
              <a:gd name="T6" fmla="*/ 0 w 11"/>
              <a:gd name="T7" fmla="*/ 2147483647 h 9"/>
              <a:gd name="T8" fmla="*/ 0 60000 65536"/>
              <a:gd name="T9" fmla="*/ 0 60000 65536"/>
              <a:gd name="T10" fmla="*/ 0 60000 65536"/>
              <a:gd name="T11" fmla="*/ 0 60000 65536"/>
              <a:gd name="T12" fmla="*/ 0 w 11"/>
              <a:gd name="T13" fmla="*/ 0 h 9"/>
              <a:gd name="T14" fmla="*/ 11 w 11"/>
              <a:gd name="T15" fmla="*/ 9 h 9"/>
            </a:gdLst>
            <a:ahLst/>
            <a:cxnLst>
              <a:cxn ang="T8">
                <a:pos x="T0" y="T1"/>
              </a:cxn>
              <a:cxn ang="T9">
                <a:pos x="T2" y="T3"/>
              </a:cxn>
              <a:cxn ang="T10">
                <a:pos x="T4" y="T5"/>
              </a:cxn>
              <a:cxn ang="T11">
                <a:pos x="T6" y="T7"/>
              </a:cxn>
            </a:cxnLst>
            <a:rect l="T12" t="T13" r="T14" b="T15"/>
            <a:pathLst>
              <a:path w="11" h="9">
                <a:moveTo>
                  <a:pt x="0" y="9"/>
                </a:moveTo>
                <a:lnTo>
                  <a:pt x="9" y="0"/>
                </a:lnTo>
                <a:lnTo>
                  <a:pt x="11" y="8"/>
                </a:lnTo>
                <a:lnTo>
                  <a:pt x="0" y="9"/>
                </a:lnTo>
                <a:close/>
              </a:path>
            </a:pathLst>
          </a:custGeom>
          <a:solidFill>
            <a:schemeClr val="accent1"/>
          </a:solidFill>
          <a:ln w="6350">
            <a:solidFill>
              <a:schemeClr val="tx2"/>
            </a:solidFill>
            <a:round/>
            <a:headEnd/>
            <a:tailEnd/>
          </a:ln>
        </p:spPr>
        <p:txBody>
          <a:bodyPr/>
          <a:lstStyle/>
          <a:p>
            <a:endParaRPr lang="en-US"/>
          </a:p>
        </p:txBody>
      </p:sp>
      <p:sp>
        <p:nvSpPr>
          <p:cNvPr id="37" name="Freeform 1085"/>
          <p:cNvSpPr>
            <a:spLocks/>
          </p:cNvSpPr>
          <p:nvPr/>
        </p:nvSpPr>
        <p:spPr bwMode="auto">
          <a:xfrm>
            <a:off x="3991627" y="5655118"/>
            <a:ext cx="4300" cy="3820"/>
          </a:xfrm>
          <a:custGeom>
            <a:avLst/>
            <a:gdLst>
              <a:gd name="T0" fmla="*/ 2147483647 w 11"/>
              <a:gd name="T1" fmla="*/ 2147483647 h 10"/>
              <a:gd name="T2" fmla="*/ 0 w 11"/>
              <a:gd name="T3" fmla="*/ 0 h 10"/>
              <a:gd name="T4" fmla="*/ 2147483647 w 11"/>
              <a:gd name="T5" fmla="*/ 2147483647 h 10"/>
              <a:gd name="T6" fmla="*/ 2147483647 w 11"/>
              <a:gd name="T7" fmla="*/ 2147483647 h 10"/>
              <a:gd name="T8" fmla="*/ 0 60000 65536"/>
              <a:gd name="T9" fmla="*/ 0 60000 65536"/>
              <a:gd name="T10" fmla="*/ 0 60000 65536"/>
              <a:gd name="T11" fmla="*/ 0 60000 65536"/>
              <a:gd name="T12" fmla="*/ 0 w 11"/>
              <a:gd name="T13" fmla="*/ 0 h 10"/>
              <a:gd name="T14" fmla="*/ 11 w 11"/>
              <a:gd name="T15" fmla="*/ 10 h 10"/>
            </a:gdLst>
            <a:ahLst/>
            <a:cxnLst>
              <a:cxn ang="T8">
                <a:pos x="T0" y="T1"/>
              </a:cxn>
              <a:cxn ang="T9">
                <a:pos x="T2" y="T3"/>
              </a:cxn>
              <a:cxn ang="T10">
                <a:pos x="T4" y="T5"/>
              </a:cxn>
              <a:cxn ang="T11">
                <a:pos x="T6" y="T7"/>
              </a:cxn>
            </a:cxnLst>
            <a:rect l="T12" t="T13" r="T14" b="T15"/>
            <a:pathLst>
              <a:path w="11" h="10">
                <a:moveTo>
                  <a:pt x="11" y="10"/>
                </a:moveTo>
                <a:lnTo>
                  <a:pt x="0" y="0"/>
                </a:lnTo>
                <a:lnTo>
                  <a:pt x="11" y="1"/>
                </a:lnTo>
                <a:lnTo>
                  <a:pt x="11" y="10"/>
                </a:lnTo>
                <a:close/>
              </a:path>
            </a:pathLst>
          </a:custGeom>
          <a:solidFill>
            <a:schemeClr val="accent1"/>
          </a:solidFill>
          <a:ln w="6350">
            <a:solidFill>
              <a:schemeClr val="tx2"/>
            </a:solidFill>
            <a:round/>
            <a:headEnd/>
            <a:tailEnd/>
          </a:ln>
        </p:spPr>
        <p:txBody>
          <a:bodyPr/>
          <a:lstStyle/>
          <a:p>
            <a:endParaRPr lang="en-US"/>
          </a:p>
        </p:txBody>
      </p:sp>
      <p:sp>
        <p:nvSpPr>
          <p:cNvPr id="38" name="Freeform 1086"/>
          <p:cNvSpPr>
            <a:spLocks/>
          </p:cNvSpPr>
          <p:nvPr/>
        </p:nvSpPr>
        <p:spPr bwMode="auto">
          <a:xfrm>
            <a:off x="4005962" y="5648749"/>
            <a:ext cx="14334" cy="5095"/>
          </a:xfrm>
          <a:custGeom>
            <a:avLst/>
            <a:gdLst>
              <a:gd name="T0" fmla="*/ 2147483647 w 31"/>
              <a:gd name="T1" fmla="*/ 2147483647 h 11"/>
              <a:gd name="T2" fmla="*/ 2147483647 w 31"/>
              <a:gd name="T3" fmla="*/ 2147483647 h 11"/>
              <a:gd name="T4" fmla="*/ 0 w 31"/>
              <a:gd name="T5" fmla="*/ 0 h 11"/>
              <a:gd name="T6" fmla="*/ 2147483647 w 31"/>
              <a:gd name="T7" fmla="*/ 2147483647 h 11"/>
              <a:gd name="T8" fmla="*/ 0 60000 65536"/>
              <a:gd name="T9" fmla="*/ 0 60000 65536"/>
              <a:gd name="T10" fmla="*/ 0 60000 65536"/>
              <a:gd name="T11" fmla="*/ 0 60000 65536"/>
              <a:gd name="T12" fmla="*/ 0 w 31"/>
              <a:gd name="T13" fmla="*/ 0 h 11"/>
              <a:gd name="T14" fmla="*/ 31 w 31"/>
              <a:gd name="T15" fmla="*/ 11 h 11"/>
            </a:gdLst>
            <a:ahLst/>
            <a:cxnLst>
              <a:cxn ang="T8">
                <a:pos x="T0" y="T1"/>
              </a:cxn>
              <a:cxn ang="T9">
                <a:pos x="T2" y="T3"/>
              </a:cxn>
              <a:cxn ang="T10">
                <a:pos x="T4" y="T5"/>
              </a:cxn>
              <a:cxn ang="T11">
                <a:pos x="T6" y="T7"/>
              </a:cxn>
            </a:cxnLst>
            <a:rect l="T12" t="T13" r="T14" b="T15"/>
            <a:pathLst>
              <a:path w="31" h="11">
                <a:moveTo>
                  <a:pt x="31" y="5"/>
                </a:moveTo>
                <a:lnTo>
                  <a:pt x="3" y="11"/>
                </a:lnTo>
                <a:lnTo>
                  <a:pt x="0" y="0"/>
                </a:lnTo>
                <a:lnTo>
                  <a:pt x="31" y="5"/>
                </a:lnTo>
                <a:close/>
              </a:path>
            </a:pathLst>
          </a:custGeom>
          <a:solidFill>
            <a:schemeClr val="accent1"/>
          </a:solidFill>
          <a:ln w="6350">
            <a:solidFill>
              <a:schemeClr val="tx2"/>
            </a:solidFill>
            <a:round/>
            <a:headEnd/>
            <a:tailEnd/>
          </a:ln>
        </p:spPr>
        <p:txBody>
          <a:bodyPr/>
          <a:lstStyle/>
          <a:p>
            <a:endParaRPr lang="en-US"/>
          </a:p>
        </p:txBody>
      </p:sp>
      <p:sp>
        <p:nvSpPr>
          <p:cNvPr id="39" name="Freeform 1151"/>
          <p:cNvSpPr>
            <a:spLocks/>
          </p:cNvSpPr>
          <p:nvPr/>
        </p:nvSpPr>
        <p:spPr bwMode="auto">
          <a:xfrm>
            <a:off x="3889860" y="4789030"/>
            <a:ext cx="169135" cy="825329"/>
          </a:xfrm>
          <a:custGeom>
            <a:avLst/>
            <a:gdLst>
              <a:gd name="T0" fmla="*/ 2147483647 w 364"/>
              <a:gd name="T1" fmla="*/ 2147483647 h 1980"/>
              <a:gd name="T2" fmla="*/ 2147483647 w 364"/>
              <a:gd name="T3" fmla="*/ 2147483647 h 1980"/>
              <a:gd name="T4" fmla="*/ 2147483647 w 364"/>
              <a:gd name="T5" fmla="*/ 2147483647 h 1980"/>
              <a:gd name="T6" fmla="*/ 2147483647 w 364"/>
              <a:gd name="T7" fmla="*/ 2147483647 h 1980"/>
              <a:gd name="T8" fmla="*/ 2147483647 w 364"/>
              <a:gd name="T9" fmla="*/ 2147483647 h 1980"/>
              <a:gd name="T10" fmla="*/ 2147483647 w 364"/>
              <a:gd name="T11" fmla="*/ 2147483647 h 1980"/>
              <a:gd name="T12" fmla="*/ 2147483647 w 364"/>
              <a:gd name="T13" fmla="*/ 2147483647 h 1980"/>
              <a:gd name="T14" fmla="*/ 2147483647 w 364"/>
              <a:gd name="T15" fmla="*/ 2147483647 h 1980"/>
              <a:gd name="T16" fmla="*/ 2147483647 w 364"/>
              <a:gd name="T17" fmla="*/ 2147483647 h 1980"/>
              <a:gd name="T18" fmla="*/ 2147483647 w 364"/>
              <a:gd name="T19" fmla="*/ 2147483647 h 1980"/>
              <a:gd name="T20" fmla="*/ 2147483647 w 364"/>
              <a:gd name="T21" fmla="*/ 2147483647 h 1980"/>
              <a:gd name="T22" fmla="*/ 2147483647 w 364"/>
              <a:gd name="T23" fmla="*/ 2147483647 h 1980"/>
              <a:gd name="T24" fmla="*/ 2147483647 w 364"/>
              <a:gd name="T25" fmla="*/ 2147483647 h 1980"/>
              <a:gd name="T26" fmla="*/ 2147483647 w 364"/>
              <a:gd name="T27" fmla="*/ 2147483647 h 1980"/>
              <a:gd name="T28" fmla="*/ 2147483647 w 364"/>
              <a:gd name="T29" fmla="*/ 2147483647 h 1980"/>
              <a:gd name="T30" fmla="*/ 2147483647 w 364"/>
              <a:gd name="T31" fmla="*/ 2147483647 h 1980"/>
              <a:gd name="T32" fmla="*/ 2147483647 w 364"/>
              <a:gd name="T33" fmla="*/ 2147483647 h 1980"/>
              <a:gd name="T34" fmla="*/ 2147483647 w 364"/>
              <a:gd name="T35" fmla="*/ 2147483647 h 1980"/>
              <a:gd name="T36" fmla="*/ 2147483647 w 364"/>
              <a:gd name="T37" fmla="*/ 2147483647 h 1980"/>
              <a:gd name="T38" fmla="*/ 2147483647 w 364"/>
              <a:gd name="T39" fmla="*/ 2147483647 h 1980"/>
              <a:gd name="T40" fmla="*/ 2147483647 w 364"/>
              <a:gd name="T41" fmla="*/ 2147483647 h 1980"/>
              <a:gd name="T42" fmla="*/ 2147483647 w 364"/>
              <a:gd name="T43" fmla="*/ 2147483647 h 1980"/>
              <a:gd name="T44" fmla="*/ 2147483647 w 364"/>
              <a:gd name="T45" fmla="*/ 2147483647 h 1980"/>
              <a:gd name="T46" fmla="*/ 2147483647 w 364"/>
              <a:gd name="T47" fmla="*/ 2147483647 h 1980"/>
              <a:gd name="T48" fmla="*/ 2147483647 w 364"/>
              <a:gd name="T49" fmla="*/ 2147483647 h 1980"/>
              <a:gd name="T50" fmla="*/ 2147483647 w 364"/>
              <a:gd name="T51" fmla="*/ 2147483647 h 1980"/>
              <a:gd name="T52" fmla="*/ 2147483647 w 364"/>
              <a:gd name="T53" fmla="*/ 2147483647 h 1980"/>
              <a:gd name="T54" fmla="*/ 2147483647 w 364"/>
              <a:gd name="T55" fmla="*/ 2147483647 h 1980"/>
              <a:gd name="T56" fmla="*/ 2147483647 w 364"/>
              <a:gd name="T57" fmla="*/ 2147483647 h 1980"/>
              <a:gd name="T58" fmla="*/ 2147483647 w 364"/>
              <a:gd name="T59" fmla="*/ 2147483647 h 1980"/>
              <a:gd name="T60" fmla="*/ 2147483647 w 364"/>
              <a:gd name="T61" fmla="*/ 2147483647 h 1980"/>
              <a:gd name="T62" fmla="*/ 2147483647 w 364"/>
              <a:gd name="T63" fmla="*/ 2147483647 h 1980"/>
              <a:gd name="T64" fmla="*/ 2147483647 w 364"/>
              <a:gd name="T65" fmla="*/ 2147483647 h 1980"/>
              <a:gd name="T66" fmla="*/ 2147483647 w 364"/>
              <a:gd name="T67" fmla="*/ 2147483647 h 1980"/>
              <a:gd name="T68" fmla="*/ 2147483647 w 364"/>
              <a:gd name="T69" fmla="*/ 2147483647 h 1980"/>
              <a:gd name="T70" fmla="*/ 2147483647 w 364"/>
              <a:gd name="T71" fmla="*/ 2147483647 h 1980"/>
              <a:gd name="T72" fmla="*/ 2147483647 w 364"/>
              <a:gd name="T73" fmla="*/ 2147483647 h 1980"/>
              <a:gd name="T74" fmla="*/ 0 w 364"/>
              <a:gd name="T75" fmla="*/ 2147483647 h 1980"/>
              <a:gd name="T76" fmla="*/ 2147483647 w 364"/>
              <a:gd name="T77" fmla="*/ 2147483647 h 1980"/>
              <a:gd name="T78" fmla="*/ 2147483647 w 364"/>
              <a:gd name="T79" fmla="*/ 2147483647 h 1980"/>
              <a:gd name="T80" fmla="*/ 2147483647 w 364"/>
              <a:gd name="T81" fmla="*/ 2147483647 h 1980"/>
              <a:gd name="T82" fmla="*/ 2147483647 w 364"/>
              <a:gd name="T83" fmla="*/ 2147483647 h 1980"/>
              <a:gd name="T84" fmla="*/ 2147483647 w 364"/>
              <a:gd name="T85" fmla="*/ 2147483647 h 1980"/>
              <a:gd name="T86" fmla="*/ 2147483647 w 364"/>
              <a:gd name="T87" fmla="*/ 2147483647 h 1980"/>
              <a:gd name="T88" fmla="*/ 2147483647 w 364"/>
              <a:gd name="T89" fmla="*/ 2147483647 h 1980"/>
              <a:gd name="T90" fmla="*/ 2147483647 w 364"/>
              <a:gd name="T91" fmla="*/ 2147483647 h 1980"/>
              <a:gd name="T92" fmla="*/ 2147483647 w 364"/>
              <a:gd name="T93" fmla="*/ 2147483647 h 1980"/>
              <a:gd name="T94" fmla="*/ 2147483647 w 364"/>
              <a:gd name="T95" fmla="*/ 2147483647 h 1980"/>
              <a:gd name="T96" fmla="*/ 2147483647 w 364"/>
              <a:gd name="T97" fmla="*/ 2147483647 h 1980"/>
              <a:gd name="T98" fmla="*/ 2147483647 w 364"/>
              <a:gd name="T99" fmla="*/ 2147483647 h 1980"/>
              <a:gd name="T100" fmla="*/ 2147483647 w 364"/>
              <a:gd name="T101" fmla="*/ 2147483647 h 1980"/>
              <a:gd name="T102" fmla="*/ 2147483647 w 364"/>
              <a:gd name="T103" fmla="*/ 2147483647 h 1980"/>
              <a:gd name="T104" fmla="*/ 2147483647 w 364"/>
              <a:gd name="T105" fmla="*/ 2147483647 h 1980"/>
              <a:gd name="T106" fmla="*/ 2147483647 w 364"/>
              <a:gd name="T107" fmla="*/ 2147483647 h 1980"/>
              <a:gd name="T108" fmla="*/ 2147483647 w 364"/>
              <a:gd name="T109" fmla="*/ 2147483647 h 1980"/>
              <a:gd name="T110" fmla="*/ 2147483647 w 364"/>
              <a:gd name="T111" fmla="*/ 2147483647 h 1980"/>
              <a:gd name="T112" fmla="*/ 2147483647 w 364"/>
              <a:gd name="T113" fmla="*/ 2147483647 h 1980"/>
              <a:gd name="T114" fmla="*/ 2147483647 w 364"/>
              <a:gd name="T115" fmla="*/ 2147483647 h 1980"/>
              <a:gd name="T116" fmla="*/ 2147483647 w 364"/>
              <a:gd name="T117" fmla="*/ 2147483647 h 1980"/>
              <a:gd name="T118" fmla="*/ 2147483647 w 364"/>
              <a:gd name="T119" fmla="*/ 2147483647 h 1980"/>
              <a:gd name="T120" fmla="*/ 2147483647 w 364"/>
              <a:gd name="T121" fmla="*/ 0 h 1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4"/>
              <a:gd name="T184" fmla="*/ 0 h 1980"/>
              <a:gd name="T185" fmla="*/ 364 w 364"/>
              <a:gd name="T186" fmla="*/ 1980 h 1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4" h="1980">
                <a:moveTo>
                  <a:pt x="255" y="0"/>
                </a:moveTo>
                <a:lnTo>
                  <a:pt x="276" y="21"/>
                </a:lnTo>
                <a:lnTo>
                  <a:pt x="281" y="59"/>
                </a:lnTo>
                <a:lnTo>
                  <a:pt x="301" y="78"/>
                </a:lnTo>
                <a:lnTo>
                  <a:pt x="300" y="101"/>
                </a:lnTo>
                <a:lnTo>
                  <a:pt x="292" y="106"/>
                </a:lnTo>
                <a:lnTo>
                  <a:pt x="290" y="120"/>
                </a:lnTo>
                <a:lnTo>
                  <a:pt x="299" y="127"/>
                </a:lnTo>
                <a:lnTo>
                  <a:pt x="299" y="140"/>
                </a:lnTo>
                <a:lnTo>
                  <a:pt x="311" y="152"/>
                </a:lnTo>
                <a:lnTo>
                  <a:pt x="326" y="239"/>
                </a:lnTo>
                <a:lnTo>
                  <a:pt x="338" y="243"/>
                </a:lnTo>
                <a:lnTo>
                  <a:pt x="360" y="241"/>
                </a:lnTo>
                <a:lnTo>
                  <a:pt x="364" y="258"/>
                </a:lnTo>
                <a:lnTo>
                  <a:pt x="357" y="295"/>
                </a:lnTo>
                <a:lnTo>
                  <a:pt x="305" y="318"/>
                </a:lnTo>
                <a:lnTo>
                  <a:pt x="306" y="344"/>
                </a:lnTo>
                <a:lnTo>
                  <a:pt x="301" y="352"/>
                </a:lnTo>
                <a:lnTo>
                  <a:pt x="301" y="365"/>
                </a:lnTo>
                <a:lnTo>
                  <a:pt x="310" y="431"/>
                </a:lnTo>
                <a:lnTo>
                  <a:pt x="287" y="447"/>
                </a:lnTo>
                <a:lnTo>
                  <a:pt x="279" y="469"/>
                </a:lnTo>
                <a:lnTo>
                  <a:pt x="258" y="492"/>
                </a:lnTo>
                <a:lnTo>
                  <a:pt x="242" y="551"/>
                </a:lnTo>
                <a:lnTo>
                  <a:pt x="239" y="596"/>
                </a:lnTo>
                <a:lnTo>
                  <a:pt x="217" y="646"/>
                </a:lnTo>
                <a:lnTo>
                  <a:pt x="216" y="668"/>
                </a:lnTo>
                <a:lnTo>
                  <a:pt x="222" y="675"/>
                </a:lnTo>
                <a:lnTo>
                  <a:pt x="222" y="698"/>
                </a:lnTo>
                <a:lnTo>
                  <a:pt x="233" y="724"/>
                </a:lnTo>
                <a:lnTo>
                  <a:pt x="233" y="741"/>
                </a:lnTo>
                <a:lnTo>
                  <a:pt x="240" y="751"/>
                </a:lnTo>
                <a:lnTo>
                  <a:pt x="244" y="793"/>
                </a:lnTo>
                <a:lnTo>
                  <a:pt x="229" y="817"/>
                </a:lnTo>
                <a:lnTo>
                  <a:pt x="225" y="842"/>
                </a:lnTo>
                <a:lnTo>
                  <a:pt x="216" y="851"/>
                </a:lnTo>
                <a:lnTo>
                  <a:pt x="218" y="893"/>
                </a:lnTo>
                <a:lnTo>
                  <a:pt x="193" y="917"/>
                </a:lnTo>
                <a:lnTo>
                  <a:pt x="190" y="928"/>
                </a:lnTo>
                <a:lnTo>
                  <a:pt x="187" y="988"/>
                </a:lnTo>
                <a:lnTo>
                  <a:pt x="193" y="1029"/>
                </a:lnTo>
                <a:lnTo>
                  <a:pt x="179" y="1051"/>
                </a:lnTo>
                <a:lnTo>
                  <a:pt x="163" y="1111"/>
                </a:lnTo>
                <a:lnTo>
                  <a:pt x="155" y="1182"/>
                </a:lnTo>
                <a:lnTo>
                  <a:pt x="165" y="1204"/>
                </a:lnTo>
                <a:lnTo>
                  <a:pt x="165" y="1214"/>
                </a:lnTo>
                <a:lnTo>
                  <a:pt x="149" y="1251"/>
                </a:lnTo>
                <a:lnTo>
                  <a:pt x="149" y="1279"/>
                </a:lnTo>
                <a:lnTo>
                  <a:pt x="155" y="1286"/>
                </a:lnTo>
                <a:lnTo>
                  <a:pt x="155" y="1314"/>
                </a:lnTo>
                <a:lnTo>
                  <a:pt x="161" y="1334"/>
                </a:lnTo>
                <a:lnTo>
                  <a:pt x="159" y="1361"/>
                </a:lnTo>
                <a:lnTo>
                  <a:pt x="175" y="1365"/>
                </a:lnTo>
                <a:lnTo>
                  <a:pt x="181" y="1378"/>
                </a:lnTo>
                <a:lnTo>
                  <a:pt x="180" y="1384"/>
                </a:lnTo>
                <a:lnTo>
                  <a:pt x="155" y="1385"/>
                </a:lnTo>
                <a:lnTo>
                  <a:pt x="157" y="1393"/>
                </a:lnTo>
                <a:lnTo>
                  <a:pt x="176" y="1408"/>
                </a:lnTo>
                <a:lnTo>
                  <a:pt x="168" y="1430"/>
                </a:lnTo>
                <a:lnTo>
                  <a:pt x="167" y="1500"/>
                </a:lnTo>
                <a:lnTo>
                  <a:pt x="156" y="1532"/>
                </a:lnTo>
                <a:lnTo>
                  <a:pt x="136" y="1566"/>
                </a:lnTo>
                <a:lnTo>
                  <a:pt x="138" y="1608"/>
                </a:lnTo>
                <a:lnTo>
                  <a:pt x="129" y="1641"/>
                </a:lnTo>
                <a:lnTo>
                  <a:pt x="100" y="1688"/>
                </a:lnTo>
                <a:lnTo>
                  <a:pt x="94" y="1730"/>
                </a:lnTo>
                <a:lnTo>
                  <a:pt x="99" y="1773"/>
                </a:lnTo>
                <a:lnTo>
                  <a:pt x="113" y="1762"/>
                </a:lnTo>
                <a:lnTo>
                  <a:pt x="138" y="1763"/>
                </a:lnTo>
                <a:lnTo>
                  <a:pt x="140" y="1834"/>
                </a:lnTo>
                <a:lnTo>
                  <a:pt x="149" y="1852"/>
                </a:lnTo>
                <a:lnTo>
                  <a:pt x="249" y="1856"/>
                </a:lnTo>
                <a:lnTo>
                  <a:pt x="310" y="1874"/>
                </a:lnTo>
                <a:lnTo>
                  <a:pt x="305" y="1878"/>
                </a:lnTo>
                <a:lnTo>
                  <a:pt x="274" y="1876"/>
                </a:lnTo>
                <a:lnTo>
                  <a:pt x="261" y="1873"/>
                </a:lnTo>
                <a:lnTo>
                  <a:pt x="254" y="1882"/>
                </a:lnTo>
                <a:lnTo>
                  <a:pt x="204" y="1905"/>
                </a:lnTo>
                <a:lnTo>
                  <a:pt x="193" y="1980"/>
                </a:lnTo>
                <a:lnTo>
                  <a:pt x="168" y="1978"/>
                </a:lnTo>
                <a:lnTo>
                  <a:pt x="144" y="1962"/>
                </a:lnTo>
                <a:lnTo>
                  <a:pt x="141" y="1946"/>
                </a:lnTo>
                <a:lnTo>
                  <a:pt x="148" y="1943"/>
                </a:lnTo>
                <a:lnTo>
                  <a:pt x="149" y="1953"/>
                </a:lnTo>
                <a:lnTo>
                  <a:pt x="181" y="1933"/>
                </a:lnTo>
                <a:lnTo>
                  <a:pt x="192" y="1914"/>
                </a:lnTo>
                <a:lnTo>
                  <a:pt x="174" y="1893"/>
                </a:lnTo>
                <a:lnTo>
                  <a:pt x="149" y="1890"/>
                </a:lnTo>
                <a:lnTo>
                  <a:pt x="133" y="1899"/>
                </a:lnTo>
                <a:lnTo>
                  <a:pt x="132" y="1889"/>
                </a:lnTo>
                <a:lnTo>
                  <a:pt x="121" y="1891"/>
                </a:lnTo>
                <a:lnTo>
                  <a:pt x="135" y="1871"/>
                </a:lnTo>
                <a:lnTo>
                  <a:pt x="125" y="1852"/>
                </a:lnTo>
                <a:lnTo>
                  <a:pt x="132" y="1849"/>
                </a:lnTo>
                <a:lnTo>
                  <a:pt x="131" y="1838"/>
                </a:lnTo>
                <a:lnTo>
                  <a:pt x="125" y="1832"/>
                </a:lnTo>
                <a:lnTo>
                  <a:pt x="125" y="1838"/>
                </a:lnTo>
                <a:lnTo>
                  <a:pt x="107" y="1832"/>
                </a:lnTo>
                <a:lnTo>
                  <a:pt x="111" y="1843"/>
                </a:lnTo>
                <a:lnTo>
                  <a:pt x="104" y="1853"/>
                </a:lnTo>
                <a:lnTo>
                  <a:pt x="94" y="1824"/>
                </a:lnTo>
                <a:lnTo>
                  <a:pt x="98" y="1857"/>
                </a:lnTo>
                <a:lnTo>
                  <a:pt x="90" y="1854"/>
                </a:lnTo>
                <a:lnTo>
                  <a:pt x="89" y="1827"/>
                </a:lnTo>
                <a:lnTo>
                  <a:pt x="83" y="1811"/>
                </a:lnTo>
                <a:lnTo>
                  <a:pt x="64" y="1790"/>
                </a:lnTo>
                <a:lnTo>
                  <a:pt x="63" y="1776"/>
                </a:lnTo>
                <a:lnTo>
                  <a:pt x="80" y="1773"/>
                </a:lnTo>
                <a:lnTo>
                  <a:pt x="80" y="1764"/>
                </a:lnTo>
                <a:lnTo>
                  <a:pt x="65" y="1763"/>
                </a:lnTo>
                <a:lnTo>
                  <a:pt x="62" y="1754"/>
                </a:lnTo>
                <a:lnTo>
                  <a:pt x="72" y="1750"/>
                </a:lnTo>
                <a:lnTo>
                  <a:pt x="52" y="1740"/>
                </a:lnTo>
                <a:lnTo>
                  <a:pt x="43" y="1727"/>
                </a:lnTo>
                <a:lnTo>
                  <a:pt x="54" y="1716"/>
                </a:lnTo>
                <a:lnTo>
                  <a:pt x="57" y="1696"/>
                </a:lnTo>
                <a:lnTo>
                  <a:pt x="77" y="1690"/>
                </a:lnTo>
                <a:lnTo>
                  <a:pt x="71" y="1679"/>
                </a:lnTo>
                <a:lnTo>
                  <a:pt x="77" y="1658"/>
                </a:lnTo>
                <a:lnTo>
                  <a:pt x="66" y="1665"/>
                </a:lnTo>
                <a:lnTo>
                  <a:pt x="61" y="1679"/>
                </a:lnTo>
                <a:lnTo>
                  <a:pt x="57" y="1677"/>
                </a:lnTo>
                <a:lnTo>
                  <a:pt x="54" y="1637"/>
                </a:lnTo>
                <a:lnTo>
                  <a:pt x="60" y="1633"/>
                </a:lnTo>
                <a:lnTo>
                  <a:pt x="55" y="1627"/>
                </a:lnTo>
                <a:lnTo>
                  <a:pt x="57" y="1618"/>
                </a:lnTo>
                <a:lnTo>
                  <a:pt x="78" y="1624"/>
                </a:lnTo>
                <a:lnTo>
                  <a:pt x="74" y="1608"/>
                </a:lnTo>
                <a:lnTo>
                  <a:pt x="51" y="1612"/>
                </a:lnTo>
                <a:lnTo>
                  <a:pt x="46" y="1583"/>
                </a:lnTo>
                <a:lnTo>
                  <a:pt x="52" y="1585"/>
                </a:lnTo>
                <a:lnTo>
                  <a:pt x="59" y="1600"/>
                </a:lnTo>
                <a:lnTo>
                  <a:pt x="61" y="1586"/>
                </a:lnTo>
                <a:lnTo>
                  <a:pt x="86" y="1592"/>
                </a:lnTo>
                <a:lnTo>
                  <a:pt x="80" y="1573"/>
                </a:lnTo>
                <a:lnTo>
                  <a:pt x="76" y="1567"/>
                </a:lnTo>
                <a:lnTo>
                  <a:pt x="64" y="1571"/>
                </a:lnTo>
                <a:lnTo>
                  <a:pt x="60" y="1563"/>
                </a:lnTo>
                <a:lnTo>
                  <a:pt x="66" y="1559"/>
                </a:lnTo>
                <a:lnTo>
                  <a:pt x="47" y="1549"/>
                </a:lnTo>
                <a:lnTo>
                  <a:pt x="66" y="1534"/>
                </a:lnTo>
                <a:lnTo>
                  <a:pt x="60" y="1528"/>
                </a:lnTo>
                <a:lnTo>
                  <a:pt x="68" y="1521"/>
                </a:lnTo>
                <a:lnTo>
                  <a:pt x="57" y="1507"/>
                </a:lnTo>
                <a:lnTo>
                  <a:pt x="46" y="1504"/>
                </a:lnTo>
                <a:lnTo>
                  <a:pt x="38" y="1511"/>
                </a:lnTo>
                <a:lnTo>
                  <a:pt x="18" y="1496"/>
                </a:lnTo>
                <a:lnTo>
                  <a:pt x="7" y="1503"/>
                </a:lnTo>
                <a:lnTo>
                  <a:pt x="12" y="1512"/>
                </a:lnTo>
                <a:lnTo>
                  <a:pt x="10" y="1520"/>
                </a:lnTo>
                <a:lnTo>
                  <a:pt x="1" y="1518"/>
                </a:lnTo>
                <a:lnTo>
                  <a:pt x="0" y="1511"/>
                </a:lnTo>
                <a:lnTo>
                  <a:pt x="3" y="1494"/>
                </a:lnTo>
                <a:lnTo>
                  <a:pt x="35" y="1471"/>
                </a:lnTo>
                <a:lnTo>
                  <a:pt x="35" y="1465"/>
                </a:lnTo>
                <a:lnTo>
                  <a:pt x="26" y="1463"/>
                </a:lnTo>
                <a:lnTo>
                  <a:pt x="23" y="1453"/>
                </a:lnTo>
                <a:lnTo>
                  <a:pt x="57" y="1454"/>
                </a:lnTo>
                <a:lnTo>
                  <a:pt x="64" y="1468"/>
                </a:lnTo>
                <a:lnTo>
                  <a:pt x="58" y="1480"/>
                </a:lnTo>
                <a:lnTo>
                  <a:pt x="67" y="1487"/>
                </a:lnTo>
                <a:lnTo>
                  <a:pt x="76" y="1475"/>
                </a:lnTo>
                <a:lnTo>
                  <a:pt x="75" y="1492"/>
                </a:lnTo>
                <a:lnTo>
                  <a:pt x="93" y="1475"/>
                </a:lnTo>
                <a:lnTo>
                  <a:pt x="85" y="1471"/>
                </a:lnTo>
                <a:lnTo>
                  <a:pt x="87" y="1452"/>
                </a:lnTo>
                <a:lnTo>
                  <a:pt x="100" y="1446"/>
                </a:lnTo>
                <a:lnTo>
                  <a:pt x="94" y="1441"/>
                </a:lnTo>
                <a:lnTo>
                  <a:pt x="103" y="1431"/>
                </a:lnTo>
                <a:lnTo>
                  <a:pt x="88" y="1436"/>
                </a:lnTo>
                <a:lnTo>
                  <a:pt x="89" y="1428"/>
                </a:lnTo>
                <a:lnTo>
                  <a:pt x="99" y="1419"/>
                </a:lnTo>
                <a:lnTo>
                  <a:pt x="106" y="1424"/>
                </a:lnTo>
                <a:lnTo>
                  <a:pt x="113" y="1429"/>
                </a:lnTo>
                <a:lnTo>
                  <a:pt x="118" y="1428"/>
                </a:lnTo>
                <a:lnTo>
                  <a:pt x="117" y="1422"/>
                </a:lnTo>
                <a:lnTo>
                  <a:pt x="94" y="1415"/>
                </a:lnTo>
                <a:lnTo>
                  <a:pt x="96" y="1400"/>
                </a:lnTo>
                <a:lnTo>
                  <a:pt x="114" y="1397"/>
                </a:lnTo>
                <a:lnTo>
                  <a:pt x="123" y="1384"/>
                </a:lnTo>
                <a:lnTo>
                  <a:pt x="121" y="1364"/>
                </a:lnTo>
                <a:lnTo>
                  <a:pt x="100" y="1347"/>
                </a:lnTo>
                <a:lnTo>
                  <a:pt x="115" y="1324"/>
                </a:lnTo>
                <a:lnTo>
                  <a:pt x="109" y="1306"/>
                </a:lnTo>
                <a:lnTo>
                  <a:pt x="121" y="1279"/>
                </a:lnTo>
                <a:lnTo>
                  <a:pt x="118" y="1262"/>
                </a:lnTo>
                <a:lnTo>
                  <a:pt x="124" y="1254"/>
                </a:lnTo>
                <a:lnTo>
                  <a:pt x="130" y="1255"/>
                </a:lnTo>
                <a:lnTo>
                  <a:pt x="122" y="1243"/>
                </a:lnTo>
                <a:lnTo>
                  <a:pt x="125" y="1236"/>
                </a:lnTo>
                <a:lnTo>
                  <a:pt x="131" y="1237"/>
                </a:lnTo>
                <a:lnTo>
                  <a:pt x="136" y="1248"/>
                </a:lnTo>
                <a:lnTo>
                  <a:pt x="133" y="1223"/>
                </a:lnTo>
                <a:lnTo>
                  <a:pt x="120" y="1220"/>
                </a:lnTo>
                <a:lnTo>
                  <a:pt x="122" y="1213"/>
                </a:lnTo>
                <a:lnTo>
                  <a:pt x="140" y="1200"/>
                </a:lnTo>
                <a:lnTo>
                  <a:pt x="128" y="1203"/>
                </a:lnTo>
                <a:lnTo>
                  <a:pt x="111" y="1194"/>
                </a:lnTo>
                <a:lnTo>
                  <a:pt x="102" y="1206"/>
                </a:lnTo>
                <a:lnTo>
                  <a:pt x="92" y="1209"/>
                </a:lnTo>
                <a:lnTo>
                  <a:pt x="81" y="1204"/>
                </a:lnTo>
                <a:lnTo>
                  <a:pt x="74" y="1187"/>
                </a:lnTo>
                <a:lnTo>
                  <a:pt x="80" y="1102"/>
                </a:lnTo>
                <a:lnTo>
                  <a:pt x="88" y="1098"/>
                </a:lnTo>
                <a:lnTo>
                  <a:pt x="96" y="1080"/>
                </a:lnTo>
                <a:lnTo>
                  <a:pt x="94" y="1057"/>
                </a:lnTo>
                <a:lnTo>
                  <a:pt x="85" y="1028"/>
                </a:lnTo>
                <a:lnTo>
                  <a:pt x="88" y="1007"/>
                </a:lnTo>
                <a:lnTo>
                  <a:pt x="82" y="987"/>
                </a:lnTo>
                <a:lnTo>
                  <a:pt x="83" y="958"/>
                </a:lnTo>
                <a:lnTo>
                  <a:pt x="89" y="951"/>
                </a:lnTo>
                <a:lnTo>
                  <a:pt x="102" y="951"/>
                </a:lnTo>
                <a:lnTo>
                  <a:pt x="101" y="925"/>
                </a:lnTo>
                <a:lnTo>
                  <a:pt x="111" y="924"/>
                </a:lnTo>
                <a:lnTo>
                  <a:pt x="130" y="865"/>
                </a:lnTo>
                <a:lnTo>
                  <a:pt x="143" y="843"/>
                </a:lnTo>
                <a:lnTo>
                  <a:pt x="160" y="779"/>
                </a:lnTo>
                <a:lnTo>
                  <a:pt x="165" y="772"/>
                </a:lnTo>
                <a:lnTo>
                  <a:pt x="165" y="743"/>
                </a:lnTo>
                <a:lnTo>
                  <a:pt x="173" y="727"/>
                </a:lnTo>
                <a:lnTo>
                  <a:pt x="173" y="707"/>
                </a:lnTo>
                <a:lnTo>
                  <a:pt x="164" y="617"/>
                </a:lnTo>
                <a:lnTo>
                  <a:pt x="166" y="597"/>
                </a:lnTo>
                <a:lnTo>
                  <a:pt x="175" y="592"/>
                </a:lnTo>
                <a:lnTo>
                  <a:pt x="179" y="577"/>
                </a:lnTo>
                <a:lnTo>
                  <a:pt x="170" y="543"/>
                </a:lnTo>
                <a:lnTo>
                  <a:pt x="173" y="531"/>
                </a:lnTo>
                <a:lnTo>
                  <a:pt x="181" y="520"/>
                </a:lnTo>
                <a:lnTo>
                  <a:pt x="190" y="474"/>
                </a:lnTo>
                <a:lnTo>
                  <a:pt x="196" y="462"/>
                </a:lnTo>
                <a:lnTo>
                  <a:pt x="196" y="446"/>
                </a:lnTo>
                <a:lnTo>
                  <a:pt x="206" y="429"/>
                </a:lnTo>
                <a:lnTo>
                  <a:pt x="206" y="378"/>
                </a:lnTo>
                <a:lnTo>
                  <a:pt x="216" y="354"/>
                </a:lnTo>
                <a:lnTo>
                  <a:pt x="217" y="273"/>
                </a:lnTo>
                <a:lnTo>
                  <a:pt x="213" y="262"/>
                </a:lnTo>
                <a:lnTo>
                  <a:pt x="225" y="242"/>
                </a:lnTo>
                <a:lnTo>
                  <a:pt x="232" y="181"/>
                </a:lnTo>
                <a:lnTo>
                  <a:pt x="227" y="152"/>
                </a:lnTo>
                <a:lnTo>
                  <a:pt x="229" y="110"/>
                </a:lnTo>
                <a:lnTo>
                  <a:pt x="215" y="29"/>
                </a:lnTo>
                <a:lnTo>
                  <a:pt x="225" y="22"/>
                </a:lnTo>
                <a:lnTo>
                  <a:pt x="244" y="20"/>
                </a:lnTo>
                <a:lnTo>
                  <a:pt x="255" y="0"/>
                </a:lnTo>
                <a:close/>
              </a:path>
            </a:pathLst>
          </a:custGeom>
          <a:solidFill>
            <a:schemeClr val="accent1"/>
          </a:solidFill>
          <a:ln w="6350">
            <a:solidFill>
              <a:schemeClr val="tx2"/>
            </a:solidFill>
            <a:round/>
            <a:headEnd/>
            <a:tailEnd/>
          </a:ln>
        </p:spPr>
        <p:txBody>
          <a:bodyPr/>
          <a:lstStyle/>
          <a:p>
            <a:endParaRPr lang="en-US"/>
          </a:p>
        </p:txBody>
      </p:sp>
      <p:sp>
        <p:nvSpPr>
          <p:cNvPr id="40" name="Freeform 1152"/>
          <p:cNvSpPr>
            <a:spLocks/>
          </p:cNvSpPr>
          <p:nvPr/>
        </p:nvSpPr>
        <p:spPr bwMode="auto">
          <a:xfrm>
            <a:off x="3972994" y="5573603"/>
            <a:ext cx="57334" cy="77692"/>
          </a:xfrm>
          <a:custGeom>
            <a:avLst/>
            <a:gdLst>
              <a:gd name="T0" fmla="*/ 2147483647 w 121"/>
              <a:gd name="T1" fmla="*/ 2147483647 h 185"/>
              <a:gd name="T2" fmla="*/ 2147483647 w 121"/>
              <a:gd name="T3" fmla="*/ 2147483647 h 185"/>
              <a:gd name="T4" fmla="*/ 2147483647 w 121"/>
              <a:gd name="T5" fmla="*/ 2147483647 h 185"/>
              <a:gd name="T6" fmla="*/ 2147483647 w 121"/>
              <a:gd name="T7" fmla="*/ 2147483647 h 185"/>
              <a:gd name="T8" fmla="*/ 2147483647 w 121"/>
              <a:gd name="T9" fmla="*/ 2147483647 h 185"/>
              <a:gd name="T10" fmla="*/ 2147483647 w 121"/>
              <a:gd name="T11" fmla="*/ 2147483647 h 185"/>
              <a:gd name="T12" fmla="*/ 2147483647 w 121"/>
              <a:gd name="T13" fmla="*/ 2147483647 h 185"/>
              <a:gd name="T14" fmla="*/ 0 w 121"/>
              <a:gd name="T15" fmla="*/ 2147483647 h 185"/>
              <a:gd name="T16" fmla="*/ 2147483647 w 121"/>
              <a:gd name="T17" fmla="*/ 2147483647 h 185"/>
              <a:gd name="T18" fmla="*/ 2147483647 w 121"/>
              <a:gd name="T19" fmla="*/ 2147483647 h 185"/>
              <a:gd name="T20" fmla="*/ 2147483647 w 121"/>
              <a:gd name="T21" fmla="*/ 2147483647 h 185"/>
              <a:gd name="T22" fmla="*/ 2147483647 w 121"/>
              <a:gd name="T23" fmla="*/ 2147483647 h 185"/>
              <a:gd name="T24" fmla="*/ 2147483647 w 121"/>
              <a:gd name="T25" fmla="*/ 2147483647 h 185"/>
              <a:gd name="T26" fmla="*/ 2147483647 w 121"/>
              <a:gd name="T27" fmla="*/ 2147483647 h 185"/>
              <a:gd name="T28" fmla="*/ 2147483647 w 121"/>
              <a:gd name="T29" fmla="*/ 2147483647 h 185"/>
              <a:gd name="T30" fmla="*/ 2147483647 w 121"/>
              <a:gd name="T31" fmla="*/ 2147483647 h 185"/>
              <a:gd name="T32" fmla="*/ 2147483647 w 121"/>
              <a:gd name="T33" fmla="*/ 2147483647 h 185"/>
              <a:gd name="T34" fmla="*/ 2147483647 w 121"/>
              <a:gd name="T35" fmla="*/ 2147483647 h 185"/>
              <a:gd name="T36" fmla="*/ 2147483647 w 121"/>
              <a:gd name="T37" fmla="*/ 2147483647 h 185"/>
              <a:gd name="T38" fmla="*/ 2147483647 w 121"/>
              <a:gd name="T39" fmla="*/ 2147483647 h 185"/>
              <a:gd name="T40" fmla="*/ 2147483647 w 121"/>
              <a:gd name="T41" fmla="*/ 2147483647 h 185"/>
              <a:gd name="T42" fmla="*/ 2147483647 w 121"/>
              <a:gd name="T43" fmla="*/ 2147483647 h 185"/>
              <a:gd name="T44" fmla="*/ 2147483647 w 121"/>
              <a:gd name="T45" fmla="*/ 2147483647 h 185"/>
              <a:gd name="T46" fmla="*/ 2147483647 w 121"/>
              <a:gd name="T47" fmla="*/ 2147483647 h 185"/>
              <a:gd name="T48" fmla="*/ 2147483647 w 121"/>
              <a:gd name="T49" fmla="*/ 2147483647 h 185"/>
              <a:gd name="T50" fmla="*/ 2147483647 w 121"/>
              <a:gd name="T51" fmla="*/ 2147483647 h 185"/>
              <a:gd name="T52" fmla="*/ 2147483647 w 121"/>
              <a:gd name="T53" fmla="*/ 2147483647 h 185"/>
              <a:gd name="T54" fmla="*/ 2147483647 w 121"/>
              <a:gd name="T55" fmla="*/ 2147483647 h 185"/>
              <a:gd name="T56" fmla="*/ 2147483647 w 121"/>
              <a:gd name="T57" fmla="*/ 2147483647 h 185"/>
              <a:gd name="T58" fmla="*/ 2147483647 w 121"/>
              <a:gd name="T59" fmla="*/ 2147483647 h 185"/>
              <a:gd name="T60" fmla="*/ 2147483647 w 121"/>
              <a:gd name="T61" fmla="*/ 2147483647 h 185"/>
              <a:gd name="T62" fmla="*/ 2147483647 w 121"/>
              <a:gd name="T63" fmla="*/ 2147483647 h 185"/>
              <a:gd name="T64" fmla="*/ 2147483647 w 121"/>
              <a:gd name="T65" fmla="*/ 0 h 185"/>
              <a:gd name="T66" fmla="*/ 2147483647 w 121"/>
              <a:gd name="T67" fmla="*/ 2147483647 h 185"/>
              <a:gd name="T68" fmla="*/ 2147483647 w 121"/>
              <a:gd name="T69" fmla="*/ 2147483647 h 185"/>
              <a:gd name="T70" fmla="*/ 2147483647 w 121"/>
              <a:gd name="T71" fmla="*/ 2147483647 h 185"/>
              <a:gd name="T72" fmla="*/ 2147483647 w 121"/>
              <a:gd name="T73" fmla="*/ 2147483647 h 18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1"/>
              <a:gd name="T112" fmla="*/ 0 h 185"/>
              <a:gd name="T113" fmla="*/ 121 w 121"/>
              <a:gd name="T114" fmla="*/ 185 h 18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1" h="185">
                <a:moveTo>
                  <a:pt x="121" y="178"/>
                </a:moveTo>
                <a:lnTo>
                  <a:pt x="102" y="185"/>
                </a:lnTo>
                <a:lnTo>
                  <a:pt x="78" y="175"/>
                </a:lnTo>
                <a:lnTo>
                  <a:pt x="21" y="172"/>
                </a:lnTo>
                <a:lnTo>
                  <a:pt x="18" y="168"/>
                </a:lnTo>
                <a:lnTo>
                  <a:pt x="25" y="162"/>
                </a:lnTo>
                <a:lnTo>
                  <a:pt x="3" y="162"/>
                </a:lnTo>
                <a:lnTo>
                  <a:pt x="0" y="149"/>
                </a:lnTo>
                <a:lnTo>
                  <a:pt x="29" y="137"/>
                </a:lnTo>
                <a:lnTo>
                  <a:pt x="18" y="118"/>
                </a:lnTo>
                <a:lnTo>
                  <a:pt x="51" y="144"/>
                </a:lnTo>
                <a:lnTo>
                  <a:pt x="58" y="139"/>
                </a:lnTo>
                <a:lnTo>
                  <a:pt x="50" y="134"/>
                </a:lnTo>
                <a:lnTo>
                  <a:pt x="54" y="129"/>
                </a:lnTo>
                <a:lnTo>
                  <a:pt x="64" y="139"/>
                </a:lnTo>
                <a:lnTo>
                  <a:pt x="65" y="131"/>
                </a:lnTo>
                <a:lnTo>
                  <a:pt x="78" y="141"/>
                </a:lnTo>
                <a:lnTo>
                  <a:pt x="87" y="137"/>
                </a:lnTo>
                <a:lnTo>
                  <a:pt x="59" y="122"/>
                </a:lnTo>
                <a:lnTo>
                  <a:pt x="53" y="95"/>
                </a:lnTo>
                <a:lnTo>
                  <a:pt x="86" y="78"/>
                </a:lnTo>
                <a:lnTo>
                  <a:pt x="88" y="69"/>
                </a:lnTo>
                <a:lnTo>
                  <a:pt x="78" y="62"/>
                </a:lnTo>
                <a:lnTo>
                  <a:pt x="52" y="70"/>
                </a:lnTo>
                <a:lnTo>
                  <a:pt x="41" y="63"/>
                </a:lnTo>
                <a:lnTo>
                  <a:pt x="40" y="39"/>
                </a:lnTo>
                <a:lnTo>
                  <a:pt x="52" y="40"/>
                </a:lnTo>
                <a:lnTo>
                  <a:pt x="54" y="34"/>
                </a:lnTo>
                <a:lnTo>
                  <a:pt x="49" y="26"/>
                </a:lnTo>
                <a:lnTo>
                  <a:pt x="41" y="21"/>
                </a:lnTo>
                <a:lnTo>
                  <a:pt x="70" y="20"/>
                </a:lnTo>
                <a:lnTo>
                  <a:pt x="75" y="4"/>
                </a:lnTo>
                <a:lnTo>
                  <a:pt x="85" y="0"/>
                </a:lnTo>
                <a:lnTo>
                  <a:pt x="91" y="12"/>
                </a:lnTo>
                <a:lnTo>
                  <a:pt x="114" y="6"/>
                </a:lnTo>
                <a:lnTo>
                  <a:pt x="118" y="15"/>
                </a:lnTo>
                <a:lnTo>
                  <a:pt x="121" y="178"/>
                </a:lnTo>
                <a:close/>
              </a:path>
            </a:pathLst>
          </a:custGeom>
          <a:solidFill>
            <a:schemeClr val="accent1"/>
          </a:solidFill>
          <a:ln w="6350">
            <a:solidFill>
              <a:schemeClr val="tx2"/>
            </a:solidFill>
            <a:round/>
            <a:headEnd/>
            <a:tailEnd/>
          </a:ln>
        </p:spPr>
        <p:txBody>
          <a:bodyPr/>
          <a:lstStyle/>
          <a:p>
            <a:endParaRPr lang="en-US"/>
          </a:p>
        </p:txBody>
      </p:sp>
      <p:sp>
        <p:nvSpPr>
          <p:cNvPr id="41" name="Freeform 1220"/>
          <p:cNvSpPr>
            <a:spLocks/>
          </p:cNvSpPr>
          <p:nvPr/>
        </p:nvSpPr>
        <p:spPr bwMode="auto">
          <a:xfrm>
            <a:off x="3914227" y="5290852"/>
            <a:ext cx="20066" cy="42030"/>
          </a:xfrm>
          <a:custGeom>
            <a:avLst/>
            <a:gdLst>
              <a:gd name="T0" fmla="*/ 2147483647 w 44"/>
              <a:gd name="T1" fmla="*/ 0 h 98"/>
              <a:gd name="T2" fmla="*/ 2147483647 w 44"/>
              <a:gd name="T3" fmla="*/ 2147483647 h 98"/>
              <a:gd name="T4" fmla="*/ 2147483647 w 44"/>
              <a:gd name="T5" fmla="*/ 2147483647 h 98"/>
              <a:gd name="T6" fmla="*/ 2147483647 w 44"/>
              <a:gd name="T7" fmla="*/ 2147483647 h 98"/>
              <a:gd name="T8" fmla="*/ 2147483647 w 44"/>
              <a:gd name="T9" fmla="*/ 2147483647 h 98"/>
              <a:gd name="T10" fmla="*/ 2147483647 w 44"/>
              <a:gd name="T11" fmla="*/ 2147483647 h 98"/>
              <a:gd name="T12" fmla="*/ 2147483647 w 44"/>
              <a:gd name="T13" fmla="*/ 2147483647 h 98"/>
              <a:gd name="T14" fmla="*/ 2147483647 w 44"/>
              <a:gd name="T15" fmla="*/ 2147483647 h 98"/>
              <a:gd name="T16" fmla="*/ 2147483647 w 44"/>
              <a:gd name="T17" fmla="*/ 2147483647 h 98"/>
              <a:gd name="T18" fmla="*/ 2147483647 w 44"/>
              <a:gd name="T19" fmla="*/ 2147483647 h 98"/>
              <a:gd name="T20" fmla="*/ 2147483647 w 44"/>
              <a:gd name="T21" fmla="*/ 2147483647 h 98"/>
              <a:gd name="T22" fmla="*/ 0 w 44"/>
              <a:gd name="T23" fmla="*/ 2147483647 h 98"/>
              <a:gd name="T24" fmla="*/ 2147483647 w 44"/>
              <a:gd name="T25" fmla="*/ 2147483647 h 98"/>
              <a:gd name="T26" fmla="*/ 2147483647 w 44"/>
              <a:gd name="T27" fmla="*/ 2147483647 h 98"/>
              <a:gd name="T28" fmla="*/ 2147483647 w 44"/>
              <a:gd name="T29" fmla="*/ 0 h 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
              <a:gd name="T46" fmla="*/ 0 h 98"/>
              <a:gd name="T47" fmla="*/ 44 w 44"/>
              <a:gd name="T48" fmla="*/ 98 h 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 h="98">
                <a:moveTo>
                  <a:pt x="23" y="0"/>
                </a:moveTo>
                <a:lnTo>
                  <a:pt x="26" y="7"/>
                </a:lnTo>
                <a:lnTo>
                  <a:pt x="35" y="8"/>
                </a:lnTo>
                <a:lnTo>
                  <a:pt x="44" y="37"/>
                </a:lnTo>
                <a:lnTo>
                  <a:pt x="29" y="49"/>
                </a:lnTo>
                <a:lnTo>
                  <a:pt x="37" y="64"/>
                </a:lnTo>
                <a:lnTo>
                  <a:pt x="30" y="65"/>
                </a:lnTo>
                <a:lnTo>
                  <a:pt x="36" y="85"/>
                </a:lnTo>
                <a:lnTo>
                  <a:pt x="29" y="84"/>
                </a:lnTo>
                <a:lnTo>
                  <a:pt x="27" y="98"/>
                </a:lnTo>
                <a:lnTo>
                  <a:pt x="5" y="93"/>
                </a:lnTo>
                <a:lnTo>
                  <a:pt x="0" y="83"/>
                </a:lnTo>
                <a:lnTo>
                  <a:pt x="9" y="56"/>
                </a:lnTo>
                <a:lnTo>
                  <a:pt x="13" y="12"/>
                </a:lnTo>
                <a:lnTo>
                  <a:pt x="23" y="0"/>
                </a:lnTo>
                <a:close/>
              </a:path>
            </a:pathLst>
          </a:custGeom>
          <a:solidFill>
            <a:schemeClr val="accent1"/>
          </a:solidFill>
          <a:ln w="6350">
            <a:solidFill>
              <a:schemeClr val="tx2"/>
            </a:solidFill>
            <a:round/>
            <a:headEnd/>
            <a:tailEnd/>
          </a:ln>
        </p:spPr>
        <p:txBody>
          <a:bodyPr/>
          <a:lstStyle/>
          <a:p>
            <a:endParaRPr lang="en-US"/>
          </a:p>
        </p:txBody>
      </p:sp>
      <p:sp>
        <p:nvSpPr>
          <p:cNvPr id="42" name="Freeform 1221"/>
          <p:cNvSpPr>
            <a:spLocks/>
          </p:cNvSpPr>
          <p:nvPr/>
        </p:nvSpPr>
        <p:spPr bwMode="auto">
          <a:xfrm>
            <a:off x="3932861" y="5355807"/>
            <a:ext cx="14334" cy="14011"/>
          </a:xfrm>
          <a:custGeom>
            <a:avLst/>
            <a:gdLst>
              <a:gd name="T0" fmla="*/ 2147483647 w 29"/>
              <a:gd name="T1" fmla="*/ 0 h 32"/>
              <a:gd name="T2" fmla="*/ 2147483647 w 29"/>
              <a:gd name="T3" fmla="*/ 2147483647 h 32"/>
              <a:gd name="T4" fmla="*/ 2147483647 w 29"/>
              <a:gd name="T5" fmla="*/ 2147483647 h 32"/>
              <a:gd name="T6" fmla="*/ 2147483647 w 29"/>
              <a:gd name="T7" fmla="*/ 2147483647 h 32"/>
              <a:gd name="T8" fmla="*/ 0 w 29"/>
              <a:gd name="T9" fmla="*/ 2147483647 h 32"/>
              <a:gd name="T10" fmla="*/ 2147483647 w 29"/>
              <a:gd name="T11" fmla="*/ 0 h 32"/>
              <a:gd name="T12" fmla="*/ 0 60000 65536"/>
              <a:gd name="T13" fmla="*/ 0 60000 65536"/>
              <a:gd name="T14" fmla="*/ 0 60000 65536"/>
              <a:gd name="T15" fmla="*/ 0 60000 65536"/>
              <a:gd name="T16" fmla="*/ 0 60000 65536"/>
              <a:gd name="T17" fmla="*/ 0 60000 65536"/>
              <a:gd name="T18" fmla="*/ 0 w 29"/>
              <a:gd name="T19" fmla="*/ 0 h 32"/>
              <a:gd name="T20" fmla="*/ 29 w 29"/>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9" h="32">
                <a:moveTo>
                  <a:pt x="19" y="0"/>
                </a:moveTo>
                <a:lnTo>
                  <a:pt x="29" y="10"/>
                </a:lnTo>
                <a:lnTo>
                  <a:pt x="27" y="26"/>
                </a:lnTo>
                <a:lnTo>
                  <a:pt x="8" y="32"/>
                </a:lnTo>
                <a:lnTo>
                  <a:pt x="0" y="13"/>
                </a:lnTo>
                <a:lnTo>
                  <a:pt x="19" y="0"/>
                </a:lnTo>
                <a:close/>
              </a:path>
            </a:pathLst>
          </a:custGeom>
          <a:solidFill>
            <a:schemeClr val="accent1"/>
          </a:solidFill>
          <a:ln w="6350">
            <a:solidFill>
              <a:schemeClr val="tx2"/>
            </a:solidFill>
            <a:round/>
            <a:headEnd/>
            <a:tailEnd/>
          </a:ln>
        </p:spPr>
        <p:txBody>
          <a:bodyPr/>
          <a:lstStyle/>
          <a:p>
            <a:endParaRPr lang="en-US"/>
          </a:p>
        </p:txBody>
      </p:sp>
      <p:sp>
        <p:nvSpPr>
          <p:cNvPr id="43" name="Freeform 1222"/>
          <p:cNvSpPr>
            <a:spLocks/>
          </p:cNvSpPr>
          <p:nvPr/>
        </p:nvSpPr>
        <p:spPr bwMode="auto">
          <a:xfrm>
            <a:off x="3915661" y="5362177"/>
            <a:ext cx="7166" cy="3820"/>
          </a:xfrm>
          <a:custGeom>
            <a:avLst/>
            <a:gdLst>
              <a:gd name="T0" fmla="*/ 0 w 16"/>
              <a:gd name="T1" fmla="*/ 0 h 8"/>
              <a:gd name="T2" fmla="*/ 2147483647 w 16"/>
              <a:gd name="T3" fmla="*/ 2147483647 h 8"/>
              <a:gd name="T4" fmla="*/ 2147483647 w 16"/>
              <a:gd name="T5" fmla="*/ 2147483647 h 8"/>
              <a:gd name="T6" fmla="*/ 0 w 16"/>
              <a:gd name="T7" fmla="*/ 0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0" y="0"/>
                </a:moveTo>
                <a:lnTo>
                  <a:pt x="16" y="4"/>
                </a:lnTo>
                <a:lnTo>
                  <a:pt x="4" y="8"/>
                </a:lnTo>
                <a:lnTo>
                  <a:pt x="0" y="0"/>
                </a:lnTo>
                <a:close/>
              </a:path>
            </a:pathLst>
          </a:custGeom>
          <a:solidFill>
            <a:schemeClr val="accent1"/>
          </a:solidFill>
          <a:ln w="6350">
            <a:solidFill>
              <a:schemeClr val="tx2"/>
            </a:solidFill>
            <a:round/>
            <a:headEnd/>
            <a:tailEnd/>
          </a:ln>
        </p:spPr>
        <p:txBody>
          <a:bodyPr/>
          <a:lstStyle/>
          <a:p>
            <a:endParaRPr lang="en-US"/>
          </a:p>
        </p:txBody>
      </p:sp>
      <p:sp>
        <p:nvSpPr>
          <p:cNvPr id="44" name="Freeform 1223"/>
          <p:cNvSpPr>
            <a:spLocks/>
          </p:cNvSpPr>
          <p:nvPr/>
        </p:nvSpPr>
        <p:spPr bwMode="auto">
          <a:xfrm>
            <a:off x="3915661" y="5368545"/>
            <a:ext cx="7166" cy="3821"/>
          </a:xfrm>
          <a:custGeom>
            <a:avLst/>
            <a:gdLst>
              <a:gd name="T0" fmla="*/ 2147483647 w 15"/>
              <a:gd name="T1" fmla="*/ 2147483647 h 7"/>
              <a:gd name="T2" fmla="*/ 0 w 15"/>
              <a:gd name="T3" fmla="*/ 2147483647 h 7"/>
              <a:gd name="T4" fmla="*/ 2147483647 w 15"/>
              <a:gd name="T5" fmla="*/ 0 h 7"/>
              <a:gd name="T6" fmla="*/ 2147483647 w 15"/>
              <a:gd name="T7" fmla="*/ 2147483647 h 7"/>
              <a:gd name="T8" fmla="*/ 2147483647 w 15"/>
              <a:gd name="T9" fmla="*/ 2147483647 h 7"/>
              <a:gd name="T10" fmla="*/ 0 60000 65536"/>
              <a:gd name="T11" fmla="*/ 0 60000 65536"/>
              <a:gd name="T12" fmla="*/ 0 60000 65536"/>
              <a:gd name="T13" fmla="*/ 0 60000 65536"/>
              <a:gd name="T14" fmla="*/ 0 60000 65536"/>
              <a:gd name="T15" fmla="*/ 0 w 15"/>
              <a:gd name="T16" fmla="*/ 0 h 7"/>
              <a:gd name="T17" fmla="*/ 15 w 15"/>
              <a:gd name="T18" fmla="*/ 7 h 7"/>
            </a:gdLst>
            <a:ahLst/>
            <a:cxnLst>
              <a:cxn ang="T10">
                <a:pos x="T0" y="T1"/>
              </a:cxn>
              <a:cxn ang="T11">
                <a:pos x="T2" y="T3"/>
              </a:cxn>
              <a:cxn ang="T12">
                <a:pos x="T4" y="T5"/>
              </a:cxn>
              <a:cxn ang="T13">
                <a:pos x="T6" y="T7"/>
              </a:cxn>
              <a:cxn ang="T14">
                <a:pos x="T8" y="T9"/>
              </a:cxn>
            </a:cxnLst>
            <a:rect l="T15" t="T16" r="T17" b="T18"/>
            <a:pathLst>
              <a:path w="15" h="7">
                <a:moveTo>
                  <a:pt x="4" y="7"/>
                </a:moveTo>
                <a:lnTo>
                  <a:pt x="0" y="4"/>
                </a:lnTo>
                <a:lnTo>
                  <a:pt x="7" y="0"/>
                </a:lnTo>
                <a:lnTo>
                  <a:pt x="15" y="3"/>
                </a:lnTo>
                <a:lnTo>
                  <a:pt x="4" y="7"/>
                </a:lnTo>
                <a:close/>
              </a:path>
            </a:pathLst>
          </a:custGeom>
          <a:solidFill>
            <a:schemeClr val="accent1"/>
          </a:solidFill>
          <a:ln w="6350">
            <a:solidFill>
              <a:schemeClr val="tx2"/>
            </a:solidFill>
            <a:round/>
            <a:headEnd/>
            <a:tailEnd/>
          </a:ln>
        </p:spPr>
        <p:txBody>
          <a:bodyPr/>
          <a:lstStyle/>
          <a:p>
            <a:endParaRPr lang="en-US"/>
          </a:p>
        </p:txBody>
      </p:sp>
      <p:sp>
        <p:nvSpPr>
          <p:cNvPr id="45" name="Freeform 1224"/>
          <p:cNvSpPr>
            <a:spLocks/>
          </p:cNvSpPr>
          <p:nvPr/>
        </p:nvSpPr>
        <p:spPr bwMode="auto">
          <a:xfrm>
            <a:off x="3918528" y="5372365"/>
            <a:ext cx="8600" cy="6368"/>
          </a:xfrm>
          <a:custGeom>
            <a:avLst/>
            <a:gdLst>
              <a:gd name="T0" fmla="*/ 0 w 19"/>
              <a:gd name="T1" fmla="*/ 2147483647 h 14"/>
              <a:gd name="T2" fmla="*/ 2147483647 w 19"/>
              <a:gd name="T3" fmla="*/ 0 h 14"/>
              <a:gd name="T4" fmla="*/ 2147483647 w 19"/>
              <a:gd name="T5" fmla="*/ 2147483647 h 14"/>
              <a:gd name="T6" fmla="*/ 0 w 19"/>
              <a:gd name="T7" fmla="*/ 2147483647 h 14"/>
              <a:gd name="T8" fmla="*/ 0 60000 65536"/>
              <a:gd name="T9" fmla="*/ 0 60000 65536"/>
              <a:gd name="T10" fmla="*/ 0 60000 65536"/>
              <a:gd name="T11" fmla="*/ 0 60000 65536"/>
              <a:gd name="T12" fmla="*/ 0 w 19"/>
              <a:gd name="T13" fmla="*/ 0 h 14"/>
              <a:gd name="T14" fmla="*/ 19 w 19"/>
              <a:gd name="T15" fmla="*/ 14 h 14"/>
            </a:gdLst>
            <a:ahLst/>
            <a:cxnLst>
              <a:cxn ang="T8">
                <a:pos x="T0" y="T1"/>
              </a:cxn>
              <a:cxn ang="T9">
                <a:pos x="T2" y="T3"/>
              </a:cxn>
              <a:cxn ang="T10">
                <a:pos x="T4" y="T5"/>
              </a:cxn>
              <a:cxn ang="T11">
                <a:pos x="T6" y="T7"/>
              </a:cxn>
            </a:cxnLst>
            <a:rect l="T12" t="T13" r="T14" b="T15"/>
            <a:pathLst>
              <a:path w="19" h="14">
                <a:moveTo>
                  <a:pt x="0" y="4"/>
                </a:moveTo>
                <a:lnTo>
                  <a:pt x="16" y="0"/>
                </a:lnTo>
                <a:lnTo>
                  <a:pt x="19" y="14"/>
                </a:lnTo>
                <a:lnTo>
                  <a:pt x="0" y="4"/>
                </a:lnTo>
                <a:close/>
              </a:path>
            </a:pathLst>
          </a:custGeom>
          <a:solidFill>
            <a:schemeClr val="accent1"/>
          </a:solidFill>
          <a:ln w="6350">
            <a:solidFill>
              <a:schemeClr val="tx2"/>
            </a:solidFill>
            <a:round/>
            <a:headEnd/>
            <a:tailEnd/>
          </a:ln>
        </p:spPr>
        <p:txBody>
          <a:bodyPr/>
          <a:lstStyle/>
          <a:p>
            <a:endParaRPr lang="en-US"/>
          </a:p>
        </p:txBody>
      </p:sp>
      <p:sp>
        <p:nvSpPr>
          <p:cNvPr id="46" name="Freeform 1225"/>
          <p:cNvSpPr>
            <a:spLocks/>
          </p:cNvSpPr>
          <p:nvPr/>
        </p:nvSpPr>
        <p:spPr bwMode="auto">
          <a:xfrm>
            <a:off x="3918528" y="5377460"/>
            <a:ext cx="7166" cy="3820"/>
          </a:xfrm>
          <a:custGeom>
            <a:avLst/>
            <a:gdLst>
              <a:gd name="T0" fmla="*/ 0 w 13"/>
              <a:gd name="T1" fmla="*/ 0 h 9"/>
              <a:gd name="T2" fmla="*/ 2147483647 w 13"/>
              <a:gd name="T3" fmla="*/ 2147483647 h 9"/>
              <a:gd name="T4" fmla="*/ 0 w 13"/>
              <a:gd name="T5" fmla="*/ 0 h 9"/>
              <a:gd name="T6" fmla="*/ 0 60000 65536"/>
              <a:gd name="T7" fmla="*/ 0 60000 65536"/>
              <a:gd name="T8" fmla="*/ 0 60000 65536"/>
              <a:gd name="T9" fmla="*/ 0 w 13"/>
              <a:gd name="T10" fmla="*/ 0 h 9"/>
              <a:gd name="T11" fmla="*/ 13 w 13"/>
              <a:gd name="T12" fmla="*/ 9 h 9"/>
            </a:gdLst>
            <a:ahLst/>
            <a:cxnLst>
              <a:cxn ang="T6">
                <a:pos x="T0" y="T1"/>
              </a:cxn>
              <a:cxn ang="T7">
                <a:pos x="T2" y="T3"/>
              </a:cxn>
              <a:cxn ang="T8">
                <a:pos x="T4" y="T5"/>
              </a:cxn>
            </a:cxnLst>
            <a:rect l="T9" t="T10" r="T11" b="T12"/>
            <a:pathLst>
              <a:path w="13" h="9">
                <a:moveTo>
                  <a:pt x="0" y="0"/>
                </a:moveTo>
                <a:lnTo>
                  <a:pt x="13" y="9"/>
                </a:lnTo>
                <a:lnTo>
                  <a:pt x="0" y="0"/>
                </a:lnTo>
                <a:close/>
              </a:path>
            </a:pathLst>
          </a:custGeom>
          <a:solidFill>
            <a:schemeClr val="accent1"/>
          </a:solidFill>
          <a:ln w="6350">
            <a:solidFill>
              <a:schemeClr val="tx2"/>
            </a:solidFill>
            <a:round/>
            <a:headEnd/>
            <a:tailEnd/>
          </a:ln>
        </p:spPr>
        <p:txBody>
          <a:bodyPr/>
          <a:lstStyle/>
          <a:p>
            <a:endParaRPr lang="en-US"/>
          </a:p>
        </p:txBody>
      </p:sp>
      <p:sp>
        <p:nvSpPr>
          <p:cNvPr id="47" name="Freeform 1226"/>
          <p:cNvSpPr>
            <a:spLocks/>
          </p:cNvSpPr>
          <p:nvPr/>
        </p:nvSpPr>
        <p:spPr bwMode="auto">
          <a:xfrm>
            <a:off x="3924261" y="5391470"/>
            <a:ext cx="2866" cy="3821"/>
          </a:xfrm>
          <a:custGeom>
            <a:avLst/>
            <a:gdLst>
              <a:gd name="T0" fmla="*/ 0 w 6"/>
              <a:gd name="T1" fmla="*/ 0 h 10"/>
              <a:gd name="T2" fmla="*/ 2147483647 w 6"/>
              <a:gd name="T3" fmla="*/ 2147483647 h 10"/>
              <a:gd name="T4" fmla="*/ 2147483647 w 6"/>
              <a:gd name="T5" fmla="*/ 2147483647 h 10"/>
              <a:gd name="T6" fmla="*/ 0 w 6"/>
              <a:gd name="T7" fmla="*/ 0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0" y="0"/>
                </a:moveTo>
                <a:lnTo>
                  <a:pt x="6" y="9"/>
                </a:lnTo>
                <a:lnTo>
                  <a:pt x="1" y="10"/>
                </a:lnTo>
                <a:lnTo>
                  <a:pt x="0" y="0"/>
                </a:lnTo>
                <a:close/>
              </a:path>
            </a:pathLst>
          </a:custGeom>
          <a:solidFill>
            <a:schemeClr val="accent1"/>
          </a:solidFill>
          <a:ln w="6350">
            <a:solidFill>
              <a:schemeClr val="tx2"/>
            </a:solidFill>
            <a:round/>
            <a:headEnd/>
            <a:tailEnd/>
          </a:ln>
        </p:spPr>
        <p:txBody>
          <a:bodyPr/>
          <a:lstStyle/>
          <a:p>
            <a:endParaRPr lang="en-US"/>
          </a:p>
        </p:txBody>
      </p:sp>
      <p:sp>
        <p:nvSpPr>
          <p:cNvPr id="48" name="Freeform 1227"/>
          <p:cNvSpPr>
            <a:spLocks/>
          </p:cNvSpPr>
          <p:nvPr/>
        </p:nvSpPr>
        <p:spPr bwMode="auto">
          <a:xfrm>
            <a:off x="3907061" y="5437322"/>
            <a:ext cx="8600" cy="6369"/>
          </a:xfrm>
          <a:custGeom>
            <a:avLst/>
            <a:gdLst>
              <a:gd name="T0" fmla="*/ 2147483647 w 14"/>
              <a:gd name="T1" fmla="*/ 2147483647 h 13"/>
              <a:gd name="T2" fmla="*/ 0 w 14"/>
              <a:gd name="T3" fmla="*/ 2147483647 h 13"/>
              <a:gd name="T4" fmla="*/ 2147483647 w 14"/>
              <a:gd name="T5" fmla="*/ 2147483647 h 13"/>
              <a:gd name="T6" fmla="*/ 2147483647 w 14"/>
              <a:gd name="T7" fmla="*/ 0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14" y="13"/>
                </a:moveTo>
                <a:lnTo>
                  <a:pt x="0" y="11"/>
                </a:lnTo>
                <a:lnTo>
                  <a:pt x="1" y="5"/>
                </a:lnTo>
                <a:lnTo>
                  <a:pt x="7" y="0"/>
                </a:lnTo>
                <a:lnTo>
                  <a:pt x="14" y="13"/>
                </a:lnTo>
                <a:close/>
              </a:path>
            </a:pathLst>
          </a:custGeom>
          <a:solidFill>
            <a:schemeClr val="accent1"/>
          </a:solidFill>
          <a:ln w="6350">
            <a:solidFill>
              <a:schemeClr val="tx2"/>
            </a:solidFill>
            <a:round/>
            <a:headEnd/>
            <a:tailEnd/>
          </a:ln>
        </p:spPr>
        <p:txBody>
          <a:bodyPr/>
          <a:lstStyle/>
          <a:p>
            <a:endParaRPr lang="en-US"/>
          </a:p>
        </p:txBody>
      </p:sp>
      <p:sp>
        <p:nvSpPr>
          <p:cNvPr id="49" name="Freeform 1228"/>
          <p:cNvSpPr>
            <a:spLocks/>
          </p:cNvSpPr>
          <p:nvPr/>
        </p:nvSpPr>
        <p:spPr bwMode="auto">
          <a:xfrm>
            <a:off x="3895594" y="5441143"/>
            <a:ext cx="5734" cy="3820"/>
          </a:xfrm>
          <a:custGeom>
            <a:avLst/>
            <a:gdLst>
              <a:gd name="T0" fmla="*/ 2147483647 w 13"/>
              <a:gd name="T1" fmla="*/ 0 h 8"/>
              <a:gd name="T2" fmla="*/ 2147483647 w 13"/>
              <a:gd name="T3" fmla="*/ 2147483647 h 8"/>
              <a:gd name="T4" fmla="*/ 0 w 13"/>
              <a:gd name="T5" fmla="*/ 2147483647 h 8"/>
              <a:gd name="T6" fmla="*/ 2147483647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13" y="0"/>
                </a:moveTo>
                <a:lnTo>
                  <a:pt x="10" y="8"/>
                </a:lnTo>
                <a:lnTo>
                  <a:pt x="0" y="7"/>
                </a:lnTo>
                <a:lnTo>
                  <a:pt x="13" y="0"/>
                </a:lnTo>
                <a:close/>
              </a:path>
            </a:pathLst>
          </a:custGeom>
          <a:solidFill>
            <a:schemeClr val="accent1"/>
          </a:solidFill>
          <a:ln w="6350">
            <a:solidFill>
              <a:schemeClr val="tx2"/>
            </a:solidFill>
            <a:round/>
            <a:headEnd/>
            <a:tailEnd/>
          </a:ln>
        </p:spPr>
        <p:txBody>
          <a:bodyPr/>
          <a:lstStyle/>
          <a:p>
            <a:endParaRPr lang="en-US"/>
          </a:p>
        </p:txBody>
      </p:sp>
      <p:sp>
        <p:nvSpPr>
          <p:cNvPr id="50" name="Freeform 1229"/>
          <p:cNvSpPr>
            <a:spLocks/>
          </p:cNvSpPr>
          <p:nvPr/>
        </p:nvSpPr>
        <p:spPr bwMode="auto">
          <a:xfrm>
            <a:off x="3898461" y="5451333"/>
            <a:ext cx="8600" cy="7642"/>
          </a:xfrm>
          <a:custGeom>
            <a:avLst/>
            <a:gdLst>
              <a:gd name="T0" fmla="*/ 0 w 14"/>
              <a:gd name="T1" fmla="*/ 0 h 16"/>
              <a:gd name="T2" fmla="*/ 2147483647 w 14"/>
              <a:gd name="T3" fmla="*/ 2147483647 h 16"/>
              <a:gd name="T4" fmla="*/ 2147483647 w 14"/>
              <a:gd name="T5" fmla="*/ 2147483647 h 16"/>
              <a:gd name="T6" fmla="*/ 2147483647 w 14"/>
              <a:gd name="T7" fmla="*/ 2147483647 h 16"/>
              <a:gd name="T8" fmla="*/ 0 w 14"/>
              <a:gd name="T9" fmla="*/ 0 h 16"/>
              <a:gd name="T10" fmla="*/ 0 60000 65536"/>
              <a:gd name="T11" fmla="*/ 0 60000 65536"/>
              <a:gd name="T12" fmla="*/ 0 60000 65536"/>
              <a:gd name="T13" fmla="*/ 0 60000 65536"/>
              <a:gd name="T14" fmla="*/ 0 60000 65536"/>
              <a:gd name="T15" fmla="*/ 0 w 14"/>
              <a:gd name="T16" fmla="*/ 0 h 16"/>
              <a:gd name="T17" fmla="*/ 14 w 14"/>
              <a:gd name="T18" fmla="*/ 16 h 16"/>
            </a:gdLst>
            <a:ahLst/>
            <a:cxnLst>
              <a:cxn ang="T10">
                <a:pos x="T0" y="T1"/>
              </a:cxn>
              <a:cxn ang="T11">
                <a:pos x="T2" y="T3"/>
              </a:cxn>
              <a:cxn ang="T12">
                <a:pos x="T4" y="T5"/>
              </a:cxn>
              <a:cxn ang="T13">
                <a:pos x="T6" y="T7"/>
              </a:cxn>
              <a:cxn ang="T14">
                <a:pos x="T8" y="T9"/>
              </a:cxn>
            </a:cxnLst>
            <a:rect l="T15" t="T16" r="T17" b="T18"/>
            <a:pathLst>
              <a:path w="14" h="16">
                <a:moveTo>
                  <a:pt x="0" y="0"/>
                </a:moveTo>
                <a:lnTo>
                  <a:pt x="13" y="5"/>
                </a:lnTo>
                <a:lnTo>
                  <a:pt x="14" y="13"/>
                </a:lnTo>
                <a:lnTo>
                  <a:pt x="8" y="16"/>
                </a:lnTo>
                <a:lnTo>
                  <a:pt x="0" y="0"/>
                </a:lnTo>
                <a:close/>
              </a:path>
            </a:pathLst>
          </a:custGeom>
          <a:solidFill>
            <a:schemeClr val="accent1"/>
          </a:solidFill>
          <a:ln w="6350">
            <a:solidFill>
              <a:schemeClr val="tx2"/>
            </a:solidFill>
            <a:round/>
            <a:headEnd/>
            <a:tailEnd/>
          </a:ln>
        </p:spPr>
        <p:txBody>
          <a:bodyPr/>
          <a:lstStyle/>
          <a:p>
            <a:endParaRPr lang="en-US"/>
          </a:p>
        </p:txBody>
      </p:sp>
      <p:sp>
        <p:nvSpPr>
          <p:cNvPr id="51" name="Freeform 1230"/>
          <p:cNvSpPr>
            <a:spLocks/>
          </p:cNvSpPr>
          <p:nvPr/>
        </p:nvSpPr>
        <p:spPr bwMode="auto">
          <a:xfrm>
            <a:off x="3891295" y="5450059"/>
            <a:ext cx="8600" cy="15284"/>
          </a:xfrm>
          <a:custGeom>
            <a:avLst/>
            <a:gdLst>
              <a:gd name="T0" fmla="*/ 2147483647 w 18"/>
              <a:gd name="T1" fmla="*/ 2147483647 h 36"/>
              <a:gd name="T2" fmla="*/ 0 w 18"/>
              <a:gd name="T3" fmla="*/ 2147483647 h 36"/>
              <a:gd name="T4" fmla="*/ 2147483647 w 18"/>
              <a:gd name="T5" fmla="*/ 0 h 36"/>
              <a:gd name="T6" fmla="*/ 2147483647 w 18"/>
              <a:gd name="T7" fmla="*/ 2147483647 h 36"/>
              <a:gd name="T8" fmla="*/ 2147483647 w 18"/>
              <a:gd name="T9" fmla="*/ 2147483647 h 36"/>
              <a:gd name="T10" fmla="*/ 0 60000 65536"/>
              <a:gd name="T11" fmla="*/ 0 60000 65536"/>
              <a:gd name="T12" fmla="*/ 0 60000 65536"/>
              <a:gd name="T13" fmla="*/ 0 60000 65536"/>
              <a:gd name="T14" fmla="*/ 0 60000 65536"/>
              <a:gd name="T15" fmla="*/ 0 w 18"/>
              <a:gd name="T16" fmla="*/ 0 h 36"/>
              <a:gd name="T17" fmla="*/ 18 w 18"/>
              <a:gd name="T18" fmla="*/ 36 h 36"/>
            </a:gdLst>
            <a:ahLst/>
            <a:cxnLst>
              <a:cxn ang="T10">
                <a:pos x="T0" y="T1"/>
              </a:cxn>
              <a:cxn ang="T11">
                <a:pos x="T2" y="T3"/>
              </a:cxn>
              <a:cxn ang="T12">
                <a:pos x="T4" y="T5"/>
              </a:cxn>
              <a:cxn ang="T13">
                <a:pos x="T6" y="T7"/>
              </a:cxn>
              <a:cxn ang="T14">
                <a:pos x="T8" y="T9"/>
              </a:cxn>
            </a:cxnLst>
            <a:rect l="T15" t="T16" r="T17" b="T18"/>
            <a:pathLst>
              <a:path w="18" h="36">
                <a:moveTo>
                  <a:pt x="2" y="9"/>
                </a:moveTo>
                <a:lnTo>
                  <a:pt x="0" y="3"/>
                </a:lnTo>
                <a:lnTo>
                  <a:pt x="7" y="0"/>
                </a:lnTo>
                <a:lnTo>
                  <a:pt x="18" y="36"/>
                </a:lnTo>
                <a:lnTo>
                  <a:pt x="2" y="9"/>
                </a:lnTo>
                <a:close/>
              </a:path>
            </a:pathLst>
          </a:custGeom>
          <a:solidFill>
            <a:schemeClr val="accent1"/>
          </a:solidFill>
          <a:ln w="6350">
            <a:solidFill>
              <a:schemeClr val="tx2"/>
            </a:solidFill>
            <a:round/>
            <a:headEnd/>
            <a:tailEnd/>
          </a:ln>
        </p:spPr>
        <p:txBody>
          <a:bodyPr/>
          <a:lstStyle/>
          <a:p>
            <a:endParaRPr lang="en-US"/>
          </a:p>
        </p:txBody>
      </p:sp>
      <p:sp>
        <p:nvSpPr>
          <p:cNvPr id="52" name="Freeform 1231"/>
          <p:cNvSpPr>
            <a:spLocks/>
          </p:cNvSpPr>
          <p:nvPr/>
        </p:nvSpPr>
        <p:spPr bwMode="auto">
          <a:xfrm>
            <a:off x="3902760" y="5460248"/>
            <a:ext cx="8600" cy="6369"/>
          </a:xfrm>
          <a:custGeom>
            <a:avLst/>
            <a:gdLst>
              <a:gd name="T0" fmla="*/ 0 w 17"/>
              <a:gd name="T1" fmla="*/ 0 h 15"/>
              <a:gd name="T2" fmla="*/ 2147483647 w 17"/>
              <a:gd name="T3" fmla="*/ 2147483647 h 15"/>
              <a:gd name="T4" fmla="*/ 2147483647 w 17"/>
              <a:gd name="T5" fmla="*/ 2147483647 h 15"/>
              <a:gd name="T6" fmla="*/ 2147483647 w 17"/>
              <a:gd name="T7" fmla="*/ 2147483647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9" y="2"/>
                </a:lnTo>
                <a:lnTo>
                  <a:pt x="17" y="15"/>
                </a:lnTo>
                <a:lnTo>
                  <a:pt x="2" y="10"/>
                </a:lnTo>
                <a:lnTo>
                  <a:pt x="0" y="0"/>
                </a:lnTo>
                <a:close/>
              </a:path>
            </a:pathLst>
          </a:custGeom>
          <a:solidFill>
            <a:schemeClr val="accent1"/>
          </a:solidFill>
          <a:ln w="6350">
            <a:solidFill>
              <a:schemeClr val="tx2"/>
            </a:solidFill>
            <a:round/>
            <a:headEnd/>
            <a:tailEnd/>
          </a:ln>
        </p:spPr>
        <p:txBody>
          <a:bodyPr/>
          <a:lstStyle/>
          <a:p>
            <a:endParaRPr lang="en-US"/>
          </a:p>
        </p:txBody>
      </p:sp>
      <p:sp>
        <p:nvSpPr>
          <p:cNvPr id="53" name="Freeform 1232"/>
          <p:cNvSpPr>
            <a:spLocks/>
          </p:cNvSpPr>
          <p:nvPr/>
        </p:nvSpPr>
        <p:spPr bwMode="auto">
          <a:xfrm>
            <a:off x="3891295" y="5462795"/>
            <a:ext cx="4300" cy="7642"/>
          </a:xfrm>
          <a:custGeom>
            <a:avLst/>
            <a:gdLst>
              <a:gd name="T0" fmla="*/ 2147483647 w 9"/>
              <a:gd name="T1" fmla="*/ 2147483647 h 18"/>
              <a:gd name="T2" fmla="*/ 0 w 9"/>
              <a:gd name="T3" fmla="*/ 2147483647 h 18"/>
              <a:gd name="T4" fmla="*/ 2147483647 w 9"/>
              <a:gd name="T5" fmla="*/ 0 h 18"/>
              <a:gd name="T6" fmla="*/ 2147483647 w 9"/>
              <a:gd name="T7" fmla="*/ 2147483647 h 18"/>
              <a:gd name="T8" fmla="*/ 2147483647 w 9"/>
              <a:gd name="T9" fmla="*/ 2147483647 h 18"/>
              <a:gd name="T10" fmla="*/ 2147483647 w 9"/>
              <a:gd name="T11" fmla="*/ 2147483647 h 18"/>
              <a:gd name="T12" fmla="*/ 0 60000 65536"/>
              <a:gd name="T13" fmla="*/ 0 60000 65536"/>
              <a:gd name="T14" fmla="*/ 0 60000 65536"/>
              <a:gd name="T15" fmla="*/ 0 60000 65536"/>
              <a:gd name="T16" fmla="*/ 0 60000 65536"/>
              <a:gd name="T17" fmla="*/ 0 60000 65536"/>
              <a:gd name="T18" fmla="*/ 0 w 9"/>
              <a:gd name="T19" fmla="*/ 0 h 18"/>
              <a:gd name="T20" fmla="*/ 9 w 9"/>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9" h="18">
                <a:moveTo>
                  <a:pt x="1" y="9"/>
                </a:moveTo>
                <a:lnTo>
                  <a:pt x="0" y="2"/>
                </a:lnTo>
                <a:lnTo>
                  <a:pt x="6" y="0"/>
                </a:lnTo>
                <a:lnTo>
                  <a:pt x="9" y="10"/>
                </a:lnTo>
                <a:lnTo>
                  <a:pt x="3" y="18"/>
                </a:lnTo>
                <a:lnTo>
                  <a:pt x="1" y="9"/>
                </a:lnTo>
                <a:close/>
              </a:path>
            </a:pathLst>
          </a:custGeom>
          <a:solidFill>
            <a:schemeClr val="accent1"/>
          </a:solidFill>
          <a:ln w="6350">
            <a:solidFill>
              <a:schemeClr val="tx2"/>
            </a:solidFill>
            <a:round/>
            <a:headEnd/>
            <a:tailEnd/>
          </a:ln>
        </p:spPr>
        <p:txBody>
          <a:bodyPr/>
          <a:lstStyle/>
          <a:p>
            <a:endParaRPr lang="en-US"/>
          </a:p>
        </p:txBody>
      </p:sp>
      <p:sp>
        <p:nvSpPr>
          <p:cNvPr id="54" name="Freeform 1233"/>
          <p:cNvSpPr>
            <a:spLocks/>
          </p:cNvSpPr>
          <p:nvPr/>
        </p:nvSpPr>
        <p:spPr bwMode="auto">
          <a:xfrm>
            <a:off x="3897028" y="5467890"/>
            <a:ext cx="15767" cy="36936"/>
          </a:xfrm>
          <a:custGeom>
            <a:avLst/>
            <a:gdLst>
              <a:gd name="T0" fmla="*/ 2147483647 w 34"/>
              <a:gd name="T1" fmla="*/ 2147483647 h 89"/>
              <a:gd name="T2" fmla="*/ 2147483647 w 34"/>
              <a:gd name="T3" fmla="*/ 2147483647 h 89"/>
              <a:gd name="T4" fmla="*/ 2147483647 w 34"/>
              <a:gd name="T5" fmla="*/ 0 h 89"/>
              <a:gd name="T6" fmla="*/ 2147483647 w 34"/>
              <a:gd name="T7" fmla="*/ 2147483647 h 89"/>
              <a:gd name="T8" fmla="*/ 2147483647 w 34"/>
              <a:gd name="T9" fmla="*/ 2147483647 h 89"/>
              <a:gd name="T10" fmla="*/ 2147483647 w 34"/>
              <a:gd name="T11" fmla="*/ 2147483647 h 89"/>
              <a:gd name="T12" fmla="*/ 2147483647 w 34"/>
              <a:gd name="T13" fmla="*/ 2147483647 h 89"/>
              <a:gd name="T14" fmla="*/ 2147483647 w 34"/>
              <a:gd name="T15" fmla="*/ 2147483647 h 89"/>
              <a:gd name="T16" fmla="*/ 2147483647 w 34"/>
              <a:gd name="T17" fmla="*/ 2147483647 h 89"/>
              <a:gd name="T18" fmla="*/ 0 w 34"/>
              <a:gd name="T19" fmla="*/ 2147483647 h 89"/>
              <a:gd name="T20" fmla="*/ 2147483647 w 34"/>
              <a:gd name="T21" fmla="*/ 2147483647 h 89"/>
              <a:gd name="T22" fmla="*/ 2147483647 w 34"/>
              <a:gd name="T23" fmla="*/ 2147483647 h 89"/>
              <a:gd name="T24" fmla="*/ 2147483647 w 34"/>
              <a:gd name="T25" fmla="*/ 2147483647 h 89"/>
              <a:gd name="T26" fmla="*/ 2147483647 w 34"/>
              <a:gd name="T27" fmla="*/ 2147483647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89"/>
              <a:gd name="T44" fmla="*/ 34 w 34"/>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89">
                <a:moveTo>
                  <a:pt x="9" y="19"/>
                </a:moveTo>
                <a:lnTo>
                  <a:pt x="10" y="8"/>
                </a:lnTo>
                <a:lnTo>
                  <a:pt x="18" y="0"/>
                </a:lnTo>
                <a:lnTo>
                  <a:pt x="30" y="16"/>
                </a:lnTo>
                <a:lnTo>
                  <a:pt x="34" y="72"/>
                </a:lnTo>
                <a:lnTo>
                  <a:pt x="28" y="88"/>
                </a:lnTo>
                <a:lnTo>
                  <a:pt x="21" y="89"/>
                </a:lnTo>
                <a:lnTo>
                  <a:pt x="16" y="82"/>
                </a:lnTo>
                <a:lnTo>
                  <a:pt x="17" y="54"/>
                </a:lnTo>
                <a:lnTo>
                  <a:pt x="0" y="40"/>
                </a:lnTo>
                <a:lnTo>
                  <a:pt x="10" y="42"/>
                </a:lnTo>
                <a:lnTo>
                  <a:pt x="11" y="33"/>
                </a:lnTo>
                <a:lnTo>
                  <a:pt x="2" y="28"/>
                </a:lnTo>
                <a:lnTo>
                  <a:pt x="9" y="19"/>
                </a:lnTo>
                <a:close/>
              </a:path>
            </a:pathLst>
          </a:custGeom>
          <a:solidFill>
            <a:schemeClr val="accent1"/>
          </a:solidFill>
          <a:ln w="6350">
            <a:solidFill>
              <a:schemeClr val="tx2"/>
            </a:solidFill>
            <a:round/>
            <a:headEnd/>
            <a:tailEnd/>
          </a:ln>
        </p:spPr>
        <p:txBody>
          <a:bodyPr/>
          <a:lstStyle/>
          <a:p>
            <a:endParaRPr lang="en-US"/>
          </a:p>
        </p:txBody>
      </p:sp>
      <p:sp>
        <p:nvSpPr>
          <p:cNvPr id="55" name="Freeform 1234"/>
          <p:cNvSpPr>
            <a:spLocks/>
          </p:cNvSpPr>
          <p:nvPr/>
        </p:nvSpPr>
        <p:spPr bwMode="auto">
          <a:xfrm>
            <a:off x="3889860" y="5494637"/>
            <a:ext cx="5734" cy="5095"/>
          </a:xfrm>
          <a:custGeom>
            <a:avLst/>
            <a:gdLst>
              <a:gd name="T0" fmla="*/ 0 w 13"/>
              <a:gd name="T1" fmla="*/ 2147483647 h 14"/>
              <a:gd name="T2" fmla="*/ 2147483647 w 13"/>
              <a:gd name="T3" fmla="*/ 0 h 14"/>
              <a:gd name="T4" fmla="*/ 2147483647 w 13"/>
              <a:gd name="T5" fmla="*/ 2147483647 h 14"/>
              <a:gd name="T6" fmla="*/ 2147483647 w 13"/>
              <a:gd name="T7" fmla="*/ 2147483647 h 14"/>
              <a:gd name="T8" fmla="*/ 0 w 13"/>
              <a:gd name="T9" fmla="*/ 2147483647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0" y="4"/>
                </a:moveTo>
                <a:lnTo>
                  <a:pt x="6" y="0"/>
                </a:lnTo>
                <a:lnTo>
                  <a:pt x="13" y="13"/>
                </a:lnTo>
                <a:lnTo>
                  <a:pt x="5" y="14"/>
                </a:lnTo>
                <a:lnTo>
                  <a:pt x="0" y="4"/>
                </a:lnTo>
                <a:close/>
              </a:path>
            </a:pathLst>
          </a:custGeom>
          <a:solidFill>
            <a:schemeClr val="accent1"/>
          </a:solidFill>
          <a:ln w="6350">
            <a:solidFill>
              <a:schemeClr val="tx2"/>
            </a:solidFill>
            <a:round/>
            <a:headEnd/>
            <a:tailEnd/>
          </a:ln>
        </p:spPr>
        <p:txBody>
          <a:bodyPr/>
          <a:lstStyle/>
          <a:p>
            <a:endParaRPr lang="en-US"/>
          </a:p>
        </p:txBody>
      </p:sp>
      <p:sp>
        <p:nvSpPr>
          <p:cNvPr id="56" name="Freeform 1235"/>
          <p:cNvSpPr>
            <a:spLocks/>
          </p:cNvSpPr>
          <p:nvPr/>
        </p:nvSpPr>
        <p:spPr bwMode="auto">
          <a:xfrm>
            <a:off x="3892728" y="5508646"/>
            <a:ext cx="11467" cy="8916"/>
          </a:xfrm>
          <a:custGeom>
            <a:avLst/>
            <a:gdLst>
              <a:gd name="T0" fmla="*/ 0 w 22"/>
              <a:gd name="T1" fmla="*/ 2147483647 h 20"/>
              <a:gd name="T2" fmla="*/ 0 w 22"/>
              <a:gd name="T3" fmla="*/ 0 h 20"/>
              <a:gd name="T4" fmla="*/ 2147483647 w 22"/>
              <a:gd name="T5" fmla="*/ 2147483647 h 20"/>
              <a:gd name="T6" fmla="*/ 2147483647 w 22"/>
              <a:gd name="T7" fmla="*/ 2147483647 h 20"/>
              <a:gd name="T8" fmla="*/ 2147483647 w 22"/>
              <a:gd name="T9" fmla="*/ 2147483647 h 20"/>
              <a:gd name="T10" fmla="*/ 2147483647 w 22"/>
              <a:gd name="T11" fmla="*/ 2147483647 h 20"/>
              <a:gd name="T12" fmla="*/ 0 w 22"/>
              <a:gd name="T13" fmla="*/ 2147483647 h 20"/>
              <a:gd name="T14" fmla="*/ 0 60000 65536"/>
              <a:gd name="T15" fmla="*/ 0 60000 65536"/>
              <a:gd name="T16" fmla="*/ 0 60000 65536"/>
              <a:gd name="T17" fmla="*/ 0 60000 65536"/>
              <a:gd name="T18" fmla="*/ 0 60000 65536"/>
              <a:gd name="T19" fmla="*/ 0 60000 65536"/>
              <a:gd name="T20" fmla="*/ 0 60000 65536"/>
              <a:gd name="T21" fmla="*/ 0 w 22"/>
              <a:gd name="T22" fmla="*/ 0 h 20"/>
              <a:gd name="T23" fmla="*/ 22 w 2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0">
                <a:moveTo>
                  <a:pt x="0" y="8"/>
                </a:moveTo>
                <a:lnTo>
                  <a:pt x="0" y="0"/>
                </a:lnTo>
                <a:lnTo>
                  <a:pt x="22" y="3"/>
                </a:lnTo>
                <a:lnTo>
                  <a:pt x="17" y="20"/>
                </a:lnTo>
                <a:lnTo>
                  <a:pt x="7" y="12"/>
                </a:lnTo>
                <a:lnTo>
                  <a:pt x="2" y="15"/>
                </a:lnTo>
                <a:lnTo>
                  <a:pt x="0" y="8"/>
                </a:lnTo>
                <a:close/>
              </a:path>
            </a:pathLst>
          </a:custGeom>
          <a:solidFill>
            <a:schemeClr val="accent1"/>
          </a:solidFill>
          <a:ln w="6350">
            <a:solidFill>
              <a:schemeClr val="tx2"/>
            </a:solidFill>
            <a:round/>
            <a:headEnd/>
            <a:tailEnd/>
          </a:ln>
        </p:spPr>
        <p:txBody>
          <a:bodyPr/>
          <a:lstStyle/>
          <a:p>
            <a:endParaRPr lang="en-US"/>
          </a:p>
        </p:txBody>
      </p:sp>
      <p:sp>
        <p:nvSpPr>
          <p:cNvPr id="57" name="Freeform 1236"/>
          <p:cNvSpPr>
            <a:spLocks/>
          </p:cNvSpPr>
          <p:nvPr/>
        </p:nvSpPr>
        <p:spPr bwMode="auto">
          <a:xfrm>
            <a:off x="3908493" y="5515015"/>
            <a:ext cx="10034" cy="12737"/>
          </a:xfrm>
          <a:custGeom>
            <a:avLst/>
            <a:gdLst>
              <a:gd name="T0" fmla="*/ 2147483647 w 23"/>
              <a:gd name="T1" fmla="*/ 2147483647 h 30"/>
              <a:gd name="T2" fmla="*/ 2147483647 w 23"/>
              <a:gd name="T3" fmla="*/ 2147483647 h 30"/>
              <a:gd name="T4" fmla="*/ 0 w 23"/>
              <a:gd name="T5" fmla="*/ 0 h 30"/>
              <a:gd name="T6" fmla="*/ 2147483647 w 23"/>
              <a:gd name="T7" fmla="*/ 2147483647 h 30"/>
              <a:gd name="T8" fmla="*/ 2147483647 w 23"/>
              <a:gd name="T9" fmla="*/ 2147483647 h 30"/>
              <a:gd name="T10" fmla="*/ 2147483647 w 23"/>
              <a:gd name="T11" fmla="*/ 2147483647 h 30"/>
              <a:gd name="T12" fmla="*/ 0 60000 65536"/>
              <a:gd name="T13" fmla="*/ 0 60000 65536"/>
              <a:gd name="T14" fmla="*/ 0 60000 65536"/>
              <a:gd name="T15" fmla="*/ 0 60000 65536"/>
              <a:gd name="T16" fmla="*/ 0 60000 65536"/>
              <a:gd name="T17" fmla="*/ 0 60000 65536"/>
              <a:gd name="T18" fmla="*/ 0 w 23"/>
              <a:gd name="T19" fmla="*/ 0 h 30"/>
              <a:gd name="T20" fmla="*/ 23 w 23"/>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3" h="30">
                <a:moveTo>
                  <a:pt x="11" y="21"/>
                </a:moveTo>
                <a:lnTo>
                  <a:pt x="6" y="19"/>
                </a:lnTo>
                <a:lnTo>
                  <a:pt x="0" y="0"/>
                </a:lnTo>
                <a:lnTo>
                  <a:pt x="19" y="17"/>
                </a:lnTo>
                <a:lnTo>
                  <a:pt x="23" y="30"/>
                </a:lnTo>
                <a:lnTo>
                  <a:pt x="11" y="21"/>
                </a:lnTo>
                <a:close/>
              </a:path>
            </a:pathLst>
          </a:custGeom>
          <a:solidFill>
            <a:schemeClr val="accent1"/>
          </a:solidFill>
          <a:ln w="6350">
            <a:solidFill>
              <a:schemeClr val="tx2"/>
            </a:solidFill>
            <a:round/>
            <a:headEnd/>
            <a:tailEnd/>
          </a:ln>
        </p:spPr>
        <p:txBody>
          <a:bodyPr/>
          <a:lstStyle/>
          <a:p>
            <a:endParaRPr lang="en-US"/>
          </a:p>
        </p:txBody>
      </p:sp>
      <p:sp>
        <p:nvSpPr>
          <p:cNvPr id="58" name="Freeform 1237"/>
          <p:cNvSpPr>
            <a:spLocks/>
          </p:cNvSpPr>
          <p:nvPr/>
        </p:nvSpPr>
        <p:spPr bwMode="auto">
          <a:xfrm>
            <a:off x="3907061" y="5522657"/>
            <a:ext cx="7166" cy="15284"/>
          </a:xfrm>
          <a:custGeom>
            <a:avLst/>
            <a:gdLst>
              <a:gd name="T0" fmla="*/ 2147483647 w 18"/>
              <a:gd name="T1" fmla="*/ 2147483647 h 35"/>
              <a:gd name="T2" fmla="*/ 2147483647 w 18"/>
              <a:gd name="T3" fmla="*/ 2147483647 h 35"/>
              <a:gd name="T4" fmla="*/ 2147483647 w 18"/>
              <a:gd name="T5" fmla="*/ 2147483647 h 35"/>
              <a:gd name="T6" fmla="*/ 0 w 18"/>
              <a:gd name="T7" fmla="*/ 2147483647 h 35"/>
              <a:gd name="T8" fmla="*/ 0 w 18"/>
              <a:gd name="T9" fmla="*/ 0 h 35"/>
              <a:gd name="T10" fmla="*/ 2147483647 w 18"/>
              <a:gd name="T11" fmla="*/ 2147483647 h 35"/>
              <a:gd name="T12" fmla="*/ 2147483647 w 18"/>
              <a:gd name="T13" fmla="*/ 2147483647 h 35"/>
              <a:gd name="T14" fmla="*/ 0 60000 65536"/>
              <a:gd name="T15" fmla="*/ 0 60000 65536"/>
              <a:gd name="T16" fmla="*/ 0 60000 65536"/>
              <a:gd name="T17" fmla="*/ 0 60000 65536"/>
              <a:gd name="T18" fmla="*/ 0 60000 65536"/>
              <a:gd name="T19" fmla="*/ 0 60000 65536"/>
              <a:gd name="T20" fmla="*/ 0 60000 65536"/>
              <a:gd name="T21" fmla="*/ 0 w 18"/>
              <a:gd name="T22" fmla="*/ 0 h 35"/>
              <a:gd name="T23" fmla="*/ 18 w 18"/>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35">
                <a:moveTo>
                  <a:pt x="18" y="20"/>
                </a:moveTo>
                <a:lnTo>
                  <a:pt x="15" y="35"/>
                </a:lnTo>
                <a:lnTo>
                  <a:pt x="8" y="33"/>
                </a:lnTo>
                <a:lnTo>
                  <a:pt x="0" y="16"/>
                </a:lnTo>
                <a:lnTo>
                  <a:pt x="0" y="0"/>
                </a:lnTo>
                <a:lnTo>
                  <a:pt x="14" y="7"/>
                </a:lnTo>
                <a:lnTo>
                  <a:pt x="18" y="20"/>
                </a:lnTo>
                <a:close/>
              </a:path>
            </a:pathLst>
          </a:custGeom>
          <a:solidFill>
            <a:schemeClr val="accent1"/>
          </a:solidFill>
          <a:ln w="6350">
            <a:solidFill>
              <a:schemeClr val="tx2"/>
            </a:solidFill>
            <a:round/>
            <a:headEnd/>
            <a:tailEnd/>
          </a:ln>
        </p:spPr>
        <p:txBody>
          <a:bodyPr/>
          <a:lstStyle/>
          <a:p>
            <a:endParaRPr lang="en-US"/>
          </a:p>
        </p:txBody>
      </p:sp>
      <p:sp>
        <p:nvSpPr>
          <p:cNvPr id="59" name="Freeform 1238"/>
          <p:cNvSpPr>
            <a:spLocks/>
          </p:cNvSpPr>
          <p:nvPr/>
        </p:nvSpPr>
        <p:spPr bwMode="auto">
          <a:xfrm>
            <a:off x="3905627" y="5537942"/>
            <a:ext cx="4300" cy="6368"/>
          </a:xfrm>
          <a:custGeom>
            <a:avLst/>
            <a:gdLst>
              <a:gd name="T0" fmla="*/ 0 w 14"/>
              <a:gd name="T1" fmla="*/ 2147483647 h 16"/>
              <a:gd name="T2" fmla="*/ 2147483647 w 14"/>
              <a:gd name="T3" fmla="*/ 0 h 16"/>
              <a:gd name="T4" fmla="*/ 2147483647 w 14"/>
              <a:gd name="T5" fmla="*/ 2147483647 h 16"/>
              <a:gd name="T6" fmla="*/ 0 w 14"/>
              <a:gd name="T7" fmla="*/ 2147483647 h 16"/>
              <a:gd name="T8" fmla="*/ 0 60000 65536"/>
              <a:gd name="T9" fmla="*/ 0 60000 65536"/>
              <a:gd name="T10" fmla="*/ 0 60000 65536"/>
              <a:gd name="T11" fmla="*/ 0 60000 65536"/>
              <a:gd name="T12" fmla="*/ 0 w 14"/>
              <a:gd name="T13" fmla="*/ 0 h 16"/>
              <a:gd name="T14" fmla="*/ 14 w 14"/>
              <a:gd name="T15" fmla="*/ 16 h 16"/>
            </a:gdLst>
            <a:ahLst/>
            <a:cxnLst>
              <a:cxn ang="T8">
                <a:pos x="T0" y="T1"/>
              </a:cxn>
              <a:cxn ang="T9">
                <a:pos x="T2" y="T3"/>
              </a:cxn>
              <a:cxn ang="T10">
                <a:pos x="T4" y="T5"/>
              </a:cxn>
              <a:cxn ang="T11">
                <a:pos x="T6" y="T7"/>
              </a:cxn>
            </a:cxnLst>
            <a:rect l="T12" t="T13" r="T14" b="T15"/>
            <a:pathLst>
              <a:path w="14" h="16">
                <a:moveTo>
                  <a:pt x="0" y="16"/>
                </a:moveTo>
                <a:lnTo>
                  <a:pt x="11" y="0"/>
                </a:lnTo>
                <a:lnTo>
                  <a:pt x="14" y="14"/>
                </a:lnTo>
                <a:lnTo>
                  <a:pt x="0" y="16"/>
                </a:lnTo>
                <a:close/>
              </a:path>
            </a:pathLst>
          </a:custGeom>
          <a:solidFill>
            <a:schemeClr val="accent1"/>
          </a:solidFill>
          <a:ln w="6350">
            <a:solidFill>
              <a:schemeClr val="tx2"/>
            </a:solidFill>
            <a:round/>
            <a:headEnd/>
            <a:tailEnd/>
          </a:ln>
        </p:spPr>
        <p:txBody>
          <a:bodyPr/>
          <a:lstStyle/>
          <a:p>
            <a:endParaRPr lang="en-US"/>
          </a:p>
        </p:txBody>
      </p:sp>
      <p:sp>
        <p:nvSpPr>
          <p:cNvPr id="60" name="Freeform 1239"/>
          <p:cNvSpPr>
            <a:spLocks/>
          </p:cNvSpPr>
          <p:nvPr/>
        </p:nvSpPr>
        <p:spPr bwMode="auto">
          <a:xfrm>
            <a:off x="3902760" y="5551952"/>
            <a:ext cx="4300" cy="14011"/>
          </a:xfrm>
          <a:custGeom>
            <a:avLst/>
            <a:gdLst>
              <a:gd name="T0" fmla="*/ 2147483647 w 8"/>
              <a:gd name="T1" fmla="*/ 2147483647 h 31"/>
              <a:gd name="T2" fmla="*/ 0 w 8"/>
              <a:gd name="T3" fmla="*/ 2147483647 h 31"/>
              <a:gd name="T4" fmla="*/ 0 w 8"/>
              <a:gd name="T5" fmla="*/ 2147483647 h 31"/>
              <a:gd name="T6" fmla="*/ 2147483647 w 8"/>
              <a:gd name="T7" fmla="*/ 0 h 31"/>
              <a:gd name="T8" fmla="*/ 2147483647 w 8"/>
              <a:gd name="T9" fmla="*/ 2147483647 h 31"/>
              <a:gd name="T10" fmla="*/ 2147483647 w 8"/>
              <a:gd name="T11" fmla="*/ 2147483647 h 31"/>
              <a:gd name="T12" fmla="*/ 0 60000 65536"/>
              <a:gd name="T13" fmla="*/ 0 60000 65536"/>
              <a:gd name="T14" fmla="*/ 0 60000 65536"/>
              <a:gd name="T15" fmla="*/ 0 60000 65536"/>
              <a:gd name="T16" fmla="*/ 0 60000 65536"/>
              <a:gd name="T17" fmla="*/ 0 60000 65536"/>
              <a:gd name="T18" fmla="*/ 0 w 8"/>
              <a:gd name="T19" fmla="*/ 0 h 31"/>
              <a:gd name="T20" fmla="*/ 8 w 8"/>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8" h="31">
                <a:moveTo>
                  <a:pt x="4" y="31"/>
                </a:moveTo>
                <a:lnTo>
                  <a:pt x="0" y="30"/>
                </a:lnTo>
                <a:lnTo>
                  <a:pt x="0" y="19"/>
                </a:lnTo>
                <a:lnTo>
                  <a:pt x="5" y="0"/>
                </a:lnTo>
                <a:lnTo>
                  <a:pt x="8" y="14"/>
                </a:lnTo>
                <a:lnTo>
                  <a:pt x="4" y="31"/>
                </a:lnTo>
                <a:close/>
              </a:path>
            </a:pathLst>
          </a:custGeom>
          <a:solidFill>
            <a:schemeClr val="accent1"/>
          </a:solidFill>
          <a:ln w="6350">
            <a:solidFill>
              <a:schemeClr val="tx2"/>
            </a:solidFill>
            <a:round/>
            <a:headEnd/>
            <a:tailEnd/>
          </a:ln>
        </p:spPr>
        <p:txBody>
          <a:bodyPr/>
          <a:lstStyle/>
          <a:p>
            <a:endParaRPr lang="en-US"/>
          </a:p>
        </p:txBody>
      </p:sp>
      <p:sp>
        <p:nvSpPr>
          <p:cNvPr id="61" name="Freeform 1240"/>
          <p:cNvSpPr>
            <a:spLocks/>
          </p:cNvSpPr>
          <p:nvPr/>
        </p:nvSpPr>
        <p:spPr bwMode="auto">
          <a:xfrm>
            <a:off x="3918528" y="5549404"/>
            <a:ext cx="5734" cy="8916"/>
          </a:xfrm>
          <a:custGeom>
            <a:avLst/>
            <a:gdLst>
              <a:gd name="T0" fmla="*/ 2147483647 w 13"/>
              <a:gd name="T1" fmla="*/ 2147483647 h 20"/>
              <a:gd name="T2" fmla="*/ 2147483647 w 13"/>
              <a:gd name="T3" fmla="*/ 2147483647 h 20"/>
              <a:gd name="T4" fmla="*/ 2147483647 w 13"/>
              <a:gd name="T5" fmla="*/ 2147483647 h 20"/>
              <a:gd name="T6" fmla="*/ 0 w 13"/>
              <a:gd name="T7" fmla="*/ 0 h 20"/>
              <a:gd name="T8" fmla="*/ 2147483647 w 13"/>
              <a:gd name="T9" fmla="*/ 2147483647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4" y="6"/>
                </a:moveTo>
                <a:lnTo>
                  <a:pt x="13" y="20"/>
                </a:lnTo>
                <a:lnTo>
                  <a:pt x="2" y="14"/>
                </a:lnTo>
                <a:lnTo>
                  <a:pt x="0" y="0"/>
                </a:lnTo>
                <a:lnTo>
                  <a:pt x="4" y="6"/>
                </a:lnTo>
                <a:close/>
              </a:path>
            </a:pathLst>
          </a:custGeom>
          <a:solidFill>
            <a:schemeClr val="accent1"/>
          </a:solidFill>
          <a:ln w="6350">
            <a:solidFill>
              <a:schemeClr val="tx2"/>
            </a:solidFill>
            <a:round/>
            <a:headEnd/>
            <a:tailEnd/>
          </a:ln>
        </p:spPr>
        <p:txBody>
          <a:bodyPr/>
          <a:lstStyle/>
          <a:p>
            <a:endParaRPr lang="en-US"/>
          </a:p>
        </p:txBody>
      </p:sp>
      <p:sp>
        <p:nvSpPr>
          <p:cNvPr id="62" name="Freeform 1241"/>
          <p:cNvSpPr>
            <a:spLocks/>
          </p:cNvSpPr>
          <p:nvPr/>
        </p:nvSpPr>
        <p:spPr bwMode="auto">
          <a:xfrm>
            <a:off x="3924261" y="5544309"/>
            <a:ext cx="2866" cy="8916"/>
          </a:xfrm>
          <a:custGeom>
            <a:avLst/>
            <a:gdLst>
              <a:gd name="T0" fmla="*/ 2147483647 w 10"/>
              <a:gd name="T1" fmla="*/ 2147483647 h 22"/>
              <a:gd name="T2" fmla="*/ 2147483647 w 10"/>
              <a:gd name="T3" fmla="*/ 2147483647 h 22"/>
              <a:gd name="T4" fmla="*/ 0 w 10"/>
              <a:gd name="T5" fmla="*/ 0 h 22"/>
              <a:gd name="T6" fmla="*/ 2147483647 w 10"/>
              <a:gd name="T7" fmla="*/ 2147483647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8" y="7"/>
                </a:moveTo>
                <a:lnTo>
                  <a:pt x="10" y="22"/>
                </a:lnTo>
                <a:lnTo>
                  <a:pt x="0" y="0"/>
                </a:lnTo>
                <a:lnTo>
                  <a:pt x="8" y="7"/>
                </a:lnTo>
                <a:close/>
              </a:path>
            </a:pathLst>
          </a:custGeom>
          <a:solidFill>
            <a:schemeClr val="accent1"/>
          </a:solidFill>
          <a:ln w="6350">
            <a:solidFill>
              <a:schemeClr val="tx2"/>
            </a:solidFill>
            <a:round/>
            <a:headEnd/>
            <a:tailEnd/>
          </a:ln>
        </p:spPr>
        <p:txBody>
          <a:bodyPr/>
          <a:lstStyle/>
          <a:p>
            <a:endParaRPr lang="en-US"/>
          </a:p>
        </p:txBody>
      </p:sp>
      <p:sp>
        <p:nvSpPr>
          <p:cNvPr id="63" name="Freeform 1242"/>
          <p:cNvSpPr>
            <a:spLocks/>
          </p:cNvSpPr>
          <p:nvPr/>
        </p:nvSpPr>
        <p:spPr bwMode="auto">
          <a:xfrm>
            <a:off x="3929995" y="5562140"/>
            <a:ext cx="43001" cy="43304"/>
          </a:xfrm>
          <a:custGeom>
            <a:avLst/>
            <a:gdLst>
              <a:gd name="T0" fmla="*/ 2147483647 w 90"/>
              <a:gd name="T1" fmla="*/ 2147483647 h 103"/>
              <a:gd name="T2" fmla="*/ 2147483647 w 90"/>
              <a:gd name="T3" fmla="*/ 2147483647 h 103"/>
              <a:gd name="T4" fmla="*/ 2147483647 w 90"/>
              <a:gd name="T5" fmla="*/ 2147483647 h 103"/>
              <a:gd name="T6" fmla="*/ 2147483647 w 90"/>
              <a:gd name="T7" fmla="*/ 0 h 103"/>
              <a:gd name="T8" fmla="*/ 2147483647 w 90"/>
              <a:gd name="T9" fmla="*/ 2147483647 h 103"/>
              <a:gd name="T10" fmla="*/ 2147483647 w 90"/>
              <a:gd name="T11" fmla="*/ 2147483647 h 103"/>
              <a:gd name="T12" fmla="*/ 2147483647 w 90"/>
              <a:gd name="T13" fmla="*/ 2147483647 h 103"/>
              <a:gd name="T14" fmla="*/ 2147483647 w 90"/>
              <a:gd name="T15" fmla="*/ 2147483647 h 103"/>
              <a:gd name="T16" fmla="*/ 2147483647 w 90"/>
              <a:gd name="T17" fmla="*/ 2147483647 h 103"/>
              <a:gd name="T18" fmla="*/ 2147483647 w 90"/>
              <a:gd name="T19" fmla="*/ 2147483647 h 103"/>
              <a:gd name="T20" fmla="*/ 2147483647 w 90"/>
              <a:gd name="T21" fmla="*/ 2147483647 h 103"/>
              <a:gd name="T22" fmla="*/ 2147483647 w 90"/>
              <a:gd name="T23" fmla="*/ 2147483647 h 103"/>
              <a:gd name="T24" fmla="*/ 2147483647 w 90"/>
              <a:gd name="T25" fmla="*/ 2147483647 h 103"/>
              <a:gd name="T26" fmla="*/ 2147483647 w 90"/>
              <a:gd name="T27" fmla="*/ 2147483647 h 103"/>
              <a:gd name="T28" fmla="*/ 2147483647 w 90"/>
              <a:gd name="T29" fmla="*/ 2147483647 h 103"/>
              <a:gd name="T30" fmla="*/ 2147483647 w 90"/>
              <a:gd name="T31" fmla="*/ 2147483647 h 103"/>
              <a:gd name="T32" fmla="*/ 2147483647 w 90"/>
              <a:gd name="T33" fmla="*/ 2147483647 h 103"/>
              <a:gd name="T34" fmla="*/ 2147483647 w 90"/>
              <a:gd name="T35" fmla="*/ 2147483647 h 103"/>
              <a:gd name="T36" fmla="*/ 2147483647 w 90"/>
              <a:gd name="T37" fmla="*/ 2147483647 h 103"/>
              <a:gd name="T38" fmla="*/ 2147483647 w 90"/>
              <a:gd name="T39" fmla="*/ 2147483647 h 103"/>
              <a:gd name="T40" fmla="*/ 0 w 90"/>
              <a:gd name="T41" fmla="*/ 2147483647 h 103"/>
              <a:gd name="T42" fmla="*/ 2147483647 w 90"/>
              <a:gd name="T43" fmla="*/ 2147483647 h 10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0"/>
              <a:gd name="T67" fmla="*/ 0 h 103"/>
              <a:gd name="T68" fmla="*/ 90 w 90"/>
              <a:gd name="T69" fmla="*/ 103 h 10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0" h="103">
                <a:moveTo>
                  <a:pt x="2" y="13"/>
                </a:moveTo>
                <a:lnTo>
                  <a:pt x="22" y="7"/>
                </a:lnTo>
                <a:lnTo>
                  <a:pt x="27" y="20"/>
                </a:lnTo>
                <a:lnTo>
                  <a:pt x="34" y="0"/>
                </a:lnTo>
                <a:lnTo>
                  <a:pt x="39" y="4"/>
                </a:lnTo>
                <a:lnTo>
                  <a:pt x="42" y="20"/>
                </a:lnTo>
                <a:lnTo>
                  <a:pt x="28" y="43"/>
                </a:lnTo>
                <a:lnTo>
                  <a:pt x="50" y="62"/>
                </a:lnTo>
                <a:lnTo>
                  <a:pt x="68" y="47"/>
                </a:lnTo>
                <a:lnTo>
                  <a:pt x="87" y="48"/>
                </a:lnTo>
                <a:lnTo>
                  <a:pt x="90" y="60"/>
                </a:lnTo>
                <a:lnTo>
                  <a:pt x="47" y="85"/>
                </a:lnTo>
                <a:lnTo>
                  <a:pt x="48" y="103"/>
                </a:lnTo>
                <a:lnTo>
                  <a:pt x="41" y="101"/>
                </a:lnTo>
                <a:lnTo>
                  <a:pt x="20" y="81"/>
                </a:lnTo>
                <a:lnTo>
                  <a:pt x="38" y="81"/>
                </a:lnTo>
                <a:lnTo>
                  <a:pt x="30" y="65"/>
                </a:lnTo>
                <a:lnTo>
                  <a:pt x="25" y="72"/>
                </a:lnTo>
                <a:lnTo>
                  <a:pt x="14" y="71"/>
                </a:lnTo>
                <a:lnTo>
                  <a:pt x="15" y="63"/>
                </a:lnTo>
                <a:lnTo>
                  <a:pt x="0" y="51"/>
                </a:lnTo>
                <a:lnTo>
                  <a:pt x="2" y="13"/>
                </a:lnTo>
                <a:close/>
              </a:path>
            </a:pathLst>
          </a:custGeom>
          <a:solidFill>
            <a:schemeClr val="accent1"/>
          </a:solidFill>
          <a:ln w="6350">
            <a:solidFill>
              <a:schemeClr val="tx2"/>
            </a:solidFill>
            <a:round/>
            <a:headEnd/>
            <a:tailEnd/>
          </a:ln>
        </p:spPr>
        <p:txBody>
          <a:bodyPr/>
          <a:lstStyle/>
          <a:p>
            <a:endParaRPr lang="en-US"/>
          </a:p>
        </p:txBody>
      </p:sp>
      <p:sp>
        <p:nvSpPr>
          <p:cNvPr id="64" name="Freeform 1243"/>
          <p:cNvSpPr>
            <a:spLocks/>
          </p:cNvSpPr>
          <p:nvPr/>
        </p:nvSpPr>
        <p:spPr bwMode="auto">
          <a:xfrm>
            <a:off x="3921394" y="5573603"/>
            <a:ext cx="5734" cy="7642"/>
          </a:xfrm>
          <a:custGeom>
            <a:avLst/>
            <a:gdLst>
              <a:gd name="T0" fmla="*/ 2147483647 w 10"/>
              <a:gd name="T1" fmla="*/ 0 h 19"/>
              <a:gd name="T2" fmla="*/ 2147483647 w 10"/>
              <a:gd name="T3" fmla="*/ 2147483647 h 19"/>
              <a:gd name="T4" fmla="*/ 2147483647 w 10"/>
              <a:gd name="T5" fmla="*/ 2147483647 h 19"/>
              <a:gd name="T6" fmla="*/ 2147483647 w 10"/>
              <a:gd name="T7" fmla="*/ 2147483647 h 19"/>
              <a:gd name="T8" fmla="*/ 2147483647 w 10"/>
              <a:gd name="T9" fmla="*/ 2147483647 h 19"/>
              <a:gd name="T10" fmla="*/ 0 w 10"/>
              <a:gd name="T11" fmla="*/ 2147483647 h 19"/>
              <a:gd name="T12" fmla="*/ 2147483647 w 10"/>
              <a:gd name="T13" fmla="*/ 0 h 19"/>
              <a:gd name="T14" fmla="*/ 0 60000 65536"/>
              <a:gd name="T15" fmla="*/ 0 60000 65536"/>
              <a:gd name="T16" fmla="*/ 0 60000 65536"/>
              <a:gd name="T17" fmla="*/ 0 60000 65536"/>
              <a:gd name="T18" fmla="*/ 0 60000 65536"/>
              <a:gd name="T19" fmla="*/ 0 60000 65536"/>
              <a:gd name="T20" fmla="*/ 0 60000 65536"/>
              <a:gd name="T21" fmla="*/ 0 w 10"/>
              <a:gd name="T22" fmla="*/ 0 h 19"/>
              <a:gd name="T23" fmla="*/ 10 w 1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9">
                <a:moveTo>
                  <a:pt x="10" y="0"/>
                </a:moveTo>
                <a:lnTo>
                  <a:pt x="10" y="15"/>
                </a:lnTo>
                <a:lnTo>
                  <a:pt x="4" y="19"/>
                </a:lnTo>
                <a:lnTo>
                  <a:pt x="6" y="10"/>
                </a:lnTo>
                <a:lnTo>
                  <a:pt x="2" y="11"/>
                </a:lnTo>
                <a:lnTo>
                  <a:pt x="0" y="3"/>
                </a:lnTo>
                <a:lnTo>
                  <a:pt x="10" y="0"/>
                </a:lnTo>
                <a:close/>
              </a:path>
            </a:pathLst>
          </a:custGeom>
          <a:solidFill>
            <a:schemeClr val="accent1"/>
          </a:solidFill>
          <a:ln w="6350">
            <a:solidFill>
              <a:schemeClr val="tx2"/>
            </a:solidFill>
            <a:round/>
            <a:headEnd/>
            <a:tailEnd/>
          </a:ln>
        </p:spPr>
        <p:txBody>
          <a:bodyPr/>
          <a:lstStyle/>
          <a:p>
            <a:endParaRPr lang="en-US"/>
          </a:p>
        </p:txBody>
      </p:sp>
      <p:sp>
        <p:nvSpPr>
          <p:cNvPr id="65" name="Freeform 1244"/>
          <p:cNvSpPr>
            <a:spLocks/>
          </p:cNvSpPr>
          <p:nvPr/>
        </p:nvSpPr>
        <p:spPr bwMode="auto">
          <a:xfrm>
            <a:off x="3908493" y="5582519"/>
            <a:ext cx="31533" cy="19105"/>
          </a:xfrm>
          <a:custGeom>
            <a:avLst/>
            <a:gdLst>
              <a:gd name="T0" fmla="*/ 0 w 68"/>
              <a:gd name="T1" fmla="*/ 0 h 44"/>
              <a:gd name="T2" fmla="*/ 2147483647 w 68"/>
              <a:gd name="T3" fmla="*/ 2147483647 h 44"/>
              <a:gd name="T4" fmla="*/ 2147483647 w 68"/>
              <a:gd name="T5" fmla="*/ 2147483647 h 44"/>
              <a:gd name="T6" fmla="*/ 2147483647 w 68"/>
              <a:gd name="T7" fmla="*/ 2147483647 h 44"/>
              <a:gd name="T8" fmla="*/ 2147483647 w 68"/>
              <a:gd name="T9" fmla="*/ 2147483647 h 44"/>
              <a:gd name="T10" fmla="*/ 0 w 68"/>
              <a:gd name="T11" fmla="*/ 0 h 44"/>
              <a:gd name="T12" fmla="*/ 0 60000 65536"/>
              <a:gd name="T13" fmla="*/ 0 60000 65536"/>
              <a:gd name="T14" fmla="*/ 0 60000 65536"/>
              <a:gd name="T15" fmla="*/ 0 60000 65536"/>
              <a:gd name="T16" fmla="*/ 0 60000 65536"/>
              <a:gd name="T17" fmla="*/ 0 60000 65536"/>
              <a:gd name="T18" fmla="*/ 0 w 68"/>
              <a:gd name="T19" fmla="*/ 0 h 44"/>
              <a:gd name="T20" fmla="*/ 68 w 6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68" h="44">
                <a:moveTo>
                  <a:pt x="0" y="0"/>
                </a:moveTo>
                <a:lnTo>
                  <a:pt x="68" y="44"/>
                </a:lnTo>
                <a:lnTo>
                  <a:pt x="51" y="40"/>
                </a:lnTo>
                <a:lnTo>
                  <a:pt x="35" y="32"/>
                </a:lnTo>
                <a:lnTo>
                  <a:pt x="9" y="18"/>
                </a:lnTo>
                <a:lnTo>
                  <a:pt x="0" y="0"/>
                </a:lnTo>
                <a:close/>
              </a:path>
            </a:pathLst>
          </a:custGeom>
          <a:solidFill>
            <a:schemeClr val="accent1"/>
          </a:solidFill>
          <a:ln w="6350">
            <a:solidFill>
              <a:schemeClr val="tx2"/>
            </a:solidFill>
            <a:round/>
            <a:headEnd/>
            <a:tailEnd/>
          </a:ln>
        </p:spPr>
        <p:txBody>
          <a:bodyPr/>
          <a:lstStyle/>
          <a:p>
            <a:endParaRPr lang="en-US"/>
          </a:p>
        </p:txBody>
      </p:sp>
      <p:sp>
        <p:nvSpPr>
          <p:cNvPr id="66" name="Freeform 1245"/>
          <p:cNvSpPr>
            <a:spLocks/>
          </p:cNvSpPr>
          <p:nvPr/>
        </p:nvSpPr>
        <p:spPr bwMode="auto">
          <a:xfrm>
            <a:off x="3907061" y="5553225"/>
            <a:ext cx="2866" cy="11462"/>
          </a:xfrm>
          <a:custGeom>
            <a:avLst/>
            <a:gdLst>
              <a:gd name="T0" fmla="*/ 2147483647 w 7"/>
              <a:gd name="T1" fmla="*/ 0 h 27"/>
              <a:gd name="T2" fmla="*/ 2147483647 w 7"/>
              <a:gd name="T3" fmla="*/ 2147483647 h 27"/>
              <a:gd name="T4" fmla="*/ 2147483647 w 7"/>
              <a:gd name="T5" fmla="*/ 2147483647 h 27"/>
              <a:gd name="T6" fmla="*/ 0 w 7"/>
              <a:gd name="T7" fmla="*/ 2147483647 h 27"/>
              <a:gd name="T8" fmla="*/ 2147483647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5" y="0"/>
                </a:moveTo>
                <a:lnTo>
                  <a:pt x="7" y="20"/>
                </a:lnTo>
                <a:lnTo>
                  <a:pt x="2" y="27"/>
                </a:lnTo>
                <a:lnTo>
                  <a:pt x="0" y="16"/>
                </a:lnTo>
                <a:lnTo>
                  <a:pt x="5" y="0"/>
                </a:lnTo>
                <a:close/>
              </a:path>
            </a:pathLst>
          </a:custGeom>
          <a:solidFill>
            <a:schemeClr val="accent1"/>
          </a:solidFill>
          <a:ln w="6350">
            <a:solidFill>
              <a:schemeClr val="tx2"/>
            </a:solidFill>
            <a:round/>
            <a:headEnd/>
            <a:tailEnd/>
          </a:ln>
        </p:spPr>
        <p:txBody>
          <a:bodyPr/>
          <a:lstStyle/>
          <a:p>
            <a:endParaRPr lang="en-US"/>
          </a:p>
        </p:txBody>
      </p:sp>
      <p:sp>
        <p:nvSpPr>
          <p:cNvPr id="67" name="Freeform 1246"/>
          <p:cNvSpPr>
            <a:spLocks/>
          </p:cNvSpPr>
          <p:nvPr/>
        </p:nvSpPr>
        <p:spPr bwMode="auto">
          <a:xfrm>
            <a:off x="3927127" y="5601624"/>
            <a:ext cx="28667" cy="22926"/>
          </a:xfrm>
          <a:custGeom>
            <a:avLst/>
            <a:gdLst>
              <a:gd name="T0" fmla="*/ 2147483647 w 63"/>
              <a:gd name="T1" fmla="*/ 0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2147483647 h 54"/>
              <a:gd name="T30" fmla="*/ 2147483647 w 63"/>
              <a:gd name="T31" fmla="*/ 2147483647 h 54"/>
              <a:gd name="T32" fmla="*/ 0 w 63"/>
              <a:gd name="T33" fmla="*/ 2147483647 h 54"/>
              <a:gd name="T34" fmla="*/ 2147483647 w 63"/>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3"/>
              <a:gd name="T55" fmla="*/ 0 h 54"/>
              <a:gd name="T56" fmla="*/ 63 w 63"/>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3" h="54">
                <a:moveTo>
                  <a:pt x="3" y="0"/>
                </a:moveTo>
                <a:lnTo>
                  <a:pt x="22" y="9"/>
                </a:lnTo>
                <a:lnTo>
                  <a:pt x="36" y="6"/>
                </a:lnTo>
                <a:lnTo>
                  <a:pt x="42" y="18"/>
                </a:lnTo>
                <a:lnTo>
                  <a:pt x="51" y="15"/>
                </a:lnTo>
                <a:lnTo>
                  <a:pt x="62" y="27"/>
                </a:lnTo>
                <a:lnTo>
                  <a:pt x="63" y="34"/>
                </a:lnTo>
                <a:lnTo>
                  <a:pt x="58" y="35"/>
                </a:lnTo>
                <a:lnTo>
                  <a:pt x="55" y="50"/>
                </a:lnTo>
                <a:lnTo>
                  <a:pt x="46" y="46"/>
                </a:lnTo>
                <a:lnTo>
                  <a:pt x="46" y="54"/>
                </a:lnTo>
                <a:lnTo>
                  <a:pt x="33" y="54"/>
                </a:lnTo>
                <a:lnTo>
                  <a:pt x="37" y="49"/>
                </a:lnTo>
                <a:lnTo>
                  <a:pt x="17" y="42"/>
                </a:lnTo>
                <a:lnTo>
                  <a:pt x="18" y="30"/>
                </a:lnTo>
                <a:lnTo>
                  <a:pt x="10" y="27"/>
                </a:lnTo>
                <a:lnTo>
                  <a:pt x="0" y="5"/>
                </a:lnTo>
                <a:lnTo>
                  <a:pt x="3" y="0"/>
                </a:lnTo>
                <a:close/>
              </a:path>
            </a:pathLst>
          </a:custGeom>
          <a:solidFill>
            <a:schemeClr val="accent1"/>
          </a:solidFill>
          <a:ln w="6350">
            <a:solidFill>
              <a:schemeClr val="tx2"/>
            </a:solidFill>
            <a:round/>
            <a:headEnd/>
            <a:tailEnd/>
          </a:ln>
        </p:spPr>
        <p:txBody>
          <a:bodyPr/>
          <a:lstStyle/>
          <a:p>
            <a:endParaRPr lang="en-US"/>
          </a:p>
        </p:txBody>
      </p:sp>
      <p:sp>
        <p:nvSpPr>
          <p:cNvPr id="68" name="Freeform 1247"/>
          <p:cNvSpPr>
            <a:spLocks/>
          </p:cNvSpPr>
          <p:nvPr/>
        </p:nvSpPr>
        <p:spPr bwMode="auto">
          <a:xfrm>
            <a:off x="3958662" y="5616908"/>
            <a:ext cx="22933" cy="14010"/>
          </a:xfrm>
          <a:custGeom>
            <a:avLst/>
            <a:gdLst>
              <a:gd name="T0" fmla="*/ 2147483647 w 50"/>
              <a:gd name="T1" fmla="*/ 0 h 35"/>
              <a:gd name="T2" fmla="*/ 2147483647 w 50"/>
              <a:gd name="T3" fmla="*/ 2147483647 h 35"/>
              <a:gd name="T4" fmla="*/ 2147483647 w 50"/>
              <a:gd name="T5" fmla="*/ 2147483647 h 35"/>
              <a:gd name="T6" fmla="*/ 2147483647 w 50"/>
              <a:gd name="T7" fmla="*/ 2147483647 h 35"/>
              <a:gd name="T8" fmla="*/ 2147483647 w 50"/>
              <a:gd name="T9" fmla="*/ 2147483647 h 35"/>
              <a:gd name="T10" fmla="*/ 2147483647 w 50"/>
              <a:gd name="T11" fmla="*/ 2147483647 h 35"/>
              <a:gd name="T12" fmla="*/ 2147483647 w 50"/>
              <a:gd name="T13" fmla="*/ 2147483647 h 35"/>
              <a:gd name="T14" fmla="*/ 2147483647 w 50"/>
              <a:gd name="T15" fmla="*/ 2147483647 h 35"/>
              <a:gd name="T16" fmla="*/ 2147483647 w 50"/>
              <a:gd name="T17" fmla="*/ 2147483647 h 35"/>
              <a:gd name="T18" fmla="*/ 2147483647 w 50"/>
              <a:gd name="T19" fmla="*/ 2147483647 h 35"/>
              <a:gd name="T20" fmla="*/ 2147483647 w 50"/>
              <a:gd name="T21" fmla="*/ 2147483647 h 35"/>
              <a:gd name="T22" fmla="*/ 0 w 50"/>
              <a:gd name="T23" fmla="*/ 2147483647 h 35"/>
              <a:gd name="T24" fmla="*/ 2147483647 w 50"/>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5"/>
              <a:gd name="T41" fmla="*/ 50 w 50"/>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5">
                <a:moveTo>
                  <a:pt x="12" y="0"/>
                </a:moveTo>
                <a:lnTo>
                  <a:pt x="22" y="16"/>
                </a:lnTo>
                <a:lnTo>
                  <a:pt x="26" y="9"/>
                </a:lnTo>
                <a:lnTo>
                  <a:pt x="37" y="12"/>
                </a:lnTo>
                <a:lnTo>
                  <a:pt x="40" y="24"/>
                </a:lnTo>
                <a:lnTo>
                  <a:pt x="46" y="21"/>
                </a:lnTo>
                <a:lnTo>
                  <a:pt x="50" y="30"/>
                </a:lnTo>
                <a:lnTo>
                  <a:pt x="40" y="35"/>
                </a:lnTo>
                <a:lnTo>
                  <a:pt x="22" y="26"/>
                </a:lnTo>
                <a:lnTo>
                  <a:pt x="20" y="32"/>
                </a:lnTo>
                <a:lnTo>
                  <a:pt x="3" y="22"/>
                </a:lnTo>
                <a:lnTo>
                  <a:pt x="0" y="6"/>
                </a:lnTo>
                <a:lnTo>
                  <a:pt x="12" y="0"/>
                </a:lnTo>
                <a:close/>
              </a:path>
            </a:pathLst>
          </a:custGeom>
          <a:solidFill>
            <a:schemeClr val="accent1"/>
          </a:solidFill>
          <a:ln w="6350">
            <a:solidFill>
              <a:schemeClr val="tx2"/>
            </a:solidFill>
            <a:round/>
            <a:headEnd/>
            <a:tailEnd/>
          </a:ln>
        </p:spPr>
        <p:txBody>
          <a:bodyPr/>
          <a:lstStyle/>
          <a:p>
            <a:endParaRPr lang="en-US"/>
          </a:p>
        </p:txBody>
      </p:sp>
      <p:sp>
        <p:nvSpPr>
          <p:cNvPr id="69" name="Freeform 1248"/>
          <p:cNvSpPr>
            <a:spLocks/>
          </p:cNvSpPr>
          <p:nvPr/>
        </p:nvSpPr>
        <p:spPr bwMode="auto">
          <a:xfrm>
            <a:off x="3985894" y="5607992"/>
            <a:ext cx="10034" cy="21653"/>
          </a:xfrm>
          <a:custGeom>
            <a:avLst/>
            <a:gdLst>
              <a:gd name="T0" fmla="*/ 2147483647 w 22"/>
              <a:gd name="T1" fmla="*/ 0 h 51"/>
              <a:gd name="T2" fmla="*/ 2147483647 w 22"/>
              <a:gd name="T3" fmla="*/ 2147483647 h 51"/>
              <a:gd name="T4" fmla="*/ 2147483647 w 22"/>
              <a:gd name="T5" fmla="*/ 2147483647 h 51"/>
              <a:gd name="T6" fmla="*/ 2147483647 w 22"/>
              <a:gd name="T7" fmla="*/ 2147483647 h 51"/>
              <a:gd name="T8" fmla="*/ 2147483647 w 22"/>
              <a:gd name="T9" fmla="*/ 2147483647 h 51"/>
              <a:gd name="T10" fmla="*/ 0 w 22"/>
              <a:gd name="T11" fmla="*/ 2147483647 h 51"/>
              <a:gd name="T12" fmla="*/ 0 w 22"/>
              <a:gd name="T13" fmla="*/ 2147483647 h 51"/>
              <a:gd name="T14" fmla="*/ 2147483647 w 22"/>
              <a:gd name="T15" fmla="*/ 2147483647 h 51"/>
              <a:gd name="T16" fmla="*/ 2147483647 w 22"/>
              <a:gd name="T17" fmla="*/ 2147483647 h 51"/>
              <a:gd name="T18" fmla="*/ 2147483647 w 22"/>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51"/>
              <a:gd name="T32" fmla="*/ 22 w 22"/>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51">
                <a:moveTo>
                  <a:pt x="12" y="0"/>
                </a:moveTo>
                <a:lnTo>
                  <a:pt x="19" y="34"/>
                </a:lnTo>
                <a:lnTo>
                  <a:pt x="8" y="29"/>
                </a:lnTo>
                <a:lnTo>
                  <a:pt x="9" y="37"/>
                </a:lnTo>
                <a:lnTo>
                  <a:pt x="22" y="51"/>
                </a:lnTo>
                <a:lnTo>
                  <a:pt x="0" y="34"/>
                </a:lnTo>
                <a:lnTo>
                  <a:pt x="0" y="24"/>
                </a:lnTo>
                <a:lnTo>
                  <a:pt x="9" y="20"/>
                </a:lnTo>
                <a:lnTo>
                  <a:pt x="7" y="11"/>
                </a:lnTo>
                <a:lnTo>
                  <a:pt x="12" y="0"/>
                </a:lnTo>
                <a:close/>
              </a:path>
            </a:pathLst>
          </a:custGeom>
          <a:solidFill>
            <a:schemeClr val="accent1"/>
          </a:solidFill>
          <a:ln w="6350">
            <a:solidFill>
              <a:schemeClr val="tx2"/>
            </a:solidFill>
            <a:round/>
            <a:headEnd/>
            <a:tailEnd/>
          </a:ln>
        </p:spPr>
        <p:txBody>
          <a:bodyPr/>
          <a:lstStyle/>
          <a:p>
            <a:endParaRPr lang="en-US"/>
          </a:p>
        </p:txBody>
      </p:sp>
      <p:sp>
        <p:nvSpPr>
          <p:cNvPr id="70" name="Freeform 1249"/>
          <p:cNvSpPr>
            <a:spLocks/>
          </p:cNvSpPr>
          <p:nvPr/>
        </p:nvSpPr>
        <p:spPr bwMode="auto">
          <a:xfrm>
            <a:off x="4004527" y="5650023"/>
            <a:ext cx="41566" cy="24199"/>
          </a:xfrm>
          <a:custGeom>
            <a:avLst/>
            <a:gdLst>
              <a:gd name="T0" fmla="*/ 0 w 88"/>
              <a:gd name="T1" fmla="*/ 2147483647 h 55"/>
              <a:gd name="T2" fmla="*/ 2147483647 w 88"/>
              <a:gd name="T3" fmla="*/ 0 h 55"/>
              <a:gd name="T4" fmla="*/ 2147483647 w 88"/>
              <a:gd name="T5" fmla="*/ 2147483647 h 55"/>
              <a:gd name="T6" fmla="*/ 2147483647 w 88"/>
              <a:gd name="T7" fmla="*/ 2147483647 h 55"/>
              <a:gd name="T8" fmla="*/ 2147483647 w 88"/>
              <a:gd name="T9" fmla="*/ 2147483647 h 55"/>
              <a:gd name="T10" fmla="*/ 2147483647 w 88"/>
              <a:gd name="T11" fmla="*/ 2147483647 h 55"/>
              <a:gd name="T12" fmla="*/ 2147483647 w 88"/>
              <a:gd name="T13" fmla="*/ 2147483647 h 55"/>
              <a:gd name="T14" fmla="*/ 2147483647 w 88"/>
              <a:gd name="T15" fmla="*/ 2147483647 h 55"/>
              <a:gd name="T16" fmla="*/ 2147483647 w 88"/>
              <a:gd name="T17" fmla="*/ 2147483647 h 55"/>
              <a:gd name="T18" fmla="*/ 2147483647 w 88"/>
              <a:gd name="T19" fmla="*/ 2147483647 h 55"/>
              <a:gd name="T20" fmla="*/ 2147483647 w 88"/>
              <a:gd name="T21" fmla="*/ 2147483647 h 55"/>
              <a:gd name="T22" fmla="*/ 2147483647 w 88"/>
              <a:gd name="T23" fmla="*/ 2147483647 h 55"/>
              <a:gd name="T24" fmla="*/ 2147483647 w 88"/>
              <a:gd name="T25" fmla="*/ 2147483647 h 55"/>
              <a:gd name="T26" fmla="*/ 2147483647 w 88"/>
              <a:gd name="T27" fmla="*/ 2147483647 h 55"/>
              <a:gd name="T28" fmla="*/ 2147483647 w 88"/>
              <a:gd name="T29" fmla="*/ 2147483647 h 55"/>
              <a:gd name="T30" fmla="*/ 2147483647 w 88"/>
              <a:gd name="T31" fmla="*/ 2147483647 h 55"/>
              <a:gd name="T32" fmla="*/ 0 w 88"/>
              <a:gd name="T33" fmla="*/ 2147483647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
              <a:gd name="T52" fmla="*/ 0 h 55"/>
              <a:gd name="T53" fmla="*/ 88 w 88"/>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 h="55">
                <a:moveTo>
                  <a:pt x="0" y="14"/>
                </a:moveTo>
                <a:lnTo>
                  <a:pt x="66" y="0"/>
                </a:lnTo>
                <a:lnTo>
                  <a:pt x="73" y="10"/>
                </a:lnTo>
                <a:lnTo>
                  <a:pt x="76" y="19"/>
                </a:lnTo>
                <a:lnTo>
                  <a:pt x="78" y="24"/>
                </a:lnTo>
                <a:lnTo>
                  <a:pt x="80" y="33"/>
                </a:lnTo>
                <a:lnTo>
                  <a:pt x="88" y="55"/>
                </a:lnTo>
                <a:lnTo>
                  <a:pt x="68" y="35"/>
                </a:lnTo>
                <a:lnTo>
                  <a:pt x="56" y="39"/>
                </a:lnTo>
                <a:lnTo>
                  <a:pt x="42" y="21"/>
                </a:lnTo>
                <a:lnTo>
                  <a:pt x="28" y="25"/>
                </a:lnTo>
                <a:lnTo>
                  <a:pt x="42" y="43"/>
                </a:lnTo>
                <a:lnTo>
                  <a:pt x="26" y="42"/>
                </a:lnTo>
                <a:lnTo>
                  <a:pt x="13" y="28"/>
                </a:lnTo>
                <a:lnTo>
                  <a:pt x="26" y="17"/>
                </a:lnTo>
                <a:lnTo>
                  <a:pt x="4" y="23"/>
                </a:lnTo>
                <a:lnTo>
                  <a:pt x="0" y="14"/>
                </a:lnTo>
                <a:close/>
              </a:path>
            </a:pathLst>
          </a:custGeom>
          <a:solidFill>
            <a:schemeClr val="accent1"/>
          </a:solidFill>
          <a:ln w="6350">
            <a:solidFill>
              <a:schemeClr val="tx2"/>
            </a:solidFill>
            <a:round/>
            <a:headEnd/>
            <a:tailEnd/>
          </a:ln>
        </p:spPr>
        <p:txBody>
          <a:bodyPr/>
          <a:lstStyle/>
          <a:p>
            <a:endParaRPr lang="en-US"/>
          </a:p>
        </p:txBody>
      </p:sp>
      <p:sp>
        <p:nvSpPr>
          <p:cNvPr id="71" name="Freeform 1015"/>
          <p:cNvSpPr>
            <a:spLocks/>
          </p:cNvSpPr>
          <p:nvPr/>
        </p:nvSpPr>
        <p:spPr bwMode="auto">
          <a:xfrm>
            <a:off x="4335628" y="1695319"/>
            <a:ext cx="43001" cy="47126"/>
          </a:xfrm>
          <a:custGeom>
            <a:avLst/>
            <a:gdLst>
              <a:gd name="T0" fmla="*/ 2147483647 w 92"/>
              <a:gd name="T1" fmla="*/ 0 h 110"/>
              <a:gd name="T2" fmla="*/ 2147483647 w 92"/>
              <a:gd name="T3" fmla="*/ 2147483647 h 110"/>
              <a:gd name="T4" fmla="*/ 2147483647 w 92"/>
              <a:gd name="T5" fmla="*/ 2147483647 h 110"/>
              <a:gd name="T6" fmla="*/ 0 w 92"/>
              <a:gd name="T7" fmla="*/ 2147483647 h 110"/>
              <a:gd name="T8" fmla="*/ 2147483647 w 92"/>
              <a:gd name="T9" fmla="*/ 0 h 110"/>
              <a:gd name="T10" fmla="*/ 0 60000 65536"/>
              <a:gd name="T11" fmla="*/ 0 60000 65536"/>
              <a:gd name="T12" fmla="*/ 0 60000 65536"/>
              <a:gd name="T13" fmla="*/ 0 60000 65536"/>
              <a:gd name="T14" fmla="*/ 0 60000 65536"/>
              <a:gd name="T15" fmla="*/ 0 w 92"/>
              <a:gd name="T16" fmla="*/ 0 h 110"/>
              <a:gd name="T17" fmla="*/ 92 w 92"/>
              <a:gd name="T18" fmla="*/ 110 h 110"/>
            </a:gdLst>
            <a:ahLst/>
            <a:cxnLst>
              <a:cxn ang="T10">
                <a:pos x="T0" y="T1"/>
              </a:cxn>
              <a:cxn ang="T11">
                <a:pos x="T2" y="T3"/>
              </a:cxn>
              <a:cxn ang="T12">
                <a:pos x="T4" y="T5"/>
              </a:cxn>
              <a:cxn ang="T13">
                <a:pos x="T6" y="T7"/>
              </a:cxn>
              <a:cxn ang="T14">
                <a:pos x="T8" y="T9"/>
              </a:cxn>
            </a:cxnLst>
            <a:rect l="T15" t="T16" r="T17" b="T18"/>
            <a:pathLst>
              <a:path w="92" h="110">
                <a:moveTo>
                  <a:pt x="10" y="0"/>
                </a:moveTo>
                <a:lnTo>
                  <a:pt x="92" y="110"/>
                </a:lnTo>
                <a:lnTo>
                  <a:pt x="17" y="77"/>
                </a:lnTo>
                <a:lnTo>
                  <a:pt x="0" y="23"/>
                </a:lnTo>
                <a:lnTo>
                  <a:pt x="10" y="0"/>
                </a:lnTo>
                <a:close/>
              </a:path>
            </a:pathLst>
          </a:custGeom>
          <a:solidFill>
            <a:schemeClr val="accent1"/>
          </a:solidFill>
          <a:ln w="6350">
            <a:solidFill>
              <a:schemeClr val="tx2"/>
            </a:solidFill>
            <a:round/>
            <a:headEnd/>
            <a:tailEnd/>
          </a:ln>
        </p:spPr>
        <p:txBody>
          <a:bodyPr/>
          <a:lstStyle/>
          <a:p>
            <a:endParaRPr lang="en-US"/>
          </a:p>
        </p:txBody>
      </p:sp>
      <p:sp>
        <p:nvSpPr>
          <p:cNvPr id="72" name="Freeform 1016"/>
          <p:cNvSpPr>
            <a:spLocks/>
          </p:cNvSpPr>
          <p:nvPr/>
        </p:nvSpPr>
        <p:spPr bwMode="auto">
          <a:xfrm>
            <a:off x="4448863" y="1650741"/>
            <a:ext cx="60200" cy="84062"/>
          </a:xfrm>
          <a:custGeom>
            <a:avLst/>
            <a:gdLst>
              <a:gd name="T0" fmla="*/ 0 w 134"/>
              <a:gd name="T1" fmla="*/ 2147483647 h 201"/>
              <a:gd name="T2" fmla="*/ 2147483647 w 134"/>
              <a:gd name="T3" fmla="*/ 0 h 201"/>
              <a:gd name="T4" fmla="*/ 2147483647 w 134"/>
              <a:gd name="T5" fmla="*/ 2147483647 h 201"/>
              <a:gd name="T6" fmla="*/ 2147483647 w 134"/>
              <a:gd name="T7" fmla="*/ 2147483647 h 201"/>
              <a:gd name="T8" fmla="*/ 2147483647 w 134"/>
              <a:gd name="T9" fmla="*/ 2147483647 h 201"/>
              <a:gd name="T10" fmla="*/ 2147483647 w 134"/>
              <a:gd name="T11" fmla="*/ 2147483647 h 201"/>
              <a:gd name="T12" fmla="*/ 0 w 134"/>
              <a:gd name="T13" fmla="*/ 2147483647 h 201"/>
              <a:gd name="T14" fmla="*/ 0 60000 65536"/>
              <a:gd name="T15" fmla="*/ 0 60000 65536"/>
              <a:gd name="T16" fmla="*/ 0 60000 65536"/>
              <a:gd name="T17" fmla="*/ 0 60000 65536"/>
              <a:gd name="T18" fmla="*/ 0 60000 65536"/>
              <a:gd name="T19" fmla="*/ 0 60000 65536"/>
              <a:gd name="T20" fmla="*/ 0 60000 65536"/>
              <a:gd name="T21" fmla="*/ 0 w 134"/>
              <a:gd name="T22" fmla="*/ 0 h 201"/>
              <a:gd name="T23" fmla="*/ 134 w 134"/>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4" h="201">
                <a:moveTo>
                  <a:pt x="0" y="9"/>
                </a:moveTo>
                <a:lnTo>
                  <a:pt x="64" y="0"/>
                </a:lnTo>
                <a:lnTo>
                  <a:pt x="134" y="106"/>
                </a:lnTo>
                <a:lnTo>
                  <a:pt x="107" y="147"/>
                </a:lnTo>
                <a:lnTo>
                  <a:pt x="111" y="201"/>
                </a:lnTo>
                <a:lnTo>
                  <a:pt x="33" y="92"/>
                </a:lnTo>
                <a:lnTo>
                  <a:pt x="0" y="9"/>
                </a:lnTo>
                <a:close/>
              </a:path>
            </a:pathLst>
          </a:custGeom>
          <a:solidFill>
            <a:schemeClr val="accent1"/>
          </a:solidFill>
          <a:ln w="6350">
            <a:solidFill>
              <a:schemeClr val="tx2"/>
            </a:solidFill>
            <a:round/>
            <a:headEnd/>
            <a:tailEnd/>
          </a:ln>
        </p:spPr>
        <p:txBody>
          <a:bodyPr/>
          <a:lstStyle/>
          <a:p>
            <a:endParaRPr lang="en-US"/>
          </a:p>
        </p:txBody>
      </p:sp>
      <p:sp>
        <p:nvSpPr>
          <p:cNvPr id="73" name="Freeform 1017"/>
          <p:cNvSpPr>
            <a:spLocks/>
          </p:cNvSpPr>
          <p:nvPr/>
        </p:nvSpPr>
        <p:spPr bwMode="auto">
          <a:xfrm>
            <a:off x="4463197" y="1590880"/>
            <a:ext cx="34400" cy="31842"/>
          </a:xfrm>
          <a:custGeom>
            <a:avLst/>
            <a:gdLst>
              <a:gd name="T0" fmla="*/ 2147483647 w 69"/>
              <a:gd name="T1" fmla="*/ 2147483647 h 77"/>
              <a:gd name="T2" fmla="*/ 0 w 69"/>
              <a:gd name="T3" fmla="*/ 2147483647 h 77"/>
              <a:gd name="T4" fmla="*/ 2147483647 w 69"/>
              <a:gd name="T5" fmla="*/ 0 h 77"/>
              <a:gd name="T6" fmla="*/ 2147483647 w 69"/>
              <a:gd name="T7" fmla="*/ 2147483647 h 77"/>
              <a:gd name="T8" fmla="*/ 2147483647 w 69"/>
              <a:gd name="T9" fmla="*/ 2147483647 h 77"/>
              <a:gd name="T10" fmla="*/ 0 60000 65536"/>
              <a:gd name="T11" fmla="*/ 0 60000 65536"/>
              <a:gd name="T12" fmla="*/ 0 60000 65536"/>
              <a:gd name="T13" fmla="*/ 0 60000 65536"/>
              <a:gd name="T14" fmla="*/ 0 60000 65536"/>
              <a:gd name="T15" fmla="*/ 0 w 69"/>
              <a:gd name="T16" fmla="*/ 0 h 77"/>
              <a:gd name="T17" fmla="*/ 69 w 69"/>
              <a:gd name="T18" fmla="*/ 77 h 77"/>
            </a:gdLst>
            <a:ahLst/>
            <a:cxnLst>
              <a:cxn ang="T10">
                <a:pos x="T0" y="T1"/>
              </a:cxn>
              <a:cxn ang="T11">
                <a:pos x="T2" y="T3"/>
              </a:cxn>
              <a:cxn ang="T12">
                <a:pos x="T4" y="T5"/>
              </a:cxn>
              <a:cxn ang="T13">
                <a:pos x="T6" y="T7"/>
              </a:cxn>
              <a:cxn ang="T14">
                <a:pos x="T8" y="T9"/>
              </a:cxn>
            </a:cxnLst>
            <a:rect l="T15" t="T16" r="T17" b="T18"/>
            <a:pathLst>
              <a:path w="69" h="77">
                <a:moveTo>
                  <a:pt x="26" y="60"/>
                </a:moveTo>
                <a:lnTo>
                  <a:pt x="0" y="25"/>
                </a:lnTo>
                <a:lnTo>
                  <a:pt x="30" y="0"/>
                </a:lnTo>
                <a:lnTo>
                  <a:pt x="69" y="77"/>
                </a:lnTo>
                <a:lnTo>
                  <a:pt x="26" y="60"/>
                </a:lnTo>
                <a:close/>
              </a:path>
            </a:pathLst>
          </a:custGeom>
          <a:solidFill>
            <a:schemeClr val="accent1"/>
          </a:solidFill>
          <a:ln w="6350">
            <a:solidFill>
              <a:schemeClr val="tx2"/>
            </a:solidFill>
            <a:round/>
            <a:headEnd/>
            <a:tailEnd/>
          </a:ln>
        </p:spPr>
        <p:txBody>
          <a:bodyPr/>
          <a:lstStyle/>
          <a:p>
            <a:endParaRPr lang="en-US"/>
          </a:p>
        </p:txBody>
      </p:sp>
      <p:sp>
        <p:nvSpPr>
          <p:cNvPr id="74" name="Freeform 1018"/>
          <p:cNvSpPr>
            <a:spLocks/>
          </p:cNvSpPr>
          <p:nvPr/>
        </p:nvSpPr>
        <p:spPr bwMode="auto">
          <a:xfrm>
            <a:off x="4585031" y="1580690"/>
            <a:ext cx="25800" cy="26747"/>
          </a:xfrm>
          <a:custGeom>
            <a:avLst/>
            <a:gdLst>
              <a:gd name="T0" fmla="*/ 0 w 52"/>
              <a:gd name="T1" fmla="*/ 0 h 63"/>
              <a:gd name="T2" fmla="*/ 2147483647 w 52"/>
              <a:gd name="T3" fmla="*/ 2147483647 h 63"/>
              <a:gd name="T4" fmla="*/ 2147483647 w 52"/>
              <a:gd name="T5" fmla="*/ 2147483647 h 63"/>
              <a:gd name="T6" fmla="*/ 0 w 52"/>
              <a:gd name="T7" fmla="*/ 0 h 63"/>
              <a:gd name="T8" fmla="*/ 0 60000 65536"/>
              <a:gd name="T9" fmla="*/ 0 60000 65536"/>
              <a:gd name="T10" fmla="*/ 0 60000 65536"/>
              <a:gd name="T11" fmla="*/ 0 60000 65536"/>
              <a:gd name="T12" fmla="*/ 0 w 52"/>
              <a:gd name="T13" fmla="*/ 0 h 63"/>
              <a:gd name="T14" fmla="*/ 52 w 52"/>
              <a:gd name="T15" fmla="*/ 63 h 63"/>
            </a:gdLst>
            <a:ahLst/>
            <a:cxnLst>
              <a:cxn ang="T8">
                <a:pos x="T0" y="T1"/>
              </a:cxn>
              <a:cxn ang="T9">
                <a:pos x="T2" y="T3"/>
              </a:cxn>
              <a:cxn ang="T10">
                <a:pos x="T4" y="T5"/>
              </a:cxn>
              <a:cxn ang="T11">
                <a:pos x="T6" y="T7"/>
              </a:cxn>
            </a:cxnLst>
            <a:rect l="T12" t="T13" r="T14" b="T15"/>
            <a:pathLst>
              <a:path w="52" h="63">
                <a:moveTo>
                  <a:pt x="0" y="0"/>
                </a:moveTo>
                <a:lnTo>
                  <a:pt x="52" y="30"/>
                </a:lnTo>
                <a:lnTo>
                  <a:pt x="43" y="63"/>
                </a:lnTo>
                <a:lnTo>
                  <a:pt x="0" y="0"/>
                </a:lnTo>
                <a:close/>
              </a:path>
            </a:pathLst>
          </a:custGeom>
          <a:solidFill>
            <a:schemeClr val="accent1"/>
          </a:solidFill>
          <a:ln w="6350">
            <a:solidFill>
              <a:schemeClr val="tx2"/>
            </a:solidFill>
            <a:round/>
            <a:headEnd/>
            <a:tailEnd/>
          </a:ln>
        </p:spPr>
        <p:txBody>
          <a:bodyPr/>
          <a:lstStyle/>
          <a:p>
            <a:endParaRPr lang="en-US"/>
          </a:p>
        </p:txBody>
      </p:sp>
      <p:sp>
        <p:nvSpPr>
          <p:cNvPr id="75" name="Freeform 1019"/>
          <p:cNvSpPr>
            <a:spLocks/>
          </p:cNvSpPr>
          <p:nvPr/>
        </p:nvSpPr>
        <p:spPr bwMode="auto">
          <a:xfrm>
            <a:off x="4583596" y="1545028"/>
            <a:ext cx="37267" cy="39484"/>
          </a:xfrm>
          <a:custGeom>
            <a:avLst/>
            <a:gdLst>
              <a:gd name="T0" fmla="*/ 2147483647 w 79"/>
              <a:gd name="T1" fmla="*/ 0 h 92"/>
              <a:gd name="T2" fmla="*/ 2147483647 w 79"/>
              <a:gd name="T3" fmla="*/ 2147483647 h 92"/>
              <a:gd name="T4" fmla="*/ 2147483647 w 79"/>
              <a:gd name="T5" fmla="*/ 2147483647 h 92"/>
              <a:gd name="T6" fmla="*/ 0 w 79"/>
              <a:gd name="T7" fmla="*/ 2147483647 h 92"/>
              <a:gd name="T8" fmla="*/ 2147483647 w 79"/>
              <a:gd name="T9" fmla="*/ 0 h 92"/>
              <a:gd name="T10" fmla="*/ 0 60000 65536"/>
              <a:gd name="T11" fmla="*/ 0 60000 65536"/>
              <a:gd name="T12" fmla="*/ 0 60000 65536"/>
              <a:gd name="T13" fmla="*/ 0 60000 65536"/>
              <a:gd name="T14" fmla="*/ 0 60000 65536"/>
              <a:gd name="T15" fmla="*/ 0 w 79"/>
              <a:gd name="T16" fmla="*/ 0 h 92"/>
              <a:gd name="T17" fmla="*/ 79 w 79"/>
              <a:gd name="T18" fmla="*/ 92 h 92"/>
            </a:gdLst>
            <a:ahLst/>
            <a:cxnLst>
              <a:cxn ang="T10">
                <a:pos x="T0" y="T1"/>
              </a:cxn>
              <a:cxn ang="T11">
                <a:pos x="T2" y="T3"/>
              </a:cxn>
              <a:cxn ang="T12">
                <a:pos x="T4" y="T5"/>
              </a:cxn>
              <a:cxn ang="T13">
                <a:pos x="T6" y="T7"/>
              </a:cxn>
              <a:cxn ang="T14">
                <a:pos x="T8" y="T9"/>
              </a:cxn>
            </a:cxnLst>
            <a:rect l="T15" t="T16" r="T17" b="T18"/>
            <a:pathLst>
              <a:path w="79" h="92">
                <a:moveTo>
                  <a:pt x="5" y="0"/>
                </a:moveTo>
                <a:lnTo>
                  <a:pt x="79" y="92"/>
                </a:lnTo>
                <a:lnTo>
                  <a:pt x="3" y="36"/>
                </a:lnTo>
                <a:lnTo>
                  <a:pt x="0" y="17"/>
                </a:lnTo>
                <a:lnTo>
                  <a:pt x="5" y="0"/>
                </a:lnTo>
                <a:close/>
              </a:path>
            </a:pathLst>
          </a:custGeom>
          <a:solidFill>
            <a:schemeClr val="accent1"/>
          </a:solidFill>
          <a:ln w="6350">
            <a:solidFill>
              <a:schemeClr val="tx2"/>
            </a:solidFill>
            <a:round/>
            <a:headEnd/>
            <a:tailEnd/>
          </a:ln>
        </p:spPr>
        <p:txBody>
          <a:bodyPr/>
          <a:lstStyle/>
          <a:p>
            <a:endParaRPr lang="en-US"/>
          </a:p>
        </p:txBody>
      </p:sp>
      <p:sp>
        <p:nvSpPr>
          <p:cNvPr id="76" name="Freeform 1024"/>
          <p:cNvSpPr>
            <a:spLocks/>
          </p:cNvSpPr>
          <p:nvPr/>
        </p:nvSpPr>
        <p:spPr bwMode="auto">
          <a:xfrm>
            <a:off x="4907531" y="2492628"/>
            <a:ext cx="54468" cy="22926"/>
          </a:xfrm>
          <a:custGeom>
            <a:avLst/>
            <a:gdLst>
              <a:gd name="T0" fmla="*/ 2147483647 w 115"/>
              <a:gd name="T1" fmla="*/ 2147483647 h 53"/>
              <a:gd name="T2" fmla="*/ 0 w 115"/>
              <a:gd name="T3" fmla="*/ 2147483647 h 53"/>
              <a:gd name="T4" fmla="*/ 2147483647 w 115"/>
              <a:gd name="T5" fmla="*/ 2147483647 h 53"/>
              <a:gd name="T6" fmla="*/ 2147483647 w 115"/>
              <a:gd name="T7" fmla="*/ 2147483647 h 53"/>
              <a:gd name="T8" fmla="*/ 2147483647 w 115"/>
              <a:gd name="T9" fmla="*/ 2147483647 h 53"/>
              <a:gd name="T10" fmla="*/ 2147483647 w 115"/>
              <a:gd name="T11" fmla="*/ 0 h 53"/>
              <a:gd name="T12" fmla="*/ 2147483647 w 115"/>
              <a:gd name="T13" fmla="*/ 2147483647 h 53"/>
              <a:gd name="T14" fmla="*/ 0 60000 65536"/>
              <a:gd name="T15" fmla="*/ 0 60000 65536"/>
              <a:gd name="T16" fmla="*/ 0 60000 65536"/>
              <a:gd name="T17" fmla="*/ 0 60000 65536"/>
              <a:gd name="T18" fmla="*/ 0 60000 65536"/>
              <a:gd name="T19" fmla="*/ 0 60000 65536"/>
              <a:gd name="T20" fmla="*/ 0 60000 65536"/>
              <a:gd name="T21" fmla="*/ 0 w 115"/>
              <a:gd name="T22" fmla="*/ 0 h 53"/>
              <a:gd name="T23" fmla="*/ 115 w 115"/>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53">
                <a:moveTo>
                  <a:pt x="2" y="31"/>
                </a:moveTo>
                <a:lnTo>
                  <a:pt x="0" y="43"/>
                </a:lnTo>
                <a:lnTo>
                  <a:pt x="57" y="53"/>
                </a:lnTo>
                <a:lnTo>
                  <a:pt x="115" y="39"/>
                </a:lnTo>
                <a:lnTo>
                  <a:pt x="99" y="25"/>
                </a:lnTo>
                <a:lnTo>
                  <a:pt x="26" y="0"/>
                </a:lnTo>
                <a:lnTo>
                  <a:pt x="2" y="31"/>
                </a:lnTo>
                <a:close/>
              </a:path>
            </a:pathLst>
          </a:custGeom>
          <a:solidFill>
            <a:schemeClr val="accent1"/>
          </a:solidFill>
          <a:ln w="6350">
            <a:solidFill>
              <a:schemeClr val="tx2"/>
            </a:solidFill>
            <a:round/>
            <a:headEnd/>
            <a:tailEnd/>
          </a:ln>
        </p:spPr>
        <p:txBody>
          <a:bodyPr/>
          <a:lstStyle/>
          <a:p>
            <a:endParaRPr lang="en-US"/>
          </a:p>
        </p:txBody>
      </p:sp>
      <p:sp>
        <p:nvSpPr>
          <p:cNvPr id="77" name="Freeform 1025"/>
          <p:cNvSpPr>
            <a:spLocks/>
          </p:cNvSpPr>
          <p:nvPr/>
        </p:nvSpPr>
        <p:spPr bwMode="auto">
          <a:xfrm>
            <a:off x="4927599" y="2516828"/>
            <a:ext cx="54468" cy="20378"/>
          </a:xfrm>
          <a:custGeom>
            <a:avLst/>
            <a:gdLst>
              <a:gd name="T0" fmla="*/ 2147483647 w 112"/>
              <a:gd name="T1" fmla="*/ 2147483647 h 50"/>
              <a:gd name="T2" fmla="*/ 2147483647 w 112"/>
              <a:gd name="T3" fmla="*/ 2147483647 h 50"/>
              <a:gd name="T4" fmla="*/ 2147483647 w 112"/>
              <a:gd name="T5" fmla="*/ 2147483647 h 50"/>
              <a:gd name="T6" fmla="*/ 2147483647 w 112"/>
              <a:gd name="T7" fmla="*/ 2147483647 h 50"/>
              <a:gd name="T8" fmla="*/ 2147483647 w 112"/>
              <a:gd name="T9" fmla="*/ 2147483647 h 50"/>
              <a:gd name="T10" fmla="*/ 2147483647 w 112"/>
              <a:gd name="T11" fmla="*/ 2147483647 h 50"/>
              <a:gd name="T12" fmla="*/ 0 w 112"/>
              <a:gd name="T13" fmla="*/ 2147483647 h 50"/>
              <a:gd name="T14" fmla="*/ 2147483647 w 112"/>
              <a:gd name="T15" fmla="*/ 0 h 50"/>
              <a:gd name="T16" fmla="*/ 2147483647 w 112"/>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
              <a:gd name="T28" fmla="*/ 0 h 50"/>
              <a:gd name="T29" fmla="*/ 112 w 11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 h="50">
                <a:moveTo>
                  <a:pt x="112" y="25"/>
                </a:moveTo>
                <a:lnTo>
                  <a:pt x="103" y="35"/>
                </a:lnTo>
                <a:lnTo>
                  <a:pt x="112" y="47"/>
                </a:lnTo>
                <a:lnTo>
                  <a:pt x="102" y="50"/>
                </a:lnTo>
                <a:lnTo>
                  <a:pt x="56" y="21"/>
                </a:lnTo>
                <a:lnTo>
                  <a:pt x="15" y="21"/>
                </a:lnTo>
                <a:lnTo>
                  <a:pt x="0" y="11"/>
                </a:lnTo>
                <a:lnTo>
                  <a:pt x="57" y="0"/>
                </a:lnTo>
                <a:lnTo>
                  <a:pt x="112" y="25"/>
                </a:lnTo>
                <a:close/>
              </a:path>
            </a:pathLst>
          </a:custGeom>
          <a:solidFill>
            <a:schemeClr val="accent1"/>
          </a:solidFill>
          <a:ln w="6350">
            <a:solidFill>
              <a:schemeClr val="tx2"/>
            </a:solidFill>
            <a:round/>
            <a:headEnd/>
            <a:tailEnd/>
          </a:ln>
        </p:spPr>
        <p:txBody>
          <a:bodyPr/>
          <a:lstStyle/>
          <a:p>
            <a:endParaRPr lang="en-US"/>
          </a:p>
        </p:txBody>
      </p:sp>
      <p:sp>
        <p:nvSpPr>
          <p:cNvPr id="78" name="Freeform 1026"/>
          <p:cNvSpPr>
            <a:spLocks/>
          </p:cNvSpPr>
          <p:nvPr/>
        </p:nvSpPr>
        <p:spPr bwMode="auto">
          <a:xfrm>
            <a:off x="4930465" y="2528291"/>
            <a:ext cx="53033" cy="44578"/>
          </a:xfrm>
          <a:custGeom>
            <a:avLst/>
            <a:gdLst>
              <a:gd name="T0" fmla="*/ 2147483647 w 110"/>
              <a:gd name="T1" fmla="*/ 2147483647 h 106"/>
              <a:gd name="T2" fmla="*/ 2147483647 w 110"/>
              <a:gd name="T3" fmla="*/ 2147483647 h 106"/>
              <a:gd name="T4" fmla="*/ 2147483647 w 110"/>
              <a:gd name="T5" fmla="*/ 2147483647 h 106"/>
              <a:gd name="T6" fmla="*/ 2147483647 w 110"/>
              <a:gd name="T7" fmla="*/ 2147483647 h 106"/>
              <a:gd name="T8" fmla="*/ 2147483647 w 110"/>
              <a:gd name="T9" fmla="*/ 2147483647 h 106"/>
              <a:gd name="T10" fmla="*/ 2147483647 w 110"/>
              <a:gd name="T11" fmla="*/ 2147483647 h 106"/>
              <a:gd name="T12" fmla="*/ 2147483647 w 110"/>
              <a:gd name="T13" fmla="*/ 2147483647 h 106"/>
              <a:gd name="T14" fmla="*/ 2147483647 w 110"/>
              <a:gd name="T15" fmla="*/ 2147483647 h 106"/>
              <a:gd name="T16" fmla="*/ 2147483647 w 110"/>
              <a:gd name="T17" fmla="*/ 2147483647 h 106"/>
              <a:gd name="T18" fmla="*/ 0 w 110"/>
              <a:gd name="T19" fmla="*/ 2147483647 h 106"/>
              <a:gd name="T20" fmla="*/ 2147483647 w 110"/>
              <a:gd name="T21" fmla="*/ 0 h 106"/>
              <a:gd name="T22" fmla="*/ 2147483647 w 110"/>
              <a:gd name="T23" fmla="*/ 2147483647 h 1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106"/>
              <a:gd name="T38" fmla="*/ 110 w 110"/>
              <a:gd name="T39" fmla="*/ 106 h 1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106">
                <a:moveTo>
                  <a:pt x="64" y="18"/>
                </a:moveTo>
                <a:lnTo>
                  <a:pt x="107" y="49"/>
                </a:lnTo>
                <a:lnTo>
                  <a:pt x="110" y="66"/>
                </a:lnTo>
                <a:lnTo>
                  <a:pt x="77" y="69"/>
                </a:lnTo>
                <a:lnTo>
                  <a:pt x="101" y="86"/>
                </a:lnTo>
                <a:lnTo>
                  <a:pt x="100" y="104"/>
                </a:lnTo>
                <a:lnTo>
                  <a:pt x="95" y="106"/>
                </a:lnTo>
                <a:lnTo>
                  <a:pt x="25" y="55"/>
                </a:lnTo>
                <a:lnTo>
                  <a:pt x="7" y="36"/>
                </a:lnTo>
                <a:lnTo>
                  <a:pt x="0" y="2"/>
                </a:lnTo>
                <a:lnTo>
                  <a:pt x="45" y="0"/>
                </a:lnTo>
                <a:lnTo>
                  <a:pt x="64" y="18"/>
                </a:lnTo>
                <a:close/>
              </a:path>
            </a:pathLst>
          </a:custGeom>
          <a:solidFill>
            <a:schemeClr val="accent1"/>
          </a:solidFill>
          <a:ln w="6350">
            <a:solidFill>
              <a:schemeClr val="tx2"/>
            </a:solidFill>
            <a:round/>
            <a:headEnd/>
            <a:tailEnd/>
          </a:ln>
        </p:spPr>
        <p:txBody>
          <a:bodyPr/>
          <a:lstStyle/>
          <a:p>
            <a:endParaRPr lang="en-US"/>
          </a:p>
        </p:txBody>
      </p:sp>
      <p:sp>
        <p:nvSpPr>
          <p:cNvPr id="79" name="Freeform 1027"/>
          <p:cNvSpPr>
            <a:spLocks/>
          </p:cNvSpPr>
          <p:nvPr/>
        </p:nvSpPr>
        <p:spPr bwMode="auto">
          <a:xfrm>
            <a:off x="4858798" y="2632730"/>
            <a:ext cx="54468" cy="33115"/>
          </a:xfrm>
          <a:custGeom>
            <a:avLst/>
            <a:gdLst>
              <a:gd name="T0" fmla="*/ 2147483647 w 116"/>
              <a:gd name="T1" fmla="*/ 2147483647 h 78"/>
              <a:gd name="T2" fmla="*/ 2147483647 w 116"/>
              <a:gd name="T3" fmla="*/ 2147483647 h 78"/>
              <a:gd name="T4" fmla="*/ 2147483647 w 116"/>
              <a:gd name="T5" fmla="*/ 2147483647 h 78"/>
              <a:gd name="T6" fmla="*/ 0 w 116"/>
              <a:gd name="T7" fmla="*/ 2147483647 h 78"/>
              <a:gd name="T8" fmla="*/ 2147483647 w 116"/>
              <a:gd name="T9" fmla="*/ 2147483647 h 78"/>
              <a:gd name="T10" fmla="*/ 2147483647 w 116"/>
              <a:gd name="T11" fmla="*/ 2147483647 h 78"/>
              <a:gd name="T12" fmla="*/ 2147483647 w 116"/>
              <a:gd name="T13" fmla="*/ 0 h 78"/>
              <a:gd name="T14" fmla="*/ 2147483647 w 116"/>
              <a:gd name="T15" fmla="*/ 2147483647 h 78"/>
              <a:gd name="T16" fmla="*/ 0 60000 65536"/>
              <a:gd name="T17" fmla="*/ 0 60000 65536"/>
              <a:gd name="T18" fmla="*/ 0 60000 65536"/>
              <a:gd name="T19" fmla="*/ 0 60000 65536"/>
              <a:gd name="T20" fmla="*/ 0 60000 65536"/>
              <a:gd name="T21" fmla="*/ 0 60000 65536"/>
              <a:gd name="T22" fmla="*/ 0 60000 65536"/>
              <a:gd name="T23" fmla="*/ 0 60000 65536"/>
              <a:gd name="T24" fmla="*/ 0 w 116"/>
              <a:gd name="T25" fmla="*/ 0 h 78"/>
              <a:gd name="T26" fmla="*/ 116 w 116"/>
              <a:gd name="T27" fmla="*/ 78 h 7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6" h="78">
                <a:moveTo>
                  <a:pt x="113" y="25"/>
                </a:moveTo>
                <a:lnTo>
                  <a:pt x="116" y="54"/>
                </a:lnTo>
                <a:lnTo>
                  <a:pt x="106" y="61"/>
                </a:lnTo>
                <a:lnTo>
                  <a:pt x="0" y="78"/>
                </a:lnTo>
                <a:lnTo>
                  <a:pt x="3" y="55"/>
                </a:lnTo>
                <a:lnTo>
                  <a:pt x="40" y="26"/>
                </a:lnTo>
                <a:lnTo>
                  <a:pt x="93" y="0"/>
                </a:lnTo>
                <a:lnTo>
                  <a:pt x="113" y="25"/>
                </a:lnTo>
                <a:close/>
              </a:path>
            </a:pathLst>
          </a:custGeom>
          <a:solidFill>
            <a:schemeClr val="accent1"/>
          </a:solidFill>
          <a:ln w="6350">
            <a:solidFill>
              <a:schemeClr val="tx2"/>
            </a:solidFill>
            <a:round/>
            <a:headEnd/>
            <a:tailEnd/>
          </a:ln>
        </p:spPr>
        <p:txBody>
          <a:bodyPr/>
          <a:lstStyle/>
          <a:p>
            <a:endParaRPr lang="en-US"/>
          </a:p>
        </p:txBody>
      </p:sp>
      <p:sp>
        <p:nvSpPr>
          <p:cNvPr id="80" name="Freeform 1028"/>
          <p:cNvSpPr>
            <a:spLocks/>
          </p:cNvSpPr>
          <p:nvPr/>
        </p:nvSpPr>
        <p:spPr bwMode="auto">
          <a:xfrm>
            <a:off x="4930465" y="2856893"/>
            <a:ext cx="223601" cy="133735"/>
          </a:xfrm>
          <a:custGeom>
            <a:avLst/>
            <a:gdLst>
              <a:gd name="T0" fmla="*/ 2147483647 w 474"/>
              <a:gd name="T1" fmla="*/ 2147483647 h 320"/>
              <a:gd name="T2" fmla="*/ 2147483647 w 474"/>
              <a:gd name="T3" fmla="*/ 2147483647 h 320"/>
              <a:gd name="T4" fmla="*/ 2147483647 w 474"/>
              <a:gd name="T5" fmla="*/ 2147483647 h 320"/>
              <a:gd name="T6" fmla="*/ 2147483647 w 474"/>
              <a:gd name="T7" fmla="*/ 2147483647 h 320"/>
              <a:gd name="T8" fmla="*/ 2147483647 w 474"/>
              <a:gd name="T9" fmla="*/ 2147483647 h 320"/>
              <a:gd name="T10" fmla="*/ 2147483647 w 474"/>
              <a:gd name="T11" fmla="*/ 2147483647 h 320"/>
              <a:gd name="T12" fmla="*/ 2147483647 w 474"/>
              <a:gd name="T13" fmla="*/ 2147483647 h 320"/>
              <a:gd name="T14" fmla="*/ 2147483647 w 474"/>
              <a:gd name="T15" fmla="*/ 2147483647 h 320"/>
              <a:gd name="T16" fmla="*/ 2147483647 w 474"/>
              <a:gd name="T17" fmla="*/ 2147483647 h 320"/>
              <a:gd name="T18" fmla="*/ 2147483647 w 474"/>
              <a:gd name="T19" fmla="*/ 2147483647 h 320"/>
              <a:gd name="T20" fmla="*/ 2147483647 w 474"/>
              <a:gd name="T21" fmla="*/ 2147483647 h 320"/>
              <a:gd name="T22" fmla="*/ 0 w 474"/>
              <a:gd name="T23" fmla="*/ 2147483647 h 320"/>
              <a:gd name="T24" fmla="*/ 2147483647 w 474"/>
              <a:gd name="T25" fmla="*/ 2147483647 h 320"/>
              <a:gd name="T26" fmla="*/ 2147483647 w 474"/>
              <a:gd name="T27" fmla="*/ 2147483647 h 320"/>
              <a:gd name="T28" fmla="*/ 2147483647 w 474"/>
              <a:gd name="T29" fmla="*/ 2147483647 h 320"/>
              <a:gd name="T30" fmla="*/ 2147483647 w 474"/>
              <a:gd name="T31" fmla="*/ 2147483647 h 320"/>
              <a:gd name="T32" fmla="*/ 2147483647 w 474"/>
              <a:gd name="T33" fmla="*/ 2147483647 h 320"/>
              <a:gd name="T34" fmla="*/ 2147483647 w 474"/>
              <a:gd name="T35" fmla="*/ 2147483647 h 320"/>
              <a:gd name="T36" fmla="*/ 2147483647 w 474"/>
              <a:gd name="T37" fmla="*/ 2147483647 h 320"/>
              <a:gd name="T38" fmla="*/ 2147483647 w 474"/>
              <a:gd name="T39" fmla="*/ 2147483647 h 320"/>
              <a:gd name="T40" fmla="*/ 2147483647 w 474"/>
              <a:gd name="T41" fmla="*/ 2147483647 h 320"/>
              <a:gd name="T42" fmla="*/ 2147483647 w 474"/>
              <a:gd name="T43" fmla="*/ 2147483647 h 320"/>
              <a:gd name="T44" fmla="*/ 2147483647 w 474"/>
              <a:gd name="T45" fmla="*/ 2147483647 h 320"/>
              <a:gd name="T46" fmla="*/ 2147483647 w 474"/>
              <a:gd name="T47" fmla="*/ 2147483647 h 320"/>
              <a:gd name="T48" fmla="*/ 2147483647 w 474"/>
              <a:gd name="T49" fmla="*/ 2147483647 h 320"/>
              <a:gd name="T50" fmla="*/ 2147483647 w 474"/>
              <a:gd name="T51" fmla="*/ 2147483647 h 320"/>
              <a:gd name="T52" fmla="*/ 2147483647 w 474"/>
              <a:gd name="T53" fmla="*/ 2147483647 h 320"/>
              <a:gd name="T54" fmla="*/ 2147483647 w 474"/>
              <a:gd name="T55" fmla="*/ 2147483647 h 320"/>
              <a:gd name="T56" fmla="*/ 2147483647 w 474"/>
              <a:gd name="T57" fmla="*/ 2147483647 h 320"/>
              <a:gd name="T58" fmla="*/ 2147483647 w 474"/>
              <a:gd name="T59" fmla="*/ 2147483647 h 320"/>
              <a:gd name="T60" fmla="*/ 2147483647 w 474"/>
              <a:gd name="T61" fmla="*/ 2147483647 h 320"/>
              <a:gd name="T62" fmla="*/ 2147483647 w 474"/>
              <a:gd name="T63" fmla="*/ 2147483647 h 320"/>
              <a:gd name="T64" fmla="*/ 2147483647 w 474"/>
              <a:gd name="T65" fmla="*/ 2147483647 h 320"/>
              <a:gd name="T66" fmla="*/ 2147483647 w 474"/>
              <a:gd name="T67" fmla="*/ 2147483647 h 320"/>
              <a:gd name="T68" fmla="*/ 2147483647 w 474"/>
              <a:gd name="T69" fmla="*/ 2147483647 h 320"/>
              <a:gd name="T70" fmla="*/ 2147483647 w 474"/>
              <a:gd name="T71" fmla="*/ 2147483647 h 320"/>
              <a:gd name="T72" fmla="*/ 2147483647 w 474"/>
              <a:gd name="T73" fmla="*/ 2147483647 h 320"/>
              <a:gd name="T74" fmla="*/ 2147483647 w 474"/>
              <a:gd name="T75" fmla="*/ 2147483647 h 320"/>
              <a:gd name="T76" fmla="*/ 2147483647 w 474"/>
              <a:gd name="T77" fmla="*/ 2147483647 h 320"/>
              <a:gd name="T78" fmla="*/ 2147483647 w 474"/>
              <a:gd name="T79" fmla="*/ 2147483647 h 320"/>
              <a:gd name="T80" fmla="*/ 2147483647 w 474"/>
              <a:gd name="T81" fmla="*/ 2147483647 h 320"/>
              <a:gd name="T82" fmla="*/ 2147483647 w 474"/>
              <a:gd name="T83" fmla="*/ 2147483647 h 320"/>
              <a:gd name="T84" fmla="*/ 2147483647 w 474"/>
              <a:gd name="T85" fmla="*/ 2147483647 h 320"/>
              <a:gd name="T86" fmla="*/ 2147483647 w 474"/>
              <a:gd name="T87" fmla="*/ 0 h 320"/>
              <a:gd name="T88" fmla="*/ 2147483647 w 474"/>
              <a:gd name="T89" fmla="*/ 2147483647 h 320"/>
              <a:gd name="T90" fmla="*/ 2147483647 w 474"/>
              <a:gd name="T91" fmla="*/ 2147483647 h 320"/>
              <a:gd name="T92" fmla="*/ 2147483647 w 474"/>
              <a:gd name="T93" fmla="*/ 2147483647 h 320"/>
              <a:gd name="T94" fmla="*/ 2147483647 w 474"/>
              <a:gd name="T95" fmla="*/ 2147483647 h 320"/>
              <a:gd name="T96" fmla="*/ 2147483647 w 474"/>
              <a:gd name="T97" fmla="*/ 2147483647 h 320"/>
              <a:gd name="T98" fmla="*/ 2147483647 w 474"/>
              <a:gd name="T99" fmla="*/ 2147483647 h 320"/>
              <a:gd name="T100" fmla="*/ 2147483647 w 474"/>
              <a:gd name="T101" fmla="*/ 2147483647 h 320"/>
              <a:gd name="T102" fmla="*/ 2147483647 w 474"/>
              <a:gd name="T103" fmla="*/ 2147483647 h 320"/>
              <a:gd name="T104" fmla="*/ 2147483647 w 474"/>
              <a:gd name="T105" fmla="*/ 2147483647 h 320"/>
              <a:gd name="T106" fmla="*/ 2147483647 w 474"/>
              <a:gd name="T107" fmla="*/ 2147483647 h 320"/>
              <a:gd name="T108" fmla="*/ 2147483647 w 474"/>
              <a:gd name="T109" fmla="*/ 2147483647 h 320"/>
              <a:gd name="T110" fmla="*/ 2147483647 w 474"/>
              <a:gd name="T111" fmla="*/ 2147483647 h 320"/>
              <a:gd name="T112" fmla="*/ 2147483647 w 474"/>
              <a:gd name="T113" fmla="*/ 2147483647 h 320"/>
              <a:gd name="T114" fmla="*/ 2147483647 w 474"/>
              <a:gd name="T115" fmla="*/ 2147483647 h 320"/>
              <a:gd name="T116" fmla="*/ 2147483647 w 474"/>
              <a:gd name="T117" fmla="*/ 2147483647 h 3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4"/>
              <a:gd name="T178" fmla="*/ 0 h 320"/>
              <a:gd name="T179" fmla="*/ 474 w 474"/>
              <a:gd name="T180" fmla="*/ 320 h 3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4" h="320">
                <a:moveTo>
                  <a:pt x="196" y="304"/>
                </a:moveTo>
                <a:lnTo>
                  <a:pt x="143" y="273"/>
                </a:lnTo>
                <a:lnTo>
                  <a:pt x="80" y="278"/>
                </a:lnTo>
                <a:lnTo>
                  <a:pt x="78" y="253"/>
                </a:lnTo>
                <a:lnTo>
                  <a:pt x="89" y="261"/>
                </a:lnTo>
                <a:lnTo>
                  <a:pt x="117" y="241"/>
                </a:lnTo>
                <a:lnTo>
                  <a:pt x="117" y="226"/>
                </a:lnTo>
                <a:lnTo>
                  <a:pt x="103" y="230"/>
                </a:lnTo>
                <a:lnTo>
                  <a:pt x="118" y="203"/>
                </a:lnTo>
                <a:lnTo>
                  <a:pt x="105" y="212"/>
                </a:lnTo>
                <a:lnTo>
                  <a:pt x="85" y="177"/>
                </a:lnTo>
                <a:lnTo>
                  <a:pt x="26" y="182"/>
                </a:lnTo>
                <a:lnTo>
                  <a:pt x="27" y="172"/>
                </a:lnTo>
                <a:lnTo>
                  <a:pt x="75" y="155"/>
                </a:lnTo>
                <a:lnTo>
                  <a:pt x="113" y="158"/>
                </a:lnTo>
                <a:lnTo>
                  <a:pt x="119" y="139"/>
                </a:lnTo>
                <a:lnTo>
                  <a:pt x="110" y="150"/>
                </a:lnTo>
                <a:lnTo>
                  <a:pt x="87" y="144"/>
                </a:lnTo>
                <a:lnTo>
                  <a:pt x="116" y="114"/>
                </a:lnTo>
                <a:lnTo>
                  <a:pt x="98" y="112"/>
                </a:lnTo>
                <a:lnTo>
                  <a:pt x="88" y="98"/>
                </a:lnTo>
                <a:lnTo>
                  <a:pt x="70" y="96"/>
                </a:lnTo>
                <a:lnTo>
                  <a:pt x="37" y="115"/>
                </a:lnTo>
                <a:lnTo>
                  <a:pt x="0" y="112"/>
                </a:lnTo>
                <a:lnTo>
                  <a:pt x="6" y="96"/>
                </a:lnTo>
                <a:lnTo>
                  <a:pt x="25" y="97"/>
                </a:lnTo>
                <a:lnTo>
                  <a:pt x="28" y="91"/>
                </a:lnTo>
                <a:lnTo>
                  <a:pt x="16" y="76"/>
                </a:lnTo>
                <a:lnTo>
                  <a:pt x="41" y="94"/>
                </a:lnTo>
                <a:lnTo>
                  <a:pt x="55" y="91"/>
                </a:lnTo>
                <a:lnTo>
                  <a:pt x="48" y="87"/>
                </a:lnTo>
                <a:lnTo>
                  <a:pt x="54" y="78"/>
                </a:lnTo>
                <a:lnTo>
                  <a:pt x="32" y="72"/>
                </a:lnTo>
                <a:lnTo>
                  <a:pt x="41" y="68"/>
                </a:lnTo>
                <a:lnTo>
                  <a:pt x="29" y="51"/>
                </a:lnTo>
                <a:lnTo>
                  <a:pt x="41" y="58"/>
                </a:lnTo>
                <a:lnTo>
                  <a:pt x="37" y="46"/>
                </a:lnTo>
                <a:lnTo>
                  <a:pt x="45" y="50"/>
                </a:lnTo>
                <a:lnTo>
                  <a:pt x="39" y="39"/>
                </a:lnTo>
                <a:lnTo>
                  <a:pt x="60" y="46"/>
                </a:lnTo>
                <a:lnTo>
                  <a:pt x="63" y="59"/>
                </a:lnTo>
                <a:lnTo>
                  <a:pt x="73" y="55"/>
                </a:lnTo>
                <a:lnTo>
                  <a:pt x="82" y="73"/>
                </a:lnTo>
                <a:lnTo>
                  <a:pt x="85" y="64"/>
                </a:lnTo>
                <a:lnTo>
                  <a:pt x="89" y="73"/>
                </a:lnTo>
                <a:lnTo>
                  <a:pt x="94" y="62"/>
                </a:lnTo>
                <a:lnTo>
                  <a:pt x="89" y="47"/>
                </a:lnTo>
                <a:lnTo>
                  <a:pt x="69" y="34"/>
                </a:lnTo>
                <a:lnTo>
                  <a:pt x="73" y="25"/>
                </a:lnTo>
                <a:lnTo>
                  <a:pt x="88" y="29"/>
                </a:lnTo>
                <a:lnTo>
                  <a:pt x="79" y="19"/>
                </a:lnTo>
                <a:lnTo>
                  <a:pt x="59" y="21"/>
                </a:lnTo>
                <a:lnTo>
                  <a:pt x="61" y="7"/>
                </a:lnTo>
                <a:lnTo>
                  <a:pt x="90" y="12"/>
                </a:lnTo>
                <a:lnTo>
                  <a:pt x="135" y="56"/>
                </a:lnTo>
                <a:lnTo>
                  <a:pt x="127" y="62"/>
                </a:lnTo>
                <a:lnTo>
                  <a:pt x="136" y="67"/>
                </a:lnTo>
                <a:lnTo>
                  <a:pt x="137" y="78"/>
                </a:lnTo>
                <a:lnTo>
                  <a:pt x="129" y="88"/>
                </a:lnTo>
                <a:lnTo>
                  <a:pt x="132" y="96"/>
                </a:lnTo>
                <a:lnTo>
                  <a:pt x="132" y="104"/>
                </a:lnTo>
                <a:lnTo>
                  <a:pt x="136" y="99"/>
                </a:lnTo>
                <a:lnTo>
                  <a:pt x="139" y="109"/>
                </a:lnTo>
                <a:lnTo>
                  <a:pt x="134" y="113"/>
                </a:lnTo>
                <a:lnTo>
                  <a:pt x="142" y="118"/>
                </a:lnTo>
                <a:lnTo>
                  <a:pt x="143" y="137"/>
                </a:lnTo>
                <a:lnTo>
                  <a:pt x="149" y="119"/>
                </a:lnTo>
                <a:lnTo>
                  <a:pt x="158" y="118"/>
                </a:lnTo>
                <a:lnTo>
                  <a:pt x="162" y="91"/>
                </a:lnTo>
                <a:lnTo>
                  <a:pt x="174" y="107"/>
                </a:lnTo>
                <a:lnTo>
                  <a:pt x="179" y="100"/>
                </a:lnTo>
                <a:lnTo>
                  <a:pt x="183" y="76"/>
                </a:lnTo>
                <a:lnTo>
                  <a:pt x="178" y="47"/>
                </a:lnTo>
                <a:lnTo>
                  <a:pt x="183" y="43"/>
                </a:lnTo>
                <a:lnTo>
                  <a:pt x="216" y="84"/>
                </a:lnTo>
                <a:lnTo>
                  <a:pt x="222" y="69"/>
                </a:lnTo>
                <a:lnTo>
                  <a:pt x="220" y="52"/>
                </a:lnTo>
                <a:lnTo>
                  <a:pt x="249" y="36"/>
                </a:lnTo>
                <a:lnTo>
                  <a:pt x="277" y="92"/>
                </a:lnTo>
                <a:lnTo>
                  <a:pt x="278" y="70"/>
                </a:lnTo>
                <a:lnTo>
                  <a:pt x="270" y="39"/>
                </a:lnTo>
                <a:lnTo>
                  <a:pt x="282" y="39"/>
                </a:lnTo>
                <a:lnTo>
                  <a:pt x="297" y="57"/>
                </a:lnTo>
                <a:lnTo>
                  <a:pt x="308" y="51"/>
                </a:lnTo>
                <a:lnTo>
                  <a:pt x="312" y="38"/>
                </a:lnTo>
                <a:lnTo>
                  <a:pt x="349" y="39"/>
                </a:lnTo>
                <a:lnTo>
                  <a:pt x="344" y="6"/>
                </a:lnTo>
                <a:lnTo>
                  <a:pt x="358" y="0"/>
                </a:lnTo>
                <a:lnTo>
                  <a:pt x="377" y="15"/>
                </a:lnTo>
                <a:lnTo>
                  <a:pt x="377" y="29"/>
                </a:lnTo>
                <a:lnTo>
                  <a:pt x="389" y="38"/>
                </a:lnTo>
                <a:lnTo>
                  <a:pt x="427" y="14"/>
                </a:lnTo>
                <a:lnTo>
                  <a:pt x="430" y="18"/>
                </a:lnTo>
                <a:lnTo>
                  <a:pt x="405" y="47"/>
                </a:lnTo>
                <a:lnTo>
                  <a:pt x="407" y="53"/>
                </a:lnTo>
                <a:lnTo>
                  <a:pt x="423" y="50"/>
                </a:lnTo>
                <a:lnTo>
                  <a:pt x="426" y="65"/>
                </a:lnTo>
                <a:lnTo>
                  <a:pt x="421" y="86"/>
                </a:lnTo>
                <a:lnTo>
                  <a:pt x="440" y="83"/>
                </a:lnTo>
                <a:lnTo>
                  <a:pt x="440" y="96"/>
                </a:lnTo>
                <a:lnTo>
                  <a:pt x="452" y="101"/>
                </a:lnTo>
                <a:lnTo>
                  <a:pt x="454" y="90"/>
                </a:lnTo>
                <a:lnTo>
                  <a:pt x="467" y="115"/>
                </a:lnTo>
                <a:lnTo>
                  <a:pt x="460" y="130"/>
                </a:lnTo>
                <a:lnTo>
                  <a:pt x="466" y="141"/>
                </a:lnTo>
                <a:lnTo>
                  <a:pt x="474" y="136"/>
                </a:lnTo>
                <a:lnTo>
                  <a:pt x="474" y="148"/>
                </a:lnTo>
                <a:lnTo>
                  <a:pt x="465" y="170"/>
                </a:lnTo>
                <a:lnTo>
                  <a:pt x="433" y="191"/>
                </a:lnTo>
                <a:lnTo>
                  <a:pt x="430" y="198"/>
                </a:lnTo>
                <a:lnTo>
                  <a:pt x="444" y="193"/>
                </a:lnTo>
                <a:lnTo>
                  <a:pt x="415" y="234"/>
                </a:lnTo>
                <a:lnTo>
                  <a:pt x="395" y="217"/>
                </a:lnTo>
                <a:lnTo>
                  <a:pt x="394" y="228"/>
                </a:lnTo>
                <a:lnTo>
                  <a:pt x="354" y="265"/>
                </a:lnTo>
                <a:lnTo>
                  <a:pt x="322" y="268"/>
                </a:lnTo>
                <a:lnTo>
                  <a:pt x="279" y="309"/>
                </a:lnTo>
                <a:lnTo>
                  <a:pt x="254" y="320"/>
                </a:lnTo>
                <a:lnTo>
                  <a:pt x="196" y="304"/>
                </a:lnTo>
                <a:close/>
              </a:path>
            </a:pathLst>
          </a:custGeom>
          <a:solidFill>
            <a:schemeClr val="accent1"/>
          </a:solidFill>
          <a:ln w="6350">
            <a:solidFill>
              <a:schemeClr val="tx2"/>
            </a:solidFill>
            <a:round/>
            <a:headEnd/>
            <a:tailEnd/>
          </a:ln>
        </p:spPr>
        <p:txBody>
          <a:bodyPr/>
          <a:lstStyle/>
          <a:p>
            <a:endParaRPr lang="en-US"/>
          </a:p>
        </p:txBody>
      </p:sp>
      <p:sp>
        <p:nvSpPr>
          <p:cNvPr id="81" name="Freeform 1029"/>
          <p:cNvSpPr>
            <a:spLocks/>
          </p:cNvSpPr>
          <p:nvPr/>
        </p:nvSpPr>
        <p:spPr bwMode="auto">
          <a:xfrm>
            <a:off x="3950062" y="1506818"/>
            <a:ext cx="1226938" cy="1609902"/>
          </a:xfrm>
          <a:custGeom>
            <a:avLst/>
            <a:gdLst>
              <a:gd name="T0" fmla="*/ 2147483647 w 2612"/>
              <a:gd name="T1" fmla="*/ 2147483647 h 3860"/>
              <a:gd name="T2" fmla="*/ 2147483647 w 2612"/>
              <a:gd name="T3" fmla="*/ 2147483647 h 3860"/>
              <a:gd name="T4" fmla="*/ 2147483647 w 2612"/>
              <a:gd name="T5" fmla="*/ 2147483647 h 3860"/>
              <a:gd name="T6" fmla="*/ 2147483647 w 2612"/>
              <a:gd name="T7" fmla="*/ 2147483647 h 3860"/>
              <a:gd name="T8" fmla="*/ 2147483647 w 2612"/>
              <a:gd name="T9" fmla="*/ 2147483647 h 3860"/>
              <a:gd name="T10" fmla="*/ 2147483647 w 2612"/>
              <a:gd name="T11" fmla="*/ 2147483647 h 3860"/>
              <a:gd name="T12" fmla="*/ 2147483647 w 2612"/>
              <a:gd name="T13" fmla="*/ 2147483647 h 3860"/>
              <a:gd name="T14" fmla="*/ 2147483647 w 2612"/>
              <a:gd name="T15" fmla="*/ 2147483647 h 3860"/>
              <a:gd name="T16" fmla="*/ 2147483647 w 2612"/>
              <a:gd name="T17" fmla="*/ 2147483647 h 3860"/>
              <a:gd name="T18" fmla="*/ 2147483647 w 2612"/>
              <a:gd name="T19" fmla="*/ 2147483647 h 3860"/>
              <a:gd name="T20" fmla="*/ 2147483647 w 2612"/>
              <a:gd name="T21" fmla="*/ 2147483647 h 3860"/>
              <a:gd name="T22" fmla="*/ 2147483647 w 2612"/>
              <a:gd name="T23" fmla="*/ 2147483647 h 3860"/>
              <a:gd name="T24" fmla="*/ 2147483647 w 2612"/>
              <a:gd name="T25" fmla="*/ 2147483647 h 3860"/>
              <a:gd name="T26" fmla="*/ 2147483647 w 2612"/>
              <a:gd name="T27" fmla="*/ 2147483647 h 3860"/>
              <a:gd name="T28" fmla="*/ 2147483647 w 2612"/>
              <a:gd name="T29" fmla="*/ 2147483647 h 3860"/>
              <a:gd name="T30" fmla="*/ 2147483647 w 2612"/>
              <a:gd name="T31" fmla="*/ 2147483647 h 3860"/>
              <a:gd name="T32" fmla="*/ 2147483647 w 2612"/>
              <a:gd name="T33" fmla="*/ 2147483647 h 3860"/>
              <a:gd name="T34" fmla="*/ 2147483647 w 2612"/>
              <a:gd name="T35" fmla="*/ 2147483647 h 3860"/>
              <a:gd name="T36" fmla="*/ 2147483647 w 2612"/>
              <a:gd name="T37" fmla="*/ 2147483647 h 3860"/>
              <a:gd name="T38" fmla="*/ 2147483647 w 2612"/>
              <a:gd name="T39" fmla="*/ 2147483647 h 3860"/>
              <a:gd name="T40" fmla="*/ 2147483647 w 2612"/>
              <a:gd name="T41" fmla="*/ 2147483647 h 3860"/>
              <a:gd name="T42" fmla="*/ 2147483647 w 2612"/>
              <a:gd name="T43" fmla="*/ 2147483647 h 3860"/>
              <a:gd name="T44" fmla="*/ 2147483647 w 2612"/>
              <a:gd name="T45" fmla="*/ 2147483647 h 3860"/>
              <a:gd name="T46" fmla="*/ 2147483647 w 2612"/>
              <a:gd name="T47" fmla="*/ 2147483647 h 3860"/>
              <a:gd name="T48" fmla="*/ 2147483647 w 2612"/>
              <a:gd name="T49" fmla="*/ 2147483647 h 3860"/>
              <a:gd name="T50" fmla="*/ 2147483647 w 2612"/>
              <a:gd name="T51" fmla="*/ 2147483647 h 3860"/>
              <a:gd name="T52" fmla="*/ 2147483647 w 2612"/>
              <a:gd name="T53" fmla="*/ 2147483647 h 3860"/>
              <a:gd name="T54" fmla="*/ 2147483647 w 2612"/>
              <a:gd name="T55" fmla="*/ 2147483647 h 3860"/>
              <a:gd name="T56" fmla="*/ 2147483647 w 2612"/>
              <a:gd name="T57" fmla="*/ 2147483647 h 3860"/>
              <a:gd name="T58" fmla="*/ 2147483647 w 2612"/>
              <a:gd name="T59" fmla="*/ 2147483647 h 3860"/>
              <a:gd name="T60" fmla="*/ 2147483647 w 2612"/>
              <a:gd name="T61" fmla="*/ 2147483647 h 3860"/>
              <a:gd name="T62" fmla="*/ 2147483647 w 2612"/>
              <a:gd name="T63" fmla="*/ 2147483647 h 3860"/>
              <a:gd name="T64" fmla="*/ 2147483647 w 2612"/>
              <a:gd name="T65" fmla="*/ 2147483647 h 3860"/>
              <a:gd name="T66" fmla="*/ 2147483647 w 2612"/>
              <a:gd name="T67" fmla="*/ 2147483647 h 3860"/>
              <a:gd name="T68" fmla="*/ 2147483647 w 2612"/>
              <a:gd name="T69" fmla="*/ 2147483647 h 3860"/>
              <a:gd name="T70" fmla="*/ 2147483647 w 2612"/>
              <a:gd name="T71" fmla="*/ 2147483647 h 3860"/>
              <a:gd name="T72" fmla="*/ 2147483647 w 2612"/>
              <a:gd name="T73" fmla="*/ 2147483647 h 3860"/>
              <a:gd name="T74" fmla="*/ 2147483647 w 2612"/>
              <a:gd name="T75" fmla="*/ 2147483647 h 3860"/>
              <a:gd name="T76" fmla="*/ 2147483647 w 2612"/>
              <a:gd name="T77" fmla="*/ 2147483647 h 3860"/>
              <a:gd name="T78" fmla="*/ 2147483647 w 2612"/>
              <a:gd name="T79" fmla="*/ 2147483647 h 3860"/>
              <a:gd name="T80" fmla="*/ 2147483647 w 2612"/>
              <a:gd name="T81" fmla="*/ 2147483647 h 3860"/>
              <a:gd name="T82" fmla="*/ 2147483647 w 2612"/>
              <a:gd name="T83" fmla="*/ 2147483647 h 3860"/>
              <a:gd name="T84" fmla="*/ 2147483647 w 2612"/>
              <a:gd name="T85" fmla="*/ 2147483647 h 3860"/>
              <a:gd name="T86" fmla="*/ 2147483647 w 2612"/>
              <a:gd name="T87" fmla="*/ 2147483647 h 3860"/>
              <a:gd name="T88" fmla="*/ 2147483647 w 2612"/>
              <a:gd name="T89" fmla="*/ 2147483647 h 3860"/>
              <a:gd name="T90" fmla="*/ 2147483647 w 2612"/>
              <a:gd name="T91" fmla="*/ 2147483647 h 3860"/>
              <a:gd name="T92" fmla="*/ 2147483647 w 2612"/>
              <a:gd name="T93" fmla="*/ 2147483647 h 3860"/>
              <a:gd name="T94" fmla="*/ 2147483647 w 2612"/>
              <a:gd name="T95" fmla="*/ 2147483647 h 3860"/>
              <a:gd name="T96" fmla="*/ 2147483647 w 2612"/>
              <a:gd name="T97" fmla="*/ 2147483647 h 3860"/>
              <a:gd name="T98" fmla="*/ 2147483647 w 2612"/>
              <a:gd name="T99" fmla="*/ 2147483647 h 3860"/>
              <a:gd name="T100" fmla="*/ 2147483647 w 2612"/>
              <a:gd name="T101" fmla="*/ 2147483647 h 3860"/>
              <a:gd name="T102" fmla="*/ 2147483647 w 2612"/>
              <a:gd name="T103" fmla="*/ 2147483647 h 3860"/>
              <a:gd name="T104" fmla="*/ 2147483647 w 2612"/>
              <a:gd name="T105" fmla="*/ 2147483647 h 3860"/>
              <a:gd name="T106" fmla="*/ 2147483647 w 2612"/>
              <a:gd name="T107" fmla="*/ 2147483647 h 3860"/>
              <a:gd name="T108" fmla="*/ 2147483647 w 2612"/>
              <a:gd name="T109" fmla="*/ 2147483647 h 3860"/>
              <a:gd name="T110" fmla="*/ 2147483647 w 2612"/>
              <a:gd name="T111" fmla="*/ 2147483647 h 3860"/>
              <a:gd name="T112" fmla="*/ 2147483647 w 2612"/>
              <a:gd name="T113" fmla="*/ 2147483647 h 3860"/>
              <a:gd name="T114" fmla="*/ 2147483647 w 2612"/>
              <a:gd name="T115" fmla="*/ 2147483647 h 3860"/>
              <a:gd name="T116" fmla="*/ 2147483647 w 2612"/>
              <a:gd name="T117" fmla="*/ 2147483647 h 38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12"/>
              <a:gd name="T178" fmla="*/ 0 h 3860"/>
              <a:gd name="T179" fmla="*/ 2612 w 2612"/>
              <a:gd name="T180" fmla="*/ 3860 h 38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12" h="3860">
                <a:moveTo>
                  <a:pt x="1347" y="3592"/>
                </a:moveTo>
                <a:lnTo>
                  <a:pt x="1355" y="3591"/>
                </a:lnTo>
                <a:lnTo>
                  <a:pt x="1355" y="3600"/>
                </a:lnTo>
                <a:lnTo>
                  <a:pt x="1346" y="3606"/>
                </a:lnTo>
                <a:lnTo>
                  <a:pt x="1315" y="3609"/>
                </a:lnTo>
                <a:lnTo>
                  <a:pt x="1298" y="3623"/>
                </a:lnTo>
                <a:lnTo>
                  <a:pt x="1312" y="3628"/>
                </a:lnTo>
                <a:lnTo>
                  <a:pt x="1321" y="3647"/>
                </a:lnTo>
                <a:lnTo>
                  <a:pt x="1329" y="3703"/>
                </a:lnTo>
                <a:lnTo>
                  <a:pt x="1304" y="3751"/>
                </a:lnTo>
                <a:lnTo>
                  <a:pt x="1297" y="3811"/>
                </a:lnTo>
                <a:lnTo>
                  <a:pt x="1281" y="3826"/>
                </a:lnTo>
                <a:lnTo>
                  <a:pt x="1287" y="3851"/>
                </a:lnTo>
                <a:lnTo>
                  <a:pt x="1245" y="3850"/>
                </a:lnTo>
                <a:lnTo>
                  <a:pt x="1243" y="3838"/>
                </a:lnTo>
                <a:lnTo>
                  <a:pt x="1218" y="3860"/>
                </a:lnTo>
                <a:lnTo>
                  <a:pt x="1197" y="3847"/>
                </a:lnTo>
                <a:lnTo>
                  <a:pt x="1208" y="3814"/>
                </a:lnTo>
                <a:lnTo>
                  <a:pt x="1193" y="3824"/>
                </a:lnTo>
                <a:lnTo>
                  <a:pt x="1195" y="3805"/>
                </a:lnTo>
                <a:lnTo>
                  <a:pt x="1192" y="3805"/>
                </a:lnTo>
                <a:lnTo>
                  <a:pt x="1180" y="3821"/>
                </a:lnTo>
                <a:lnTo>
                  <a:pt x="1171" y="3802"/>
                </a:lnTo>
                <a:lnTo>
                  <a:pt x="1185" y="3790"/>
                </a:lnTo>
                <a:lnTo>
                  <a:pt x="1185" y="3779"/>
                </a:lnTo>
                <a:lnTo>
                  <a:pt x="1156" y="3799"/>
                </a:lnTo>
                <a:lnTo>
                  <a:pt x="1152" y="3798"/>
                </a:lnTo>
                <a:lnTo>
                  <a:pt x="1155" y="3791"/>
                </a:lnTo>
                <a:lnTo>
                  <a:pt x="1177" y="3777"/>
                </a:lnTo>
                <a:lnTo>
                  <a:pt x="1160" y="3779"/>
                </a:lnTo>
                <a:lnTo>
                  <a:pt x="1163" y="3768"/>
                </a:lnTo>
                <a:lnTo>
                  <a:pt x="1069" y="3791"/>
                </a:lnTo>
                <a:lnTo>
                  <a:pt x="1092" y="3770"/>
                </a:lnTo>
                <a:lnTo>
                  <a:pt x="1066" y="3753"/>
                </a:lnTo>
                <a:lnTo>
                  <a:pt x="1053" y="3756"/>
                </a:lnTo>
                <a:lnTo>
                  <a:pt x="1048" y="3752"/>
                </a:lnTo>
                <a:lnTo>
                  <a:pt x="1048" y="3741"/>
                </a:lnTo>
                <a:lnTo>
                  <a:pt x="1031" y="3740"/>
                </a:lnTo>
                <a:lnTo>
                  <a:pt x="1065" y="3729"/>
                </a:lnTo>
                <a:lnTo>
                  <a:pt x="1022" y="3729"/>
                </a:lnTo>
                <a:lnTo>
                  <a:pt x="1034" y="3715"/>
                </a:lnTo>
                <a:lnTo>
                  <a:pt x="1015" y="3693"/>
                </a:lnTo>
                <a:lnTo>
                  <a:pt x="1032" y="3676"/>
                </a:lnTo>
                <a:lnTo>
                  <a:pt x="1005" y="3686"/>
                </a:lnTo>
                <a:lnTo>
                  <a:pt x="1001" y="3677"/>
                </a:lnTo>
                <a:lnTo>
                  <a:pt x="1006" y="3673"/>
                </a:lnTo>
                <a:lnTo>
                  <a:pt x="1003" y="3667"/>
                </a:lnTo>
                <a:lnTo>
                  <a:pt x="1010" y="3663"/>
                </a:lnTo>
                <a:lnTo>
                  <a:pt x="995" y="3660"/>
                </a:lnTo>
                <a:lnTo>
                  <a:pt x="998" y="3646"/>
                </a:lnTo>
                <a:lnTo>
                  <a:pt x="980" y="3636"/>
                </a:lnTo>
                <a:lnTo>
                  <a:pt x="985" y="3611"/>
                </a:lnTo>
                <a:lnTo>
                  <a:pt x="976" y="3618"/>
                </a:lnTo>
                <a:lnTo>
                  <a:pt x="971" y="3595"/>
                </a:lnTo>
                <a:lnTo>
                  <a:pt x="958" y="3592"/>
                </a:lnTo>
                <a:lnTo>
                  <a:pt x="943" y="3566"/>
                </a:lnTo>
                <a:lnTo>
                  <a:pt x="940" y="3549"/>
                </a:lnTo>
                <a:lnTo>
                  <a:pt x="925" y="3532"/>
                </a:lnTo>
                <a:lnTo>
                  <a:pt x="934" y="3521"/>
                </a:lnTo>
                <a:lnTo>
                  <a:pt x="925" y="3523"/>
                </a:lnTo>
                <a:lnTo>
                  <a:pt x="927" y="3504"/>
                </a:lnTo>
                <a:lnTo>
                  <a:pt x="922" y="3487"/>
                </a:lnTo>
                <a:lnTo>
                  <a:pt x="946" y="3473"/>
                </a:lnTo>
                <a:lnTo>
                  <a:pt x="949" y="3461"/>
                </a:lnTo>
                <a:lnTo>
                  <a:pt x="980" y="3450"/>
                </a:lnTo>
                <a:lnTo>
                  <a:pt x="956" y="3442"/>
                </a:lnTo>
                <a:lnTo>
                  <a:pt x="963" y="3428"/>
                </a:lnTo>
                <a:lnTo>
                  <a:pt x="986" y="3433"/>
                </a:lnTo>
                <a:lnTo>
                  <a:pt x="981" y="3421"/>
                </a:lnTo>
                <a:lnTo>
                  <a:pt x="958" y="3415"/>
                </a:lnTo>
                <a:lnTo>
                  <a:pt x="952" y="3428"/>
                </a:lnTo>
                <a:lnTo>
                  <a:pt x="936" y="3429"/>
                </a:lnTo>
                <a:lnTo>
                  <a:pt x="916" y="3469"/>
                </a:lnTo>
                <a:lnTo>
                  <a:pt x="900" y="3472"/>
                </a:lnTo>
                <a:lnTo>
                  <a:pt x="898" y="3432"/>
                </a:lnTo>
                <a:lnTo>
                  <a:pt x="909" y="3414"/>
                </a:lnTo>
                <a:lnTo>
                  <a:pt x="899" y="3416"/>
                </a:lnTo>
                <a:lnTo>
                  <a:pt x="896" y="3396"/>
                </a:lnTo>
                <a:lnTo>
                  <a:pt x="890" y="3393"/>
                </a:lnTo>
                <a:lnTo>
                  <a:pt x="894" y="3378"/>
                </a:lnTo>
                <a:lnTo>
                  <a:pt x="892" y="3366"/>
                </a:lnTo>
                <a:lnTo>
                  <a:pt x="885" y="3377"/>
                </a:lnTo>
                <a:lnTo>
                  <a:pt x="881" y="3367"/>
                </a:lnTo>
                <a:lnTo>
                  <a:pt x="894" y="3354"/>
                </a:lnTo>
                <a:lnTo>
                  <a:pt x="873" y="3345"/>
                </a:lnTo>
                <a:lnTo>
                  <a:pt x="872" y="3322"/>
                </a:lnTo>
                <a:lnTo>
                  <a:pt x="854" y="3329"/>
                </a:lnTo>
                <a:lnTo>
                  <a:pt x="867" y="3304"/>
                </a:lnTo>
                <a:lnTo>
                  <a:pt x="854" y="3310"/>
                </a:lnTo>
                <a:lnTo>
                  <a:pt x="843" y="3293"/>
                </a:lnTo>
                <a:lnTo>
                  <a:pt x="862" y="3274"/>
                </a:lnTo>
                <a:lnTo>
                  <a:pt x="838" y="3274"/>
                </a:lnTo>
                <a:lnTo>
                  <a:pt x="846" y="3263"/>
                </a:lnTo>
                <a:lnTo>
                  <a:pt x="835" y="3257"/>
                </a:lnTo>
                <a:lnTo>
                  <a:pt x="838" y="3237"/>
                </a:lnTo>
                <a:lnTo>
                  <a:pt x="853" y="3239"/>
                </a:lnTo>
                <a:lnTo>
                  <a:pt x="842" y="3228"/>
                </a:lnTo>
                <a:lnTo>
                  <a:pt x="856" y="3213"/>
                </a:lnTo>
                <a:lnTo>
                  <a:pt x="858" y="3197"/>
                </a:lnTo>
                <a:lnTo>
                  <a:pt x="833" y="3198"/>
                </a:lnTo>
                <a:lnTo>
                  <a:pt x="835" y="3188"/>
                </a:lnTo>
                <a:lnTo>
                  <a:pt x="821" y="3177"/>
                </a:lnTo>
                <a:lnTo>
                  <a:pt x="821" y="3158"/>
                </a:lnTo>
                <a:lnTo>
                  <a:pt x="830" y="3147"/>
                </a:lnTo>
                <a:lnTo>
                  <a:pt x="827" y="3138"/>
                </a:lnTo>
                <a:lnTo>
                  <a:pt x="844" y="3124"/>
                </a:lnTo>
                <a:lnTo>
                  <a:pt x="831" y="3121"/>
                </a:lnTo>
                <a:lnTo>
                  <a:pt x="839" y="3110"/>
                </a:lnTo>
                <a:lnTo>
                  <a:pt x="837" y="3087"/>
                </a:lnTo>
                <a:lnTo>
                  <a:pt x="858" y="3079"/>
                </a:lnTo>
                <a:lnTo>
                  <a:pt x="842" y="3059"/>
                </a:lnTo>
                <a:lnTo>
                  <a:pt x="948" y="3061"/>
                </a:lnTo>
                <a:lnTo>
                  <a:pt x="923" y="3041"/>
                </a:lnTo>
                <a:lnTo>
                  <a:pt x="935" y="3034"/>
                </a:lnTo>
                <a:lnTo>
                  <a:pt x="937" y="3022"/>
                </a:lnTo>
                <a:lnTo>
                  <a:pt x="921" y="3022"/>
                </a:lnTo>
                <a:lnTo>
                  <a:pt x="929" y="3035"/>
                </a:lnTo>
                <a:lnTo>
                  <a:pt x="887" y="3047"/>
                </a:lnTo>
                <a:lnTo>
                  <a:pt x="868" y="3046"/>
                </a:lnTo>
                <a:lnTo>
                  <a:pt x="864" y="3028"/>
                </a:lnTo>
                <a:lnTo>
                  <a:pt x="879" y="3009"/>
                </a:lnTo>
                <a:lnTo>
                  <a:pt x="938" y="3006"/>
                </a:lnTo>
                <a:lnTo>
                  <a:pt x="947" y="2984"/>
                </a:lnTo>
                <a:lnTo>
                  <a:pt x="934" y="2982"/>
                </a:lnTo>
                <a:lnTo>
                  <a:pt x="943" y="2972"/>
                </a:lnTo>
                <a:lnTo>
                  <a:pt x="938" y="2965"/>
                </a:lnTo>
                <a:lnTo>
                  <a:pt x="939" y="2942"/>
                </a:lnTo>
                <a:lnTo>
                  <a:pt x="971" y="2948"/>
                </a:lnTo>
                <a:lnTo>
                  <a:pt x="963" y="2940"/>
                </a:lnTo>
                <a:lnTo>
                  <a:pt x="977" y="2932"/>
                </a:lnTo>
                <a:lnTo>
                  <a:pt x="971" y="2918"/>
                </a:lnTo>
                <a:lnTo>
                  <a:pt x="957" y="2929"/>
                </a:lnTo>
                <a:lnTo>
                  <a:pt x="946" y="2920"/>
                </a:lnTo>
                <a:lnTo>
                  <a:pt x="947" y="2901"/>
                </a:lnTo>
                <a:lnTo>
                  <a:pt x="957" y="2896"/>
                </a:lnTo>
                <a:lnTo>
                  <a:pt x="952" y="2880"/>
                </a:lnTo>
                <a:lnTo>
                  <a:pt x="963" y="2875"/>
                </a:lnTo>
                <a:lnTo>
                  <a:pt x="960" y="2862"/>
                </a:lnTo>
                <a:lnTo>
                  <a:pt x="973" y="2856"/>
                </a:lnTo>
                <a:lnTo>
                  <a:pt x="969" y="2844"/>
                </a:lnTo>
                <a:lnTo>
                  <a:pt x="971" y="2832"/>
                </a:lnTo>
                <a:lnTo>
                  <a:pt x="885" y="2824"/>
                </a:lnTo>
                <a:lnTo>
                  <a:pt x="867" y="2802"/>
                </a:lnTo>
                <a:lnTo>
                  <a:pt x="820" y="2783"/>
                </a:lnTo>
                <a:lnTo>
                  <a:pt x="794" y="2746"/>
                </a:lnTo>
                <a:lnTo>
                  <a:pt x="818" y="2731"/>
                </a:lnTo>
                <a:lnTo>
                  <a:pt x="867" y="2738"/>
                </a:lnTo>
                <a:lnTo>
                  <a:pt x="916" y="2778"/>
                </a:lnTo>
                <a:lnTo>
                  <a:pt x="960" y="2791"/>
                </a:lnTo>
                <a:lnTo>
                  <a:pt x="958" y="2772"/>
                </a:lnTo>
                <a:lnTo>
                  <a:pt x="943" y="2778"/>
                </a:lnTo>
                <a:lnTo>
                  <a:pt x="934" y="2758"/>
                </a:lnTo>
                <a:lnTo>
                  <a:pt x="947" y="2763"/>
                </a:lnTo>
                <a:lnTo>
                  <a:pt x="944" y="2756"/>
                </a:lnTo>
                <a:lnTo>
                  <a:pt x="953" y="2748"/>
                </a:lnTo>
                <a:lnTo>
                  <a:pt x="958" y="2746"/>
                </a:lnTo>
                <a:lnTo>
                  <a:pt x="953" y="2734"/>
                </a:lnTo>
                <a:lnTo>
                  <a:pt x="906" y="2697"/>
                </a:lnTo>
                <a:lnTo>
                  <a:pt x="927" y="2707"/>
                </a:lnTo>
                <a:lnTo>
                  <a:pt x="931" y="2701"/>
                </a:lnTo>
                <a:lnTo>
                  <a:pt x="924" y="2695"/>
                </a:lnTo>
                <a:lnTo>
                  <a:pt x="927" y="2685"/>
                </a:lnTo>
                <a:lnTo>
                  <a:pt x="894" y="2689"/>
                </a:lnTo>
                <a:lnTo>
                  <a:pt x="916" y="2661"/>
                </a:lnTo>
                <a:lnTo>
                  <a:pt x="879" y="2684"/>
                </a:lnTo>
                <a:lnTo>
                  <a:pt x="891" y="2656"/>
                </a:lnTo>
                <a:lnTo>
                  <a:pt x="906" y="2645"/>
                </a:lnTo>
                <a:lnTo>
                  <a:pt x="859" y="2652"/>
                </a:lnTo>
                <a:lnTo>
                  <a:pt x="907" y="2614"/>
                </a:lnTo>
                <a:lnTo>
                  <a:pt x="853" y="2610"/>
                </a:lnTo>
                <a:lnTo>
                  <a:pt x="861" y="2583"/>
                </a:lnTo>
                <a:lnTo>
                  <a:pt x="849" y="2596"/>
                </a:lnTo>
                <a:lnTo>
                  <a:pt x="835" y="2568"/>
                </a:lnTo>
                <a:lnTo>
                  <a:pt x="835" y="2593"/>
                </a:lnTo>
                <a:lnTo>
                  <a:pt x="809" y="2621"/>
                </a:lnTo>
                <a:lnTo>
                  <a:pt x="817" y="2630"/>
                </a:lnTo>
                <a:lnTo>
                  <a:pt x="816" y="2644"/>
                </a:lnTo>
                <a:lnTo>
                  <a:pt x="793" y="2657"/>
                </a:lnTo>
                <a:lnTo>
                  <a:pt x="765" y="2639"/>
                </a:lnTo>
                <a:lnTo>
                  <a:pt x="757" y="2651"/>
                </a:lnTo>
                <a:lnTo>
                  <a:pt x="745" y="2626"/>
                </a:lnTo>
                <a:lnTo>
                  <a:pt x="741" y="2613"/>
                </a:lnTo>
                <a:lnTo>
                  <a:pt x="749" y="2601"/>
                </a:lnTo>
                <a:lnTo>
                  <a:pt x="763" y="2579"/>
                </a:lnTo>
                <a:lnTo>
                  <a:pt x="750" y="2564"/>
                </a:lnTo>
                <a:lnTo>
                  <a:pt x="784" y="2519"/>
                </a:lnTo>
                <a:lnTo>
                  <a:pt x="780" y="2506"/>
                </a:lnTo>
                <a:lnTo>
                  <a:pt x="788" y="2502"/>
                </a:lnTo>
                <a:lnTo>
                  <a:pt x="785" y="2477"/>
                </a:lnTo>
                <a:lnTo>
                  <a:pt x="792" y="2447"/>
                </a:lnTo>
                <a:lnTo>
                  <a:pt x="746" y="2418"/>
                </a:lnTo>
                <a:lnTo>
                  <a:pt x="765" y="2397"/>
                </a:lnTo>
                <a:lnTo>
                  <a:pt x="756" y="2389"/>
                </a:lnTo>
                <a:lnTo>
                  <a:pt x="767" y="2366"/>
                </a:lnTo>
                <a:lnTo>
                  <a:pt x="748" y="2376"/>
                </a:lnTo>
                <a:lnTo>
                  <a:pt x="751" y="2350"/>
                </a:lnTo>
                <a:lnTo>
                  <a:pt x="730" y="2333"/>
                </a:lnTo>
                <a:lnTo>
                  <a:pt x="731" y="2318"/>
                </a:lnTo>
                <a:lnTo>
                  <a:pt x="739" y="2321"/>
                </a:lnTo>
                <a:lnTo>
                  <a:pt x="741" y="2300"/>
                </a:lnTo>
                <a:lnTo>
                  <a:pt x="725" y="2283"/>
                </a:lnTo>
                <a:lnTo>
                  <a:pt x="731" y="2274"/>
                </a:lnTo>
                <a:lnTo>
                  <a:pt x="717" y="2269"/>
                </a:lnTo>
                <a:lnTo>
                  <a:pt x="722" y="2236"/>
                </a:lnTo>
                <a:lnTo>
                  <a:pt x="701" y="2222"/>
                </a:lnTo>
                <a:lnTo>
                  <a:pt x="694" y="2207"/>
                </a:lnTo>
                <a:lnTo>
                  <a:pt x="719" y="2198"/>
                </a:lnTo>
                <a:lnTo>
                  <a:pt x="685" y="2165"/>
                </a:lnTo>
                <a:lnTo>
                  <a:pt x="682" y="2155"/>
                </a:lnTo>
                <a:lnTo>
                  <a:pt x="690" y="2137"/>
                </a:lnTo>
                <a:lnTo>
                  <a:pt x="640" y="2095"/>
                </a:lnTo>
                <a:lnTo>
                  <a:pt x="629" y="2047"/>
                </a:lnTo>
                <a:lnTo>
                  <a:pt x="621" y="2057"/>
                </a:lnTo>
                <a:lnTo>
                  <a:pt x="632" y="2024"/>
                </a:lnTo>
                <a:lnTo>
                  <a:pt x="619" y="1990"/>
                </a:lnTo>
                <a:lnTo>
                  <a:pt x="607" y="1994"/>
                </a:lnTo>
                <a:lnTo>
                  <a:pt x="590" y="1968"/>
                </a:lnTo>
                <a:lnTo>
                  <a:pt x="570" y="1982"/>
                </a:lnTo>
                <a:lnTo>
                  <a:pt x="569" y="1955"/>
                </a:lnTo>
                <a:lnTo>
                  <a:pt x="529" y="1932"/>
                </a:lnTo>
                <a:lnTo>
                  <a:pt x="528" y="1949"/>
                </a:lnTo>
                <a:lnTo>
                  <a:pt x="517" y="1922"/>
                </a:lnTo>
                <a:lnTo>
                  <a:pt x="421" y="1885"/>
                </a:lnTo>
                <a:lnTo>
                  <a:pt x="396" y="1921"/>
                </a:lnTo>
                <a:lnTo>
                  <a:pt x="386" y="1892"/>
                </a:lnTo>
                <a:lnTo>
                  <a:pt x="330" y="1947"/>
                </a:lnTo>
                <a:lnTo>
                  <a:pt x="317" y="1932"/>
                </a:lnTo>
                <a:lnTo>
                  <a:pt x="323" y="1902"/>
                </a:lnTo>
                <a:lnTo>
                  <a:pt x="301" y="1894"/>
                </a:lnTo>
                <a:lnTo>
                  <a:pt x="291" y="1925"/>
                </a:lnTo>
                <a:lnTo>
                  <a:pt x="259" y="1903"/>
                </a:lnTo>
                <a:lnTo>
                  <a:pt x="247" y="1919"/>
                </a:lnTo>
                <a:lnTo>
                  <a:pt x="286" y="1968"/>
                </a:lnTo>
                <a:lnTo>
                  <a:pt x="206" y="1938"/>
                </a:lnTo>
                <a:lnTo>
                  <a:pt x="146" y="1872"/>
                </a:lnTo>
                <a:lnTo>
                  <a:pt x="207" y="1819"/>
                </a:lnTo>
                <a:lnTo>
                  <a:pt x="131" y="1808"/>
                </a:lnTo>
                <a:lnTo>
                  <a:pt x="126" y="1788"/>
                </a:lnTo>
                <a:lnTo>
                  <a:pt x="141" y="1760"/>
                </a:lnTo>
                <a:lnTo>
                  <a:pt x="136" y="1756"/>
                </a:lnTo>
                <a:lnTo>
                  <a:pt x="117" y="1796"/>
                </a:lnTo>
                <a:lnTo>
                  <a:pt x="102" y="1800"/>
                </a:lnTo>
                <a:lnTo>
                  <a:pt x="65" y="1765"/>
                </a:lnTo>
                <a:lnTo>
                  <a:pt x="70" y="1757"/>
                </a:lnTo>
                <a:lnTo>
                  <a:pt x="115" y="1713"/>
                </a:lnTo>
                <a:lnTo>
                  <a:pt x="285" y="1737"/>
                </a:lnTo>
                <a:lnTo>
                  <a:pt x="313" y="1715"/>
                </a:lnTo>
                <a:lnTo>
                  <a:pt x="281" y="1675"/>
                </a:lnTo>
                <a:lnTo>
                  <a:pt x="307" y="1660"/>
                </a:lnTo>
                <a:lnTo>
                  <a:pt x="310" y="1646"/>
                </a:lnTo>
                <a:lnTo>
                  <a:pt x="295" y="1620"/>
                </a:lnTo>
                <a:lnTo>
                  <a:pt x="272" y="1635"/>
                </a:lnTo>
                <a:lnTo>
                  <a:pt x="268" y="1629"/>
                </a:lnTo>
                <a:lnTo>
                  <a:pt x="272" y="1615"/>
                </a:lnTo>
                <a:lnTo>
                  <a:pt x="228" y="1651"/>
                </a:lnTo>
                <a:lnTo>
                  <a:pt x="182" y="1626"/>
                </a:lnTo>
                <a:lnTo>
                  <a:pt x="187" y="1655"/>
                </a:lnTo>
                <a:lnTo>
                  <a:pt x="169" y="1665"/>
                </a:lnTo>
                <a:lnTo>
                  <a:pt x="125" y="1650"/>
                </a:lnTo>
                <a:lnTo>
                  <a:pt x="121" y="1638"/>
                </a:lnTo>
                <a:lnTo>
                  <a:pt x="142" y="1615"/>
                </a:lnTo>
                <a:lnTo>
                  <a:pt x="101" y="1624"/>
                </a:lnTo>
                <a:lnTo>
                  <a:pt x="122" y="1587"/>
                </a:lnTo>
                <a:lnTo>
                  <a:pt x="73" y="1604"/>
                </a:lnTo>
                <a:lnTo>
                  <a:pt x="69" y="1594"/>
                </a:lnTo>
                <a:lnTo>
                  <a:pt x="72" y="1583"/>
                </a:lnTo>
                <a:lnTo>
                  <a:pt x="32" y="1569"/>
                </a:lnTo>
                <a:lnTo>
                  <a:pt x="27" y="1546"/>
                </a:lnTo>
                <a:lnTo>
                  <a:pt x="0" y="1521"/>
                </a:lnTo>
                <a:lnTo>
                  <a:pt x="22" y="1498"/>
                </a:lnTo>
                <a:lnTo>
                  <a:pt x="5" y="1486"/>
                </a:lnTo>
                <a:lnTo>
                  <a:pt x="15" y="1455"/>
                </a:lnTo>
                <a:lnTo>
                  <a:pt x="52" y="1426"/>
                </a:lnTo>
                <a:lnTo>
                  <a:pt x="83" y="1428"/>
                </a:lnTo>
                <a:lnTo>
                  <a:pt x="91" y="1403"/>
                </a:lnTo>
                <a:lnTo>
                  <a:pt x="171" y="1375"/>
                </a:lnTo>
                <a:lnTo>
                  <a:pt x="155" y="1353"/>
                </a:lnTo>
                <a:lnTo>
                  <a:pt x="182" y="1330"/>
                </a:lnTo>
                <a:lnTo>
                  <a:pt x="245" y="1308"/>
                </a:lnTo>
                <a:lnTo>
                  <a:pt x="297" y="1322"/>
                </a:lnTo>
                <a:lnTo>
                  <a:pt x="350" y="1229"/>
                </a:lnTo>
                <a:lnTo>
                  <a:pt x="346" y="1198"/>
                </a:lnTo>
                <a:lnTo>
                  <a:pt x="331" y="1179"/>
                </a:lnTo>
                <a:lnTo>
                  <a:pt x="336" y="1155"/>
                </a:lnTo>
                <a:lnTo>
                  <a:pt x="368" y="1146"/>
                </a:lnTo>
                <a:lnTo>
                  <a:pt x="339" y="1121"/>
                </a:lnTo>
                <a:lnTo>
                  <a:pt x="396" y="1076"/>
                </a:lnTo>
                <a:lnTo>
                  <a:pt x="375" y="1040"/>
                </a:lnTo>
                <a:lnTo>
                  <a:pt x="359" y="1088"/>
                </a:lnTo>
                <a:lnTo>
                  <a:pt x="326" y="1086"/>
                </a:lnTo>
                <a:lnTo>
                  <a:pt x="300" y="1118"/>
                </a:lnTo>
                <a:lnTo>
                  <a:pt x="279" y="1087"/>
                </a:lnTo>
                <a:lnTo>
                  <a:pt x="248" y="1094"/>
                </a:lnTo>
                <a:lnTo>
                  <a:pt x="229" y="1069"/>
                </a:lnTo>
                <a:lnTo>
                  <a:pt x="226" y="1028"/>
                </a:lnTo>
                <a:lnTo>
                  <a:pt x="258" y="1001"/>
                </a:lnTo>
                <a:lnTo>
                  <a:pt x="269" y="964"/>
                </a:lnTo>
                <a:lnTo>
                  <a:pt x="321" y="954"/>
                </a:lnTo>
                <a:lnTo>
                  <a:pt x="313" y="923"/>
                </a:lnTo>
                <a:lnTo>
                  <a:pt x="378" y="808"/>
                </a:lnTo>
                <a:lnTo>
                  <a:pt x="413" y="790"/>
                </a:lnTo>
                <a:lnTo>
                  <a:pt x="467" y="826"/>
                </a:lnTo>
                <a:lnTo>
                  <a:pt x="491" y="802"/>
                </a:lnTo>
                <a:lnTo>
                  <a:pt x="481" y="745"/>
                </a:lnTo>
                <a:lnTo>
                  <a:pt x="500" y="703"/>
                </a:lnTo>
                <a:lnTo>
                  <a:pt x="475" y="640"/>
                </a:lnTo>
                <a:lnTo>
                  <a:pt x="524" y="580"/>
                </a:lnTo>
                <a:lnTo>
                  <a:pt x="574" y="603"/>
                </a:lnTo>
                <a:lnTo>
                  <a:pt x="586" y="655"/>
                </a:lnTo>
                <a:lnTo>
                  <a:pt x="657" y="736"/>
                </a:lnTo>
                <a:lnTo>
                  <a:pt x="661" y="726"/>
                </a:lnTo>
                <a:lnTo>
                  <a:pt x="654" y="693"/>
                </a:lnTo>
                <a:lnTo>
                  <a:pt x="556" y="565"/>
                </a:lnTo>
                <a:lnTo>
                  <a:pt x="765" y="444"/>
                </a:lnTo>
                <a:lnTo>
                  <a:pt x="802" y="515"/>
                </a:lnTo>
                <a:lnTo>
                  <a:pt x="814" y="576"/>
                </a:lnTo>
                <a:lnTo>
                  <a:pt x="805" y="662"/>
                </a:lnTo>
                <a:lnTo>
                  <a:pt x="808" y="695"/>
                </a:lnTo>
                <a:lnTo>
                  <a:pt x="821" y="685"/>
                </a:lnTo>
                <a:lnTo>
                  <a:pt x="819" y="648"/>
                </a:lnTo>
                <a:lnTo>
                  <a:pt x="837" y="608"/>
                </a:lnTo>
                <a:lnTo>
                  <a:pt x="836" y="555"/>
                </a:lnTo>
                <a:lnTo>
                  <a:pt x="961" y="649"/>
                </a:lnTo>
                <a:lnTo>
                  <a:pt x="916" y="577"/>
                </a:lnTo>
                <a:lnTo>
                  <a:pt x="978" y="587"/>
                </a:lnTo>
                <a:lnTo>
                  <a:pt x="924" y="489"/>
                </a:lnTo>
                <a:lnTo>
                  <a:pt x="920" y="436"/>
                </a:lnTo>
                <a:lnTo>
                  <a:pt x="907" y="401"/>
                </a:lnTo>
                <a:lnTo>
                  <a:pt x="911" y="391"/>
                </a:lnTo>
                <a:lnTo>
                  <a:pt x="991" y="404"/>
                </a:lnTo>
                <a:lnTo>
                  <a:pt x="1054" y="503"/>
                </a:lnTo>
                <a:lnTo>
                  <a:pt x="1102" y="525"/>
                </a:lnTo>
                <a:lnTo>
                  <a:pt x="1183" y="632"/>
                </a:lnTo>
                <a:lnTo>
                  <a:pt x="1200" y="604"/>
                </a:lnTo>
                <a:lnTo>
                  <a:pt x="1169" y="554"/>
                </a:lnTo>
                <a:lnTo>
                  <a:pt x="1185" y="471"/>
                </a:lnTo>
                <a:lnTo>
                  <a:pt x="1214" y="450"/>
                </a:lnTo>
                <a:lnTo>
                  <a:pt x="1219" y="431"/>
                </a:lnTo>
                <a:lnTo>
                  <a:pt x="1139" y="304"/>
                </a:lnTo>
                <a:lnTo>
                  <a:pt x="1293" y="338"/>
                </a:lnTo>
                <a:lnTo>
                  <a:pt x="1296" y="408"/>
                </a:lnTo>
                <a:lnTo>
                  <a:pt x="1303" y="395"/>
                </a:lnTo>
                <a:lnTo>
                  <a:pt x="1294" y="319"/>
                </a:lnTo>
                <a:lnTo>
                  <a:pt x="1299" y="312"/>
                </a:lnTo>
                <a:lnTo>
                  <a:pt x="1379" y="429"/>
                </a:lnTo>
                <a:lnTo>
                  <a:pt x="1383" y="401"/>
                </a:lnTo>
                <a:lnTo>
                  <a:pt x="1373" y="378"/>
                </a:lnTo>
                <a:lnTo>
                  <a:pt x="1377" y="345"/>
                </a:lnTo>
                <a:lnTo>
                  <a:pt x="1328" y="303"/>
                </a:lnTo>
                <a:lnTo>
                  <a:pt x="1183" y="282"/>
                </a:lnTo>
                <a:lnTo>
                  <a:pt x="1167" y="259"/>
                </a:lnTo>
                <a:lnTo>
                  <a:pt x="1172" y="242"/>
                </a:lnTo>
                <a:lnTo>
                  <a:pt x="1152" y="221"/>
                </a:lnTo>
                <a:lnTo>
                  <a:pt x="1140" y="191"/>
                </a:lnTo>
                <a:lnTo>
                  <a:pt x="1146" y="177"/>
                </a:lnTo>
                <a:lnTo>
                  <a:pt x="1206" y="158"/>
                </a:lnTo>
                <a:lnTo>
                  <a:pt x="1254" y="130"/>
                </a:lnTo>
                <a:lnTo>
                  <a:pt x="1295" y="163"/>
                </a:lnTo>
                <a:lnTo>
                  <a:pt x="1288" y="196"/>
                </a:lnTo>
                <a:lnTo>
                  <a:pt x="1400" y="248"/>
                </a:lnTo>
                <a:lnTo>
                  <a:pt x="1430" y="309"/>
                </a:lnTo>
                <a:lnTo>
                  <a:pt x="1433" y="291"/>
                </a:lnTo>
                <a:lnTo>
                  <a:pt x="1410" y="235"/>
                </a:lnTo>
                <a:lnTo>
                  <a:pt x="1424" y="206"/>
                </a:lnTo>
                <a:lnTo>
                  <a:pt x="1492" y="176"/>
                </a:lnTo>
                <a:lnTo>
                  <a:pt x="1423" y="153"/>
                </a:lnTo>
                <a:lnTo>
                  <a:pt x="1417" y="143"/>
                </a:lnTo>
                <a:lnTo>
                  <a:pt x="1421" y="125"/>
                </a:lnTo>
                <a:lnTo>
                  <a:pt x="1416" y="93"/>
                </a:lnTo>
                <a:lnTo>
                  <a:pt x="1424" y="87"/>
                </a:lnTo>
                <a:lnTo>
                  <a:pt x="1420" y="68"/>
                </a:lnTo>
                <a:lnTo>
                  <a:pt x="1451" y="71"/>
                </a:lnTo>
                <a:lnTo>
                  <a:pt x="1466" y="39"/>
                </a:lnTo>
                <a:lnTo>
                  <a:pt x="1522" y="99"/>
                </a:lnTo>
                <a:lnTo>
                  <a:pt x="1500" y="36"/>
                </a:lnTo>
                <a:lnTo>
                  <a:pt x="1525" y="21"/>
                </a:lnTo>
                <a:lnTo>
                  <a:pt x="1594" y="6"/>
                </a:lnTo>
                <a:lnTo>
                  <a:pt x="1624" y="57"/>
                </a:lnTo>
                <a:lnTo>
                  <a:pt x="1620" y="17"/>
                </a:lnTo>
                <a:lnTo>
                  <a:pt x="1641" y="0"/>
                </a:lnTo>
                <a:lnTo>
                  <a:pt x="1770" y="7"/>
                </a:lnTo>
                <a:lnTo>
                  <a:pt x="1850" y="40"/>
                </a:lnTo>
                <a:lnTo>
                  <a:pt x="1838" y="55"/>
                </a:lnTo>
                <a:lnTo>
                  <a:pt x="1848" y="77"/>
                </a:lnTo>
                <a:lnTo>
                  <a:pt x="1948" y="72"/>
                </a:lnTo>
                <a:lnTo>
                  <a:pt x="1988" y="114"/>
                </a:lnTo>
                <a:lnTo>
                  <a:pt x="1971" y="154"/>
                </a:lnTo>
                <a:lnTo>
                  <a:pt x="1768" y="169"/>
                </a:lnTo>
                <a:lnTo>
                  <a:pt x="1709" y="209"/>
                </a:lnTo>
                <a:lnTo>
                  <a:pt x="1682" y="214"/>
                </a:lnTo>
                <a:lnTo>
                  <a:pt x="1568" y="266"/>
                </a:lnTo>
                <a:lnTo>
                  <a:pt x="1566" y="292"/>
                </a:lnTo>
                <a:lnTo>
                  <a:pt x="1599" y="262"/>
                </a:lnTo>
                <a:lnTo>
                  <a:pt x="1622" y="266"/>
                </a:lnTo>
                <a:lnTo>
                  <a:pt x="1624" y="299"/>
                </a:lnTo>
                <a:lnTo>
                  <a:pt x="1648" y="249"/>
                </a:lnTo>
                <a:lnTo>
                  <a:pt x="1720" y="259"/>
                </a:lnTo>
                <a:lnTo>
                  <a:pt x="1798" y="188"/>
                </a:lnTo>
                <a:lnTo>
                  <a:pt x="1867" y="203"/>
                </a:lnTo>
                <a:lnTo>
                  <a:pt x="1864" y="226"/>
                </a:lnTo>
                <a:lnTo>
                  <a:pt x="2014" y="177"/>
                </a:lnTo>
                <a:lnTo>
                  <a:pt x="2031" y="193"/>
                </a:lnTo>
                <a:lnTo>
                  <a:pt x="2024" y="203"/>
                </a:lnTo>
                <a:lnTo>
                  <a:pt x="2036" y="233"/>
                </a:lnTo>
                <a:lnTo>
                  <a:pt x="2033" y="246"/>
                </a:lnTo>
                <a:lnTo>
                  <a:pt x="1970" y="316"/>
                </a:lnTo>
                <a:lnTo>
                  <a:pt x="2073" y="269"/>
                </a:lnTo>
                <a:lnTo>
                  <a:pt x="2075" y="316"/>
                </a:lnTo>
                <a:lnTo>
                  <a:pt x="2101" y="286"/>
                </a:lnTo>
                <a:lnTo>
                  <a:pt x="2140" y="300"/>
                </a:lnTo>
                <a:lnTo>
                  <a:pt x="2193" y="374"/>
                </a:lnTo>
                <a:lnTo>
                  <a:pt x="2131" y="460"/>
                </a:lnTo>
                <a:lnTo>
                  <a:pt x="2013" y="514"/>
                </a:lnTo>
                <a:lnTo>
                  <a:pt x="1790" y="541"/>
                </a:lnTo>
                <a:lnTo>
                  <a:pt x="1675" y="606"/>
                </a:lnTo>
                <a:lnTo>
                  <a:pt x="1671" y="629"/>
                </a:lnTo>
                <a:lnTo>
                  <a:pt x="1675" y="664"/>
                </a:lnTo>
                <a:lnTo>
                  <a:pt x="1854" y="567"/>
                </a:lnTo>
                <a:lnTo>
                  <a:pt x="1993" y="564"/>
                </a:lnTo>
                <a:lnTo>
                  <a:pt x="2014" y="582"/>
                </a:lnTo>
                <a:lnTo>
                  <a:pt x="2016" y="616"/>
                </a:lnTo>
                <a:lnTo>
                  <a:pt x="1930" y="702"/>
                </a:lnTo>
                <a:lnTo>
                  <a:pt x="1925" y="720"/>
                </a:lnTo>
                <a:lnTo>
                  <a:pt x="1947" y="731"/>
                </a:lnTo>
                <a:lnTo>
                  <a:pt x="2073" y="646"/>
                </a:lnTo>
                <a:lnTo>
                  <a:pt x="2081" y="636"/>
                </a:lnTo>
                <a:lnTo>
                  <a:pt x="2070" y="584"/>
                </a:lnTo>
                <a:lnTo>
                  <a:pt x="2083" y="559"/>
                </a:lnTo>
                <a:lnTo>
                  <a:pt x="2156" y="544"/>
                </a:lnTo>
                <a:lnTo>
                  <a:pt x="2173" y="612"/>
                </a:lnTo>
                <a:lnTo>
                  <a:pt x="2167" y="711"/>
                </a:lnTo>
                <a:lnTo>
                  <a:pt x="2147" y="763"/>
                </a:lnTo>
                <a:lnTo>
                  <a:pt x="2141" y="775"/>
                </a:lnTo>
                <a:lnTo>
                  <a:pt x="2068" y="996"/>
                </a:lnTo>
                <a:lnTo>
                  <a:pt x="2112" y="929"/>
                </a:lnTo>
                <a:lnTo>
                  <a:pt x="2121" y="893"/>
                </a:lnTo>
                <a:lnTo>
                  <a:pt x="2116" y="884"/>
                </a:lnTo>
                <a:lnTo>
                  <a:pt x="2143" y="861"/>
                </a:lnTo>
                <a:lnTo>
                  <a:pt x="2226" y="699"/>
                </a:lnTo>
                <a:lnTo>
                  <a:pt x="2265" y="660"/>
                </a:lnTo>
                <a:lnTo>
                  <a:pt x="2261" y="727"/>
                </a:lnTo>
                <a:lnTo>
                  <a:pt x="2288" y="697"/>
                </a:lnTo>
                <a:lnTo>
                  <a:pt x="2356" y="717"/>
                </a:lnTo>
                <a:lnTo>
                  <a:pt x="2353" y="692"/>
                </a:lnTo>
                <a:lnTo>
                  <a:pt x="2374" y="683"/>
                </a:lnTo>
                <a:lnTo>
                  <a:pt x="2361" y="642"/>
                </a:lnTo>
                <a:lnTo>
                  <a:pt x="2378" y="642"/>
                </a:lnTo>
                <a:lnTo>
                  <a:pt x="2383" y="607"/>
                </a:lnTo>
                <a:lnTo>
                  <a:pt x="2487" y="584"/>
                </a:lnTo>
                <a:lnTo>
                  <a:pt x="2583" y="634"/>
                </a:lnTo>
                <a:lnTo>
                  <a:pt x="2612" y="684"/>
                </a:lnTo>
                <a:lnTo>
                  <a:pt x="2531" y="815"/>
                </a:lnTo>
                <a:lnTo>
                  <a:pt x="2491" y="823"/>
                </a:lnTo>
                <a:lnTo>
                  <a:pt x="2506" y="870"/>
                </a:lnTo>
                <a:lnTo>
                  <a:pt x="2499" y="884"/>
                </a:lnTo>
                <a:lnTo>
                  <a:pt x="2438" y="925"/>
                </a:lnTo>
                <a:lnTo>
                  <a:pt x="2368" y="904"/>
                </a:lnTo>
                <a:lnTo>
                  <a:pt x="2339" y="946"/>
                </a:lnTo>
                <a:lnTo>
                  <a:pt x="2276" y="932"/>
                </a:lnTo>
                <a:lnTo>
                  <a:pt x="2215" y="965"/>
                </a:lnTo>
                <a:lnTo>
                  <a:pt x="2241" y="983"/>
                </a:lnTo>
                <a:lnTo>
                  <a:pt x="2278" y="945"/>
                </a:lnTo>
                <a:lnTo>
                  <a:pt x="2441" y="970"/>
                </a:lnTo>
                <a:lnTo>
                  <a:pt x="2406" y="1049"/>
                </a:lnTo>
                <a:lnTo>
                  <a:pt x="2283" y="1038"/>
                </a:lnTo>
                <a:lnTo>
                  <a:pt x="2262" y="1087"/>
                </a:lnTo>
                <a:lnTo>
                  <a:pt x="2253" y="1144"/>
                </a:lnTo>
                <a:lnTo>
                  <a:pt x="2268" y="1167"/>
                </a:lnTo>
                <a:lnTo>
                  <a:pt x="2273" y="1155"/>
                </a:lnTo>
                <a:lnTo>
                  <a:pt x="2279" y="1126"/>
                </a:lnTo>
                <a:lnTo>
                  <a:pt x="2304" y="1098"/>
                </a:lnTo>
                <a:lnTo>
                  <a:pt x="2365" y="1075"/>
                </a:lnTo>
                <a:lnTo>
                  <a:pt x="2387" y="1104"/>
                </a:lnTo>
                <a:lnTo>
                  <a:pt x="2361" y="1167"/>
                </a:lnTo>
                <a:lnTo>
                  <a:pt x="2313" y="1164"/>
                </a:lnTo>
                <a:lnTo>
                  <a:pt x="2298" y="1188"/>
                </a:lnTo>
                <a:lnTo>
                  <a:pt x="2285" y="1310"/>
                </a:lnTo>
                <a:lnTo>
                  <a:pt x="2297" y="1272"/>
                </a:lnTo>
                <a:lnTo>
                  <a:pt x="2318" y="1274"/>
                </a:lnTo>
                <a:lnTo>
                  <a:pt x="2310" y="1300"/>
                </a:lnTo>
                <a:lnTo>
                  <a:pt x="2303" y="1288"/>
                </a:lnTo>
                <a:lnTo>
                  <a:pt x="2297" y="1319"/>
                </a:lnTo>
                <a:lnTo>
                  <a:pt x="2281" y="1318"/>
                </a:lnTo>
                <a:lnTo>
                  <a:pt x="2284" y="1367"/>
                </a:lnTo>
                <a:lnTo>
                  <a:pt x="2231" y="1394"/>
                </a:lnTo>
                <a:lnTo>
                  <a:pt x="2233" y="1422"/>
                </a:lnTo>
                <a:lnTo>
                  <a:pt x="2239" y="1428"/>
                </a:lnTo>
                <a:lnTo>
                  <a:pt x="2225" y="1476"/>
                </a:lnTo>
                <a:lnTo>
                  <a:pt x="2218" y="1527"/>
                </a:lnTo>
                <a:lnTo>
                  <a:pt x="2223" y="1538"/>
                </a:lnTo>
                <a:lnTo>
                  <a:pt x="2208" y="1572"/>
                </a:lnTo>
                <a:lnTo>
                  <a:pt x="2206" y="1592"/>
                </a:lnTo>
                <a:lnTo>
                  <a:pt x="2198" y="1614"/>
                </a:lnTo>
                <a:lnTo>
                  <a:pt x="2215" y="1627"/>
                </a:lnTo>
                <a:lnTo>
                  <a:pt x="2245" y="1564"/>
                </a:lnTo>
                <a:lnTo>
                  <a:pt x="2312" y="1614"/>
                </a:lnTo>
                <a:lnTo>
                  <a:pt x="2321" y="1640"/>
                </a:lnTo>
                <a:lnTo>
                  <a:pt x="2310" y="1647"/>
                </a:lnTo>
                <a:lnTo>
                  <a:pt x="2254" y="1616"/>
                </a:lnTo>
                <a:lnTo>
                  <a:pt x="2246" y="1630"/>
                </a:lnTo>
                <a:lnTo>
                  <a:pt x="2270" y="1652"/>
                </a:lnTo>
                <a:lnTo>
                  <a:pt x="2249" y="1662"/>
                </a:lnTo>
                <a:lnTo>
                  <a:pt x="2269" y="1679"/>
                </a:lnTo>
                <a:lnTo>
                  <a:pt x="2290" y="1686"/>
                </a:lnTo>
                <a:lnTo>
                  <a:pt x="2317" y="1714"/>
                </a:lnTo>
                <a:lnTo>
                  <a:pt x="2328" y="1688"/>
                </a:lnTo>
                <a:lnTo>
                  <a:pt x="2351" y="1698"/>
                </a:lnTo>
                <a:lnTo>
                  <a:pt x="2357" y="1760"/>
                </a:lnTo>
                <a:lnTo>
                  <a:pt x="2345" y="1799"/>
                </a:lnTo>
                <a:lnTo>
                  <a:pt x="2247" y="1776"/>
                </a:lnTo>
                <a:lnTo>
                  <a:pt x="2243" y="1796"/>
                </a:lnTo>
                <a:lnTo>
                  <a:pt x="2204" y="1826"/>
                </a:lnTo>
                <a:lnTo>
                  <a:pt x="2188" y="1797"/>
                </a:lnTo>
                <a:lnTo>
                  <a:pt x="2163" y="1817"/>
                </a:lnTo>
                <a:lnTo>
                  <a:pt x="2171" y="1848"/>
                </a:lnTo>
                <a:lnTo>
                  <a:pt x="2183" y="1839"/>
                </a:lnTo>
                <a:lnTo>
                  <a:pt x="2201" y="1865"/>
                </a:lnTo>
                <a:lnTo>
                  <a:pt x="2206" y="1869"/>
                </a:lnTo>
                <a:lnTo>
                  <a:pt x="2206" y="1902"/>
                </a:lnTo>
                <a:lnTo>
                  <a:pt x="2252" y="1917"/>
                </a:lnTo>
                <a:lnTo>
                  <a:pt x="2234" y="1892"/>
                </a:lnTo>
                <a:lnTo>
                  <a:pt x="2281" y="1905"/>
                </a:lnTo>
                <a:lnTo>
                  <a:pt x="2288" y="1926"/>
                </a:lnTo>
                <a:lnTo>
                  <a:pt x="2233" y="1952"/>
                </a:lnTo>
                <a:lnTo>
                  <a:pt x="2275" y="1962"/>
                </a:lnTo>
                <a:lnTo>
                  <a:pt x="2298" y="1992"/>
                </a:lnTo>
                <a:lnTo>
                  <a:pt x="2302" y="2067"/>
                </a:lnTo>
                <a:lnTo>
                  <a:pt x="2296" y="2091"/>
                </a:lnTo>
                <a:lnTo>
                  <a:pt x="2278" y="2089"/>
                </a:lnTo>
                <a:lnTo>
                  <a:pt x="2270" y="2060"/>
                </a:lnTo>
                <a:lnTo>
                  <a:pt x="2212" y="2037"/>
                </a:lnTo>
                <a:lnTo>
                  <a:pt x="2186" y="2035"/>
                </a:lnTo>
                <a:lnTo>
                  <a:pt x="2249" y="2081"/>
                </a:lnTo>
                <a:lnTo>
                  <a:pt x="2251" y="2094"/>
                </a:lnTo>
                <a:lnTo>
                  <a:pt x="2247" y="2114"/>
                </a:lnTo>
                <a:lnTo>
                  <a:pt x="2243" y="2166"/>
                </a:lnTo>
                <a:lnTo>
                  <a:pt x="2300" y="2172"/>
                </a:lnTo>
                <a:lnTo>
                  <a:pt x="2317" y="2210"/>
                </a:lnTo>
                <a:lnTo>
                  <a:pt x="2296" y="2241"/>
                </a:lnTo>
                <a:lnTo>
                  <a:pt x="2275" y="2236"/>
                </a:lnTo>
                <a:lnTo>
                  <a:pt x="2253" y="2203"/>
                </a:lnTo>
                <a:lnTo>
                  <a:pt x="2189" y="2191"/>
                </a:lnTo>
                <a:lnTo>
                  <a:pt x="2194" y="2220"/>
                </a:lnTo>
                <a:lnTo>
                  <a:pt x="2185" y="2233"/>
                </a:lnTo>
                <a:lnTo>
                  <a:pt x="2174" y="2270"/>
                </a:lnTo>
                <a:lnTo>
                  <a:pt x="2206" y="2270"/>
                </a:lnTo>
                <a:lnTo>
                  <a:pt x="2262" y="2301"/>
                </a:lnTo>
                <a:lnTo>
                  <a:pt x="2255" y="2320"/>
                </a:lnTo>
                <a:lnTo>
                  <a:pt x="2256" y="2352"/>
                </a:lnTo>
                <a:lnTo>
                  <a:pt x="2216" y="2354"/>
                </a:lnTo>
                <a:lnTo>
                  <a:pt x="2174" y="2389"/>
                </a:lnTo>
                <a:lnTo>
                  <a:pt x="2119" y="2350"/>
                </a:lnTo>
                <a:lnTo>
                  <a:pt x="2097" y="2311"/>
                </a:lnTo>
                <a:lnTo>
                  <a:pt x="2088" y="2315"/>
                </a:lnTo>
                <a:lnTo>
                  <a:pt x="2085" y="2343"/>
                </a:lnTo>
                <a:lnTo>
                  <a:pt x="2063" y="2331"/>
                </a:lnTo>
                <a:lnTo>
                  <a:pt x="2069" y="2354"/>
                </a:lnTo>
                <a:lnTo>
                  <a:pt x="2059" y="2354"/>
                </a:lnTo>
                <a:lnTo>
                  <a:pt x="2025" y="2392"/>
                </a:lnTo>
                <a:lnTo>
                  <a:pt x="1999" y="2391"/>
                </a:lnTo>
                <a:lnTo>
                  <a:pt x="1978" y="2405"/>
                </a:lnTo>
                <a:lnTo>
                  <a:pt x="1984" y="2412"/>
                </a:lnTo>
                <a:lnTo>
                  <a:pt x="2014" y="2400"/>
                </a:lnTo>
                <a:lnTo>
                  <a:pt x="2033" y="2419"/>
                </a:lnTo>
                <a:lnTo>
                  <a:pt x="2062" y="2422"/>
                </a:lnTo>
                <a:lnTo>
                  <a:pt x="2026" y="2453"/>
                </a:lnTo>
                <a:lnTo>
                  <a:pt x="1989" y="2455"/>
                </a:lnTo>
                <a:lnTo>
                  <a:pt x="1984" y="2472"/>
                </a:lnTo>
                <a:lnTo>
                  <a:pt x="2001" y="2468"/>
                </a:lnTo>
                <a:lnTo>
                  <a:pt x="2003" y="2482"/>
                </a:lnTo>
                <a:lnTo>
                  <a:pt x="2042" y="2456"/>
                </a:lnTo>
                <a:lnTo>
                  <a:pt x="2070" y="2473"/>
                </a:lnTo>
                <a:lnTo>
                  <a:pt x="2072" y="2501"/>
                </a:lnTo>
                <a:lnTo>
                  <a:pt x="2039" y="2510"/>
                </a:lnTo>
                <a:lnTo>
                  <a:pt x="2047" y="2519"/>
                </a:lnTo>
                <a:lnTo>
                  <a:pt x="2041" y="2556"/>
                </a:lnTo>
                <a:lnTo>
                  <a:pt x="2056" y="2518"/>
                </a:lnTo>
                <a:lnTo>
                  <a:pt x="2076" y="2512"/>
                </a:lnTo>
                <a:lnTo>
                  <a:pt x="2115" y="2552"/>
                </a:lnTo>
                <a:lnTo>
                  <a:pt x="2167" y="2582"/>
                </a:lnTo>
                <a:lnTo>
                  <a:pt x="2171" y="2601"/>
                </a:lnTo>
                <a:lnTo>
                  <a:pt x="2189" y="2608"/>
                </a:lnTo>
                <a:lnTo>
                  <a:pt x="2168" y="2645"/>
                </a:lnTo>
                <a:lnTo>
                  <a:pt x="2168" y="2669"/>
                </a:lnTo>
                <a:lnTo>
                  <a:pt x="2179" y="2646"/>
                </a:lnTo>
                <a:lnTo>
                  <a:pt x="2202" y="2640"/>
                </a:lnTo>
                <a:lnTo>
                  <a:pt x="2198" y="2691"/>
                </a:lnTo>
                <a:lnTo>
                  <a:pt x="2188" y="2697"/>
                </a:lnTo>
                <a:lnTo>
                  <a:pt x="2201" y="2705"/>
                </a:lnTo>
                <a:lnTo>
                  <a:pt x="2202" y="2726"/>
                </a:lnTo>
                <a:lnTo>
                  <a:pt x="2197" y="2730"/>
                </a:lnTo>
                <a:lnTo>
                  <a:pt x="2202" y="2758"/>
                </a:lnTo>
                <a:lnTo>
                  <a:pt x="2209" y="2760"/>
                </a:lnTo>
                <a:lnTo>
                  <a:pt x="2208" y="2774"/>
                </a:lnTo>
                <a:lnTo>
                  <a:pt x="2178" y="2772"/>
                </a:lnTo>
                <a:lnTo>
                  <a:pt x="2173" y="2731"/>
                </a:lnTo>
                <a:lnTo>
                  <a:pt x="2168" y="2730"/>
                </a:lnTo>
                <a:lnTo>
                  <a:pt x="2165" y="2776"/>
                </a:lnTo>
                <a:lnTo>
                  <a:pt x="2129" y="2772"/>
                </a:lnTo>
                <a:lnTo>
                  <a:pt x="2103" y="2739"/>
                </a:lnTo>
                <a:lnTo>
                  <a:pt x="2096" y="2696"/>
                </a:lnTo>
                <a:lnTo>
                  <a:pt x="2074" y="2662"/>
                </a:lnTo>
                <a:lnTo>
                  <a:pt x="2059" y="2663"/>
                </a:lnTo>
                <a:lnTo>
                  <a:pt x="2004" y="2623"/>
                </a:lnTo>
                <a:lnTo>
                  <a:pt x="1981" y="2627"/>
                </a:lnTo>
                <a:lnTo>
                  <a:pt x="1949" y="2595"/>
                </a:lnTo>
                <a:lnTo>
                  <a:pt x="1954" y="2618"/>
                </a:lnTo>
                <a:lnTo>
                  <a:pt x="1942" y="2621"/>
                </a:lnTo>
                <a:lnTo>
                  <a:pt x="1966" y="2632"/>
                </a:lnTo>
                <a:lnTo>
                  <a:pt x="1964" y="2642"/>
                </a:lnTo>
                <a:lnTo>
                  <a:pt x="2025" y="2643"/>
                </a:lnTo>
                <a:lnTo>
                  <a:pt x="2037" y="2657"/>
                </a:lnTo>
                <a:lnTo>
                  <a:pt x="2039" y="2677"/>
                </a:lnTo>
                <a:lnTo>
                  <a:pt x="2025" y="2669"/>
                </a:lnTo>
                <a:lnTo>
                  <a:pt x="2032" y="2682"/>
                </a:lnTo>
                <a:lnTo>
                  <a:pt x="1992" y="2711"/>
                </a:lnTo>
                <a:lnTo>
                  <a:pt x="1959" y="2711"/>
                </a:lnTo>
                <a:lnTo>
                  <a:pt x="1947" y="2698"/>
                </a:lnTo>
                <a:lnTo>
                  <a:pt x="1946" y="2714"/>
                </a:lnTo>
                <a:lnTo>
                  <a:pt x="1924" y="2711"/>
                </a:lnTo>
                <a:lnTo>
                  <a:pt x="1921" y="2718"/>
                </a:lnTo>
                <a:lnTo>
                  <a:pt x="1932" y="2733"/>
                </a:lnTo>
                <a:lnTo>
                  <a:pt x="1925" y="2753"/>
                </a:lnTo>
                <a:lnTo>
                  <a:pt x="1893" y="2774"/>
                </a:lnTo>
                <a:lnTo>
                  <a:pt x="1929" y="2787"/>
                </a:lnTo>
                <a:lnTo>
                  <a:pt x="1991" y="2780"/>
                </a:lnTo>
                <a:lnTo>
                  <a:pt x="1997" y="2791"/>
                </a:lnTo>
                <a:lnTo>
                  <a:pt x="1908" y="2828"/>
                </a:lnTo>
                <a:lnTo>
                  <a:pt x="1935" y="2832"/>
                </a:lnTo>
                <a:lnTo>
                  <a:pt x="1962" y="2832"/>
                </a:lnTo>
                <a:lnTo>
                  <a:pt x="1970" y="2812"/>
                </a:lnTo>
                <a:lnTo>
                  <a:pt x="2003" y="2811"/>
                </a:lnTo>
                <a:lnTo>
                  <a:pt x="2044" y="2786"/>
                </a:lnTo>
                <a:lnTo>
                  <a:pt x="2116" y="2820"/>
                </a:lnTo>
                <a:lnTo>
                  <a:pt x="2187" y="2815"/>
                </a:lnTo>
                <a:lnTo>
                  <a:pt x="2175" y="2841"/>
                </a:lnTo>
                <a:lnTo>
                  <a:pt x="2144" y="2842"/>
                </a:lnTo>
                <a:lnTo>
                  <a:pt x="2139" y="2850"/>
                </a:lnTo>
                <a:lnTo>
                  <a:pt x="2136" y="2852"/>
                </a:lnTo>
                <a:lnTo>
                  <a:pt x="2112" y="2868"/>
                </a:lnTo>
                <a:lnTo>
                  <a:pt x="2120" y="2878"/>
                </a:lnTo>
                <a:lnTo>
                  <a:pt x="2116" y="2891"/>
                </a:lnTo>
                <a:lnTo>
                  <a:pt x="2090" y="2888"/>
                </a:lnTo>
                <a:lnTo>
                  <a:pt x="2100" y="2906"/>
                </a:lnTo>
                <a:lnTo>
                  <a:pt x="2089" y="2901"/>
                </a:lnTo>
                <a:lnTo>
                  <a:pt x="2070" y="2928"/>
                </a:lnTo>
                <a:lnTo>
                  <a:pt x="2060" y="2933"/>
                </a:lnTo>
                <a:lnTo>
                  <a:pt x="2061" y="2945"/>
                </a:lnTo>
                <a:lnTo>
                  <a:pt x="2036" y="2945"/>
                </a:lnTo>
                <a:lnTo>
                  <a:pt x="2043" y="2961"/>
                </a:lnTo>
                <a:lnTo>
                  <a:pt x="2007" y="2983"/>
                </a:lnTo>
                <a:lnTo>
                  <a:pt x="2006" y="2993"/>
                </a:lnTo>
                <a:lnTo>
                  <a:pt x="1981" y="2994"/>
                </a:lnTo>
                <a:lnTo>
                  <a:pt x="1977" y="3007"/>
                </a:lnTo>
                <a:lnTo>
                  <a:pt x="1943" y="3019"/>
                </a:lnTo>
                <a:lnTo>
                  <a:pt x="1933" y="3009"/>
                </a:lnTo>
                <a:lnTo>
                  <a:pt x="1871" y="3044"/>
                </a:lnTo>
                <a:lnTo>
                  <a:pt x="1853" y="3026"/>
                </a:lnTo>
                <a:lnTo>
                  <a:pt x="1846" y="3035"/>
                </a:lnTo>
                <a:lnTo>
                  <a:pt x="1848" y="3046"/>
                </a:lnTo>
                <a:lnTo>
                  <a:pt x="1838" y="3047"/>
                </a:lnTo>
                <a:lnTo>
                  <a:pt x="1844" y="3054"/>
                </a:lnTo>
                <a:lnTo>
                  <a:pt x="1839" y="3061"/>
                </a:lnTo>
                <a:lnTo>
                  <a:pt x="1831" y="3046"/>
                </a:lnTo>
                <a:lnTo>
                  <a:pt x="1815" y="3042"/>
                </a:lnTo>
                <a:lnTo>
                  <a:pt x="1826" y="3064"/>
                </a:lnTo>
                <a:lnTo>
                  <a:pt x="1803" y="3051"/>
                </a:lnTo>
                <a:lnTo>
                  <a:pt x="1798" y="3058"/>
                </a:lnTo>
                <a:lnTo>
                  <a:pt x="1804" y="3067"/>
                </a:lnTo>
                <a:lnTo>
                  <a:pt x="1776" y="3067"/>
                </a:lnTo>
                <a:lnTo>
                  <a:pt x="1766" y="3048"/>
                </a:lnTo>
                <a:lnTo>
                  <a:pt x="1776" y="3044"/>
                </a:lnTo>
                <a:lnTo>
                  <a:pt x="1760" y="3040"/>
                </a:lnTo>
                <a:lnTo>
                  <a:pt x="1751" y="3016"/>
                </a:lnTo>
                <a:lnTo>
                  <a:pt x="1746" y="3026"/>
                </a:lnTo>
                <a:lnTo>
                  <a:pt x="1745" y="3008"/>
                </a:lnTo>
                <a:lnTo>
                  <a:pt x="1737" y="3001"/>
                </a:lnTo>
                <a:lnTo>
                  <a:pt x="1739" y="3010"/>
                </a:lnTo>
                <a:lnTo>
                  <a:pt x="1729" y="3012"/>
                </a:lnTo>
                <a:lnTo>
                  <a:pt x="1747" y="3047"/>
                </a:lnTo>
                <a:lnTo>
                  <a:pt x="1742" y="3049"/>
                </a:lnTo>
                <a:lnTo>
                  <a:pt x="1761" y="3065"/>
                </a:lnTo>
                <a:lnTo>
                  <a:pt x="1754" y="3067"/>
                </a:lnTo>
                <a:lnTo>
                  <a:pt x="1751" y="3087"/>
                </a:lnTo>
                <a:lnTo>
                  <a:pt x="1740" y="3082"/>
                </a:lnTo>
                <a:lnTo>
                  <a:pt x="1726" y="3103"/>
                </a:lnTo>
                <a:lnTo>
                  <a:pt x="1709" y="3106"/>
                </a:lnTo>
                <a:lnTo>
                  <a:pt x="1710" y="3122"/>
                </a:lnTo>
                <a:lnTo>
                  <a:pt x="1703" y="3123"/>
                </a:lnTo>
                <a:lnTo>
                  <a:pt x="1700" y="3146"/>
                </a:lnTo>
                <a:lnTo>
                  <a:pt x="1693" y="3145"/>
                </a:lnTo>
                <a:lnTo>
                  <a:pt x="1697" y="3158"/>
                </a:lnTo>
                <a:lnTo>
                  <a:pt x="1693" y="3178"/>
                </a:lnTo>
                <a:lnTo>
                  <a:pt x="1676" y="3193"/>
                </a:lnTo>
                <a:lnTo>
                  <a:pt x="1679" y="3206"/>
                </a:lnTo>
                <a:lnTo>
                  <a:pt x="1673" y="3202"/>
                </a:lnTo>
                <a:lnTo>
                  <a:pt x="1666" y="3226"/>
                </a:lnTo>
                <a:lnTo>
                  <a:pt x="1658" y="3213"/>
                </a:lnTo>
                <a:lnTo>
                  <a:pt x="1645" y="3255"/>
                </a:lnTo>
                <a:lnTo>
                  <a:pt x="1631" y="3256"/>
                </a:lnTo>
                <a:lnTo>
                  <a:pt x="1629" y="3246"/>
                </a:lnTo>
                <a:lnTo>
                  <a:pt x="1623" y="3256"/>
                </a:lnTo>
                <a:lnTo>
                  <a:pt x="1628" y="3266"/>
                </a:lnTo>
                <a:lnTo>
                  <a:pt x="1623" y="3265"/>
                </a:lnTo>
                <a:lnTo>
                  <a:pt x="1598" y="3248"/>
                </a:lnTo>
                <a:lnTo>
                  <a:pt x="1596" y="3255"/>
                </a:lnTo>
                <a:lnTo>
                  <a:pt x="1604" y="3269"/>
                </a:lnTo>
                <a:lnTo>
                  <a:pt x="1589" y="3303"/>
                </a:lnTo>
                <a:lnTo>
                  <a:pt x="1573" y="3300"/>
                </a:lnTo>
                <a:lnTo>
                  <a:pt x="1576" y="3288"/>
                </a:lnTo>
                <a:lnTo>
                  <a:pt x="1569" y="3289"/>
                </a:lnTo>
                <a:lnTo>
                  <a:pt x="1562" y="3311"/>
                </a:lnTo>
                <a:lnTo>
                  <a:pt x="1538" y="3283"/>
                </a:lnTo>
                <a:lnTo>
                  <a:pt x="1538" y="3303"/>
                </a:lnTo>
                <a:lnTo>
                  <a:pt x="1531" y="3299"/>
                </a:lnTo>
                <a:lnTo>
                  <a:pt x="1536" y="3312"/>
                </a:lnTo>
                <a:lnTo>
                  <a:pt x="1513" y="3293"/>
                </a:lnTo>
                <a:lnTo>
                  <a:pt x="1541" y="3259"/>
                </a:lnTo>
                <a:lnTo>
                  <a:pt x="1520" y="3261"/>
                </a:lnTo>
                <a:lnTo>
                  <a:pt x="1512" y="3248"/>
                </a:lnTo>
                <a:lnTo>
                  <a:pt x="1507" y="3259"/>
                </a:lnTo>
                <a:lnTo>
                  <a:pt x="1501" y="3254"/>
                </a:lnTo>
                <a:lnTo>
                  <a:pt x="1513" y="3268"/>
                </a:lnTo>
                <a:lnTo>
                  <a:pt x="1496" y="3282"/>
                </a:lnTo>
                <a:lnTo>
                  <a:pt x="1504" y="3289"/>
                </a:lnTo>
                <a:lnTo>
                  <a:pt x="1502" y="3299"/>
                </a:lnTo>
                <a:lnTo>
                  <a:pt x="1485" y="3293"/>
                </a:lnTo>
                <a:lnTo>
                  <a:pt x="1484" y="3306"/>
                </a:lnTo>
                <a:lnTo>
                  <a:pt x="1496" y="3314"/>
                </a:lnTo>
                <a:lnTo>
                  <a:pt x="1491" y="3331"/>
                </a:lnTo>
                <a:lnTo>
                  <a:pt x="1471" y="3327"/>
                </a:lnTo>
                <a:lnTo>
                  <a:pt x="1476" y="3334"/>
                </a:lnTo>
                <a:lnTo>
                  <a:pt x="1457" y="3338"/>
                </a:lnTo>
                <a:lnTo>
                  <a:pt x="1448" y="3326"/>
                </a:lnTo>
                <a:lnTo>
                  <a:pt x="1443" y="3338"/>
                </a:lnTo>
                <a:lnTo>
                  <a:pt x="1429" y="3328"/>
                </a:lnTo>
                <a:lnTo>
                  <a:pt x="1424" y="3343"/>
                </a:lnTo>
                <a:lnTo>
                  <a:pt x="1409" y="3345"/>
                </a:lnTo>
                <a:lnTo>
                  <a:pt x="1420" y="3353"/>
                </a:lnTo>
                <a:lnTo>
                  <a:pt x="1425" y="3369"/>
                </a:lnTo>
                <a:lnTo>
                  <a:pt x="1410" y="3394"/>
                </a:lnTo>
                <a:lnTo>
                  <a:pt x="1370" y="3386"/>
                </a:lnTo>
                <a:lnTo>
                  <a:pt x="1363" y="3405"/>
                </a:lnTo>
                <a:lnTo>
                  <a:pt x="1371" y="3402"/>
                </a:lnTo>
                <a:lnTo>
                  <a:pt x="1389" y="3433"/>
                </a:lnTo>
                <a:lnTo>
                  <a:pt x="1392" y="3449"/>
                </a:lnTo>
                <a:lnTo>
                  <a:pt x="1405" y="3457"/>
                </a:lnTo>
                <a:lnTo>
                  <a:pt x="1354" y="3466"/>
                </a:lnTo>
                <a:lnTo>
                  <a:pt x="1356" y="3476"/>
                </a:lnTo>
                <a:lnTo>
                  <a:pt x="1387" y="3480"/>
                </a:lnTo>
                <a:lnTo>
                  <a:pt x="1392" y="3487"/>
                </a:lnTo>
                <a:lnTo>
                  <a:pt x="1386" y="3495"/>
                </a:lnTo>
                <a:lnTo>
                  <a:pt x="1395" y="3520"/>
                </a:lnTo>
                <a:lnTo>
                  <a:pt x="1358" y="3515"/>
                </a:lnTo>
                <a:lnTo>
                  <a:pt x="1385" y="3526"/>
                </a:lnTo>
                <a:lnTo>
                  <a:pt x="1387" y="3539"/>
                </a:lnTo>
                <a:lnTo>
                  <a:pt x="1379" y="3551"/>
                </a:lnTo>
                <a:lnTo>
                  <a:pt x="1368" y="3551"/>
                </a:lnTo>
                <a:lnTo>
                  <a:pt x="1372" y="3561"/>
                </a:lnTo>
                <a:lnTo>
                  <a:pt x="1365" y="3561"/>
                </a:lnTo>
                <a:lnTo>
                  <a:pt x="1367" y="3570"/>
                </a:lnTo>
                <a:lnTo>
                  <a:pt x="1350" y="3561"/>
                </a:lnTo>
                <a:lnTo>
                  <a:pt x="1354" y="3569"/>
                </a:lnTo>
                <a:lnTo>
                  <a:pt x="1348" y="3573"/>
                </a:lnTo>
                <a:lnTo>
                  <a:pt x="1349" y="3580"/>
                </a:lnTo>
                <a:lnTo>
                  <a:pt x="1359" y="3586"/>
                </a:lnTo>
                <a:lnTo>
                  <a:pt x="1328" y="3578"/>
                </a:lnTo>
                <a:lnTo>
                  <a:pt x="1347" y="3592"/>
                </a:lnTo>
                <a:close/>
              </a:path>
            </a:pathLst>
          </a:custGeom>
          <a:solidFill>
            <a:schemeClr val="accent1"/>
          </a:solidFill>
          <a:ln w="6350">
            <a:solidFill>
              <a:schemeClr val="tx2"/>
            </a:solidFill>
            <a:round/>
            <a:headEnd/>
            <a:tailEnd/>
          </a:ln>
        </p:spPr>
        <p:txBody>
          <a:bodyPr/>
          <a:lstStyle/>
          <a:p>
            <a:endParaRPr lang="en-US"/>
          </a:p>
        </p:txBody>
      </p:sp>
      <p:sp>
        <p:nvSpPr>
          <p:cNvPr id="82" name="Freeform 1030"/>
          <p:cNvSpPr>
            <a:spLocks/>
          </p:cNvSpPr>
          <p:nvPr/>
        </p:nvSpPr>
        <p:spPr bwMode="auto">
          <a:xfrm>
            <a:off x="4537731" y="3119267"/>
            <a:ext cx="5734" cy="5095"/>
          </a:xfrm>
          <a:custGeom>
            <a:avLst/>
            <a:gdLst>
              <a:gd name="T0" fmla="*/ 2147483647 w 16"/>
              <a:gd name="T1" fmla="*/ 0 h 12"/>
              <a:gd name="T2" fmla="*/ 2147483647 w 16"/>
              <a:gd name="T3" fmla="*/ 0 h 12"/>
              <a:gd name="T4" fmla="*/ 0 w 16"/>
              <a:gd name="T5" fmla="*/ 2147483647 h 12"/>
              <a:gd name="T6" fmla="*/ 2147483647 w 16"/>
              <a:gd name="T7" fmla="*/ 2147483647 h 12"/>
              <a:gd name="T8" fmla="*/ 2147483647 w 16"/>
              <a:gd name="T9" fmla="*/ 0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2" y="0"/>
                </a:moveTo>
                <a:lnTo>
                  <a:pt x="1" y="0"/>
                </a:lnTo>
                <a:lnTo>
                  <a:pt x="0" y="12"/>
                </a:lnTo>
                <a:lnTo>
                  <a:pt x="16" y="5"/>
                </a:lnTo>
                <a:lnTo>
                  <a:pt x="2" y="0"/>
                </a:lnTo>
                <a:close/>
              </a:path>
            </a:pathLst>
          </a:custGeom>
          <a:solidFill>
            <a:schemeClr val="accent1"/>
          </a:solidFill>
          <a:ln w="6350">
            <a:solidFill>
              <a:schemeClr val="tx2"/>
            </a:solidFill>
            <a:round/>
            <a:headEnd/>
            <a:tailEnd/>
          </a:ln>
        </p:spPr>
        <p:txBody>
          <a:bodyPr/>
          <a:lstStyle/>
          <a:p>
            <a:endParaRPr lang="en-US"/>
          </a:p>
        </p:txBody>
      </p:sp>
      <p:sp>
        <p:nvSpPr>
          <p:cNvPr id="83" name="Freeform 1031"/>
          <p:cNvSpPr>
            <a:spLocks/>
          </p:cNvSpPr>
          <p:nvPr/>
        </p:nvSpPr>
        <p:spPr bwMode="auto">
          <a:xfrm>
            <a:off x="4537731" y="3115446"/>
            <a:ext cx="17201" cy="3820"/>
          </a:xfrm>
          <a:custGeom>
            <a:avLst/>
            <a:gdLst>
              <a:gd name="T0" fmla="*/ 2147483647 w 36"/>
              <a:gd name="T1" fmla="*/ 2147483647 h 10"/>
              <a:gd name="T2" fmla="*/ 0 w 36"/>
              <a:gd name="T3" fmla="*/ 0 h 10"/>
              <a:gd name="T4" fmla="*/ 2147483647 w 36"/>
              <a:gd name="T5" fmla="*/ 2147483647 h 10"/>
              <a:gd name="T6" fmla="*/ 2147483647 w 36"/>
              <a:gd name="T7" fmla="*/ 2147483647 h 10"/>
              <a:gd name="T8" fmla="*/ 0 60000 65536"/>
              <a:gd name="T9" fmla="*/ 0 60000 65536"/>
              <a:gd name="T10" fmla="*/ 0 60000 65536"/>
              <a:gd name="T11" fmla="*/ 0 60000 65536"/>
              <a:gd name="T12" fmla="*/ 0 w 36"/>
              <a:gd name="T13" fmla="*/ 0 h 10"/>
              <a:gd name="T14" fmla="*/ 36 w 36"/>
              <a:gd name="T15" fmla="*/ 10 h 10"/>
            </a:gdLst>
            <a:ahLst/>
            <a:cxnLst>
              <a:cxn ang="T8">
                <a:pos x="T0" y="T1"/>
              </a:cxn>
              <a:cxn ang="T9">
                <a:pos x="T2" y="T3"/>
              </a:cxn>
              <a:cxn ang="T10">
                <a:pos x="T4" y="T5"/>
              </a:cxn>
              <a:cxn ang="T11">
                <a:pos x="T6" y="T7"/>
              </a:cxn>
            </a:cxnLst>
            <a:rect l="T12" t="T13" r="T14" b="T15"/>
            <a:pathLst>
              <a:path w="36" h="10">
                <a:moveTo>
                  <a:pt x="36" y="2"/>
                </a:moveTo>
                <a:lnTo>
                  <a:pt x="0" y="0"/>
                </a:lnTo>
                <a:lnTo>
                  <a:pt x="13" y="10"/>
                </a:lnTo>
                <a:lnTo>
                  <a:pt x="36" y="2"/>
                </a:lnTo>
                <a:close/>
              </a:path>
            </a:pathLst>
          </a:custGeom>
          <a:solidFill>
            <a:schemeClr val="accent1"/>
          </a:solidFill>
          <a:ln w="6350">
            <a:solidFill>
              <a:schemeClr val="tx2"/>
            </a:solidFill>
            <a:round/>
            <a:headEnd/>
            <a:tailEnd/>
          </a:ln>
        </p:spPr>
        <p:txBody>
          <a:bodyPr/>
          <a:lstStyle/>
          <a:p>
            <a:endParaRPr lang="en-US"/>
          </a:p>
        </p:txBody>
      </p:sp>
      <p:sp>
        <p:nvSpPr>
          <p:cNvPr id="84" name="Freeform 1153"/>
          <p:cNvSpPr>
            <a:spLocks/>
          </p:cNvSpPr>
          <p:nvPr/>
        </p:nvSpPr>
        <p:spPr bwMode="auto">
          <a:xfrm>
            <a:off x="4024596" y="2212423"/>
            <a:ext cx="60200" cy="20378"/>
          </a:xfrm>
          <a:custGeom>
            <a:avLst/>
            <a:gdLst>
              <a:gd name="T0" fmla="*/ 0 w 130"/>
              <a:gd name="T1" fmla="*/ 2147483647 h 47"/>
              <a:gd name="T2" fmla="*/ 2147483647 w 130"/>
              <a:gd name="T3" fmla="*/ 2147483647 h 47"/>
              <a:gd name="T4" fmla="*/ 2147483647 w 130"/>
              <a:gd name="T5" fmla="*/ 0 h 47"/>
              <a:gd name="T6" fmla="*/ 2147483647 w 130"/>
              <a:gd name="T7" fmla="*/ 2147483647 h 47"/>
              <a:gd name="T8" fmla="*/ 2147483647 w 130"/>
              <a:gd name="T9" fmla="*/ 2147483647 h 47"/>
              <a:gd name="T10" fmla="*/ 0 w 130"/>
              <a:gd name="T11" fmla="*/ 2147483647 h 47"/>
              <a:gd name="T12" fmla="*/ 0 60000 65536"/>
              <a:gd name="T13" fmla="*/ 0 60000 65536"/>
              <a:gd name="T14" fmla="*/ 0 60000 65536"/>
              <a:gd name="T15" fmla="*/ 0 60000 65536"/>
              <a:gd name="T16" fmla="*/ 0 60000 65536"/>
              <a:gd name="T17" fmla="*/ 0 60000 65536"/>
              <a:gd name="T18" fmla="*/ 0 w 130"/>
              <a:gd name="T19" fmla="*/ 0 h 47"/>
              <a:gd name="T20" fmla="*/ 130 w 130"/>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130" h="47">
                <a:moveTo>
                  <a:pt x="0" y="27"/>
                </a:moveTo>
                <a:lnTo>
                  <a:pt x="23" y="4"/>
                </a:lnTo>
                <a:lnTo>
                  <a:pt x="73" y="0"/>
                </a:lnTo>
                <a:lnTo>
                  <a:pt x="130" y="35"/>
                </a:lnTo>
                <a:lnTo>
                  <a:pt x="96" y="47"/>
                </a:lnTo>
                <a:lnTo>
                  <a:pt x="0" y="27"/>
                </a:lnTo>
                <a:close/>
              </a:path>
            </a:pathLst>
          </a:custGeom>
          <a:solidFill>
            <a:schemeClr val="accent1"/>
          </a:solidFill>
          <a:ln w="6350">
            <a:solidFill>
              <a:schemeClr val="tx2"/>
            </a:solidFill>
            <a:round/>
            <a:headEnd/>
            <a:tailEnd/>
          </a:ln>
        </p:spPr>
        <p:txBody>
          <a:bodyPr/>
          <a:lstStyle/>
          <a:p>
            <a:endParaRPr lang="en-US"/>
          </a:p>
        </p:txBody>
      </p:sp>
      <p:sp>
        <p:nvSpPr>
          <p:cNvPr id="85" name="Freeform 1154"/>
          <p:cNvSpPr>
            <a:spLocks/>
          </p:cNvSpPr>
          <p:nvPr/>
        </p:nvSpPr>
        <p:spPr bwMode="auto">
          <a:xfrm>
            <a:off x="4308395" y="2676035"/>
            <a:ext cx="60200" cy="53493"/>
          </a:xfrm>
          <a:custGeom>
            <a:avLst/>
            <a:gdLst>
              <a:gd name="T0" fmla="*/ 2147483647 w 127"/>
              <a:gd name="T1" fmla="*/ 0 h 126"/>
              <a:gd name="T2" fmla="*/ 2147483647 w 127"/>
              <a:gd name="T3" fmla="*/ 2147483647 h 126"/>
              <a:gd name="T4" fmla="*/ 2147483647 w 127"/>
              <a:gd name="T5" fmla="*/ 2147483647 h 126"/>
              <a:gd name="T6" fmla="*/ 2147483647 w 127"/>
              <a:gd name="T7" fmla="*/ 2147483647 h 126"/>
              <a:gd name="T8" fmla="*/ 2147483647 w 127"/>
              <a:gd name="T9" fmla="*/ 2147483647 h 126"/>
              <a:gd name="T10" fmla="*/ 2147483647 w 127"/>
              <a:gd name="T11" fmla="*/ 2147483647 h 126"/>
              <a:gd name="T12" fmla="*/ 2147483647 w 127"/>
              <a:gd name="T13" fmla="*/ 2147483647 h 126"/>
              <a:gd name="T14" fmla="*/ 2147483647 w 127"/>
              <a:gd name="T15" fmla="*/ 2147483647 h 126"/>
              <a:gd name="T16" fmla="*/ 2147483647 w 127"/>
              <a:gd name="T17" fmla="*/ 2147483647 h 126"/>
              <a:gd name="T18" fmla="*/ 2147483647 w 127"/>
              <a:gd name="T19" fmla="*/ 2147483647 h 126"/>
              <a:gd name="T20" fmla="*/ 0 w 127"/>
              <a:gd name="T21" fmla="*/ 2147483647 h 126"/>
              <a:gd name="T22" fmla="*/ 2147483647 w 127"/>
              <a:gd name="T23" fmla="*/ 2147483647 h 126"/>
              <a:gd name="T24" fmla="*/ 0 w 127"/>
              <a:gd name="T25" fmla="*/ 2147483647 h 126"/>
              <a:gd name="T26" fmla="*/ 2147483647 w 127"/>
              <a:gd name="T27" fmla="*/ 2147483647 h 126"/>
              <a:gd name="T28" fmla="*/ 2147483647 w 127"/>
              <a:gd name="T29" fmla="*/ 2147483647 h 126"/>
              <a:gd name="T30" fmla="*/ 2147483647 w 127"/>
              <a:gd name="T31" fmla="*/ 2147483647 h 126"/>
              <a:gd name="T32" fmla="*/ 2147483647 w 127"/>
              <a:gd name="T33" fmla="*/ 0 h 1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7"/>
              <a:gd name="T52" fmla="*/ 0 h 126"/>
              <a:gd name="T53" fmla="*/ 127 w 127"/>
              <a:gd name="T54" fmla="*/ 126 h 1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7" h="126">
                <a:moveTo>
                  <a:pt x="23" y="0"/>
                </a:moveTo>
                <a:lnTo>
                  <a:pt x="72" y="19"/>
                </a:lnTo>
                <a:lnTo>
                  <a:pt x="101" y="61"/>
                </a:lnTo>
                <a:lnTo>
                  <a:pt x="127" y="77"/>
                </a:lnTo>
                <a:lnTo>
                  <a:pt x="127" y="90"/>
                </a:lnTo>
                <a:lnTo>
                  <a:pt x="114" y="111"/>
                </a:lnTo>
                <a:lnTo>
                  <a:pt x="68" y="126"/>
                </a:lnTo>
                <a:lnTo>
                  <a:pt x="32" y="117"/>
                </a:lnTo>
                <a:lnTo>
                  <a:pt x="61" y="102"/>
                </a:lnTo>
                <a:lnTo>
                  <a:pt x="2" y="91"/>
                </a:lnTo>
                <a:lnTo>
                  <a:pt x="0" y="80"/>
                </a:lnTo>
                <a:lnTo>
                  <a:pt x="23" y="82"/>
                </a:lnTo>
                <a:lnTo>
                  <a:pt x="0" y="61"/>
                </a:lnTo>
                <a:lnTo>
                  <a:pt x="27" y="53"/>
                </a:lnTo>
                <a:lnTo>
                  <a:pt x="5" y="26"/>
                </a:lnTo>
                <a:lnTo>
                  <a:pt x="6" y="11"/>
                </a:lnTo>
                <a:lnTo>
                  <a:pt x="23" y="0"/>
                </a:lnTo>
                <a:close/>
              </a:path>
            </a:pathLst>
          </a:custGeom>
          <a:solidFill>
            <a:schemeClr val="accent1"/>
          </a:solidFill>
          <a:ln w="6350">
            <a:solidFill>
              <a:schemeClr val="tx2"/>
            </a:solidFill>
            <a:round/>
            <a:headEnd/>
            <a:tailEnd/>
          </a:ln>
        </p:spPr>
        <p:txBody>
          <a:bodyPr/>
          <a:lstStyle/>
          <a:p>
            <a:endParaRPr lang="en-US"/>
          </a:p>
        </p:txBody>
      </p:sp>
      <p:sp>
        <p:nvSpPr>
          <p:cNvPr id="86" name="Freeform 1155"/>
          <p:cNvSpPr>
            <a:spLocks/>
          </p:cNvSpPr>
          <p:nvPr/>
        </p:nvSpPr>
        <p:spPr bwMode="auto">
          <a:xfrm>
            <a:off x="2680123" y="2706603"/>
            <a:ext cx="28667" cy="3693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solidFill>
            <a:schemeClr val="accent1"/>
          </a:solidFill>
          <a:ln w="6350">
            <a:solidFill>
              <a:schemeClr val="tx2"/>
            </a:solidFill>
            <a:round/>
            <a:headEnd/>
            <a:tailEnd/>
          </a:ln>
        </p:spPr>
        <p:txBody>
          <a:bodyPr/>
          <a:lstStyle/>
          <a:p>
            <a:endParaRPr lang="en-US"/>
          </a:p>
        </p:txBody>
      </p:sp>
      <p:sp>
        <p:nvSpPr>
          <p:cNvPr id="87" name="Freeform 1156"/>
          <p:cNvSpPr>
            <a:spLocks/>
          </p:cNvSpPr>
          <p:nvPr/>
        </p:nvSpPr>
        <p:spPr bwMode="auto">
          <a:xfrm>
            <a:off x="2668656" y="2730802"/>
            <a:ext cx="18633" cy="15284"/>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solidFill>
            <a:schemeClr val="accent1"/>
          </a:solidFill>
          <a:ln w="6350">
            <a:solidFill>
              <a:schemeClr val="tx2"/>
            </a:solidFill>
            <a:round/>
            <a:headEnd/>
            <a:tailEnd/>
          </a:ln>
        </p:spPr>
        <p:txBody>
          <a:bodyPr/>
          <a:lstStyle/>
          <a:p>
            <a:endParaRPr lang="en-US"/>
          </a:p>
        </p:txBody>
      </p:sp>
      <p:sp>
        <p:nvSpPr>
          <p:cNvPr id="88" name="Freeform 1157"/>
          <p:cNvSpPr>
            <a:spLocks/>
          </p:cNvSpPr>
          <p:nvPr/>
        </p:nvSpPr>
        <p:spPr bwMode="auto">
          <a:xfrm>
            <a:off x="2869324" y="2421303"/>
            <a:ext cx="215001" cy="212701"/>
          </a:xfrm>
          <a:custGeom>
            <a:avLst/>
            <a:gdLst>
              <a:gd name="T0" fmla="*/ 2147483647 w 456"/>
              <a:gd name="T1" fmla="*/ 2147483647 h 510"/>
              <a:gd name="T2" fmla="*/ 2147483647 w 456"/>
              <a:gd name="T3" fmla="*/ 2147483647 h 510"/>
              <a:gd name="T4" fmla="*/ 2147483647 w 456"/>
              <a:gd name="T5" fmla="*/ 2147483647 h 510"/>
              <a:gd name="T6" fmla="*/ 2147483647 w 456"/>
              <a:gd name="T7" fmla="*/ 2147483647 h 510"/>
              <a:gd name="T8" fmla="*/ 2147483647 w 456"/>
              <a:gd name="T9" fmla="*/ 2147483647 h 510"/>
              <a:gd name="T10" fmla="*/ 2147483647 w 456"/>
              <a:gd name="T11" fmla="*/ 2147483647 h 510"/>
              <a:gd name="T12" fmla="*/ 2147483647 w 456"/>
              <a:gd name="T13" fmla="*/ 2147483647 h 510"/>
              <a:gd name="T14" fmla="*/ 2147483647 w 456"/>
              <a:gd name="T15" fmla="*/ 2147483647 h 510"/>
              <a:gd name="T16" fmla="*/ 2147483647 w 456"/>
              <a:gd name="T17" fmla="*/ 2147483647 h 510"/>
              <a:gd name="T18" fmla="*/ 2147483647 w 456"/>
              <a:gd name="T19" fmla="*/ 2147483647 h 510"/>
              <a:gd name="T20" fmla="*/ 2147483647 w 456"/>
              <a:gd name="T21" fmla="*/ 2147483647 h 510"/>
              <a:gd name="T22" fmla="*/ 2147483647 w 456"/>
              <a:gd name="T23" fmla="*/ 2147483647 h 510"/>
              <a:gd name="T24" fmla="*/ 2147483647 w 456"/>
              <a:gd name="T25" fmla="*/ 2147483647 h 510"/>
              <a:gd name="T26" fmla="*/ 2147483647 w 456"/>
              <a:gd name="T27" fmla="*/ 2147483647 h 510"/>
              <a:gd name="T28" fmla="*/ 2147483647 w 456"/>
              <a:gd name="T29" fmla="*/ 2147483647 h 510"/>
              <a:gd name="T30" fmla="*/ 2147483647 w 456"/>
              <a:gd name="T31" fmla="*/ 2147483647 h 510"/>
              <a:gd name="T32" fmla="*/ 2147483647 w 456"/>
              <a:gd name="T33" fmla="*/ 2147483647 h 510"/>
              <a:gd name="T34" fmla="*/ 0 w 456"/>
              <a:gd name="T35" fmla="*/ 2147483647 h 510"/>
              <a:gd name="T36" fmla="*/ 2147483647 w 456"/>
              <a:gd name="T37" fmla="*/ 2147483647 h 510"/>
              <a:gd name="T38" fmla="*/ 2147483647 w 456"/>
              <a:gd name="T39" fmla="*/ 2147483647 h 510"/>
              <a:gd name="T40" fmla="*/ 2147483647 w 456"/>
              <a:gd name="T41" fmla="*/ 2147483647 h 510"/>
              <a:gd name="T42" fmla="*/ 2147483647 w 456"/>
              <a:gd name="T43" fmla="*/ 2147483647 h 510"/>
              <a:gd name="T44" fmla="*/ 2147483647 w 456"/>
              <a:gd name="T45" fmla="*/ 2147483647 h 510"/>
              <a:gd name="T46" fmla="*/ 2147483647 w 456"/>
              <a:gd name="T47" fmla="*/ 2147483647 h 510"/>
              <a:gd name="T48" fmla="*/ 2147483647 w 456"/>
              <a:gd name="T49" fmla="*/ 2147483647 h 510"/>
              <a:gd name="T50" fmla="*/ 2147483647 w 456"/>
              <a:gd name="T51" fmla="*/ 2147483647 h 510"/>
              <a:gd name="T52" fmla="*/ 2147483647 w 456"/>
              <a:gd name="T53" fmla="*/ 2147483647 h 510"/>
              <a:gd name="T54" fmla="*/ 2147483647 w 456"/>
              <a:gd name="T55" fmla="*/ 2147483647 h 510"/>
              <a:gd name="T56" fmla="*/ 2147483647 w 456"/>
              <a:gd name="T57" fmla="*/ 2147483647 h 510"/>
              <a:gd name="T58" fmla="*/ 2147483647 w 456"/>
              <a:gd name="T59" fmla="*/ 2147483647 h 510"/>
              <a:gd name="T60" fmla="*/ 2147483647 w 456"/>
              <a:gd name="T61" fmla="*/ 2147483647 h 510"/>
              <a:gd name="T62" fmla="*/ 2147483647 w 456"/>
              <a:gd name="T63" fmla="*/ 2147483647 h 510"/>
              <a:gd name="T64" fmla="*/ 2147483647 w 456"/>
              <a:gd name="T65" fmla="*/ 2147483647 h 510"/>
              <a:gd name="T66" fmla="*/ 2147483647 w 456"/>
              <a:gd name="T67" fmla="*/ 2147483647 h 510"/>
              <a:gd name="T68" fmla="*/ 2147483647 w 456"/>
              <a:gd name="T69" fmla="*/ 2147483647 h 510"/>
              <a:gd name="T70" fmla="*/ 2147483647 w 456"/>
              <a:gd name="T71" fmla="*/ 2147483647 h 510"/>
              <a:gd name="T72" fmla="*/ 2147483647 w 456"/>
              <a:gd name="T73" fmla="*/ 2147483647 h 510"/>
              <a:gd name="T74" fmla="*/ 2147483647 w 456"/>
              <a:gd name="T75" fmla="*/ 2147483647 h 510"/>
              <a:gd name="T76" fmla="*/ 2147483647 w 456"/>
              <a:gd name="T77" fmla="*/ 2147483647 h 510"/>
              <a:gd name="T78" fmla="*/ 2147483647 w 456"/>
              <a:gd name="T79" fmla="*/ 2147483647 h 510"/>
              <a:gd name="T80" fmla="*/ 2147483647 w 456"/>
              <a:gd name="T81" fmla="*/ 2147483647 h 510"/>
              <a:gd name="T82" fmla="*/ 2147483647 w 456"/>
              <a:gd name="T83" fmla="*/ 2147483647 h 510"/>
              <a:gd name="T84" fmla="*/ 2147483647 w 456"/>
              <a:gd name="T85" fmla="*/ 2147483647 h 510"/>
              <a:gd name="T86" fmla="*/ 2147483647 w 456"/>
              <a:gd name="T87" fmla="*/ 2147483647 h 510"/>
              <a:gd name="T88" fmla="*/ 2147483647 w 456"/>
              <a:gd name="T89" fmla="*/ 2147483647 h 510"/>
              <a:gd name="T90" fmla="*/ 2147483647 w 456"/>
              <a:gd name="T91" fmla="*/ 0 h 510"/>
              <a:gd name="T92" fmla="*/ 2147483647 w 456"/>
              <a:gd name="T93" fmla="*/ 2147483647 h 510"/>
              <a:gd name="T94" fmla="*/ 2147483647 w 456"/>
              <a:gd name="T95" fmla="*/ 2147483647 h 510"/>
              <a:gd name="T96" fmla="*/ 2147483647 w 456"/>
              <a:gd name="T97" fmla="*/ 2147483647 h 510"/>
              <a:gd name="T98" fmla="*/ 2147483647 w 456"/>
              <a:gd name="T99" fmla="*/ 2147483647 h 510"/>
              <a:gd name="T100" fmla="*/ 2147483647 w 456"/>
              <a:gd name="T101" fmla="*/ 2147483647 h 510"/>
              <a:gd name="T102" fmla="*/ 2147483647 w 456"/>
              <a:gd name="T103" fmla="*/ 2147483647 h 510"/>
              <a:gd name="T104" fmla="*/ 2147483647 w 456"/>
              <a:gd name="T105" fmla="*/ 2147483647 h 5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56"/>
              <a:gd name="T160" fmla="*/ 0 h 510"/>
              <a:gd name="T161" fmla="*/ 456 w 456"/>
              <a:gd name="T162" fmla="*/ 510 h 5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56" h="510">
                <a:moveTo>
                  <a:pt x="73" y="90"/>
                </a:moveTo>
                <a:lnTo>
                  <a:pt x="88" y="114"/>
                </a:lnTo>
                <a:lnTo>
                  <a:pt x="77" y="148"/>
                </a:lnTo>
                <a:lnTo>
                  <a:pt x="43" y="225"/>
                </a:lnTo>
                <a:lnTo>
                  <a:pt x="57" y="250"/>
                </a:lnTo>
                <a:lnTo>
                  <a:pt x="33" y="254"/>
                </a:lnTo>
                <a:lnTo>
                  <a:pt x="37" y="280"/>
                </a:lnTo>
                <a:lnTo>
                  <a:pt x="34" y="297"/>
                </a:lnTo>
                <a:lnTo>
                  <a:pt x="40" y="302"/>
                </a:lnTo>
                <a:lnTo>
                  <a:pt x="31" y="316"/>
                </a:lnTo>
                <a:lnTo>
                  <a:pt x="21" y="326"/>
                </a:lnTo>
                <a:lnTo>
                  <a:pt x="15" y="340"/>
                </a:lnTo>
                <a:lnTo>
                  <a:pt x="23" y="350"/>
                </a:lnTo>
                <a:lnTo>
                  <a:pt x="9" y="355"/>
                </a:lnTo>
                <a:lnTo>
                  <a:pt x="13" y="363"/>
                </a:lnTo>
                <a:lnTo>
                  <a:pt x="7" y="368"/>
                </a:lnTo>
                <a:lnTo>
                  <a:pt x="12" y="376"/>
                </a:lnTo>
                <a:lnTo>
                  <a:pt x="0" y="390"/>
                </a:lnTo>
                <a:lnTo>
                  <a:pt x="32" y="399"/>
                </a:lnTo>
                <a:lnTo>
                  <a:pt x="51" y="414"/>
                </a:lnTo>
                <a:lnTo>
                  <a:pt x="58" y="407"/>
                </a:lnTo>
                <a:lnTo>
                  <a:pt x="77" y="422"/>
                </a:lnTo>
                <a:lnTo>
                  <a:pt x="118" y="510"/>
                </a:lnTo>
                <a:lnTo>
                  <a:pt x="180" y="454"/>
                </a:lnTo>
                <a:lnTo>
                  <a:pt x="195" y="471"/>
                </a:lnTo>
                <a:lnTo>
                  <a:pt x="228" y="450"/>
                </a:lnTo>
                <a:lnTo>
                  <a:pt x="237" y="423"/>
                </a:lnTo>
                <a:lnTo>
                  <a:pt x="234" y="391"/>
                </a:lnTo>
                <a:lnTo>
                  <a:pt x="247" y="350"/>
                </a:lnTo>
                <a:lnTo>
                  <a:pt x="285" y="338"/>
                </a:lnTo>
                <a:lnTo>
                  <a:pt x="291" y="297"/>
                </a:lnTo>
                <a:lnTo>
                  <a:pt x="299" y="289"/>
                </a:lnTo>
                <a:lnTo>
                  <a:pt x="456" y="174"/>
                </a:lnTo>
                <a:lnTo>
                  <a:pt x="456" y="157"/>
                </a:lnTo>
                <a:lnTo>
                  <a:pt x="364" y="53"/>
                </a:lnTo>
                <a:lnTo>
                  <a:pt x="307" y="56"/>
                </a:lnTo>
                <a:lnTo>
                  <a:pt x="301" y="67"/>
                </a:lnTo>
                <a:lnTo>
                  <a:pt x="306" y="74"/>
                </a:lnTo>
                <a:lnTo>
                  <a:pt x="301" y="88"/>
                </a:lnTo>
                <a:lnTo>
                  <a:pt x="291" y="93"/>
                </a:lnTo>
                <a:lnTo>
                  <a:pt x="292" y="60"/>
                </a:lnTo>
                <a:lnTo>
                  <a:pt x="281" y="58"/>
                </a:lnTo>
                <a:lnTo>
                  <a:pt x="267" y="86"/>
                </a:lnTo>
                <a:lnTo>
                  <a:pt x="264" y="70"/>
                </a:lnTo>
                <a:lnTo>
                  <a:pt x="271" y="59"/>
                </a:lnTo>
                <a:lnTo>
                  <a:pt x="192" y="0"/>
                </a:lnTo>
                <a:lnTo>
                  <a:pt x="123" y="13"/>
                </a:lnTo>
                <a:lnTo>
                  <a:pt x="124" y="34"/>
                </a:lnTo>
                <a:lnTo>
                  <a:pt x="114" y="14"/>
                </a:lnTo>
                <a:lnTo>
                  <a:pt x="55" y="29"/>
                </a:lnTo>
                <a:lnTo>
                  <a:pt x="73" y="57"/>
                </a:lnTo>
                <a:lnTo>
                  <a:pt x="65" y="69"/>
                </a:lnTo>
                <a:lnTo>
                  <a:pt x="73" y="90"/>
                </a:lnTo>
                <a:close/>
              </a:path>
            </a:pathLst>
          </a:custGeom>
          <a:solidFill>
            <a:schemeClr val="accent1"/>
          </a:solidFill>
          <a:ln w="6350">
            <a:solidFill>
              <a:schemeClr val="tx2"/>
            </a:solidFill>
            <a:round/>
            <a:headEnd/>
            <a:tailEnd/>
          </a:ln>
        </p:spPr>
        <p:txBody>
          <a:bodyPr/>
          <a:lstStyle/>
          <a:p>
            <a:endParaRPr lang="en-US"/>
          </a:p>
        </p:txBody>
      </p:sp>
      <p:sp>
        <p:nvSpPr>
          <p:cNvPr id="89" name="Freeform 1158"/>
          <p:cNvSpPr>
            <a:spLocks/>
          </p:cNvSpPr>
          <p:nvPr/>
        </p:nvSpPr>
        <p:spPr bwMode="auto">
          <a:xfrm>
            <a:off x="3009791" y="2501543"/>
            <a:ext cx="369801" cy="268742"/>
          </a:xfrm>
          <a:custGeom>
            <a:avLst/>
            <a:gdLst>
              <a:gd name="T0" fmla="*/ 2147483647 w 783"/>
              <a:gd name="T1" fmla="*/ 2147483647 h 643"/>
              <a:gd name="T2" fmla="*/ 2147483647 w 783"/>
              <a:gd name="T3" fmla="*/ 2147483647 h 643"/>
              <a:gd name="T4" fmla="*/ 2147483647 w 783"/>
              <a:gd name="T5" fmla="*/ 2147483647 h 643"/>
              <a:gd name="T6" fmla="*/ 2147483647 w 783"/>
              <a:gd name="T7" fmla="*/ 2147483647 h 643"/>
              <a:gd name="T8" fmla="*/ 2147483647 w 783"/>
              <a:gd name="T9" fmla="*/ 2147483647 h 643"/>
              <a:gd name="T10" fmla="*/ 2147483647 w 783"/>
              <a:gd name="T11" fmla="*/ 2147483647 h 643"/>
              <a:gd name="T12" fmla="*/ 2147483647 w 783"/>
              <a:gd name="T13" fmla="*/ 2147483647 h 643"/>
              <a:gd name="T14" fmla="*/ 0 w 783"/>
              <a:gd name="T15" fmla="*/ 2147483647 h 643"/>
              <a:gd name="T16" fmla="*/ 2147483647 w 783"/>
              <a:gd name="T17" fmla="*/ 2147483647 h 643"/>
              <a:gd name="T18" fmla="*/ 2147483647 w 783"/>
              <a:gd name="T19" fmla="*/ 2147483647 h 643"/>
              <a:gd name="T20" fmla="*/ 2147483647 w 783"/>
              <a:gd name="T21" fmla="*/ 2147483647 h 643"/>
              <a:gd name="T22" fmla="*/ 2147483647 w 783"/>
              <a:gd name="T23" fmla="*/ 2147483647 h 643"/>
              <a:gd name="T24" fmla="*/ 2147483647 w 783"/>
              <a:gd name="T25" fmla="*/ 2147483647 h 643"/>
              <a:gd name="T26" fmla="*/ 2147483647 w 783"/>
              <a:gd name="T27" fmla="*/ 2147483647 h 643"/>
              <a:gd name="T28" fmla="*/ 2147483647 w 783"/>
              <a:gd name="T29" fmla="*/ 2147483647 h 643"/>
              <a:gd name="T30" fmla="*/ 2147483647 w 783"/>
              <a:gd name="T31" fmla="*/ 2147483647 h 643"/>
              <a:gd name="T32" fmla="*/ 2147483647 w 783"/>
              <a:gd name="T33" fmla="*/ 2147483647 h 643"/>
              <a:gd name="T34" fmla="*/ 2147483647 w 783"/>
              <a:gd name="T35" fmla="*/ 2147483647 h 643"/>
              <a:gd name="T36" fmla="*/ 2147483647 w 783"/>
              <a:gd name="T37" fmla="*/ 2147483647 h 643"/>
              <a:gd name="T38" fmla="*/ 2147483647 w 783"/>
              <a:gd name="T39" fmla="*/ 2147483647 h 643"/>
              <a:gd name="T40" fmla="*/ 2147483647 w 783"/>
              <a:gd name="T41" fmla="*/ 2147483647 h 643"/>
              <a:gd name="T42" fmla="*/ 2147483647 w 783"/>
              <a:gd name="T43" fmla="*/ 2147483647 h 643"/>
              <a:gd name="T44" fmla="*/ 2147483647 w 783"/>
              <a:gd name="T45" fmla="*/ 2147483647 h 643"/>
              <a:gd name="T46" fmla="*/ 2147483647 w 783"/>
              <a:gd name="T47" fmla="*/ 2147483647 h 643"/>
              <a:gd name="T48" fmla="*/ 2147483647 w 783"/>
              <a:gd name="T49" fmla="*/ 2147483647 h 643"/>
              <a:gd name="T50" fmla="*/ 2147483647 w 783"/>
              <a:gd name="T51" fmla="*/ 2147483647 h 643"/>
              <a:gd name="T52" fmla="*/ 2147483647 w 783"/>
              <a:gd name="T53" fmla="*/ 2147483647 h 643"/>
              <a:gd name="T54" fmla="*/ 2147483647 w 783"/>
              <a:gd name="T55" fmla="*/ 2147483647 h 643"/>
              <a:gd name="T56" fmla="*/ 2147483647 w 783"/>
              <a:gd name="T57" fmla="*/ 2147483647 h 643"/>
              <a:gd name="T58" fmla="*/ 2147483647 w 783"/>
              <a:gd name="T59" fmla="*/ 2147483647 h 643"/>
              <a:gd name="T60" fmla="*/ 2147483647 w 783"/>
              <a:gd name="T61" fmla="*/ 2147483647 h 643"/>
              <a:gd name="T62" fmla="*/ 2147483647 w 783"/>
              <a:gd name="T63" fmla="*/ 2147483647 h 643"/>
              <a:gd name="T64" fmla="*/ 2147483647 w 783"/>
              <a:gd name="T65" fmla="*/ 2147483647 h 643"/>
              <a:gd name="T66" fmla="*/ 2147483647 w 783"/>
              <a:gd name="T67" fmla="*/ 2147483647 h 643"/>
              <a:gd name="T68" fmla="*/ 2147483647 w 783"/>
              <a:gd name="T69" fmla="*/ 2147483647 h 643"/>
              <a:gd name="T70" fmla="*/ 2147483647 w 783"/>
              <a:gd name="T71" fmla="*/ 2147483647 h 643"/>
              <a:gd name="T72" fmla="*/ 2147483647 w 783"/>
              <a:gd name="T73" fmla="*/ 2147483647 h 643"/>
              <a:gd name="T74" fmla="*/ 2147483647 w 783"/>
              <a:gd name="T75" fmla="*/ 2147483647 h 643"/>
              <a:gd name="T76" fmla="*/ 2147483647 w 783"/>
              <a:gd name="T77" fmla="*/ 2147483647 h 643"/>
              <a:gd name="T78" fmla="*/ 2147483647 w 783"/>
              <a:gd name="T79" fmla="*/ 2147483647 h 643"/>
              <a:gd name="T80" fmla="*/ 2147483647 w 783"/>
              <a:gd name="T81" fmla="*/ 2147483647 h 643"/>
              <a:gd name="T82" fmla="*/ 2147483647 w 783"/>
              <a:gd name="T83" fmla="*/ 2147483647 h 643"/>
              <a:gd name="T84" fmla="*/ 2147483647 w 783"/>
              <a:gd name="T85" fmla="*/ 2147483647 h 643"/>
              <a:gd name="T86" fmla="*/ 2147483647 w 783"/>
              <a:gd name="T87" fmla="*/ 2147483647 h 6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3"/>
              <a:gd name="T133" fmla="*/ 0 h 643"/>
              <a:gd name="T134" fmla="*/ 783 w 783"/>
              <a:gd name="T135" fmla="*/ 643 h 6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3" h="643">
                <a:moveTo>
                  <a:pt x="179" y="547"/>
                </a:moveTo>
                <a:lnTo>
                  <a:pt x="135" y="546"/>
                </a:lnTo>
                <a:lnTo>
                  <a:pt x="106" y="526"/>
                </a:lnTo>
                <a:lnTo>
                  <a:pt x="92" y="511"/>
                </a:lnTo>
                <a:lnTo>
                  <a:pt x="71" y="457"/>
                </a:lnTo>
                <a:lnTo>
                  <a:pt x="198" y="417"/>
                </a:lnTo>
                <a:lnTo>
                  <a:pt x="279" y="428"/>
                </a:lnTo>
                <a:lnTo>
                  <a:pt x="288" y="419"/>
                </a:lnTo>
                <a:lnTo>
                  <a:pt x="285" y="409"/>
                </a:lnTo>
                <a:lnTo>
                  <a:pt x="220" y="372"/>
                </a:lnTo>
                <a:lnTo>
                  <a:pt x="152" y="391"/>
                </a:lnTo>
                <a:lnTo>
                  <a:pt x="122" y="378"/>
                </a:lnTo>
                <a:lnTo>
                  <a:pt x="63" y="379"/>
                </a:lnTo>
                <a:lnTo>
                  <a:pt x="32" y="328"/>
                </a:lnTo>
                <a:lnTo>
                  <a:pt x="63" y="304"/>
                </a:lnTo>
                <a:lnTo>
                  <a:pt x="105" y="295"/>
                </a:lnTo>
                <a:lnTo>
                  <a:pt x="139" y="285"/>
                </a:lnTo>
                <a:lnTo>
                  <a:pt x="127" y="277"/>
                </a:lnTo>
                <a:lnTo>
                  <a:pt x="39" y="284"/>
                </a:lnTo>
                <a:lnTo>
                  <a:pt x="33" y="272"/>
                </a:lnTo>
                <a:lnTo>
                  <a:pt x="52" y="261"/>
                </a:lnTo>
                <a:lnTo>
                  <a:pt x="51" y="244"/>
                </a:lnTo>
                <a:lnTo>
                  <a:pt x="5" y="247"/>
                </a:lnTo>
                <a:lnTo>
                  <a:pt x="0" y="214"/>
                </a:lnTo>
                <a:lnTo>
                  <a:pt x="24" y="170"/>
                </a:lnTo>
                <a:lnTo>
                  <a:pt x="40" y="164"/>
                </a:lnTo>
                <a:lnTo>
                  <a:pt x="36" y="149"/>
                </a:lnTo>
                <a:lnTo>
                  <a:pt x="24" y="143"/>
                </a:lnTo>
                <a:lnTo>
                  <a:pt x="27" y="118"/>
                </a:lnTo>
                <a:lnTo>
                  <a:pt x="35" y="107"/>
                </a:lnTo>
                <a:lnTo>
                  <a:pt x="114" y="35"/>
                </a:lnTo>
                <a:lnTo>
                  <a:pt x="186" y="0"/>
                </a:lnTo>
                <a:lnTo>
                  <a:pt x="204" y="11"/>
                </a:lnTo>
                <a:lnTo>
                  <a:pt x="213" y="56"/>
                </a:lnTo>
                <a:lnTo>
                  <a:pt x="212" y="74"/>
                </a:lnTo>
                <a:lnTo>
                  <a:pt x="186" y="104"/>
                </a:lnTo>
                <a:lnTo>
                  <a:pt x="189" y="114"/>
                </a:lnTo>
                <a:lnTo>
                  <a:pt x="230" y="100"/>
                </a:lnTo>
                <a:lnTo>
                  <a:pt x="234" y="89"/>
                </a:lnTo>
                <a:lnTo>
                  <a:pt x="229" y="77"/>
                </a:lnTo>
                <a:lnTo>
                  <a:pt x="234" y="65"/>
                </a:lnTo>
                <a:lnTo>
                  <a:pt x="257" y="49"/>
                </a:lnTo>
                <a:lnTo>
                  <a:pt x="332" y="100"/>
                </a:lnTo>
                <a:lnTo>
                  <a:pt x="333" y="113"/>
                </a:lnTo>
                <a:lnTo>
                  <a:pt x="303" y="151"/>
                </a:lnTo>
                <a:lnTo>
                  <a:pt x="333" y="130"/>
                </a:lnTo>
                <a:lnTo>
                  <a:pt x="329" y="147"/>
                </a:lnTo>
                <a:lnTo>
                  <a:pt x="338" y="150"/>
                </a:lnTo>
                <a:lnTo>
                  <a:pt x="354" y="116"/>
                </a:lnTo>
                <a:lnTo>
                  <a:pt x="379" y="128"/>
                </a:lnTo>
                <a:lnTo>
                  <a:pt x="377" y="113"/>
                </a:lnTo>
                <a:lnTo>
                  <a:pt x="390" y="116"/>
                </a:lnTo>
                <a:lnTo>
                  <a:pt x="378" y="97"/>
                </a:lnTo>
                <a:lnTo>
                  <a:pt x="393" y="97"/>
                </a:lnTo>
                <a:lnTo>
                  <a:pt x="366" y="53"/>
                </a:lnTo>
                <a:lnTo>
                  <a:pt x="406" y="68"/>
                </a:lnTo>
                <a:lnTo>
                  <a:pt x="444" y="121"/>
                </a:lnTo>
                <a:lnTo>
                  <a:pt x="443" y="146"/>
                </a:lnTo>
                <a:lnTo>
                  <a:pt x="451" y="190"/>
                </a:lnTo>
                <a:lnTo>
                  <a:pt x="463" y="202"/>
                </a:lnTo>
                <a:lnTo>
                  <a:pt x="457" y="214"/>
                </a:lnTo>
                <a:lnTo>
                  <a:pt x="458" y="232"/>
                </a:lnTo>
                <a:lnTo>
                  <a:pt x="470" y="244"/>
                </a:lnTo>
                <a:lnTo>
                  <a:pt x="484" y="233"/>
                </a:lnTo>
                <a:lnTo>
                  <a:pt x="500" y="208"/>
                </a:lnTo>
                <a:lnTo>
                  <a:pt x="491" y="194"/>
                </a:lnTo>
                <a:lnTo>
                  <a:pt x="483" y="159"/>
                </a:lnTo>
                <a:lnTo>
                  <a:pt x="484" y="130"/>
                </a:lnTo>
                <a:lnTo>
                  <a:pt x="465" y="48"/>
                </a:lnTo>
                <a:lnTo>
                  <a:pt x="470" y="39"/>
                </a:lnTo>
                <a:lnTo>
                  <a:pt x="463" y="30"/>
                </a:lnTo>
                <a:lnTo>
                  <a:pt x="476" y="21"/>
                </a:lnTo>
                <a:lnTo>
                  <a:pt x="468" y="7"/>
                </a:lnTo>
                <a:lnTo>
                  <a:pt x="494" y="8"/>
                </a:lnTo>
                <a:lnTo>
                  <a:pt x="521" y="31"/>
                </a:lnTo>
                <a:lnTo>
                  <a:pt x="524" y="24"/>
                </a:lnTo>
                <a:lnTo>
                  <a:pt x="518" y="13"/>
                </a:lnTo>
                <a:lnTo>
                  <a:pt x="530" y="15"/>
                </a:lnTo>
                <a:lnTo>
                  <a:pt x="588" y="81"/>
                </a:lnTo>
                <a:lnTo>
                  <a:pt x="584" y="96"/>
                </a:lnTo>
                <a:lnTo>
                  <a:pt x="593" y="110"/>
                </a:lnTo>
                <a:lnTo>
                  <a:pt x="602" y="193"/>
                </a:lnTo>
                <a:lnTo>
                  <a:pt x="630" y="253"/>
                </a:lnTo>
                <a:lnTo>
                  <a:pt x="631" y="279"/>
                </a:lnTo>
                <a:lnTo>
                  <a:pt x="624" y="282"/>
                </a:lnTo>
                <a:lnTo>
                  <a:pt x="622" y="311"/>
                </a:lnTo>
                <a:lnTo>
                  <a:pt x="625" y="321"/>
                </a:lnTo>
                <a:lnTo>
                  <a:pt x="674" y="379"/>
                </a:lnTo>
                <a:lnTo>
                  <a:pt x="701" y="377"/>
                </a:lnTo>
                <a:lnTo>
                  <a:pt x="734" y="417"/>
                </a:lnTo>
                <a:lnTo>
                  <a:pt x="751" y="421"/>
                </a:lnTo>
                <a:lnTo>
                  <a:pt x="755" y="440"/>
                </a:lnTo>
                <a:lnTo>
                  <a:pt x="780" y="440"/>
                </a:lnTo>
                <a:lnTo>
                  <a:pt x="783" y="458"/>
                </a:lnTo>
                <a:lnTo>
                  <a:pt x="778" y="499"/>
                </a:lnTo>
                <a:lnTo>
                  <a:pt x="765" y="499"/>
                </a:lnTo>
                <a:lnTo>
                  <a:pt x="758" y="484"/>
                </a:lnTo>
                <a:lnTo>
                  <a:pt x="758" y="466"/>
                </a:lnTo>
                <a:lnTo>
                  <a:pt x="751" y="499"/>
                </a:lnTo>
                <a:lnTo>
                  <a:pt x="740" y="497"/>
                </a:lnTo>
                <a:lnTo>
                  <a:pt x="732" y="468"/>
                </a:lnTo>
                <a:lnTo>
                  <a:pt x="707" y="491"/>
                </a:lnTo>
                <a:lnTo>
                  <a:pt x="712" y="515"/>
                </a:lnTo>
                <a:lnTo>
                  <a:pt x="685" y="513"/>
                </a:lnTo>
                <a:lnTo>
                  <a:pt x="688" y="549"/>
                </a:lnTo>
                <a:lnTo>
                  <a:pt x="709" y="521"/>
                </a:lnTo>
                <a:lnTo>
                  <a:pt x="728" y="520"/>
                </a:lnTo>
                <a:lnTo>
                  <a:pt x="737" y="526"/>
                </a:lnTo>
                <a:lnTo>
                  <a:pt x="725" y="544"/>
                </a:lnTo>
                <a:lnTo>
                  <a:pt x="727" y="558"/>
                </a:lnTo>
                <a:lnTo>
                  <a:pt x="733" y="549"/>
                </a:lnTo>
                <a:lnTo>
                  <a:pt x="753" y="564"/>
                </a:lnTo>
                <a:lnTo>
                  <a:pt x="740" y="584"/>
                </a:lnTo>
                <a:lnTo>
                  <a:pt x="701" y="594"/>
                </a:lnTo>
                <a:lnTo>
                  <a:pt x="693" y="607"/>
                </a:lnTo>
                <a:lnTo>
                  <a:pt x="594" y="588"/>
                </a:lnTo>
                <a:lnTo>
                  <a:pt x="606" y="569"/>
                </a:lnTo>
                <a:lnTo>
                  <a:pt x="546" y="558"/>
                </a:lnTo>
                <a:lnTo>
                  <a:pt x="546" y="531"/>
                </a:lnTo>
                <a:lnTo>
                  <a:pt x="534" y="520"/>
                </a:lnTo>
                <a:lnTo>
                  <a:pt x="516" y="537"/>
                </a:lnTo>
                <a:lnTo>
                  <a:pt x="521" y="556"/>
                </a:lnTo>
                <a:lnTo>
                  <a:pt x="501" y="582"/>
                </a:lnTo>
                <a:lnTo>
                  <a:pt x="451" y="591"/>
                </a:lnTo>
                <a:lnTo>
                  <a:pt x="443" y="604"/>
                </a:lnTo>
                <a:lnTo>
                  <a:pt x="408" y="624"/>
                </a:lnTo>
                <a:lnTo>
                  <a:pt x="249" y="643"/>
                </a:lnTo>
                <a:lnTo>
                  <a:pt x="259" y="634"/>
                </a:lnTo>
                <a:lnTo>
                  <a:pt x="238" y="614"/>
                </a:lnTo>
                <a:lnTo>
                  <a:pt x="231" y="595"/>
                </a:lnTo>
                <a:lnTo>
                  <a:pt x="234" y="572"/>
                </a:lnTo>
                <a:lnTo>
                  <a:pt x="216" y="550"/>
                </a:lnTo>
                <a:lnTo>
                  <a:pt x="179" y="547"/>
                </a:lnTo>
                <a:close/>
              </a:path>
            </a:pathLst>
          </a:custGeom>
          <a:solidFill>
            <a:schemeClr val="accent1"/>
          </a:solidFill>
          <a:ln w="6350">
            <a:solidFill>
              <a:schemeClr val="tx2"/>
            </a:solidFill>
            <a:round/>
            <a:headEnd/>
            <a:tailEnd/>
          </a:ln>
        </p:spPr>
        <p:txBody>
          <a:bodyPr/>
          <a:lstStyle/>
          <a:p>
            <a:endParaRPr lang="en-US"/>
          </a:p>
        </p:txBody>
      </p:sp>
      <p:sp>
        <p:nvSpPr>
          <p:cNvPr id="90" name="Freeform 1159"/>
          <p:cNvSpPr>
            <a:spLocks/>
          </p:cNvSpPr>
          <p:nvPr/>
        </p:nvSpPr>
        <p:spPr bwMode="auto">
          <a:xfrm>
            <a:off x="3253459" y="2478618"/>
            <a:ext cx="48734" cy="52219"/>
          </a:xfrm>
          <a:custGeom>
            <a:avLst/>
            <a:gdLst>
              <a:gd name="T0" fmla="*/ 2147483647 w 108"/>
              <a:gd name="T1" fmla="*/ 2147483647 h 126"/>
              <a:gd name="T2" fmla="*/ 2147483647 w 108"/>
              <a:gd name="T3" fmla="*/ 2147483647 h 126"/>
              <a:gd name="T4" fmla="*/ 2147483647 w 108"/>
              <a:gd name="T5" fmla="*/ 2147483647 h 126"/>
              <a:gd name="T6" fmla="*/ 2147483647 w 108"/>
              <a:gd name="T7" fmla="*/ 0 h 126"/>
              <a:gd name="T8" fmla="*/ 0 w 108"/>
              <a:gd name="T9" fmla="*/ 2147483647 h 126"/>
              <a:gd name="T10" fmla="*/ 2147483647 w 108"/>
              <a:gd name="T11" fmla="*/ 2147483647 h 126"/>
              <a:gd name="T12" fmla="*/ 2147483647 w 108"/>
              <a:gd name="T13" fmla="*/ 2147483647 h 126"/>
              <a:gd name="T14" fmla="*/ 2147483647 w 108"/>
              <a:gd name="T15" fmla="*/ 2147483647 h 126"/>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26"/>
              <a:gd name="T26" fmla="*/ 108 w 108"/>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26">
                <a:moveTo>
                  <a:pt x="90" y="96"/>
                </a:moveTo>
                <a:lnTo>
                  <a:pt x="108" y="25"/>
                </a:lnTo>
                <a:lnTo>
                  <a:pt x="95" y="7"/>
                </a:lnTo>
                <a:lnTo>
                  <a:pt x="27" y="0"/>
                </a:lnTo>
                <a:lnTo>
                  <a:pt x="0" y="40"/>
                </a:lnTo>
                <a:lnTo>
                  <a:pt x="35" y="67"/>
                </a:lnTo>
                <a:lnTo>
                  <a:pt x="74" y="126"/>
                </a:lnTo>
                <a:lnTo>
                  <a:pt x="90" y="96"/>
                </a:lnTo>
                <a:close/>
              </a:path>
            </a:pathLst>
          </a:custGeom>
          <a:solidFill>
            <a:schemeClr val="accent1"/>
          </a:solidFill>
          <a:ln w="6350">
            <a:solidFill>
              <a:schemeClr val="tx2"/>
            </a:solidFill>
            <a:round/>
            <a:headEnd/>
            <a:tailEnd/>
          </a:ln>
        </p:spPr>
        <p:txBody>
          <a:bodyPr/>
          <a:lstStyle/>
          <a:p>
            <a:endParaRPr lang="en-US"/>
          </a:p>
        </p:txBody>
      </p:sp>
      <p:sp>
        <p:nvSpPr>
          <p:cNvPr id="91" name="Freeform 1160"/>
          <p:cNvSpPr>
            <a:spLocks/>
          </p:cNvSpPr>
          <p:nvPr/>
        </p:nvSpPr>
        <p:spPr bwMode="auto">
          <a:xfrm>
            <a:off x="3345192" y="2467155"/>
            <a:ext cx="123267" cy="159208"/>
          </a:xfrm>
          <a:custGeom>
            <a:avLst/>
            <a:gdLst>
              <a:gd name="T0" fmla="*/ 2147483647 w 260"/>
              <a:gd name="T1" fmla="*/ 2147483647 h 379"/>
              <a:gd name="T2" fmla="*/ 2147483647 w 260"/>
              <a:gd name="T3" fmla="*/ 2147483647 h 379"/>
              <a:gd name="T4" fmla="*/ 2147483647 w 260"/>
              <a:gd name="T5" fmla="*/ 2147483647 h 379"/>
              <a:gd name="T6" fmla="*/ 2147483647 w 260"/>
              <a:gd name="T7" fmla="*/ 2147483647 h 379"/>
              <a:gd name="T8" fmla="*/ 2147483647 w 260"/>
              <a:gd name="T9" fmla="*/ 2147483647 h 379"/>
              <a:gd name="T10" fmla="*/ 2147483647 w 260"/>
              <a:gd name="T11" fmla="*/ 2147483647 h 379"/>
              <a:gd name="T12" fmla="*/ 0 w 260"/>
              <a:gd name="T13" fmla="*/ 2147483647 h 379"/>
              <a:gd name="T14" fmla="*/ 2147483647 w 260"/>
              <a:gd name="T15" fmla="*/ 2147483647 h 379"/>
              <a:gd name="T16" fmla="*/ 2147483647 w 260"/>
              <a:gd name="T17" fmla="*/ 2147483647 h 379"/>
              <a:gd name="T18" fmla="*/ 2147483647 w 260"/>
              <a:gd name="T19" fmla="*/ 2147483647 h 379"/>
              <a:gd name="T20" fmla="*/ 2147483647 w 260"/>
              <a:gd name="T21" fmla="*/ 2147483647 h 379"/>
              <a:gd name="T22" fmla="*/ 2147483647 w 260"/>
              <a:gd name="T23" fmla="*/ 2147483647 h 379"/>
              <a:gd name="T24" fmla="*/ 2147483647 w 260"/>
              <a:gd name="T25" fmla="*/ 2147483647 h 379"/>
              <a:gd name="T26" fmla="*/ 2147483647 w 260"/>
              <a:gd name="T27" fmla="*/ 2147483647 h 379"/>
              <a:gd name="T28" fmla="*/ 2147483647 w 260"/>
              <a:gd name="T29" fmla="*/ 2147483647 h 379"/>
              <a:gd name="T30" fmla="*/ 2147483647 w 260"/>
              <a:gd name="T31" fmla="*/ 2147483647 h 379"/>
              <a:gd name="T32" fmla="*/ 2147483647 w 260"/>
              <a:gd name="T33" fmla="*/ 2147483647 h 379"/>
              <a:gd name="T34" fmla="*/ 2147483647 w 260"/>
              <a:gd name="T35" fmla="*/ 2147483647 h 379"/>
              <a:gd name="T36" fmla="*/ 2147483647 w 260"/>
              <a:gd name="T37" fmla="*/ 2147483647 h 379"/>
              <a:gd name="T38" fmla="*/ 2147483647 w 260"/>
              <a:gd name="T39" fmla="*/ 2147483647 h 379"/>
              <a:gd name="T40" fmla="*/ 2147483647 w 260"/>
              <a:gd name="T41" fmla="*/ 2147483647 h 379"/>
              <a:gd name="T42" fmla="*/ 2147483647 w 260"/>
              <a:gd name="T43" fmla="*/ 2147483647 h 379"/>
              <a:gd name="T44" fmla="*/ 2147483647 w 260"/>
              <a:gd name="T45" fmla="*/ 2147483647 h 379"/>
              <a:gd name="T46" fmla="*/ 2147483647 w 260"/>
              <a:gd name="T47" fmla="*/ 2147483647 h 379"/>
              <a:gd name="T48" fmla="*/ 2147483647 w 260"/>
              <a:gd name="T49" fmla="*/ 2147483647 h 379"/>
              <a:gd name="T50" fmla="*/ 2147483647 w 260"/>
              <a:gd name="T51" fmla="*/ 2147483647 h 379"/>
              <a:gd name="T52" fmla="*/ 2147483647 w 260"/>
              <a:gd name="T53" fmla="*/ 2147483647 h 379"/>
              <a:gd name="T54" fmla="*/ 2147483647 w 260"/>
              <a:gd name="T55" fmla="*/ 2147483647 h 379"/>
              <a:gd name="T56" fmla="*/ 2147483647 w 260"/>
              <a:gd name="T57" fmla="*/ 2147483647 h 379"/>
              <a:gd name="T58" fmla="*/ 2147483647 w 260"/>
              <a:gd name="T59" fmla="*/ 2147483647 h 379"/>
              <a:gd name="T60" fmla="*/ 2147483647 w 260"/>
              <a:gd name="T61" fmla="*/ 2147483647 h 379"/>
              <a:gd name="T62" fmla="*/ 2147483647 w 260"/>
              <a:gd name="T63" fmla="*/ 2147483647 h 379"/>
              <a:gd name="T64" fmla="*/ 2147483647 w 260"/>
              <a:gd name="T65" fmla="*/ 0 h 379"/>
              <a:gd name="T66" fmla="*/ 2147483647 w 260"/>
              <a:gd name="T67" fmla="*/ 2147483647 h 379"/>
              <a:gd name="T68" fmla="*/ 2147483647 w 260"/>
              <a:gd name="T69" fmla="*/ 2147483647 h 379"/>
              <a:gd name="T70" fmla="*/ 2147483647 w 260"/>
              <a:gd name="T71" fmla="*/ 2147483647 h 379"/>
              <a:gd name="T72" fmla="*/ 2147483647 w 260"/>
              <a:gd name="T73" fmla="*/ 2147483647 h 379"/>
              <a:gd name="T74" fmla="*/ 2147483647 w 260"/>
              <a:gd name="T75" fmla="*/ 2147483647 h 379"/>
              <a:gd name="T76" fmla="*/ 2147483647 w 260"/>
              <a:gd name="T77" fmla="*/ 2147483647 h 379"/>
              <a:gd name="T78" fmla="*/ 2147483647 w 260"/>
              <a:gd name="T79" fmla="*/ 2147483647 h 379"/>
              <a:gd name="T80" fmla="*/ 2147483647 w 260"/>
              <a:gd name="T81" fmla="*/ 2147483647 h 379"/>
              <a:gd name="T82" fmla="*/ 2147483647 w 260"/>
              <a:gd name="T83" fmla="*/ 2147483647 h 379"/>
              <a:gd name="T84" fmla="*/ 2147483647 w 260"/>
              <a:gd name="T85" fmla="*/ 2147483647 h 379"/>
              <a:gd name="T86" fmla="*/ 2147483647 w 260"/>
              <a:gd name="T87" fmla="*/ 2147483647 h 379"/>
              <a:gd name="T88" fmla="*/ 2147483647 w 260"/>
              <a:gd name="T89" fmla="*/ 2147483647 h 379"/>
              <a:gd name="T90" fmla="*/ 2147483647 w 260"/>
              <a:gd name="T91" fmla="*/ 2147483647 h 379"/>
              <a:gd name="T92" fmla="*/ 2147483647 w 260"/>
              <a:gd name="T93" fmla="*/ 2147483647 h 379"/>
              <a:gd name="T94" fmla="*/ 2147483647 w 260"/>
              <a:gd name="T95" fmla="*/ 2147483647 h 379"/>
              <a:gd name="T96" fmla="*/ 2147483647 w 260"/>
              <a:gd name="T97" fmla="*/ 2147483647 h 379"/>
              <a:gd name="T98" fmla="*/ 2147483647 w 260"/>
              <a:gd name="T99" fmla="*/ 2147483647 h 379"/>
              <a:gd name="T100" fmla="*/ 2147483647 w 260"/>
              <a:gd name="T101" fmla="*/ 2147483647 h 379"/>
              <a:gd name="T102" fmla="*/ 2147483647 w 260"/>
              <a:gd name="T103" fmla="*/ 2147483647 h 379"/>
              <a:gd name="T104" fmla="*/ 2147483647 w 260"/>
              <a:gd name="T105" fmla="*/ 2147483647 h 379"/>
              <a:gd name="T106" fmla="*/ 2147483647 w 260"/>
              <a:gd name="T107" fmla="*/ 2147483647 h 379"/>
              <a:gd name="T108" fmla="*/ 2147483647 w 260"/>
              <a:gd name="T109" fmla="*/ 2147483647 h 379"/>
              <a:gd name="T110" fmla="*/ 2147483647 w 260"/>
              <a:gd name="T111" fmla="*/ 2147483647 h 379"/>
              <a:gd name="T112" fmla="*/ 2147483647 w 260"/>
              <a:gd name="T113" fmla="*/ 2147483647 h 379"/>
              <a:gd name="T114" fmla="*/ 2147483647 w 260"/>
              <a:gd name="T115" fmla="*/ 2147483647 h 379"/>
              <a:gd name="T116" fmla="*/ 2147483647 w 260"/>
              <a:gd name="T117" fmla="*/ 2147483647 h 3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0"/>
              <a:gd name="T178" fmla="*/ 0 h 379"/>
              <a:gd name="T179" fmla="*/ 260 w 260"/>
              <a:gd name="T180" fmla="*/ 379 h 3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0" h="379">
                <a:moveTo>
                  <a:pt x="107" y="294"/>
                </a:moveTo>
                <a:lnTo>
                  <a:pt x="91" y="263"/>
                </a:lnTo>
                <a:lnTo>
                  <a:pt x="77" y="267"/>
                </a:lnTo>
                <a:lnTo>
                  <a:pt x="69" y="248"/>
                </a:lnTo>
                <a:lnTo>
                  <a:pt x="42" y="252"/>
                </a:lnTo>
                <a:lnTo>
                  <a:pt x="1" y="192"/>
                </a:lnTo>
                <a:lnTo>
                  <a:pt x="0" y="177"/>
                </a:lnTo>
                <a:lnTo>
                  <a:pt x="5" y="148"/>
                </a:lnTo>
                <a:lnTo>
                  <a:pt x="21" y="140"/>
                </a:lnTo>
                <a:lnTo>
                  <a:pt x="49" y="170"/>
                </a:lnTo>
                <a:lnTo>
                  <a:pt x="55" y="191"/>
                </a:lnTo>
                <a:lnTo>
                  <a:pt x="97" y="174"/>
                </a:lnTo>
                <a:lnTo>
                  <a:pt x="91" y="154"/>
                </a:lnTo>
                <a:lnTo>
                  <a:pt x="100" y="162"/>
                </a:lnTo>
                <a:lnTo>
                  <a:pt x="104" y="149"/>
                </a:lnTo>
                <a:lnTo>
                  <a:pt x="87" y="132"/>
                </a:lnTo>
                <a:lnTo>
                  <a:pt x="86" y="112"/>
                </a:lnTo>
                <a:lnTo>
                  <a:pt x="109" y="114"/>
                </a:lnTo>
                <a:lnTo>
                  <a:pt x="92" y="89"/>
                </a:lnTo>
                <a:lnTo>
                  <a:pt x="81" y="103"/>
                </a:lnTo>
                <a:lnTo>
                  <a:pt x="60" y="96"/>
                </a:lnTo>
                <a:lnTo>
                  <a:pt x="46" y="69"/>
                </a:lnTo>
                <a:lnTo>
                  <a:pt x="63" y="61"/>
                </a:lnTo>
                <a:lnTo>
                  <a:pt x="78" y="77"/>
                </a:lnTo>
                <a:lnTo>
                  <a:pt x="77" y="55"/>
                </a:lnTo>
                <a:lnTo>
                  <a:pt x="52" y="36"/>
                </a:lnTo>
                <a:lnTo>
                  <a:pt x="75" y="17"/>
                </a:lnTo>
                <a:lnTo>
                  <a:pt x="97" y="30"/>
                </a:lnTo>
                <a:lnTo>
                  <a:pt x="98" y="20"/>
                </a:lnTo>
                <a:lnTo>
                  <a:pt x="85" y="10"/>
                </a:lnTo>
                <a:lnTo>
                  <a:pt x="93" y="3"/>
                </a:lnTo>
                <a:lnTo>
                  <a:pt x="151" y="29"/>
                </a:lnTo>
                <a:lnTo>
                  <a:pt x="215" y="0"/>
                </a:lnTo>
                <a:lnTo>
                  <a:pt x="231" y="22"/>
                </a:lnTo>
                <a:lnTo>
                  <a:pt x="229" y="40"/>
                </a:lnTo>
                <a:lnTo>
                  <a:pt x="206" y="61"/>
                </a:lnTo>
                <a:lnTo>
                  <a:pt x="220" y="67"/>
                </a:lnTo>
                <a:lnTo>
                  <a:pt x="221" y="88"/>
                </a:lnTo>
                <a:lnTo>
                  <a:pt x="197" y="102"/>
                </a:lnTo>
                <a:lnTo>
                  <a:pt x="173" y="134"/>
                </a:lnTo>
                <a:lnTo>
                  <a:pt x="172" y="153"/>
                </a:lnTo>
                <a:lnTo>
                  <a:pt x="208" y="135"/>
                </a:lnTo>
                <a:lnTo>
                  <a:pt x="229" y="174"/>
                </a:lnTo>
                <a:lnTo>
                  <a:pt x="227" y="194"/>
                </a:lnTo>
                <a:lnTo>
                  <a:pt x="247" y="174"/>
                </a:lnTo>
                <a:lnTo>
                  <a:pt x="260" y="214"/>
                </a:lnTo>
                <a:lnTo>
                  <a:pt x="246" y="235"/>
                </a:lnTo>
                <a:lnTo>
                  <a:pt x="254" y="264"/>
                </a:lnTo>
                <a:lnTo>
                  <a:pt x="247" y="277"/>
                </a:lnTo>
                <a:lnTo>
                  <a:pt x="254" y="281"/>
                </a:lnTo>
                <a:lnTo>
                  <a:pt x="256" y="302"/>
                </a:lnTo>
                <a:lnTo>
                  <a:pt x="219" y="336"/>
                </a:lnTo>
                <a:lnTo>
                  <a:pt x="186" y="331"/>
                </a:lnTo>
                <a:lnTo>
                  <a:pt x="195" y="357"/>
                </a:lnTo>
                <a:lnTo>
                  <a:pt x="173" y="379"/>
                </a:lnTo>
                <a:lnTo>
                  <a:pt x="161" y="365"/>
                </a:lnTo>
                <a:lnTo>
                  <a:pt x="146" y="371"/>
                </a:lnTo>
                <a:lnTo>
                  <a:pt x="131" y="318"/>
                </a:lnTo>
                <a:lnTo>
                  <a:pt x="107" y="294"/>
                </a:lnTo>
                <a:close/>
              </a:path>
            </a:pathLst>
          </a:custGeom>
          <a:solidFill>
            <a:schemeClr val="accent1"/>
          </a:solidFill>
          <a:ln w="6350">
            <a:solidFill>
              <a:schemeClr val="tx2"/>
            </a:solidFill>
            <a:round/>
            <a:headEnd/>
            <a:tailEnd/>
          </a:ln>
        </p:spPr>
        <p:txBody>
          <a:bodyPr/>
          <a:lstStyle/>
          <a:p>
            <a:endParaRPr lang="en-US"/>
          </a:p>
        </p:txBody>
      </p:sp>
      <p:sp>
        <p:nvSpPr>
          <p:cNvPr id="92" name="Freeform 1161"/>
          <p:cNvSpPr>
            <a:spLocks/>
          </p:cNvSpPr>
          <p:nvPr/>
        </p:nvSpPr>
        <p:spPr bwMode="auto">
          <a:xfrm>
            <a:off x="3451259" y="2515553"/>
            <a:ext cx="14334" cy="15284"/>
          </a:xfrm>
          <a:custGeom>
            <a:avLst/>
            <a:gdLst>
              <a:gd name="T0" fmla="*/ 2147483647 w 27"/>
              <a:gd name="T1" fmla="*/ 2147483647 h 39"/>
              <a:gd name="T2" fmla="*/ 2147483647 w 27"/>
              <a:gd name="T3" fmla="*/ 2147483647 h 39"/>
              <a:gd name="T4" fmla="*/ 2147483647 w 27"/>
              <a:gd name="T5" fmla="*/ 0 h 39"/>
              <a:gd name="T6" fmla="*/ 0 w 27"/>
              <a:gd name="T7" fmla="*/ 2147483647 h 39"/>
              <a:gd name="T8" fmla="*/ 2147483647 w 27"/>
              <a:gd name="T9" fmla="*/ 2147483647 h 39"/>
              <a:gd name="T10" fmla="*/ 2147483647 w 27"/>
              <a:gd name="T11" fmla="*/ 2147483647 h 39"/>
              <a:gd name="T12" fmla="*/ 0 60000 65536"/>
              <a:gd name="T13" fmla="*/ 0 60000 65536"/>
              <a:gd name="T14" fmla="*/ 0 60000 65536"/>
              <a:gd name="T15" fmla="*/ 0 60000 65536"/>
              <a:gd name="T16" fmla="*/ 0 60000 65536"/>
              <a:gd name="T17" fmla="*/ 0 60000 65536"/>
              <a:gd name="T18" fmla="*/ 0 w 27"/>
              <a:gd name="T19" fmla="*/ 0 h 39"/>
              <a:gd name="T20" fmla="*/ 27 w 27"/>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7" h="39">
                <a:moveTo>
                  <a:pt x="23" y="25"/>
                </a:moveTo>
                <a:lnTo>
                  <a:pt x="27" y="15"/>
                </a:lnTo>
                <a:lnTo>
                  <a:pt x="18" y="0"/>
                </a:lnTo>
                <a:lnTo>
                  <a:pt x="0" y="11"/>
                </a:lnTo>
                <a:lnTo>
                  <a:pt x="8" y="39"/>
                </a:lnTo>
                <a:lnTo>
                  <a:pt x="23" y="25"/>
                </a:lnTo>
                <a:close/>
              </a:path>
            </a:pathLst>
          </a:custGeom>
          <a:solidFill>
            <a:schemeClr val="accent1"/>
          </a:solidFill>
          <a:ln w="6350">
            <a:solidFill>
              <a:schemeClr val="tx2"/>
            </a:solidFill>
            <a:round/>
            <a:headEnd/>
            <a:tailEnd/>
          </a:ln>
        </p:spPr>
        <p:txBody>
          <a:bodyPr/>
          <a:lstStyle/>
          <a:p>
            <a:endParaRPr lang="en-US"/>
          </a:p>
        </p:txBody>
      </p:sp>
      <p:sp>
        <p:nvSpPr>
          <p:cNvPr id="93" name="Freeform 1162"/>
          <p:cNvSpPr>
            <a:spLocks/>
          </p:cNvSpPr>
          <p:nvPr/>
        </p:nvSpPr>
        <p:spPr bwMode="auto">
          <a:xfrm>
            <a:off x="3406826" y="2455693"/>
            <a:ext cx="32967" cy="17831"/>
          </a:xfrm>
          <a:custGeom>
            <a:avLst/>
            <a:gdLst>
              <a:gd name="T0" fmla="*/ 2147483647 w 68"/>
              <a:gd name="T1" fmla="*/ 2147483647 h 43"/>
              <a:gd name="T2" fmla="*/ 2147483647 w 68"/>
              <a:gd name="T3" fmla="*/ 2147483647 h 43"/>
              <a:gd name="T4" fmla="*/ 2147483647 w 68"/>
              <a:gd name="T5" fmla="*/ 0 h 43"/>
              <a:gd name="T6" fmla="*/ 0 w 68"/>
              <a:gd name="T7" fmla="*/ 2147483647 h 43"/>
              <a:gd name="T8" fmla="*/ 2147483647 w 68"/>
              <a:gd name="T9" fmla="*/ 2147483647 h 43"/>
              <a:gd name="T10" fmla="*/ 0 60000 65536"/>
              <a:gd name="T11" fmla="*/ 0 60000 65536"/>
              <a:gd name="T12" fmla="*/ 0 60000 65536"/>
              <a:gd name="T13" fmla="*/ 0 60000 65536"/>
              <a:gd name="T14" fmla="*/ 0 60000 65536"/>
              <a:gd name="T15" fmla="*/ 0 w 68"/>
              <a:gd name="T16" fmla="*/ 0 h 43"/>
              <a:gd name="T17" fmla="*/ 68 w 68"/>
              <a:gd name="T18" fmla="*/ 43 h 43"/>
            </a:gdLst>
            <a:ahLst/>
            <a:cxnLst>
              <a:cxn ang="T10">
                <a:pos x="T0" y="T1"/>
              </a:cxn>
              <a:cxn ang="T11">
                <a:pos x="T2" y="T3"/>
              </a:cxn>
              <a:cxn ang="T12">
                <a:pos x="T4" y="T5"/>
              </a:cxn>
              <a:cxn ang="T13">
                <a:pos x="T6" y="T7"/>
              </a:cxn>
              <a:cxn ang="T14">
                <a:pos x="T8" y="T9"/>
              </a:cxn>
            </a:cxnLst>
            <a:rect l="T15" t="T16" r="T17" b="T18"/>
            <a:pathLst>
              <a:path w="68" h="43">
                <a:moveTo>
                  <a:pt x="33" y="43"/>
                </a:moveTo>
                <a:lnTo>
                  <a:pt x="58" y="25"/>
                </a:lnTo>
                <a:lnTo>
                  <a:pt x="68" y="0"/>
                </a:lnTo>
                <a:lnTo>
                  <a:pt x="0" y="36"/>
                </a:lnTo>
                <a:lnTo>
                  <a:pt x="33" y="43"/>
                </a:lnTo>
                <a:close/>
              </a:path>
            </a:pathLst>
          </a:custGeom>
          <a:solidFill>
            <a:schemeClr val="accent1"/>
          </a:solidFill>
          <a:ln w="6350">
            <a:solidFill>
              <a:schemeClr val="tx2"/>
            </a:solidFill>
            <a:round/>
            <a:headEnd/>
            <a:tailEnd/>
          </a:ln>
        </p:spPr>
        <p:txBody>
          <a:bodyPr/>
          <a:lstStyle/>
          <a:p>
            <a:endParaRPr lang="en-US"/>
          </a:p>
        </p:txBody>
      </p:sp>
      <p:sp>
        <p:nvSpPr>
          <p:cNvPr id="94" name="Freeform 1163"/>
          <p:cNvSpPr>
            <a:spLocks/>
          </p:cNvSpPr>
          <p:nvPr/>
        </p:nvSpPr>
        <p:spPr bwMode="auto">
          <a:xfrm>
            <a:off x="3405392" y="2698961"/>
            <a:ext cx="86001" cy="71324"/>
          </a:xfrm>
          <a:custGeom>
            <a:avLst/>
            <a:gdLst>
              <a:gd name="T0" fmla="*/ 2147483647 w 184"/>
              <a:gd name="T1" fmla="*/ 2147483647 h 170"/>
              <a:gd name="T2" fmla="*/ 2147483647 w 184"/>
              <a:gd name="T3" fmla="*/ 2147483647 h 170"/>
              <a:gd name="T4" fmla="*/ 2147483647 w 184"/>
              <a:gd name="T5" fmla="*/ 2147483647 h 170"/>
              <a:gd name="T6" fmla="*/ 2147483647 w 184"/>
              <a:gd name="T7" fmla="*/ 0 h 170"/>
              <a:gd name="T8" fmla="*/ 2147483647 w 184"/>
              <a:gd name="T9" fmla="*/ 2147483647 h 170"/>
              <a:gd name="T10" fmla="*/ 2147483647 w 184"/>
              <a:gd name="T11" fmla="*/ 2147483647 h 170"/>
              <a:gd name="T12" fmla="*/ 2147483647 w 184"/>
              <a:gd name="T13" fmla="*/ 2147483647 h 170"/>
              <a:gd name="T14" fmla="*/ 2147483647 w 184"/>
              <a:gd name="T15" fmla="*/ 2147483647 h 170"/>
              <a:gd name="T16" fmla="*/ 2147483647 w 184"/>
              <a:gd name="T17" fmla="*/ 2147483647 h 170"/>
              <a:gd name="T18" fmla="*/ 2147483647 w 184"/>
              <a:gd name="T19" fmla="*/ 2147483647 h 170"/>
              <a:gd name="T20" fmla="*/ 0 w 184"/>
              <a:gd name="T21" fmla="*/ 2147483647 h 170"/>
              <a:gd name="T22" fmla="*/ 2147483647 w 184"/>
              <a:gd name="T23" fmla="*/ 2147483647 h 170"/>
              <a:gd name="T24" fmla="*/ 2147483647 w 184"/>
              <a:gd name="T25" fmla="*/ 2147483647 h 170"/>
              <a:gd name="T26" fmla="*/ 2147483647 w 184"/>
              <a:gd name="T27" fmla="*/ 2147483647 h 170"/>
              <a:gd name="T28" fmla="*/ 2147483647 w 184"/>
              <a:gd name="T29" fmla="*/ 2147483647 h 170"/>
              <a:gd name="T30" fmla="*/ 2147483647 w 184"/>
              <a:gd name="T31" fmla="*/ 2147483647 h 170"/>
              <a:gd name="T32" fmla="*/ 2147483647 w 184"/>
              <a:gd name="T33" fmla="*/ 2147483647 h 170"/>
              <a:gd name="T34" fmla="*/ 2147483647 w 184"/>
              <a:gd name="T35" fmla="*/ 2147483647 h 170"/>
              <a:gd name="T36" fmla="*/ 2147483647 w 184"/>
              <a:gd name="T37" fmla="*/ 2147483647 h 170"/>
              <a:gd name="T38" fmla="*/ 2147483647 w 184"/>
              <a:gd name="T39" fmla="*/ 2147483647 h 170"/>
              <a:gd name="T40" fmla="*/ 2147483647 w 184"/>
              <a:gd name="T41" fmla="*/ 2147483647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4"/>
              <a:gd name="T64" fmla="*/ 0 h 170"/>
              <a:gd name="T65" fmla="*/ 184 w 184"/>
              <a:gd name="T66" fmla="*/ 170 h 1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4" h="170">
                <a:moveTo>
                  <a:pt x="109" y="44"/>
                </a:moveTo>
                <a:lnTo>
                  <a:pt x="92" y="27"/>
                </a:lnTo>
                <a:lnTo>
                  <a:pt x="92" y="15"/>
                </a:lnTo>
                <a:lnTo>
                  <a:pt x="67" y="0"/>
                </a:lnTo>
                <a:lnTo>
                  <a:pt x="50" y="36"/>
                </a:lnTo>
                <a:lnTo>
                  <a:pt x="54" y="46"/>
                </a:lnTo>
                <a:lnTo>
                  <a:pt x="40" y="46"/>
                </a:lnTo>
                <a:lnTo>
                  <a:pt x="44" y="71"/>
                </a:lnTo>
                <a:lnTo>
                  <a:pt x="36" y="86"/>
                </a:lnTo>
                <a:lnTo>
                  <a:pt x="1" y="98"/>
                </a:lnTo>
                <a:lnTo>
                  <a:pt x="0" y="120"/>
                </a:lnTo>
                <a:lnTo>
                  <a:pt x="15" y="132"/>
                </a:lnTo>
                <a:lnTo>
                  <a:pt x="24" y="120"/>
                </a:lnTo>
                <a:lnTo>
                  <a:pt x="85" y="159"/>
                </a:lnTo>
                <a:lnTo>
                  <a:pt x="137" y="170"/>
                </a:lnTo>
                <a:lnTo>
                  <a:pt x="146" y="154"/>
                </a:lnTo>
                <a:lnTo>
                  <a:pt x="174" y="143"/>
                </a:lnTo>
                <a:lnTo>
                  <a:pt x="184" y="129"/>
                </a:lnTo>
                <a:lnTo>
                  <a:pt x="171" y="133"/>
                </a:lnTo>
                <a:lnTo>
                  <a:pt x="149" y="87"/>
                </a:lnTo>
                <a:lnTo>
                  <a:pt x="109" y="44"/>
                </a:lnTo>
                <a:close/>
              </a:path>
            </a:pathLst>
          </a:custGeom>
          <a:solidFill>
            <a:schemeClr val="accent1"/>
          </a:solidFill>
          <a:ln w="6350">
            <a:solidFill>
              <a:schemeClr val="tx2"/>
            </a:solidFill>
            <a:round/>
            <a:headEnd/>
            <a:tailEnd/>
          </a:ln>
        </p:spPr>
        <p:txBody>
          <a:bodyPr/>
          <a:lstStyle/>
          <a:p>
            <a:endParaRPr lang="en-US"/>
          </a:p>
        </p:txBody>
      </p:sp>
      <p:sp>
        <p:nvSpPr>
          <p:cNvPr id="95" name="Freeform 1164"/>
          <p:cNvSpPr>
            <a:spLocks/>
          </p:cNvSpPr>
          <p:nvPr/>
        </p:nvSpPr>
        <p:spPr bwMode="auto">
          <a:xfrm>
            <a:off x="3454127" y="2342337"/>
            <a:ext cx="20066" cy="21653"/>
          </a:xfrm>
          <a:custGeom>
            <a:avLst/>
            <a:gdLst>
              <a:gd name="T0" fmla="*/ 2147483647 w 48"/>
              <a:gd name="T1" fmla="*/ 2147483647 h 51"/>
              <a:gd name="T2" fmla="*/ 2147483647 w 48"/>
              <a:gd name="T3" fmla="*/ 2147483647 h 51"/>
              <a:gd name="T4" fmla="*/ 2147483647 w 48"/>
              <a:gd name="T5" fmla="*/ 2147483647 h 51"/>
              <a:gd name="T6" fmla="*/ 0 w 48"/>
              <a:gd name="T7" fmla="*/ 2147483647 h 51"/>
              <a:gd name="T8" fmla="*/ 2147483647 w 48"/>
              <a:gd name="T9" fmla="*/ 0 h 51"/>
              <a:gd name="T10" fmla="*/ 2147483647 w 48"/>
              <a:gd name="T11" fmla="*/ 2147483647 h 51"/>
              <a:gd name="T12" fmla="*/ 2147483647 w 48"/>
              <a:gd name="T13" fmla="*/ 2147483647 h 51"/>
              <a:gd name="T14" fmla="*/ 2147483647 w 48"/>
              <a:gd name="T15" fmla="*/ 2147483647 h 51"/>
              <a:gd name="T16" fmla="*/ 2147483647 w 48"/>
              <a:gd name="T17" fmla="*/ 2147483647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51"/>
              <a:gd name="T29" fmla="*/ 48 w 48"/>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51">
                <a:moveTo>
                  <a:pt x="31" y="15"/>
                </a:moveTo>
                <a:lnTo>
                  <a:pt x="15" y="51"/>
                </a:lnTo>
                <a:lnTo>
                  <a:pt x="4" y="50"/>
                </a:lnTo>
                <a:lnTo>
                  <a:pt x="0" y="30"/>
                </a:lnTo>
                <a:lnTo>
                  <a:pt x="30" y="0"/>
                </a:lnTo>
                <a:lnTo>
                  <a:pt x="45" y="12"/>
                </a:lnTo>
                <a:lnTo>
                  <a:pt x="48" y="24"/>
                </a:lnTo>
                <a:lnTo>
                  <a:pt x="40" y="36"/>
                </a:lnTo>
                <a:lnTo>
                  <a:pt x="31" y="15"/>
                </a:lnTo>
                <a:close/>
              </a:path>
            </a:pathLst>
          </a:custGeom>
          <a:solidFill>
            <a:schemeClr val="accent1"/>
          </a:solidFill>
          <a:ln w="6350">
            <a:solidFill>
              <a:schemeClr val="tx2"/>
            </a:solidFill>
            <a:round/>
            <a:headEnd/>
            <a:tailEnd/>
          </a:ln>
        </p:spPr>
        <p:txBody>
          <a:bodyPr/>
          <a:lstStyle/>
          <a:p>
            <a:endParaRPr lang="en-US"/>
          </a:p>
        </p:txBody>
      </p:sp>
      <p:sp>
        <p:nvSpPr>
          <p:cNvPr id="96" name="Freeform 1165"/>
          <p:cNvSpPr>
            <a:spLocks/>
          </p:cNvSpPr>
          <p:nvPr/>
        </p:nvSpPr>
        <p:spPr bwMode="auto">
          <a:xfrm>
            <a:off x="3338025" y="2269738"/>
            <a:ext cx="107501" cy="123545"/>
          </a:xfrm>
          <a:custGeom>
            <a:avLst/>
            <a:gdLst>
              <a:gd name="T0" fmla="*/ 2147483647 w 230"/>
              <a:gd name="T1" fmla="*/ 2147483647 h 298"/>
              <a:gd name="T2" fmla="*/ 2147483647 w 230"/>
              <a:gd name="T3" fmla="*/ 2147483647 h 298"/>
              <a:gd name="T4" fmla="*/ 2147483647 w 230"/>
              <a:gd name="T5" fmla="*/ 2147483647 h 298"/>
              <a:gd name="T6" fmla="*/ 2147483647 w 230"/>
              <a:gd name="T7" fmla="*/ 2147483647 h 298"/>
              <a:gd name="T8" fmla="*/ 2147483647 w 230"/>
              <a:gd name="T9" fmla="*/ 2147483647 h 298"/>
              <a:gd name="T10" fmla="*/ 2147483647 w 230"/>
              <a:gd name="T11" fmla="*/ 2147483647 h 298"/>
              <a:gd name="T12" fmla="*/ 2147483647 w 230"/>
              <a:gd name="T13" fmla="*/ 2147483647 h 298"/>
              <a:gd name="T14" fmla="*/ 2147483647 w 230"/>
              <a:gd name="T15" fmla="*/ 2147483647 h 298"/>
              <a:gd name="T16" fmla="*/ 2147483647 w 230"/>
              <a:gd name="T17" fmla="*/ 2147483647 h 298"/>
              <a:gd name="T18" fmla="*/ 2147483647 w 230"/>
              <a:gd name="T19" fmla="*/ 2147483647 h 298"/>
              <a:gd name="T20" fmla="*/ 2147483647 w 230"/>
              <a:gd name="T21" fmla="*/ 2147483647 h 298"/>
              <a:gd name="T22" fmla="*/ 2147483647 w 230"/>
              <a:gd name="T23" fmla="*/ 2147483647 h 298"/>
              <a:gd name="T24" fmla="*/ 2147483647 w 230"/>
              <a:gd name="T25" fmla="*/ 2147483647 h 298"/>
              <a:gd name="T26" fmla="*/ 2147483647 w 230"/>
              <a:gd name="T27" fmla="*/ 2147483647 h 298"/>
              <a:gd name="T28" fmla="*/ 2147483647 w 230"/>
              <a:gd name="T29" fmla="*/ 2147483647 h 298"/>
              <a:gd name="T30" fmla="*/ 2147483647 w 230"/>
              <a:gd name="T31" fmla="*/ 2147483647 h 298"/>
              <a:gd name="T32" fmla="*/ 2147483647 w 230"/>
              <a:gd name="T33" fmla="*/ 2147483647 h 298"/>
              <a:gd name="T34" fmla="*/ 2147483647 w 230"/>
              <a:gd name="T35" fmla="*/ 2147483647 h 298"/>
              <a:gd name="T36" fmla="*/ 2147483647 w 230"/>
              <a:gd name="T37" fmla="*/ 2147483647 h 298"/>
              <a:gd name="T38" fmla="*/ 2147483647 w 230"/>
              <a:gd name="T39" fmla="*/ 2147483647 h 298"/>
              <a:gd name="T40" fmla="*/ 2147483647 w 230"/>
              <a:gd name="T41" fmla="*/ 2147483647 h 298"/>
              <a:gd name="T42" fmla="*/ 2147483647 w 230"/>
              <a:gd name="T43" fmla="*/ 2147483647 h 298"/>
              <a:gd name="T44" fmla="*/ 2147483647 w 230"/>
              <a:gd name="T45" fmla="*/ 2147483647 h 298"/>
              <a:gd name="T46" fmla="*/ 2147483647 w 230"/>
              <a:gd name="T47" fmla="*/ 2147483647 h 298"/>
              <a:gd name="T48" fmla="*/ 2147483647 w 230"/>
              <a:gd name="T49" fmla="*/ 2147483647 h 298"/>
              <a:gd name="T50" fmla="*/ 2147483647 w 230"/>
              <a:gd name="T51" fmla="*/ 2147483647 h 298"/>
              <a:gd name="T52" fmla="*/ 0 w 230"/>
              <a:gd name="T53" fmla="*/ 2147483647 h 298"/>
              <a:gd name="T54" fmla="*/ 2147483647 w 230"/>
              <a:gd name="T55" fmla="*/ 2147483647 h 298"/>
              <a:gd name="T56" fmla="*/ 2147483647 w 230"/>
              <a:gd name="T57" fmla="*/ 2147483647 h 298"/>
              <a:gd name="T58" fmla="*/ 2147483647 w 230"/>
              <a:gd name="T59" fmla="*/ 2147483647 h 298"/>
              <a:gd name="T60" fmla="*/ 2147483647 w 230"/>
              <a:gd name="T61" fmla="*/ 2147483647 h 298"/>
              <a:gd name="T62" fmla="*/ 2147483647 w 230"/>
              <a:gd name="T63" fmla="*/ 2147483647 h 298"/>
              <a:gd name="T64" fmla="*/ 2147483647 w 230"/>
              <a:gd name="T65" fmla="*/ 2147483647 h 298"/>
              <a:gd name="T66" fmla="*/ 2147483647 w 230"/>
              <a:gd name="T67" fmla="*/ 2147483647 h 298"/>
              <a:gd name="T68" fmla="*/ 2147483647 w 230"/>
              <a:gd name="T69" fmla="*/ 2147483647 h 298"/>
              <a:gd name="T70" fmla="*/ 2147483647 w 230"/>
              <a:gd name="T71" fmla="*/ 2147483647 h 298"/>
              <a:gd name="T72" fmla="*/ 2147483647 w 230"/>
              <a:gd name="T73" fmla="*/ 2147483647 h 298"/>
              <a:gd name="T74" fmla="*/ 2147483647 w 230"/>
              <a:gd name="T75" fmla="*/ 2147483647 h 298"/>
              <a:gd name="T76" fmla="*/ 2147483647 w 230"/>
              <a:gd name="T77" fmla="*/ 2147483647 h 298"/>
              <a:gd name="T78" fmla="*/ 2147483647 w 230"/>
              <a:gd name="T79" fmla="*/ 2147483647 h 298"/>
              <a:gd name="T80" fmla="*/ 2147483647 w 230"/>
              <a:gd name="T81" fmla="*/ 2147483647 h 298"/>
              <a:gd name="T82" fmla="*/ 2147483647 w 230"/>
              <a:gd name="T83" fmla="*/ 2147483647 h 298"/>
              <a:gd name="T84" fmla="*/ 2147483647 w 230"/>
              <a:gd name="T85" fmla="*/ 2147483647 h 298"/>
              <a:gd name="T86" fmla="*/ 2147483647 w 230"/>
              <a:gd name="T87" fmla="*/ 2147483647 h 298"/>
              <a:gd name="T88" fmla="*/ 2147483647 w 230"/>
              <a:gd name="T89" fmla="*/ 2147483647 h 298"/>
              <a:gd name="T90" fmla="*/ 2147483647 w 230"/>
              <a:gd name="T91" fmla="*/ 2147483647 h 298"/>
              <a:gd name="T92" fmla="*/ 2147483647 w 230"/>
              <a:gd name="T93" fmla="*/ 2147483647 h 298"/>
              <a:gd name="T94" fmla="*/ 2147483647 w 230"/>
              <a:gd name="T95" fmla="*/ 2147483647 h 298"/>
              <a:gd name="T96" fmla="*/ 2147483647 w 230"/>
              <a:gd name="T97" fmla="*/ 2147483647 h 298"/>
              <a:gd name="T98" fmla="*/ 2147483647 w 230"/>
              <a:gd name="T99" fmla="*/ 2147483647 h 298"/>
              <a:gd name="T100" fmla="*/ 2147483647 w 230"/>
              <a:gd name="T101" fmla="*/ 2147483647 h 298"/>
              <a:gd name="T102" fmla="*/ 2147483647 w 230"/>
              <a:gd name="T103" fmla="*/ 2147483647 h 298"/>
              <a:gd name="T104" fmla="*/ 2147483647 w 230"/>
              <a:gd name="T105" fmla="*/ 2147483647 h 298"/>
              <a:gd name="T106" fmla="*/ 2147483647 w 230"/>
              <a:gd name="T107" fmla="*/ 2147483647 h 298"/>
              <a:gd name="T108" fmla="*/ 2147483647 w 230"/>
              <a:gd name="T109" fmla="*/ 2147483647 h 298"/>
              <a:gd name="T110" fmla="*/ 2147483647 w 230"/>
              <a:gd name="T111" fmla="*/ 2147483647 h 298"/>
              <a:gd name="T112" fmla="*/ 2147483647 w 230"/>
              <a:gd name="T113" fmla="*/ 0 h 298"/>
              <a:gd name="T114" fmla="*/ 2147483647 w 230"/>
              <a:gd name="T115" fmla="*/ 0 h 298"/>
              <a:gd name="T116" fmla="*/ 2147483647 w 230"/>
              <a:gd name="T117" fmla="*/ 2147483647 h 298"/>
              <a:gd name="T118" fmla="*/ 2147483647 w 230"/>
              <a:gd name="T119" fmla="*/ 2147483647 h 298"/>
              <a:gd name="T120" fmla="*/ 2147483647 w 230"/>
              <a:gd name="T121" fmla="*/ 2147483647 h 298"/>
              <a:gd name="T122" fmla="*/ 2147483647 w 230"/>
              <a:gd name="T123" fmla="*/ 2147483647 h 2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30"/>
              <a:gd name="T187" fmla="*/ 0 h 298"/>
              <a:gd name="T188" fmla="*/ 230 w 230"/>
              <a:gd name="T189" fmla="*/ 298 h 2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30" h="298">
                <a:moveTo>
                  <a:pt x="221" y="124"/>
                </a:moveTo>
                <a:lnTo>
                  <a:pt x="221" y="147"/>
                </a:lnTo>
                <a:lnTo>
                  <a:pt x="210" y="161"/>
                </a:lnTo>
                <a:lnTo>
                  <a:pt x="228" y="164"/>
                </a:lnTo>
                <a:lnTo>
                  <a:pt x="230" y="223"/>
                </a:lnTo>
                <a:lnTo>
                  <a:pt x="219" y="190"/>
                </a:lnTo>
                <a:lnTo>
                  <a:pt x="206" y="189"/>
                </a:lnTo>
                <a:lnTo>
                  <a:pt x="212" y="206"/>
                </a:lnTo>
                <a:lnTo>
                  <a:pt x="202" y="207"/>
                </a:lnTo>
                <a:lnTo>
                  <a:pt x="206" y="218"/>
                </a:lnTo>
                <a:lnTo>
                  <a:pt x="194" y="236"/>
                </a:lnTo>
                <a:lnTo>
                  <a:pt x="215" y="271"/>
                </a:lnTo>
                <a:lnTo>
                  <a:pt x="195" y="259"/>
                </a:lnTo>
                <a:lnTo>
                  <a:pt x="200" y="289"/>
                </a:lnTo>
                <a:lnTo>
                  <a:pt x="141" y="293"/>
                </a:lnTo>
                <a:lnTo>
                  <a:pt x="140" y="277"/>
                </a:lnTo>
                <a:lnTo>
                  <a:pt x="131" y="298"/>
                </a:lnTo>
                <a:lnTo>
                  <a:pt x="112" y="298"/>
                </a:lnTo>
                <a:lnTo>
                  <a:pt x="97" y="286"/>
                </a:lnTo>
                <a:lnTo>
                  <a:pt x="94" y="256"/>
                </a:lnTo>
                <a:lnTo>
                  <a:pt x="91" y="234"/>
                </a:lnTo>
                <a:lnTo>
                  <a:pt x="90" y="219"/>
                </a:lnTo>
                <a:lnTo>
                  <a:pt x="111" y="208"/>
                </a:lnTo>
                <a:lnTo>
                  <a:pt x="132" y="188"/>
                </a:lnTo>
                <a:lnTo>
                  <a:pt x="130" y="175"/>
                </a:lnTo>
                <a:lnTo>
                  <a:pt x="14" y="206"/>
                </a:lnTo>
                <a:lnTo>
                  <a:pt x="0" y="188"/>
                </a:lnTo>
                <a:lnTo>
                  <a:pt x="8" y="173"/>
                </a:lnTo>
                <a:lnTo>
                  <a:pt x="31" y="177"/>
                </a:lnTo>
                <a:lnTo>
                  <a:pt x="22" y="161"/>
                </a:lnTo>
                <a:lnTo>
                  <a:pt x="34" y="144"/>
                </a:lnTo>
                <a:lnTo>
                  <a:pt x="56" y="163"/>
                </a:lnTo>
                <a:lnTo>
                  <a:pt x="65" y="160"/>
                </a:lnTo>
                <a:lnTo>
                  <a:pt x="51" y="138"/>
                </a:lnTo>
                <a:lnTo>
                  <a:pt x="61" y="117"/>
                </a:lnTo>
                <a:lnTo>
                  <a:pt x="42" y="125"/>
                </a:lnTo>
                <a:lnTo>
                  <a:pt x="35" y="106"/>
                </a:lnTo>
                <a:lnTo>
                  <a:pt x="38" y="86"/>
                </a:lnTo>
                <a:lnTo>
                  <a:pt x="27" y="86"/>
                </a:lnTo>
                <a:lnTo>
                  <a:pt x="27" y="66"/>
                </a:lnTo>
                <a:lnTo>
                  <a:pt x="42" y="39"/>
                </a:lnTo>
                <a:lnTo>
                  <a:pt x="61" y="44"/>
                </a:lnTo>
                <a:lnTo>
                  <a:pt x="90" y="103"/>
                </a:lnTo>
                <a:lnTo>
                  <a:pt x="100" y="102"/>
                </a:lnTo>
                <a:lnTo>
                  <a:pt x="96" y="109"/>
                </a:lnTo>
                <a:lnTo>
                  <a:pt x="132" y="124"/>
                </a:lnTo>
                <a:lnTo>
                  <a:pt x="111" y="90"/>
                </a:lnTo>
                <a:lnTo>
                  <a:pt x="120" y="82"/>
                </a:lnTo>
                <a:lnTo>
                  <a:pt x="116" y="67"/>
                </a:lnTo>
                <a:lnTo>
                  <a:pt x="75" y="35"/>
                </a:lnTo>
                <a:lnTo>
                  <a:pt x="102" y="6"/>
                </a:lnTo>
                <a:lnTo>
                  <a:pt x="131" y="5"/>
                </a:lnTo>
                <a:lnTo>
                  <a:pt x="160" y="27"/>
                </a:lnTo>
                <a:lnTo>
                  <a:pt x="160" y="40"/>
                </a:lnTo>
                <a:lnTo>
                  <a:pt x="173" y="31"/>
                </a:lnTo>
                <a:lnTo>
                  <a:pt x="169" y="12"/>
                </a:lnTo>
                <a:lnTo>
                  <a:pt x="172" y="0"/>
                </a:lnTo>
                <a:lnTo>
                  <a:pt x="186" y="0"/>
                </a:lnTo>
                <a:lnTo>
                  <a:pt x="218" y="37"/>
                </a:lnTo>
                <a:lnTo>
                  <a:pt x="216" y="70"/>
                </a:lnTo>
                <a:lnTo>
                  <a:pt x="223" y="95"/>
                </a:lnTo>
                <a:lnTo>
                  <a:pt x="221" y="124"/>
                </a:lnTo>
                <a:close/>
              </a:path>
            </a:pathLst>
          </a:custGeom>
          <a:solidFill>
            <a:schemeClr val="accent1"/>
          </a:solidFill>
          <a:ln w="6350">
            <a:solidFill>
              <a:schemeClr val="tx2"/>
            </a:solidFill>
            <a:round/>
            <a:headEnd/>
            <a:tailEnd/>
          </a:ln>
        </p:spPr>
        <p:txBody>
          <a:bodyPr/>
          <a:lstStyle/>
          <a:p>
            <a:endParaRPr lang="en-US"/>
          </a:p>
        </p:txBody>
      </p:sp>
      <p:sp>
        <p:nvSpPr>
          <p:cNvPr id="97" name="Freeform 1166"/>
          <p:cNvSpPr>
            <a:spLocks/>
          </p:cNvSpPr>
          <p:nvPr/>
        </p:nvSpPr>
        <p:spPr bwMode="auto">
          <a:xfrm>
            <a:off x="3429759" y="2079964"/>
            <a:ext cx="71667" cy="101892"/>
          </a:xfrm>
          <a:custGeom>
            <a:avLst/>
            <a:gdLst>
              <a:gd name="T0" fmla="*/ 2147483647 w 155"/>
              <a:gd name="T1" fmla="*/ 2147483647 h 248"/>
              <a:gd name="T2" fmla="*/ 2147483647 w 155"/>
              <a:gd name="T3" fmla="*/ 2147483647 h 248"/>
              <a:gd name="T4" fmla="*/ 2147483647 w 155"/>
              <a:gd name="T5" fmla="*/ 2147483647 h 248"/>
              <a:gd name="T6" fmla="*/ 2147483647 w 155"/>
              <a:gd name="T7" fmla="*/ 2147483647 h 248"/>
              <a:gd name="T8" fmla="*/ 2147483647 w 155"/>
              <a:gd name="T9" fmla="*/ 2147483647 h 248"/>
              <a:gd name="T10" fmla="*/ 2147483647 w 155"/>
              <a:gd name="T11" fmla="*/ 2147483647 h 248"/>
              <a:gd name="T12" fmla="*/ 2147483647 w 155"/>
              <a:gd name="T13" fmla="*/ 2147483647 h 248"/>
              <a:gd name="T14" fmla="*/ 2147483647 w 155"/>
              <a:gd name="T15" fmla="*/ 2147483647 h 248"/>
              <a:gd name="T16" fmla="*/ 2147483647 w 155"/>
              <a:gd name="T17" fmla="*/ 2147483647 h 248"/>
              <a:gd name="T18" fmla="*/ 2147483647 w 155"/>
              <a:gd name="T19" fmla="*/ 2147483647 h 248"/>
              <a:gd name="T20" fmla="*/ 2147483647 w 155"/>
              <a:gd name="T21" fmla="*/ 2147483647 h 248"/>
              <a:gd name="T22" fmla="*/ 2147483647 w 155"/>
              <a:gd name="T23" fmla="*/ 2147483647 h 248"/>
              <a:gd name="T24" fmla="*/ 2147483647 w 155"/>
              <a:gd name="T25" fmla="*/ 2147483647 h 248"/>
              <a:gd name="T26" fmla="*/ 0 w 155"/>
              <a:gd name="T27" fmla="*/ 2147483647 h 248"/>
              <a:gd name="T28" fmla="*/ 2147483647 w 155"/>
              <a:gd name="T29" fmla="*/ 2147483647 h 248"/>
              <a:gd name="T30" fmla="*/ 2147483647 w 155"/>
              <a:gd name="T31" fmla="*/ 2147483647 h 248"/>
              <a:gd name="T32" fmla="*/ 2147483647 w 155"/>
              <a:gd name="T33" fmla="*/ 2147483647 h 248"/>
              <a:gd name="T34" fmla="*/ 2147483647 w 155"/>
              <a:gd name="T35" fmla="*/ 0 h 248"/>
              <a:gd name="T36" fmla="*/ 2147483647 w 155"/>
              <a:gd name="T37" fmla="*/ 2147483647 h 248"/>
              <a:gd name="T38" fmla="*/ 2147483647 w 155"/>
              <a:gd name="T39" fmla="*/ 2147483647 h 248"/>
              <a:gd name="T40" fmla="*/ 2147483647 w 155"/>
              <a:gd name="T41" fmla="*/ 2147483647 h 248"/>
              <a:gd name="T42" fmla="*/ 2147483647 w 155"/>
              <a:gd name="T43" fmla="*/ 2147483647 h 248"/>
              <a:gd name="T44" fmla="*/ 2147483647 w 155"/>
              <a:gd name="T45" fmla="*/ 2147483647 h 248"/>
              <a:gd name="T46" fmla="*/ 2147483647 w 155"/>
              <a:gd name="T47" fmla="*/ 2147483647 h 248"/>
              <a:gd name="T48" fmla="*/ 2147483647 w 155"/>
              <a:gd name="T49" fmla="*/ 2147483647 h 248"/>
              <a:gd name="T50" fmla="*/ 2147483647 w 155"/>
              <a:gd name="T51" fmla="*/ 2147483647 h 248"/>
              <a:gd name="T52" fmla="*/ 2147483647 w 155"/>
              <a:gd name="T53" fmla="*/ 2147483647 h 2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5"/>
              <a:gd name="T82" fmla="*/ 0 h 248"/>
              <a:gd name="T83" fmla="*/ 155 w 155"/>
              <a:gd name="T84" fmla="*/ 248 h 2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5" h="248">
                <a:moveTo>
                  <a:pt x="141" y="212"/>
                </a:moveTo>
                <a:lnTo>
                  <a:pt x="84" y="215"/>
                </a:lnTo>
                <a:lnTo>
                  <a:pt x="67" y="248"/>
                </a:lnTo>
                <a:lnTo>
                  <a:pt x="51" y="242"/>
                </a:lnTo>
                <a:lnTo>
                  <a:pt x="56" y="219"/>
                </a:lnTo>
                <a:lnTo>
                  <a:pt x="27" y="185"/>
                </a:lnTo>
                <a:lnTo>
                  <a:pt x="61" y="177"/>
                </a:lnTo>
                <a:lnTo>
                  <a:pt x="69" y="169"/>
                </a:lnTo>
                <a:lnTo>
                  <a:pt x="66" y="158"/>
                </a:lnTo>
                <a:lnTo>
                  <a:pt x="22" y="144"/>
                </a:lnTo>
                <a:lnTo>
                  <a:pt x="26" y="135"/>
                </a:lnTo>
                <a:lnTo>
                  <a:pt x="17" y="126"/>
                </a:lnTo>
                <a:lnTo>
                  <a:pt x="15" y="99"/>
                </a:lnTo>
                <a:lnTo>
                  <a:pt x="0" y="76"/>
                </a:lnTo>
                <a:lnTo>
                  <a:pt x="12" y="64"/>
                </a:lnTo>
                <a:lnTo>
                  <a:pt x="4" y="40"/>
                </a:lnTo>
                <a:lnTo>
                  <a:pt x="4" y="12"/>
                </a:lnTo>
                <a:lnTo>
                  <a:pt x="18" y="0"/>
                </a:lnTo>
                <a:lnTo>
                  <a:pt x="99" y="51"/>
                </a:lnTo>
                <a:lnTo>
                  <a:pt x="103" y="57"/>
                </a:lnTo>
                <a:lnTo>
                  <a:pt x="99" y="82"/>
                </a:lnTo>
                <a:lnTo>
                  <a:pt x="122" y="80"/>
                </a:lnTo>
                <a:lnTo>
                  <a:pt x="154" y="116"/>
                </a:lnTo>
                <a:lnTo>
                  <a:pt x="144" y="136"/>
                </a:lnTo>
                <a:lnTo>
                  <a:pt x="144" y="171"/>
                </a:lnTo>
                <a:lnTo>
                  <a:pt x="155" y="195"/>
                </a:lnTo>
                <a:lnTo>
                  <a:pt x="141" y="212"/>
                </a:lnTo>
                <a:close/>
              </a:path>
            </a:pathLst>
          </a:custGeom>
          <a:solidFill>
            <a:schemeClr val="accent1"/>
          </a:solidFill>
          <a:ln w="6350">
            <a:solidFill>
              <a:schemeClr val="tx2"/>
            </a:solidFill>
            <a:round/>
            <a:headEnd/>
            <a:tailEnd/>
          </a:ln>
        </p:spPr>
        <p:txBody>
          <a:bodyPr/>
          <a:lstStyle/>
          <a:p>
            <a:endParaRPr lang="en-US"/>
          </a:p>
        </p:txBody>
      </p:sp>
      <p:sp>
        <p:nvSpPr>
          <p:cNvPr id="98" name="Freeform 1167"/>
          <p:cNvSpPr>
            <a:spLocks/>
          </p:cNvSpPr>
          <p:nvPr/>
        </p:nvSpPr>
        <p:spPr bwMode="auto">
          <a:xfrm>
            <a:off x="3279258" y="2039206"/>
            <a:ext cx="134734" cy="140103"/>
          </a:xfrm>
          <a:custGeom>
            <a:avLst/>
            <a:gdLst>
              <a:gd name="T0" fmla="*/ 2147483647 w 288"/>
              <a:gd name="T1" fmla="*/ 2147483647 h 334"/>
              <a:gd name="T2" fmla="*/ 2147483647 w 288"/>
              <a:gd name="T3" fmla="*/ 2147483647 h 334"/>
              <a:gd name="T4" fmla="*/ 2147483647 w 288"/>
              <a:gd name="T5" fmla="*/ 2147483647 h 334"/>
              <a:gd name="T6" fmla="*/ 2147483647 w 288"/>
              <a:gd name="T7" fmla="*/ 2147483647 h 334"/>
              <a:gd name="T8" fmla="*/ 2147483647 w 288"/>
              <a:gd name="T9" fmla="*/ 2147483647 h 334"/>
              <a:gd name="T10" fmla="*/ 2147483647 w 288"/>
              <a:gd name="T11" fmla="*/ 2147483647 h 334"/>
              <a:gd name="T12" fmla="*/ 2147483647 w 288"/>
              <a:gd name="T13" fmla="*/ 2147483647 h 334"/>
              <a:gd name="T14" fmla="*/ 2147483647 w 288"/>
              <a:gd name="T15" fmla="*/ 2147483647 h 334"/>
              <a:gd name="T16" fmla="*/ 2147483647 w 288"/>
              <a:gd name="T17" fmla="*/ 2147483647 h 334"/>
              <a:gd name="T18" fmla="*/ 2147483647 w 288"/>
              <a:gd name="T19" fmla="*/ 2147483647 h 334"/>
              <a:gd name="T20" fmla="*/ 2147483647 w 288"/>
              <a:gd name="T21" fmla="*/ 2147483647 h 334"/>
              <a:gd name="T22" fmla="*/ 2147483647 w 288"/>
              <a:gd name="T23" fmla="*/ 2147483647 h 334"/>
              <a:gd name="T24" fmla="*/ 2147483647 w 288"/>
              <a:gd name="T25" fmla="*/ 2147483647 h 334"/>
              <a:gd name="T26" fmla="*/ 2147483647 w 288"/>
              <a:gd name="T27" fmla="*/ 2147483647 h 334"/>
              <a:gd name="T28" fmla="*/ 2147483647 w 288"/>
              <a:gd name="T29" fmla="*/ 2147483647 h 334"/>
              <a:gd name="T30" fmla="*/ 2147483647 w 288"/>
              <a:gd name="T31" fmla="*/ 2147483647 h 334"/>
              <a:gd name="T32" fmla="*/ 2147483647 w 288"/>
              <a:gd name="T33" fmla="*/ 2147483647 h 334"/>
              <a:gd name="T34" fmla="*/ 2147483647 w 288"/>
              <a:gd name="T35" fmla="*/ 2147483647 h 334"/>
              <a:gd name="T36" fmla="*/ 2147483647 w 288"/>
              <a:gd name="T37" fmla="*/ 2147483647 h 334"/>
              <a:gd name="T38" fmla="*/ 2147483647 w 288"/>
              <a:gd name="T39" fmla="*/ 2147483647 h 334"/>
              <a:gd name="T40" fmla="*/ 2147483647 w 288"/>
              <a:gd name="T41" fmla="*/ 2147483647 h 334"/>
              <a:gd name="T42" fmla="*/ 2147483647 w 288"/>
              <a:gd name="T43" fmla="*/ 2147483647 h 334"/>
              <a:gd name="T44" fmla="*/ 2147483647 w 288"/>
              <a:gd name="T45" fmla="*/ 2147483647 h 334"/>
              <a:gd name="T46" fmla="*/ 2147483647 w 288"/>
              <a:gd name="T47" fmla="*/ 2147483647 h 334"/>
              <a:gd name="T48" fmla="*/ 2147483647 w 288"/>
              <a:gd name="T49" fmla="*/ 2147483647 h 334"/>
              <a:gd name="T50" fmla="*/ 2147483647 w 288"/>
              <a:gd name="T51" fmla="*/ 2147483647 h 334"/>
              <a:gd name="T52" fmla="*/ 0 w 288"/>
              <a:gd name="T53" fmla="*/ 2147483647 h 334"/>
              <a:gd name="T54" fmla="*/ 2147483647 w 288"/>
              <a:gd name="T55" fmla="*/ 2147483647 h 334"/>
              <a:gd name="T56" fmla="*/ 2147483647 w 288"/>
              <a:gd name="T57" fmla="*/ 0 h 334"/>
              <a:gd name="T58" fmla="*/ 2147483647 w 288"/>
              <a:gd name="T59" fmla="*/ 2147483647 h 334"/>
              <a:gd name="T60" fmla="*/ 2147483647 w 288"/>
              <a:gd name="T61" fmla="*/ 2147483647 h 334"/>
              <a:gd name="T62" fmla="*/ 2147483647 w 288"/>
              <a:gd name="T63" fmla="*/ 2147483647 h 334"/>
              <a:gd name="T64" fmla="*/ 2147483647 w 288"/>
              <a:gd name="T65" fmla="*/ 2147483647 h 334"/>
              <a:gd name="T66" fmla="*/ 2147483647 w 288"/>
              <a:gd name="T67" fmla="*/ 2147483647 h 334"/>
              <a:gd name="T68" fmla="*/ 2147483647 w 288"/>
              <a:gd name="T69" fmla="*/ 2147483647 h 334"/>
              <a:gd name="T70" fmla="*/ 2147483647 w 288"/>
              <a:gd name="T71" fmla="*/ 2147483647 h 334"/>
              <a:gd name="T72" fmla="*/ 2147483647 w 288"/>
              <a:gd name="T73" fmla="*/ 2147483647 h 334"/>
              <a:gd name="T74" fmla="*/ 2147483647 w 288"/>
              <a:gd name="T75" fmla="*/ 2147483647 h 334"/>
              <a:gd name="T76" fmla="*/ 2147483647 w 288"/>
              <a:gd name="T77" fmla="*/ 2147483647 h 3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8"/>
              <a:gd name="T118" fmla="*/ 0 h 334"/>
              <a:gd name="T119" fmla="*/ 288 w 288"/>
              <a:gd name="T120" fmla="*/ 334 h 3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8" h="334">
                <a:moveTo>
                  <a:pt x="244" y="135"/>
                </a:moveTo>
                <a:lnTo>
                  <a:pt x="260" y="156"/>
                </a:lnTo>
                <a:lnTo>
                  <a:pt x="248" y="186"/>
                </a:lnTo>
                <a:lnTo>
                  <a:pt x="250" y="214"/>
                </a:lnTo>
                <a:lnTo>
                  <a:pt x="288" y="277"/>
                </a:lnTo>
                <a:lnTo>
                  <a:pt x="279" y="318"/>
                </a:lnTo>
                <a:lnTo>
                  <a:pt x="246" y="334"/>
                </a:lnTo>
                <a:lnTo>
                  <a:pt x="218" y="309"/>
                </a:lnTo>
                <a:lnTo>
                  <a:pt x="198" y="243"/>
                </a:lnTo>
                <a:lnTo>
                  <a:pt x="133" y="235"/>
                </a:lnTo>
                <a:lnTo>
                  <a:pt x="124" y="211"/>
                </a:lnTo>
                <a:lnTo>
                  <a:pt x="81" y="239"/>
                </a:lnTo>
                <a:lnTo>
                  <a:pt x="44" y="223"/>
                </a:lnTo>
                <a:lnTo>
                  <a:pt x="34" y="207"/>
                </a:lnTo>
                <a:lnTo>
                  <a:pt x="32" y="181"/>
                </a:lnTo>
                <a:lnTo>
                  <a:pt x="93" y="185"/>
                </a:lnTo>
                <a:lnTo>
                  <a:pt x="100" y="166"/>
                </a:lnTo>
                <a:lnTo>
                  <a:pt x="73" y="161"/>
                </a:lnTo>
                <a:lnTo>
                  <a:pt x="96" y="129"/>
                </a:lnTo>
                <a:lnTo>
                  <a:pt x="65" y="130"/>
                </a:lnTo>
                <a:lnTo>
                  <a:pt x="73" y="98"/>
                </a:lnTo>
                <a:lnTo>
                  <a:pt x="62" y="82"/>
                </a:lnTo>
                <a:lnTo>
                  <a:pt x="32" y="123"/>
                </a:lnTo>
                <a:lnTo>
                  <a:pt x="28" y="113"/>
                </a:lnTo>
                <a:lnTo>
                  <a:pt x="41" y="74"/>
                </a:lnTo>
                <a:lnTo>
                  <a:pt x="4" y="79"/>
                </a:lnTo>
                <a:lnTo>
                  <a:pt x="0" y="40"/>
                </a:lnTo>
                <a:lnTo>
                  <a:pt x="8" y="9"/>
                </a:lnTo>
                <a:lnTo>
                  <a:pt x="73" y="0"/>
                </a:lnTo>
                <a:lnTo>
                  <a:pt x="102" y="14"/>
                </a:lnTo>
                <a:lnTo>
                  <a:pt x="101" y="72"/>
                </a:lnTo>
                <a:lnTo>
                  <a:pt x="112" y="87"/>
                </a:lnTo>
                <a:lnTo>
                  <a:pt x="118" y="48"/>
                </a:lnTo>
                <a:lnTo>
                  <a:pt x="137" y="31"/>
                </a:lnTo>
                <a:lnTo>
                  <a:pt x="181" y="63"/>
                </a:lnTo>
                <a:lnTo>
                  <a:pt x="178" y="96"/>
                </a:lnTo>
                <a:lnTo>
                  <a:pt x="186" y="107"/>
                </a:lnTo>
                <a:lnTo>
                  <a:pt x="208" y="89"/>
                </a:lnTo>
                <a:lnTo>
                  <a:pt x="244" y="135"/>
                </a:lnTo>
                <a:close/>
              </a:path>
            </a:pathLst>
          </a:custGeom>
          <a:solidFill>
            <a:schemeClr val="accent1"/>
          </a:solidFill>
          <a:ln w="6350">
            <a:solidFill>
              <a:schemeClr val="tx2"/>
            </a:solidFill>
            <a:round/>
            <a:headEnd/>
            <a:tailEnd/>
          </a:ln>
        </p:spPr>
        <p:txBody>
          <a:bodyPr/>
          <a:lstStyle/>
          <a:p>
            <a:endParaRPr lang="en-US"/>
          </a:p>
        </p:txBody>
      </p:sp>
      <p:sp>
        <p:nvSpPr>
          <p:cNvPr id="99" name="Freeform 1168"/>
          <p:cNvSpPr>
            <a:spLocks/>
          </p:cNvSpPr>
          <p:nvPr/>
        </p:nvSpPr>
        <p:spPr bwMode="auto">
          <a:xfrm>
            <a:off x="3342325" y="2166572"/>
            <a:ext cx="34400" cy="16558"/>
          </a:xfrm>
          <a:custGeom>
            <a:avLst/>
            <a:gdLst>
              <a:gd name="T0" fmla="*/ 2147483647 w 74"/>
              <a:gd name="T1" fmla="*/ 0 h 40"/>
              <a:gd name="T2" fmla="*/ 2147483647 w 74"/>
              <a:gd name="T3" fmla="*/ 2147483647 h 40"/>
              <a:gd name="T4" fmla="*/ 2147483647 w 74"/>
              <a:gd name="T5" fmla="*/ 2147483647 h 40"/>
              <a:gd name="T6" fmla="*/ 0 w 74"/>
              <a:gd name="T7" fmla="*/ 2147483647 h 40"/>
              <a:gd name="T8" fmla="*/ 2147483647 w 74"/>
              <a:gd name="T9" fmla="*/ 0 h 40"/>
              <a:gd name="T10" fmla="*/ 0 60000 65536"/>
              <a:gd name="T11" fmla="*/ 0 60000 65536"/>
              <a:gd name="T12" fmla="*/ 0 60000 65536"/>
              <a:gd name="T13" fmla="*/ 0 60000 65536"/>
              <a:gd name="T14" fmla="*/ 0 60000 65536"/>
              <a:gd name="T15" fmla="*/ 0 w 74"/>
              <a:gd name="T16" fmla="*/ 0 h 40"/>
              <a:gd name="T17" fmla="*/ 74 w 74"/>
              <a:gd name="T18" fmla="*/ 40 h 40"/>
            </a:gdLst>
            <a:ahLst/>
            <a:cxnLst>
              <a:cxn ang="T10">
                <a:pos x="T0" y="T1"/>
              </a:cxn>
              <a:cxn ang="T11">
                <a:pos x="T2" y="T3"/>
              </a:cxn>
              <a:cxn ang="T12">
                <a:pos x="T4" y="T5"/>
              </a:cxn>
              <a:cxn ang="T13">
                <a:pos x="T6" y="T7"/>
              </a:cxn>
              <a:cxn ang="T14">
                <a:pos x="T8" y="T9"/>
              </a:cxn>
            </a:cxnLst>
            <a:rect l="T15" t="T16" r="T17" b="T18"/>
            <a:pathLst>
              <a:path w="74" h="40">
                <a:moveTo>
                  <a:pt x="27" y="0"/>
                </a:moveTo>
                <a:lnTo>
                  <a:pt x="74" y="33"/>
                </a:lnTo>
                <a:lnTo>
                  <a:pt x="22" y="40"/>
                </a:lnTo>
                <a:lnTo>
                  <a:pt x="0" y="8"/>
                </a:lnTo>
                <a:lnTo>
                  <a:pt x="27" y="0"/>
                </a:lnTo>
                <a:close/>
              </a:path>
            </a:pathLst>
          </a:custGeom>
          <a:solidFill>
            <a:schemeClr val="accent1"/>
          </a:solidFill>
          <a:ln w="6350">
            <a:solidFill>
              <a:schemeClr val="tx2"/>
            </a:solidFill>
            <a:round/>
            <a:headEnd/>
            <a:tailEnd/>
          </a:ln>
        </p:spPr>
        <p:txBody>
          <a:bodyPr/>
          <a:lstStyle/>
          <a:p>
            <a:endParaRPr lang="en-US"/>
          </a:p>
        </p:txBody>
      </p:sp>
      <p:sp>
        <p:nvSpPr>
          <p:cNvPr id="100" name="Freeform 1169"/>
          <p:cNvSpPr>
            <a:spLocks/>
          </p:cNvSpPr>
          <p:nvPr/>
        </p:nvSpPr>
        <p:spPr bwMode="auto">
          <a:xfrm>
            <a:off x="3273526" y="2184403"/>
            <a:ext cx="34400" cy="52220"/>
          </a:xfrm>
          <a:custGeom>
            <a:avLst/>
            <a:gdLst>
              <a:gd name="T0" fmla="*/ 2147483647 w 75"/>
              <a:gd name="T1" fmla="*/ 2147483647 h 125"/>
              <a:gd name="T2" fmla="*/ 2147483647 w 75"/>
              <a:gd name="T3" fmla="*/ 2147483647 h 125"/>
              <a:gd name="T4" fmla="*/ 2147483647 w 75"/>
              <a:gd name="T5" fmla="*/ 2147483647 h 125"/>
              <a:gd name="T6" fmla="*/ 2147483647 w 75"/>
              <a:gd name="T7" fmla="*/ 2147483647 h 125"/>
              <a:gd name="T8" fmla="*/ 2147483647 w 75"/>
              <a:gd name="T9" fmla="*/ 2147483647 h 125"/>
              <a:gd name="T10" fmla="*/ 2147483647 w 75"/>
              <a:gd name="T11" fmla="*/ 2147483647 h 125"/>
              <a:gd name="T12" fmla="*/ 2147483647 w 75"/>
              <a:gd name="T13" fmla="*/ 2147483647 h 125"/>
              <a:gd name="T14" fmla="*/ 0 w 75"/>
              <a:gd name="T15" fmla="*/ 2147483647 h 125"/>
              <a:gd name="T16" fmla="*/ 2147483647 w 75"/>
              <a:gd name="T17" fmla="*/ 0 h 125"/>
              <a:gd name="T18" fmla="*/ 2147483647 w 75"/>
              <a:gd name="T19" fmla="*/ 2147483647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5"/>
              <a:gd name="T31" fmla="*/ 0 h 125"/>
              <a:gd name="T32" fmla="*/ 75 w 75"/>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5" h="125">
                <a:moveTo>
                  <a:pt x="43" y="34"/>
                </a:moveTo>
                <a:lnTo>
                  <a:pt x="47" y="60"/>
                </a:lnTo>
                <a:lnTo>
                  <a:pt x="71" y="83"/>
                </a:lnTo>
                <a:lnTo>
                  <a:pt x="62" y="91"/>
                </a:lnTo>
                <a:lnTo>
                  <a:pt x="75" y="107"/>
                </a:lnTo>
                <a:lnTo>
                  <a:pt x="62" y="125"/>
                </a:lnTo>
                <a:lnTo>
                  <a:pt x="38" y="112"/>
                </a:lnTo>
                <a:lnTo>
                  <a:pt x="0" y="2"/>
                </a:lnTo>
                <a:lnTo>
                  <a:pt x="19" y="0"/>
                </a:lnTo>
                <a:lnTo>
                  <a:pt x="43" y="34"/>
                </a:lnTo>
                <a:close/>
              </a:path>
            </a:pathLst>
          </a:custGeom>
          <a:solidFill>
            <a:schemeClr val="accent1"/>
          </a:solidFill>
          <a:ln w="6350">
            <a:solidFill>
              <a:schemeClr val="tx2"/>
            </a:solidFill>
            <a:round/>
            <a:headEnd/>
            <a:tailEnd/>
          </a:ln>
        </p:spPr>
        <p:txBody>
          <a:bodyPr/>
          <a:lstStyle/>
          <a:p>
            <a:endParaRPr lang="en-US"/>
          </a:p>
        </p:txBody>
      </p:sp>
      <p:sp>
        <p:nvSpPr>
          <p:cNvPr id="101" name="Freeform 1170"/>
          <p:cNvSpPr>
            <a:spLocks/>
          </p:cNvSpPr>
          <p:nvPr/>
        </p:nvSpPr>
        <p:spPr bwMode="auto">
          <a:xfrm>
            <a:off x="3299326" y="2271012"/>
            <a:ext cx="34400" cy="26747"/>
          </a:xfrm>
          <a:custGeom>
            <a:avLst/>
            <a:gdLst>
              <a:gd name="T0" fmla="*/ 2147483647 w 69"/>
              <a:gd name="T1" fmla="*/ 2147483647 h 63"/>
              <a:gd name="T2" fmla="*/ 2147483647 w 69"/>
              <a:gd name="T3" fmla="*/ 2147483647 h 63"/>
              <a:gd name="T4" fmla="*/ 2147483647 w 69"/>
              <a:gd name="T5" fmla="*/ 2147483647 h 63"/>
              <a:gd name="T6" fmla="*/ 2147483647 w 69"/>
              <a:gd name="T7" fmla="*/ 2147483647 h 63"/>
              <a:gd name="T8" fmla="*/ 2147483647 w 69"/>
              <a:gd name="T9" fmla="*/ 2147483647 h 63"/>
              <a:gd name="T10" fmla="*/ 2147483647 w 69"/>
              <a:gd name="T11" fmla="*/ 2147483647 h 63"/>
              <a:gd name="T12" fmla="*/ 0 w 69"/>
              <a:gd name="T13" fmla="*/ 2147483647 h 63"/>
              <a:gd name="T14" fmla="*/ 2147483647 w 69"/>
              <a:gd name="T15" fmla="*/ 0 h 63"/>
              <a:gd name="T16" fmla="*/ 2147483647 w 69"/>
              <a:gd name="T17" fmla="*/ 2147483647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63"/>
              <a:gd name="T29" fmla="*/ 69 w 69"/>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63">
                <a:moveTo>
                  <a:pt x="30" y="13"/>
                </a:moveTo>
                <a:lnTo>
                  <a:pt x="69" y="48"/>
                </a:lnTo>
                <a:lnTo>
                  <a:pt x="16" y="63"/>
                </a:lnTo>
                <a:lnTo>
                  <a:pt x="24" y="58"/>
                </a:lnTo>
                <a:lnTo>
                  <a:pt x="8" y="46"/>
                </a:lnTo>
                <a:lnTo>
                  <a:pt x="12" y="27"/>
                </a:lnTo>
                <a:lnTo>
                  <a:pt x="0" y="16"/>
                </a:lnTo>
                <a:lnTo>
                  <a:pt x="20" y="0"/>
                </a:lnTo>
                <a:lnTo>
                  <a:pt x="30" y="13"/>
                </a:lnTo>
                <a:close/>
              </a:path>
            </a:pathLst>
          </a:custGeom>
          <a:solidFill>
            <a:schemeClr val="accent1"/>
          </a:solidFill>
          <a:ln w="6350">
            <a:solidFill>
              <a:schemeClr val="tx2"/>
            </a:solidFill>
            <a:round/>
            <a:headEnd/>
            <a:tailEnd/>
          </a:ln>
        </p:spPr>
        <p:txBody>
          <a:bodyPr/>
          <a:lstStyle/>
          <a:p>
            <a:endParaRPr lang="en-US"/>
          </a:p>
        </p:txBody>
      </p:sp>
      <p:sp>
        <p:nvSpPr>
          <p:cNvPr id="102" name="Freeform 1171"/>
          <p:cNvSpPr>
            <a:spLocks/>
          </p:cNvSpPr>
          <p:nvPr/>
        </p:nvSpPr>
        <p:spPr bwMode="auto">
          <a:xfrm>
            <a:off x="3305059" y="2297758"/>
            <a:ext cx="37267" cy="20378"/>
          </a:xfrm>
          <a:custGeom>
            <a:avLst/>
            <a:gdLst>
              <a:gd name="T0" fmla="*/ 2147483647 w 83"/>
              <a:gd name="T1" fmla="*/ 0 h 47"/>
              <a:gd name="T2" fmla="*/ 2147483647 w 83"/>
              <a:gd name="T3" fmla="*/ 2147483647 h 47"/>
              <a:gd name="T4" fmla="*/ 2147483647 w 83"/>
              <a:gd name="T5" fmla="*/ 2147483647 h 47"/>
              <a:gd name="T6" fmla="*/ 2147483647 w 83"/>
              <a:gd name="T7" fmla="*/ 2147483647 h 47"/>
              <a:gd name="T8" fmla="*/ 2147483647 w 83"/>
              <a:gd name="T9" fmla="*/ 2147483647 h 47"/>
              <a:gd name="T10" fmla="*/ 0 w 83"/>
              <a:gd name="T11" fmla="*/ 2147483647 h 47"/>
              <a:gd name="T12" fmla="*/ 2147483647 w 83"/>
              <a:gd name="T13" fmla="*/ 0 h 47"/>
              <a:gd name="T14" fmla="*/ 0 60000 65536"/>
              <a:gd name="T15" fmla="*/ 0 60000 65536"/>
              <a:gd name="T16" fmla="*/ 0 60000 65536"/>
              <a:gd name="T17" fmla="*/ 0 60000 65536"/>
              <a:gd name="T18" fmla="*/ 0 60000 65536"/>
              <a:gd name="T19" fmla="*/ 0 60000 65536"/>
              <a:gd name="T20" fmla="*/ 0 60000 65536"/>
              <a:gd name="T21" fmla="*/ 0 w 83"/>
              <a:gd name="T22" fmla="*/ 0 h 47"/>
              <a:gd name="T23" fmla="*/ 83 w 83"/>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47">
                <a:moveTo>
                  <a:pt x="63" y="0"/>
                </a:moveTo>
                <a:lnTo>
                  <a:pt x="83" y="14"/>
                </a:lnTo>
                <a:lnTo>
                  <a:pt x="78" y="32"/>
                </a:lnTo>
                <a:lnTo>
                  <a:pt x="60" y="43"/>
                </a:lnTo>
                <a:lnTo>
                  <a:pt x="15" y="47"/>
                </a:lnTo>
                <a:lnTo>
                  <a:pt x="0" y="26"/>
                </a:lnTo>
                <a:lnTo>
                  <a:pt x="63" y="0"/>
                </a:lnTo>
                <a:close/>
              </a:path>
            </a:pathLst>
          </a:custGeom>
          <a:solidFill>
            <a:schemeClr val="accent1"/>
          </a:solidFill>
          <a:ln w="6350">
            <a:solidFill>
              <a:schemeClr val="tx2"/>
            </a:solidFill>
            <a:round/>
            <a:headEnd/>
            <a:tailEnd/>
          </a:ln>
        </p:spPr>
        <p:txBody>
          <a:bodyPr/>
          <a:lstStyle/>
          <a:p>
            <a:endParaRPr lang="en-US"/>
          </a:p>
        </p:txBody>
      </p:sp>
      <p:sp>
        <p:nvSpPr>
          <p:cNvPr id="103" name="Freeform 1172"/>
          <p:cNvSpPr>
            <a:spLocks/>
          </p:cNvSpPr>
          <p:nvPr/>
        </p:nvSpPr>
        <p:spPr bwMode="auto">
          <a:xfrm>
            <a:off x="3316525" y="2316864"/>
            <a:ext cx="31533" cy="11463"/>
          </a:xfrm>
          <a:custGeom>
            <a:avLst/>
            <a:gdLst>
              <a:gd name="T0" fmla="*/ 2147483647 w 66"/>
              <a:gd name="T1" fmla="*/ 2147483647 h 31"/>
              <a:gd name="T2" fmla="*/ 2147483647 w 66"/>
              <a:gd name="T3" fmla="*/ 0 h 31"/>
              <a:gd name="T4" fmla="*/ 2147483647 w 66"/>
              <a:gd name="T5" fmla="*/ 2147483647 h 31"/>
              <a:gd name="T6" fmla="*/ 0 w 66"/>
              <a:gd name="T7" fmla="*/ 2147483647 h 31"/>
              <a:gd name="T8" fmla="*/ 2147483647 w 66"/>
              <a:gd name="T9" fmla="*/ 2147483647 h 31"/>
              <a:gd name="T10" fmla="*/ 0 60000 65536"/>
              <a:gd name="T11" fmla="*/ 0 60000 65536"/>
              <a:gd name="T12" fmla="*/ 0 60000 65536"/>
              <a:gd name="T13" fmla="*/ 0 60000 65536"/>
              <a:gd name="T14" fmla="*/ 0 60000 65536"/>
              <a:gd name="T15" fmla="*/ 0 w 66"/>
              <a:gd name="T16" fmla="*/ 0 h 31"/>
              <a:gd name="T17" fmla="*/ 66 w 66"/>
              <a:gd name="T18" fmla="*/ 31 h 31"/>
            </a:gdLst>
            <a:ahLst/>
            <a:cxnLst>
              <a:cxn ang="T10">
                <a:pos x="T0" y="T1"/>
              </a:cxn>
              <a:cxn ang="T11">
                <a:pos x="T2" y="T3"/>
              </a:cxn>
              <a:cxn ang="T12">
                <a:pos x="T4" y="T5"/>
              </a:cxn>
              <a:cxn ang="T13">
                <a:pos x="T6" y="T7"/>
              </a:cxn>
              <a:cxn ang="T14">
                <a:pos x="T8" y="T9"/>
              </a:cxn>
            </a:cxnLst>
            <a:rect l="T15" t="T16" r="T17" b="T18"/>
            <a:pathLst>
              <a:path w="66" h="31">
                <a:moveTo>
                  <a:pt x="38" y="2"/>
                </a:moveTo>
                <a:lnTo>
                  <a:pt x="66" y="0"/>
                </a:lnTo>
                <a:lnTo>
                  <a:pt x="58" y="13"/>
                </a:lnTo>
                <a:lnTo>
                  <a:pt x="0" y="31"/>
                </a:lnTo>
                <a:lnTo>
                  <a:pt x="38" y="2"/>
                </a:lnTo>
                <a:close/>
              </a:path>
            </a:pathLst>
          </a:custGeom>
          <a:solidFill>
            <a:schemeClr val="accent1"/>
          </a:solidFill>
          <a:ln w="6350">
            <a:solidFill>
              <a:schemeClr val="tx2"/>
            </a:solidFill>
            <a:round/>
            <a:headEnd/>
            <a:tailEnd/>
          </a:ln>
        </p:spPr>
        <p:txBody>
          <a:bodyPr/>
          <a:lstStyle/>
          <a:p>
            <a:endParaRPr lang="en-US"/>
          </a:p>
        </p:txBody>
      </p:sp>
      <p:sp>
        <p:nvSpPr>
          <p:cNvPr id="104" name="Freeform 1173"/>
          <p:cNvSpPr>
            <a:spLocks/>
          </p:cNvSpPr>
          <p:nvPr/>
        </p:nvSpPr>
        <p:spPr bwMode="auto">
          <a:xfrm>
            <a:off x="3326558" y="2324506"/>
            <a:ext cx="27234" cy="15284"/>
          </a:xfrm>
          <a:custGeom>
            <a:avLst/>
            <a:gdLst>
              <a:gd name="T0" fmla="*/ 2147483647 w 56"/>
              <a:gd name="T1" fmla="*/ 2147483647 h 35"/>
              <a:gd name="T2" fmla="*/ 2147483647 w 56"/>
              <a:gd name="T3" fmla="*/ 0 h 35"/>
              <a:gd name="T4" fmla="*/ 2147483647 w 56"/>
              <a:gd name="T5" fmla="*/ 2147483647 h 35"/>
              <a:gd name="T6" fmla="*/ 2147483647 w 56"/>
              <a:gd name="T7" fmla="*/ 2147483647 h 35"/>
              <a:gd name="T8" fmla="*/ 0 w 56"/>
              <a:gd name="T9" fmla="*/ 2147483647 h 35"/>
              <a:gd name="T10" fmla="*/ 2147483647 w 56"/>
              <a:gd name="T11" fmla="*/ 2147483647 h 35"/>
              <a:gd name="T12" fmla="*/ 0 60000 65536"/>
              <a:gd name="T13" fmla="*/ 0 60000 65536"/>
              <a:gd name="T14" fmla="*/ 0 60000 65536"/>
              <a:gd name="T15" fmla="*/ 0 60000 65536"/>
              <a:gd name="T16" fmla="*/ 0 60000 65536"/>
              <a:gd name="T17" fmla="*/ 0 60000 65536"/>
              <a:gd name="T18" fmla="*/ 0 w 56"/>
              <a:gd name="T19" fmla="*/ 0 h 35"/>
              <a:gd name="T20" fmla="*/ 56 w 56"/>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56" h="35">
                <a:moveTo>
                  <a:pt x="15" y="6"/>
                </a:moveTo>
                <a:lnTo>
                  <a:pt x="56" y="0"/>
                </a:lnTo>
                <a:lnTo>
                  <a:pt x="33" y="31"/>
                </a:lnTo>
                <a:lnTo>
                  <a:pt x="12" y="35"/>
                </a:lnTo>
                <a:lnTo>
                  <a:pt x="0" y="31"/>
                </a:lnTo>
                <a:lnTo>
                  <a:pt x="15" y="6"/>
                </a:lnTo>
                <a:close/>
              </a:path>
            </a:pathLst>
          </a:custGeom>
          <a:solidFill>
            <a:schemeClr val="accent1"/>
          </a:solidFill>
          <a:ln w="6350">
            <a:solidFill>
              <a:schemeClr val="tx2"/>
            </a:solidFill>
            <a:round/>
            <a:headEnd/>
            <a:tailEnd/>
          </a:ln>
        </p:spPr>
        <p:txBody>
          <a:bodyPr/>
          <a:lstStyle/>
          <a:p>
            <a:endParaRPr lang="en-US"/>
          </a:p>
        </p:txBody>
      </p:sp>
      <p:sp>
        <p:nvSpPr>
          <p:cNvPr id="105" name="Freeform 1174"/>
          <p:cNvSpPr>
            <a:spLocks/>
          </p:cNvSpPr>
          <p:nvPr/>
        </p:nvSpPr>
        <p:spPr bwMode="auto">
          <a:xfrm>
            <a:off x="3296459" y="2362715"/>
            <a:ext cx="25800" cy="26747"/>
          </a:xfrm>
          <a:custGeom>
            <a:avLst/>
            <a:gdLst>
              <a:gd name="T0" fmla="*/ 2147483647 w 55"/>
              <a:gd name="T1" fmla="*/ 0 h 67"/>
              <a:gd name="T2" fmla="*/ 2147483647 w 55"/>
              <a:gd name="T3" fmla="*/ 2147483647 h 67"/>
              <a:gd name="T4" fmla="*/ 2147483647 w 55"/>
              <a:gd name="T5" fmla="*/ 2147483647 h 67"/>
              <a:gd name="T6" fmla="*/ 2147483647 w 55"/>
              <a:gd name="T7" fmla="*/ 2147483647 h 67"/>
              <a:gd name="T8" fmla="*/ 0 w 55"/>
              <a:gd name="T9" fmla="*/ 2147483647 h 67"/>
              <a:gd name="T10" fmla="*/ 2147483647 w 55"/>
              <a:gd name="T11" fmla="*/ 2147483647 h 67"/>
              <a:gd name="T12" fmla="*/ 2147483647 w 55"/>
              <a:gd name="T13" fmla="*/ 0 h 67"/>
              <a:gd name="T14" fmla="*/ 0 60000 65536"/>
              <a:gd name="T15" fmla="*/ 0 60000 65536"/>
              <a:gd name="T16" fmla="*/ 0 60000 65536"/>
              <a:gd name="T17" fmla="*/ 0 60000 65536"/>
              <a:gd name="T18" fmla="*/ 0 60000 65536"/>
              <a:gd name="T19" fmla="*/ 0 60000 65536"/>
              <a:gd name="T20" fmla="*/ 0 60000 65536"/>
              <a:gd name="T21" fmla="*/ 0 w 55"/>
              <a:gd name="T22" fmla="*/ 0 h 67"/>
              <a:gd name="T23" fmla="*/ 55 w 55"/>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7">
                <a:moveTo>
                  <a:pt x="35" y="0"/>
                </a:moveTo>
                <a:lnTo>
                  <a:pt x="55" y="45"/>
                </a:lnTo>
                <a:lnTo>
                  <a:pt x="48" y="59"/>
                </a:lnTo>
                <a:lnTo>
                  <a:pt x="30" y="67"/>
                </a:lnTo>
                <a:lnTo>
                  <a:pt x="0" y="44"/>
                </a:lnTo>
                <a:lnTo>
                  <a:pt x="14" y="2"/>
                </a:lnTo>
                <a:lnTo>
                  <a:pt x="35" y="0"/>
                </a:lnTo>
                <a:close/>
              </a:path>
            </a:pathLst>
          </a:custGeom>
          <a:solidFill>
            <a:schemeClr val="accent1"/>
          </a:solidFill>
          <a:ln w="6350">
            <a:solidFill>
              <a:schemeClr val="tx2"/>
            </a:solidFill>
            <a:round/>
            <a:headEnd/>
            <a:tailEnd/>
          </a:ln>
        </p:spPr>
        <p:txBody>
          <a:bodyPr/>
          <a:lstStyle/>
          <a:p>
            <a:endParaRPr lang="en-US"/>
          </a:p>
        </p:txBody>
      </p:sp>
      <p:sp>
        <p:nvSpPr>
          <p:cNvPr id="106" name="Freeform 1175"/>
          <p:cNvSpPr>
            <a:spLocks/>
          </p:cNvSpPr>
          <p:nvPr/>
        </p:nvSpPr>
        <p:spPr bwMode="auto">
          <a:xfrm>
            <a:off x="3038458" y="2255728"/>
            <a:ext cx="247967" cy="175765"/>
          </a:xfrm>
          <a:custGeom>
            <a:avLst/>
            <a:gdLst>
              <a:gd name="T0" fmla="*/ 2147483647 w 529"/>
              <a:gd name="T1" fmla="*/ 2147483647 h 419"/>
              <a:gd name="T2" fmla="*/ 2147483647 w 529"/>
              <a:gd name="T3" fmla="*/ 0 h 419"/>
              <a:gd name="T4" fmla="*/ 2147483647 w 529"/>
              <a:gd name="T5" fmla="*/ 2147483647 h 419"/>
              <a:gd name="T6" fmla="*/ 2147483647 w 529"/>
              <a:gd name="T7" fmla="*/ 2147483647 h 419"/>
              <a:gd name="T8" fmla="*/ 2147483647 w 529"/>
              <a:gd name="T9" fmla="*/ 2147483647 h 419"/>
              <a:gd name="T10" fmla="*/ 2147483647 w 529"/>
              <a:gd name="T11" fmla="*/ 2147483647 h 419"/>
              <a:gd name="T12" fmla="*/ 2147483647 w 529"/>
              <a:gd name="T13" fmla="*/ 2147483647 h 419"/>
              <a:gd name="T14" fmla="*/ 2147483647 w 529"/>
              <a:gd name="T15" fmla="*/ 2147483647 h 419"/>
              <a:gd name="T16" fmla="*/ 2147483647 w 529"/>
              <a:gd name="T17" fmla="*/ 2147483647 h 419"/>
              <a:gd name="T18" fmla="*/ 2147483647 w 529"/>
              <a:gd name="T19" fmla="*/ 2147483647 h 419"/>
              <a:gd name="T20" fmla="*/ 2147483647 w 529"/>
              <a:gd name="T21" fmla="*/ 2147483647 h 419"/>
              <a:gd name="T22" fmla="*/ 2147483647 w 529"/>
              <a:gd name="T23" fmla="*/ 2147483647 h 419"/>
              <a:gd name="T24" fmla="*/ 2147483647 w 529"/>
              <a:gd name="T25" fmla="*/ 2147483647 h 419"/>
              <a:gd name="T26" fmla="*/ 2147483647 w 529"/>
              <a:gd name="T27" fmla="*/ 2147483647 h 419"/>
              <a:gd name="T28" fmla="*/ 2147483647 w 529"/>
              <a:gd name="T29" fmla="*/ 2147483647 h 419"/>
              <a:gd name="T30" fmla="*/ 2147483647 w 529"/>
              <a:gd name="T31" fmla="*/ 2147483647 h 419"/>
              <a:gd name="T32" fmla="*/ 2147483647 w 529"/>
              <a:gd name="T33" fmla="*/ 2147483647 h 419"/>
              <a:gd name="T34" fmla="*/ 2147483647 w 529"/>
              <a:gd name="T35" fmla="*/ 2147483647 h 419"/>
              <a:gd name="T36" fmla="*/ 2147483647 w 529"/>
              <a:gd name="T37" fmla="*/ 2147483647 h 419"/>
              <a:gd name="T38" fmla="*/ 2147483647 w 529"/>
              <a:gd name="T39" fmla="*/ 2147483647 h 419"/>
              <a:gd name="T40" fmla="*/ 2147483647 w 529"/>
              <a:gd name="T41" fmla="*/ 2147483647 h 419"/>
              <a:gd name="T42" fmla="*/ 2147483647 w 529"/>
              <a:gd name="T43" fmla="*/ 2147483647 h 419"/>
              <a:gd name="T44" fmla="*/ 2147483647 w 529"/>
              <a:gd name="T45" fmla="*/ 2147483647 h 419"/>
              <a:gd name="T46" fmla="*/ 2147483647 w 529"/>
              <a:gd name="T47" fmla="*/ 2147483647 h 419"/>
              <a:gd name="T48" fmla="*/ 2147483647 w 529"/>
              <a:gd name="T49" fmla="*/ 2147483647 h 419"/>
              <a:gd name="T50" fmla="*/ 2147483647 w 529"/>
              <a:gd name="T51" fmla="*/ 2147483647 h 419"/>
              <a:gd name="T52" fmla="*/ 2147483647 w 529"/>
              <a:gd name="T53" fmla="*/ 2147483647 h 419"/>
              <a:gd name="T54" fmla="*/ 2147483647 w 529"/>
              <a:gd name="T55" fmla="*/ 2147483647 h 419"/>
              <a:gd name="T56" fmla="*/ 2147483647 w 529"/>
              <a:gd name="T57" fmla="*/ 2147483647 h 419"/>
              <a:gd name="T58" fmla="*/ 2147483647 w 529"/>
              <a:gd name="T59" fmla="*/ 2147483647 h 419"/>
              <a:gd name="T60" fmla="*/ 2147483647 w 529"/>
              <a:gd name="T61" fmla="*/ 2147483647 h 419"/>
              <a:gd name="T62" fmla="*/ 2147483647 w 529"/>
              <a:gd name="T63" fmla="*/ 2147483647 h 419"/>
              <a:gd name="T64" fmla="*/ 2147483647 w 529"/>
              <a:gd name="T65" fmla="*/ 2147483647 h 419"/>
              <a:gd name="T66" fmla="*/ 2147483647 w 529"/>
              <a:gd name="T67" fmla="*/ 2147483647 h 419"/>
              <a:gd name="T68" fmla="*/ 2147483647 w 529"/>
              <a:gd name="T69" fmla="*/ 2147483647 h 419"/>
              <a:gd name="T70" fmla="*/ 2147483647 w 529"/>
              <a:gd name="T71" fmla="*/ 2147483647 h 419"/>
              <a:gd name="T72" fmla="*/ 2147483647 w 529"/>
              <a:gd name="T73" fmla="*/ 2147483647 h 419"/>
              <a:gd name="T74" fmla="*/ 2147483647 w 529"/>
              <a:gd name="T75" fmla="*/ 2147483647 h 419"/>
              <a:gd name="T76" fmla="*/ 2147483647 w 529"/>
              <a:gd name="T77" fmla="*/ 2147483647 h 419"/>
              <a:gd name="T78" fmla="*/ 2147483647 w 529"/>
              <a:gd name="T79" fmla="*/ 2147483647 h 419"/>
              <a:gd name="T80" fmla="*/ 2147483647 w 529"/>
              <a:gd name="T81" fmla="*/ 2147483647 h 419"/>
              <a:gd name="T82" fmla="*/ 2147483647 w 529"/>
              <a:gd name="T83" fmla="*/ 2147483647 h 419"/>
              <a:gd name="T84" fmla="*/ 2147483647 w 529"/>
              <a:gd name="T85" fmla="*/ 2147483647 h 419"/>
              <a:gd name="T86" fmla="*/ 2147483647 w 529"/>
              <a:gd name="T87" fmla="*/ 2147483647 h 419"/>
              <a:gd name="T88" fmla="*/ 2147483647 w 529"/>
              <a:gd name="T89" fmla="*/ 2147483647 h 419"/>
              <a:gd name="T90" fmla="*/ 2147483647 w 529"/>
              <a:gd name="T91" fmla="*/ 2147483647 h 419"/>
              <a:gd name="T92" fmla="*/ 2147483647 w 529"/>
              <a:gd name="T93" fmla="*/ 2147483647 h 419"/>
              <a:gd name="T94" fmla="*/ 2147483647 w 529"/>
              <a:gd name="T95" fmla="*/ 2147483647 h 4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9"/>
              <a:gd name="T145" fmla="*/ 0 h 419"/>
              <a:gd name="T146" fmla="*/ 529 w 529"/>
              <a:gd name="T147" fmla="*/ 419 h 4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9" h="419">
                <a:moveTo>
                  <a:pt x="329" y="65"/>
                </a:moveTo>
                <a:lnTo>
                  <a:pt x="345" y="56"/>
                </a:lnTo>
                <a:lnTo>
                  <a:pt x="360" y="6"/>
                </a:lnTo>
                <a:lnTo>
                  <a:pt x="383" y="0"/>
                </a:lnTo>
                <a:lnTo>
                  <a:pt x="396" y="21"/>
                </a:lnTo>
                <a:lnTo>
                  <a:pt x="386" y="38"/>
                </a:lnTo>
                <a:lnTo>
                  <a:pt x="393" y="54"/>
                </a:lnTo>
                <a:lnTo>
                  <a:pt x="393" y="74"/>
                </a:lnTo>
                <a:lnTo>
                  <a:pt x="413" y="101"/>
                </a:lnTo>
                <a:lnTo>
                  <a:pt x="392" y="139"/>
                </a:lnTo>
                <a:lnTo>
                  <a:pt x="436" y="153"/>
                </a:lnTo>
                <a:lnTo>
                  <a:pt x="418" y="190"/>
                </a:lnTo>
                <a:lnTo>
                  <a:pt x="455" y="171"/>
                </a:lnTo>
                <a:lnTo>
                  <a:pt x="468" y="208"/>
                </a:lnTo>
                <a:lnTo>
                  <a:pt x="475" y="189"/>
                </a:lnTo>
                <a:lnTo>
                  <a:pt x="468" y="162"/>
                </a:lnTo>
                <a:lnTo>
                  <a:pt x="476" y="144"/>
                </a:lnTo>
                <a:lnTo>
                  <a:pt x="518" y="169"/>
                </a:lnTo>
                <a:lnTo>
                  <a:pt x="528" y="192"/>
                </a:lnTo>
                <a:lnTo>
                  <a:pt x="529" y="219"/>
                </a:lnTo>
                <a:lnTo>
                  <a:pt x="499" y="318"/>
                </a:lnTo>
                <a:lnTo>
                  <a:pt x="452" y="338"/>
                </a:lnTo>
                <a:lnTo>
                  <a:pt x="434" y="327"/>
                </a:lnTo>
                <a:lnTo>
                  <a:pt x="431" y="310"/>
                </a:lnTo>
                <a:lnTo>
                  <a:pt x="400" y="334"/>
                </a:lnTo>
                <a:lnTo>
                  <a:pt x="385" y="330"/>
                </a:lnTo>
                <a:lnTo>
                  <a:pt x="392" y="323"/>
                </a:lnTo>
                <a:lnTo>
                  <a:pt x="386" y="306"/>
                </a:lnTo>
                <a:lnTo>
                  <a:pt x="353" y="341"/>
                </a:lnTo>
                <a:lnTo>
                  <a:pt x="303" y="359"/>
                </a:lnTo>
                <a:lnTo>
                  <a:pt x="295" y="381"/>
                </a:lnTo>
                <a:lnTo>
                  <a:pt x="218" y="419"/>
                </a:lnTo>
                <a:lnTo>
                  <a:pt x="159" y="402"/>
                </a:lnTo>
                <a:lnTo>
                  <a:pt x="140" y="380"/>
                </a:lnTo>
                <a:lnTo>
                  <a:pt x="143" y="365"/>
                </a:lnTo>
                <a:lnTo>
                  <a:pt x="184" y="351"/>
                </a:lnTo>
                <a:lnTo>
                  <a:pt x="199" y="326"/>
                </a:lnTo>
                <a:lnTo>
                  <a:pt x="257" y="330"/>
                </a:lnTo>
                <a:lnTo>
                  <a:pt x="288" y="276"/>
                </a:lnTo>
                <a:lnTo>
                  <a:pt x="231" y="299"/>
                </a:lnTo>
                <a:lnTo>
                  <a:pt x="230" y="282"/>
                </a:lnTo>
                <a:lnTo>
                  <a:pt x="214" y="278"/>
                </a:lnTo>
                <a:lnTo>
                  <a:pt x="207" y="306"/>
                </a:lnTo>
                <a:lnTo>
                  <a:pt x="194" y="297"/>
                </a:lnTo>
                <a:lnTo>
                  <a:pt x="163" y="320"/>
                </a:lnTo>
                <a:lnTo>
                  <a:pt x="158" y="312"/>
                </a:lnTo>
                <a:lnTo>
                  <a:pt x="169" y="292"/>
                </a:lnTo>
                <a:lnTo>
                  <a:pt x="166" y="266"/>
                </a:lnTo>
                <a:lnTo>
                  <a:pt x="184" y="250"/>
                </a:lnTo>
                <a:lnTo>
                  <a:pt x="157" y="254"/>
                </a:lnTo>
                <a:lnTo>
                  <a:pt x="151" y="285"/>
                </a:lnTo>
                <a:lnTo>
                  <a:pt x="134" y="271"/>
                </a:lnTo>
                <a:lnTo>
                  <a:pt x="140" y="309"/>
                </a:lnTo>
                <a:lnTo>
                  <a:pt x="122" y="327"/>
                </a:lnTo>
                <a:lnTo>
                  <a:pt x="112" y="326"/>
                </a:lnTo>
                <a:lnTo>
                  <a:pt x="108" y="296"/>
                </a:lnTo>
                <a:lnTo>
                  <a:pt x="90" y="304"/>
                </a:lnTo>
                <a:lnTo>
                  <a:pt x="90" y="330"/>
                </a:lnTo>
                <a:lnTo>
                  <a:pt x="63" y="314"/>
                </a:lnTo>
                <a:lnTo>
                  <a:pt x="67" y="305"/>
                </a:lnTo>
                <a:lnTo>
                  <a:pt x="61" y="289"/>
                </a:lnTo>
                <a:lnTo>
                  <a:pt x="46" y="304"/>
                </a:lnTo>
                <a:lnTo>
                  <a:pt x="0" y="281"/>
                </a:lnTo>
                <a:lnTo>
                  <a:pt x="19" y="243"/>
                </a:lnTo>
                <a:lnTo>
                  <a:pt x="68" y="243"/>
                </a:lnTo>
                <a:lnTo>
                  <a:pt x="110" y="203"/>
                </a:lnTo>
                <a:lnTo>
                  <a:pt x="48" y="233"/>
                </a:lnTo>
                <a:lnTo>
                  <a:pt x="18" y="229"/>
                </a:lnTo>
                <a:lnTo>
                  <a:pt x="18" y="211"/>
                </a:lnTo>
                <a:lnTo>
                  <a:pt x="27" y="192"/>
                </a:lnTo>
                <a:lnTo>
                  <a:pt x="37" y="176"/>
                </a:lnTo>
                <a:lnTo>
                  <a:pt x="48" y="154"/>
                </a:lnTo>
                <a:lnTo>
                  <a:pt x="40" y="140"/>
                </a:lnTo>
                <a:lnTo>
                  <a:pt x="48" y="124"/>
                </a:lnTo>
                <a:lnTo>
                  <a:pt x="74" y="101"/>
                </a:lnTo>
                <a:lnTo>
                  <a:pt x="90" y="69"/>
                </a:lnTo>
                <a:lnTo>
                  <a:pt x="116" y="62"/>
                </a:lnTo>
                <a:lnTo>
                  <a:pt x="150" y="75"/>
                </a:lnTo>
                <a:lnTo>
                  <a:pt x="147" y="97"/>
                </a:lnTo>
                <a:lnTo>
                  <a:pt x="151" y="115"/>
                </a:lnTo>
                <a:lnTo>
                  <a:pt x="203" y="106"/>
                </a:lnTo>
                <a:lnTo>
                  <a:pt x="220" y="120"/>
                </a:lnTo>
                <a:lnTo>
                  <a:pt x="252" y="165"/>
                </a:lnTo>
                <a:lnTo>
                  <a:pt x="235" y="184"/>
                </a:lnTo>
                <a:lnTo>
                  <a:pt x="263" y="178"/>
                </a:lnTo>
                <a:lnTo>
                  <a:pt x="269" y="196"/>
                </a:lnTo>
                <a:lnTo>
                  <a:pt x="263" y="201"/>
                </a:lnTo>
                <a:lnTo>
                  <a:pt x="275" y="233"/>
                </a:lnTo>
                <a:lnTo>
                  <a:pt x="375" y="235"/>
                </a:lnTo>
                <a:lnTo>
                  <a:pt x="378" y="204"/>
                </a:lnTo>
                <a:lnTo>
                  <a:pt x="334" y="172"/>
                </a:lnTo>
                <a:lnTo>
                  <a:pt x="362" y="149"/>
                </a:lnTo>
                <a:lnTo>
                  <a:pt x="353" y="119"/>
                </a:lnTo>
                <a:lnTo>
                  <a:pt x="316" y="94"/>
                </a:lnTo>
                <a:lnTo>
                  <a:pt x="311" y="73"/>
                </a:lnTo>
                <a:lnTo>
                  <a:pt x="329" y="65"/>
                </a:lnTo>
                <a:close/>
              </a:path>
            </a:pathLst>
          </a:custGeom>
          <a:solidFill>
            <a:schemeClr val="accent1"/>
          </a:solidFill>
          <a:ln w="6350">
            <a:solidFill>
              <a:schemeClr val="tx2"/>
            </a:solidFill>
            <a:round/>
            <a:headEnd/>
            <a:tailEnd/>
          </a:ln>
        </p:spPr>
        <p:txBody>
          <a:bodyPr/>
          <a:lstStyle/>
          <a:p>
            <a:endParaRPr lang="en-US"/>
          </a:p>
        </p:txBody>
      </p:sp>
      <p:sp>
        <p:nvSpPr>
          <p:cNvPr id="107" name="Freeform 1176"/>
          <p:cNvSpPr>
            <a:spLocks/>
          </p:cNvSpPr>
          <p:nvPr/>
        </p:nvSpPr>
        <p:spPr bwMode="auto">
          <a:xfrm>
            <a:off x="3004057" y="2313043"/>
            <a:ext cx="37267" cy="43304"/>
          </a:xfrm>
          <a:custGeom>
            <a:avLst/>
            <a:gdLst>
              <a:gd name="T0" fmla="*/ 2147483647 w 77"/>
              <a:gd name="T1" fmla="*/ 2147483647 h 105"/>
              <a:gd name="T2" fmla="*/ 2147483647 w 77"/>
              <a:gd name="T3" fmla="*/ 0 h 105"/>
              <a:gd name="T4" fmla="*/ 2147483647 w 77"/>
              <a:gd name="T5" fmla="*/ 2147483647 h 105"/>
              <a:gd name="T6" fmla="*/ 2147483647 w 77"/>
              <a:gd name="T7" fmla="*/ 2147483647 h 105"/>
              <a:gd name="T8" fmla="*/ 0 w 77"/>
              <a:gd name="T9" fmla="*/ 2147483647 h 105"/>
              <a:gd name="T10" fmla="*/ 2147483647 w 77"/>
              <a:gd name="T11" fmla="*/ 2147483647 h 105"/>
              <a:gd name="T12" fmla="*/ 0 60000 65536"/>
              <a:gd name="T13" fmla="*/ 0 60000 65536"/>
              <a:gd name="T14" fmla="*/ 0 60000 65536"/>
              <a:gd name="T15" fmla="*/ 0 60000 65536"/>
              <a:gd name="T16" fmla="*/ 0 60000 65536"/>
              <a:gd name="T17" fmla="*/ 0 60000 65536"/>
              <a:gd name="T18" fmla="*/ 0 w 77"/>
              <a:gd name="T19" fmla="*/ 0 h 105"/>
              <a:gd name="T20" fmla="*/ 77 w 77"/>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7" h="105">
                <a:moveTo>
                  <a:pt x="57" y="13"/>
                </a:moveTo>
                <a:lnTo>
                  <a:pt x="70" y="0"/>
                </a:lnTo>
                <a:lnTo>
                  <a:pt x="77" y="14"/>
                </a:lnTo>
                <a:lnTo>
                  <a:pt x="40" y="105"/>
                </a:lnTo>
                <a:lnTo>
                  <a:pt x="0" y="76"/>
                </a:lnTo>
                <a:lnTo>
                  <a:pt x="57" y="13"/>
                </a:lnTo>
                <a:close/>
              </a:path>
            </a:pathLst>
          </a:custGeom>
          <a:solidFill>
            <a:schemeClr val="accent1"/>
          </a:solidFill>
          <a:ln w="6350">
            <a:solidFill>
              <a:schemeClr val="tx2"/>
            </a:solidFill>
            <a:round/>
            <a:headEnd/>
            <a:tailEnd/>
          </a:ln>
        </p:spPr>
        <p:txBody>
          <a:bodyPr/>
          <a:lstStyle/>
          <a:p>
            <a:endParaRPr lang="en-US"/>
          </a:p>
        </p:txBody>
      </p:sp>
      <p:sp>
        <p:nvSpPr>
          <p:cNvPr id="108" name="Freeform 1177"/>
          <p:cNvSpPr>
            <a:spLocks/>
          </p:cNvSpPr>
          <p:nvPr/>
        </p:nvSpPr>
        <p:spPr bwMode="auto">
          <a:xfrm>
            <a:off x="2932391" y="2199688"/>
            <a:ext cx="146200" cy="135008"/>
          </a:xfrm>
          <a:custGeom>
            <a:avLst/>
            <a:gdLst>
              <a:gd name="T0" fmla="*/ 2147483647 w 315"/>
              <a:gd name="T1" fmla="*/ 2147483647 h 322"/>
              <a:gd name="T2" fmla="*/ 2147483647 w 315"/>
              <a:gd name="T3" fmla="*/ 2147483647 h 322"/>
              <a:gd name="T4" fmla="*/ 2147483647 w 315"/>
              <a:gd name="T5" fmla="*/ 2147483647 h 322"/>
              <a:gd name="T6" fmla="*/ 2147483647 w 315"/>
              <a:gd name="T7" fmla="*/ 2147483647 h 322"/>
              <a:gd name="T8" fmla="*/ 2147483647 w 315"/>
              <a:gd name="T9" fmla="*/ 2147483647 h 322"/>
              <a:gd name="T10" fmla="*/ 2147483647 w 315"/>
              <a:gd name="T11" fmla="*/ 2147483647 h 322"/>
              <a:gd name="T12" fmla="*/ 2147483647 w 315"/>
              <a:gd name="T13" fmla="*/ 2147483647 h 322"/>
              <a:gd name="T14" fmla="*/ 2147483647 w 315"/>
              <a:gd name="T15" fmla="*/ 2147483647 h 322"/>
              <a:gd name="T16" fmla="*/ 2147483647 w 315"/>
              <a:gd name="T17" fmla="*/ 0 h 322"/>
              <a:gd name="T18" fmla="*/ 2147483647 w 315"/>
              <a:gd name="T19" fmla="*/ 2147483647 h 322"/>
              <a:gd name="T20" fmla="*/ 2147483647 w 315"/>
              <a:gd name="T21" fmla="*/ 2147483647 h 322"/>
              <a:gd name="T22" fmla="*/ 2147483647 w 315"/>
              <a:gd name="T23" fmla="*/ 2147483647 h 322"/>
              <a:gd name="T24" fmla="*/ 2147483647 w 315"/>
              <a:gd name="T25" fmla="*/ 2147483647 h 322"/>
              <a:gd name="T26" fmla="*/ 2147483647 w 315"/>
              <a:gd name="T27" fmla="*/ 2147483647 h 322"/>
              <a:gd name="T28" fmla="*/ 2147483647 w 315"/>
              <a:gd name="T29" fmla="*/ 2147483647 h 322"/>
              <a:gd name="T30" fmla="*/ 2147483647 w 315"/>
              <a:gd name="T31" fmla="*/ 2147483647 h 322"/>
              <a:gd name="T32" fmla="*/ 2147483647 w 315"/>
              <a:gd name="T33" fmla="*/ 2147483647 h 322"/>
              <a:gd name="T34" fmla="*/ 2147483647 w 315"/>
              <a:gd name="T35" fmla="*/ 2147483647 h 322"/>
              <a:gd name="T36" fmla="*/ 2147483647 w 315"/>
              <a:gd name="T37" fmla="*/ 2147483647 h 322"/>
              <a:gd name="T38" fmla="*/ 2147483647 w 315"/>
              <a:gd name="T39" fmla="*/ 2147483647 h 322"/>
              <a:gd name="T40" fmla="*/ 2147483647 w 315"/>
              <a:gd name="T41" fmla="*/ 2147483647 h 322"/>
              <a:gd name="T42" fmla="*/ 2147483647 w 315"/>
              <a:gd name="T43" fmla="*/ 2147483647 h 322"/>
              <a:gd name="T44" fmla="*/ 2147483647 w 315"/>
              <a:gd name="T45" fmla="*/ 2147483647 h 322"/>
              <a:gd name="T46" fmla="*/ 2147483647 w 315"/>
              <a:gd name="T47" fmla="*/ 2147483647 h 322"/>
              <a:gd name="T48" fmla="*/ 2147483647 w 315"/>
              <a:gd name="T49" fmla="*/ 2147483647 h 322"/>
              <a:gd name="T50" fmla="*/ 2147483647 w 315"/>
              <a:gd name="T51" fmla="*/ 2147483647 h 322"/>
              <a:gd name="T52" fmla="*/ 2147483647 w 315"/>
              <a:gd name="T53" fmla="*/ 2147483647 h 322"/>
              <a:gd name="T54" fmla="*/ 2147483647 w 315"/>
              <a:gd name="T55" fmla="*/ 2147483647 h 322"/>
              <a:gd name="T56" fmla="*/ 2147483647 w 315"/>
              <a:gd name="T57" fmla="*/ 2147483647 h 322"/>
              <a:gd name="T58" fmla="*/ 2147483647 w 315"/>
              <a:gd name="T59" fmla="*/ 2147483647 h 322"/>
              <a:gd name="T60" fmla="*/ 2147483647 w 315"/>
              <a:gd name="T61" fmla="*/ 2147483647 h 322"/>
              <a:gd name="T62" fmla="*/ 2147483647 w 315"/>
              <a:gd name="T63" fmla="*/ 2147483647 h 322"/>
              <a:gd name="T64" fmla="*/ 2147483647 w 315"/>
              <a:gd name="T65" fmla="*/ 2147483647 h 322"/>
              <a:gd name="T66" fmla="*/ 2147483647 w 315"/>
              <a:gd name="T67" fmla="*/ 2147483647 h 322"/>
              <a:gd name="T68" fmla="*/ 2147483647 w 315"/>
              <a:gd name="T69" fmla="*/ 2147483647 h 322"/>
              <a:gd name="T70" fmla="*/ 2147483647 w 315"/>
              <a:gd name="T71" fmla="*/ 2147483647 h 322"/>
              <a:gd name="T72" fmla="*/ 2147483647 w 315"/>
              <a:gd name="T73" fmla="*/ 2147483647 h 322"/>
              <a:gd name="T74" fmla="*/ 2147483647 w 315"/>
              <a:gd name="T75" fmla="*/ 2147483647 h 322"/>
              <a:gd name="T76" fmla="*/ 2147483647 w 315"/>
              <a:gd name="T77" fmla="*/ 2147483647 h 322"/>
              <a:gd name="T78" fmla="*/ 2147483647 w 315"/>
              <a:gd name="T79" fmla="*/ 2147483647 h 322"/>
              <a:gd name="T80" fmla="*/ 2147483647 w 315"/>
              <a:gd name="T81" fmla="*/ 2147483647 h 322"/>
              <a:gd name="T82" fmla="*/ 2147483647 w 315"/>
              <a:gd name="T83" fmla="*/ 2147483647 h 322"/>
              <a:gd name="T84" fmla="*/ 2147483647 w 315"/>
              <a:gd name="T85" fmla="*/ 2147483647 h 322"/>
              <a:gd name="T86" fmla="*/ 2147483647 w 315"/>
              <a:gd name="T87" fmla="*/ 2147483647 h 322"/>
              <a:gd name="T88" fmla="*/ 2147483647 w 315"/>
              <a:gd name="T89" fmla="*/ 2147483647 h 322"/>
              <a:gd name="T90" fmla="*/ 2147483647 w 315"/>
              <a:gd name="T91" fmla="*/ 2147483647 h 322"/>
              <a:gd name="T92" fmla="*/ 2147483647 w 315"/>
              <a:gd name="T93" fmla="*/ 2147483647 h 322"/>
              <a:gd name="T94" fmla="*/ 0 w 315"/>
              <a:gd name="T95" fmla="*/ 2147483647 h 322"/>
              <a:gd name="T96" fmla="*/ 2147483647 w 315"/>
              <a:gd name="T97" fmla="*/ 2147483647 h 322"/>
              <a:gd name="T98" fmla="*/ 2147483647 w 315"/>
              <a:gd name="T99" fmla="*/ 2147483647 h 322"/>
              <a:gd name="T100" fmla="*/ 2147483647 w 315"/>
              <a:gd name="T101" fmla="*/ 2147483647 h 322"/>
              <a:gd name="T102" fmla="*/ 2147483647 w 315"/>
              <a:gd name="T103" fmla="*/ 2147483647 h 322"/>
              <a:gd name="T104" fmla="*/ 2147483647 w 315"/>
              <a:gd name="T105" fmla="*/ 2147483647 h 322"/>
              <a:gd name="T106" fmla="*/ 2147483647 w 315"/>
              <a:gd name="T107" fmla="*/ 2147483647 h 3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15"/>
              <a:gd name="T163" fmla="*/ 0 h 322"/>
              <a:gd name="T164" fmla="*/ 315 w 315"/>
              <a:gd name="T165" fmla="*/ 322 h 3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15" h="322">
                <a:moveTo>
                  <a:pt x="122" y="105"/>
                </a:moveTo>
                <a:lnTo>
                  <a:pt x="177" y="38"/>
                </a:lnTo>
                <a:lnTo>
                  <a:pt x="212" y="35"/>
                </a:lnTo>
                <a:lnTo>
                  <a:pt x="213" y="60"/>
                </a:lnTo>
                <a:lnTo>
                  <a:pt x="217" y="38"/>
                </a:lnTo>
                <a:lnTo>
                  <a:pt x="252" y="48"/>
                </a:lnTo>
                <a:lnTo>
                  <a:pt x="259" y="34"/>
                </a:lnTo>
                <a:lnTo>
                  <a:pt x="243" y="19"/>
                </a:lnTo>
                <a:lnTo>
                  <a:pt x="270" y="0"/>
                </a:lnTo>
                <a:lnTo>
                  <a:pt x="315" y="52"/>
                </a:lnTo>
                <a:lnTo>
                  <a:pt x="275" y="78"/>
                </a:lnTo>
                <a:lnTo>
                  <a:pt x="296" y="117"/>
                </a:lnTo>
                <a:lnTo>
                  <a:pt x="278" y="125"/>
                </a:lnTo>
                <a:lnTo>
                  <a:pt x="294" y="164"/>
                </a:lnTo>
                <a:lnTo>
                  <a:pt x="251" y="192"/>
                </a:lnTo>
                <a:lnTo>
                  <a:pt x="247" y="238"/>
                </a:lnTo>
                <a:lnTo>
                  <a:pt x="227" y="241"/>
                </a:lnTo>
                <a:lnTo>
                  <a:pt x="209" y="210"/>
                </a:lnTo>
                <a:lnTo>
                  <a:pt x="218" y="143"/>
                </a:lnTo>
                <a:lnTo>
                  <a:pt x="194" y="148"/>
                </a:lnTo>
                <a:lnTo>
                  <a:pt x="187" y="168"/>
                </a:lnTo>
                <a:lnTo>
                  <a:pt x="194" y="192"/>
                </a:lnTo>
                <a:lnTo>
                  <a:pt x="168" y="201"/>
                </a:lnTo>
                <a:lnTo>
                  <a:pt x="185" y="229"/>
                </a:lnTo>
                <a:lnTo>
                  <a:pt x="172" y="244"/>
                </a:lnTo>
                <a:lnTo>
                  <a:pt x="166" y="268"/>
                </a:lnTo>
                <a:lnTo>
                  <a:pt x="159" y="269"/>
                </a:lnTo>
                <a:lnTo>
                  <a:pt x="146" y="224"/>
                </a:lnTo>
                <a:lnTo>
                  <a:pt x="137" y="227"/>
                </a:lnTo>
                <a:lnTo>
                  <a:pt x="141" y="254"/>
                </a:lnTo>
                <a:lnTo>
                  <a:pt x="137" y="262"/>
                </a:lnTo>
                <a:lnTo>
                  <a:pt x="129" y="272"/>
                </a:lnTo>
                <a:lnTo>
                  <a:pt x="143" y="294"/>
                </a:lnTo>
                <a:lnTo>
                  <a:pt x="129" y="313"/>
                </a:lnTo>
                <a:lnTo>
                  <a:pt x="116" y="302"/>
                </a:lnTo>
                <a:lnTo>
                  <a:pt x="111" y="322"/>
                </a:lnTo>
                <a:lnTo>
                  <a:pt x="104" y="288"/>
                </a:lnTo>
                <a:lnTo>
                  <a:pt x="90" y="275"/>
                </a:lnTo>
                <a:lnTo>
                  <a:pt x="90" y="251"/>
                </a:lnTo>
                <a:lnTo>
                  <a:pt x="81" y="258"/>
                </a:lnTo>
                <a:lnTo>
                  <a:pt x="71" y="300"/>
                </a:lnTo>
                <a:lnTo>
                  <a:pt x="45" y="281"/>
                </a:lnTo>
                <a:lnTo>
                  <a:pt x="46" y="261"/>
                </a:lnTo>
                <a:lnTo>
                  <a:pt x="17" y="301"/>
                </a:lnTo>
                <a:lnTo>
                  <a:pt x="10" y="292"/>
                </a:lnTo>
                <a:lnTo>
                  <a:pt x="19" y="261"/>
                </a:lnTo>
                <a:lnTo>
                  <a:pt x="2" y="271"/>
                </a:lnTo>
                <a:lnTo>
                  <a:pt x="0" y="256"/>
                </a:lnTo>
                <a:lnTo>
                  <a:pt x="23" y="214"/>
                </a:lnTo>
                <a:lnTo>
                  <a:pt x="56" y="213"/>
                </a:lnTo>
                <a:lnTo>
                  <a:pt x="71" y="182"/>
                </a:lnTo>
                <a:lnTo>
                  <a:pt x="71" y="164"/>
                </a:lnTo>
                <a:lnTo>
                  <a:pt x="110" y="134"/>
                </a:lnTo>
                <a:lnTo>
                  <a:pt x="122" y="105"/>
                </a:lnTo>
                <a:close/>
              </a:path>
            </a:pathLst>
          </a:custGeom>
          <a:solidFill>
            <a:schemeClr val="accent1"/>
          </a:solidFill>
          <a:ln w="6350">
            <a:solidFill>
              <a:schemeClr val="tx2"/>
            </a:solidFill>
            <a:round/>
            <a:headEnd/>
            <a:tailEnd/>
          </a:ln>
        </p:spPr>
        <p:txBody>
          <a:bodyPr/>
          <a:lstStyle/>
          <a:p>
            <a:endParaRPr lang="en-US"/>
          </a:p>
        </p:txBody>
      </p:sp>
      <p:sp>
        <p:nvSpPr>
          <p:cNvPr id="109" name="Freeform 1178"/>
          <p:cNvSpPr>
            <a:spLocks/>
          </p:cNvSpPr>
          <p:nvPr/>
        </p:nvSpPr>
        <p:spPr bwMode="auto">
          <a:xfrm>
            <a:off x="3092925" y="2253180"/>
            <a:ext cx="25800" cy="12737"/>
          </a:xfrm>
          <a:custGeom>
            <a:avLst/>
            <a:gdLst>
              <a:gd name="T0" fmla="*/ 2147483647 w 57"/>
              <a:gd name="T1" fmla="*/ 0 h 30"/>
              <a:gd name="T2" fmla="*/ 2147483647 w 57"/>
              <a:gd name="T3" fmla="*/ 2147483647 h 30"/>
              <a:gd name="T4" fmla="*/ 2147483647 w 57"/>
              <a:gd name="T5" fmla="*/ 2147483647 h 30"/>
              <a:gd name="T6" fmla="*/ 0 w 57"/>
              <a:gd name="T7" fmla="*/ 2147483647 h 30"/>
              <a:gd name="T8" fmla="*/ 2147483647 w 57"/>
              <a:gd name="T9" fmla="*/ 0 h 30"/>
              <a:gd name="T10" fmla="*/ 0 60000 65536"/>
              <a:gd name="T11" fmla="*/ 0 60000 65536"/>
              <a:gd name="T12" fmla="*/ 0 60000 65536"/>
              <a:gd name="T13" fmla="*/ 0 60000 65536"/>
              <a:gd name="T14" fmla="*/ 0 60000 65536"/>
              <a:gd name="T15" fmla="*/ 0 w 57"/>
              <a:gd name="T16" fmla="*/ 0 h 30"/>
              <a:gd name="T17" fmla="*/ 57 w 57"/>
              <a:gd name="T18" fmla="*/ 30 h 30"/>
            </a:gdLst>
            <a:ahLst/>
            <a:cxnLst>
              <a:cxn ang="T10">
                <a:pos x="T0" y="T1"/>
              </a:cxn>
              <a:cxn ang="T11">
                <a:pos x="T2" y="T3"/>
              </a:cxn>
              <a:cxn ang="T12">
                <a:pos x="T4" y="T5"/>
              </a:cxn>
              <a:cxn ang="T13">
                <a:pos x="T6" y="T7"/>
              </a:cxn>
              <a:cxn ang="T14">
                <a:pos x="T8" y="T9"/>
              </a:cxn>
            </a:cxnLst>
            <a:rect l="T15" t="T16" r="T17" b="T18"/>
            <a:pathLst>
              <a:path w="57" h="30">
                <a:moveTo>
                  <a:pt x="36" y="0"/>
                </a:moveTo>
                <a:lnTo>
                  <a:pt x="57" y="16"/>
                </a:lnTo>
                <a:lnTo>
                  <a:pt x="54" y="30"/>
                </a:lnTo>
                <a:lnTo>
                  <a:pt x="0" y="15"/>
                </a:lnTo>
                <a:lnTo>
                  <a:pt x="36" y="0"/>
                </a:lnTo>
                <a:close/>
              </a:path>
            </a:pathLst>
          </a:custGeom>
          <a:solidFill>
            <a:schemeClr val="accent1"/>
          </a:solidFill>
          <a:ln w="6350">
            <a:solidFill>
              <a:schemeClr val="tx2"/>
            </a:solidFill>
            <a:round/>
            <a:headEnd/>
            <a:tailEnd/>
          </a:ln>
        </p:spPr>
        <p:txBody>
          <a:bodyPr/>
          <a:lstStyle/>
          <a:p>
            <a:endParaRPr lang="en-US"/>
          </a:p>
        </p:txBody>
      </p:sp>
      <p:sp>
        <p:nvSpPr>
          <p:cNvPr id="110" name="Freeform 1179"/>
          <p:cNvSpPr>
            <a:spLocks/>
          </p:cNvSpPr>
          <p:nvPr/>
        </p:nvSpPr>
        <p:spPr bwMode="auto">
          <a:xfrm>
            <a:off x="3124458" y="2153835"/>
            <a:ext cx="71667" cy="63683"/>
          </a:xfrm>
          <a:custGeom>
            <a:avLst/>
            <a:gdLst>
              <a:gd name="T0" fmla="*/ 2147483647 w 157"/>
              <a:gd name="T1" fmla="*/ 2147483647 h 153"/>
              <a:gd name="T2" fmla="*/ 2147483647 w 157"/>
              <a:gd name="T3" fmla="*/ 0 h 153"/>
              <a:gd name="T4" fmla="*/ 2147483647 w 157"/>
              <a:gd name="T5" fmla="*/ 2147483647 h 153"/>
              <a:gd name="T6" fmla="*/ 2147483647 w 157"/>
              <a:gd name="T7" fmla="*/ 2147483647 h 153"/>
              <a:gd name="T8" fmla="*/ 2147483647 w 157"/>
              <a:gd name="T9" fmla="*/ 2147483647 h 153"/>
              <a:gd name="T10" fmla="*/ 2147483647 w 157"/>
              <a:gd name="T11" fmla="*/ 2147483647 h 153"/>
              <a:gd name="T12" fmla="*/ 2147483647 w 157"/>
              <a:gd name="T13" fmla="*/ 2147483647 h 153"/>
              <a:gd name="T14" fmla="*/ 2147483647 w 157"/>
              <a:gd name="T15" fmla="*/ 2147483647 h 153"/>
              <a:gd name="T16" fmla="*/ 2147483647 w 157"/>
              <a:gd name="T17" fmla="*/ 2147483647 h 153"/>
              <a:gd name="T18" fmla="*/ 2147483647 w 157"/>
              <a:gd name="T19" fmla="*/ 2147483647 h 153"/>
              <a:gd name="T20" fmla="*/ 2147483647 w 157"/>
              <a:gd name="T21" fmla="*/ 2147483647 h 153"/>
              <a:gd name="T22" fmla="*/ 2147483647 w 157"/>
              <a:gd name="T23" fmla="*/ 2147483647 h 153"/>
              <a:gd name="T24" fmla="*/ 2147483647 w 157"/>
              <a:gd name="T25" fmla="*/ 2147483647 h 153"/>
              <a:gd name="T26" fmla="*/ 0 w 157"/>
              <a:gd name="T27" fmla="*/ 2147483647 h 153"/>
              <a:gd name="T28" fmla="*/ 2147483647 w 157"/>
              <a:gd name="T29" fmla="*/ 2147483647 h 153"/>
              <a:gd name="T30" fmla="*/ 2147483647 w 157"/>
              <a:gd name="T31" fmla="*/ 2147483647 h 1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153"/>
              <a:gd name="T50" fmla="*/ 157 w 157"/>
              <a:gd name="T51" fmla="*/ 153 h 1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153">
                <a:moveTo>
                  <a:pt x="60" y="14"/>
                </a:moveTo>
                <a:lnTo>
                  <a:pt x="135" y="0"/>
                </a:lnTo>
                <a:lnTo>
                  <a:pt x="157" y="15"/>
                </a:lnTo>
                <a:lnTo>
                  <a:pt x="152" y="35"/>
                </a:lnTo>
                <a:lnTo>
                  <a:pt x="81" y="64"/>
                </a:lnTo>
                <a:lnTo>
                  <a:pt x="90" y="69"/>
                </a:lnTo>
                <a:lnTo>
                  <a:pt x="87" y="82"/>
                </a:lnTo>
                <a:lnTo>
                  <a:pt x="135" y="68"/>
                </a:lnTo>
                <a:lnTo>
                  <a:pt x="138" y="90"/>
                </a:lnTo>
                <a:lnTo>
                  <a:pt x="131" y="123"/>
                </a:lnTo>
                <a:lnTo>
                  <a:pt x="50" y="153"/>
                </a:lnTo>
                <a:lnTo>
                  <a:pt x="5" y="116"/>
                </a:lnTo>
                <a:lnTo>
                  <a:pt x="7" y="100"/>
                </a:lnTo>
                <a:lnTo>
                  <a:pt x="0" y="65"/>
                </a:lnTo>
                <a:lnTo>
                  <a:pt x="5" y="44"/>
                </a:lnTo>
                <a:lnTo>
                  <a:pt x="60" y="14"/>
                </a:lnTo>
                <a:close/>
              </a:path>
            </a:pathLst>
          </a:custGeom>
          <a:solidFill>
            <a:schemeClr val="accent1"/>
          </a:solidFill>
          <a:ln w="6350">
            <a:solidFill>
              <a:schemeClr val="tx2"/>
            </a:solidFill>
            <a:round/>
            <a:headEnd/>
            <a:tailEnd/>
          </a:ln>
        </p:spPr>
        <p:txBody>
          <a:bodyPr/>
          <a:lstStyle/>
          <a:p>
            <a:endParaRPr lang="en-US"/>
          </a:p>
        </p:txBody>
      </p:sp>
      <p:sp>
        <p:nvSpPr>
          <p:cNvPr id="111" name="Freeform 1180"/>
          <p:cNvSpPr>
            <a:spLocks/>
          </p:cNvSpPr>
          <p:nvPr/>
        </p:nvSpPr>
        <p:spPr bwMode="auto">
          <a:xfrm>
            <a:off x="3091491" y="1844338"/>
            <a:ext cx="27234" cy="29294"/>
          </a:xfrm>
          <a:custGeom>
            <a:avLst/>
            <a:gdLst>
              <a:gd name="T0" fmla="*/ 0 w 56"/>
              <a:gd name="T1" fmla="*/ 2147483647 h 72"/>
              <a:gd name="T2" fmla="*/ 2147483647 w 56"/>
              <a:gd name="T3" fmla="*/ 0 h 72"/>
              <a:gd name="T4" fmla="*/ 2147483647 w 56"/>
              <a:gd name="T5" fmla="*/ 2147483647 h 72"/>
              <a:gd name="T6" fmla="*/ 2147483647 w 56"/>
              <a:gd name="T7" fmla="*/ 2147483647 h 72"/>
              <a:gd name="T8" fmla="*/ 0 w 56"/>
              <a:gd name="T9" fmla="*/ 2147483647 h 72"/>
              <a:gd name="T10" fmla="*/ 0 60000 65536"/>
              <a:gd name="T11" fmla="*/ 0 60000 65536"/>
              <a:gd name="T12" fmla="*/ 0 60000 65536"/>
              <a:gd name="T13" fmla="*/ 0 60000 65536"/>
              <a:gd name="T14" fmla="*/ 0 60000 65536"/>
              <a:gd name="T15" fmla="*/ 0 w 56"/>
              <a:gd name="T16" fmla="*/ 0 h 72"/>
              <a:gd name="T17" fmla="*/ 56 w 56"/>
              <a:gd name="T18" fmla="*/ 72 h 72"/>
            </a:gdLst>
            <a:ahLst/>
            <a:cxnLst>
              <a:cxn ang="T10">
                <a:pos x="T0" y="T1"/>
              </a:cxn>
              <a:cxn ang="T11">
                <a:pos x="T2" y="T3"/>
              </a:cxn>
              <a:cxn ang="T12">
                <a:pos x="T4" y="T5"/>
              </a:cxn>
              <a:cxn ang="T13">
                <a:pos x="T6" y="T7"/>
              </a:cxn>
              <a:cxn ang="T14">
                <a:pos x="T8" y="T9"/>
              </a:cxn>
            </a:cxnLst>
            <a:rect l="T15" t="T16" r="T17" b="T18"/>
            <a:pathLst>
              <a:path w="56" h="72">
                <a:moveTo>
                  <a:pt x="0" y="21"/>
                </a:moveTo>
                <a:lnTo>
                  <a:pt x="23" y="0"/>
                </a:lnTo>
                <a:lnTo>
                  <a:pt x="56" y="54"/>
                </a:lnTo>
                <a:lnTo>
                  <a:pt x="31" y="72"/>
                </a:lnTo>
                <a:lnTo>
                  <a:pt x="0" y="21"/>
                </a:lnTo>
                <a:close/>
              </a:path>
            </a:pathLst>
          </a:custGeom>
          <a:solidFill>
            <a:schemeClr val="accent1"/>
          </a:solidFill>
          <a:ln w="6350">
            <a:solidFill>
              <a:schemeClr val="tx2"/>
            </a:solidFill>
            <a:round/>
            <a:headEnd/>
            <a:tailEnd/>
          </a:ln>
        </p:spPr>
        <p:txBody>
          <a:bodyPr/>
          <a:lstStyle/>
          <a:p>
            <a:endParaRPr lang="en-US"/>
          </a:p>
        </p:txBody>
      </p:sp>
      <p:sp>
        <p:nvSpPr>
          <p:cNvPr id="112" name="Freeform 1182"/>
          <p:cNvSpPr>
            <a:spLocks/>
          </p:cNvSpPr>
          <p:nvPr/>
        </p:nvSpPr>
        <p:spPr bwMode="auto">
          <a:xfrm>
            <a:off x="3405392" y="1965335"/>
            <a:ext cx="25800" cy="47126"/>
          </a:xfrm>
          <a:custGeom>
            <a:avLst/>
            <a:gdLst>
              <a:gd name="T0" fmla="*/ 2147483647 w 56"/>
              <a:gd name="T1" fmla="*/ 0 h 112"/>
              <a:gd name="T2" fmla="*/ 2147483647 w 56"/>
              <a:gd name="T3" fmla="*/ 2147483647 h 112"/>
              <a:gd name="T4" fmla="*/ 2147483647 w 56"/>
              <a:gd name="T5" fmla="*/ 2147483647 h 112"/>
              <a:gd name="T6" fmla="*/ 2147483647 w 56"/>
              <a:gd name="T7" fmla="*/ 2147483647 h 112"/>
              <a:gd name="T8" fmla="*/ 2147483647 w 56"/>
              <a:gd name="T9" fmla="*/ 2147483647 h 112"/>
              <a:gd name="T10" fmla="*/ 0 w 56"/>
              <a:gd name="T11" fmla="*/ 2147483647 h 112"/>
              <a:gd name="T12" fmla="*/ 2147483647 w 56"/>
              <a:gd name="T13" fmla="*/ 2147483647 h 112"/>
              <a:gd name="T14" fmla="*/ 2147483647 w 56"/>
              <a:gd name="T15" fmla="*/ 0 h 112"/>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112"/>
              <a:gd name="T26" fmla="*/ 56 w 56"/>
              <a:gd name="T27" fmla="*/ 112 h 1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112">
                <a:moveTo>
                  <a:pt x="19" y="0"/>
                </a:moveTo>
                <a:lnTo>
                  <a:pt x="52" y="12"/>
                </a:lnTo>
                <a:lnTo>
                  <a:pt x="56" y="72"/>
                </a:lnTo>
                <a:lnTo>
                  <a:pt x="48" y="112"/>
                </a:lnTo>
                <a:lnTo>
                  <a:pt x="22" y="60"/>
                </a:lnTo>
                <a:lnTo>
                  <a:pt x="0" y="59"/>
                </a:lnTo>
                <a:lnTo>
                  <a:pt x="3" y="19"/>
                </a:lnTo>
                <a:lnTo>
                  <a:pt x="19" y="0"/>
                </a:lnTo>
                <a:close/>
              </a:path>
            </a:pathLst>
          </a:custGeom>
          <a:solidFill>
            <a:schemeClr val="accent1"/>
          </a:solidFill>
          <a:ln w="6350">
            <a:solidFill>
              <a:schemeClr val="tx2"/>
            </a:solidFill>
            <a:round/>
            <a:headEnd/>
            <a:tailEnd/>
          </a:ln>
        </p:spPr>
        <p:txBody>
          <a:bodyPr/>
          <a:lstStyle/>
          <a:p>
            <a:endParaRPr lang="en-US"/>
          </a:p>
        </p:txBody>
      </p:sp>
      <p:sp>
        <p:nvSpPr>
          <p:cNvPr id="113" name="Freeform 1183"/>
          <p:cNvSpPr>
            <a:spLocks/>
          </p:cNvSpPr>
          <p:nvPr/>
        </p:nvSpPr>
        <p:spPr bwMode="auto">
          <a:xfrm>
            <a:off x="3471326" y="1827780"/>
            <a:ext cx="226468" cy="328603"/>
          </a:xfrm>
          <a:custGeom>
            <a:avLst/>
            <a:gdLst>
              <a:gd name="T0" fmla="*/ 2147483647 w 482"/>
              <a:gd name="T1" fmla="*/ 2147483647 h 786"/>
              <a:gd name="T2" fmla="*/ 2147483647 w 482"/>
              <a:gd name="T3" fmla="*/ 2147483647 h 786"/>
              <a:gd name="T4" fmla="*/ 2147483647 w 482"/>
              <a:gd name="T5" fmla="*/ 2147483647 h 786"/>
              <a:gd name="T6" fmla="*/ 2147483647 w 482"/>
              <a:gd name="T7" fmla="*/ 2147483647 h 786"/>
              <a:gd name="T8" fmla="*/ 2147483647 w 482"/>
              <a:gd name="T9" fmla="*/ 2147483647 h 786"/>
              <a:gd name="T10" fmla="*/ 2147483647 w 482"/>
              <a:gd name="T11" fmla="*/ 2147483647 h 786"/>
              <a:gd name="T12" fmla="*/ 2147483647 w 482"/>
              <a:gd name="T13" fmla="*/ 0 h 786"/>
              <a:gd name="T14" fmla="*/ 2147483647 w 482"/>
              <a:gd name="T15" fmla="*/ 2147483647 h 786"/>
              <a:gd name="T16" fmla="*/ 2147483647 w 482"/>
              <a:gd name="T17" fmla="*/ 2147483647 h 786"/>
              <a:gd name="T18" fmla="*/ 2147483647 w 482"/>
              <a:gd name="T19" fmla="*/ 2147483647 h 786"/>
              <a:gd name="T20" fmla="*/ 2147483647 w 482"/>
              <a:gd name="T21" fmla="*/ 2147483647 h 786"/>
              <a:gd name="T22" fmla="*/ 2147483647 w 482"/>
              <a:gd name="T23" fmla="*/ 2147483647 h 786"/>
              <a:gd name="T24" fmla="*/ 2147483647 w 482"/>
              <a:gd name="T25" fmla="*/ 2147483647 h 786"/>
              <a:gd name="T26" fmla="*/ 2147483647 w 482"/>
              <a:gd name="T27" fmla="*/ 2147483647 h 786"/>
              <a:gd name="T28" fmla="*/ 2147483647 w 482"/>
              <a:gd name="T29" fmla="*/ 2147483647 h 786"/>
              <a:gd name="T30" fmla="*/ 2147483647 w 482"/>
              <a:gd name="T31" fmla="*/ 2147483647 h 786"/>
              <a:gd name="T32" fmla="*/ 2147483647 w 482"/>
              <a:gd name="T33" fmla="*/ 2147483647 h 786"/>
              <a:gd name="T34" fmla="*/ 2147483647 w 482"/>
              <a:gd name="T35" fmla="*/ 2147483647 h 786"/>
              <a:gd name="T36" fmla="*/ 2147483647 w 482"/>
              <a:gd name="T37" fmla="*/ 2147483647 h 786"/>
              <a:gd name="T38" fmla="*/ 2147483647 w 482"/>
              <a:gd name="T39" fmla="*/ 2147483647 h 786"/>
              <a:gd name="T40" fmla="*/ 2147483647 w 482"/>
              <a:gd name="T41" fmla="*/ 2147483647 h 786"/>
              <a:gd name="T42" fmla="*/ 2147483647 w 482"/>
              <a:gd name="T43" fmla="*/ 2147483647 h 786"/>
              <a:gd name="T44" fmla="*/ 2147483647 w 482"/>
              <a:gd name="T45" fmla="*/ 2147483647 h 786"/>
              <a:gd name="T46" fmla="*/ 2147483647 w 482"/>
              <a:gd name="T47" fmla="*/ 2147483647 h 786"/>
              <a:gd name="T48" fmla="*/ 2147483647 w 482"/>
              <a:gd name="T49" fmla="*/ 2147483647 h 786"/>
              <a:gd name="T50" fmla="*/ 2147483647 w 482"/>
              <a:gd name="T51" fmla="*/ 2147483647 h 786"/>
              <a:gd name="T52" fmla="*/ 2147483647 w 482"/>
              <a:gd name="T53" fmla="*/ 2147483647 h 786"/>
              <a:gd name="T54" fmla="*/ 2147483647 w 482"/>
              <a:gd name="T55" fmla="*/ 2147483647 h 786"/>
              <a:gd name="T56" fmla="*/ 2147483647 w 482"/>
              <a:gd name="T57" fmla="*/ 2147483647 h 786"/>
              <a:gd name="T58" fmla="*/ 2147483647 w 482"/>
              <a:gd name="T59" fmla="*/ 2147483647 h 786"/>
              <a:gd name="T60" fmla="*/ 2147483647 w 482"/>
              <a:gd name="T61" fmla="*/ 2147483647 h 786"/>
              <a:gd name="T62" fmla="*/ 2147483647 w 482"/>
              <a:gd name="T63" fmla="*/ 2147483647 h 786"/>
              <a:gd name="T64" fmla="*/ 2147483647 w 482"/>
              <a:gd name="T65" fmla="*/ 2147483647 h 786"/>
              <a:gd name="T66" fmla="*/ 2147483647 w 482"/>
              <a:gd name="T67" fmla="*/ 2147483647 h 786"/>
              <a:gd name="T68" fmla="*/ 2147483647 w 482"/>
              <a:gd name="T69" fmla="*/ 2147483647 h 786"/>
              <a:gd name="T70" fmla="*/ 2147483647 w 482"/>
              <a:gd name="T71" fmla="*/ 2147483647 h 786"/>
              <a:gd name="T72" fmla="*/ 2147483647 w 482"/>
              <a:gd name="T73" fmla="*/ 2147483647 h 786"/>
              <a:gd name="T74" fmla="*/ 2147483647 w 482"/>
              <a:gd name="T75" fmla="*/ 2147483647 h 786"/>
              <a:gd name="T76" fmla="*/ 2147483647 w 482"/>
              <a:gd name="T77" fmla="*/ 2147483647 h 786"/>
              <a:gd name="T78" fmla="*/ 2147483647 w 482"/>
              <a:gd name="T79" fmla="*/ 2147483647 h 786"/>
              <a:gd name="T80" fmla="*/ 2147483647 w 482"/>
              <a:gd name="T81" fmla="*/ 2147483647 h 786"/>
              <a:gd name="T82" fmla="*/ 2147483647 w 482"/>
              <a:gd name="T83" fmla="*/ 2147483647 h 786"/>
              <a:gd name="T84" fmla="*/ 2147483647 w 482"/>
              <a:gd name="T85" fmla="*/ 2147483647 h 786"/>
              <a:gd name="T86" fmla="*/ 2147483647 w 482"/>
              <a:gd name="T87" fmla="*/ 2147483647 h 786"/>
              <a:gd name="T88" fmla="*/ 2147483647 w 482"/>
              <a:gd name="T89" fmla="*/ 2147483647 h 786"/>
              <a:gd name="T90" fmla="*/ 2147483647 w 482"/>
              <a:gd name="T91" fmla="*/ 2147483647 h 786"/>
              <a:gd name="T92" fmla="*/ 2147483647 w 482"/>
              <a:gd name="T93" fmla="*/ 2147483647 h 786"/>
              <a:gd name="T94" fmla="*/ 2147483647 w 482"/>
              <a:gd name="T95" fmla="*/ 2147483647 h 786"/>
              <a:gd name="T96" fmla="*/ 2147483647 w 482"/>
              <a:gd name="T97" fmla="*/ 2147483647 h 786"/>
              <a:gd name="T98" fmla="*/ 2147483647 w 482"/>
              <a:gd name="T99" fmla="*/ 2147483647 h 786"/>
              <a:gd name="T100" fmla="*/ 2147483647 w 482"/>
              <a:gd name="T101" fmla="*/ 2147483647 h 786"/>
              <a:gd name="T102" fmla="*/ 2147483647 w 482"/>
              <a:gd name="T103" fmla="*/ 2147483647 h 786"/>
              <a:gd name="T104" fmla="*/ 2147483647 w 482"/>
              <a:gd name="T105" fmla="*/ 2147483647 h 786"/>
              <a:gd name="T106" fmla="*/ 0 w 482"/>
              <a:gd name="T107" fmla="*/ 2147483647 h 786"/>
              <a:gd name="T108" fmla="*/ 2147483647 w 482"/>
              <a:gd name="T109" fmla="*/ 2147483647 h 786"/>
              <a:gd name="T110" fmla="*/ 2147483647 w 482"/>
              <a:gd name="T111" fmla="*/ 2147483647 h 786"/>
              <a:gd name="T112" fmla="*/ 2147483647 w 482"/>
              <a:gd name="T113" fmla="*/ 2147483647 h 7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2"/>
              <a:gd name="T172" fmla="*/ 0 h 786"/>
              <a:gd name="T173" fmla="*/ 482 w 482"/>
              <a:gd name="T174" fmla="*/ 786 h 7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2" h="786">
                <a:moveTo>
                  <a:pt x="46" y="201"/>
                </a:moveTo>
                <a:lnTo>
                  <a:pt x="115" y="218"/>
                </a:lnTo>
                <a:lnTo>
                  <a:pt x="87" y="183"/>
                </a:lnTo>
                <a:lnTo>
                  <a:pt x="60" y="152"/>
                </a:lnTo>
                <a:lnTo>
                  <a:pt x="58" y="139"/>
                </a:lnTo>
                <a:lnTo>
                  <a:pt x="66" y="127"/>
                </a:lnTo>
                <a:lnTo>
                  <a:pt x="58" y="106"/>
                </a:lnTo>
                <a:lnTo>
                  <a:pt x="73" y="85"/>
                </a:lnTo>
                <a:lnTo>
                  <a:pt x="95" y="107"/>
                </a:lnTo>
                <a:lnTo>
                  <a:pt x="99" y="71"/>
                </a:lnTo>
                <a:lnTo>
                  <a:pt x="157" y="54"/>
                </a:lnTo>
                <a:lnTo>
                  <a:pt x="84" y="40"/>
                </a:lnTo>
                <a:lnTo>
                  <a:pt x="73" y="11"/>
                </a:lnTo>
                <a:lnTo>
                  <a:pt x="77" y="0"/>
                </a:lnTo>
                <a:lnTo>
                  <a:pt x="174" y="17"/>
                </a:lnTo>
                <a:lnTo>
                  <a:pt x="204" y="59"/>
                </a:lnTo>
                <a:lnTo>
                  <a:pt x="203" y="84"/>
                </a:lnTo>
                <a:lnTo>
                  <a:pt x="246" y="197"/>
                </a:lnTo>
                <a:lnTo>
                  <a:pt x="240" y="223"/>
                </a:lnTo>
                <a:lnTo>
                  <a:pt x="251" y="205"/>
                </a:lnTo>
                <a:lnTo>
                  <a:pt x="311" y="226"/>
                </a:lnTo>
                <a:lnTo>
                  <a:pt x="317" y="247"/>
                </a:lnTo>
                <a:lnTo>
                  <a:pt x="309" y="255"/>
                </a:lnTo>
                <a:lnTo>
                  <a:pt x="316" y="271"/>
                </a:lnTo>
                <a:lnTo>
                  <a:pt x="313" y="302"/>
                </a:lnTo>
                <a:lnTo>
                  <a:pt x="332" y="332"/>
                </a:lnTo>
                <a:lnTo>
                  <a:pt x="351" y="324"/>
                </a:lnTo>
                <a:lnTo>
                  <a:pt x="333" y="286"/>
                </a:lnTo>
                <a:lnTo>
                  <a:pt x="339" y="247"/>
                </a:lnTo>
                <a:lnTo>
                  <a:pt x="374" y="261"/>
                </a:lnTo>
                <a:lnTo>
                  <a:pt x="377" y="308"/>
                </a:lnTo>
                <a:lnTo>
                  <a:pt x="357" y="330"/>
                </a:lnTo>
                <a:lnTo>
                  <a:pt x="389" y="337"/>
                </a:lnTo>
                <a:lnTo>
                  <a:pt x="395" y="363"/>
                </a:lnTo>
                <a:lnTo>
                  <a:pt x="399" y="375"/>
                </a:lnTo>
                <a:lnTo>
                  <a:pt x="372" y="450"/>
                </a:lnTo>
                <a:lnTo>
                  <a:pt x="407" y="424"/>
                </a:lnTo>
                <a:lnTo>
                  <a:pt x="430" y="452"/>
                </a:lnTo>
                <a:lnTo>
                  <a:pt x="433" y="476"/>
                </a:lnTo>
                <a:lnTo>
                  <a:pt x="449" y="446"/>
                </a:lnTo>
                <a:lnTo>
                  <a:pt x="482" y="509"/>
                </a:lnTo>
                <a:lnTo>
                  <a:pt x="481" y="530"/>
                </a:lnTo>
                <a:lnTo>
                  <a:pt x="411" y="579"/>
                </a:lnTo>
                <a:lnTo>
                  <a:pt x="412" y="592"/>
                </a:lnTo>
                <a:lnTo>
                  <a:pt x="400" y="607"/>
                </a:lnTo>
                <a:lnTo>
                  <a:pt x="391" y="578"/>
                </a:lnTo>
                <a:lnTo>
                  <a:pt x="393" y="619"/>
                </a:lnTo>
                <a:lnTo>
                  <a:pt x="366" y="668"/>
                </a:lnTo>
                <a:lnTo>
                  <a:pt x="353" y="648"/>
                </a:lnTo>
                <a:lnTo>
                  <a:pt x="348" y="573"/>
                </a:lnTo>
                <a:lnTo>
                  <a:pt x="338" y="632"/>
                </a:lnTo>
                <a:lnTo>
                  <a:pt x="342" y="668"/>
                </a:lnTo>
                <a:lnTo>
                  <a:pt x="352" y="689"/>
                </a:lnTo>
                <a:lnTo>
                  <a:pt x="351" y="711"/>
                </a:lnTo>
                <a:lnTo>
                  <a:pt x="322" y="675"/>
                </a:lnTo>
                <a:lnTo>
                  <a:pt x="320" y="704"/>
                </a:lnTo>
                <a:lnTo>
                  <a:pt x="333" y="728"/>
                </a:lnTo>
                <a:lnTo>
                  <a:pt x="324" y="777"/>
                </a:lnTo>
                <a:lnTo>
                  <a:pt x="266" y="682"/>
                </a:lnTo>
                <a:lnTo>
                  <a:pt x="262" y="700"/>
                </a:lnTo>
                <a:lnTo>
                  <a:pt x="295" y="782"/>
                </a:lnTo>
                <a:lnTo>
                  <a:pt x="265" y="749"/>
                </a:lnTo>
                <a:lnTo>
                  <a:pt x="244" y="750"/>
                </a:lnTo>
                <a:lnTo>
                  <a:pt x="263" y="767"/>
                </a:lnTo>
                <a:lnTo>
                  <a:pt x="264" y="786"/>
                </a:lnTo>
                <a:lnTo>
                  <a:pt x="185" y="770"/>
                </a:lnTo>
                <a:lnTo>
                  <a:pt x="174" y="752"/>
                </a:lnTo>
                <a:lnTo>
                  <a:pt x="178" y="741"/>
                </a:lnTo>
                <a:lnTo>
                  <a:pt x="165" y="745"/>
                </a:lnTo>
                <a:lnTo>
                  <a:pt x="149" y="708"/>
                </a:lnTo>
                <a:lnTo>
                  <a:pt x="200" y="697"/>
                </a:lnTo>
                <a:lnTo>
                  <a:pt x="144" y="683"/>
                </a:lnTo>
                <a:lnTo>
                  <a:pt x="128" y="646"/>
                </a:lnTo>
                <a:lnTo>
                  <a:pt x="123" y="631"/>
                </a:lnTo>
                <a:lnTo>
                  <a:pt x="108" y="594"/>
                </a:lnTo>
                <a:lnTo>
                  <a:pt x="145" y="558"/>
                </a:lnTo>
                <a:lnTo>
                  <a:pt x="187" y="541"/>
                </a:lnTo>
                <a:lnTo>
                  <a:pt x="173" y="525"/>
                </a:lnTo>
                <a:lnTo>
                  <a:pt x="190" y="513"/>
                </a:lnTo>
                <a:lnTo>
                  <a:pt x="178" y="506"/>
                </a:lnTo>
                <a:lnTo>
                  <a:pt x="180" y="493"/>
                </a:lnTo>
                <a:lnTo>
                  <a:pt x="146" y="515"/>
                </a:lnTo>
                <a:lnTo>
                  <a:pt x="143" y="512"/>
                </a:lnTo>
                <a:lnTo>
                  <a:pt x="147" y="484"/>
                </a:lnTo>
                <a:lnTo>
                  <a:pt x="124" y="533"/>
                </a:lnTo>
                <a:lnTo>
                  <a:pt x="109" y="526"/>
                </a:lnTo>
                <a:lnTo>
                  <a:pt x="122" y="500"/>
                </a:lnTo>
                <a:lnTo>
                  <a:pt x="100" y="494"/>
                </a:lnTo>
                <a:lnTo>
                  <a:pt x="75" y="533"/>
                </a:lnTo>
                <a:lnTo>
                  <a:pt x="65" y="499"/>
                </a:lnTo>
                <a:lnTo>
                  <a:pt x="38" y="490"/>
                </a:lnTo>
                <a:lnTo>
                  <a:pt x="44" y="464"/>
                </a:lnTo>
                <a:lnTo>
                  <a:pt x="90" y="461"/>
                </a:lnTo>
                <a:lnTo>
                  <a:pt x="108" y="432"/>
                </a:lnTo>
                <a:lnTo>
                  <a:pt x="92" y="449"/>
                </a:lnTo>
                <a:lnTo>
                  <a:pt x="35" y="431"/>
                </a:lnTo>
                <a:lnTo>
                  <a:pt x="9" y="382"/>
                </a:lnTo>
                <a:lnTo>
                  <a:pt x="8" y="356"/>
                </a:lnTo>
                <a:lnTo>
                  <a:pt x="8" y="341"/>
                </a:lnTo>
                <a:lnTo>
                  <a:pt x="2" y="316"/>
                </a:lnTo>
                <a:lnTo>
                  <a:pt x="96" y="362"/>
                </a:lnTo>
                <a:lnTo>
                  <a:pt x="86" y="333"/>
                </a:lnTo>
                <a:lnTo>
                  <a:pt x="116" y="317"/>
                </a:lnTo>
                <a:lnTo>
                  <a:pt x="91" y="302"/>
                </a:lnTo>
                <a:lnTo>
                  <a:pt x="64" y="331"/>
                </a:lnTo>
                <a:lnTo>
                  <a:pt x="41" y="311"/>
                </a:lnTo>
                <a:lnTo>
                  <a:pt x="9" y="288"/>
                </a:lnTo>
                <a:lnTo>
                  <a:pt x="0" y="263"/>
                </a:lnTo>
                <a:lnTo>
                  <a:pt x="8" y="257"/>
                </a:lnTo>
                <a:lnTo>
                  <a:pt x="62" y="262"/>
                </a:lnTo>
                <a:lnTo>
                  <a:pt x="21" y="234"/>
                </a:lnTo>
                <a:lnTo>
                  <a:pt x="25" y="227"/>
                </a:lnTo>
                <a:lnTo>
                  <a:pt x="23" y="204"/>
                </a:lnTo>
                <a:lnTo>
                  <a:pt x="46" y="201"/>
                </a:lnTo>
                <a:close/>
              </a:path>
            </a:pathLst>
          </a:custGeom>
          <a:solidFill>
            <a:schemeClr val="accent1"/>
          </a:solidFill>
          <a:ln w="6350">
            <a:solidFill>
              <a:schemeClr val="tx2"/>
            </a:solidFill>
            <a:round/>
            <a:headEnd/>
            <a:tailEnd/>
          </a:ln>
        </p:spPr>
        <p:txBody>
          <a:bodyPr/>
          <a:lstStyle/>
          <a:p>
            <a:endParaRPr lang="en-US"/>
          </a:p>
        </p:txBody>
      </p:sp>
      <p:sp>
        <p:nvSpPr>
          <p:cNvPr id="114" name="Freeform 1184"/>
          <p:cNvSpPr>
            <a:spLocks/>
          </p:cNvSpPr>
          <p:nvPr/>
        </p:nvSpPr>
        <p:spPr bwMode="auto">
          <a:xfrm>
            <a:off x="3472760" y="2179308"/>
            <a:ext cx="60200" cy="33115"/>
          </a:xfrm>
          <a:custGeom>
            <a:avLst/>
            <a:gdLst>
              <a:gd name="T0" fmla="*/ 2147483647 w 129"/>
              <a:gd name="T1" fmla="*/ 2147483647 h 78"/>
              <a:gd name="T2" fmla="*/ 2147483647 w 129"/>
              <a:gd name="T3" fmla="*/ 2147483647 h 78"/>
              <a:gd name="T4" fmla="*/ 2147483647 w 129"/>
              <a:gd name="T5" fmla="*/ 2147483647 h 78"/>
              <a:gd name="T6" fmla="*/ 2147483647 w 129"/>
              <a:gd name="T7" fmla="*/ 2147483647 h 78"/>
              <a:gd name="T8" fmla="*/ 2147483647 w 129"/>
              <a:gd name="T9" fmla="*/ 2147483647 h 78"/>
              <a:gd name="T10" fmla="*/ 2147483647 w 129"/>
              <a:gd name="T11" fmla="*/ 2147483647 h 78"/>
              <a:gd name="T12" fmla="*/ 2147483647 w 129"/>
              <a:gd name="T13" fmla="*/ 2147483647 h 78"/>
              <a:gd name="T14" fmla="*/ 2147483647 w 129"/>
              <a:gd name="T15" fmla="*/ 2147483647 h 78"/>
              <a:gd name="T16" fmla="*/ 0 w 129"/>
              <a:gd name="T17" fmla="*/ 2147483647 h 78"/>
              <a:gd name="T18" fmla="*/ 2147483647 w 129"/>
              <a:gd name="T19" fmla="*/ 0 h 78"/>
              <a:gd name="T20" fmla="*/ 2147483647 w 129"/>
              <a:gd name="T21" fmla="*/ 2147483647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9"/>
              <a:gd name="T34" fmla="*/ 0 h 78"/>
              <a:gd name="T35" fmla="*/ 129 w 129"/>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9" h="78">
                <a:moveTo>
                  <a:pt x="47" y="10"/>
                </a:moveTo>
                <a:lnTo>
                  <a:pt x="110" y="11"/>
                </a:lnTo>
                <a:lnTo>
                  <a:pt x="129" y="34"/>
                </a:lnTo>
                <a:lnTo>
                  <a:pt x="117" y="44"/>
                </a:lnTo>
                <a:lnTo>
                  <a:pt x="119" y="70"/>
                </a:lnTo>
                <a:lnTo>
                  <a:pt x="115" y="78"/>
                </a:lnTo>
                <a:lnTo>
                  <a:pt x="50" y="75"/>
                </a:lnTo>
                <a:lnTo>
                  <a:pt x="13" y="58"/>
                </a:lnTo>
                <a:lnTo>
                  <a:pt x="0" y="31"/>
                </a:lnTo>
                <a:lnTo>
                  <a:pt x="27" y="0"/>
                </a:lnTo>
                <a:lnTo>
                  <a:pt x="47" y="10"/>
                </a:lnTo>
                <a:close/>
              </a:path>
            </a:pathLst>
          </a:custGeom>
          <a:solidFill>
            <a:schemeClr val="accent1"/>
          </a:solidFill>
          <a:ln w="6350">
            <a:solidFill>
              <a:schemeClr val="tx2"/>
            </a:solidFill>
            <a:round/>
            <a:headEnd/>
            <a:tailEnd/>
          </a:ln>
        </p:spPr>
        <p:txBody>
          <a:bodyPr/>
          <a:lstStyle/>
          <a:p>
            <a:endParaRPr lang="en-US"/>
          </a:p>
        </p:txBody>
      </p:sp>
      <p:sp>
        <p:nvSpPr>
          <p:cNvPr id="115" name="Freeform 1185"/>
          <p:cNvSpPr>
            <a:spLocks/>
          </p:cNvSpPr>
          <p:nvPr/>
        </p:nvSpPr>
        <p:spPr bwMode="auto">
          <a:xfrm>
            <a:off x="3456992" y="2241718"/>
            <a:ext cx="346868" cy="189774"/>
          </a:xfrm>
          <a:custGeom>
            <a:avLst/>
            <a:gdLst>
              <a:gd name="T0" fmla="*/ 2147483647 w 745"/>
              <a:gd name="T1" fmla="*/ 2147483647 h 456"/>
              <a:gd name="T2" fmla="*/ 0 w 745"/>
              <a:gd name="T3" fmla="*/ 2147483647 h 456"/>
              <a:gd name="T4" fmla="*/ 2147483647 w 745"/>
              <a:gd name="T5" fmla="*/ 2147483647 h 456"/>
              <a:gd name="T6" fmla="*/ 2147483647 w 745"/>
              <a:gd name="T7" fmla="*/ 2147483647 h 456"/>
              <a:gd name="T8" fmla="*/ 2147483647 w 745"/>
              <a:gd name="T9" fmla="*/ 2147483647 h 456"/>
              <a:gd name="T10" fmla="*/ 2147483647 w 745"/>
              <a:gd name="T11" fmla="*/ 2147483647 h 456"/>
              <a:gd name="T12" fmla="*/ 2147483647 w 745"/>
              <a:gd name="T13" fmla="*/ 2147483647 h 456"/>
              <a:gd name="T14" fmla="*/ 2147483647 w 745"/>
              <a:gd name="T15" fmla="*/ 2147483647 h 456"/>
              <a:gd name="T16" fmla="*/ 2147483647 w 745"/>
              <a:gd name="T17" fmla="*/ 2147483647 h 456"/>
              <a:gd name="T18" fmla="*/ 2147483647 w 745"/>
              <a:gd name="T19" fmla="*/ 2147483647 h 456"/>
              <a:gd name="T20" fmla="*/ 2147483647 w 745"/>
              <a:gd name="T21" fmla="*/ 2147483647 h 456"/>
              <a:gd name="T22" fmla="*/ 2147483647 w 745"/>
              <a:gd name="T23" fmla="*/ 2147483647 h 456"/>
              <a:gd name="T24" fmla="*/ 2147483647 w 745"/>
              <a:gd name="T25" fmla="*/ 2147483647 h 456"/>
              <a:gd name="T26" fmla="*/ 2147483647 w 745"/>
              <a:gd name="T27" fmla="*/ 2147483647 h 456"/>
              <a:gd name="T28" fmla="*/ 2147483647 w 745"/>
              <a:gd name="T29" fmla="*/ 2147483647 h 456"/>
              <a:gd name="T30" fmla="*/ 2147483647 w 745"/>
              <a:gd name="T31" fmla="*/ 2147483647 h 456"/>
              <a:gd name="T32" fmla="*/ 2147483647 w 745"/>
              <a:gd name="T33" fmla="*/ 2147483647 h 456"/>
              <a:gd name="T34" fmla="*/ 2147483647 w 745"/>
              <a:gd name="T35" fmla="*/ 2147483647 h 456"/>
              <a:gd name="T36" fmla="*/ 2147483647 w 745"/>
              <a:gd name="T37" fmla="*/ 2147483647 h 456"/>
              <a:gd name="T38" fmla="*/ 2147483647 w 745"/>
              <a:gd name="T39" fmla="*/ 2147483647 h 456"/>
              <a:gd name="T40" fmla="*/ 2147483647 w 745"/>
              <a:gd name="T41" fmla="*/ 2147483647 h 456"/>
              <a:gd name="T42" fmla="*/ 2147483647 w 745"/>
              <a:gd name="T43" fmla="*/ 2147483647 h 456"/>
              <a:gd name="T44" fmla="*/ 2147483647 w 745"/>
              <a:gd name="T45" fmla="*/ 2147483647 h 456"/>
              <a:gd name="T46" fmla="*/ 2147483647 w 745"/>
              <a:gd name="T47" fmla="*/ 2147483647 h 456"/>
              <a:gd name="T48" fmla="*/ 2147483647 w 745"/>
              <a:gd name="T49" fmla="*/ 2147483647 h 456"/>
              <a:gd name="T50" fmla="*/ 2147483647 w 745"/>
              <a:gd name="T51" fmla="*/ 2147483647 h 456"/>
              <a:gd name="T52" fmla="*/ 2147483647 w 745"/>
              <a:gd name="T53" fmla="*/ 2147483647 h 456"/>
              <a:gd name="T54" fmla="*/ 2147483647 w 745"/>
              <a:gd name="T55" fmla="*/ 2147483647 h 456"/>
              <a:gd name="T56" fmla="*/ 2147483647 w 745"/>
              <a:gd name="T57" fmla="*/ 2147483647 h 456"/>
              <a:gd name="T58" fmla="*/ 2147483647 w 745"/>
              <a:gd name="T59" fmla="*/ 2147483647 h 456"/>
              <a:gd name="T60" fmla="*/ 2147483647 w 745"/>
              <a:gd name="T61" fmla="*/ 2147483647 h 456"/>
              <a:gd name="T62" fmla="*/ 2147483647 w 745"/>
              <a:gd name="T63" fmla="*/ 2147483647 h 456"/>
              <a:gd name="T64" fmla="*/ 2147483647 w 745"/>
              <a:gd name="T65" fmla="*/ 2147483647 h 456"/>
              <a:gd name="T66" fmla="*/ 2147483647 w 745"/>
              <a:gd name="T67" fmla="*/ 2147483647 h 456"/>
              <a:gd name="T68" fmla="*/ 2147483647 w 745"/>
              <a:gd name="T69" fmla="*/ 2147483647 h 456"/>
              <a:gd name="T70" fmla="*/ 2147483647 w 745"/>
              <a:gd name="T71" fmla="*/ 2147483647 h 456"/>
              <a:gd name="T72" fmla="*/ 2147483647 w 745"/>
              <a:gd name="T73" fmla="*/ 2147483647 h 456"/>
              <a:gd name="T74" fmla="*/ 2147483647 w 745"/>
              <a:gd name="T75" fmla="*/ 2147483647 h 456"/>
              <a:gd name="T76" fmla="*/ 2147483647 w 745"/>
              <a:gd name="T77" fmla="*/ 2147483647 h 456"/>
              <a:gd name="T78" fmla="*/ 2147483647 w 745"/>
              <a:gd name="T79" fmla="*/ 2147483647 h 456"/>
              <a:gd name="T80" fmla="*/ 2147483647 w 745"/>
              <a:gd name="T81" fmla="*/ 2147483647 h 456"/>
              <a:gd name="T82" fmla="*/ 2147483647 w 745"/>
              <a:gd name="T83" fmla="*/ 2147483647 h 4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5"/>
              <a:gd name="T127" fmla="*/ 0 h 456"/>
              <a:gd name="T128" fmla="*/ 745 w 745"/>
              <a:gd name="T129" fmla="*/ 456 h 4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5" h="456">
                <a:moveTo>
                  <a:pt x="86" y="4"/>
                </a:moveTo>
                <a:lnTo>
                  <a:pt x="21" y="0"/>
                </a:lnTo>
                <a:lnTo>
                  <a:pt x="4" y="22"/>
                </a:lnTo>
                <a:lnTo>
                  <a:pt x="30" y="51"/>
                </a:lnTo>
                <a:lnTo>
                  <a:pt x="5" y="41"/>
                </a:lnTo>
                <a:lnTo>
                  <a:pt x="0" y="57"/>
                </a:lnTo>
                <a:lnTo>
                  <a:pt x="42" y="86"/>
                </a:lnTo>
                <a:lnTo>
                  <a:pt x="56" y="122"/>
                </a:lnTo>
                <a:lnTo>
                  <a:pt x="79" y="132"/>
                </a:lnTo>
                <a:lnTo>
                  <a:pt x="86" y="156"/>
                </a:lnTo>
                <a:lnTo>
                  <a:pt x="89" y="142"/>
                </a:lnTo>
                <a:lnTo>
                  <a:pt x="133" y="156"/>
                </a:lnTo>
                <a:lnTo>
                  <a:pt x="163" y="135"/>
                </a:lnTo>
                <a:lnTo>
                  <a:pt x="177" y="172"/>
                </a:lnTo>
                <a:lnTo>
                  <a:pt x="181" y="202"/>
                </a:lnTo>
                <a:lnTo>
                  <a:pt x="201" y="231"/>
                </a:lnTo>
                <a:lnTo>
                  <a:pt x="204" y="262"/>
                </a:lnTo>
                <a:lnTo>
                  <a:pt x="210" y="269"/>
                </a:lnTo>
                <a:lnTo>
                  <a:pt x="189" y="302"/>
                </a:lnTo>
                <a:lnTo>
                  <a:pt x="193" y="305"/>
                </a:lnTo>
                <a:lnTo>
                  <a:pt x="188" y="334"/>
                </a:lnTo>
                <a:lnTo>
                  <a:pt x="219" y="353"/>
                </a:lnTo>
                <a:lnTo>
                  <a:pt x="201" y="370"/>
                </a:lnTo>
                <a:lnTo>
                  <a:pt x="203" y="399"/>
                </a:lnTo>
                <a:lnTo>
                  <a:pt x="222" y="418"/>
                </a:lnTo>
                <a:lnTo>
                  <a:pt x="227" y="429"/>
                </a:lnTo>
                <a:lnTo>
                  <a:pt x="242" y="426"/>
                </a:lnTo>
                <a:lnTo>
                  <a:pt x="242" y="413"/>
                </a:lnTo>
                <a:lnTo>
                  <a:pt x="259" y="396"/>
                </a:lnTo>
                <a:lnTo>
                  <a:pt x="251" y="414"/>
                </a:lnTo>
                <a:lnTo>
                  <a:pt x="263" y="432"/>
                </a:lnTo>
                <a:lnTo>
                  <a:pt x="263" y="411"/>
                </a:lnTo>
                <a:lnTo>
                  <a:pt x="280" y="430"/>
                </a:lnTo>
                <a:lnTo>
                  <a:pt x="277" y="438"/>
                </a:lnTo>
                <a:lnTo>
                  <a:pt x="312" y="447"/>
                </a:lnTo>
                <a:lnTo>
                  <a:pt x="327" y="429"/>
                </a:lnTo>
                <a:lnTo>
                  <a:pt x="318" y="407"/>
                </a:lnTo>
                <a:lnTo>
                  <a:pt x="330" y="409"/>
                </a:lnTo>
                <a:lnTo>
                  <a:pt x="329" y="396"/>
                </a:lnTo>
                <a:lnTo>
                  <a:pt x="340" y="423"/>
                </a:lnTo>
                <a:lnTo>
                  <a:pt x="348" y="397"/>
                </a:lnTo>
                <a:lnTo>
                  <a:pt x="352" y="399"/>
                </a:lnTo>
                <a:lnTo>
                  <a:pt x="359" y="405"/>
                </a:lnTo>
                <a:lnTo>
                  <a:pt x="356" y="450"/>
                </a:lnTo>
                <a:lnTo>
                  <a:pt x="367" y="455"/>
                </a:lnTo>
                <a:lnTo>
                  <a:pt x="401" y="455"/>
                </a:lnTo>
                <a:lnTo>
                  <a:pt x="436" y="456"/>
                </a:lnTo>
                <a:lnTo>
                  <a:pt x="441" y="452"/>
                </a:lnTo>
                <a:lnTo>
                  <a:pt x="435" y="437"/>
                </a:lnTo>
                <a:lnTo>
                  <a:pt x="449" y="453"/>
                </a:lnTo>
                <a:lnTo>
                  <a:pt x="458" y="436"/>
                </a:lnTo>
                <a:lnTo>
                  <a:pt x="467" y="456"/>
                </a:lnTo>
                <a:lnTo>
                  <a:pt x="488" y="443"/>
                </a:lnTo>
                <a:lnTo>
                  <a:pt x="488" y="423"/>
                </a:lnTo>
                <a:lnTo>
                  <a:pt x="503" y="450"/>
                </a:lnTo>
                <a:lnTo>
                  <a:pt x="512" y="437"/>
                </a:lnTo>
                <a:lnTo>
                  <a:pt x="511" y="418"/>
                </a:lnTo>
                <a:lnTo>
                  <a:pt x="516" y="446"/>
                </a:lnTo>
                <a:lnTo>
                  <a:pt x="574" y="438"/>
                </a:lnTo>
                <a:lnTo>
                  <a:pt x="587" y="409"/>
                </a:lnTo>
                <a:lnTo>
                  <a:pt x="562" y="383"/>
                </a:lnTo>
                <a:lnTo>
                  <a:pt x="572" y="383"/>
                </a:lnTo>
                <a:lnTo>
                  <a:pt x="594" y="398"/>
                </a:lnTo>
                <a:lnTo>
                  <a:pt x="595" y="431"/>
                </a:lnTo>
                <a:lnTo>
                  <a:pt x="610" y="449"/>
                </a:lnTo>
                <a:lnTo>
                  <a:pt x="621" y="439"/>
                </a:lnTo>
                <a:lnTo>
                  <a:pt x="649" y="455"/>
                </a:lnTo>
                <a:lnTo>
                  <a:pt x="721" y="438"/>
                </a:lnTo>
                <a:lnTo>
                  <a:pt x="721" y="411"/>
                </a:lnTo>
                <a:lnTo>
                  <a:pt x="719" y="400"/>
                </a:lnTo>
                <a:lnTo>
                  <a:pt x="704" y="380"/>
                </a:lnTo>
                <a:lnTo>
                  <a:pt x="705" y="359"/>
                </a:lnTo>
                <a:lnTo>
                  <a:pt x="745" y="317"/>
                </a:lnTo>
                <a:lnTo>
                  <a:pt x="744" y="288"/>
                </a:lnTo>
                <a:lnTo>
                  <a:pt x="736" y="275"/>
                </a:lnTo>
                <a:lnTo>
                  <a:pt x="709" y="275"/>
                </a:lnTo>
                <a:lnTo>
                  <a:pt x="718" y="270"/>
                </a:lnTo>
                <a:lnTo>
                  <a:pt x="715" y="259"/>
                </a:lnTo>
                <a:lnTo>
                  <a:pt x="677" y="248"/>
                </a:lnTo>
                <a:lnTo>
                  <a:pt x="676" y="228"/>
                </a:lnTo>
                <a:lnTo>
                  <a:pt x="627" y="219"/>
                </a:lnTo>
                <a:lnTo>
                  <a:pt x="594" y="237"/>
                </a:lnTo>
                <a:lnTo>
                  <a:pt x="560" y="226"/>
                </a:lnTo>
                <a:lnTo>
                  <a:pt x="529" y="259"/>
                </a:lnTo>
                <a:lnTo>
                  <a:pt x="506" y="257"/>
                </a:lnTo>
                <a:lnTo>
                  <a:pt x="500" y="263"/>
                </a:lnTo>
                <a:lnTo>
                  <a:pt x="501" y="280"/>
                </a:lnTo>
                <a:lnTo>
                  <a:pt x="488" y="264"/>
                </a:lnTo>
                <a:lnTo>
                  <a:pt x="459" y="281"/>
                </a:lnTo>
                <a:lnTo>
                  <a:pt x="485" y="304"/>
                </a:lnTo>
                <a:lnTo>
                  <a:pt x="436" y="311"/>
                </a:lnTo>
                <a:lnTo>
                  <a:pt x="446" y="300"/>
                </a:lnTo>
                <a:lnTo>
                  <a:pt x="402" y="268"/>
                </a:lnTo>
                <a:lnTo>
                  <a:pt x="395" y="294"/>
                </a:lnTo>
                <a:lnTo>
                  <a:pt x="387" y="272"/>
                </a:lnTo>
                <a:lnTo>
                  <a:pt x="366" y="292"/>
                </a:lnTo>
                <a:lnTo>
                  <a:pt x="368" y="280"/>
                </a:lnTo>
                <a:lnTo>
                  <a:pt x="350" y="257"/>
                </a:lnTo>
                <a:lnTo>
                  <a:pt x="343" y="263"/>
                </a:lnTo>
                <a:lnTo>
                  <a:pt x="345" y="292"/>
                </a:lnTo>
                <a:lnTo>
                  <a:pt x="340" y="302"/>
                </a:lnTo>
                <a:lnTo>
                  <a:pt x="332" y="278"/>
                </a:lnTo>
                <a:lnTo>
                  <a:pt x="322" y="265"/>
                </a:lnTo>
                <a:lnTo>
                  <a:pt x="328" y="240"/>
                </a:lnTo>
                <a:lnTo>
                  <a:pt x="320" y="229"/>
                </a:lnTo>
                <a:lnTo>
                  <a:pt x="300" y="231"/>
                </a:lnTo>
                <a:lnTo>
                  <a:pt x="305" y="223"/>
                </a:lnTo>
                <a:lnTo>
                  <a:pt x="295" y="206"/>
                </a:lnTo>
                <a:lnTo>
                  <a:pt x="242" y="236"/>
                </a:lnTo>
                <a:lnTo>
                  <a:pt x="247" y="204"/>
                </a:lnTo>
                <a:lnTo>
                  <a:pt x="279" y="198"/>
                </a:lnTo>
                <a:lnTo>
                  <a:pt x="229" y="171"/>
                </a:lnTo>
                <a:lnTo>
                  <a:pt x="234" y="154"/>
                </a:lnTo>
                <a:lnTo>
                  <a:pt x="275" y="180"/>
                </a:lnTo>
                <a:lnTo>
                  <a:pt x="316" y="176"/>
                </a:lnTo>
                <a:lnTo>
                  <a:pt x="327" y="166"/>
                </a:lnTo>
                <a:lnTo>
                  <a:pt x="329" y="143"/>
                </a:lnTo>
                <a:lnTo>
                  <a:pt x="278" y="113"/>
                </a:lnTo>
                <a:lnTo>
                  <a:pt x="272" y="93"/>
                </a:lnTo>
                <a:lnTo>
                  <a:pt x="231" y="66"/>
                </a:lnTo>
                <a:lnTo>
                  <a:pt x="166" y="86"/>
                </a:lnTo>
                <a:lnTo>
                  <a:pt x="142" y="120"/>
                </a:lnTo>
                <a:lnTo>
                  <a:pt x="153" y="88"/>
                </a:lnTo>
                <a:lnTo>
                  <a:pt x="156" y="59"/>
                </a:lnTo>
                <a:lnTo>
                  <a:pt x="153" y="46"/>
                </a:lnTo>
                <a:lnTo>
                  <a:pt x="139" y="20"/>
                </a:lnTo>
                <a:lnTo>
                  <a:pt x="114" y="27"/>
                </a:lnTo>
                <a:lnTo>
                  <a:pt x="86" y="4"/>
                </a:lnTo>
                <a:close/>
              </a:path>
            </a:pathLst>
          </a:custGeom>
          <a:solidFill>
            <a:schemeClr val="accent1"/>
          </a:solidFill>
          <a:ln w="6350">
            <a:solidFill>
              <a:schemeClr val="tx2"/>
            </a:solidFill>
            <a:round/>
            <a:headEnd/>
            <a:tailEnd/>
          </a:ln>
        </p:spPr>
        <p:txBody>
          <a:bodyPr/>
          <a:lstStyle/>
          <a:p>
            <a:endParaRPr lang="en-US"/>
          </a:p>
        </p:txBody>
      </p:sp>
      <p:sp>
        <p:nvSpPr>
          <p:cNvPr id="116" name="Freeform 1186"/>
          <p:cNvSpPr>
            <a:spLocks/>
          </p:cNvSpPr>
          <p:nvPr/>
        </p:nvSpPr>
        <p:spPr bwMode="auto">
          <a:xfrm>
            <a:off x="3803860" y="2315590"/>
            <a:ext cx="17201" cy="20378"/>
          </a:xfrm>
          <a:custGeom>
            <a:avLst/>
            <a:gdLst>
              <a:gd name="T0" fmla="*/ 2147483647 w 35"/>
              <a:gd name="T1" fmla="*/ 2147483647 h 49"/>
              <a:gd name="T2" fmla="*/ 2147483647 w 35"/>
              <a:gd name="T3" fmla="*/ 2147483647 h 49"/>
              <a:gd name="T4" fmla="*/ 2147483647 w 35"/>
              <a:gd name="T5" fmla="*/ 2147483647 h 49"/>
              <a:gd name="T6" fmla="*/ 0 w 35"/>
              <a:gd name="T7" fmla="*/ 2147483647 h 49"/>
              <a:gd name="T8" fmla="*/ 2147483647 w 35"/>
              <a:gd name="T9" fmla="*/ 0 h 49"/>
              <a:gd name="T10" fmla="*/ 2147483647 w 35"/>
              <a:gd name="T11" fmla="*/ 2147483647 h 49"/>
              <a:gd name="T12" fmla="*/ 0 60000 65536"/>
              <a:gd name="T13" fmla="*/ 0 60000 65536"/>
              <a:gd name="T14" fmla="*/ 0 60000 65536"/>
              <a:gd name="T15" fmla="*/ 0 60000 65536"/>
              <a:gd name="T16" fmla="*/ 0 60000 65536"/>
              <a:gd name="T17" fmla="*/ 0 60000 65536"/>
              <a:gd name="T18" fmla="*/ 0 w 35"/>
              <a:gd name="T19" fmla="*/ 0 h 49"/>
              <a:gd name="T20" fmla="*/ 35 w 35"/>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35" h="49">
                <a:moveTo>
                  <a:pt x="28" y="6"/>
                </a:moveTo>
                <a:lnTo>
                  <a:pt x="23" y="31"/>
                </a:lnTo>
                <a:lnTo>
                  <a:pt x="35" y="48"/>
                </a:lnTo>
                <a:lnTo>
                  <a:pt x="0" y="49"/>
                </a:lnTo>
                <a:lnTo>
                  <a:pt x="16" y="0"/>
                </a:lnTo>
                <a:lnTo>
                  <a:pt x="28" y="6"/>
                </a:lnTo>
                <a:close/>
              </a:path>
            </a:pathLst>
          </a:custGeom>
          <a:solidFill>
            <a:schemeClr val="accent1"/>
          </a:solidFill>
          <a:ln w="6350">
            <a:solidFill>
              <a:schemeClr val="tx2"/>
            </a:solidFill>
            <a:round/>
            <a:headEnd/>
            <a:tailEnd/>
          </a:ln>
        </p:spPr>
        <p:txBody>
          <a:bodyPr/>
          <a:lstStyle/>
          <a:p>
            <a:endParaRPr lang="en-US"/>
          </a:p>
        </p:txBody>
      </p:sp>
      <p:sp>
        <p:nvSpPr>
          <p:cNvPr id="117" name="Freeform 1187"/>
          <p:cNvSpPr>
            <a:spLocks/>
          </p:cNvSpPr>
          <p:nvPr/>
        </p:nvSpPr>
        <p:spPr bwMode="auto">
          <a:xfrm>
            <a:off x="3789528" y="2390735"/>
            <a:ext cx="20066" cy="15284"/>
          </a:xfrm>
          <a:custGeom>
            <a:avLst/>
            <a:gdLst>
              <a:gd name="T0" fmla="*/ 2147483647 w 45"/>
              <a:gd name="T1" fmla="*/ 2147483647 h 37"/>
              <a:gd name="T2" fmla="*/ 2147483647 w 45"/>
              <a:gd name="T3" fmla="*/ 2147483647 h 37"/>
              <a:gd name="T4" fmla="*/ 2147483647 w 45"/>
              <a:gd name="T5" fmla="*/ 0 h 37"/>
              <a:gd name="T6" fmla="*/ 0 w 45"/>
              <a:gd name="T7" fmla="*/ 2147483647 h 37"/>
              <a:gd name="T8" fmla="*/ 2147483647 w 45"/>
              <a:gd name="T9" fmla="*/ 2147483647 h 37"/>
              <a:gd name="T10" fmla="*/ 2147483647 w 45"/>
              <a:gd name="T11" fmla="*/ 2147483647 h 37"/>
              <a:gd name="T12" fmla="*/ 0 60000 65536"/>
              <a:gd name="T13" fmla="*/ 0 60000 65536"/>
              <a:gd name="T14" fmla="*/ 0 60000 65536"/>
              <a:gd name="T15" fmla="*/ 0 60000 65536"/>
              <a:gd name="T16" fmla="*/ 0 60000 65536"/>
              <a:gd name="T17" fmla="*/ 0 60000 65536"/>
              <a:gd name="T18" fmla="*/ 0 w 45"/>
              <a:gd name="T19" fmla="*/ 0 h 37"/>
              <a:gd name="T20" fmla="*/ 45 w 45"/>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45" h="37">
                <a:moveTo>
                  <a:pt x="34" y="30"/>
                </a:moveTo>
                <a:lnTo>
                  <a:pt x="45" y="21"/>
                </a:lnTo>
                <a:lnTo>
                  <a:pt x="36" y="0"/>
                </a:lnTo>
                <a:lnTo>
                  <a:pt x="0" y="17"/>
                </a:lnTo>
                <a:lnTo>
                  <a:pt x="13" y="37"/>
                </a:lnTo>
                <a:lnTo>
                  <a:pt x="34" y="30"/>
                </a:lnTo>
                <a:close/>
              </a:path>
            </a:pathLst>
          </a:custGeom>
          <a:solidFill>
            <a:schemeClr val="accent1"/>
          </a:solidFill>
          <a:ln w="6350">
            <a:solidFill>
              <a:schemeClr val="tx2"/>
            </a:solidFill>
            <a:round/>
            <a:headEnd/>
            <a:tailEnd/>
          </a:ln>
        </p:spPr>
        <p:txBody>
          <a:bodyPr/>
          <a:lstStyle/>
          <a:p>
            <a:endParaRPr lang="en-US"/>
          </a:p>
        </p:txBody>
      </p:sp>
      <p:sp>
        <p:nvSpPr>
          <p:cNvPr id="118" name="Freeform 1188"/>
          <p:cNvSpPr>
            <a:spLocks/>
          </p:cNvSpPr>
          <p:nvPr/>
        </p:nvSpPr>
        <p:spPr bwMode="auto">
          <a:xfrm>
            <a:off x="3465593" y="2346158"/>
            <a:ext cx="60200" cy="73872"/>
          </a:xfrm>
          <a:custGeom>
            <a:avLst/>
            <a:gdLst>
              <a:gd name="T0" fmla="*/ 2147483647 w 127"/>
              <a:gd name="T1" fmla="*/ 2147483647 h 177"/>
              <a:gd name="T2" fmla="*/ 2147483647 w 127"/>
              <a:gd name="T3" fmla="*/ 2147483647 h 177"/>
              <a:gd name="T4" fmla="*/ 2147483647 w 127"/>
              <a:gd name="T5" fmla="*/ 2147483647 h 177"/>
              <a:gd name="T6" fmla="*/ 2147483647 w 127"/>
              <a:gd name="T7" fmla="*/ 2147483647 h 177"/>
              <a:gd name="T8" fmla="*/ 2147483647 w 127"/>
              <a:gd name="T9" fmla="*/ 2147483647 h 177"/>
              <a:gd name="T10" fmla="*/ 2147483647 w 127"/>
              <a:gd name="T11" fmla="*/ 2147483647 h 177"/>
              <a:gd name="T12" fmla="*/ 2147483647 w 127"/>
              <a:gd name="T13" fmla="*/ 2147483647 h 177"/>
              <a:gd name="T14" fmla="*/ 2147483647 w 127"/>
              <a:gd name="T15" fmla="*/ 2147483647 h 177"/>
              <a:gd name="T16" fmla="*/ 2147483647 w 127"/>
              <a:gd name="T17" fmla="*/ 2147483647 h 177"/>
              <a:gd name="T18" fmla="*/ 2147483647 w 127"/>
              <a:gd name="T19" fmla="*/ 2147483647 h 177"/>
              <a:gd name="T20" fmla="*/ 2147483647 w 127"/>
              <a:gd name="T21" fmla="*/ 2147483647 h 177"/>
              <a:gd name="T22" fmla="*/ 0 w 127"/>
              <a:gd name="T23" fmla="*/ 2147483647 h 177"/>
              <a:gd name="T24" fmla="*/ 2147483647 w 127"/>
              <a:gd name="T25" fmla="*/ 2147483647 h 177"/>
              <a:gd name="T26" fmla="*/ 2147483647 w 127"/>
              <a:gd name="T27" fmla="*/ 2147483647 h 177"/>
              <a:gd name="T28" fmla="*/ 2147483647 w 127"/>
              <a:gd name="T29" fmla="*/ 2147483647 h 177"/>
              <a:gd name="T30" fmla="*/ 2147483647 w 127"/>
              <a:gd name="T31" fmla="*/ 2147483647 h 177"/>
              <a:gd name="T32" fmla="*/ 2147483647 w 127"/>
              <a:gd name="T33" fmla="*/ 2147483647 h 177"/>
              <a:gd name="T34" fmla="*/ 2147483647 w 127"/>
              <a:gd name="T35" fmla="*/ 2147483647 h 177"/>
              <a:gd name="T36" fmla="*/ 2147483647 w 127"/>
              <a:gd name="T37" fmla="*/ 0 h 177"/>
              <a:gd name="T38" fmla="*/ 2147483647 w 127"/>
              <a:gd name="T39" fmla="*/ 2147483647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77"/>
              <a:gd name="T62" fmla="*/ 127 w 12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77">
                <a:moveTo>
                  <a:pt x="65" y="2"/>
                </a:moveTo>
                <a:lnTo>
                  <a:pt x="127" y="74"/>
                </a:lnTo>
                <a:lnTo>
                  <a:pt x="124" y="82"/>
                </a:lnTo>
                <a:lnTo>
                  <a:pt x="127" y="163"/>
                </a:lnTo>
                <a:lnTo>
                  <a:pt x="78" y="177"/>
                </a:lnTo>
                <a:lnTo>
                  <a:pt x="53" y="143"/>
                </a:lnTo>
                <a:lnTo>
                  <a:pt x="27" y="137"/>
                </a:lnTo>
                <a:lnTo>
                  <a:pt x="20" y="122"/>
                </a:lnTo>
                <a:lnTo>
                  <a:pt x="24" y="109"/>
                </a:lnTo>
                <a:lnTo>
                  <a:pt x="11" y="121"/>
                </a:lnTo>
                <a:lnTo>
                  <a:pt x="5" y="108"/>
                </a:lnTo>
                <a:lnTo>
                  <a:pt x="0" y="77"/>
                </a:lnTo>
                <a:lnTo>
                  <a:pt x="19" y="61"/>
                </a:lnTo>
                <a:lnTo>
                  <a:pt x="28" y="59"/>
                </a:lnTo>
                <a:lnTo>
                  <a:pt x="20" y="49"/>
                </a:lnTo>
                <a:lnTo>
                  <a:pt x="18" y="37"/>
                </a:lnTo>
                <a:lnTo>
                  <a:pt x="34" y="35"/>
                </a:lnTo>
                <a:lnTo>
                  <a:pt x="32" y="19"/>
                </a:lnTo>
                <a:lnTo>
                  <a:pt x="51" y="0"/>
                </a:lnTo>
                <a:lnTo>
                  <a:pt x="65" y="2"/>
                </a:lnTo>
                <a:close/>
              </a:path>
            </a:pathLst>
          </a:custGeom>
          <a:solidFill>
            <a:schemeClr val="accent1"/>
          </a:solidFill>
          <a:ln w="6350">
            <a:solidFill>
              <a:schemeClr val="tx2"/>
            </a:solidFill>
            <a:round/>
            <a:headEnd/>
            <a:tailEnd/>
          </a:ln>
        </p:spPr>
        <p:txBody>
          <a:bodyPr/>
          <a:lstStyle/>
          <a:p>
            <a:endParaRPr lang="en-US"/>
          </a:p>
        </p:txBody>
      </p:sp>
      <p:sp>
        <p:nvSpPr>
          <p:cNvPr id="119" name="Freeform 1189"/>
          <p:cNvSpPr>
            <a:spLocks/>
          </p:cNvSpPr>
          <p:nvPr/>
        </p:nvSpPr>
        <p:spPr bwMode="auto">
          <a:xfrm>
            <a:off x="3484226" y="2450598"/>
            <a:ext cx="107501" cy="133734"/>
          </a:xfrm>
          <a:custGeom>
            <a:avLst/>
            <a:gdLst>
              <a:gd name="T0" fmla="*/ 2147483647 w 232"/>
              <a:gd name="T1" fmla="*/ 2147483647 h 321"/>
              <a:gd name="T2" fmla="*/ 2147483647 w 232"/>
              <a:gd name="T3" fmla="*/ 0 h 321"/>
              <a:gd name="T4" fmla="*/ 2147483647 w 232"/>
              <a:gd name="T5" fmla="*/ 2147483647 h 321"/>
              <a:gd name="T6" fmla="*/ 2147483647 w 232"/>
              <a:gd name="T7" fmla="*/ 2147483647 h 321"/>
              <a:gd name="T8" fmla="*/ 2147483647 w 232"/>
              <a:gd name="T9" fmla="*/ 2147483647 h 321"/>
              <a:gd name="T10" fmla="*/ 2147483647 w 232"/>
              <a:gd name="T11" fmla="*/ 2147483647 h 321"/>
              <a:gd name="T12" fmla="*/ 2147483647 w 232"/>
              <a:gd name="T13" fmla="*/ 2147483647 h 321"/>
              <a:gd name="T14" fmla="*/ 2147483647 w 232"/>
              <a:gd name="T15" fmla="*/ 2147483647 h 321"/>
              <a:gd name="T16" fmla="*/ 2147483647 w 232"/>
              <a:gd name="T17" fmla="*/ 2147483647 h 321"/>
              <a:gd name="T18" fmla="*/ 2147483647 w 232"/>
              <a:gd name="T19" fmla="*/ 2147483647 h 321"/>
              <a:gd name="T20" fmla="*/ 2147483647 w 232"/>
              <a:gd name="T21" fmla="*/ 2147483647 h 321"/>
              <a:gd name="T22" fmla="*/ 2147483647 w 232"/>
              <a:gd name="T23" fmla="*/ 2147483647 h 321"/>
              <a:gd name="T24" fmla="*/ 2147483647 w 232"/>
              <a:gd name="T25" fmla="*/ 2147483647 h 321"/>
              <a:gd name="T26" fmla="*/ 2147483647 w 232"/>
              <a:gd name="T27" fmla="*/ 2147483647 h 321"/>
              <a:gd name="T28" fmla="*/ 2147483647 w 232"/>
              <a:gd name="T29" fmla="*/ 2147483647 h 321"/>
              <a:gd name="T30" fmla="*/ 2147483647 w 232"/>
              <a:gd name="T31" fmla="*/ 2147483647 h 321"/>
              <a:gd name="T32" fmla="*/ 2147483647 w 232"/>
              <a:gd name="T33" fmla="*/ 2147483647 h 321"/>
              <a:gd name="T34" fmla="*/ 2147483647 w 232"/>
              <a:gd name="T35" fmla="*/ 2147483647 h 321"/>
              <a:gd name="T36" fmla="*/ 2147483647 w 232"/>
              <a:gd name="T37" fmla="*/ 2147483647 h 321"/>
              <a:gd name="T38" fmla="*/ 2147483647 w 232"/>
              <a:gd name="T39" fmla="*/ 2147483647 h 321"/>
              <a:gd name="T40" fmla="*/ 2147483647 w 232"/>
              <a:gd name="T41" fmla="*/ 2147483647 h 321"/>
              <a:gd name="T42" fmla="*/ 2147483647 w 232"/>
              <a:gd name="T43" fmla="*/ 2147483647 h 321"/>
              <a:gd name="T44" fmla="*/ 2147483647 w 232"/>
              <a:gd name="T45" fmla="*/ 2147483647 h 321"/>
              <a:gd name="T46" fmla="*/ 2147483647 w 232"/>
              <a:gd name="T47" fmla="*/ 2147483647 h 321"/>
              <a:gd name="T48" fmla="*/ 2147483647 w 232"/>
              <a:gd name="T49" fmla="*/ 2147483647 h 321"/>
              <a:gd name="T50" fmla="*/ 2147483647 w 232"/>
              <a:gd name="T51" fmla="*/ 2147483647 h 321"/>
              <a:gd name="T52" fmla="*/ 2147483647 w 232"/>
              <a:gd name="T53" fmla="*/ 2147483647 h 321"/>
              <a:gd name="T54" fmla="*/ 0 w 232"/>
              <a:gd name="T55" fmla="*/ 2147483647 h 321"/>
              <a:gd name="T56" fmla="*/ 2147483647 w 232"/>
              <a:gd name="T57" fmla="*/ 2147483647 h 321"/>
              <a:gd name="T58" fmla="*/ 0 w 232"/>
              <a:gd name="T59" fmla="*/ 2147483647 h 321"/>
              <a:gd name="T60" fmla="*/ 2147483647 w 232"/>
              <a:gd name="T61" fmla="*/ 2147483647 h 321"/>
              <a:gd name="T62" fmla="*/ 2147483647 w 232"/>
              <a:gd name="T63" fmla="*/ 2147483647 h 321"/>
              <a:gd name="T64" fmla="*/ 2147483647 w 232"/>
              <a:gd name="T65" fmla="*/ 2147483647 h 321"/>
              <a:gd name="T66" fmla="*/ 2147483647 w 232"/>
              <a:gd name="T67" fmla="*/ 2147483647 h 3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321"/>
              <a:gd name="T104" fmla="*/ 232 w 232"/>
              <a:gd name="T105" fmla="*/ 321 h 32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321">
                <a:moveTo>
                  <a:pt x="26" y="14"/>
                </a:moveTo>
                <a:lnTo>
                  <a:pt x="96" y="0"/>
                </a:lnTo>
                <a:lnTo>
                  <a:pt x="136" y="14"/>
                </a:lnTo>
                <a:lnTo>
                  <a:pt x="146" y="33"/>
                </a:lnTo>
                <a:lnTo>
                  <a:pt x="177" y="23"/>
                </a:lnTo>
                <a:lnTo>
                  <a:pt x="232" y="41"/>
                </a:lnTo>
                <a:lnTo>
                  <a:pt x="213" y="90"/>
                </a:lnTo>
                <a:lnTo>
                  <a:pt x="198" y="90"/>
                </a:lnTo>
                <a:lnTo>
                  <a:pt x="201" y="108"/>
                </a:lnTo>
                <a:lnTo>
                  <a:pt x="193" y="137"/>
                </a:lnTo>
                <a:lnTo>
                  <a:pt x="177" y="146"/>
                </a:lnTo>
                <a:lnTo>
                  <a:pt x="184" y="148"/>
                </a:lnTo>
                <a:lnTo>
                  <a:pt x="181" y="163"/>
                </a:lnTo>
                <a:lnTo>
                  <a:pt x="151" y="219"/>
                </a:lnTo>
                <a:lnTo>
                  <a:pt x="104" y="207"/>
                </a:lnTo>
                <a:lnTo>
                  <a:pt x="57" y="216"/>
                </a:lnTo>
                <a:lnTo>
                  <a:pt x="78" y="225"/>
                </a:lnTo>
                <a:lnTo>
                  <a:pt x="94" y="255"/>
                </a:lnTo>
                <a:lnTo>
                  <a:pt x="66" y="309"/>
                </a:lnTo>
                <a:lnTo>
                  <a:pt x="32" y="321"/>
                </a:lnTo>
                <a:lnTo>
                  <a:pt x="20" y="316"/>
                </a:lnTo>
                <a:lnTo>
                  <a:pt x="33" y="300"/>
                </a:lnTo>
                <a:lnTo>
                  <a:pt x="20" y="294"/>
                </a:lnTo>
                <a:lnTo>
                  <a:pt x="20" y="263"/>
                </a:lnTo>
                <a:lnTo>
                  <a:pt x="34" y="241"/>
                </a:lnTo>
                <a:lnTo>
                  <a:pt x="19" y="245"/>
                </a:lnTo>
                <a:lnTo>
                  <a:pt x="3" y="222"/>
                </a:lnTo>
                <a:lnTo>
                  <a:pt x="0" y="190"/>
                </a:lnTo>
                <a:lnTo>
                  <a:pt x="4" y="158"/>
                </a:lnTo>
                <a:lnTo>
                  <a:pt x="0" y="67"/>
                </a:lnTo>
                <a:lnTo>
                  <a:pt x="7" y="58"/>
                </a:lnTo>
                <a:lnTo>
                  <a:pt x="12" y="41"/>
                </a:lnTo>
                <a:lnTo>
                  <a:pt x="13" y="21"/>
                </a:lnTo>
                <a:lnTo>
                  <a:pt x="26" y="14"/>
                </a:lnTo>
                <a:close/>
              </a:path>
            </a:pathLst>
          </a:custGeom>
          <a:solidFill>
            <a:schemeClr val="accent1"/>
          </a:solidFill>
          <a:ln w="6350">
            <a:solidFill>
              <a:schemeClr val="tx2"/>
            </a:solidFill>
            <a:round/>
            <a:headEnd/>
            <a:tailEnd/>
          </a:ln>
        </p:spPr>
        <p:txBody>
          <a:bodyPr/>
          <a:lstStyle/>
          <a:p>
            <a:endParaRPr lang="en-US"/>
          </a:p>
        </p:txBody>
      </p:sp>
      <p:sp>
        <p:nvSpPr>
          <p:cNvPr id="120" name="Freeform 1190"/>
          <p:cNvSpPr>
            <a:spLocks/>
          </p:cNvSpPr>
          <p:nvPr/>
        </p:nvSpPr>
        <p:spPr bwMode="auto">
          <a:xfrm>
            <a:off x="3659093" y="2777927"/>
            <a:ext cx="10034" cy="28020"/>
          </a:xfrm>
          <a:custGeom>
            <a:avLst/>
            <a:gdLst>
              <a:gd name="T0" fmla="*/ 2147483647 w 20"/>
              <a:gd name="T1" fmla="*/ 2147483647 h 64"/>
              <a:gd name="T2" fmla="*/ 2147483647 w 20"/>
              <a:gd name="T3" fmla="*/ 2147483647 h 64"/>
              <a:gd name="T4" fmla="*/ 2147483647 w 20"/>
              <a:gd name="T5" fmla="*/ 2147483647 h 64"/>
              <a:gd name="T6" fmla="*/ 0 w 20"/>
              <a:gd name="T7" fmla="*/ 2147483647 h 64"/>
              <a:gd name="T8" fmla="*/ 2147483647 w 20"/>
              <a:gd name="T9" fmla="*/ 2147483647 h 64"/>
              <a:gd name="T10" fmla="*/ 2147483647 w 20"/>
              <a:gd name="T11" fmla="*/ 0 h 64"/>
              <a:gd name="T12" fmla="*/ 2147483647 w 20"/>
              <a:gd name="T13" fmla="*/ 2147483647 h 64"/>
              <a:gd name="T14" fmla="*/ 0 60000 65536"/>
              <a:gd name="T15" fmla="*/ 0 60000 65536"/>
              <a:gd name="T16" fmla="*/ 0 60000 65536"/>
              <a:gd name="T17" fmla="*/ 0 60000 65536"/>
              <a:gd name="T18" fmla="*/ 0 60000 65536"/>
              <a:gd name="T19" fmla="*/ 0 60000 65536"/>
              <a:gd name="T20" fmla="*/ 0 60000 65536"/>
              <a:gd name="T21" fmla="*/ 0 w 20"/>
              <a:gd name="T22" fmla="*/ 0 h 64"/>
              <a:gd name="T23" fmla="*/ 20 w 2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64">
                <a:moveTo>
                  <a:pt x="14" y="6"/>
                </a:moveTo>
                <a:lnTo>
                  <a:pt x="20" y="52"/>
                </a:lnTo>
                <a:lnTo>
                  <a:pt x="17" y="64"/>
                </a:lnTo>
                <a:lnTo>
                  <a:pt x="0" y="52"/>
                </a:lnTo>
                <a:lnTo>
                  <a:pt x="1" y="10"/>
                </a:lnTo>
                <a:lnTo>
                  <a:pt x="7" y="0"/>
                </a:lnTo>
                <a:lnTo>
                  <a:pt x="14" y="6"/>
                </a:lnTo>
                <a:close/>
              </a:path>
            </a:pathLst>
          </a:custGeom>
          <a:solidFill>
            <a:schemeClr val="accent1"/>
          </a:solidFill>
          <a:ln w="6350">
            <a:solidFill>
              <a:schemeClr val="tx2"/>
            </a:solidFill>
            <a:round/>
            <a:headEnd/>
            <a:tailEnd/>
          </a:ln>
        </p:spPr>
        <p:txBody>
          <a:bodyPr/>
          <a:lstStyle/>
          <a:p>
            <a:endParaRPr lang="en-US"/>
          </a:p>
        </p:txBody>
      </p:sp>
      <p:sp>
        <p:nvSpPr>
          <p:cNvPr id="121" name="Freeform 1191"/>
          <p:cNvSpPr>
            <a:spLocks/>
          </p:cNvSpPr>
          <p:nvPr/>
        </p:nvSpPr>
        <p:spPr bwMode="auto">
          <a:xfrm>
            <a:off x="3656227" y="2890008"/>
            <a:ext cx="140467" cy="114630"/>
          </a:xfrm>
          <a:custGeom>
            <a:avLst/>
            <a:gdLst>
              <a:gd name="T0" fmla="*/ 2147483647 w 302"/>
              <a:gd name="T1" fmla="*/ 2147483647 h 273"/>
              <a:gd name="T2" fmla="*/ 2147483647 w 302"/>
              <a:gd name="T3" fmla="*/ 0 h 273"/>
              <a:gd name="T4" fmla="*/ 2147483647 w 302"/>
              <a:gd name="T5" fmla="*/ 2147483647 h 273"/>
              <a:gd name="T6" fmla="*/ 2147483647 w 302"/>
              <a:gd name="T7" fmla="*/ 2147483647 h 273"/>
              <a:gd name="T8" fmla="*/ 2147483647 w 302"/>
              <a:gd name="T9" fmla="*/ 2147483647 h 273"/>
              <a:gd name="T10" fmla="*/ 2147483647 w 302"/>
              <a:gd name="T11" fmla="*/ 2147483647 h 273"/>
              <a:gd name="T12" fmla="*/ 2147483647 w 302"/>
              <a:gd name="T13" fmla="*/ 2147483647 h 273"/>
              <a:gd name="T14" fmla="*/ 2147483647 w 302"/>
              <a:gd name="T15" fmla="*/ 2147483647 h 273"/>
              <a:gd name="T16" fmla="*/ 2147483647 w 302"/>
              <a:gd name="T17" fmla="*/ 2147483647 h 273"/>
              <a:gd name="T18" fmla="*/ 2147483647 w 302"/>
              <a:gd name="T19" fmla="*/ 2147483647 h 273"/>
              <a:gd name="T20" fmla="*/ 2147483647 w 302"/>
              <a:gd name="T21" fmla="*/ 2147483647 h 273"/>
              <a:gd name="T22" fmla="*/ 2147483647 w 302"/>
              <a:gd name="T23" fmla="*/ 2147483647 h 273"/>
              <a:gd name="T24" fmla="*/ 2147483647 w 302"/>
              <a:gd name="T25" fmla="*/ 2147483647 h 273"/>
              <a:gd name="T26" fmla="*/ 2147483647 w 302"/>
              <a:gd name="T27" fmla="*/ 2147483647 h 273"/>
              <a:gd name="T28" fmla="*/ 2147483647 w 302"/>
              <a:gd name="T29" fmla="*/ 2147483647 h 273"/>
              <a:gd name="T30" fmla="*/ 2147483647 w 302"/>
              <a:gd name="T31" fmla="*/ 2147483647 h 273"/>
              <a:gd name="T32" fmla="*/ 2147483647 w 302"/>
              <a:gd name="T33" fmla="*/ 2147483647 h 273"/>
              <a:gd name="T34" fmla="*/ 2147483647 w 302"/>
              <a:gd name="T35" fmla="*/ 2147483647 h 273"/>
              <a:gd name="T36" fmla="*/ 2147483647 w 302"/>
              <a:gd name="T37" fmla="*/ 2147483647 h 273"/>
              <a:gd name="T38" fmla="*/ 2147483647 w 302"/>
              <a:gd name="T39" fmla="*/ 2147483647 h 273"/>
              <a:gd name="T40" fmla="*/ 2147483647 w 302"/>
              <a:gd name="T41" fmla="*/ 2147483647 h 273"/>
              <a:gd name="T42" fmla="*/ 2147483647 w 302"/>
              <a:gd name="T43" fmla="*/ 2147483647 h 273"/>
              <a:gd name="T44" fmla="*/ 2147483647 w 302"/>
              <a:gd name="T45" fmla="*/ 2147483647 h 273"/>
              <a:gd name="T46" fmla="*/ 2147483647 w 302"/>
              <a:gd name="T47" fmla="*/ 2147483647 h 273"/>
              <a:gd name="T48" fmla="*/ 2147483647 w 302"/>
              <a:gd name="T49" fmla="*/ 2147483647 h 273"/>
              <a:gd name="T50" fmla="*/ 2147483647 w 302"/>
              <a:gd name="T51" fmla="*/ 2147483647 h 273"/>
              <a:gd name="T52" fmla="*/ 2147483647 w 302"/>
              <a:gd name="T53" fmla="*/ 2147483647 h 273"/>
              <a:gd name="T54" fmla="*/ 2147483647 w 302"/>
              <a:gd name="T55" fmla="*/ 2147483647 h 273"/>
              <a:gd name="T56" fmla="*/ 2147483647 w 302"/>
              <a:gd name="T57" fmla="*/ 2147483647 h 273"/>
              <a:gd name="T58" fmla="*/ 2147483647 w 302"/>
              <a:gd name="T59" fmla="*/ 2147483647 h 273"/>
              <a:gd name="T60" fmla="*/ 2147483647 w 302"/>
              <a:gd name="T61" fmla="*/ 2147483647 h 273"/>
              <a:gd name="T62" fmla="*/ 2147483647 w 302"/>
              <a:gd name="T63" fmla="*/ 2147483647 h 273"/>
              <a:gd name="T64" fmla="*/ 2147483647 w 302"/>
              <a:gd name="T65" fmla="*/ 2147483647 h 273"/>
              <a:gd name="T66" fmla="*/ 2147483647 w 302"/>
              <a:gd name="T67" fmla="*/ 2147483647 h 273"/>
              <a:gd name="T68" fmla="*/ 2147483647 w 302"/>
              <a:gd name="T69" fmla="*/ 2147483647 h 273"/>
              <a:gd name="T70" fmla="*/ 2147483647 w 302"/>
              <a:gd name="T71" fmla="*/ 2147483647 h 273"/>
              <a:gd name="T72" fmla="*/ 2147483647 w 302"/>
              <a:gd name="T73" fmla="*/ 2147483647 h 273"/>
              <a:gd name="T74" fmla="*/ 2147483647 w 302"/>
              <a:gd name="T75" fmla="*/ 2147483647 h 273"/>
              <a:gd name="T76" fmla="*/ 0 w 302"/>
              <a:gd name="T77" fmla="*/ 2147483647 h 273"/>
              <a:gd name="T78" fmla="*/ 2147483647 w 302"/>
              <a:gd name="T79" fmla="*/ 2147483647 h 273"/>
              <a:gd name="T80" fmla="*/ 2147483647 w 302"/>
              <a:gd name="T81" fmla="*/ 2147483647 h 273"/>
              <a:gd name="T82" fmla="*/ 2147483647 w 302"/>
              <a:gd name="T83" fmla="*/ 2147483647 h 273"/>
              <a:gd name="T84" fmla="*/ 2147483647 w 302"/>
              <a:gd name="T85" fmla="*/ 2147483647 h 273"/>
              <a:gd name="T86" fmla="*/ 2147483647 w 302"/>
              <a:gd name="T87" fmla="*/ 2147483647 h 273"/>
              <a:gd name="T88" fmla="*/ 2147483647 w 302"/>
              <a:gd name="T89" fmla="*/ 2147483647 h 2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2"/>
              <a:gd name="T136" fmla="*/ 0 h 273"/>
              <a:gd name="T137" fmla="*/ 302 w 302"/>
              <a:gd name="T138" fmla="*/ 273 h 2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2" h="273">
                <a:moveTo>
                  <a:pt x="61" y="11"/>
                </a:moveTo>
                <a:lnTo>
                  <a:pt x="71" y="0"/>
                </a:lnTo>
                <a:lnTo>
                  <a:pt x="73" y="9"/>
                </a:lnTo>
                <a:lnTo>
                  <a:pt x="82" y="8"/>
                </a:lnTo>
                <a:lnTo>
                  <a:pt x="93" y="30"/>
                </a:lnTo>
                <a:lnTo>
                  <a:pt x="89" y="37"/>
                </a:lnTo>
                <a:lnTo>
                  <a:pt x="94" y="63"/>
                </a:lnTo>
                <a:lnTo>
                  <a:pt x="100" y="66"/>
                </a:lnTo>
                <a:lnTo>
                  <a:pt x="110" y="45"/>
                </a:lnTo>
                <a:lnTo>
                  <a:pt x="116" y="46"/>
                </a:lnTo>
                <a:lnTo>
                  <a:pt x="132" y="57"/>
                </a:lnTo>
                <a:lnTo>
                  <a:pt x="131" y="70"/>
                </a:lnTo>
                <a:lnTo>
                  <a:pt x="162" y="79"/>
                </a:lnTo>
                <a:lnTo>
                  <a:pt x="191" y="113"/>
                </a:lnTo>
                <a:lnTo>
                  <a:pt x="224" y="127"/>
                </a:lnTo>
                <a:lnTo>
                  <a:pt x="240" y="174"/>
                </a:lnTo>
                <a:lnTo>
                  <a:pt x="237" y="184"/>
                </a:lnTo>
                <a:lnTo>
                  <a:pt x="259" y="188"/>
                </a:lnTo>
                <a:lnTo>
                  <a:pt x="269" y="177"/>
                </a:lnTo>
                <a:lnTo>
                  <a:pt x="285" y="193"/>
                </a:lnTo>
                <a:lnTo>
                  <a:pt x="284" y="204"/>
                </a:lnTo>
                <a:lnTo>
                  <a:pt x="302" y="214"/>
                </a:lnTo>
                <a:lnTo>
                  <a:pt x="263" y="243"/>
                </a:lnTo>
                <a:lnTo>
                  <a:pt x="219" y="219"/>
                </a:lnTo>
                <a:lnTo>
                  <a:pt x="206" y="221"/>
                </a:lnTo>
                <a:lnTo>
                  <a:pt x="206" y="199"/>
                </a:lnTo>
                <a:lnTo>
                  <a:pt x="175" y="192"/>
                </a:lnTo>
                <a:lnTo>
                  <a:pt x="182" y="174"/>
                </a:lnTo>
                <a:lnTo>
                  <a:pt x="154" y="182"/>
                </a:lnTo>
                <a:lnTo>
                  <a:pt x="153" y="215"/>
                </a:lnTo>
                <a:lnTo>
                  <a:pt x="127" y="231"/>
                </a:lnTo>
                <a:lnTo>
                  <a:pt x="107" y="263"/>
                </a:lnTo>
                <a:lnTo>
                  <a:pt x="84" y="273"/>
                </a:lnTo>
                <a:lnTo>
                  <a:pt x="75" y="273"/>
                </a:lnTo>
                <a:lnTo>
                  <a:pt x="69" y="260"/>
                </a:lnTo>
                <a:lnTo>
                  <a:pt x="64" y="204"/>
                </a:lnTo>
                <a:lnTo>
                  <a:pt x="60" y="220"/>
                </a:lnTo>
                <a:lnTo>
                  <a:pt x="6" y="235"/>
                </a:lnTo>
                <a:lnTo>
                  <a:pt x="0" y="222"/>
                </a:lnTo>
                <a:lnTo>
                  <a:pt x="9" y="202"/>
                </a:lnTo>
                <a:lnTo>
                  <a:pt x="40" y="175"/>
                </a:lnTo>
                <a:lnTo>
                  <a:pt x="34" y="137"/>
                </a:lnTo>
                <a:lnTo>
                  <a:pt x="44" y="87"/>
                </a:lnTo>
                <a:lnTo>
                  <a:pt x="45" y="46"/>
                </a:lnTo>
                <a:lnTo>
                  <a:pt x="61" y="11"/>
                </a:lnTo>
                <a:close/>
              </a:path>
            </a:pathLst>
          </a:custGeom>
          <a:solidFill>
            <a:schemeClr val="accent1"/>
          </a:solidFill>
          <a:ln w="6350">
            <a:solidFill>
              <a:schemeClr val="tx2"/>
            </a:solidFill>
            <a:round/>
            <a:headEnd/>
            <a:tailEnd/>
          </a:ln>
        </p:spPr>
        <p:txBody>
          <a:bodyPr/>
          <a:lstStyle/>
          <a:p>
            <a:endParaRPr lang="en-US"/>
          </a:p>
        </p:txBody>
      </p:sp>
      <p:sp>
        <p:nvSpPr>
          <p:cNvPr id="122" name="Freeform 1192"/>
          <p:cNvSpPr>
            <a:spLocks/>
          </p:cNvSpPr>
          <p:nvPr/>
        </p:nvSpPr>
        <p:spPr bwMode="auto">
          <a:xfrm>
            <a:off x="3710693" y="2881093"/>
            <a:ext cx="21500" cy="20378"/>
          </a:xfrm>
          <a:custGeom>
            <a:avLst/>
            <a:gdLst>
              <a:gd name="T0" fmla="*/ 2147483647 w 49"/>
              <a:gd name="T1" fmla="*/ 2147483647 h 52"/>
              <a:gd name="T2" fmla="*/ 2147483647 w 49"/>
              <a:gd name="T3" fmla="*/ 2147483647 h 52"/>
              <a:gd name="T4" fmla="*/ 2147483647 w 49"/>
              <a:gd name="T5" fmla="*/ 2147483647 h 52"/>
              <a:gd name="T6" fmla="*/ 2147483647 w 49"/>
              <a:gd name="T7" fmla="*/ 2147483647 h 52"/>
              <a:gd name="T8" fmla="*/ 0 w 49"/>
              <a:gd name="T9" fmla="*/ 0 h 52"/>
              <a:gd name="T10" fmla="*/ 2147483647 w 49"/>
              <a:gd name="T11" fmla="*/ 2147483647 h 52"/>
              <a:gd name="T12" fmla="*/ 0 60000 65536"/>
              <a:gd name="T13" fmla="*/ 0 60000 65536"/>
              <a:gd name="T14" fmla="*/ 0 60000 65536"/>
              <a:gd name="T15" fmla="*/ 0 60000 65536"/>
              <a:gd name="T16" fmla="*/ 0 60000 65536"/>
              <a:gd name="T17" fmla="*/ 0 60000 65536"/>
              <a:gd name="T18" fmla="*/ 0 w 49"/>
              <a:gd name="T19" fmla="*/ 0 h 52"/>
              <a:gd name="T20" fmla="*/ 49 w 49"/>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9" h="52">
                <a:moveTo>
                  <a:pt x="26" y="17"/>
                </a:moveTo>
                <a:lnTo>
                  <a:pt x="49" y="52"/>
                </a:lnTo>
                <a:lnTo>
                  <a:pt x="32" y="50"/>
                </a:lnTo>
                <a:lnTo>
                  <a:pt x="18" y="34"/>
                </a:lnTo>
                <a:lnTo>
                  <a:pt x="0" y="0"/>
                </a:lnTo>
                <a:lnTo>
                  <a:pt x="26" y="17"/>
                </a:lnTo>
                <a:close/>
              </a:path>
            </a:pathLst>
          </a:custGeom>
          <a:solidFill>
            <a:schemeClr val="accent1"/>
          </a:solidFill>
          <a:ln w="6350">
            <a:solidFill>
              <a:schemeClr val="tx2"/>
            </a:solidFill>
            <a:round/>
            <a:headEnd/>
            <a:tailEnd/>
          </a:ln>
        </p:spPr>
        <p:txBody>
          <a:bodyPr/>
          <a:lstStyle/>
          <a:p>
            <a:endParaRPr lang="en-US"/>
          </a:p>
        </p:txBody>
      </p:sp>
      <p:sp>
        <p:nvSpPr>
          <p:cNvPr id="123" name="Freeform 1193"/>
          <p:cNvSpPr>
            <a:spLocks/>
          </p:cNvSpPr>
          <p:nvPr/>
        </p:nvSpPr>
        <p:spPr bwMode="auto">
          <a:xfrm>
            <a:off x="3855461" y="2779201"/>
            <a:ext cx="43001" cy="49672"/>
          </a:xfrm>
          <a:custGeom>
            <a:avLst/>
            <a:gdLst>
              <a:gd name="T0" fmla="*/ 2147483647 w 94"/>
              <a:gd name="T1" fmla="*/ 0 h 118"/>
              <a:gd name="T2" fmla="*/ 2147483647 w 94"/>
              <a:gd name="T3" fmla="*/ 2147483647 h 118"/>
              <a:gd name="T4" fmla="*/ 2147483647 w 94"/>
              <a:gd name="T5" fmla="*/ 2147483647 h 118"/>
              <a:gd name="T6" fmla="*/ 2147483647 w 94"/>
              <a:gd name="T7" fmla="*/ 2147483647 h 118"/>
              <a:gd name="T8" fmla="*/ 2147483647 w 94"/>
              <a:gd name="T9" fmla="*/ 2147483647 h 118"/>
              <a:gd name="T10" fmla="*/ 2147483647 w 94"/>
              <a:gd name="T11" fmla="*/ 2147483647 h 118"/>
              <a:gd name="T12" fmla="*/ 0 w 94"/>
              <a:gd name="T13" fmla="*/ 2147483647 h 118"/>
              <a:gd name="T14" fmla="*/ 2147483647 w 94"/>
              <a:gd name="T15" fmla="*/ 2147483647 h 118"/>
              <a:gd name="T16" fmla="*/ 2147483647 w 94"/>
              <a:gd name="T17" fmla="*/ 2147483647 h 118"/>
              <a:gd name="T18" fmla="*/ 2147483647 w 94"/>
              <a:gd name="T19" fmla="*/ 0 h 1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4"/>
              <a:gd name="T31" fmla="*/ 0 h 118"/>
              <a:gd name="T32" fmla="*/ 94 w 94"/>
              <a:gd name="T33" fmla="*/ 118 h 1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4" h="118">
                <a:moveTo>
                  <a:pt x="41" y="0"/>
                </a:moveTo>
                <a:lnTo>
                  <a:pt x="87" y="9"/>
                </a:lnTo>
                <a:lnTo>
                  <a:pt x="94" y="36"/>
                </a:lnTo>
                <a:lnTo>
                  <a:pt x="93" y="90"/>
                </a:lnTo>
                <a:lnTo>
                  <a:pt x="68" y="117"/>
                </a:lnTo>
                <a:lnTo>
                  <a:pt x="12" y="118"/>
                </a:lnTo>
                <a:lnTo>
                  <a:pt x="0" y="82"/>
                </a:lnTo>
                <a:lnTo>
                  <a:pt x="1" y="52"/>
                </a:lnTo>
                <a:lnTo>
                  <a:pt x="25" y="6"/>
                </a:lnTo>
                <a:lnTo>
                  <a:pt x="41" y="0"/>
                </a:lnTo>
                <a:close/>
              </a:path>
            </a:pathLst>
          </a:custGeom>
          <a:solidFill>
            <a:schemeClr val="accent1"/>
          </a:solidFill>
          <a:ln w="6350">
            <a:solidFill>
              <a:schemeClr val="tx2"/>
            </a:solidFill>
            <a:round/>
            <a:headEnd/>
            <a:tailEnd/>
          </a:ln>
        </p:spPr>
        <p:txBody>
          <a:bodyPr/>
          <a:lstStyle/>
          <a:p>
            <a:endParaRPr lang="en-US"/>
          </a:p>
        </p:txBody>
      </p:sp>
      <p:sp>
        <p:nvSpPr>
          <p:cNvPr id="124" name="Freeform 1194"/>
          <p:cNvSpPr>
            <a:spLocks/>
          </p:cNvSpPr>
          <p:nvPr/>
        </p:nvSpPr>
        <p:spPr bwMode="auto">
          <a:xfrm>
            <a:off x="3907061" y="2786843"/>
            <a:ext cx="22933" cy="17831"/>
          </a:xfrm>
          <a:custGeom>
            <a:avLst/>
            <a:gdLst>
              <a:gd name="T0" fmla="*/ 0 w 53"/>
              <a:gd name="T1" fmla="*/ 2147483647 h 44"/>
              <a:gd name="T2" fmla="*/ 2147483647 w 53"/>
              <a:gd name="T3" fmla="*/ 0 h 44"/>
              <a:gd name="T4" fmla="*/ 2147483647 w 53"/>
              <a:gd name="T5" fmla="*/ 2147483647 h 44"/>
              <a:gd name="T6" fmla="*/ 2147483647 w 53"/>
              <a:gd name="T7" fmla="*/ 2147483647 h 44"/>
              <a:gd name="T8" fmla="*/ 2147483647 w 53"/>
              <a:gd name="T9" fmla="*/ 2147483647 h 44"/>
              <a:gd name="T10" fmla="*/ 2147483647 w 53"/>
              <a:gd name="T11" fmla="*/ 2147483647 h 44"/>
              <a:gd name="T12" fmla="*/ 0 w 53"/>
              <a:gd name="T13" fmla="*/ 2147483647 h 44"/>
              <a:gd name="T14" fmla="*/ 0 60000 65536"/>
              <a:gd name="T15" fmla="*/ 0 60000 65536"/>
              <a:gd name="T16" fmla="*/ 0 60000 65536"/>
              <a:gd name="T17" fmla="*/ 0 60000 65536"/>
              <a:gd name="T18" fmla="*/ 0 60000 65536"/>
              <a:gd name="T19" fmla="*/ 0 60000 65536"/>
              <a:gd name="T20" fmla="*/ 0 60000 65536"/>
              <a:gd name="T21" fmla="*/ 0 w 53"/>
              <a:gd name="T22" fmla="*/ 0 h 44"/>
              <a:gd name="T23" fmla="*/ 53 w 53"/>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44">
                <a:moveTo>
                  <a:pt x="0" y="19"/>
                </a:moveTo>
                <a:lnTo>
                  <a:pt x="18" y="0"/>
                </a:lnTo>
                <a:lnTo>
                  <a:pt x="46" y="21"/>
                </a:lnTo>
                <a:lnTo>
                  <a:pt x="53" y="41"/>
                </a:lnTo>
                <a:lnTo>
                  <a:pt x="14" y="44"/>
                </a:lnTo>
                <a:lnTo>
                  <a:pt x="2" y="32"/>
                </a:lnTo>
                <a:lnTo>
                  <a:pt x="0" y="19"/>
                </a:lnTo>
                <a:close/>
              </a:path>
            </a:pathLst>
          </a:custGeom>
          <a:solidFill>
            <a:schemeClr val="accent1"/>
          </a:solidFill>
          <a:ln w="6350">
            <a:solidFill>
              <a:schemeClr val="tx2"/>
            </a:solidFill>
            <a:round/>
            <a:headEnd/>
            <a:tailEnd/>
          </a:ln>
        </p:spPr>
        <p:txBody>
          <a:bodyPr/>
          <a:lstStyle/>
          <a:p>
            <a:endParaRPr lang="en-US"/>
          </a:p>
        </p:txBody>
      </p:sp>
      <p:sp>
        <p:nvSpPr>
          <p:cNvPr id="125" name="Freeform 1195"/>
          <p:cNvSpPr>
            <a:spLocks/>
          </p:cNvSpPr>
          <p:nvPr/>
        </p:nvSpPr>
        <p:spPr bwMode="auto">
          <a:xfrm>
            <a:off x="3809594" y="2726981"/>
            <a:ext cx="22933" cy="22926"/>
          </a:xfrm>
          <a:custGeom>
            <a:avLst/>
            <a:gdLst>
              <a:gd name="T0" fmla="*/ 2147483647 w 47"/>
              <a:gd name="T1" fmla="*/ 2147483647 h 57"/>
              <a:gd name="T2" fmla="*/ 2147483647 w 47"/>
              <a:gd name="T3" fmla="*/ 2147483647 h 57"/>
              <a:gd name="T4" fmla="*/ 0 w 47"/>
              <a:gd name="T5" fmla="*/ 2147483647 h 57"/>
              <a:gd name="T6" fmla="*/ 2147483647 w 47"/>
              <a:gd name="T7" fmla="*/ 2147483647 h 57"/>
              <a:gd name="T8" fmla="*/ 2147483647 w 47"/>
              <a:gd name="T9" fmla="*/ 2147483647 h 57"/>
              <a:gd name="T10" fmla="*/ 2147483647 w 47"/>
              <a:gd name="T11" fmla="*/ 2147483647 h 57"/>
              <a:gd name="T12" fmla="*/ 2147483647 w 47"/>
              <a:gd name="T13" fmla="*/ 2147483647 h 57"/>
              <a:gd name="T14" fmla="*/ 2147483647 w 47"/>
              <a:gd name="T15" fmla="*/ 0 h 57"/>
              <a:gd name="T16" fmla="*/ 2147483647 w 47"/>
              <a:gd name="T17" fmla="*/ 2147483647 h 57"/>
              <a:gd name="T18" fmla="*/ 2147483647 w 47"/>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57"/>
              <a:gd name="T32" fmla="*/ 47 w 47"/>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57">
                <a:moveTo>
                  <a:pt x="37" y="18"/>
                </a:moveTo>
                <a:lnTo>
                  <a:pt x="25" y="47"/>
                </a:lnTo>
                <a:lnTo>
                  <a:pt x="0" y="57"/>
                </a:lnTo>
                <a:lnTo>
                  <a:pt x="8" y="34"/>
                </a:lnTo>
                <a:lnTo>
                  <a:pt x="28" y="12"/>
                </a:lnTo>
                <a:lnTo>
                  <a:pt x="45" y="18"/>
                </a:lnTo>
                <a:lnTo>
                  <a:pt x="47" y="1"/>
                </a:lnTo>
                <a:lnTo>
                  <a:pt x="34" y="0"/>
                </a:lnTo>
                <a:lnTo>
                  <a:pt x="31" y="11"/>
                </a:lnTo>
                <a:lnTo>
                  <a:pt x="37" y="18"/>
                </a:lnTo>
                <a:close/>
              </a:path>
            </a:pathLst>
          </a:custGeom>
          <a:solidFill>
            <a:schemeClr val="accent1"/>
          </a:solidFill>
          <a:ln w="6350">
            <a:solidFill>
              <a:schemeClr val="tx2"/>
            </a:solidFill>
            <a:round/>
            <a:headEnd/>
            <a:tailEnd/>
          </a:ln>
        </p:spPr>
        <p:txBody>
          <a:bodyPr/>
          <a:lstStyle/>
          <a:p>
            <a:endParaRPr lang="en-US"/>
          </a:p>
        </p:txBody>
      </p:sp>
      <p:sp>
        <p:nvSpPr>
          <p:cNvPr id="126" name="Freeform 1196"/>
          <p:cNvSpPr>
            <a:spLocks/>
          </p:cNvSpPr>
          <p:nvPr/>
        </p:nvSpPr>
        <p:spPr bwMode="auto">
          <a:xfrm>
            <a:off x="3789528" y="2705328"/>
            <a:ext cx="22933" cy="16557"/>
          </a:xfrm>
          <a:custGeom>
            <a:avLst/>
            <a:gdLst>
              <a:gd name="T0" fmla="*/ 2147483647 w 48"/>
              <a:gd name="T1" fmla="*/ 0 h 39"/>
              <a:gd name="T2" fmla="*/ 2147483647 w 48"/>
              <a:gd name="T3" fmla="*/ 2147483647 h 39"/>
              <a:gd name="T4" fmla="*/ 2147483647 w 48"/>
              <a:gd name="T5" fmla="*/ 2147483647 h 39"/>
              <a:gd name="T6" fmla="*/ 2147483647 w 48"/>
              <a:gd name="T7" fmla="*/ 2147483647 h 39"/>
              <a:gd name="T8" fmla="*/ 2147483647 w 48"/>
              <a:gd name="T9" fmla="*/ 2147483647 h 39"/>
              <a:gd name="T10" fmla="*/ 0 w 48"/>
              <a:gd name="T11" fmla="*/ 2147483647 h 39"/>
              <a:gd name="T12" fmla="*/ 2147483647 w 48"/>
              <a:gd name="T13" fmla="*/ 0 h 39"/>
              <a:gd name="T14" fmla="*/ 0 60000 65536"/>
              <a:gd name="T15" fmla="*/ 0 60000 65536"/>
              <a:gd name="T16" fmla="*/ 0 60000 65536"/>
              <a:gd name="T17" fmla="*/ 0 60000 65536"/>
              <a:gd name="T18" fmla="*/ 0 60000 65536"/>
              <a:gd name="T19" fmla="*/ 0 60000 65536"/>
              <a:gd name="T20" fmla="*/ 0 60000 65536"/>
              <a:gd name="T21" fmla="*/ 0 w 48"/>
              <a:gd name="T22" fmla="*/ 0 h 39"/>
              <a:gd name="T23" fmla="*/ 48 w 48"/>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9">
                <a:moveTo>
                  <a:pt x="12" y="0"/>
                </a:moveTo>
                <a:lnTo>
                  <a:pt x="48" y="8"/>
                </a:lnTo>
                <a:lnTo>
                  <a:pt x="28" y="26"/>
                </a:lnTo>
                <a:lnTo>
                  <a:pt x="20" y="19"/>
                </a:lnTo>
                <a:lnTo>
                  <a:pt x="20" y="39"/>
                </a:lnTo>
                <a:lnTo>
                  <a:pt x="0" y="2"/>
                </a:lnTo>
                <a:lnTo>
                  <a:pt x="12" y="0"/>
                </a:lnTo>
                <a:close/>
              </a:path>
            </a:pathLst>
          </a:custGeom>
          <a:solidFill>
            <a:schemeClr val="accent1"/>
          </a:solidFill>
          <a:ln w="6350">
            <a:solidFill>
              <a:schemeClr val="tx2"/>
            </a:solidFill>
            <a:round/>
            <a:headEnd/>
            <a:tailEnd/>
          </a:ln>
        </p:spPr>
        <p:txBody>
          <a:bodyPr/>
          <a:lstStyle/>
          <a:p>
            <a:endParaRPr lang="en-US"/>
          </a:p>
        </p:txBody>
      </p:sp>
      <p:sp>
        <p:nvSpPr>
          <p:cNvPr id="127" name="Freeform 1197"/>
          <p:cNvSpPr>
            <a:spLocks/>
          </p:cNvSpPr>
          <p:nvPr/>
        </p:nvSpPr>
        <p:spPr bwMode="auto">
          <a:xfrm>
            <a:off x="3829661" y="2993175"/>
            <a:ext cx="20066" cy="14010"/>
          </a:xfrm>
          <a:custGeom>
            <a:avLst/>
            <a:gdLst>
              <a:gd name="T0" fmla="*/ 0 w 41"/>
              <a:gd name="T1" fmla="*/ 2147483647 h 32"/>
              <a:gd name="T2" fmla="*/ 2147483647 w 41"/>
              <a:gd name="T3" fmla="*/ 0 h 32"/>
              <a:gd name="T4" fmla="*/ 2147483647 w 41"/>
              <a:gd name="T5" fmla="*/ 2147483647 h 32"/>
              <a:gd name="T6" fmla="*/ 2147483647 w 41"/>
              <a:gd name="T7" fmla="*/ 2147483647 h 32"/>
              <a:gd name="T8" fmla="*/ 0 w 41"/>
              <a:gd name="T9" fmla="*/ 2147483647 h 32"/>
              <a:gd name="T10" fmla="*/ 0 60000 65536"/>
              <a:gd name="T11" fmla="*/ 0 60000 65536"/>
              <a:gd name="T12" fmla="*/ 0 60000 65536"/>
              <a:gd name="T13" fmla="*/ 0 60000 65536"/>
              <a:gd name="T14" fmla="*/ 0 60000 65536"/>
              <a:gd name="T15" fmla="*/ 0 w 41"/>
              <a:gd name="T16" fmla="*/ 0 h 32"/>
              <a:gd name="T17" fmla="*/ 41 w 41"/>
              <a:gd name="T18" fmla="*/ 32 h 32"/>
            </a:gdLst>
            <a:ahLst/>
            <a:cxnLst>
              <a:cxn ang="T10">
                <a:pos x="T0" y="T1"/>
              </a:cxn>
              <a:cxn ang="T11">
                <a:pos x="T2" y="T3"/>
              </a:cxn>
              <a:cxn ang="T12">
                <a:pos x="T4" y="T5"/>
              </a:cxn>
              <a:cxn ang="T13">
                <a:pos x="T6" y="T7"/>
              </a:cxn>
              <a:cxn ang="T14">
                <a:pos x="T8" y="T9"/>
              </a:cxn>
            </a:cxnLst>
            <a:rect l="T15" t="T16" r="T17" b="T18"/>
            <a:pathLst>
              <a:path w="41" h="32">
                <a:moveTo>
                  <a:pt x="0" y="2"/>
                </a:moveTo>
                <a:lnTo>
                  <a:pt x="32" y="0"/>
                </a:lnTo>
                <a:lnTo>
                  <a:pt x="41" y="20"/>
                </a:lnTo>
                <a:lnTo>
                  <a:pt x="28" y="32"/>
                </a:lnTo>
                <a:lnTo>
                  <a:pt x="0" y="2"/>
                </a:lnTo>
                <a:close/>
              </a:path>
            </a:pathLst>
          </a:custGeom>
          <a:solidFill>
            <a:schemeClr val="accent1"/>
          </a:solidFill>
          <a:ln w="6350">
            <a:solidFill>
              <a:schemeClr val="tx2"/>
            </a:solidFill>
            <a:round/>
            <a:headEnd/>
            <a:tailEnd/>
          </a:ln>
        </p:spPr>
        <p:txBody>
          <a:bodyPr/>
          <a:lstStyle/>
          <a:p>
            <a:endParaRPr lang="en-US"/>
          </a:p>
        </p:txBody>
      </p:sp>
      <p:sp>
        <p:nvSpPr>
          <p:cNvPr id="128" name="Freeform 1198"/>
          <p:cNvSpPr>
            <a:spLocks/>
          </p:cNvSpPr>
          <p:nvPr/>
        </p:nvSpPr>
        <p:spPr bwMode="auto">
          <a:xfrm>
            <a:off x="3852595" y="2982986"/>
            <a:ext cx="14334" cy="11462"/>
          </a:xfrm>
          <a:custGeom>
            <a:avLst/>
            <a:gdLst>
              <a:gd name="T0" fmla="*/ 0 w 32"/>
              <a:gd name="T1" fmla="*/ 0 h 27"/>
              <a:gd name="T2" fmla="*/ 2147483647 w 32"/>
              <a:gd name="T3" fmla="*/ 2147483647 h 27"/>
              <a:gd name="T4" fmla="*/ 2147483647 w 32"/>
              <a:gd name="T5" fmla="*/ 2147483647 h 27"/>
              <a:gd name="T6" fmla="*/ 2147483647 w 32"/>
              <a:gd name="T7" fmla="*/ 2147483647 h 27"/>
              <a:gd name="T8" fmla="*/ 0 w 32"/>
              <a:gd name="T9" fmla="*/ 0 h 27"/>
              <a:gd name="T10" fmla="*/ 0 60000 65536"/>
              <a:gd name="T11" fmla="*/ 0 60000 65536"/>
              <a:gd name="T12" fmla="*/ 0 60000 65536"/>
              <a:gd name="T13" fmla="*/ 0 60000 65536"/>
              <a:gd name="T14" fmla="*/ 0 60000 65536"/>
              <a:gd name="T15" fmla="*/ 0 w 32"/>
              <a:gd name="T16" fmla="*/ 0 h 27"/>
              <a:gd name="T17" fmla="*/ 32 w 32"/>
              <a:gd name="T18" fmla="*/ 27 h 27"/>
            </a:gdLst>
            <a:ahLst/>
            <a:cxnLst>
              <a:cxn ang="T10">
                <a:pos x="T0" y="T1"/>
              </a:cxn>
              <a:cxn ang="T11">
                <a:pos x="T2" y="T3"/>
              </a:cxn>
              <a:cxn ang="T12">
                <a:pos x="T4" y="T5"/>
              </a:cxn>
              <a:cxn ang="T13">
                <a:pos x="T6" y="T7"/>
              </a:cxn>
              <a:cxn ang="T14">
                <a:pos x="T8" y="T9"/>
              </a:cxn>
            </a:cxnLst>
            <a:rect l="T15" t="T16" r="T17" b="T18"/>
            <a:pathLst>
              <a:path w="32" h="27">
                <a:moveTo>
                  <a:pt x="0" y="0"/>
                </a:moveTo>
                <a:lnTo>
                  <a:pt x="28" y="12"/>
                </a:lnTo>
                <a:lnTo>
                  <a:pt x="32" y="27"/>
                </a:lnTo>
                <a:lnTo>
                  <a:pt x="14" y="22"/>
                </a:lnTo>
                <a:lnTo>
                  <a:pt x="0" y="0"/>
                </a:lnTo>
                <a:close/>
              </a:path>
            </a:pathLst>
          </a:custGeom>
          <a:solidFill>
            <a:schemeClr val="accent1"/>
          </a:solidFill>
          <a:ln w="6350">
            <a:solidFill>
              <a:schemeClr val="tx2"/>
            </a:solidFill>
            <a:round/>
            <a:headEnd/>
            <a:tailEnd/>
          </a:ln>
        </p:spPr>
        <p:txBody>
          <a:bodyPr/>
          <a:lstStyle/>
          <a:p>
            <a:endParaRPr lang="en-US"/>
          </a:p>
        </p:txBody>
      </p:sp>
      <p:sp>
        <p:nvSpPr>
          <p:cNvPr id="129" name="Freeform 1199"/>
          <p:cNvSpPr>
            <a:spLocks/>
          </p:cNvSpPr>
          <p:nvPr/>
        </p:nvSpPr>
        <p:spPr bwMode="auto">
          <a:xfrm>
            <a:off x="3557326" y="1589606"/>
            <a:ext cx="624936" cy="723437"/>
          </a:xfrm>
          <a:custGeom>
            <a:avLst/>
            <a:gdLst>
              <a:gd name="T0" fmla="*/ 2147483647 w 1329"/>
              <a:gd name="T1" fmla="*/ 2147483647 h 1734"/>
              <a:gd name="T2" fmla="*/ 2147483647 w 1329"/>
              <a:gd name="T3" fmla="*/ 2147483647 h 1734"/>
              <a:gd name="T4" fmla="*/ 2147483647 w 1329"/>
              <a:gd name="T5" fmla="*/ 2147483647 h 1734"/>
              <a:gd name="T6" fmla="*/ 2147483647 w 1329"/>
              <a:gd name="T7" fmla="*/ 2147483647 h 1734"/>
              <a:gd name="T8" fmla="*/ 2147483647 w 1329"/>
              <a:gd name="T9" fmla="*/ 2147483647 h 1734"/>
              <a:gd name="T10" fmla="*/ 2147483647 w 1329"/>
              <a:gd name="T11" fmla="*/ 2147483647 h 1734"/>
              <a:gd name="T12" fmla="*/ 2147483647 w 1329"/>
              <a:gd name="T13" fmla="*/ 2147483647 h 1734"/>
              <a:gd name="T14" fmla="*/ 2147483647 w 1329"/>
              <a:gd name="T15" fmla="*/ 2147483647 h 1734"/>
              <a:gd name="T16" fmla="*/ 2147483647 w 1329"/>
              <a:gd name="T17" fmla="*/ 2147483647 h 1734"/>
              <a:gd name="T18" fmla="*/ 2147483647 w 1329"/>
              <a:gd name="T19" fmla="*/ 2147483647 h 1734"/>
              <a:gd name="T20" fmla="*/ 2147483647 w 1329"/>
              <a:gd name="T21" fmla="*/ 2147483647 h 1734"/>
              <a:gd name="T22" fmla="*/ 2147483647 w 1329"/>
              <a:gd name="T23" fmla="*/ 2147483647 h 1734"/>
              <a:gd name="T24" fmla="*/ 2147483647 w 1329"/>
              <a:gd name="T25" fmla="*/ 2147483647 h 1734"/>
              <a:gd name="T26" fmla="*/ 2147483647 w 1329"/>
              <a:gd name="T27" fmla="*/ 2147483647 h 1734"/>
              <a:gd name="T28" fmla="*/ 2147483647 w 1329"/>
              <a:gd name="T29" fmla="*/ 2147483647 h 1734"/>
              <a:gd name="T30" fmla="*/ 2147483647 w 1329"/>
              <a:gd name="T31" fmla="*/ 2147483647 h 1734"/>
              <a:gd name="T32" fmla="*/ 2147483647 w 1329"/>
              <a:gd name="T33" fmla="*/ 2147483647 h 1734"/>
              <a:gd name="T34" fmla="*/ 2147483647 w 1329"/>
              <a:gd name="T35" fmla="*/ 2147483647 h 1734"/>
              <a:gd name="T36" fmla="*/ 2147483647 w 1329"/>
              <a:gd name="T37" fmla="*/ 2147483647 h 1734"/>
              <a:gd name="T38" fmla="*/ 2147483647 w 1329"/>
              <a:gd name="T39" fmla="*/ 2147483647 h 1734"/>
              <a:gd name="T40" fmla="*/ 2147483647 w 1329"/>
              <a:gd name="T41" fmla="*/ 2147483647 h 1734"/>
              <a:gd name="T42" fmla="*/ 2147483647 w 1329"/>
              <a:gd name="T43" fmla="*/ 2147483647 h 1734"/>
              <a:gd name="T44" fmla="*/ 2147483647 w 1329"/>
              <a:gd name="T45" fmla="*/ 2147483647 h 1734"/>
              <a:gd name="T46" fmla="*/ 2147483647 w 1329"/>
              <a:gd name="T47" fmla="*/ 2147483647 h 1734"/>
              <a:gd name="T48" fmla="*/ 2147483647 w 1329"/>
              <a:gd name="T49" fmla="*/ 2147483647 h 1734"/>
              <a:gd name="T50" fmla="*/ 2147483647 w 1329"/>
              <a:gd name="T51" fmla="*/ 2147483647 h 1734"/>
              <a:gd name="T52" fmla="*/ 2147483647 w 1329"/>
              <a:gd name="T53" fmla="*/ 2147483647 h 1734"/>
              <a:gd name="T54" fmla="*/ 2147483647 w 1329"/>
              <a:gd name="T55" fmla="*/ 2147483647 h 1734"/>
              <a:gd name="T56" fmla="*/ 2147483647 w 1329"/>
              <a:gd name="T57" fmla="*/ 2147483647 h 1734"/>
              <a:gd name="T58" fmla="*/ 2147483647 w 1329"/>
              <a:gd name="T59" fmla="*/ 2147483647 h 1734"/>
              <a:gd name="T60" fmla="*/ 2147483647 w 1329"/>
              <a:gd name="T61" fmla="*/ 2147483647 h 1734"/>
              <a:gd name="T62" fmla="*/ 2147483647 w 1329"/>
              <a:gd name="T63" fmla="*/ 2147483647 h 1734"/>
              <a:gd name="T64" fmla="*/ 2147483647 w 1329"/>
              <a:gd name="T65" fmla="*/ 2147483647 h 1734"/>
              <a:gd name="T66" fmla="*/ 2147483647 w 1329"/>
              <a:gd name="T67" fmla="*/ 2147483647 h 1734"/>
              <a:gd name="T68" fmla="*/ 2147483647 w 1329"/>
              <a:gd name="T69" fmla="*/ 2147483647 h 1734"/>
              <a:gd name="T70" fmla="*/ 2147483647 w 1329"/>
              <a:gd name="T71" fmla="*/ 2147483647 h 1734"/>
              <a:gd name="T72" fmla="*/ 2147483647 w 1329"/>
              <a:gd name="T73" fmla="*/ 2147483647 h 1734"/>
              <a:gd name="T74" fmla="*/ 2147483647 w 1329"/>
              <a:gd name="T75" fmla="*/ 2147483647 h 1734"/>
              <a:gd name="T76" fmla="*/ 2147483647 w 1329"/>
              <a:gd name="T77" fmla="*/ 2147483647 h 1734"/>
              <a:gd name="T78" fmla="*/ 2147483647 w 1329"/>
              <a:gd name="T79" fmla="*/ 2147483647 h 1734"/>
              <a:gd name="T80" fmla="*/ 2147483647 w 1329"/>
              <a:gd name="T81" fmla="*/ 2147483647 h 1734"/>
              <a:gd name="T82" fmla="*/ 2147483647 w 1329"/>
              <a:gd name="T83" fmla="*/ 2147483647 h 1734"/>
              <a:gd name="T84" fmla="*/ 2147483647 w 1329"/>
              <a:gd name="T85" fmla="*/ 2147483647 h 1734"/>
              <a:gd name="T86" fmla="*/ 2147483647 w 1329"/>
              <a:gd name="T87" fmla="*/ 2147483647 h 1734"/>
              <a:gd name="T88" fmla="*/ 2147483647 w 1329"/>
              <a:gd name="T89" fmla="*/ 2147483647 h 1734"/>
              <a:gd name="T90" fmla="*/ 2147483647 w 1329"/>
              <a:gd name="T91" fmla="*/ 2147483647 h 1734"/>
              <a:gd name="T92" fmla="*/ 2147483647 w 1329"/>
              <a:gd name="T93" fmla="*/ 2147483647 h 1734"/>
              <a:gd name="T94" fmla="*/ 2147483647 w 1329"/>
              <a:gd name="T95" fmla="*/ 2147483647 h 1734"/>
              <a:gd name="T96" fmla="*/ 2147483647 w 1329"/>
              <a:gd name="T97" fmla="*/ 2147483647 h 1734"/>
              <a:gd name="T98" fmla="*/ 2147483647 w 1329"/>
              <a:gd name="T99" fmla="*/ 2147483647 h 1734"/>
              <a:gd name="T100" fmla="*/ 2147483647 w 1329"/>
              <a:gd name="T101" fmla="*/ 2147483647 h 1734"/>
              <a:gd name="T102" fmla="*/ 2147483647 w 1329"/>
              <a:gd name="T103" fmla="*/ 2147483647 h 1734"/>
              <a:gd name="T104" fmla="*/ 2147483647 w 1329"/>
              <a:gd name="T105" fmla="*/ 2147483647 h 1734"/>
              <a:gd name="T106" fmla="*/ 2147483647 w 1329"/>
              <a:gd name="T107" fmla="*/ 2147483647 h 1734"/>
              <a:gd name="T108" fmla="*/ 2147483647 w 1329"/>
              <a:gd name="T109" fmla="*/ 2147483647 h 173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29"/>
              <a:gd name="T166" fmla="*/ 0 h 1734"/>
              <a:gd name="T167" fmla="*/ 1329 w 1329"/>
              <a:gd name="T168" fmla="*/ 1734 h 173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29" h="1734">
                <a:moveTo>
                  <a:pt x="227" y="1696"/>
                </a:moveTo>
                <a:lnTo>
                  <a:pt x="280" y="1718"/>
                </a:lnTo>
                <a:lnTo>
                  <a:pt x="316" y="1712"/>
                </a:lnTo>
                <a:lnTo>
                  <a:pt x="292" y="1678"/>
                </a:lnTo>
                <a:lnTo>
                  <a:pt x="291" y="1661"/>
                </a:lnTo>
                <a:lnTo>
                  <a:pt x="312" y="1685"/>
                </a:lnTo>
                <a:lnTo>
                  <a:pt x="326" y="1672"/>
                </a:lnTo>
                <a:lnTo>
                  <a:pt x="326" y="1647"/>
                </a:lnTo>
                <a:lnTo>
                  <a:pt x="360" y="1687"/>
                </a:lnTo>
                <a:lnTo>
                  <a:pt x="371" y="1680"/>
                </a:lnTo>
                <a:lnTo>
                  <a:pt x="372" y="1661"/>
                </a:lnTo>
                <a:lnTo>
                  <a:pt x="381" y="1685"/>
                </a:lnTo>
                <a:lnTo>
                  <a:pt x="394" y="1695"/>
                </a:lnTo>
                <a:lnTo>
                  <a:pt x="415" y="1688"/>
                </a:lnTo>
                <a:lnTo>
                  <a:pt x="420" y="1669"/>
                </a:lnTo>
                <a:lnTo>
                  <a:pt x="403" y="1638"/>
                </a:lnTo>
                <a:lnTo>
                  <a:pt x="424" y="1648"/>
                </a:lnTo>
                <a:lnTo>
                  <a:pt x="431" y="1675"/>
                </a:lnTo>
                <a:lnTo>
                  <a:pt x="468" y="1674"/>
                </a:lnTo>
                <a:lnTo>
                  <a:pt x="475" y="1697"/>
                </a:lnTo>
                <a:lnTo>
                  <a:pt x="466" y="1724"/>
                </a:lnTo>
                <a:lnTo>
                  <a:pt x="470" y="1734"/>
                </a:lnTo>
                <a:lnTo>
                  <a:pt x="527" y="1710"/>
                </a:lnTo>
                <a:lnTo>
                  <a:pt x="558" y="1661"/>
                </a:lnTo>
                <a:lnTo>
                  <a:pt x="562" y="1684"/>
                </a:lnTo>
                <a:lnTo>
                  <a:pt x="598" y="1654"/>
                </a:lnTo>
                <a:lnTo>
                  <a:pt x="603" y="1621"/>
                </a:lnTo>
                <a:lnTo>
                  <a:pt x="593" y="1583"/>
                </a:lnTo>
                <a:lnTo>
                  <a:pt x="562" y="1611"/>
                </a:lnTo>
                <a:lnTo>
                  <a:pt x="538" y="1587"/>
                </a:lnTo>
                <a:lnTo>
                  <a:pt x="545" y="1578"/>
                </a:lnTo>
                <a:lnTo>
                  <a:pt x="558" y="1562"/>
                </a:lnTo>
                <a:lnTo>
                  <a:pt x="539" y="1540"/>
                </a:lnTo>
                <a:lnTo>
                  <a:pt x="503" y="1565"/>
                </a:lnTo>
                <a:lnTo>
                  <a:pt x="499" y="1565"/>
                </a:lnTo>
                <a:lnTo>
                  <a:pt x="508" y="1540"/>
                </a:lnTo>
                <a:lnTo>
                  <a:pt x="474" y="1534"/>
                </a:lnTo>
                <a:lnTo>
                  <a:pt x="436" y="1564"/>
                </a:lnTo>
                <a:lnTo>
                  <a:pt x="426" y="1530"/>
                </a:lnTo>
                <a:lnTo>
                  <a:pt x="462" y="1523"/>
                </a:lnTo>
                <a:lnTo>
                  <a:pt x="448" y="1509"/>
                </a:lnTo>
                <a:lnTo>
                  <a:pt x="445" y="1489"/>
                </a:lnTo>
                <a:lnTo>
                  <a:pt x="492" y="1528"/>
                </a:lnTo>
                <a:lnTo>
                  <a:pt x="590" y="1513"/>
                </a:lnTo>
                <a:lnTo>
                  <a:pt x="601" y="1471"/>
                </a:lnTo>
                <a:lnTo>
                  <a:pt x="615" y="1461"/>
                </a:lnTo>
                <a:lnTo>
                  <a:pt x="600" y="1446"/>
                </a:lnTo>
                <a:lnTo>
                  <a:pt x="601" y="1431"/>
                </a:lnTo>
                <a:lnTo>
                  <a:pt x="591" y="1414"/>
                </a:lnTo>
                <a:lnTo>
                  <a:pt x="590" y="1388"/>
                </a:lnTo>
                <a:lnTo>
                  <a:pt x="687" y="1392"/>
                </a:lnTo>
                <a:lnTo>
                  <a:pt x="704" y="1357"/>
                </a:lnTo>
                <a:lnTo>
                  <a:pt x="701" y="1344"/>
                </a:lnTo>
                <a:lnTo>
                  <a:pt x="728" y="1307"/>
                </a:lnTo>
                <a:lnTo>
                  <a:pt x="671" y="1274"/>
                </a:lnTo>
                <a:lnTo>
                  <a:pt x="745" y="1251"/>
                </a:lnTo>
                <a:lnTo>
                  <a:pt x="740" y="1245"/>
                </a:lnTo>
                <a:lnTo>
                  <a:pt x="740" y="1200"/>
                </a:lnTo>
                <a:lnTo>
                  <a:pt x="731" y="1191"/>
                </a:lnTo>
                <a:lnTo>
                  <a:pt x="677" y="1188"/>
                </a:lnTo>
                <a:lnTo>
                  <a:pt x="695" y="1171"/>
                </a:lnTo>
                <a:lnTo>
                  <a:pt x="690" y="1160"/>
                </a:lnTo>
                <a:lnTo>
                  <a:pt x="610" y="1180"/>
                </a:lnTo>
                <a:lnTo>
                  <a:pt x="619" y="1158"/>
                </a:lnTo>
                <a:lnTo>
                  <a:pt x="608" y="1150"/>
                </a:lnTo>
                <a:lnTo>
                  <a:pt x="608" y="1125"/>
                </a:lnTo>
                <a:lnTo>
                  <a:pt x="676" y="1117"/>
                </a:lnTo>
                <a:lnTo>
                  <a:pt x="697" y="1148"/>
                </a:lnTo>
                <a:lnTo>
                  <a:pt x="745" y="1158"/>
                </a:lnTo>
                <a:lnTo>
                  <a:pt x="751" y="1137"/>
                </a:lnTo>
                <a:lnTo>
                  <a:pt x="741" y="1122"/>
                </a:lnTo>
                <a:lnTo>
                  <a:pt x="750" y="1109"/>
                </a:lnTo>
                <a:lnTo>
                  <a:pt x="629" y="1100"/>
                </a:lnTo>
                <a:lnTo>
                  <a:pt x="638" y="1088"/>
                </a:lnTo>
                <a:lnTo>
                  <a:pt x="629" y="1064"/>
                </a:lnTo>
                <a:lnTo>
                  <a:pt x="635" y="1062"/>
                </a:lnTo>
                <a:lnTo>
                  <a:pt x="641" y="1044"/>
                </a:lnTo>
                <a:lnTo>
                  <a:pt x="725" y="1074"/>
                </a:lnTo>
                <a:lnTo>
                  <a:pt x="730" y="1068"/>
                </a:lnTo>
                <a:lnTo>
                  <a:pt x="728" y="1054"/>
                </a:lnTo>
                <a:lnTo>
                  <a:pt x="790" y="1044"/>
                </a:lnTo>
                <a:lnTo>
                  <a:pt x="793" y="1031"/>
                </a:lnTo>
                <a:lnTo>
                  <a:pt x="786" y="994"/>
                </a:lnTo>
                <a:lnTo>
                  <a:pt x="796" y="983"/>
                </a:lnTo>
                <a:lnTo>
                  <a:pt x="796" y="1003"/>
                </a:lnTo>
                <a:lnTo>
                  <a:pt x="808" y="1010"/>
                </a:lnTo>
                <a:lnTo>
                  <a:pt x="856" y="1007"/>
                </a:lnTo>
                <a:lnTo>
                  <a:pt x="889" y="969"/>
                </a:lnTo>
                <a:lnTo>
                  <a:pt x="871" y="957"/>
                </a:lnTo>
                <a:lnTo>
                  <a:pt x="911" y="911"/>
                </a:lnTo>
                <a:lnTo>
                  <a:pt x="832" y="922"/>
                </a:lnTo>
                <a:lnTo>
                  <a:pt x="845" y="902"/>
                </a:lnTo>
                <a:lnTo>
                  <a:pt x="931" y="887"/>
                </a:lnTo>
                <a:lnTo>
                  <a:pt x="911" y="842"/>
                </a:lnTo>
                <a:lnTo>
                  <a:pt x="918" y="817"/>
                </a:lnTo>
                <a:lnTo>
                  <a:pt x="922" y="850"/>
                </a:lnTo>
                <a:lnTo>
                  <a:pt x="958" y="837"/>
                </a:lnTo>
                <a:lnTo>
                  <a:pt x="976" y="782"/>
                </a:lnTo>
                <a:lnTo>
                  <a:pt x="1006" y="741"/>
                </a:lnTo>
                <a:lnTo>
                  <a:pt x="1181" y="542"/>
                </a:lnTo>
                <a:lnTo>
                  <a:pt x="1182" y="510"/>
                </a:lnTo>
                <a:lnTo>
                  <a:pt x="1134" y="524"/>
                </a:lnTo>
                <a:lnTo>
                  <a:pt x="935" y="647"/>
                </a:lnTo>
                <a:lnTo>
                  <a:pt x="941" y="629"/>
                </a:lnTo>
                <a:lnTo>
                  <a:pt x="937" y="622"/>
                </a:lnTo>
                <a:lnTo>
                  <a:pt x="1076" y="519"/>
                </a:lnTo>
                <a:lnTo>
                  <a:pt x="986" y="526"/>
                </a:lnTo>
                <a:lnTo>
                  <a:pt x="986" y="505"/>
                </a:lnTo>
                <a:lnTo>
                  <a:pt x="1003" y="504"/>
                </a:lnTo>
                <a:lnTo>
                  <a:pt x="1012" y="502"/>
                </a:lnTo>
                <a:lnTo>
                  <a:pt x="1204" y="447"/>
                </a:lnTo>
                <a:lnTo>
                  <a:pt x="1324" y="305"/>
                </a:lnTo>
                <a:lnTo>
                  <a:pt x="1329" y="260"/>
                </a:lnTo>
                <a:lnTo>
                  <a:pt x="1319" y="233"/>
                </a:lnTo>
                <a:lnTo>
                  <a:pt x="1277" y="208"/>
                </a:lnTo>
                <a:lnTo>
                  <a:pt x="1234" y="237"/>
                </a:lnTo>
                <a:lnTo>
                  <a:pt x="1248" y="189"/>
                </a:lnTo>
                <a:lnTo>
                  <a:pt x="1208" y="131"/>
                </a:lnTo>
                <a:lnTo>
                  <a:pt x="1217" y="122"/>
                </a:lnTo>
                <a:lnTo>
                  <a:pt x="1215" y="89"/>
                </a:lnTo>
                <a:lnTo>
                  <a:pt x="1180" y="114"/>
                </a:lnTo>
                <a:lnTo>
                  <a:pt x="1162" y="68"/>
                </a:lnTo>
                <a:lnTo>
                  <a:pt x="1134" y="106"/>
                </a:lnTo>
                <a:lnTo>
                  <a:pt x="1143" y="122"/>
                </a:lnTo>
                <a:lnTo>
                  <a:pt x="1139" y="131"/>
                </a:lnTo>
                <a:lnTo>
                  <a:pt x="1118" y="91"/>
                </a:lnTo>
                <a:lnTo>
                  <a:pt x="988" y="174"/>
                </a:lnTo>
                <a:lnTo>
                  <a:pt x="1087" y="56"/>
                </a:lnTo>
                <a:lnTo>
                  <a:pt x="964" y="54"/>
                </a:lnTo>
                <a:lnTo>
                  <a:pt x="920" y="0"/>
                </a:lnTo>
                <a:lnTo>
                  <a:pt x="853" y="41"/>
                </a:lnTo>
                <a:lnTo>
                  <a:pt x="822" y="1"/>
                </a:lnTo>
                <a:lnTo>
                  <a:pt x="788" y="8"/>
                </a:lnTo>
                <a:lnTo>
                  <a:pt x="761" y="63"/>
                </a:lnTo>
                <a:lnTo>
                  <a:pt x="785" y="127"/>
                </a:lnTo>
                <a:lnTo>
                  <a:pt x="725" y="34"/>
                </a:lnTo>
                <a:lnTo>
                  <a:pt x="593" y="38"/>
                </a:lnTo>
                <a:lnTo>
                  <a:pt x="690" y="193"/>
                </a:lnTo>
                <a:lnTo>
                  <a:pt x="657" y="237"/>
                </a:lnTo>
                <a:lnTo>
                  <a:pt x="663" y="202"/>
                </a:lnTo>
                <a:lnTo>
                  <a:pt x="659" y="181"/>
                </a:lnTo>
                <a:lnTo>
                  <a:pt x="607" y="86"/>
                </a:lnTo>
                <a:lnTo>
                  <a:pt x="482" y="58"/>
                </a:lnTo>
                <a:lnTo>
                  <a:pt x="466" y="82"/>
                </a:lnTo>
                <a:lnTo>
                  <a:pt x="508" y="148"/>
                </a:lnTo>
                <a:lnTo>
                  <a:pt x="417" y="120"/>
                </a:lnTo>
                <a:lnTo>
                  <a:pt x="464" y="218"/>
                </a:lnTo>
                <a:lnTo>
                  <a:pt x="388" y="168"/>
                </a:lnTo>
                <a:lnTo>
                  <a:pt x="377" y="194"/>
                </a:lnTo>
                <a:lnTo>
                  <a:pt x="411" y="219"/>
                </a:lnTo>
                <a:lnTo>
                  <a:pt x="365" y="241"/>
                </a:lnTo>
                <a:lnTo>
                  <a:pt x="371" y="274"/>
                </a:lnTo>
                <a:lnTo>
                  <a:pt x="457" y="335"/>
                </a:lnTo>
                <a:lnTo>
                  <a:pt x="450" y="356"/>
                </a:lnTo>
                <a:lnTo>
                  <a:pt x="371" y="289"/>
                </a:lnTo>
                <a:lnTo>
                  <a:pt x="352" y="301"/>
                </a:lnTo>
                <a:lnTo>
                  <a:pt x="380" y="346"/>
                </a:lnTo>
                <a:lnTo>
                  <a:pt x="351" y="345"/>
                </a:lnTo>
                <a:lnTo>
                  <a:pt x="352" y="325"/>
                </a:lnTo>
                <a:lnTo>
                  <a:pt x="337" y="277"/>
                </a:lnTo>
                <a:lnTo>
                  <a:pt x="264" y="228"/>
                </a:lnTo>
                <a:lnTo>
                  <a:pt x="235" y="243"/>
                </a:lnTo>
                <a:lnTo>
                  <a:pt x="253" y="274"/>
                </a:lnTo>
                <a:lnTo>
                  <a:pt x="250" y="291"/>
                </a:lnTo>
                <a:lnTo>
                  <a:pt x="202" y="321"/>
                </a:lnTo>
                <a:lnTo>
                  <a:pt x="291" y="366"/>
                </a:lnTo>
                <a:lnTo>
                  <a:pt x="284" y="371"/>
                </a:lnTo>
                <a:lnTo>
                  <a:pt x="286" y="388"/>
                </a:lnTo>
                <a:lnTo>
                  <a:pt x="258" y="370"/>
                </a:lnTo>
                <a:lnTo>
                  <a:pt x="263" y="401"/>
                </a:lnTo>
                <a:lnTo>
                  <a:pt x="226" y="355"/>
                </a:lnTo>
                <a:lnTo>
                  <a:pt x="205" y="358"/>
                </a:lnTo>
                <a:lnTo>
                  <a:pt x="199" y="377"/>
                </a:lnTo>
                <a:lnTo>
                  <a:pt x="201" y="394"/>
                </a:lnTo>
                <a:lnTo>
                  <a:pt x="188" y="355"/>
                </a:lnTo>
                <a:lnTo>
                  <a:pt x="148" y="339"/>
                </a:lnTo>
                <a:lnTo>
                  <a:pt x="106" y="380"/>
                </a:lnTo>
                <a:lnTo>
                  <a:pt x="119" y="415"/>
                </a:lnTo>
                <a:lnTo>
                  <a:pt x="102" y="396"/>
                </a:lnTo>
                <a:lnTo>
                  <a:pt x="103" y="435"/>
                </a:lnTo>
                <a:lnTo>
                  <a:pt x="80" y="399"/>
                </a:lnTo>
                <a:lnTo>
                  <a:pt x="12" y="451"/>
                </a:lnTo>
                <a:lnTo>
                  <a:pt x="0" y="484"/>
                </a:lnTo>
                <a:lnTo>
                  <a:pt x="30" y="514"/>
                </a:lnTo>
                <a:lnTo>
                  <a:pt x="86" y="469"/>
                </a:lnTo>
                <a:lnTo>
                  <a:pt x="113" y="492"/>
                </a:lnTo>
                <a:lnTo>
                  <a:pt x="59" y="545"/>
                </a:lnTo>
                <a:lnTo>
                  <a:pt x="75" y="567"/>
                </a:lnTo>
                <a:lnTo>
                  <a:pt x="169" y="502"/>
                </a:lnTo>
                <a:lnTo>
                  <a:pt x="168" y="520"/>
                </a:lnTo>
                <a:lnTo>
                  <a:pt x="98" y="574"/>
                </a:lnTo>
                <a:lnTo>
                  <a:pt x="140" y="595"/>
                </a:lnTo>
                <a:lnTo>
                  <a:pt x="92" y="609"/>
                </a:lnTo>
                <a:lnTo>
                  <a:pt x="91" y="645"/>
                </a:lnTo>
                <a:lnTo>
                  <a:pt x="108" y="662"/>
                </a:lnTo>
                <a:lnTo>
                  <a:pt x="207" y="653"/>
                </a:lnTo>
                <a:lnTo>
                  <a:pt x="236" y="668"/>
                </a:lnTo>
                <a:lnTo>
                  <a:pt x="116" y="697"/>
                </a:lnTo>
                <a:lnTo>
                  <a:pt x="215" y="780"/>
                </a:lnTo>
                <a:lnTo>
                  <a:pt x="245" y="703"/>
                </a:lnTo>
                <a:lnTo>
                  <a:pt x="283" y="658"/>
                </a:lnTo>
                <a:lnTo>
                  <a:pt x="280" y="680"/>
                </a:lnTo>
                <a:lnTo>
                  <a:pt x="244" y="759"/>
                </a:lnTo>
                <a:lnTo>
                  <a:pt x="243" y="783"/>
                </a:lnTo>
                <a:lnTo>
                  <a:pt x="262" y="794"/>
                </a:lnTo>
                <a:lnTo>
                  <a:pt x="294" y="773"/>
                </a:lnTo>
                <a:lnTo>
                  <a:pt x="288" y="798"/>
                </a:lnTo>
                <a:lnTo>
                  <a:pt x="331" y="805"/>
                </a:lnTo>
                <a:lnTo>
                  <a:pt x="341" y="780"/>
                </a:lnTo>
                <a:lnTo>
                  <a:pt x="337" y="754"/>
                </a:lnTo>
                <a:lnTo>
                  <a:pt x="357" y="726"/>
                </a:lnTo>
                <a:lnTo>
                  <a:pt x="349" y="766"/>
                </a:lnTo>
                <a:lnTo>
                  <a:pt x="367" y="768"/>
                </a:lnTo>
                <a:lnTo>
                  <a:pt x="422" y="691"/>
                </a:lnTo>
                <a:lnTo>
                  <a:pt x="418" y="703"/>
                </a:lnTo>
                <a:lnTo>
                  <a:pt x="420" y="724"/>
                </a:lnTo>
                <a:lnTo>
                  <a:pt x="433" y="720"/>
                </a:lnTo>
                <a:lnTo>
                  <a:pt x="363" y="781"/>
                </a:lnTo>
                <a:lnTo>
                  <a:pt x="375" y="807"/>
                </a:lnTo>
                <a:lnTo>
                  <a:pt x="516" y="716"/>
                </a:lnTo>
                <a:lnTo>
                  <a:pt x="530" y="684"/>
                </a:lnTo>
                <a:lnTo>
                  <a:pt x="522" y="678"/>
                </a:lnTo>
                <a:lnTo>
                  <a:pt x="529" y="646"/>
                </a:lnTo>
                <a:lnTo>
                  <a:pt x="511" y="613"/>
                </a:lnTo>
                <a:lnTo>
                  <a:pt x="538" y="640"/>
                </a:lnTo>
                <a:lnTo>
                  <a:pt x="564" y="581"/>
                </a:lnTo>
                <a:lnTo>
                  <a:pt x="616" y="529"/>
                </a:lnTo>
                <a:lnTo>
                  <a:pt x="559" y="615"/>
                </a:lnTo>
                <a:lnTo>
                  <a:pt x="538" y="673"/>
                </a:lnTo>
                <a:lnTo>
                  <a:pt x="540" y="699"/>
                </a:lnTo>
                <a:lnTo>
                  <a:pt x="664" y="696"/>
                </a:lnTo>
                <a:lnTo>
                  <a:pt x="667" y="717"/>
                </a:lnTo>
                <a:lnTo>
                  <a:pt x="595" y="714"/>
                </a:lnTo>
                <a:lnTo>
                  <a:pt x="509" y="761"/>
                </a:lnTo>
                <a:lnTo>
                  <a:pt x="370" y="842"/>
                </a:lnTo>
                <a:lnTo>
                  <a:pt x="410" y="923"/>
                </a:lnTo>
                <a:lnTo>
                  <a:pt x="447" y="944"/>
                </a:lnTo>
                <a:lnTo>
                  <a:pt x="437" y="954"/>
                </a:lnTo>
                <a:lnTo>
                  <a:pt x="448" y="1002"/>
                </a:lnTo>
                <a:lnTo>
                  <a:pt x="514" y="1006"/>
                </a:lnTo>
                <a:lnTo>
                  <a:pt x="478" y="1042"/>
                </a:lnTo>
                <a:lnTo>
                  <a:pt x="434" y="1030"/>
                </a:lnTo>
                <a:lnTo>
                  <a:pt x="419" y="975"/>
                </a:lnTo>
                <a:lnTo>
                  <a:pt x="337" y="862"/>
                </a:lnTo>
                <a:lnTo>
                  <a:pt x="243" y="840"/>
                </a:lnTo>
                <a:lnTo>
                  <a:pt x="233" y="854"/>
                </a:lnTo>
                <a:lnTo>
                  <a:pt x="228" y="892"/>
                </a:lnTo>
                <a:lnTo>
                  <a:pt x="231" y="917"/>
                </a:lnTo>
                <a:lnTo>
                  <a:pt x="238" y="928"/>
                </a:lnTo>
                <a:lnTo>
                  <a:pt x="234" y="931"/>
                </a:lnTo>
                <a:lnTo>
                  <a:pt x="234" y="966"/>
                </a:lnTo>
                <a:lnTo>
                  <a:pt x="292" y="1008"/>
                </a:lnTo>
                <a:lnTo>
                  <a:pt x="320" y="1064"/>
                </a:lnTo>
                <a:lnTo>
                  <a:pt x="329" y="1120"/>
                </a:lnTo>
                <a:lnTo>
                  <a:pt x="345" y="1109"/>
                </a:lnTo>
                <a:lnTo>
                  <a:pt x="339" y="1125"/>
                </a:lnTo>
                <a:lnTo>
                  <a:pt x="317" y="1133"/>
                </a:lnTo>
                <a:lnTo>
                  <a:pt x="307" y="1146"/>
                </a:lnTo>
                <a:lnTo>
                  <a:pt x="310" y="1158"/>
                </a:lnTo>
                <a:lnTo>
                  <a:pt x="397" y="1192"/>
                </a:lnTo>
                <a:lnTo>
                  <a:pt x="449" y="1170"/>
                </a:lnTo>
                <a:lnTo>
                  <a:pt x="432" y="1210"/>
                </a:lnTo>
                <a:lnTo>
                  <a:pt x="419" y="1231"/>
                </a:lnTo>
                <a:lnTo>
                  <a:pt x="406" y="1236"/>
                </a:lnTo>
                <a:lnTo>
                  <a:pt x="414" y="1263"/>
                </a:lnTo>
                <a:lnTo>
                  <a:pt x="347" y="1198"/>
                </a:lnTo>
                <a:lnTo>
                  <a:pt x="292" y="1181"/>
                </a:lnTo>
                <a:lnTo>
                  <a:pt x="221" y="1213"/>
                </a:lnTo>
                <a:lnTo>
                  <a:pt x="209" y="1255"/>
                </a:lnTo>
                <a:lnTo>
                  <a:pt x="217" y="1258"/>
                </a:lnTo>
                <a:lnTo>
                  <a:pt x="186" y="1293"/>
                </a:lnTo>
                <a:lnTo>
                  <a:pt x="192" y="1336"/>
                </a:lnTo>
                <a:lnTo>
                  <a:pt x="193" y="1354"/>
                </a:lnTo>
                <a:lnTo>
                  <a:pt x="235" y="1349"/>
                </a:lnTo>
                <a:lnTo>
                  <a:pt x="263" y="1302"/>
                </a:lnTo>
                <a:lnTo>
                  <a:pt x="246" y="1346"/>
                </a:lnTo>
                <a:lnTo>
                  <a:pt x="249" y="1361"/>
                </a:lnTo>
                <a:lnTo>
                  <a:pt x="279" y="1359"/>
                </a:lnTo>
                <a:lnTo>
                  <a:pt x="295" y="1331"/>
                </a:lnTo>
                <a:lnTo>
                  <a:pt x="315" y="1254"/>
                </a:lnTo>
                <a:lnTo>
                  <a:pt x="307" y="1300"/>
                </a:lnTo>
                <a:lnTo>
                  <a:pt x="317" y="1303"/>
                </a:lnTo>
                <a:lnTo>
                  <a:pt x="304" y="1337"/>
                </a:lnTo>
                <a:lnTo>
                  <a:pt x="299" y="1350"/>
                </a:lnTo>
                <a:lnTo>
                  <a:pt x="292" y="1368"/>
                </a:lnTo>
                <a:lnTo>
                  <a:pt x="302" y="1373"/>
                </a:lnTo>
                <a:lnTo>
                  <a:pt x="265" y="1394"/>
                </a:lnTo>
                <a:lnTo>
                  <a:pt x="279" y="1414"/>
                </a:lnTo>
                <a:lnTo>
                  <a:pt x="294" y="1414"/>
                </a:lnTo>
                <a:lnTo>
                  <a:pt x="285" y="1436"/>
                </a:lnTo>
                <a:lnTo>
                  <a:pt x="301" y="1456"/>
                </a:lnTo>
                <a:lnTo>
                  <a:pt x="312" y="1428"/>
                </a:lnTo>
                <a:lnTo>
                  <a:pt x="307" y="1472"/>
                </a:lnTo>
                <a:lnTo>
                  <a:pt x="362" y="1469"/>
                </a:lnTo>
                <a:lnTo>
                  <a:pt x="397" y="1374"/>
                </a:lnTo>
                <a:lnTo>
                  <a:pt x="412" y="1370"/>
                </a:lnTo>
                <a:lnTo>
                  <a:pt x="383" y="1446"/>
                </a:lnTo>
                <a:lnTo>
                  <a:pt x="355" y="1485"/>
                </a:lnTo>
                <a:lnTo>
                  <a:pt x="364" y="1501"/>
                </a:lnTo>
                <a:lnTo>
                  <a:pt x="319" y="1497"/>
                </a:lnTo>
                <a:lnTo>
                  <a:pt x="323" y="1516"/>
                </a:lnTo>
                <a:lnTo>
                  <a:pt x="268" y="1491"/>
                </a:lnTo>
                <a:lnTo>
                  <a:pt x="263" y="1462"/>
                </a:lnTo>
                <a:lnTo>
                  <a:pt x="234" y="1410"/>
                </a:lnTo>
                <a:lnTo>
                  <a:pt x="156" y="1421"/>
                </a:lnTo>
                <a:lnTo>
                  <a:pt x="157" y="1454"/>
                </a:lnTo>
                <a:lnTo>
                  <a:pt x="179" y="1482"/>
                </a:lnTo>
                <a:lnTo>
                  <a:pt x="182" y="1510"/>
                </a:lnTo>
                <a:lnTo>
                  <a:pt x="215" y="1508"/>
                </a:lnTo>
                <a:lnTo>
                  <a:pt x="201" y="1523"/>
                </a:lnTo>
                <a:lnTo>
                  <a:pt x="211" y="1527"/>
                </a:lnTo>
                <a:lnTo>
                  <a:pt x="202" y="1541"/>
                </a:lnTo>
                <a:lnTo>
                  <a:pt x="146" y="1572"/>
                </a:lnTo>
                <a:lnTo>
                  <a:pt x="104" y="1621"/>
                </a:lnTo>
                <a:lnTo>
                  <a:pt x="101" y="1660"/>
                </a:lnTo>
                <a:lnTo>
                  <a:pt x="116" y="1685"/>
                </a:lnTo>
                <a:lnTo>
                  <a:pt x="134" y="1660"/>
                </a:lnTo>
                <a:lnTo>
                  <a:pt x="138" y="1682"/>
                </a:lnTo>
                <a:lnTo>
                  <a:pt x="144" y="1663"/>
                </a:lnTo>
                <a:lnTo>
                  <a:pt x="138" y="1626"/>
                </a:lnTo>
                <a:lnTo>
                  <a:pt x="143" y="1615"/>
                </a:lnTo>
                <a:lnTo>
                  <a:pt x="148" y="1687"/>
                </a:lnTo>
                <a:lnTo>
                  <a:pt x="167" y="1699"/>
                </a:lnTo>
                <a:lnTo>
                  <a:pt x="179" y="1694"/>
                </a:lnTo>
                <a:lnTo>
                  <a:pt x="181" y="1662"/>
                </a:lnTo>
                <a:lnTo>
                  <a:pt x="213" y="1698"/>
                </a:lnTo>
                <a:lnTo>
                  <a:pt x="225" y="1673"/>
                </a:lnTo>
                <a:lnTo>
                  <a:pt x="226" y="1654"/>
                </a:lnTo>
                <a:lnTo>
                  <a:pt x="230" y="1675"/>
                </a:lnTo>
                <a:lnTo>
                  <a:pt x="227" y="1696"/>
                </a:lnTo>
                <a:close/>
              </a:path>
            </a:pathLst>
          </a:custGeom>
          <a:solidFill>
            <a:schemeClr val="accent1"/>
          </a:solidFill>
          <a:ln w="6350">
            <a:solidFill>
              <a:schemeClr val="tx2"/>
            </a:solidFill>
            <a:round/>
            <a:headEnd/>
            <a:tailEnd/>
          </a:ln>
        </p:spPr>
        <p:txBody>
          <a:bodyPr/>
          <a:lstStyle/>
          <a:p>
            <a:endParaRPr lang="en-US"/>
          </a:p>
        </p:txBody>
      </p:sp>
      <p:sp>
        <p:nvSpPr>
          <p:cNvPr id="130" name="Freeform 1200"/>
          <p:cNvSpPr>
            <a:spLocks/>
          </p:cNvSpPr>
          <p:nvPr/>
        </p:nvSpPr>
        <p:spPr bwMode="auto">
          <a:xfrm>
            <a:off x="3780927" y="2479892"/>
            <a:ext cx="98900" cy="61135"/>
          </a:xfrm>
          <a:custGeom>
            <a:avLst/>
            <a:gdLst>
              <a:gd name="T0" fmla="*/ 2147483647 w 208"/>
              <a:gd name="T1" fmla="*/ 2147483647 h 149"/>
              <a:gd name="T2" fmla="*/ 2147483647 w 208"/>
              <a:gd name="T3" fmla="*/ 2147483647 h 149"/>
              <a:gd name="T4" fmla="*/ 2147483647 w 208"/>
              <a:gd name="T5" fmla="*/ 2147483647 h 149"/>
              <a:gd name="T6" fmla="*/ 2147483647 w 208"/>
              <a:gd name="T7" fmla="*/ 2147483647 h 149"/>
              <a:gd name="T8" fmla="*/ 2147483647 w 208"/>
              <a:gd name="T9" fmla="*/ 2147483647 h 149"/>
              <a:gd name="T10" fmla="*/ 2147483647 w 208"/>
              <a:gd name="T11" fmla="*/ 2147483647 h 149"/>
              <a:gd name="T12" fmla="*/ 2147483647 w 208"/>
              <a:gd name="T13" fmla="*/ 2147483647 h 149"/>
              <a:gd name="T14" fmla="*/ 2147483647 w 208"/>
              <a:gd name="T15" fmla="*/ 2147483647 h 149"/>
              <a:gd name="T16" fmla="*/ 2147483647 w 208"/>
              <a:gd name="T17" fmla="*/ 2147483647 h 149"/>
              <a:gd name="T18" fmla="*/ 0 w 208"/>
              <a:gd name="T19" fmla="*/ 2147483647 h 149"/>
              <a:gd name="T20" fmla="*/ 2147483647 w 208"/>
              <a:gd name="T21" fmla="*/ 2147483647 h 149"/>
              <a:gd name="T22" fmla="*/ 2147483647 w 208"/>
              <a:gd name="T23" fmla="*/ 0 h 149"/>
              <a:gd name="T24" fmla="*/ 2147483647 w 208"/>
              <a:gd name="T25" fmla="*/ 214748364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49"/>
              <a:gd name="T41" fmla="*/ 208 w 208"/>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49">
                <a:moveTo>
                  <a:pt x="87" y="15"/>
                </a:moveTo>
                <a:lnTo>
                  <a:pt x="118" y="13"/>
                </a:lnTo>
                <a:lnTo>
                  <a:pt x="157" y="36"/>
                </a:lnTo>
                <a:lnTo>
                  <a:pt x="208" y="125"/>
                </a:lnTo>
                <a:lnTo>
                  <a:pt x="187" y="136"/>
                </a:lnTo>
                <a:lnTo>
                  <a:pt x="117" y="125"/>
                </a:lnTo>
                <a:lnTo>
                  <a:pt x="67" y="149"/>
                </a:lnTo>
                <a:lnTo>
                  <a:pt x="38" y="131"/>
                </a:lnTo>
                <a:lnTo>
                  <a:pt x="31" y="80"/>
                </a:lnTo>
                <a:lnTo>
                  <a:pt x="0" y="58"/>
                </a:lnTo>
                <a:lnTo>
                  <a:pt x="5" y="15"/>
                </a:lnTo>
                <a:lnTo>
                  <a:pt x="22" y="0"/>
                </a:lnTo>
                <a:lnTo>
                  <a:pt x="87" y="15"/>
                </a:lnTo>
                <a:close/>
              </a:path>
            </a:pathLst>
          </a:custGeom>
          <a:solidFill>
            <a:schemeClr val="accent1"/>
          </a:solidFill>
          <a:ln w="6350">
            <a:solidFill>
              <a:schemeClr val="tx2"/>
            </a:solidFill>
            <a:round/>
            <a:headEnd/>
            <a:tailEnd/>
          </a:ln>
        </p:spPr>
        <p:txBody>
          <a:bodyPr/>
          <a:lstStyle/>
          <a:p>
            <a:endParaRPr lang="en-US"/>
          </a:p>
        </p:txBody>
      </p:sp>
      <p:sp>
        <p:nvSpPr>
          <p:cNvPr id="131" name="Freeform 1201"/>
          <p:cNvSpPr>
            <a:spLocks/>
          </p:cNvSpPr>
          <p:nvPr/>
        </p:nvSpPr>
        <p:spPr bwMode="auto">
          <a:xfrm>
            <a:off x="3722160" y="3013554"/>
            <a:ext cx="37267" cy="30568"/>
          </a:xfrm>
          <a:custGeom>
            <a:avLst/>
            <a:gdLst>
              <a:gd name="T0" fmla="*/ 2147483647 w 78"/>
              <a:gd name="T1" fmla="*/ 0 h 76"/>
              <a:gd name="T2" fmla="*/ 2147483647 w 78"/>
              <a:gd name="T3" fmla="*/ 2147483647 h 76"/>
              <a:gd name="T4" fmla="*/ 0 w 78"/>
              <a:gd name="T5" fmla="*/ 2147483647 h 76"/>
              <a:gd name="T6" fmla="*/ 2147483647 w 78"/>
              <a:gd name="T7" fmla="*/ 2147483647 h 76"/>
              <a:gd name="T8" fmla="*/ 2147483647 w 78"/>
              <a:gd name="T9" fmla="*/ 2147483647 h 76"/>
              <a:gd name="T10" fmla="*/ 2147483647 w 78"/>
              <a:gd name="T11" fmla="*/ 2147483647 h 76"/>
              <a:gd name="T12" fmla="*/ 2147483647 w 78"/>
              <a:gd name="T13" fmla="*/ 2147483647 h 76"/>
              <a:gd name="T14" fmla="*/ 2147483647 w 78"/>
              <a:gd name="T15" fmla="*/ 2147483647 h 76"/>
              <a:gd name="T16" fmla="*/ 2147483647 w 78"/>
              <a:gd name="T17" fmla="*/ 0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76"/>
              <a:gd name="T29" fmla="*/ 78 w 78"/>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76">
                <a:moveTo>
                  <a:pt x="56" y="0"/>
                </a:moveTo>
                <a:lnTo>
                  <a:pt x="23" y="18"/>
                </a:lnTo>
                <a:lnTo>
                  <a:pt x="0" y="76"/>
                </a:lnTo>
                <a:lnTo>
                  <a:pt x="27" y="70"/>
                </a:lnTo>
                <a:lnTo>
                  <a:pt x="44" y="58"/>
                </a:lnTo>
                <a:lnTo>
                  <a:pt x="48" y="40"/>
                </a:lnTo>
                <a:lnTo>
                  <a:pt x="73" y="22"/>
                </a:lnTo>
                <a:lnTo>
                  <a:pt x="78" y="3"/>
                </a:lnTo>
                <a:lnTo>
                  <a:pt x="56" y="0"/>
                </a:lnTo>
                <a:close/>
              </a:path>
            </a:pathLst>
          </a:custGeom>
          <a:solidFill>
            <a:schemeClr val="accent1"/>
          </a:solidFill>
          <a:ln w="6350">
            <a:solidFill>
              <a:schemeClr val="tx2"/>
            </a:solidFill>
            <a:round/>
            <a:headEnd/>
            <a:tailEnd/>
          </a:ln>
        </p:spPr>
        <p:txBody>
          <a:bodyPr/>
          <a:lstStyle/>
          <a:p>
            <a:endParaRPr lang="en-US"/>
          </a:p>
        </p:txBody>
      </p:sp>
      <p:sp>
        <p:nvSpPr>
          <p:cNvPr id="132" name="Freeform 1202"/>
          <p:cNvSpPr>
            <a:spLocks/>
          </p:cNvSpPr>
          <p:nvPr/>
        </p:nvSpPr>
        <p:spPr bwMode="auto">
          <a:xfrm>
            <a:off x="3792394" y="3035205"/>
            <a:ext cx="20066" cy="31842"/>
          </a:xfrm>
          <a:custGeom>
            <a:avLst/>
            <a:gdLst>
              <a:gd name="T0" fmla="*/ 2147483647 w 42"/>
              <a:gd name="T1" fmla="*/ 0 h 75"/>
              <a:gd name="T2" fmla="*/ 2147483647 w 42"/>
              <a:gd name="T3" fmla="*/ 2147483647 h 75"/>
              <a:gd name="T4" fmla="*/ 0 w 42"/>
              <a:gd name="T5" fmla="*/ 2147483647 h 75"/>
              <a:gd name="T6" fmla="*/ 2147483647 w 42"/>
              <a:gd name="T7" fmla="*/ 2147483647 h 75"/>
              <a:gd name="T8" fmla="*/ 2147483647 w 42"/>
              <a:gd name="T9" fmla="*/ 2147483647 h 75"/>
              <a:gd name="T10" fmla="*/ 2147483647 w 42"/>
              <a:gd name="T11" fmla="*/ 0 h 75"/>
              <a:gd name="T12" fmla="*/ 0 60000 65536"/>
              <a:gd name="T13" fmla="*/ 0 60000 65536"/>
              <a:gd name="T14" fmla="*/ 0 60000 65536"/>
              <a:gd name="T15" fmla="*/ 0 60000 65536"/>
              <a:gd name="T16" fmla="*/ 0 60000 65536"/>
              <a:gd name="T17" fmla="*/ 0 60000 65536"/>
              <a:gd name="T18" fmla="*/ 0 w 42"/>
              <a:gd name="T19" fmla="*/ 0 h 75"/>
              <a:gd name="T20" fmla="*/ 42 w 42"/>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42" h="75">
                <a:moveTo>
                  <a:pt x="13" y="0"/>
                </a:moveTo>
                <a:lnTo>
                  <a:pt x="4" y="10"/>
                </a:lnTo>
                <a:lnTo>
                  <a:pt x="0" y="54"/>
                </a:lnTo>
                <a:lnTo>
                  <a:pt x="21" y="75"/>
                </a:lnTo>
                <a:lnTo>
                  <a:pt x="42" y="8"/>
                </a:lnTo>
                <a:lnTo>
                  <a:pt x="13" y="0"/>
                </a:lnTo>
                <a:close/>
              </a:path>
            </a:pathLst>
          </a:custGeom>
          <a:solidFill>
            <a:schemeClr val="accent1"/>
          </a:solidFill>
          <a:ln w="6350">
            <a:solidFill>
              <a:schemeClr val="tx2"/>
            </a:solidFill>
            <a:round/>
            <a:headEnd/>
            <a:tailEnd/>
          </a:ln>
        </p:spPr>
        <p:txBody>
          <a:bodyPr/>
          <a:lstStyle/>
          <a:p>
            <a:endParaRPr lang="en-US"/>
          </a:p>
        </p:txBody>
      </p:sp>
      <p:sp>
        <p:nvSpPr>
          <p:cNvPr id="133" name="Freeform 1203"/>
          <p:cNvSpPr>
            <a:spLocks/>
          </p:cNvSpPr>
          <p:nvPr/>
        </p:nvSpPr>
        <p:spPr bwMode="auto">
          <a:xfrm>
            <a:off x="4037495" y="3101435"/>
            <a:ext cx="10034" cy="11463"/>
          </a:xfrm>
          <a:custGeom>
            <a:avLst/>
            <a:gdLst>
              <a:gd name="T0" fmla="*/ 2147483647 w 20"/>
              <a:gd name="T1" fmla="*/ 2147483647 h 27"/>
              <a:gd name="T2" fmla="*/ 0 w 20"/>
              <a:gd name="T3" fmla="*/ 2147483647 h 27"/>
              <a:gd name="T4" fmla="*/ 2147483647 w 20"/>
              <a:gd name="T5" fmla="*/ 2147483647 h 27"/>
              <a:gd name="T6" fmla="*/ 2147483647 w 20"/>
              <a:gd name="T7" fmla="*/ 0 h 27"/>
              <a:gd name="T8" fmla="*/ 2147483647 w 20"/>
              <a:gd name="T9" fmla="*/ 2147483647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2" y="10"/>
                </a:moveTo>
                <a:lnTo>
                  <a:pt x="0" y="27"/>
                </a:lnTo>
                <a:lnTo>
                  <a:pt x="20" y="11"/>
                </a:lnTo>
                <a:lnTo>
                  <a:pt x="18" y="0"/>
                </a:lnTo>
                <a:lnTo>
                  <a:pt x="2" y="10"/>
                </a:lnTo>
                <a:close/>
              </a:path>
            </a:pathLst>
          </a:custGeom>
          <a:solidFill>
            <a:schemeClr val="accent1"/>
          </a:solidFill>
          <a:ln w="6350">
            <a:solidFill>
              <a:schemeClr val="tx2"/>
            </a:solidFill>
            <a:round/>
            <a:headEnd/>
            <a:tailEnd/>
          </a:ln>
        </p:spPr>
        <p:txBody>
          <a:bodyPr/>
          <a:lstStyle/>
          <a:p>
            <a:endParaRPr lang="en-US"/>
          </a:p>
        </p:txBody>
      </p:sp>
      <p:sp>
        <p:nvSpPr>
          <p:cNvPr id="134" name="Freeform 1204"/>
          <p:cNvSpPr>
            <a:spLocks/>
          </p:cNvSpPr>
          <p:nvPr/>
        </p:nvSpPr>
        <p:spPr bwMode="auto">
          <a:xfrm>
            <a:off x="4093395" y="3060678"/>
            <a:ext cx="17201" cy="12737"/>
          </a:xfrm>
          <a:custGeom>
            <a:avLst/>
            <a:gdLst>
              <a:gd name="T0" fmla="*/ 2147483647 w 35"/>
              <a:gd name="T1" fmla="*/ 0 h 29"/>
              <a:gd name="T2" fmla="*/ 2147483647 w 35"/>
              <a:gd name="T3" fmla="*/ 2147483647 h 29"/>
              <a:gd name="T4" fmla="*/ 2147483647 w 35"/>
              <a:gd name="T5" fmla="*/ 2147483647 h 29"/>
              <a:gd name="T6" fmla="*/ 0 w 35"/>
              <a:gd name="T7" fmla="*/ 2147483647 h 29"/>
              <a:gd name="T8" fmla="*/ 2147483647 w 35"/>
              <a:gd name="T9" fmla="*/ 2147483647 h 29"/>
              <a:gd name="T10" fmla="*/ 2147483647 w 35"/>
              <a:gd name="T11" fmla="*/ 0 h 29"/>
              <a:gd name="T12" fmla="*/ 0 60000 65536"/>
              <a:gd name="T13" fmla="*/ 0 60000 65536"/>
              <a:gd name="T14" fmla="*/ 0 60000 65536"/>
              <a:gd name="T15" fmla="*/ 0 60000 65536"/>
              <a:gd name="T16" fmla="*/ 0 60000 65536"/>
              <a:gd name="T17" fmla="*/ 0 60000 65536"/>
              <a:gd name="T18" fmla="*/ 0 w 35"/>
              <a:gd name="T19" fmla="*/ 0 h 29"/>
              <a:gd name="T20" fmla="*/ 35 w 3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5" h="29">
                <a:moveTo>
                  <a:pt x="19" y="0"/>
                </a:moveTo>
                <a:lnTo>
                  <a:pt x="35" y="10"/>
                </a:lnTo>
                <a:lnTo>
                  <a:pt x="33" y="29"/>
                </a:lnTo>
                <a:lnTo>
                  <a:pt x="0" y="14"/>
                </a:lnTo>
                <a:lnTo>
                  <a:pt x="1" y="6"/>
                </a:lnTo>
                <a:lnTo>
                  <a:pt x="19" y="0"/>
                </a:lnTo>
                <a:close/>
              </a:path>
            </a:pathLst>
          </a:custGeom>
          <a:solidFill>
            <a:schemeClr val="accent1"/>
          </a:solidFill>
          <a:ln w="6350">
            <a:solidFill>
              <a:schemeClr val="tx2"/>
            </a:solidFill>
            <a:round/>
            <a:headEnd/>
            <a:tailEnd/>
          </a:ln>
        </p:spPr>
        <p:txBody>
          <a:bodyPr/>
          <a:lstStyle/>
          <a:p>
            <a:endParaRPr lang="en-US"/>
          </a:p>
        </p:txBody>
      </p:sp>
      <p:sp>
        <p:nvSpPr>
          <p:cNvPr id="135" name="Freeform 1205"/>
          <p:cNvSpPr>
            <a:spLocks/>
          </p:cNvSpPr>
          <p:nvPr/>
        </p:nvSpPr>
        <p:spPr bwMode="auto">
          <a:xfrm>
            <a:off x="3594593" y="2472250"/>
            <a:ext cx="581935" cy="582062"/>
          </a:xfrm>
          <a:custGeom>
            <a:avLst/>
            <a:gdLst>
              <a:gd name="T0" fmla="*/ 2147483647 w 1241"/>
              <a:gd name="T1" fmla="*/ 2147483647 h 1394"/>
              <a:gd name="T2" fmla="*/ 2147483647 w 1241"/>
              <a:gd name="T3" fmla="*/ 2147483647 h 1394"/>
              <a:gd name="T4" fmla="*/ 2147483647 w 1241"/>
              <a:gd name="T5" fmla="*/ 2147483647 h 1394"/>
              <a:gd name="T6" fmla="*/ 2147483647 w 1241"/>
              <a:gd name="T7" fmla="*/ 2147483647 h 1394"/>
              <a:gd name="T8" fmla="*/ 2147483647 w 1241"/>
              <a:gd name="T9" fmla="*/ 2147483647 h 1394"/>
              <a:gd name="T10" fmla="*/ 2147483647 w 1241"/>
              <a:gd name="T11" fmla="*/ 2147483647 h 1394"/>
              <a:gd name="T12" fmla="*/ 2147483647 w 1241"/>
              <a:gd name="T13" fmla="*/ 2147483647 h 1394"/>
              <a:gd name="T14" fmla="*/ 2147483647 w 1241"/>
              <a:gd name="T15" fmla="*/ 2147483647 h 1394"/>
              <a:gd name="T16" fmla="*/ 2147483647 w 1241"/>
              <a:gd name="T17" fmla="*/ 2147483647 h 1394"/>
              <a:gd name="T18" fmla="*/ 2147483647 w 1241"/>
              <a:gd name="T19" fmla="*/ 2147483647 h 1394"/>
              <a:gd name="T20" fmla="*/ 2147483647 w 1241"/>
              <a:gd name="T21" fmla="*/ 2147483647 h 1394"/>
              <a:gd name="T22" fmla="*/ 2147483647 w 1241"/>
              <a:gd name="T23" fmla="*/ 2147483647 h 1394"/>
              <a:gd name="T24" fmla="*/ 2147483647 w 1241"/>
              <a:gd name="T25" fmla="*/ 2147483647 h 1394"/>
              <a:gd name="T26" fmla="*/ 2147483647 w 1241"/>
              <a:gd name="T27" fmla="*/ 2147483647 h 1394"/>
              <a:gd name="T28" fmla="*/ 2147483647 w 1241"/>
              <a:gd name="T29" fmla="*/ 2147483647 h 1394"/>
              <a:gd name="T30" fmla="*/ 2147483647 w 1241"/>
              <a:gd name="T31" fmla="*/ 2147483647 h 1394"/>
              <a:gd name="T32" fmla="*/ 2147483647 w 1241"/>
              <a:gd name="T33" fmla="*/ 2147483647 h 1394"/>
              <a:gd name="T34" fmla="*/ 2147483647 w 1241"/>
              <a:gd name="T35" fmla="*/ 2147483647 h 1394"/>
              <a:gd name="T36" fmla="*/ 2147483647 w 1241"/>
              <a:gd name="T37" fmla="*/ 2147483647 h 1394"/>
              <a:gd name="T38" fmla="*/ 2147483647 w 1241"/>
              <a:gd name="T39" fmla="*/ 2147483647 h 1394"/>
              <a:gd name="T40" fmla="*/ 2147483647 w 1241"/>
              <a:gd name="T41" fmla="*/ 2147483647 h 1394"/>
              <a:gd name="T42" fmla="*/ 2147483647 w 1241"/>
              <a:gd name="T43" fmla="*/ 2147483647 h 1394"/>
              <a:gd name="T44" fmla="*/ 2147483647 w 1241"/>
              <a:gd name="T45" fmla="*/ 2147483647 h 1394"/>
              <a:gd name="T46" fmla="*/ 2147483647 w 1241"/>
              <a:gd name="T47" fmla="*/ 2147483647 h 1394"/>
              <a:gd name="T48" fmla="*/ 2147483647 w 1241"/>
              <a:gd name="T49" fmla="*/ 2147483647 h 1394"/>
              <a:gd name="T50" fmla="*/ 2147483647 w 1241"/>
              <a:gd name="T51" fmla="*/ 2147483647 h 1394"/>
              <a:gd name="T52" fmla="*/ 2147483647 w 1241"/>
              <a:gd name="T53" fmla="*/ 2147483647 h 1394"/>
              <a:gd name="T54" fmla="*/ 2147483647 w 1241"/>
              <a:gd name="T55" fmla="*/ 2147483647 h 1394"/>
              <a:gd name="T56" fmla="*/ 2147483647 w 1241"/>
              <a:gd name="T57" fmla="*/ 2147483647 h 1394"/>
              <a:gd name="T58" fmla="*/ 2147483647 w 1241"/>
              <a:gd name="T59" fmla="*/ 2147483647 h 1394"/>
              <a:gd name="T60" fmla="*/ 2147483647 w 1241"/>
              <a:gd name="T61" fmla="*/ 2147483647 h 1394"/>
              <a:gd name="T62" fmla="*/ 2147483647 w 1241"/>
              <a:gd name="T63" fmla="*/ 2147483647 h 1394"/>
              <a:gd name="T64" fmla="*/ 2147483647 w 1241"/>
              <a:gd name="T65" fmla="*/ 2147483647 h 1394"/>
              <a:gd name="T66" fmla="*/ 2147483647 w 1241"/>
              <a:gd name="T67" fmla="*/ 2147483647 h 1394"/>
              <a:gd name="T68" fmla="*/ 2147483647 w 1241"/>
              <a:gd name="T69" fmla="*/ 2147483647 h 1394"/>
              <a:gd name="T70" fmla="*/ 2147483647 w 1241"/>
              <a:gd name="T71" fmla="*/ 2147483647 h 1394"/>
              <a:gd name="T72" fmla="*/ 2147483647 w 1241"/>
              <a:gd name="T73" fmla="*/ 2147483647 h 1394"/>
              <a:gd name="T74" fmla="*/ 2147483647 w 1241"/>
              <a:gd name="T75" fmla="*/ 2147483647 h 1394"/>
              <a:gd name="T76" fmla="*/ 2147483647 w 1241"/>
              <a:gd name="T77" fmla="*/ 2147483647 h 1394"/>
              <a:gd name="T78" fmla="*/ 2147483647 w 1241"/>
              <a:gd name="T79" fmla="*/ 2147483647 h 1394"/>
              <a:gd name="T80" fmla="*/ 2147483647 w 1241"/>
              <a:gd name="T81" fmla="*/ 2147483647 h 1394"/>
              <a:gd name="T82" fmla="*/ 2147483647 w 1241"/>
              <a:gd name="T83" fmla="*/ 2147483647 h 1394"/>
              <a:gd name="T84" fmla="*/ 2147483647 w 1241"/>
              <a:gd name="T85" fmla="*/ 2147483647 h 1394"/>
              <a:gd name="T86" fmla="*/ 2147483647 w 1241"/>
              <a:gd name="T87" fmla="*/ 2147483647 h 1394"/>
              <a:gd name="T88" fmla="*/ 2147483647 w 1241"/>
              <a:gd name="T89" fmla="*/ 2147483647 h 1394"/>
              <a:gd name="T90" fmla="*/ 2147483647 w 1241"/>
              <a:gd name="T91" fmla="*/ 2147483647 h 1394"/>
              <a:gd name="T92" fmla="*/ 2147483647 w 1241"/>
              <a:gd name="T93" fmla="*/ 2147483647 h 1394"/>
              <a:gd name="T94" fmla="*/ 2147483647 w 1241"/>
              <a:gd name="T95" fmla="*/ 2147483647 h 1394"/>
              <a:gd name="T96" fmla="*/ 2147483647 w 1241"/>
              <a:gd name="T97" fmla="*/ 2147483647 h 1394"/>
              <a:gd name="T98" fmla="*/ 2147483647 w 1241"/>
              <a:gd name="T99" fmla="*/ 2147483647 h 1394"/>
              <a:gd name="T100" fmla="*/ 2147483647 w 1241"/>
              <a:gd name="T101" fmla="*/ 2147483647 h 1394"/>
              <a:gd name="T102" fmla="*/ 2147483647 w 1241"/>
              <a:gd name="T103" fmla="*/ 2147483647 h 1394"/>
              <a:gd name="T104" fmla="*/ 2147483647 w 1241"/>
              <a:gd name="T105" fmla="*/ 2147483647 h 1394"/>
              <a:gd name="T106" fmla="*/ 2147483647 w 1241"/>
              <a:gd name="T107" fmla="*/ 2147483647 h 1394"/>
              <a:gd name="T108" fmla="*/ 2147483647 w 1241"/>
              <a:gd name="T109" fmla="*/ 2147483647 h 1394"/>
              <a:gd name="T110" fmla="*/ 2147483647 w 1241"/>
              <a:gd name="T111" fmla="*/ 2147483647 h 1394"/>
              <a:gd name="T112" fmla="*/ 2147483647 w 1241"/>
              <a:gd name="T113" fmla="*/ 2147483647 h 1394"/>
              <a:gd name="T114" fmla="*/ 2147483647 w 1241"/>
              <a:gd name="T115" fmla="*/ 2147483647 h 1394"/>
              <a:gd name="T116" fmla="*/ 2147483647 w 1241"/>
              <a:gd name="T117" fmla="*/ 2147483647 h 1394"/>
              <a:gd name="T118" fmla="*/ 2147483647 w 1241"/>
              <a:gd name="T119" fmla="*/ 2147483647 h 1394"/>
              <a:gd name="T120" fmla="*/ 2147483647 w 1241"/>
              <a:gd name="T121" fmla="*/ 2147483647 h 1394"/>
              <a:gd name="T122" fmla="*/ 2147483647 w 1241"/>
              <a:gd name="T123" fmla="*/ 2147483647 h 1394"/>
              <a:gd name="T124" fmla="*/ 2147483647 w 1241"/>
              <a:gd name="T125" fmla="*/ 2147483647 h 139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41"/>
              <a:gd name="T190" fmla="*/ 0 h 1394"/>
              <a:gd name="T191" fmla="*/ 1241 w 1241"/>
              <a:gd name="T192" fmla="*/ 1394 h 139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41" h="1394">
                <a:moveTo>
                  <a:pt x="218" y="12"/>
                </a:moveTo>
                <a:lnTo>
                  <a:pt x="161" y="0"/>
                </a:lnTo>
                <a:lnTo>
                  <a:pt x="114" y="15"/>
                </a:lnTo>
                <a:lnTo>
                  <a:pt x="63" y="59"/>
                </a:lnTo>
                <a:lnTo>
                  <a:pt x="38" y="104"/>
                </a:lnTo>
                <a:lnTo>
                  <a:pt x="34" y="115"/>
                </a:lnTo>
                <a:lnTo>
                  <a:pt x="39" y="127"/>
                </a:lnTo>
                <a:lnTo>
                  <a:pt x="30" y="133"/>
                </a:lnTo>
                <a:lnTo>
                  <a:pt x="29" y="155"/>
                </a:lnTo>
                <a:lnTo>
                  <a:pt x="22" y="159"/>
                </a:lnTo>
                <a:lnTo>
                  <a:pt x="6" y="214"/>
                </a:lnTo>
                <a:lnTo>
                  <a:pt x="9" y="241"/>
                </a:lnTo>
                <a:lnTo>
                  <a:pt x="21" y="242"/>
                </a:lnTo>
                <a:lnTo>
                  <a:pt x="0" y="270"/>
                </a:lnTo>
                <a:lnTo>
                  <a:pt x="10" y="298"/>
                </a:lnTo>
                <a:lnTo>
                  <a:pt x="2" y="314"/>
                </a:lnTo>
                <a:lnTo>
                  <a:pt x="2" y="346"/>
                </a:lnTo>
                <a:lnTo>
                  <a:pt x="9" y="360"/>
                </a:lnTo>
                <a:lnTo>
                  <a:pt x="89" y="373"/>
                </a:lnTo>
                <a:lnTo>
                  <a:pt x="127" y="404"/>
                </a:lnTo>
                <a:lnTo>
                  <a:pt x="83" y="414"/>
                </a:lnTo>
                <a:lnTo>
                  <a:pt x="28" y="394"/>
                </a:lnTo>
                <a:lnTo>
                  <a:pt x="29" y="417"/>
                </a:lnTo>
                <a:lnTo>
                  <a:pt x="65" y="471"/>
                </a:lnTo>
                <a:lnTo>
                  <a:pt x="82" y="491"/>
                </a:lnTo>
                <a:lnTo>
                  <a:pt x="131" y="495"/>
                </a:lnTo>
                <a:lnTo>
                  <a:pt x="146" y="491"/>
                </a:lnTo>
                <a:lnTo>
                  <a:pt x="151" y="474"/>
                </a:lnTo>
                <a:lnTo>
                  <a:pt x="154" y="498"/>
                </a:lnTo>
                <a:lnTo>
                  <a:pt x="177" y="528"/>
                </a:lnTo>
                <a:lnTo>
                  <a:pt x="207" y="533"/>
                </a:lnTo>
                <a:lnTo>
                  <a:pt x="207" y="524"/>
                </a:lnTo>
                <a:lnTo>
                  <a:pt x="280" y="544"/>
                </a:lnTo>
                <a:lnTo>
                  <a:pt x="300" y="531"/>
                </a:lnTo>
                <a:lnTo>
                  <a:pt x="351" y="555"/>
                </a:lnTo>
                <a:lnTo>
                  <a:pt x="367" y="537"/>
                </a:lnTo>
                <a:lnTo>
                  <a:pt x="389" y="562"/>
                </a:lnTo>
                <a:lnTo>
                  <a:pt x="397" y="563"/>
                </a:lnTo>
                <a:lnTo>
                  <a:pt x="393" y="551"/>
                </a:lnTo>
                <a:lnTo>
                  <a:pt x="362" y="526"/>
                </a:lnTo>
                <a:lnTo>
                  <a:pt x="364" y="516"/>
                </a:lnTo>
                <a:lnTo>
                  <a:pt x="436" y="533"/>
                </a:lnTo>
                <a:lnTo>
                  <a:pt x="446" y="553"/>
                </a:lnTo>
                <a:lnTo>
                  <a:pt x="485" y="545"/>
                </a:lnTo>
                <a:lnTo>
                  <a:pt x="490" y="536"/>
                </a:lnTo>
                <a:lnTo>
                  <a:pt x="475" y="489"/>
                </a:lnTo>
                <a:lnTo>
                  <a:pt x="486" y="480"/>
                </a:lnTo>
                <a:lnTo>
                  <a:pt x="513" y="508"/>
                </a:lnTo>
                <a:lnTo>
                  <a:pt x="536" y="504"/>
                </a:lnTo>
                <a:lnTo>
                  <a:pt x="538" y="553"/>
                </a:lnTo>
                <a:lnTo>
                  <a:pt x="567" y="553"/>
                </a:lnTo>
                <a:lnTo>
                  <a:pt x="571" y="569"/>
                </a:lnTo>
                <a:lnTo>
                  <a:pt x="560" y="576"/>
                </a:lnTo>
                <a:lnTo>
                  <a:pt x="617" y="621"/>
                </a:lnTo>
                <a:lnTo>
                  <a:pt x="621" y="639"/>
                </a:lnTo>
                <a:lnTo>
                  <a:pt x="606" y="653"/>
                </a:lnTo>
                <a:lnTo>
                  <a:pt x="579" y="649"/>
                </a:lnTo>
                <a:lnTo>
                  <a:pt x="583" y="668"/>
                </a:lnTo>
                <a:lnTo>
                  <a:pt x="582" y="693"/>
                </a:lnTo>
                <a:lnTo>
                  <a:pt x="626" y="660"/>
                </a:lnTo>
                <a:lnTo>
                  <a:pt x="657" y="660"/>
                </a:lnTo>
                <a:lnTo>
                  <a:pt x="661" y="664"/>
                </a:lnTo>
                <a:lnTo>
                  <a:pt x="656" y="675"/>
                </a:lnTo>
                <a:lnTo>
                  <a:pt x="684" y="710"/>
                </a:lnTo>
                <a:lnTo>
                  <a:pt x="688" y="705"/>
                </a:lnTo>
                <a:lnTo>
                  <a:pt x="684" y="686"/>
                </a:lnTo>
                <a:lnTo>
                  <a:pt x="700" y="691"/>
                </a:lnTo>
                <a:lnTo>
                  <a:pt x="699" y="720"/>
                </a:lnTo>
                <a:lnTo>
                  <a:pt x="703" y="732"/>
                </a:lnTo>
                <a:lnTo>
                  <a:pt x="726" y="736"/>
                </a:lnTo>
                <a:lnTo>
                  <a:pt x="737" y="754"/>
                </a:lnTo>
                <a:lnTo>
                  <a:pt x="761" y="851"/>
                </a:lnTo>
                <a:lnTo>
                  <a:pt x="767" y="854"/>
                </a:lnTo>
                <a:lnTo>
                  <a:pt x="739" y="885"/>
                </a:lnTo>
                <a:lnTo>
                  <a:pt x="738" y="914"/>
                </a:lnTo>
                <a:lnTo>
                  <a:pt x="724" y="920"/>
                </a:lnTo>
                <a:lnTo>
                  <a:pt x="676" y="973"/>
                </a:lnTo>
                <a:lnTo>
                  <a:pt x="712" y="1029"/>
                </a:lnTo>
                <a:lnTo>
                  <a:pt x="712" y="1047"/>
                </a:lnTo>
                <a:lnTo>
                  <a:pt x="686" y="1039"/>
                </a:lnTo>
                <a:lnTo>
                  <a:pt x="665" y="1056"/>
                </a:lnTo>
                <a:lnTo>
                  <a:pt x="645" y="1055"/>
                </a:lnTo>
                <a:lnTo>
                  <a:pt x="644" y="1066"/>
                </a:lnTo>
                <a:lnTo>
                  <a:pt x="637" y="1069"/>
                </a:lnTo>
                <a:lnTo>
                  <a:pt x="549" y="1050"/>
                </a:lnTo>
                <a:lnTo>
                  <a:pt x="555" y="1058"/>
                </a:lnTo>
                <a:lnTo>
                  <a:pt x="547" y="1058"/>
                </a:lnTo>
                <a:lnTo>
                  <a:pt x="549" y="1076"/>
                </a:lnTo>
                <a:lnTo>
                  <a:pt x="525" y="1091"/>
                </a:lnTo>
                <a:lnTo>
                  <a:pt x="518" y="1103"/>
                </a:lnTo>
                <a:lnTo>
                  <a:pt x="517" y="1129"/>
                </a:lnTo>
                <a:lnTo>
                  <a:pt x="534" y="1154"/>
                </a:lnTo>
                <a:lnTo>
                  <a:pt x="578" y="1172"/>
                </a:lnTo>
                <a:lnTo>
                  <a:pt x="614" y="1154"/>
                </a:lnTo>
                <a:lnTo>
                  <a:pt x="612" y="1138"/>
                </a:lnTo>
                <a:lnTo>
                  <a:pt x="621" y="1134"/>
                </a:lnTo>
                <a:lnTo>
                  <a:pt x="632" y="1134"/>
                </a:lnTo>
                <a:lnTo>
                  <a:pt x="640" y="1149"/>
                </a:lnTo>
                <a:lnTo>
                  <a:pt x="666" y="1153"/>
                </a:lnTo>
                <a:lnTo>
                  <a:pt x="665" y="1145"/>
                </a:lnTo>
                <a:lnTo>
                  <a:pt x="672" y="1143"/>
                </a:lnTo>
                <a:lnTo>
                  <a:pt x="655" y="1126"/>
                </a:lnTo>
                <a:lnTo>
                  <a:pt x="655" y="1114"/>
                </a:lnTo>
                <a:lnTo>
                  <a:pt x="668" y="1107"/>
                </a:lnTo>
                <a:lnTo>
                  <a:pt x="669" y="1125"/>
                </a:lnTo>
                <a:lnTo>
                  <a:pt x="675" y="1117"/>
                </a:lnTo>
                <a:lnTo>
                  <a:pt x="683" y="1131"/>
                </a:lnTo>
                <a:lnTo>
                  <a:pt x="694" y="1125"/>
                </a:lnTo>
                <a:lnTo>
                  <a:pt x="705" y="1136"/>
                </a:lnTo>
                <a:lnTo>
                  <a:pt x="717" y="1133"/>
                </a:lnTo>
                <a:lnTo>
                  <a:pt x="722" y="1163"/>
                </a:lnTo>
                <a:lnTo>
                  <a:pt x="736" y="1173"/>
                </a:lnTo>
                <a:lnTo>
                  <a:pt x="740" y="1197"/>
                </a:lnTo>
                <a:lnTo>
                  <a:pt x="770" y="1209"/>
                </a:lnTo>
                <a:lnTo>
                  <a:pt x="780" y="1225"/>
                </a:lnTo>
                <a:lnTo>
                  <a:pt x="785" y="1208"/>
                </a:lnTo>
                <a:lnTo>
                  <a:pt x="801" y="1231"/>
                </a:lnTo>
                <a:lnTo>
                  <a:pt x="810" y="1231"/>
                </a:lnTo>
                <a:lnTo>
                  <a:pt x="788" y="1247"/>
                </a:lnTo>
                <a:lnTo>
                  <a:pt x="779" y="1237"/>
                </a:lnTo>
                <a:lnTo>
                  <a:pt x="796" y="1275"/>
                </a:lnTo>
                <a:lnTo>
                  <a:pt x="813" y="1289"/>
                </a:lnTo>
                <a:lnTo>
                  <a:pt x="856" y="1311"/>
                </a:lnTo>
                <a:lnTo>
                  <a:pt x="870" y="1296"/>
                </a:lnTo>
                <a:lnTo>
                  <a:pt x="870" y="1310"/>
                </a:lnTo>
                <a:lnTo>
                  <a:pt x="877" y="1313"/>
                </a:lnTo>
                <a:lnTo>
                  <a:pt x="892" y="1306"/>
                </a:lnTo>
                <a:lnTo>
                  <a:pt x="892" y="1322"/>
                </a:lnTo>
                <a:lnTo>
                  <a:pt x="903" y="1325"/>
                </a:lnTo>
                <a:lnTo>
                  <a:pt x="910" y="1344"/>
                </a:lnTo>
                <a:lnTo>
                  <a:pt x="919" y="1347"/>
                </a:lnTo>
                <a:lnTo>
                  <a:pt x="923" y="1338"/>
                </a:lnTo>
                <a:lnTo>
                  <a:pt x="923" y="1348"/>
                </a:lnTo>
                <a:lnTo>
                  <a:pt x="931" y="1356"/>
                </a:lnTo>
                <a:lnTo>
                  <a:pt x="970" y="1364"/>
                </a:lnTo>
                <a:lnTo>
                  <a:pt x="985" y="1379"/>
                </a:lnTo>
                <a:lnTo>
                  <a:pt x="1005" y="1372"/>
                </a:lnTo>
                <a:lnTo>
                  <a:pt x="1026" y="1394"/>
                </a:lnTo>
                <a:lnTo>
                  <a:pt x="1040" y="1392"/>
                </a:lnTo>
                <a:lnTo>
                  <a:pt x="1034" y="1379"/>
                </a:lnTo>
                <a:lnTo>
                  <a:pt x="1036" y="1353"/>
                </a:lnTo>
                <a:lnTo>
                  <a:pt x="970" y="1288"/>
                </a:lnTo>
                <a:lnTo>
                  <a:pt x="970" y="1279"/>
                </a:lnTo>
                <a:lnTo>
                  <a:pt x="962" y="1281"/>
                </a:lnTo>
                <a:lnTo>
                  <a:pt x="925" y="1236"/>
                </a:lnTo>
                <a:lnTo>
                  <a:pt x="917" y="1219"/>
                </a:lnTo>
                <a:lnTo>
                  <a:pt x="927" y="1216"/>
                </a:lnTo>
                <a:lnTo>
                  <a:pt x="955" y="1244"/>
                </a:lnTo>
                <a:lnTo>
                  <a:pt x="966" y="1245"/>
                </a:lnTo>
                <a:lnTo>
                  <a:pt x="964" y="1237"/>
                </a:lnTo>
                <a:lnTo>
                  <a:pt x="970" y="1234"/>
                </a:lnTo>
                <a:lnTo>
                  <a:pt x="988" y="1263"/>
                </a:lnTo>
                <a:lnTo>
                  <a:pt x="1005" y="1268"/>
                </a:lnTo>
                <a:lnTo>
                  <a:pt x="1010" y="1285"/>
                </a:lnTo>
                <a:lnTo>
                  <a:pt x="1035" y="1286"/>
                </a:lnTo>
                <a:lnTo>
                  <a:pt x="1045" y="1299"/>
                </a:lnTo>
                <a:lnTo>
                  <a:pt x="1064" y="1291"/>
                </a:lnTo>
                <a:lnTo>
                  <a:pt x="1072" y="1307"/>
                </a:lnTo>
                <a:lnTo>
                  <a:pt x="1079" y="1303"/>
                </a:lnTo>
                <a:lnTo>
                  <a:pt x="1076" y="1319"/>
                </a:lnTo>
                <a:lnTo>
                  <a:pt x="1089" y="1332"/>
                </a:lnTo>
                <a:lnTo>
                  <a:pt x="1095" y="1329"/>
                </a:lnTo>
                <a:lnTo>
                  <a:pt x="1083" y="1300"/>
                </a:lnTo>
                <a:lnTo>
                  <a:pt x="1107" y="1304"/>
                </a:lnTo>
                <a:lnTo>
                  <a:pt x="1108" y="1293"/>
                </a:lnTo>
                <a:lnTo>
                  <a:pt x="1101" y="1287"/>
                </a:lnTo>
                <a:lnTo>
                  <a:pt x="1093" y="1288"/>
                </a:lnTo>
                <a:lnTo>
                  <a:pt x="1084" y="1265"/>
                </a:lnTo>
                <a:lnTo>
                  <a:pt x="1085" y="1245"/>
                </a:lnTo>
                <a:lnTo>
                  <a:pt x="1105" y="1263"/>
                </a:lnTo>
                <a:lnTo>
                  <a:pt x="1103" y="1247"/>
                </a:lnTo>
                <a:lnTo>
                  <a:pt x="1108" y="1222"/>
                </a:lnTo>
                <a:lnTo>
                  <a:pt x="1100" y="1191"/>
                </a:lnTo>
                <a:lnTo>
                  <a:pt x="1074" y="1178"/>
                </a:lnTo>
                <a:lnTo>
                  <a:pt x="1073" y="1164"/>
                </a:lnTo>
                <a:lnTo>
                  <a:pt x="1082" y="1161"/>
                </a:lnTo>
                <a:lnTo>
                  <a:pt x="1085" y="1147"/>
                </a:lnTo>
                <a:lnTo>
                  <a:pt x="1083" y="1136"/>
                </a:lnTo>
                <a:lnTo>
                  <a:pt x="1073" y="1138"/>
                </a:lnTo>
                <a:lnTo>
                  <a:pt x="1069" y="1123"/>
                </a:lnTo>
                <a:lnTo>
                  <a:pt x="1057" y="1134"/>
                </a:lnTo>
                <a:lnTo>
                  <a:pt x="1055" y="1107"/>
                </a:lnTo>
                <a:lnTo>
                  <a:pt x="1027" y="1113"/>
                </a:lnTo>
                <a:lnTo>
                  <a:pt x="1036" y="1100"/>
                </a:lnTo>
                <a:lnTo>
                  <a:pt x="1014" y="1100"/>
                </a:lnTo>
                <a:lnTo>
                  <a:pt x="1011" y="1113"/>
                </a:lnTo>
                <a:lnTo>
                  <a:pt x="998" y="1075"/>
                </a:lnTo>
                <a:lnTo>
                  <a:pt x="987" y="1071"/>
                </a:lnTo>
                <a:lnTo>
                  <a:pt x="991" y="1062"/>
                </a:lnTo>
                <a:lnTo>
                  <a:pt x="986" y="1056"/>
                </a:lnTo>
                <a:lnTo>
                  <a:pt x="991" y="1053"/>
                </a:lnTo>
                <a:lnTo>
                  <a:pt x="984" y="1045"/>
                </a:lnTo>
                <a:lnTo>
                  <a:pt x="986" y="1031"/>
                </a:lnTo>
                <a:lnTo>
                  <a:pt x="958" y="1030"/>
                </a:lnTo>
                <a:lnTo>
                  <a:pt x="959" y="1003"/>
                </a:lnTo>
                <a:lnTo>
                  <a:pt x="992" y="996"/>
                </a:lnTo>
                <a:lnTo>
                  <a:pt x="975" y="971"/>
                </a:lnTo>
                <a:lnTo>
                  <a:pt x="953" y="963"/>
                </a:lnTo>
                <a:lnTo>
                  <a:pt x="948" y="949"/>
                </a:lnTo>
                <a:lnTo>
                  <a:pt x="963" y="950"/>
                </a:lnTo>
                <a:lnTo>
                  <a:pt x="959" y="942"/>
                </a:lnTo>
                <a:lnTo>
                  <a:pt x="966" y="941"/>
                </a:lnTo>
                <a:lnTo>
                  <a:pt x="989" y="958"/>
                </a:lnTo>
                <a:lnTo>
                  <a:pt x="983" y="943"/>
                </a:lnTo>
                <a:lnTo>
                  <a:pt x="990" y="944"/>
                </a:lnTo>
                <a:lnTo>
                  <a:pt x="979" y="934"/>
                </a:lnTo>
                <a:lnTo>
                  <a:pt x="984" y="927"/>
                </a:lnTo>
                <a:lnTo>
                  <a:pt x="1002" y="935"/>
                </a:lnTo>
                <a:lnTo>
                  <a:pt x="999" y="956"/>
                </a:lnTo>
                <a:lnTo>
                  <a:pt x="1043" y="980"/>
                </a:lnTo>
                <a:lnTo>
                  <a:pt x="1046" y="996"/>
                </a:lnTo>
                <a:lnTo>
                  <a:pt x="1069" y="992"/>
                </a:lnTo>
                <a:lnTo>
                  <a:pt x="1066" y="1005"/>
                </a:lnTo>
                <a:lnTo>
                  <a:pt x="1069" y="1023"/>
                </a:lnTo>
                <a:lnTo>
                  <a:pt x="1086" y="1051"/>
                </a:lnTo>
                <a:lnTo>
                  <a:pt x="1099" y="1043"/>
                </a:lnTo>
                <a:lnTo>
                  <a:pt x="1101" y="1052"/>
                </a:lnTo>
                <a:lnTo>
                  <a:pt x="1095" y="1064"/>
                </a:lnTo>
                <a:lnTo>
                  <a:pt x="1104" y="1077"/>
                </a:lnTo>
                <a:lnTo>
                  <a:pt x="1117" y="1070"/>
                </a:lnTo>
                <a:lnTo>
                  <a:pt x="1122" y="1088"/>
                </a:lnTo>
                <a:lnTo>
                  <a:pt x="1132" y="1081"/>
                </a:lnTo>
                <a:lnTo>
                  <a:pt x="1145" y="1104"/>
                </a:lnTo>
                <a:lnTo>
                  <a:pt x="1154" y="1065"/>
                </a:lnTo>
                <a:lnTo>
                  <a:pt x="1161" y="1064"/>
                </a:lnTo>
                <a:lnTo>
                  <a:pt x="1151" y="1017"/>
                </a:lnTo>
                <a:lnTo>
                  <a:pt x="1182" y="1035"/>
                </a:lnTo>
                <a:lnTo>
                  <a:pt x="1187" y="1017"/>
                </a:lnTo>
                <a:lnTo>
                  <a:pt x="1196" y="1014"/>
                </a:lnTo>
                <a:lnTo>
                  <a:pt x="1196" y="995"/>
                </a:lnTo>
                <a:lnTo>
                  <a:pt x="1209" y="990"/>
                </a:lnTo>
                <a:lnTo>
                  <a:pt x="1203" y="981"/>
                </a:lnTo>
                <a:lnTo>
                  <a:pt x="1187" y="983"/>
                </a:lnTo>
                <a:lnTo>
                  <a:pt x="1200" y="962"/>
                </a:lnTo>
                <a:lnTo>
                  <a:pt x="1227" y="965"/>
                </a:lnTo>
                <a:lnTo>
                  <a:pt x="1231" y="958"/>
                </a:lnTo>
                <a:lnTo>
                  <a:pt x="1223" y="949"/>
                </a:lnTo>
                <a:lnTo>
                  <a:pt x="1241" y="926"/>
                </a:lnTo>
                <a:lnTo>
                  <a:pt x="1205" y="886"/>
                </a:lnTo>
                <a:lnTo>
                  <a:pt x="1157" y="896"/>
                </a:lnTo>
                <a:lnTo>
                  <a:pt x="1169" y="854"/>
                </a:lnTo>
                <a:lnTo>
                  <a:pt x="1119" y="861"/>
                </a:lnTo>
                <a:lnTo>
                  <a:pt x="1117" y="853"/>
                </a:lnTo>
                <a:lnTo>
                  <a:pt x="1130" y="839"/>
                </a:lnTo>
                <a:lnTo>
                  <a:pt x="1108" y="796"/>
                </a:lnTo>
                <a:lnTo>
                  <a:pt x="1079" y="790"/>
                </a:lnTo>
                <a:lnTo>
                  <a:pt x="1085" y="765"/>
                </a:lnTo>
                <a:lnTo>
                  <a:pt x="1043" y="783"/>
                </a:lnTo>
                <a:lnTo>
                  <a:pt x="1030" y="771"/>
                </a:lnTo>
                <a:lnTo>
                  <a:pt x="1039" y="757"/>
                </a:lnTo>
                <a:lnTo>
                  <a:pt x="1033" y="745"/>
                </a:lnTo>
                <a:lnTo>
                  <a:pt x="1003" y="744"/>
                </a:lnTo>
                <a:lnTo>
                  <a:pt x="1011" y="727"/>
                </a:lnTo>
                <a:lnTo>
                  <a:pt x="941" y="700"/>
                </a:lnTo>
                <a:lnTo>
                  <a:pt x="969" y="691"/>
                </a:lnTo>
                <a:lnTo>
                  <a:pt x="948" y="667"/>
                </a:lnTo>
                <a:lnTo>
                  <a:pt x="966" y="655"/>
                </a:lnTo>
                <a:lnTo>
                  <a:pt x="932" y="632"/>
                </a:lnTo>
                <a:lnTo>
                  <a:pt x="954" y="630"/>
                </a:lnTo>
                <a:lnTo>
                  <a:pt x="953" y="619"/>
                </a:lnTo>
                <a:lnTo>
                  <a:pt x="980" y="636"/>
                </a:lnTo>
                <a:lnTo>
                  <a:pt x="1016" y="635"/>
                </a:lnTo>
                <a:lnTo>
                  <a:pt x="1020" y="620"/>
                </a:lnTo>
                <a:lnTo>
                  <a:pt x="996" y="601"/>
                </a:lnTo>
                <a:lnTo>
                  <a:pt x="950" y="593"/>
                </a:lnTo>
                <a:lnTo>
                  <a:pt x="947" y="603"/>
                </a:lnTo>
                <a:lnTo>
                  <a:pt x="925" y="583"/>
                </a:lnTo>
                <a:lnTo>
                  <a:pt x="919" y="588"/>
                </a:lnTo>
                <a:lnTo>
                  <a:pt x="960" y="562"/>
                </a:lnTo>
                <a:lnTo>
                  <a:pt x="988" y="566"/>
                </a:lnTo>
                <a:lnTo>
                  <a:pt x="995" y="552"/>
                </a:lnTo>
                <a:lnTo>
                  <a:pt x="990" y="541"/>
                </a:lnTo>
                <a:lnTo>
                  <a:pt x="963" y="502"/>
                </a:lnTo>
                <a:lnTo>
                  <a:pt x="947" y="495"/>
                </a:lnTo>
                <a:lnTo>
                  <a:pt x="942" y="507"/>
                </a:lnTo>
                <a:lnTo>
                  <a:pt x="943" y="518"/>
                </a:lnTo>
                <a:lnTo>
                  <a:pt x="925" y="538"/>
                </a:lnTo>
                <a:lnTo>
                  <a:pt x="911" y="537"/>
                </a:lnTo>
                <a:lnTo>
                  <a:pt x="925" y="509"/>
                </a:lnTo>
                <a:lnTo>
                  <a:pt x="882" y="511"/>
                </a:lnTo>
                <a:lnTo>
                  <a:pt x="919" y="492"/>
                </a:lnTo>
                <a:lnTo>
                  <a:pt x="925" y="474"/>
                </a:lnTo>
                <a:lnTo>
                  <a:pt x="933" y="484"/>
                </a:lnTo>
                <a:lnTo>
                  <a:pt x="934" y="458"/>
                </a:lnTo>
                <a:lnTo>
                  <a:pt x="887" y="436"/>
                </a:lnTo>
                <a:lnTo>
                  <a:pt x="849" y="467"/>
                </a:lnTo>
                <a:lnTo>
                  <a:pt x="871" y="425"/>
                </a:lnTo>
                <a:lnTo>
                  <a:pt x="830" y="450"/>
                </a:lnTo>
                <a:lnTo>
                  <a:pt x="843" y="413"/>
                </a:lnTo>
                <a:lnTo>
                  <a:pt x="841" y="398"/>
                </a:lnTo>
                <a:lnTo>
                  <a:pt x="807" y="410"/>
                </a:lnTo>
                <a:lnTo>
                  <a:pt x="777" y="397"/>
                </a:lnTo>
                <a:lnTo>
                  <a:pt x="817" y="383"/>
                </a:lnTo>
                <a:lnTo>
                  <a:pt x="821" y="374"/>
                </a:lnTo>
                <a:lnTo>
                  <a:pt x="806" y="338"/>
                </a:lnTo>
                <a:lnTo>
                  <a:pt x="757" y="308"/>
                </a:lnTo>
                <a:lnTo>
                  <a:pt x="744" y="333"/>
                </a:lnTo>
                <a:lnTo>
                  <a:pt x="724" y="331"/>
                </a:lnTo>
                <a:lnTo>
                  <a:pt x="727" y="363"/>
                </a:lnTo>
                <a:lnTo>
                  <a:pt x="710" y="347"/>
                </a:lnTo>
                <a:lnTo>
                  <a:pt x="712" y="328"/>
                </a:lnTo>
                <a:lnTo>
                  <a:pt x="692" y="342"/>
                </a:lnTo>
                <a:lnTo>
                  <a:pt x="714" y="295"/>
                </a:lnTo>
                <a:lnTo>
                  <a:pt x="680" y="300"/>
                </a:lnTo>
                <a:lnTo>
                  <a:pt x="662" y="321"/>
                </a:lnTo>
                <a:lnTo>
                  <a:pt x="663" y="306"/>
                </a:lnTo>
                <a:lnTo>
                  <a:pt x="678" y="289"/>
                </a:lnTo>
                <a:lnTo>
                  <a:pt x="683" y="279"/>
                </a:lnTo>
                <a:lnTo>
                  <a:pt x="680" y="261"/>
                </a:lnTo>
                <a:lnTo>
                  <a:pt x="643" y="251"/>
                </a:lnTo>
                <a:lnTo>
                  <a:pt x="652" y="238"/>
                </a:lnTo>
                <a:lnTo>
                  <a:pt x="650" y="225"/>
                </a:lnTo>
                <a:lnTo>
                  <a:pt x="635" y="201"/>
                </a:lnTo>
                <a:lnTo>
                  <a:pt x="638" y="194"/>
                </a:lnTo>
                <a:lnTo>
                  <a:pt x="620" y="186"/>
                </a:lnTo>
                <a:lnTo>
                  <a:pt x="537" y="162"/>
                </a:lnTo>
                <a:lnTo>
                  <a:pt x="495" y="190"/>
                </a:lnTo>
                <a:lnTo>
                  <a:pt x="494" y="207"/>
                </a:lnTo>
                <a:lnTo>
                  <a:pt x="508" y="219"/>
                </a:lnTo>
                <a:lnTo>
                  <a:pt x="476" y="234"/>
                </a:lnTo>
                <a:lnTo>
                  <a:pt x="462" y="214"/>
                </a:lnTo>
                <a:lnTo>
                  <a:pt x="444" y="221"/>
                </a:lnTo>
                <a:lnTo>
                  <a:pt x="442" y="195"/>
                </a:lnTo>
                <a:lnTo>
                  <a:pt x="428" y="239"/>
                </a:lnTo>
                <a:lnTo>
                  <a:pt x="421" y="237"/>
                </a:lnTo>
                <a:lnTo>
                  <a:pt x="395" y="279"/>
                </a:lnTo>
                <a:lnTo>
                  <a:pt x="392" y="261"/>
                </a:lnTo>
                <a:lnTo>
                  <a:pt x="408" y="252"/>
                </a:lnTo>
                <a:lnTo>
                  <a:pt x="397" y="244"/>
                </a:lnTo>
                <a:lnTo>
                  <a:pt x="419" y="164"/>
                </a:lnTo>
                <a:lnTo>
                  <a:pt x="400" y="137"/>
                </a:lnTo>
                <a:lnTo>
                  <a:pt x="408" y="114"/>
                </a:lnTo>
                <a:lnTo>
                  <a:pt x="372" y="89"/>
                </a:lnTo>
                <a:lnTo>
                  <a:pt x="384" y="77"/>
                </a:lnTo>
                <a:lnTo>
                  <a:pt x="380" y="36"/>
                </a:lnTo>
                <a:lnTo>
                  <a:pt x="369" y="16"/>
                </a:lnTo>
                <a:lnTo>
                  <a:pt x="315" y="18"/>
                </a:lnTo>
                <a:lnTo>
                  <a:pt x="280" y="38"/>
                </a:lnTo>
                <a:lnTo>
                  <a:pt x="266" y="52"/>
                </a:lnTo>
                <a:lnTo>
                  <a:pt x="278" y="65"/>
                </a:lnTo>
                <a:lnTo>
                  <a:pt x="275" y="80"/>
                </a:lnTo>
                <a:lnTo>
                  <a:pt x="266" y="61"/>
                </a:lnTo>
                <a:lnTo>
                  <a:pt x="240" y="62"/>
                </a:lnTo>
                <a:lnTo>
                  <a:pt x="238" y="72"/>
                </a:lnTo>
                <a:lnTo>
                  <a:pt x="246" y="92"/>
                </a:lnTo>
                <a:lnTo>
                  <a:pt x="217" y="76"/>
                </a:lnTo>
                <a:lnTo>
                  <a:pt x="213" y="89"/>
                </a:lnTo>
                <a:lnTo>
                  <a:pt x="222" y="101"/>
                </a:lnTo>
                <a:lnTo>
                  <a:pt x="196" y="115"/>
                </a:lnTo>
                <a:lnTo>
                  <a:pt x="219" y="137"/>
                </a:lnTo>
                <a:lnTo>
                  <a:pt x="187" y="141"/>
                </a:lnTo>
                <a:lnTo>
                  <a:pt x="194" y="184"/>
                </a:lnTo>
                <a:lnTo>
                  <a:pt x="191" y="192"/>
                </a:lnTo>
                <a:lnTo>
                  <a:pt x="196" y="204"/>
                </a:lnTo>
                <a:lnTo>
                  <a:pt x="225" y="213"/>
                </a:lnTo>
                <a:lnTo>
                  <a:pt x="176" y="268"/>
                </a:lnTo>
                <a:lnTo>
                  <a:pt x="203" y="311"/>
                </a:lnTo>
                <a:lnTo>
                  <a:pt x="230" y="317"/>
                </a:lnTo>
                <a:lnTo>
                  <a:pt x="233" y="328"/>
                </a:lnTo>
                <a:lnTo>
                  <a:pt x="226" y="356"/>
                </a:lnTo>
                <a:lnTo>
                  <a:pt x="226" y="394"/>
                </a:lnTo>
                <a:lnTo>
                  <a:pt x="220" y="411"/>
                </a:lnTo>
                <a:lnTo>
                  <a:pt x="215" y="406"/>
                </a:lnTo>
                <a:lnTo>
                  <a:pt x="220" y="384"/>
                </a:lnTo>
                <a:lnTo>
                  <a:pt x="217" y="380"/>
                </a:lnTo>
                <a:lnTo>
                  <a:pt x="149" y="401"/>
                </a:lnTo>
                <a:lnTo>
                  <a:pt x="177" y="377"/>
                </a:lnTo>
                <a:lnTo>
                  <a:pt x="220" y="366"/>
                </a:lnTo>
                <a:lnTo>
                  <a:pt x="214" y="342"/>
                </a:lnTo>
                <a:lnTo>
                  <a:pt x="200" y="339"/>
                </a:lnTo>
                <a:lnTo>
                  <a:pt x="160" y="282"/>
                </a:lnTo>
                <a:lnTo>
                  <a:pt x="153" y="260"/>
                </a:lnTo>
                <a:lnTo>
                  <a:pt x="161" y="215"/>
                </a:lnTo>
                <a:lnTo>
                  <a:pt x="145" y="178"/>
                </a:lnTo>
                <a:lnTo>
                  <a:pt x="146" y="154"/>
                </a:lnTo>
                <a:lnTo>
                  <a:pt x="162" y="120"/>
                </a:lnTo>
                <a:lnTo>
                  <a:pt x="165" y="97"/>
                </a:lnTo>
                <a:lnTo>
                  <a:pt x="222" y="18"/>
                </a:lnTo>
                <a:lnTo>
                  <a:pt x="218" y="12"/>
                </a:lnTo>
                <a:close/>
              </a:path>
            </a:pathLst>
          </a:custGeom>
          <a:solidFill>
            <a:schemeClr val="accent1"/>
          </a:solidFill>
          <a:ln w="6350">
            <a:solidFill>
              <a:schemeClr val="tx2"/>
            </a:solidFill>
            <a:round/>
            <a:headEnd/>
            <a:tailEnd/>
          </a:ln>
        </p:spPr>
        <p:txBody>
          <a:bodyPr/>
          <a:lstStyle/>
          <a:p>
            <a:endParaRPr lang="en-US"/>
          </a:p>
        </p:txBody>
      </p:sp>
      <p:sp>
        <p:nvSpPr>
          <p:cNvPr id="136" name="Freeform 1206"/>
          <p:cNvSpPr>
            <a:spLocks/>
          </p:cNvSpPr>
          <p:nvPr/>
        </p:nvSpPr>
        <p:spPr bwMode="auto">
          <a:xfrm>
            <a:off x="3981595" y="3018648"/>
            <a:ext cx="12899" cy="7642"/>
          </a:xfrm>
          <a:custGeom>
            <a:avLst/>
            <a:gdLst>
              <a:gd name="T0" fmla="*/ 0 w 27"/>
              <a:gd name="T1" fmla="*/ 0 h 20"/>
              <a:gd name="T2" fmla="*/ 2147483647 w 27"/>
              <a:gd name="T3" fmla="*/ 2147483647 h 20"/>
              <a:gd name="T4" fmla="*/ 2147483647 w 27"/>
              <a:gd name="T5" fmla="*/ 2147483647 h 20"/>
              <a:gd name="T6" fmla="*/ 0 w 27"/>
              <a:gd name="T7" fmla="*/ 0 h 20"/>
              <a:gd name="T8" fmla="*/ 0 60000 65536"/>
              <a:gd name="T9" fmla="*/ 0 60000 65536"/>
              <a:gd name="T10" fmla="*/ 0 60000 65536"/>
              <a:gd name="T11" fmla="*/ 0 60000 65536"/>
              <a:gd name="T12" fmla="*/ 0 w 27"/>
              <a:gd name="T13" fmla="*/ 0 h 20"/>
              <a:gd name="T14" fmla="*/ 27 w 27"/>
              <a:gd name="T15" fmla="*/ 20 h 20"/>
            </a:gdLst>
            <a:ahLst/>
            <a:cxnLst>
              <a:cxn ang="T8">
                <a:pos x="T0" y="T1"/>
              </a:cxn>
              <a:cxn ang="T9">
                <a:pos x="T2" y="T3"/>
              </a:cxn>
              <a:cxn ang="T10">
                <a:pos x="T4" y="T5"/>
              </a:cxn>
              <a:cxn ang="T11">
                <a:pos x="T6" y="T7"/>
              </a:cxn>
            </a:cxnLst>
            <a:rect l="T12" t="T13" r="T14" b="T15"/>
            <a:pathLst>
              <a:path w="27" h="20">
                <a:moveTo>
                  <a:pt x="0" y="0"/>
                </a:moveTo>
                <a:lnTo>
                  <a:pt x="27" y="13"/>
                </a:lnTo>
                <a:lnTo>
                  <a:pt x="17" y="20"/>
                </a:lnTo>
                <a:lnTo>
                  <a:pt x="0" y="0"/>
                </a:lnTo>
                <a:close/>
              </a:path>
            </a:pathLst>
          </a:custGeom>
          <a:solidFill>
            <a:schemeClr val="accent1"/>
          </a:solidFill>
          <a:ln w="6350">
            <a:solidFill>
              <a:schemeClr val="tx2"/>
            </a:solidFill>
            <a:round/>
            <a:headEnd/>
            <a:tailEnd/>
          </a:ln>
        </p:spPr>
        <p:txBody>
          <a:bodyPr/>
          <a:lstStyle/>
          <a:p>
            <a:endParaRPr lang="en-US"/>
          </a:p>
        </p:txBody>
      </p:sp>
      <p:sp>
        <p:nvSpPr>
          <p:cNvPr id="137" name="Freeform 1268"/>
          <p:cNvSpPr>
            <a:spLocks/>
          </p:cNvSpPr>
          <p:nvPr/>
        </p:nvSpPr>
        <p:spPr bwMode="auto">
          <a:xfrm>
            <a:off x="2688723" y="2701508"/>
            <a:ext cx="30100" cy="3693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solidFill>
            <a:schemeClr val="accent1"/>
          </a:solidFill>
          <a:ln w="6350">
            <a:solidFill>
              <a:schemeClr val="tx2"/>
            </a:solidFill>
            <a:round/>
            <a:headEnd/>
            <a:tailEnd/>
          </a:ln>
        </p:spPr>
        <p:txBody>
          <a:bodyPr/>
          <a:lstStyle/>
          <a:p>
            <a:endParaRPr lang="en-US"/>
          </a:p>
        </p:txBody>
      </p:sp>
      <p:sp>
        <p:nvSpPr>
          <p:cNvPr id="138" name="Freeform 1269"/>
          <p:cNvSpPr>
            <a:spLocks/>
          </p:cNvSpPr>
          <p:nvPr/>
        </p:nvSpPr>
        <p:spPr bwMode="auto">
          <a:xfrm>
            <a:off x="2677257" y="2725708"/>
            <a:ext cx="20066" cy="16557"/>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solidFill>
            <a:schemeClr val="accent1"/>
          </a:solidFill>
          <a:ln w="6350">
            <a:solidFill>
              <a:schemeClr val="tx2"/>
            </a:solidFill>
            <a:round/>
            <a:headEnd/>
            <a:tailEnd/>
          </a:ln>
        </p:spPr>
        <p:txBody>
          <a:bodyPr/>
          <a:lstStyle/>
          <a:p>
            <a:endParaRPr lang="en-US"/>
          </a:p>
        </p:txBody>
      </p:sp>
      <p:sp>
        <p:nvSpPr>
          <p:cNvPr id="139" name="Freeform 1286"/>
          <p:cNvSpPr>
            <a:spLocks/>
          </p:cNvSpPr>
          <p:nvPr/>
        </p:nvSpPr>
        <p:spPr bwMode="auto">
          <a:xfrm>
            <a:off x="2668656" y="3176582"/>
            <a:ext cx="28667" cy="30568"/>
          </a:xfrm>
          <a:custGeom>
            <a:avLst/>
            <a:gdLst>
              <a:gd name="T0" fmla="*/ 2147483647 w 60"/>
              <a:gd name="T1" fmla="*/ 2147483647 h 73"/>
              <a:gd name="T2" fmla="*/ 2147483647 w 60"/>
              <a:gd name="T3" fmla="*/ 2147483647 h 73"/>
              <a:gd name="T4" fmla="*/ 2147483647 w 60"/>
              <a:gd name="T5" fmla="*/ 2147483647 h 73"/>
              <a:gd name="T6" fmla="*/ 2147483647 w 60"/>
              <a:gd name="T7" fmla="*/ 2147483647 h 73"/>
              <a:gd name="T8" fmla="*/ 2147483647 w 60"/>
              <a:gd name="T9" fmla="*/ 2147483647 h 73"/>
              <a:gd name="T10" fmla="*/ 2147483647 w 60"/>
              <a:gd name="T11" fmla="*/ 2147483647 h 73"/>
              <a:gd name="T12" fmla="*/ 2147483647 w 60"/>
              <a:gd name="T13" fmla="*/ 2147483647 h 73"/>
              <a:gd name="T14" fmla="*/ 2147483647 w 60"/>
              <a:gd name="T15" fmla="*/ 2147483647 h 73"/>
              <a:gd name="T16" fmla="*/ 2147483647 w 60"/>
              <a:gd name="T17" fmla="*/ 2147483647 h 73"/>
              <a:gd name="T18" fmla="*/ 2147483647 w 60"/>
              <a:gd name="T19" fmla="*/ 2147483647 h 73"/>
              <a:gd name="T20" fmla="*/ 2147483647 w 60"/>
              <a:gd name="T21" fmla="*/ 2147483647 h 73"/>
              <a:gd name="T22" fmla="*/ 2147483647 w 60"/>
              <a:gd name="T23" fmla="*/ 2147483647 h 73"/>
              <a:gd name="T24" fmla="*/ 2147483647 w 60"/>
              <a:gd name="T25" fmla="*/ 2147483647 h 73"/>
              <a:gd name="T26" fmla="*/ 2147483647 w 60"/>
              <a:gd name="T27" fmla="*/ 2147483647 h 73"/>
              <a:gd name="T28" fmla="*/ 0 w 60"/>
              <a:gd name="T29" fmla="*/ 2147483647 h 73"/>
              <a:gd name="T30" fmla="*/ 2147483647 w 60"/>
              <a:gd name="T31" fmla="*/ 2147483647 h 73"/>
              <a:gd name="T32" fmla="*/ 2147483647 w 60"/>
              <a:gd name="T33" fmla="*/ 2147483647 h 73"/>
              <a:gd name="T34" fmla="*/ 2147483647 w 60"/>
              <a:gd name="T35" fmla="*/ 0 h 73"/>
              <a:gd name="T36" fmla="*/ 2147483647 w 60"/>
              <a:gd name="T37" fmla="*/ 2147483647 h 73"/>
              <a:gd name="T38" fmla="*/ 2147483647 w 60"/>
              <a:gd name="T39" fmla="*/ 2147483647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3"/>
              <a:gd name="T62" fmla="*/ 60 w 60"/>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3">
                <a:moveTo>
                  <a:pt x="55" y="19"/>
                </a:moveTo>
                <a:lnTo>
                  <a:pt x="59" y="30"/>
                </a:lnTo>
                <a:lnTo>
                  <a:pt x="50" y="28"/>
                </a:lnTo>
                <a:lnTo>
                  <a:pt x="56" y="40"/>
                </a:lnTo>
                <a:lnTo>
                  <a:pt x="59" y="46"/>
                </a:lnTo>
                <a:lnTo>
                  <a:pt x="60" y="68"/>
                </a:lnTo>
                <a:lnTo>
                  <a:pt x="26" y="42"/>
                </a:lnTo>
                <a:lnTo>
                  <a:pt x="30" y="66"/>
                </a:lnTo>
                <a:lnTo>
                  <a:pt x="25" y="73"/>
                </a:lnTo>
                <a:lnTo>
                  <a:pt x="16" y="67"/>
                </a:lnTo>
                <a:lnTo>
                  <a:pt x="19" y="64"/>
                </a:lnTo>
                <a:lnTo>
                  <a:pt x="2" y="39"/>
                </a:lnTo>
                <a:lnTo>
                  <a:pt x="1" y="28"/>
                </a:lnTo>
                <a:lnTo>
                  <a:pt x="7" y="28"/>
                </a:lnTo>
                <a:lnTo>
                  <a:pt x="0" y="13"/>
                </a:lnTo>
                <a:lnTo>
                  <a:pt x="1" y="8"/>
                </a:lnTo>
                <a:lnTo>
                  <a:pt x="4" y="16"/>
                </a:lnTo>
                <a:lnTo>
                  <a:pt x="19" y="0"/>
                </a:lnTo>
                <a:lnTo>
                  <a:pt x="34" y="14"/>
                </a:lnTo>
                <a:lnTo>
                  <a:pt x="55" y="19"/>
                </a:lnTo>
                <a:close/>
              </a:path>
            </a:pathLst>
          </a:custGeom>
          <a:solidFill>
            <a:schemeClr val="accent1"/>
          </a:solidFill>
          <a:ln w="6350">
            <a:solidFill>
              <a:schemeClr val="tx2"/>
            </a:solidFill>
            <a:round/>
            <a:headEnd/>
            <a:tailEnd/>
          </a:ln>
        </p:spPr>
        <p:txBody>
          <a:bodyPr/>
          <a:lstStyle/>
          <a:p>
            <a:endParaRPr lang="en-US"/>
          </a:p>
        </p:txBody>
      </p:sp>
      <p:sp>
        <p:nvSpPr>
          <p:cNvPr id="140" name="Oval 990"/>
          <p:cNvSpPr>
            <a:spLocks noChangeArrowheads="1"/>
          </p:cNvSpPr>
          <p:nvPr/>
        </p:nvSpPr>
        <p:spPr bwMode="auto">
          <a:xfrm flipV="1">
            <a:off x="3425459" y="3860535"/>
            <a:ext cx="88867" cy="78967"/>
          </a:xfrm>
          <a:prstGeom prst="ellipse">
            <a:avLst/>
          </a:prstGeom>
          <a:solidFill>
            <a:schemeClr val="accent1"/>
          </a:solidFill>
          <a:ln w="6350">
            <a:solidFill>
              <a:schemeClr val="tx2"/>
            </a:solidFill>
            <a:round/>
            <a:headEnd/>
            <a:tailEnd/>
          </a:ln>
        </p:spPr>
        <p:txBody>
          <a:bodyPr wrap="none" anchor="ctr"/>
          <a:lstStyle/>
          <a:p>
            <a:endParaRPr lang="en-US">
              <a:solidFill>
                <a:srgbClr val="3C3C3C"/>
              </a:solidFill>
              <a:cs typeface="Museo Sans For Dell" pitchFamily="2" charset="0"/>
            </a:endParaRPr>
          </a:p>
        </p:txBody>
      </p:sp>
      <p:sp>
        <p:nvSpPr>
          <p:cNvPr id="141" name="Freeform 991"/>
          <p:cNvSpPr>
            <a:spLocks/>
          </p:cNvSpPr>
          <p:nvPr/>
        </p:nvSpPr>
        <p:spPr bwMode="auto">
          <a:xfrm>
            <a:off x="3554460" y="4149655"/>
            <a:ext cx="77400" cy="76420"/>
          </a:xfrm>
          <a:custGeom>
            <a:avLst/>
            <a:gdLst>
              <a:gd name="T0" fmla="*/ 2147483647 w 166"/>
              <a:gd name="T1" fmla="*/ 0 h 184"/>
              <a:gd name="T2" fmla="*/ 2147483647 w 166"/>
              <a:gd name="T3" fmla="*/ 2147483647 h 184"/>
              <a:gd name="T4" fmla="*/ 2147483647 w 166"/>
              <a:gd name="T5" fmla="*/ 2147483647 h 184"/>
              <a:gd name="T6" fmla="*/ 2147483647 w 166"/>
              <a:gd name="T7" fmla="*/ 2147483647 h 184"/>
              <a:gd name="T8" fmla="*/ 2147483647 w 166"/>
              <a:gd name="T9" fmla="*/ 2147483647 h 184"/>
              <a:gd name="T10" fmla="*/ 2147483647 w 166"/>
              <a:gd name="T11" fmla="*/ 2147483647 h 184"/>
              <a:gd name="T12" fmla="*/ 2147483647 w 166"/>
              <a:gd name="T13" fmla="*/ 2147483647 h 184"/>
              <a:gd name="T14" fmla="*/ 2147483647 w 166"/>
              <a:gd name="T15" fmla="*/ 2147483647 h 184"/>
              <a:gd name="T16" fmla="*/ 2147483647 w 166"/>
              <a:gd name="T17" fmla="*/ 2147483647 h 184"/>
              <a:gd name="T18" fmla="*/ 2147483647 w 166"/>
              <a:gd name="T19" fmla="*/ 2147483647 h 184"/>
              <a:gd name="T20" fmla="*/ 2147483647 w 166"/>
              <a:gd name="T21" fmla="*/ 2147483647 h 184"/>
              <a:gd name="T22" fmla="*/ 0 w 166"/>
              <a:gd name="T23" fmla="*/ 2147483647 h 184"/>
              <a:gd name="T24" fmla="*/ 2147483647 w 166"/>
              <a:gd name="T25" fmla="*/ 2147483647 h 184"/>
              <a:gd name="T26" fmla="*/ 2147483647 w 166"/>
              <a:gd name="T27" fmla="*/ 2147483647 h 184"/>
              <a:gd name="T28" fmla="*/ 2147483647 w 166"/>
              <a:gd name="T29" fmla="*/ 2147483647 h 184"/>
              <a:gd name="T30" fmla="*/ 2147483647 w 166"/>
              <a:gd name="T31" fmla="*/ 2147483647 h 184"/>
              <a:gd name="T32" fmla="*/ 2147483647 w 166"/>
              <a:gd name="T33" fmla="*/ 2147483647 h 184"/>
              <a:gd name="T34" fmla="*/ 2147483647 w 166"/>
              <a:gd name="T35" fmla="*/ 2147483647 h 184"/>
              <a:gd name="T36" fmla="*/ 2147483647 w 166"/>
              <a:gd name="T37" fmla="*/ 2147483647 h 184"/>
              <a:gd name="T38" fmla="*/ 2147483647 w 166"/>
              <a:gd name="T39" fmla="*/ 2147483647 h 184"/>
              <a:gd name="T40" fmla="*/ 2147483647 w 166"/>
              <a:gd name="T41" fmla="*/ 2147483647 h 184"/>
              <a:gd name="T42" fmla="*/ 2147483647 w 166"/>
              <a:gd name="T43" fmla="*/ 2147483647 h 184"/>
              <a:gd name="T44" fmla="*/ 2147483647 w 166"/>
              <a:gd name="T45" fmla="*/ 2147483647 h 184"/>
              <a:gd name="T46" fmla="*/ 2147483647 w 166"/>
              <a:gd name="T47" fmla="*/ 2147483647 h 184"/>
              <a:gd name="T48" fmla="*/ 2147483647 w 166"/>
              <a:gd name="T49" fmla="*/ 2147483647 h 184"/>
              <a:gd name="T50" fmla="*/ 2147483647 w 166"/>
              <a:gd name="T51" fmla="*/ 0 h 1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184"/>
              <a:gd name="T80" fmla="*/ 166 w 166"/>
              <a:gd name="T81" fmla="*/ 184 h 1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184">
                <a:moveTo>
                  <a:pt x="131" y="0"/>
                </a:moveTo>
                <a:lnTo>
                  <a:pt x="98" y="1"/>
                </a:lnTo>
                <a:lnTo>
                  <a:pt x="57" y="1"/>
                </a:lnTo>
                <a:lnTo>
                  <a:pt x="56" y="22"/>
                </a:lnTo>
                <a:lnTo>
                  <a:pt x="30" y="21"/>
                </a:lnTo>
                <a:lnTo>
                  <a:pt x="62" y="49"/>
                </a:lnTo>
                <a:lnTo>
                  <a:pt x="74" y="67"/>
                </a:lnTo>
                <a:lnTo>
                  <a:pt x="74" y="78"/>
                </a:lnTo>
                <a:lnTo>
                  <a:pt x="32" y="80"/>
                </a:lnTo>
                <a:lnTo>
                  <a:pt x="4" y="123"/>
                </a:lnTo>
                <a:lnTo>
                  <a:pt x="6" y="129"/>
                </a:lnTo>
                <a:lnTo>
                  <a:pt x="0" y="147"/>
                </a:lnTo>
                <a:lnTo>
                  <a:pt x="37" y="174"/>
                </a:lnTo>
                <a:lnTo>
                  <a:pt x="94" y="184"/>
                </a:lnTo>
                <a:lnTo>
                  <a:pt x="99" y="174"/>
                </a:lnTo>
                <a:lnTo>
                  <a:pt x="114" y="165"/>
                </a:lnTo>
                <a:lnTo>
                  <a:pt x="120" y="153"/>
                </a:lnTo>
                <a:lnTo>
                  <a:pt x="130" y="144"/>
                </a:lnTo>
                <a:lnTo>
                  <a:pt x="128" y="131"/>
                </a:lnTo>
                <a:lnTo>
                  <a:pt x="164" y="105"/>
                </a:lnTo>
                <a:lnTo>
                  <a:pt x="166" y="95"/>
                </a:lnTo>
                <a:lnTo>
                  <a:pt x="160" y="92"/>
                </a:lnTo>
                <a:lnTo>
                  <a:pt x="153" y="95"/>
                </a:lnTo>
                <a:lnTo>
                  <a:pt x="144" y="87"/>
                </a:lnTo>
                <a:lnTo>
                  <a:pt x="128" y="85"/>
                </a:lnTo>
                <a:lnTo>
                  <a:pt x="131" y="0"/>
                </a:lnTo>
                <a:close/>
              </a:path>
            </a:pathLst>
          </a:custGeom>
          <a:solidFill>
            <a:schemeClr val="accent1"/>
          </a:solidFill>
          <a:ln w="6350">
            <a:solidFill>
              <a:schemeClr val="tx2"/>
            </a:solidFill>
            <a:round/>
            <a:headEnd/>
            <a:tailEnd/>
          </a:ln>
        </p:spPr>
        <p:txBody>
          <a:bodyPr/>
          <a:lstStyle/>
          <a:p>
            <a:endParaRPr lang="en-US"/>
          </a:p>
        </p:txBody>
      </p:sp>
      <p:sp>
        <p:nvSpPr>
          <p:cNvPr id="142" name="Freeform 995"/>
          <p:cNvSpPr>
            <a:spLocks/>
          </p:cNvSpPr>
          <p:nvPr/>
        </p:nvSpPr>
        <p:spPr bwMode="auto">
          <a:xfrm>
            <a:off x="3915661" y="4110172"/>
            <a:ext cx="57334" cy="36936"/>
          </a:xfrm>
          <a:custGeom>
            <a:avLst/>
            <a:gdLst>
              <a:gd name="T0" fmla="*/ 2147483647 w 120"/>
              <a:gd name="T1" fmla="*/ 2147483647 h 87"/>
              <a:gd name="T2" fmla="*/ 2147483647 w 120"/>
              <a:gd name="T3" fmla="*/ 2147483647 h 87"/>
              <a:gd name="T4" fmla="*/ 2147483647 w 120"/>
              <a:gd name="T5" fmla="*/ 2147483647 h 87"/>
              <a:gd name="T6" fmla="*/ 2147483647 w 120"/>
              <a:gd name="T7" fmla="*/ 2147483647 h 87"/>
              <a:gd name="T8" fmla="*/ 2147483647 w 120"/>
              <a:gd name="T9" fmla="*/ 2147483647 h 87"/>
              <a:gd name="T10" fmla="*/ 2147483647 w 120"/>
              <a:gd name="T11" fmla="*/ 2147483647 h 87"/>
              <a:gd name="T12" fmla="*/ 2147483647 w 120"/>
              <a:gd name="T13" fmla="*/ 2147483647 h 87"/>
              <a:gd name="T14" fmla="*/ 2147483647 w 120"/>
              <a:gd name="T15" fmla="*/ 0 h 87"/>
              <a:gd name="T16" fmla="*/ 2147483647 w 120"/>
              <a:gd name="T17" fmla="*/ 2147483647 h 87"/>
              <a:gd name="T18" fmla="*/ 2147483647 w 120"/>
              <a:gd name="T19" fmla="*/ 2147483647 h 87"/>
              <a:gd name="T20" fmla="*/ 2147483647 w 120"/>
              <a:gd name="T21" fmla="*/ 2147483647 h 87"/>
              <a:gd name="T22" fmla="*/ 2147483647 w 120"/>
              <a:gd name="T23" fmla="*/ 2147483647 h 87"/>
              <a:gd name="T24" fmla="*/ 2147483647 w 120"/>
              <a:gd name="T25" fmla="*/ 2147483647 h 87"/>
              <a:gd name="T26" fmla="*/ 2147483647 w 120"/>
              <a:gd name="T27" fmla="*/ 2147483647 h 87"/>
              <a:gd name="T28" fmla="*/ 2147483647 w 120"/>
              <a:gd name="T29" fmla="*/ 2147483647 h 87"/>
              <a:gd name="T30" fmla="*/ 2147483647 w 120"/>
              <a:gd name="T31" fmla="*/ 2147483647 h 87"/>
              <a:gd name="T32" fmla="*/ 0 w 120"/>
              <a:gd name="T33" fmla="*/ 2147483647 h 87"/>
              <a:gd name="T34" fmla="*/ 2147483647 w 120"/>
              <a:gd name="T35" fmla="*/ 2147483647 h 87"/>
              <a:gd name="T36" fmla="*/ 2147483647 w 120"/>
              <a:gd name="T37" fmla="*/ 2147483647 h 87"/>
              <a:gd name="T38" fmla="*/ 2147483647 w 120"/>
              <a:gd name="T39" fmla="*/ 2147483647 h 87"/>
              <a:gd name="T40" fmla="*/ 2147483647 w 120"/>
              <a:gd name="T41" fmla="*/ 2147483647 h 87"/>
              <a:gd name="T42" fmla="*/ 2147483647 w 120"/>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87"/>
              <a:gd name="T68" fmla="*/ 120 w 120"/>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87">
                <a:moveTo>
                  <a:pt x="113" y="87"/>
                </a:moveTo>
                <a:lnTo>
                  <a:pt x="115" y="75"/>
                </a:lnTo>
                <a:lnTo>
                  <a:pt x="110" y="62"/>
                </a:lnTo>
                <a:lnTo>
                  <a:pt x="117" y="55"/>
                </a:lnTo>
                <a:lnTo>
                  <a:pt x="120" y="35"/>
                </a:lnTo>
                <a:lnTo>
                  <a:pt x="112" y="5"/>
                </a:lnTo>
                <a:lnTo>
                  <a:pt x="88" y="9"/>
                </a:lnTo>
                <a:lnTo>
                  <a:pt x="61" y="0"/>
                </a:lnTo>
                <a:lnTo>
                  <a:pt x="41" y="8"/>
                </a:lnTo>
                <a:lnTo>
                  <a:pt x="45" y="16"/>
                </a:lnTo>
                <a:lnTo>
                  <a:pt x="67" y="19"/>
                </a:lnTo>
                <a:lnTo>
                  <a:pt x="70" y="46"/>
                </a:lnTo>
                <a:lnTo>
                  <a:pt x="87" y="58"/>
                </a:lnTo>
                <a:lnTo>
                  <a:pt x="85" y="64"/>
                </a:lnTo>
                <a:lnTo>
                  <a:pt x="52" y="67"/>
                </a:lnTo>
                <a:lnTo>
                  <a:pt x="1" y="62"/>
                </a:lnTo>
                <a:lnTo>
                  <a:pt x="0" y="68"/>
                </a:lnTo>
                <a:lnTo>
                  <a:pt x="23" y="87"/>
                </a:lnTo>
                <a:lnTo>
                  <a:pt x="35" y="77"/>
                </a:lnTo>
                <a:lnTo>
                  <a:pt x="69" y="84"/>
                </a:lnTo>
                <a:lnTo>
                  <a:pt x="95" y="79"/>
                </a:lnTo>
                <a:lnTo>
                  <a:pt x="113" y="87"/>
                </a:lnTo>
                <a:close/>
              </a:path>
            </a:pathLst>
          </a:custGeom>
          <a:solidFill>
            <a:schemeClr val="accent1"/>
          </a:solidFill>
          <a:ln w="6350">
            <a:solidFill>
              <a:schemeClr val="tx2"/>
            </a:solidFill>
            <a:round/>
            <a:headEnd/>
            <a:tailEnd/>
          </a:ln>
        </p:spPr>
        <p:txBody>
          <a:bodyPr/>
          <a:lstStyle/>
          <a:p>
            <a:endParaRPr lang="en-US"/>
          </a:p>
        </p:txBody>
      </p:sp>
      <p:sp>
        <p:nvSpPr>
          <p:cNvPr id="143" name="Freeform 996"/>
          <p:cNvSpPr>
            <a:spLocks/>
          </p:cNvSpPr>
          <p:nvPr/>
        </p:nvSpPr>
        <p:spPr bwMode="auto">
          <a:xfrm>
            <a:off x="3967262" y="4110172"/>
            <a:ext cx="68800" cy="44578"/>
          </a:xfrm>
          <a:custGeom>
            <a:avLst/>
            <a:gdLst>
              <a:gd name="T0" fmla="*/ 2147483647 w 148"/>
              <a:gd name="T1" fmla="*/ 2147483647 h 104"/>
              <a:gd name="T2" fmla="*/ 2147483647 w 148"/>
              <a:gd name="T3" fmla="*/ 2147483647 h 104"/>
              <a:gd name="T4" fmla="*/ 2147483647 w 148"/>
              <a:gd name="T5" fmla="*/ 2147483647 h 104"/>
              <a:gd name="T6" fmla="*/ 2147483647 w 148"/>
              <a:gd name="T7" fmla="*/ 2147483647 h 104"/>
              <a:gd name="T8" fmla="*/ 2147483647 w 148"/>
              <a:gd name="T9" fmla="*/ 2147483647 h 104"/>
              <a:gd name="T10" fmla="*/ 2147483647 w 148"/>
              <a:gd name="T11" fmla="*/ 2147483647 h 104"/>
              <a:gd name="T12" fmla="*/ 2147483647 w 148"/>
              <a:gd name="T13" fmla="*/ 2147483647 h 104"/>
              <a:gd name="T14" fmla="*/ 2147483647 w 148"/>
              <a:gd name="T15" fmla="*/ 2147483647 h 104"/>
              <a:gd name="T16" fmla="*/ 2147483647 w 148"/>
              <a:gd name="T17" fmla="*/ 2147483647 h 104"/>
              <a:gd name="T18" fmla="*/ 2147483647 w 148"/>
              <a:gd name="T19" fmla="*/ 2147483647 h 104"/>
              <a:gd name="T20" fmla="*/ 2147483647 w 148"/>
              <a:gd name="T21" fmla="*/ 2147483647 h 104"/>
              <a:gd name="T22" fmla="*/ 2147483647 w 148"/>
              <a:gd name="T23" fmla="*/ 2147483647 h 104"/>
              <a:gd name="T24" fmla="*/ 2147483647 w 148"/>
              <a:gd name="T25" fmla="*/ 2147483647 h 104"/>
              <a:gd name="T26" fmla="*/ 2147483647 w 148"/>
              <a:gd name="T27" fmla="*/ 2147483647 h 104"/>
              <a:gd name="T28" fmla="*/ 2147483647 w 148"/>
              <a:gd name="T29" fmla="*/ 2147483647 h 104"/>
              <a:gd name="T30" fmla="*/ 2147483647 w 148"/>
              <a:gd name="T31" fmla="*/ 2147483647 h 104"/>
              <a:gd name="T32" fmla="*/ 2147483647 w 148"/>
              <a:gd name="T33" fmla="*/ 2147483647 h 104"/>
              <a:gd name="T34" fmla="*/ 2147483647 w 148"/>
              <a:gd name="T35" fmla="*/ 0 h 104"/>
              <a:gd name="T36" fmla="*/ 2147483647 w 148"/>
              <a:gd name="T37" fmla="*/ 2147483647 h 104"/>
              <a:gd name="T38" fmla="*/ 2147483647 w 148"/>
              <a:gd name="T39" fmla="*/ 2147483647 h 104"/>
              <a:gd name="T40" fmla="*/ 2147483647 w 148"/>
              <a:gd name="T41" fmla="*/ 2147483647 h 104"/>
              <a:gd name="T42" fmla="*/ 0 w 148"/>
              <a:gd name="T43" fmla="*/ 2147483647 h 104"/>
              <a:gd name="T44" fmla="*/ 2147483647 w 148"/>
              <a:gd name="T45" fmla="*/ 2147483647 h 104"/>
              <a:gd name="T46" fmla="*/ 2147483647 w 148"/>
              <a:gd name="T47" fmla="*/ 2147483647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8"/>
              <a:gd name="T73" fmla="*/ 0 h 104"/>
              <a:gd name="T74" fmla="*/ 148 w 148"/>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8" h="104">
                <a:moveTo>
                  <a:pt x="3" y="86"/>
                </a:moveTo>
                <a:lnTo>
                  <a:pt x="6" y="98"/>
                </a:lnTo>
                <a:lnTo>
                  <a:pt x="15" y="104"/>
                </a:lnTo>
                <a:lnTo>
                  <a:pt x="44" y="70"/>
                </a:lnTo>
                <a:lnTo>
                  <a:pt x="50" y="71"/>
                </a:lnTo>
                <a:lnTo>
                  <a:pt x="56" y="83"/>
                </a:lnTo>
                <a:lnTo>
                  <a:pt x="80" y="70"/>
                </a:lnTo>
                <a:lnTo>
                  <a:pt x="96" y="67"/>
                </a:lnTo>
                <a:lnTo>
                  <a:pt x="139" y="76"/>
                </a:lnTo>
                <a:lnTo>
                  <a:pt x="148" y="58"/>
                </a:lnTo>
                <a:lnTo>
                  <a:pt x="130" y="42"/>
                </a:lnTo>
                <a:lnTo>
                  <a:pt x="98" y="38"/>
                </a:lnTo>
                <a:lnTo>
                  <a:pt x="114" y="33"/>
                </a:lnTo>
                <a:lnTo>
                  <a:pt x="112" y="29"/>
                </a:lnTo>
                <a:lnTo>
                  <a:pt x="88" y="25"/>
                </a:lnTo>
                <a:lnTo>
                  <a:pt x="80" y="11"/>
                </a:lnTo>
                <a:lnTo>
                  <a:pt x="46" y="1"/>
                </a:lnTo>
                <a:lnTo>
                  <a:pt x="7" y="0"/>
                </a:lnTo>
                <a:lnTo>
                  <a:pt x="2" y="4"/>
                </a:lnTo>
                <a:lnTo>
                  <a:pt x="10" y="34"/>
                </a:lnTo>
                <a:lnTo>
                  <a:pt x="7" y="54"/>
                </a:lnTo>
                <a:lnTo>
                  <a:pt x="0" y="61"/>
                </a:lnTo>
                <a:lnTo>
                  <a:pt x="5" y="74"/>
                </a:lnTo>
                <a:lnTo>
                  <a:pt x="3" y="86"/>
                </a:lnTo>
                <a:close/>
              </a:path>
            </a:pathLst>
          </a:custGeom>
          <a:solidFill>
            <a:schemeClr val="accent1"/>
          </a:solidFill>
          <a:ln w="6350">
            <a:solidFill>
              <a:schemeClr val="tx2"/>
            </a:solidFill>
            <a:round/>
            <a:headEnd/>
            <a:tailEnd/>
          </a:ln>
        </p:spPr>
        <p:txBody>
          <a:bodyPr/>
          <a:lstStyle/>
          <a:p>
            <a:endParaRPr lang="en-US"/>
          </a:p>
        </p:txBody>
      </p:sp>
      <p:sp>
        <p:nvSpPr>
          <p:cNvPr id="144" name="Freeform 997"/>
          <p:cNvSpPr>
            <a:spLocks/>
          </p:cNvSpPr>
          <p:nvPr/>
        </p:nvSpPr>
        <p:spPr bwMode="auto">
          <a:xfrm>
            <a:off x="3740794" y="4299948"/>
            <a:ext cx="117533" cy="44577"/>
          </a:xfrm>
          <a:custGeom>
            <a:avLst/>
            <a:gdLst>
              <a:gd name="T0" fmla="*/ 2147483647 w 251"/>
              <a:gd name="T1" fmla="*/ 2147483647 h 105"/>
              <a:gd name="T2" fmla="*/ 2147483647 w 251"/>
              <a:gd name="T3" fmla="*/ 2147483647 h 105"/>
              <a:gd name="T4" fmla="*/ 2147483647 w 251"/>
              <a:gd name="T5" fmla="*/ 2147483647 h 105"/>
              <a:gd name="T6" fmla="*/ 2147483647 w 251"/>
              <a:gd name="T7" fmla="*/ 2147483647 h 105"/>
              <a:gd name="T8" fmla="*/ 2147483647 w 251"/>
              <a:gd name="T9" fmla="*/ 2147483647 h 105"/>
              <a:gd name="T10" fmla="*/ 2147483647 w 251"/>
              <a:gd name="T11" fmla="*/ 2147483647 h 105"/>
              <a:gd name="T12" fmla="*/ 2147483647 w 251"/>
              <a:gd name="T13" fmla="*/ 2147483647 h 105"/>
              <a:gd name="T14" fmla="*/ 2147483647 w 251"/>
              <a:gd name="T15" fmla="*/ 2147483647 h 105"/>
              <a:gd name="T16" fmla="*/ 2147483647 w 251"/>
              <a:gd name="T17" fmla="*/ 2147483647 h 105"/>
              <a:gd name="T18" fmla="*/ 2147483647 w 251"/>
              <a:gd name="T19" fmla="*/ 2147483647 h 105"/>
              <a:gd name="T20" fmla="*/ 2147483647 w 251"/>
              <a:gd name="T21" fmla="*/ 2147483647 h 105"/>
              <a:gd name="T22" fmla="*/ 2147483647 w 251"/>
              <a:gd name="T23" fmla="*/ 2147483647 h 105"/>
              <a:gd name="T24" fmla="*/ 2147483647 w 251"/>
              <a:gd name="T25" fmla="*/ 2147483647 h 105"/>
              <a:gd name="T26" fmla="*/ 2147483647 w 251"/>
              <a:gd name="T27" fmla="*/ 2147483647 h 105"/>
              <a:gd name="T28" fmla="*/ 2147483647 w 251"/>
              <a:gd name="T29" fmla="*/ 2147483647 h 105"/>
              <a:gd name="T30" fmla="*/ 2147483647 w 251"/>
              <a:gd name="T31" fmla="*/ 2147483647 h 105"/>
              <a:gd name="T32" fmla="*/ 2147483647 w 251"/>
              <a:gd name="T33" fmla="*/ 2147483647 h 105"/>
              <a:gd name="T34" fmla="*/ 2147483647 w 251"/>
              <a:gd name="T35" fmla="*/ 0 h 105"/>
              <a:gd name="T36" fmla="*/ 2147483647 w 251"/>
              <a:gd name="T37" fmla="*/ 0 h 105"/>
              <a:gd name="T38" fmla="*/ 2147483647 w 251"/>
              <a:gd name="T39" fmla="*/ 2147483647 h 105"/>
              <a:gd name="T40" fmla="*/ 2147483647 w 251"/>
              <a:gd name="T41" fmla="*/ 2147483647 h 105"/>
              <a:gd name="T42" fmla="*/ 2147483647 w 251"/>
              <a:gd name="T43" fmla="*/ 2147483647 h 105"/>
              <a:gd name="T44" fmla="*/ 2147483647 w 251"/>
              <a:gd name="T45" fmla="*/ 2147483647 h 105"/>
              <a:gd name="T46" fmla="*/ 0 w 251"/>
              <a:gd name="T47" fmla="*/ 2147483647 h 105"/>
              <a:gd name="T48" fmla="*/ 2147483647 w 251"/>
              <a:gd name="T49" fmla="*/ 2147483647 h 105"/>
              <a:gd name="T50" fmla="*/ 2147483647 w 251"/>
              <a:gd name="T51" fmla="*/ 2147483647 h 105"/>
              <a:gd name="T52" fmla="*/ 2147483647 w 251"/>
              <a:gd name="T53" fmla="*/ 2147483647 h 105"/>
              <a:gd name="T54" fmla="*/ 2147483647 w 251"/>
              <a:gd name="T55" fmla="*/ 2147483647 h 105"/>
              <a:gd name="T56" fmla="*/ 2147483647 w 251"/>
              <a:gd name="T57" fmla="*/ 2147483647 h 105"/>
              <a:gd name="T58" fmla="*/ 2147483647 w 251"/>
              <a:gd name="T59" fmla="*/ 2147483647 h 105"/>
              <a:gd name="T60" fmla="*/ 2147483647 w 251"/>
              <a:gd name="T61" fmla="*/ 2147483647 h 105"/>
              <a:gd name="T62" fmla="*/ 2147483647 w 251"/>
              <a:gd name="T63" fmla="*/ 2147483647 h 105"/>
              <a:gd name="T64" fmla="*/ 2147483647 w 251"/>
              <a:gd name="T65" fmla="*/ 2147483647 h 105"/>
              <a:gd name="T66" fmla="*/ 2147483647 w 251"/>
              <a:gd name="T67" fmla="*/ 2147483647 h 105"/>
              <a:gd name="T68" fmla="*/ 2147483647 w 251"/>
              <a:gd name="T69" fmla="*/ 2147483647 h 105"/>
              <a:gd name="T70" fmla="*/ 2147483647 w 251"/>
              <a:gd name="T71" fmla="*/ 2147483647 h 105"/>
              <a:gd name="T72" fmla="*/ 2147483647 w 251"/>
              <a:gd name="T73" fmla="*/ 2147483647 h 105"/>
              <a:gd name="T74" fmla="*/ 2147483647 w 251"/>
              <a:gd name="T75" fmla="*/ 2147483647 h 105"/>
              <a:gd name="T76" fmla="*/ 2147483647 w 251"/>
              <a:gd name="T77" fmla="*/ 2147483647 h 105"/>
              <a:gd name="T78" fmla="*/ 2147483647 w 251"/>
              <a:gd name="T79" fmla="*/ 2147483647 h 105"/>
              <a:gd name="T80" fmla="*/ 2147483647 w 251"/>
              <a:gd name="T81" fmla="*/ 2147483647 h 105"/>
              <a:gd name="T82" fmla="*/ 2147483647 w 251"/>
              <a:gd name="T83" fmla="*/ 2147483647 h 105"/>
              <a:gd name="T84" fmla="*/ 2147483647 w 251"/>
              <a:gd name="T85" fmla="*/ 2147483647 h 105"/>
              <a:gd name="T86" fmla="*/ 2147483647 w 251"/>
              <a:gd name="T87" fmla="*/ 2147483647 h 105"/>
              <a:gd name="T88" fmla="*/ 2147483647 w 251"/>
              <a:gd name="T89" fmla="*/ 2147483647 h 1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1"/>
              <a:gd name="T136" fmla="*/ 0 h 105"/>
              <a:gd name="T137" fmla="*/ 251 w 251"/>
              <a:gd name="T138" fmla="*/ 105 h 10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1" h="105">
                <a:moveTo>
                  <a:pt x="221" y="100"/>
                </a:moveTo>
                <a:lnTo>
                  <a:pt x="229" y="85"/>
                </a:lnTo>
                <a:lnTo>
                  <a:pt x="236" y="87"/>
                </a:lnTo>
                <a:lnTo>
                  <a:pt x="251" y="71"/>
                </a:lnTo>
                <a:lnTo>
                  <a:pt x="240" y="52"/>
                </a:lnTo>
                <a:lnTo>
                  <a:pt x="242" y="42"/>
                </a:lnTo>
                <a:lnTo>
                  <a:pt x="211" y="14"/>
                </a:lnTo>
                <a:lnTo>
                  <a:pt x="165" y="1"/>
                </a:lnTo>
                <a:lnTo>
                  <a:pt x="144" y="3"/>
                </a:lnTo>
                <a:lnTo>
                  <a:pt x="140" y="21"/>
                </a:lnTo>
                <a:lnTo>
                  <a:pt x="133" y="24"/>
                </a:lnTo>
                <a:lnTo>
                  <a:pt x="130" y="16"/>
                </a:lnTo>
                <a:lnTo>
                  <a:pt x="124" y="15"/>
                </a:lnTo>
                <a:lnTo>
                  <a:pt x="81" y="34"/>
                </a:lnTo>
                <a:lnTo>
                  <a:pt x="57" y="26"/>
                </a:lnTo>
                <a:lnTo>
                  <a:pt x="38" y="26"/>
                </a:lnTo>
                <a:lnTo>
                  <a:pt x="30" y="7"/>
                </a:lnTo>
                <a:lnTo>
                  <a:pt x="19" y="0"/>
                </a:lnTo>
                <a:lnTo>
                  <a:pt x="11" y="0"/>
                </a:lnTo>
                <a:lnTo>
                  <a:pt x="6" y="7"/>
                </a:lnTo>
                <a:lnTo>
                  <a:pt x="5" y="18"/>
                </a:lnTo>
                <a:lnTo>
                  <a:pt x="14" y="24"/>
                </a:lnTo>
                <a:lnTo>
                  <a:pt x="7" y="49"/>
                </a:lnTo>
                <a:lnTo>
                  <a:pt x="0" y="55"/>
                </a:lnTo>
                <a:lnTo>
                  <a:pt x="6" y="64"/>
                </a:lnTo>
                <a:lnTo>
                  <a:pt x="11" y="56"/>
                </a:lnTo>
                <a:lnTo>
                  <a:pt x="54" y="63"/>
                </a:lnTo>
                <a:lnTo>
                  <a:pt x="74" y="87"/>
                </a:lnTo>
                <a:lnTo>
                  <a:pt x="88" y="80"/>
                </a:lnTo>
                <a:lnTo>
                  <a:pt x="94" y="105"/>
                </a:lnTo>
                <a:lnTo>
                  <a:pt x="108" y="105"/>
                </a:lnTo>
                <a:lnTo>
                  <a:pt x="126" y="92"/>
                </a:lnTo>
                <a:lnTo>
                  <a:pt x="110" y="73"/>
                </a:lnTo>
                <a:lnTo>
                  <a:pt x="111" y="63"/>
                </a:lnTo>
                <a:lnTo>
                  <a:pt x="134" y="52"/>
                </a:lnTo>
                <a:lnTo>
                  <a:pt x="151" y="31"/>
                </a:lnTo>
                <a:lnTo>
                  <a:pt x="163" y="26"/>
                </a:lnTo>
                <a:lnTo>
                  <a:pt x="190" y="41"/>
                </a:lnTo>
                <a:lnTo>
                  <a:pt x="199" y="52"/>
                </a:lnTo>
                <a:lnTo>
                  <a:pt x="211" y="49"/>
                </a:lnTo>
                <a:lnTo>
                  <a:pt x="215" y="53"/>
                </a:lnTo>
                <a:lnTo>
                  <a:pt x="205" y="62"/>
                </a:lnTo>
                <a:lnTo>
                  <a:pt x="203" y="73"/>
                </a:lnTo>
                <a:lnTo>
                  <a:pt x="207" y="86"/>
                </a:lnTo>
                <a:lnTo>
                  <a:pt x="221" y="100"/>
                </a:lnTo>
                <a:close/>
              </a:path>
            </a:pathLst>
          </a:custGeom>
          <a:solidFill>
            <a:schemeClr val="accent1"/>
          </a:solidFill>
          <a:ln w="6350">
            <a:solidFill>
              <a:schemeClr val="tx2"/>
            </a:solidFill>
            <a:round/>
            <a:headEnd/>
            <a:tailEnd/>
          </a:ln>
        </p:spPr>
        <p:txBody>
          <a:bodyPr/>
          <a:lstStyle/>
          <a:p>
            <a:endParaRPr lang="en-US"/>
          </a:p>
        </p:txBody>
      </p:sp>
      <p:sp>
        <p:nvSpPr>
          <p:cNvPr id="145" name="Freeform 998"/>
          <p:cNvSpPr>
            <a:spLocks/>
          </p:cNvSpPr>
          <p:nvPr/>
        </p:nvSpPr>
        <p:spPr bwMode="auto">
          <a:xfrm>
            <a:off x="3597460" y="4213338"/>
            <a:ext cx="45867" cy="22926"/>
          </a:xfrm>
          <a:custGeom>
            <a:avLst/>
            <a:gdLst>
              <a:gd name="T0" fmla="*/ 0 w 98"/>
              <a:gd name="T1" fmla="*/ 2147483647 h 56"/>
              <a:gd name="T2" fmla="*/ 2147483647 w 98"/>
              <a:gd name="T3" fmla="*/ 2147483647 h 56"/>
              <a:gd name="T4" fmla="*/ 2147483647 w 98"/>
              <a:gd name="T5" fmla="*/ 2147483647 h 56"/>
              <a:gd name="T6" fmla="*/ 2147483647 w 98"/>
              <a:gd name="T7" fmla="*/ 0 h 56"/>
              <a:gd name="T8" fmla="*/ 2147483647 w 98"/>
              <a:gd name="T9" fmla="*/ 2147483647 h 56"/>
              <a:gd name="T10" fmla="*/ 2147483647 w 98"/>
              <a:gd name="T11" fmla="*/ 2147483647 h 56"/>
              <a:gd name="T12" fmla="*/ 2147483647 w 98"/>
              <a:gd name="T13" fmla="*/ 2147483647 h 56"/>
              <a:gd name="T14" fmla="*/ 2147483647 w 98"/>
              <a:gd name="T15" fmla="*/ 2147483647 h 56"/>
              <a:gd name="T16" fmla="*/ 2147483647 w 98"/>
              <a:gd name="T17" fmla="*/ 2147483647 h 56"/>
              <a:gd name="T18" fmla="*/ 2147483647 w 98"/>
              <a:gd name="T19" fmla="*/ 2147483647 h 56"/>
              <a:gd name="T20" fmla="*/ 2147483647 w 98"/>
              <a:gd name="T21" fmla="*/ 2147483647 h 56"/>
              <a:gd name="T22" fmla="*/ 2147483647 w 98"/>
              <a:gd name="T23" fmla="*/ 2147483647 h 56"/>
              <a:gd name="T24" fmla="*/ 2147483647 w 98"/>
              <a:gd name="T25" fmla="*/ 2147483647 h 56"/>
              <a:gd name="T26" fmla="*/ 0 w 98"/>
              <a:gd name="T27" fmla="*/ 2147483647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56"/>
              <a:gd name="T44" fmla="*/ 98 w 98"/>
              <a:gd name="T45" fmla="*/ 56 h 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56">
                <a:moveTo>
                  <a:pt x="0" y="31"/>
                </a:moveTo>
                <a:lnTo>
                  <a:pt x="5" y="21"/>
                </a:lnTo>
                <a:lnTo>
                  <a:pt x="20" y="12"/>
                </a:lnTo>
                <a:lnTo>
                  <a:pt x="26" y="0"/>
                </a:lnTo>
                <a:lnTo>
                  <a:pt x="40" y="3"/>
                </a:lnTo>
                <a:lnTo>
                  <a:pt x="67" y="24"/>
                </a:lnTo>
                <a:lnTo>
                  <a:pt x="83" y="21"/>
                </a:lnTo>
                <a:lnTo>
                  <a:pt x="92" y="25"/>
                </a:lnTo>
                <a:lnTo>
                  <a:pt x="96" y="30"/>
                </a:lnTo>
                <a:lnTo>
                  <a:pt x="98" y="46"/>
                </a:lnTo>
                <a:lnTo>
                  <a:pt x="81" y="56"/>
                </a:lnTo>
                <a:lnTo>
                  <a:pt x="60" y="55"/>
                </a:lnTo>
                <a:lnTo>
                  <a:pt x="16" y="41"/>
                </a:lnTo>
                <a:lnTo>
                  <a:pt x="0" y="31"/>
                </a:lnTo>
                <a:close/>
              </a:path>
            </a:pathLst>
          </a:custGeom>
          <a:solidFill>
            <a:schemeClr val="accent1"/>
          </a:solidFill>
          <a:ln w="6350">
            <a:solidFill>
              <a:schemeClr val="tx2"/>
            </a:solidFill>
            <a:round/>
            <a:headEnd/>
            <a:tailEnd/>
          </a:ln>
        </p:spPr>
        <p:txBody>
          <a:bodyPr/>
          <a:lstStyle/>
          <a:p>
            <a:endParaRPr lang="en-US"/>
          </a:p>
        </p:txBody>
      </p:sp>
      <p:sp>
        <p:nvSpPr>
          <p:cNvPr id="146" name="Freeform 999"/>
          <p:cNvSpPr>
            <a:spLocks/>
          </p:cNvSpPr>
          <p:nvPr/>
        </p:nvSpPr>
        <p:spPr bwMode="auto">
          <a:xfrm>
            <a:off x="3649061" y="4201875"/>
            <a:ext cx="87433" cy="77693"/>
          </a:xfrm>
          <a:custGeom>
            <a:avLst/>
            <a:gdLst>
              <a:gd name="T0" fmla="*/ 2147483647 w 183"/>
              <a:gd name="T1" fmla="*/ 2147483647 h 186"/>
              <a:gd name="T2" fmla="*/ 2147483647 w 183"/>
              <a:gd name="T3" fmla="*/ 2147483647 h 186"/>
              <a:gd name="T4" fmla="*/ 2147483647 w 183"/>
              <a:gd name="T5" fmla="*/ 2147483647 h 186"/>
              <a:gd name="T6" fmla="*/ 2147483647 w 183"/>
              <a:gd name="T7" fmla="*/ 2147483647 h 186"/>
              <a:gd name="T8" fmla="*/ 2147483647 w 183"/>
              <a:gd name="T9" fmla="*/ 2147483647 h 186"/>
              <a:gd name="T10" fmla="*/ 2147483647 w 183"/>
              <a:gd name="T11" fmla="*/ 2147483647 h 186"/>
              <a:gd name="T12" fmla="*/ 2147483647 w 183"/>
              <a:gd name="T13" fmla="*/ 2147483647 h 186"/>
              <a:gd name="T14" fmla="*/ 2147483647 w 183"/>
              <a:gd name="T15" fmla="*/ 2147483647 h 186"/>
              <a:gd name="T16" fmla="*/ 2147483647 w 183"/>
              <a:gd name="T17" fmla="*/ 2147483647 h 186"/>
              <a:gd name="T18" fmla="*/ 2147483647 w 183"/>
              <a:gd name="T19" fmla="*/ 2147483647 h 186"/>
              <a:gd name="T20" fmla="*/ 2147483647 w 183"/>
              <a:gd name="T21" fmla="*/ 2147483647 h 186"/>
              <a:gd name="T22" fmla="*/ 2147483647 w 183"/>
              <a:gd name="T23" fmla="*/ 0 h 186"/>
              <a:gd name="T24" fmla="*/ 2147483647 w 183"/>
              <a:gd name="T25" fmla="*/ 2147483647 h 186"/>
              <a:gd name="T26" fmla="*/ 2147483647 w 183"/>
              <a:gd name="T27" fmla="*/ 2147483647 h 186"/>
              <a:gd name="T28" fmla="*/ 2147483647 w 183"/>
              <a:gd name="T29" fmla="*/ 2147483647 h 186"/>
              <a:gd name="T30" fmla="*/ 2147483647 w 183"/>
              <a:gd name="T31" fmla="*/ 2147483647 h 186"/>
              <a:gd name="T32" fmla="*/ 2147483647 w 183"/>
              <a:gd name="T33" fmla="*/ 2147483647 h 186"/>
              <a:gd name="T34" fmla="*/ 2147483647 w 183"/>
              <a:gd name="T35" fmla="*/ 2147483647 h 186"/>
              <a:gd name="T36" fmla="*/ 2147483647 w 183"/>
              <a:gd name="T37" fmla="*/ 2147483647 h 186"/>
              <a:gd name="T38" fmla="*/ 2147483647 w 183"/>
              <a:gd name="T39" fmla="*/ 2147483647 h 186"/>
              <a:gd name="T40" fmla="*/ 2147483647 w 183"/>
              <a:gd name="T41" fmla="*/ 2147483647 h 186"/>
              <a:gd name="T42" fmla="*/ 2147483647 w 183"/>
              <a:gd name="T43" fmla="*/ 2147483647 h 186"/>
              <a:gd name="T44" fmla="*/ 2147483647 w 183"/>
              <a:gd name="T45" fmla="*/ 2147483647 h 186"/>
              <a:gd name="T46" fmla="*/ 2147483647 w 183"/>
              <a:gd name="T47" fmla="*/ 2147483647 h 186"/>
              <a:gd name="T48" fmla="*/ 0 w 183"/>
              <a:gd name="T49" fmla="*/ 2147483647 h 186"/>
              <a:gd name="T50" fmla="*/ 0 w 183"/>
              <a:gd name="T51" fmla="*/ 2147483647 h 186"/>
              <a:gd name="T52" fmla="*/ 2147483647 w 183"/>
              <a:gd name="T53" fmla="*/ 2147483647 h 1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83"/>
              <a:gd name="T82" fmla="*/ 0 h 186"/>
              <a:gd name="T83" fmla="*/ 183 w 183"/>
              <a:gd name="T84" fmla="*/ 186 h 1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83" h="186">
                <a:moveTo>
                  <a:pt x="78" y="174"/>
                </a:moveTo>
                <a:lnTo>
                  <a:pt x="86" y="170"/>
                </a:lnTo>
                <a:lnTo>
                  <a:pt x="111" y="178"/>
                </a:lnTo>
                <a:lnTo>
                  <a:pt x="128" y="176"/>
                </a:lnTo>
                <a:lnTo>
                  <a:pt x="147" y="186"/>
                </a:lnTo>
                <a:lnTo>
                  <a:pt x="167" y="180"/>
                </a:lnTo>
                <a:lnTo>
                  <a:pt x="160" y="158"/>
                </a:lnTo>
                <a:lnTo>
                  <a:pt x="165" y="142"/>
                </a:lnTo>
                <a:lnTo>
                  <a:pt x="171" y="65"/>
                </a:lnTo>
                <a:lnTo>
                  <a:pt x="181" y="34"/>
                </a:lnTo>
                <a:lnTo>
                  <a:pt x="183" y="1"/>
                </a:lnTo>
                <a:lnTo>
                  <a:pt x="174" y="0"/>
                </a:lnTo>
                <a:lnTo>
                  <a:pt x="141" y="18"/>
                </a:lnTo>
                <a:lnTo>
                  <a:pt x="127" y="17"/>
                </a:lnTo>
                <a:lnTo>
                  <a:pt x="118" y="10"/>
                </a:lnTo>
                <a:lnTo>
                  <a:pt x="104" y="33"/>
                </a:lnTo>
                <a:lnTo>
                  <a:pt x="96" y="34"/>
                </a:lnTo>
                <a:lnTo>
                  <a:pt x="78" y="50"/>
                </a:lnTo>
                <a:lnTo>
                  <a:pt x="61" y="43"/>
                </a:lnTo>
                <a:lnTo>
                  <a:pt x="53" y="57"/>
                </a:lnTo>
                <a:lnTo>
                  <a:pt x="36" y="57"/>
                </a:lnTo>
                <a:lnTo>
                  <a:pt x="34" y="75"/>
                </a:lnTo>
                <a:lnTo>
                  <a:pt x="22" y="88"/>
                </a:lnTo>
                <a:lnTo>
                  <a:pt x="9" y="88"/>
                </a:lnTo>
                <a:lnTo>
                  <a:pt x="0" y="88"/>
                </a:lnTo>
                <a:lnTo>
                  <a:pt x="0" y="95"/>
                </a:lnTo>
                <a:lnTo>
                  <a:pt x="78" y="174"/>
                </a:lnTo>
                <a:close/>
              </a:path>
            </a:pathLst>
          </a:custGeom>
          <a:solidFill>
            <a:schemeClr val="accent1"/>
          </a:solidFill>
          <a:ln w="6350">
            <a:solidFill>
              <a:schemeClr val="tx2"/>
            </a:solidFill>
            <a:round/>
            <a:headEnd/>
            <a:tailEnd/>
          </a:ln>
        </p:spPr>
        <p:txBody>
          <a:bodyPr/>
          <a:lstStyle/>
          <a:p>
            <a:endParaRPr lang="en-US"/>
          </a:p>
        </p:txBody>
      </p:sp>
      <p:sp>
        <p:nvSpPr>
          <p:cNvPr id="147" name="Freeform 1000"/>
          <p:cNvSpPr>
            <a:spLocks/>
          </p:cNvSpPr>
          <p:nvPr/>
        </p:nvSpPr>
        <p:spPr bwMode="auto">
          <a:xfrm>
            <a:off x="3611793" y="4185318"/>
            <a:ext cx="123267" cy="53493"/>
          </a:xfrm>
          <a:custGeom>
            <a:avLst/>
            <a:gdLst>
              <a:gd name="T0" fmla="*/ 2147483647 w 264"/>
              <a:gd name="T1" fmla="*/ 2147483647 h 129"/>
              <a:gd name="T2" fmla="*/ 2147483647 w 264"/>
              <a:gd name="T3" fmla="*/ 2147483647 h 129"/>
              <a:gd name="T4" fmla="*/ 2147483647 w 264"/>
              <a:gd name="T5" fmla="*/ 2147483647 h 129"/>
              <a:gd name="T6" fmla="*/ 2147483647 w 264"/>
              <a:gd name="T7" fmla="*/ 2147483647 h 129"/>
              <a:gd name="T8" fmla="*/ 2147483647 w 264"/>
              <a:gd name="T9" fmla="*/ 2147483647 h 129"/>
              <a:gd name="T10" fmla="*/ 2147483647 w 264"/>
              <a:gd name="T11" fmla="*/ 2147483647 h 129"/>
              <a:gd name="T12" fmla="*/ 2147483647 w 264"/>
              <a:gd name="T13" fmla="*/ 2147483647 h 129"/>
              <a:gd name="T14" fmla="*/ 2147483647 w 264"/>
              <a:gd name="T15" fmla="*/ 2147483647 h 129"/>
              <a:gd name="T16" fmla="*/ 2147483647 w 264"/>
              <a:gd name="T17" fmla="*/ 2147483647 h 129"/>
              <a:gd name="T18" fmla="*/ 2147483647 w 264"/>
              <a:gd name="T19" fmla="*/ 2147483647 h 129"/>
              <a:gd name="T20" fmla="*/ 2147483647 w 264"/>
              <a:gd name="T21" fmla="*/ 2147483647 h 129"/>
              <a:gd name="T22" fmla="*/ 2147483647 w 264"/>
              <a:gd name="T23" fmla="*/ 2147483647 h 129"/>
              <a:gd name="T24" fmla="*/ 2147483647 w 264"/>
              <a:gd name="T25" fmla="*/ 2147483647 h 129"/>
              <a:gd name="T26" fmla="*/ 2147483647 w 264"/>
              <a:gd name="T27" fmla="*/ 2147483647 h 129"/>
              <a:gd name="T28" fmla="*/ 2147483647 w 264"/>
              <a:gd name="T29" fmla="*/ 2147483647 h 129"/>
              <a:gd name="T30" fmla="*/ 2147483647 w 264"/>
              <a:gd name="T31" fmla="*/ 2147483647 h 129"/>
              <a:gd name="T32" fmla="*/ 2147483647 w 264"/>
              <a:gd name="T33" fmla="*/ 2147483647 h 129"/>
              <a:gd name="T34" fmla="*/ 2147483647 w 264"/>
              <a:gd name="T35" fmla="*/ 2147483647 h 129"/>
              <a:gd name="T36" fmla="*/ 2147483647 w 264"/>
              <a:gd name="T37" fmla="*/ 2147483647 h 129"/>
              <a:gd name="T38" fmla="*/ 2147483647 w 264"/>
              <a:gd name="T39" fmla="*/ 2147483647 h 129"/>
              <a:gd name="T40" fmla="*/ 2147483647 w 264"/>
              <a:gd name="T41" fmla="*/ 2147483647 h 129"/>
              <a:gd name="T42" fmla="*/ 0 w 264"/>
              <a:gd name="T43" fmla="*/ 2147483647 h 129"/>
              <a:gd name="T44" fmla="*/ 2147483647 w 264"/>
              <a:gd name="T45" fmla="*/ 2147483647 h 129"/>
              <a:gd name="T46" fmla="*/ 2147483647 w 264"/>
              <a:gd name="T47" fmla="*/ 2147483647 h 129"/>
              <a:gd name="T48" fmla="*/ 2147483647 w 264"/>
              <a:gd name="T49" fmla="*/ 2147483647 h 129"/>
              <a:gd name="T50" fmla="*/ 2147483647 w 264"/>
              <a:gd name="T51" fmla="*/ 2147483647 h 129"/>
              <a:gd name="T52" fmla="*/ 2147483647 w 264"/>
              <a:gd name="T53" fmla="*/ 2147483647 h 129"/>
              <a:gd name="T54" fmla="*/ 2147483647 w 264"/>
              <a:gd name="T55" fmla="*/ 2147483647 h 129"/>
              <a:gd name="T56" fmla="*/ 2147483647 w 264"/>
              <a:gd name="T57" fmla="*/ 0 h 129"/>
              <a:gd name="T58" fmla="*/ 2147483647 w 264"/>
              <a:gd name="T59" fmla="*/ 2147483647 h 129"/>
              <a:gd name="T60" fmla="*/ 2147483647 w 264"/>
              <a:gd name="T61" fmla="*/ 2147483647 h 129"/>
              <a:gd name="T62" fmla="*/ 2147483647 w 264"/>
              <a:gd name="T63" fmla="*/ 2147483647 h 129"/>
              <a:gd name="T64" fmla="*/ 2147483647 w 264"/>
              <a:gd name="T65" fmla="*/ 2147483647 h 129"/>
              <a:gd name="T66" fmla="*/ 2147483647 w 264"/>
              <a:gd name="T67" fmla="*/ 2147483647 h 1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4"/>
              <a:gd name="T103" fmla="*/ 0 h 129"/>
              <a:gd name="T104" fmla="*/ 264 w 264"/>
              <a:gd name="T105" fmla="*/ 129 h 12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4" h="129">
                <a:moveTo>
                  <a:pt x="264" y="42"/>
                </a:moveTo>
                <a:lnTo>
                  <a:pt x="255" y="41"/>
                </a:lnTo>
                <a:lnTo>
                  <a:pt x="222" y="59"/>
                </a:lnTo>
                <a:lnTo>
                  <a:pt x="208" y="58"/>
                </a:lnTo>
                <a:lnTo>
                  <a:pt x="199" y="51"/>
                </a:lnTo>
                <a:lnTo>
                  <a:pt x="185" y="74"/>
                </a:lnTo>
                <a:lnTo>
                  <a:pt x="177" y="75"/>
                </a:lnTo>
                <a:lnTo>
                  <a:pt x="159" y="91"/>
                </a:lnTo>
                <a:lnTo>
                  <a:pt x="142" y="84"/>
                </a:lnTo>
                <a:lnTo>
                  <a:pt x="134" y="98"/>
                </a:lnTo>
                <a:lnTo>
                  <a:pt x="117" y="98"/>
                </a:lnTo>
                <a:lnTo>
                  <a:pt x="115" y="116"/>
                </a:lnTo>
                <a:lnTo>
                  <a:pt x="103" y="129"/>
                </a:lnTo>
                <a:lnTo>
                  <a:pt x="90" y="129"/>
                </a:lnTo>
                <a:lnTo>
                  <a:pt x="82" y="115"/>
                </a:lnTo>
                <a:lnTo>
                  <a:pt x="72" y="113"/>
                </a:lnTo>
                <a:lnTo>
                  <a:pt x="70" y="97"/>
                </a:lnTo>
                <a:lnTo>
                  <a:pt x="66" y="92"/>
                </a:lnTo>
                <a:lnTo>
                  <a:pt x="57" y="88"/>
                </a:lnTo>
                <a:lnTo>
                  <a:pt x="41" y="91"/>
                </a:lnTo>
                <a:lnTo>
                  <a:pt x="14" y="70"/>
                </a:lnTo>
                <a:lnTo>
                  <a:pt x="0" y="67"/>
                </a:lnTo>
                <a:lnTo>
                  <a:pt x="10" y="58"/>
                </a:lnTo>
                <a:lnTo>
                  <a:pt x="8" y="45"/>
                </a:lnTo>
                <a:lnTo>
                  <a:pt x="44" y="19"/>
                </a:lnTo>
                <a:lnTo>
                  <a:pt x="46" y="9"/>
                </a:lnTo>
                <a:lnTo>
                  <a:pt x="72" y="6"/>
                </a:lnTo>
                <a:lnTo>
                  <a:pt x="115" y="8"/>
                </a:lnTo>
                <a:lnTo>
                  <a:pt x="156" y="0"/>
                </a:lnTo>
                <a:lnTo>
                  <a:pt x="164" y="3"/>
                </a:lnTo>
                <a:lnTo>
                  <a:pt x="188" y="1"/>
                </a:lnTo>
                <a:lnTo>
                  <a:pt x="229" y="12"/>
                </a:lnTo>
                <a:lnTo>
                  <a:pt x="256" y="29"/>
                </a:lnTo>
                <a:lnTo>
                  <a:pt x="264" y="42"/>
                </a:lnTo>
                <a:close/>
              </a:path>
            </a:pathLst>
          </a:custGeom>
          <a:solidFill>
            <a:schemeClr val="accent1"/>
          </a:solidFill>
          <a:ln w="6350">
            <a:solidFill>
              <a:schemeClr val="tx2"/>
            </a:solidFill>
            <a:round/>
            <a:headEnd/>
            <a:tailEnd/>
          </a:ln>
        </p:spPr>
        <p:txBody>
          <a:bodyPr/>
          <a:lstStyle/>
          <a:p>
            <a:endParaRPr lang="en-US"/>
          </a:p>
        </p:txBody>
      </p:sp>
      <p:sp>
        <p:nvSpPr>
          <p:cNvPr id="148" name="Freeform 1001"/>
          <p:cNvSpPr>
            <a:spLocks/>
          </p:cNvSpPr>
          <p:nvPr/>
        </p:nvSpPr>
        <p:spPr bwMode="auto">
          <a:xfrm>
            <a:off x="3683461" y="4273200"/>
            <a:ext cx="65933" cy="50947"/>
          </a:xfrm>
          <a:custGeom>
            <a:avLst/>
            <a:gdLst>
              <a:gd name="T0" fmla="*/ 2147483647 w 141"/>
              <a:gd name="T1" fmla="*/ 2147483647 h 122"/>
              <a:gd name="T2" fmla="*/ 2147483647 w 141"/>
              <a:gd name="T3" fmla="*/ 2147483647 h 122"/>
              <a:gd name="T4" fmla="*/ 2147483647 w 141"/>
              <a:gd name="T5" fmla="*/ 2147483647 h 122"/>
              <a:gd name="T6" fmla="*/ 2147483647 w 141"/>
              <a:gd name="T7" fmla="*/ 2147483647 h 122"/>
              <a:gd name="T8" fmla="*/ 2147483647 w 141"/>
              <a:gd name="T9" fmla="*/ 2147483647 h 122"/>
              <a:gd name="T10" fmla="*/ 2147483647 w 141"/>
              <a:gd name="T11" fmla="*/ 2147483647 h 122"/>
              <a:gd name="T12" fmla="*/ 2147483647 w 141"/>
              <a:gd name="T13" fmla="*/ 2147483647 h 122"/>
              <a:gd name="T14" fmla="*/ 2147483647 w 141"/>
              <a:gd name="T15" fmla="*/ 2147483647 h 122"/>
              <a:gd name="T16" fmla="*/ 2147483647 w 141"/>
              <a:gd name="T17" fmla="*/ 2147483647 h 122"/>
              <a:gd name="T18" fmla="*/ 2147483647 w 141"/>
              <a:gd name="T19" fmla="*/ 2147483647 h 122"/>
              <a:gd name="T20" fmla="*/ 2147483647 w 141"/>
              <a:gd name="T21" fmla="*/ 2147483647 h 122"/>
              <a:gd name="T22" fmla="*/ 2147483647 w 141"/>
              <a:gd name="T23" fmla="*/ 2147483647 h 122"/>
              <a:gd name="T24" fmla="*/ 2147483647 w 141"/>
              <a:gd name="T25" fmla="*/ 0 h 122"/>
              <a:gd name="T26" fmla="*/ 2147483647 w 141"/>
              <a:gd name="T27" fmla="*/ 2147483647 h 122"/>
              <a:gd name="T28" fmla="*/ 0 w 141"/>
              <a:gd name="T29" fmla="*/ 2147483647 h 122"/>
              <a:gd name="T30" fmla="*/ 2147483647 w 141"/>
              <a:gd name="T31" fmla="*/ 2147483647 h 122"/>
              <a:gd name="T32" fmla="*/ 2147483647 w 141"/>
              <a:gd name="T33" fmla="*/ 2147483647 h 122"/>
              <a:gd name="T34" fmla="*/ 2147483647 w 141"/>
              <a:gd name="T35" fmla="*/ 2147483647 h 122"/>
              <a:gd name="T36" fmla="*/ 2147483647 w 141"/>
              <a:gd name="T37" fmla="*/ 2147483647 h 122"/>
              <a:gd name="T38" fmla="*/ 2147483647 w 141"/>
              <a:gd name="T39" fmla="*/ 2147483647 h 122"/>
              <a:gd name="T40" fmla="*/ 2147483647 w 141"/>
              <a:gd name="T41" fmla="*/ 2147483647 h 122"/>
              <a:gd name="T42" fmla="*/ 2147483647 w 141"/>
              <a:gd name="T43" fmla="*/ 2147483647 h 122"/>
              <a:gd name="T44" fmla="*/ 2147483647 w 141"/>
              <a:gd name="T45" fmla="*/ 2147483647 h 122"/>
              <a:gd name="T46" fmla="*/ 2147483647 w 141"/>
              <a:gd name="T47" fmla="*/ 2147483647 h 122"/>
              <a:gd name="T48" fmla="*/ 2147483647 w 141"/>
              <a:gd name="T49" fmla="*/ 2147483647 h 122"/>
              <a:gd name="T50" fmla="*/ 2147483647 w 141"/>
              <a:gd name="T51" fmla="*/ 2147483647 h 122"/>
              <a:gd name="T52" fmla="*/ 2147483647 w 141"/>
              <a:gd name="T53" fmla="*/ 2147483647 h 12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1"/>
              <a:gd name="T82" fmla="*/ 0 h 122"/>
              <a:gd name="T83" fmla="*/ 141 w 141"/>
              <a:gd name="T84" fmla="*/ 122 h 12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1" h="122">
                <a:moveTo>
                  <a:pt x="122" y="122"/>
                </a:moveTo>
                <a:lnTo>
                  <a:pt x="129" y="116"/>
                </a:lnTo>
                <a:lnTo>
                  <a:pt x="136" y="91"/>
                </a:lnTo>
                <a:lnTo>
                  <a:pt x="127" y="85"/>
                </a:lnTo>
                <a:lnTo>
                  <a:pt x="128" y="74"/>
                </a:lnTo>
                <a:lnTo>
                  <a:pt x="133" y="67"/>
                </a:lnTo>
                <a:lnTo>
                  <a:pt x="141" y="67"/>
                </a:lnTo>
                <a:lnTo>
                  <a:pt x="110" y="41"/>
                </a:lnTo>
                <a:lnTo>
                  <a:pt x="94" y="10"/>
                </a:lnTo>
                <a:lnTo>
                  <a:pt x="74" y="16"/>
                </a:lnTo>
                <a:lnTo>
                  <a:pt x="55" y="6"/>
                </a:lnTo>
                <a:lnTo>
                  <a:pt x="38" y="8"/>
                </a:lnTo>
                <a:lnTo>
                  <a:pt x="13" y="0"/>
                </a:lnTo>
                <a:lnTo>
                  <a:pt x="5" y="4"/>
                </a:lnTo>
                <a:lnTo>
                  <a:pt x="0" y="31"/>
                </a:lnTo>
                <a:lnTo>
                  <a:pt x="9" y="51"/>
                </a:lnTo>
                <a:lnTo>
                  <a:pt x="35" y="66"/>
                </a:lnTo>
                <a:lnTo>
                  <a:pt x="38" y="54"/>
                </a:lnTo>
                <a:lnTo>
                  <a:pt x="30" y="48"/>
                </a:lnTo>
                <a:lnTo>
                  <a:pt x="39" y="47"/>
                </a:lnTo>
                <a:lnTo>
                  <a:pt x="59" y="71"/>
                </a:lnTo>
                <a:lnTo>
                  <a:pt x="92" y="89"/>
                </a:lnTo>
                <a:lnTo>
                  <a:pt x="95" y="112"/>
                </a:lnTo>
                <a:lnTo>
                  <a:pt x="108" y="118"/>
                </a:lnTo>
                <a:lnTo>
                  <a:pt x="105" y="107"/>
                </a:lnTo>
                <a:lnTo>
                  <a:pt x="110" y="106"/>
                </a:lnTo>
                <a:lnTo>
                  <a:pt x="122" y="122"/>
                </a:lnTo>
                <a:close/>
              </a:path>
            </a:pathLst>
          </a:custGeom>
          <a:solidFill>
            <a:schemeClr val="accent1"/>
          </a:solidFill>
          <a:ln w="6350">
            <a:solidFill>
              <a:schemeClr val="tx2"/>
            </a:solidFill>
            <a:round/>
            <a:headEnd/>
            <a:tailEnd/>
          </a:ln>
        </p:spPr>
        <p:txBody>
          <a:bodyPr/>
          <a:lstStyle/>
          <a:p>
            <a:endParaRPr lang="en-US"/>
          </a:p>
        </p:txBody>
      </p:sp>
      <p:sp>
        <p:nvSpPr>
          <p:cNvPr id="149" name="Freeform 1002"/>
          <p:cNvSpPr>
            <a:spLocks/>
          </p:cNvSpPr>
          <p:nvPr/>
        </p:nvSpPr>
        <p:spPr bwMode="auto">
          <a:xfrm>
            <a:off x="3611793" y="4138193"/>
            <a:ext cx="25800" cy="47126"/>
          </a:xfrm>
          <a:custGeom>
            <a:avLst/>
            <a:gdLst>
              <a:gd name="T0" fmla="*/ 2147483647 w 49"/>
              <a:gd name="T1" fmla="*/ 2147483647 h 113"/>
              <a:gd name="T2" fmla="*/ 0 w 49"/>
              <a:gd name="T3" fmla="*/ 2147483647 h 113"/>
              <a:gd name="T4" fmla="*/ 2147483647 w 49"/>
              <a:gd name="T5" fmla="*/ 2147483647 h 113"/>
              <a:gd name="T6" fmla="*/ 2147483647 w 49"/>
              <a:gd name="T7" fmla="*/ 2147483647 h 113"/>
              <a:gd name="T8" fmla="*/ 2147483647 w 49"/>
              <a:gd name="T9" fmla="*/ 2147483647 h 113"/>
              <a:gd name="T10" fmla="*/ 2147483647 w 49"/>
              <a:gd name="T11" fmla="*/ 0 h 113"/>
              <a:gd name="T12" fmla="*/ 2147483647 w 49"/>
              <a:gd name="T13" fmla="*/ 2147483647 h 113"/>
              <a:gd name="T14" fmla="*/ 2147483647 w 49"/>
              <a:gd name="T15" fmla="*/ 2147483647 h 113"/>
              <a:gd name="T16" fmla="*/ 2147483647 w 49"/>
              <a:gd name="T17" fmla="*/ 2147483647 h 113"/>
              <a:gd name="T18" fmla="*/ 2147483647 w 49"/>
              <a:gd name="T19" fmla="*/ 2147483647 h 113"/>
              <a:gd name="T20" fmla="*/ 2147483647 w 49"/>
              <a:gd name="T21" fmla="*/ 2147483647 h 113"/>
              <a:gd name="T22" fmla="*/ 2147483647 w 49"/>
              <a:gd name="T23" fmla="*/ 2147483647 h 1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113"/>
              <a:gd name="T38" fmla="*/ 49 w 49"/>
              <a:gd name="T39" fmla="*/ 113 h 1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113">
                <a:moveTo>
                  <a:pt x="16" y="113"/>
                </a:moveTo>
                <a:lnTo>
                  <a:pt x="0" y="111"/>
                </a:lnTo>
                <a:lnTo>
                  <a:pt x="3" y="26"/>
                </a:lnTo>
                <a:lnTo>
                  <a:pt x="18" y="24"/>
                </a:lnTo>
                <a:lnTo>
                  <a:pt x="29" y="2"/>
                </a:lnTo>
                <a:lnTo>
                  <a:pt x="37" y="0"/>
                </a:lnTo>
                <a:lnTo>
                  <a:pt x="49" y="9"/>
                </a:lnTo>
                <a:lnTo>
                  <a:pt x="42" y="32"/>
                </a:lnTo>
                <a:lnTo>
                  <a:pt x="41" y="69"/>
                </a:lnTo>
                <a:lnTo>
                  <a:pt x="36" y="86"/>
                </a:lnTo>
                <a:lnTo>
                  <a:pt x="17" y="103"/>
                </a:lnTo>
                <a:lnTo>
                  <a:pt x="16" y="113"/>
                </a:lnTo>
                <a:close/>
              </a:path>
            </a:pathLst>
          </a:custGeom>
          <a:solidFill>
            <a:schemeClr val="accent1"/>
          </a:solidFill>
          <a:ln w="6350">
            <a:solidFill>
              <a:schemeClr val="tx2"/>
            </a:solidFill>
            <a:round/>
            <a:headEnd/>
            <a:tailEnd/>
          </a:ln>
        </p:spPr>
        <p:txBody>
          <a:bodyPr/>
          <a:lstStyle/>
          <a:p>
            <a:endParaRPr lang="en-US"/>
          </a:p>
        </p:txBody>
      </p:sp>
      <p:sp>
        <p:nvSpPr>
          <p:cNvPr id="150" name="Freeform 1036"/>
          <p:cNvSpPr>
            <a:spLocks/>
          </p:cNvSpPr>
          <p:nvPr/>
        </p:nvSpPr>
        <p:spPr bwMode="auto">
          <a:xfrm>
            <a:off x="3829661" y="3968796"/>
            <a:ext cx="20066" cy="5095"/>
          </a:xfrm>
          <a:custGeom>
            <a:avLst/>
            <a:gdLst>
              <a:gd name="T0" fmla="*/ 2147483647 w 46"/>
              <a:gd name="T1" fmla="*/ 0 h 11"/>
              <a:gd name="T2" fmla="*/ 2147483647 w 46"/>
              <a:gd name="T3" fmla="*/ 2147483647 h 11"/>
              <a:gd name="T4" fmla="*/ 2147483647 w 46"/>
              <a:gd name="T5" fmla="*/ 2147483647 h 11"/>
              <a:gd name="T6" fmla="*/ 2147483647 w 46"/>
              <a:gd name="T7" fmla="*/ 2147483647 h 11"/>
              <a:gd name="T8" fmla="*/ 2147483647 w 46"/>
              <a:gd name="T9" fmla="*/ 2147483647 h 11"/>
              <a:gd name="T10" fmla="*/ 0 w 46"/>
              <a:gd name="T11" fmla="*/ 2147483647 h 11"/>
              <a:gd name="T12" fmla="*/ 2147483647 w 46"/>
              <a:gd name="T13" fmla="*/ 0 h 11"/>
              <a:gd name="T14" fmla="*/ 0 60000 65536"/>
              <a:gd name="T15" fmla="*/ 0 60000 65536"/>
              <a:gd name="T16" fmla="*/ 0 60000 65536"/>
              <a:gd name="T17" fmla="*/ 0 60000 65536"/>
              <a:gd name="T18" fmla="*/ 0 60000 65536"/>
              <a:gd name="T19" fmla="*/ 0 60000 65536"/>
              <a:gd name="T20" fmla="*/ 0 60000 65536"/>
              <a:gd name="T21" fmla="*/ 0 w 46"/>
              <a:gd name="T22" fmla="*/ 0 h 11"/>
              <a:gd name="T23" fmla="*/ 46 w 46"/>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11">
                <a:moveTo>
                  <a:pt x="40" y="0"/>
                </a:moveTo>
                <a:lnTo>
                  <a:pt x="46" y="11"/>
                </a:lnTo>
                <a:lnTo>
                  <a:pt x="38" y="5"/>
                </a:lnTo>
                <a:lnTo>
                  <a:pt x="13" y="11"/>
                </a:lnTo>
                <a:lnTo>
                  <a:pt x="3" y="11"/>
                </a:lnTo>
                <a:lnTo>
                  <a:pt x="0" y="5"/>
                </a:lnTo>
                <a:lnTo>
                  <a:pt x="40" y="0"/>
                </a:lnTo>
                <a:close/>
              </a:path>
            </a:pathLst>
          </a:custGeom>
          <a:solidFill>
            <a:schemeClr val="accent1"/>
          </a:solidFill>
          <a:ln w="6350">
            <a:solidFill>
              <a:schemeClr val="tx2"/>
            </a:solidFill>
            <a:round/>
            <a:headEnd/>
            <a:tailEnd/>
          </a:ln>
        </p:spPr>
        <p:txBody>
          <a:bodyPr/>
          <a:lstStyle/>
          <a:p>
            <a:endParaRPr lang="en-US"/>
          </a:p>
        </p:txBody>
      </p:sp>
      <p:sp>
        <p:nvSpPr>
          <p:cNvPr id="151" name="Freeform 1037"/>
          <p:cNvSpPr>
            <a:spLocks/>
          </p:cNvSpPr>
          <p:nvPr/>
        </p:nvSpPr>
        <p:spPr bwMode="auto">
          <a:xfrm>
            <a:off x="3862627" y="3973891"/>
            <a:ext cx="4300" cy="12737"/>
          </a:xfrm>
          <a:custGeom>
            <a:avLst/>
            <a:gdLst>
              <a:gd name="T0" fmla="*/ 2147483647 w 10"/>
              <a:gd name="T1" fmla="*/ 2147483647 h 31"/>
              <a:gd name="T2" fmla="*/ 2147483647 w 10"/>
              <a:gd name="T3" fmla="*/ 2147483647 h 31"/>
              <a:gd name="T4" fmla="*/ 0 w 10"/>
              <a:gd name="T5" fmla="*/ 2147483647 h 31"/>
              <a:gd name="T6" fmla="*/ 2147483647 w 10"/>
              <a:gd name="T7" fmla="*/ 2147483647 h 31"/>
              <a:gd name="T8" fmla="*/ 2147483647 w 10"/>
              <a:gd name="T9" fmla="*/ 0 h 31"/>
              <a:gd name="T10" fmla="*/ 2147483647 w 10"/>
              <a:gd name="T11" fmla="*/ 2147483647 h 31"/>
              <a:gd name="T12" fmla="*/ 0 60000 65536"/>
              <a:gd name="T13" fmla="*/ 0 60000 65536"/>
              <a:gd name="T14" fmla="*/ 0 60000 65536"/>
              <a:gd name="T15" fmla="*/ 0 60000 65536"/>
              <a:gd name="T16" fmla="*/ 0 60000 65536"/>
              <a:gd name="T17" fmla="*/ 0 60000 65536"/>
              <a:gd name="T18" fmla="*/ 0 w 10"/>
              <a:gd name="T19" fmla="*/ 0 h 31"/>
              <a:gd name="T20" fmla="*/ 10 w 10"/>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0" h="31">
                <a:moveTo>
                  <a:pt x="10" y="11"/>
                </a:moveTo>
                <a:lnTo>
                  <a:pt x="5" y="31"/>
                </a:lnTo>
                <a:lnTo>
                  <a:pt x="0" y="23"/>
                </a:lnTo>
                <a:lnTo>
                  <a:pt x="2" y="12"/>
                </a:lnTo>
                <a:lnTo>
                  <a:pt x="7" y="0"/>
                </a:lnTo>
                <a:lnTo>
                  <a:pt x="10" y="11"/>
                </a:lnTo>
                <a:close/>
              </a:path>
            </a:pathLst>
          </a:custGeom>
          <a:solidFill>
            <a:schemeClr val="accent1"/>
          </a:solidFill>
          <a:ln w="6350">
            <a:solidFill>
              <a:schemeClr val="tx2"/>
            </a:solidFill>
            <a:round/>
            <a:headEnd/>
            <a:tailEnd/>
          </a:ln>
        </p:spPr>
        <p:txBody>
          <a:bodyPr/>
          <a:lstStyle/>
          <a:p>
            <a:endParaRPr lang="en-US"/>
          </a:p>
        </p:txBody>
      </p:sp>
      <p:sp>
        <p:nvSpPr>
          <p:cNvPr id="152" name="Freeform 1038"/>
          <p:cNvSpPr>
            <a:spLocks/>
          </p:cNvSpPr>
          <p:nvPr/>
        </p:nvSpPr>
        <p:spPr bwMode="auto">
          <a:xfrm>
            <a:off x="3858327" y="4003185"/>
            <a:ext cx="5734" cy="2547"/>
          </a:xfrm>
          <a:custGeom>
            <a:avLst/>
            <a:gdLst>
              <a:gd name="T0" fmla="*/ 2147483647 w 10"/>
              <a:gd name="T1" fmla="*/ 2147483647 h 4"/>
              <a:gd name="T2" fmla="*/ 2147483647 w 10"/>
              <a:gd name="T3" fmla="*/ 0 h 4"/>
              <a:gd name="T4" fmla="*/ 2147483647 w 10"/>
              <a:gd name="T5" fmla="*/ 0 h 4"/>
              <a:gd name="T6" fmla="*/ 0 w 10"/>
              <a:gd name="T7" fmla="*/ 2147483647 h 4"/>
              <a:gd name="T8" fmla="*/ 2147483647 w 10"/>
              <a:gd name="T9" fmla="*/ 2147483647 h 4"/>
              <a:gd name="T10" fmla="*/ 0 60000 65536"/>
              <a:gd name="T11" fmla="*/ 0 60000 65536"/>
              <a:gd name="T12" fmla="*/ 0 60000 65536"/>
              <a:gd name="T13" fmla="*/ 0 60000 65536"/>
              <a:gd name="T14" fmla="*/ 0 60000 65536"/>
              <a:gd name="T15" fmla="*/ 0 w 10"/>
              <a:gd name="T16" fmla="*/ 0 h 4"/>
              <a:gd name="T17" fmla="*/ 10 w 10"/>
              <a:gd name="T18" fmla="*/ 4 h 4"/>
            </a:gdLst>
            <a:ahLst/>
            <a:cxnLst>
              <a:cxn ang="T10">
                <a:pos x="T0" y="T1"/>
              </a:cxn>
              <a:cxn ang="T11">
                <a:pos x="T2" y="T3"/>
              </a:cxn>
              <a:cxn ang="T12">
                <a:pos x="T4" y="T5"/>
              </a:cxn>
              <a:cxn ang="T13">
                <a:pos x="T6" y="T7"/>
              </a:cxn>
              <a:cxn ang="T14">
                <a:pos x="T8" y="T9"/>
              </a:cxn>
            </a:cxnLst>
            <a:rect l="T15" t="T16" r="T17" b="T18"/>
            <a:pathLst>
              <a:path w="10" h="4">
                <a:moveTo>
                  <a:pt x="8" y="3"/>
                </a:moveTo>
                <a:lnTo>
                  <a:pt x="10" y="0"/>
                </a:lnTo>
                <a:lnTo>
                  <a:pt x="7" y="0"/>
                </a:lnTo>
                <a:lnTo>
                  <a:pt x="0" y="4"/>
                </a:lnTo>
                <a:lnTo>
                  <a:pt x="8" y="3"/>
                </a:lnTo>
                <a:close/>
              </a:path>
            </a:pathLst>
          </a:custGeom>
          <a:solidFill>
            <a:schemeClr val="accent1"/>
          </a:solidFill>
          <a:ln w="6350">
            <a:solidFill>
              <a:schemeClr val="tx2"/>
            </a:solidFill>
            <a:round/>
            <a:headEnd/>
            <a:tailEnd/>
          </a:ln>
        </p:spPr>
        <p:txBody>
          <a:bodyPr/>
          <a:lstStyle/>
          <a:p>
            <a:endParaRPr lang="en-US"/>
          </a:p>
        </p:txBody>
      </p:sp>
      <p:sp>
        <p:nvSpPr>
          <p:cNvPr id="153" name="Freeform 1039"/>
          <p:cNvSpPr>
            <a:spLocks/>
          </p:cNvSpPr>
          <p:nvPr/>
        </p:nvSpPr>
        <p:spPr bwMode="auto">
          <a:xfrm>
            <a:off x="3841128" y="4001912"/>
            <a:ext cx="11467" cy="15284"/>
          </a:xfrm>
          <a:custGeom>
            <a:avLst/>
            <a:gdLst>
              <a:gd name="T0" fmla="*/ 2147483647 w 24"/>
              <a:gd name="T1" fmla="*/ 2147483647 h 39"/>
              <a:gd name="T2" fmla="*/ 2147483647 w 24"/>
              <a:gd name="T3" fmla="*/ 2147483647 h 39"/>
              <a:gd name="T4" fmla="*/ 2147483647 w 24"/>
              <a:gd name="T5" fmla="*/ 2147483647 h 39"/>
              <a:gd name="T6" fmla="*/ 2147483647 w 24"/>
              <a:gd name="T7" fmla="*/ 2147483647 h 39"/>
              <a:gd name="T8" fmla="*/ 0 w 24"/>
              <a:gd name="T9" fmla="*/ 2147483647 h 39"/>
              <a:gd name="T10" fmla="*/ 2147483647 w 24"/>
              <a:gd name="T11" fmla="*/ 2147483647 h 39"/>
              <a:gd name="T12" fmla="*/ 2147483647 w 24"/>
              <a:gd name="T13" fmla="*/ 0 h 39"/>
              <a:gd name="T14" fmla="*/ 2147483647 w 24"/>
              <a:gd name="T15" fmla="*/ 2147483647 h 39"/>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39"/>
              <a:gd name="T26" fmla="*/ 24 w 2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39">
                <a:moveTo>
                  <a:pt x="13" y="6"/>
                </a:moveTo>
                <a:lnTo>
                  <a:pt x="24" y="22"/>
                </a:lnTo>
                <a:lnTo>
                  <a:pt x="20" y="39"/>
                </a:lnTo>
                <a:lnTo>
                  <a:pt x="14" y="39"/>
                </a:lnTo>
                <a:lnTo>
                  <a:pt x="0" y="22"/>
                </a:lnTo>
                <a:lnTo>
                  <a:pt x="5" y="1"/>
                </a:lnTo>
                <a:lnTo>
                  <a:pt x="11" y="0"/>
                </a:lnTo>
                <a:lnTo>
                  <a:pt x="13" y="6"/>
                </a:lnTo>
                <a:close/>
              </a:path>
            </a:pathLst>
          </a:custGeom>
          <a:solidFill>
            <a:schemeClr val="accent1"/>
          </a:solidFill>
          <a:ln w="6350">
            <a:solidFill>
              <a:schemeClr val="tx2"/>
            </a:solidFill>
            <a:round/>
            <a:headEnd/>
            <a:tailEnd/>
          </a:ln>
        </p:spPr>
        <p:txBody>
          <a:bodyPr/>
          <a:lstStyle/>
          <a:p>
            <a:endParaRPr lang="en-US"/>
          </a:p>
        </p:txBody>
      </p:sp>
      <p:sp>
        <p:nvSpPr>
          <p:cNvPr id="154" name="Freeform 1040"/>
          <p:cNvSpPr>
            <a:spLocks/>
          </p:cNvSpPr>
          <p:nvPr/>
        </p:nvSpPr>
        <p:spPr bwMode="auto">
          <a:xfrm>
            <a:off x="3851160" y="4018469"/>
            <a:ext cx="4300" cy="3821"/>
          </a:xfrm>
          <a:custGeom>
            <a:avLst/>
            <a:gdLst>
              <a:gd name="T0" fmla="*/ 2147483647 w 9"/>
              <a:gd name="T1" fmla="*/ 0 h 11"/>
              <a:gd name="T2" fmla="*/ 0 w 9"/>
              <a:gd name="T3" fmla="*/ 2147483647 h 11"/>
              <a:gd name="T4" fmla="*/ 2147483647 w 9"/>
              <a:gd name="T5" fmla="*/ 2147483647 h 11"/>
              <a:gd name="T6" fmla="*/ 2147483647 w 9"/>
              <a:gd name="T7" fmla="*/ 0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5" y="0"/>
                </a:moveTo>
                <a:lnTo>
                  <a:pt x="0" y="11"/>
                </a:lnTo>
                <a:lnTo>
                  <a:pt x="9" y="1"/>
                </a:lnTo>
                <a:lnTo>
                  <a:pt x="5" y="0"/>
                </a:lnTo>
                <a:close/>
              </a:path>
            </a:pathLst>
          </a:custGeom>
          <a:solidFill>
            <a:schemeClr val="accent1"/>
          </a:solidFill>
          <a:ln w="6350">
            <a:solidFill>
              <a:schemeClr val="tx2"/>
            </a:solidFill>
            <a:round/>
            <a:headEnd/>
            <a:tailEnd/>
          </a:ln>
        </p:spPr>
        <p:txBody>
          <a:bodyPr/>
          <a:lstStyle/>
          <a:p>
            <a:endParaRPr lang="en-US"/>
          </a:p>
        </p:txBody>
      </p:sp>
      <p:sp>
        <p:nvSpPr>
          <p:cNvPr id="155" name="Freeform 1041"/>
          <p:cNvSpPr>
            <a:spLocks/>
          </p:cNvSpPr>
          <p:nvPr/>
        </p:nvSpPr>
        <p:spPr bwMode="auto">
          <a:xfrm>
            <a:off x="3854028" y="4019743"/>
            <a:ext cx="2866" cy="8915"/>
          </a:xfrm>
          <a:custGeom>
            <a:avLst/>
            <a:gdLst>
              <a:gd name="T0" fmla="*/ 0 w 8"/>
              <a:gd name="T1" fmla="*/ 2147483647 h 20"/>
              <a:gd name="T2" fmla="*/ 2147483647 w 8"/>
              <a:gd name="T3" fmla="*/ 0 h 20"/>
              <a:gd name="T4" fmla="*/ 2147483647 w 8"/>
              <a:gd name="T5" fmla="*/ 2147483647 h 20"/>
              <a:gd name="T6" fmla="*/ 2147483647 w 8"/>
              <a:gd name="T7" fmla="*/ 2147483647 h 20"/>
              <a:gd name="T8" fmla="*/ 0 w 8"/>
              <a:gd name="T9" fmla="*/ 2147483647 h 20"/>
              <a:gd name="T10" fmla="*/ 0 60000 65536"/>
              <a:gd name="T11" fmla="*/ 0 60000 65536"/>
              <a:gd name="T12" fmla="*/ 0 60000 65536"/>
              <a:gd name="T13" fmla="*/ 0 60000 65536"/>
              <a:gd name="T14" fmla="*/ 0 60000 65536"/>
              <a:gd name="T15" fmla="*/ 0 w 8"/>
              <a:gd name="T16" fmla="*/ 0 h 20"/>
              <a:gd name="T17" fmla="*/ 8 w 8"/>
              <a:gd name="T18" fmla="*/ 20 h 20"/>
            </a:gdLst>
            <a:ahLst/>
            <a:cxnLst>
              <a:cxn ang="T10">
                <a:pos x="T0" y="T1"/>
              </a:cxn>
              <a:cxn ang="T11">
                <a:pos x="T2" y="T3"/>
              </a:cxn>
              <a:cxn ang="T12">
                <a:pos x="T4" y="T5"/>
              </a:cxn>
              <a:cxn ang="T13">
                <a:pos x="T6" y="T7"/>
              </a:cxn>
              <a:cxn ang="T14">
                <a:pos x="T8" y="T9"/>
              </a:cxn>
            </a:cxnLst>
            <a:rect l="T15" t="T16" r="T17" b="T18"/>
            <a:pathLst>
              <a:path w="8" h="20">
                <a:moveTo>
                  <a:pt x="0" y="10"/>
                </a:moveTo>
                <a:lnTo>
                  <a:pt x="6" y="0"/>
                </a:lnTo>
                <a:lnTo>
                  <a:pt x="8" y="20"/>
                </a:lnTo>
                <a:lnTo>
                  <a:pt x="2" y="18"/>
                </a:lnTo>
                <a:lnTo>
                  <a:pt x="0" y="10"/>
                </a:lnTo>
                <a:close/>
              </a:path>
            </a:pathLst>
          </a:custGeom>
          <a:solidFill>
            <a:schemeClr val="accent1"/>
          </a:solidFill>
          <a:ln w="6350">
            <a:solidFill>
              <a:schemeClr val="tx2"/>
            </a:solidFill>
            <a:round/>
            <a:headEnd/>
            <a:tailEnd/>
          </a:ln>
        </p:spPr>
        <p:txBody>
          <a:bodyPr/>
          <a:lstStyle/>
          <a:p>
            <a:endParaRPr lang="en-US"/>
          </a:p>
        </p:txBody>
      </p:sp>
      <p:sp>
        <p:nvSpPr>
          <p:cNvPr id="156" name="Freeform 1042"/>
          <p:cNvSpPr>
            <a:spLocks/>
          </p:cNvSpPr>
          <p:nvPr/>
        </p:nvSpPr>
        <p:spPr bwMode="auto">
          <a:xfrm>
            <a:off x="3884127" y="4001912"/>
            <a:ext cx="2866" cy="10189"/>
          </a:xfrm>
          <a:custGeom>
            <a:avLst/>
            <a:gdLst>
              <a:gd name="T0" fmla="*/ 2147483647 w 6"/>
              <a:gd name="T1" fmla="*/ 0 h 23"/>
              <a:gd name="T2" fmla="*/ 2147483647 w 6"/>
              <a:gd name="T3" fmla="*/ 2147483647 h 23"/>
              <a:gd name="T4" fmla="*/ 0 w 6"/>
              <a:gd name="T5" fmla="*/ 2147483647 h 23"/>
              <a:gd name="T6" fmla="*/ 2147483647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5" y="0"/>
                </a:moveTo>
                <a:lnTo>
                  <a:pt x="6" y="23"/>
                </a:lnTo>
                <a:lnTo>
                  <a:pt x="0" y="13"/>
                </a:lnTo>
                <a:lnTo>
                  <a:pt x="5" y="0"/>
                </a:lnTo>
                <a:close/>
              </a:path>
            </a:pathLst>
          </a:custGeom>
          <a:solidFill>
            <a:schemeClr val="accent1"/>
          </a:solidFill>
          <a:ln w="6350">
            <a:solidFill>
              <a:schemeClr val="tx2"/>
            </a:solidFill>
            <a:round/>
            <a:headEnd/>
            <a:tailEnd/>
          </a:ln>
        </p:spPr>
        <p:txBody>
          <a:bodyPr/>
          <a:lstStyle/>
          <a:p>
            <a:endParaRPr lang="en-US"/>
          </a:p>
        </p:txBody>
      </p:sp>
      <p:sp>
        <p:nvSpPr>
          <p:cNvPr id="157" name="Freeform 1043"/>
          <p:cNvSpPr>
            <a:spLocks/>
          </p:cNvSpPr>
          <p:nvPr/>
        </p:nvSpPr>
        <p:spPr bwMode="auto">
          <a:xfrm>
            <a:off x="3892728" y="4010827"/>
            <a:ext cx="8600" cy="10189"/>
          </a:xfrm>
          <a:custGeom>
            <a:avLst/>
            <a:gdLst>
              <a:gd name="T0" fmla="*/ 2147483647 w 21"/>
              <a:gd name="T1" fmla="*/ 2147483647 h 28"/>
              <a:gd name="T2" fmla="*/ 2147483647 w 21"/>
              <a:gd name="T3" fmla="*/ 2147483647 h 28"/>
              <a:gd name="T4" fmla="*/ 2147483647 w 21"/>
              <a:gd name="T5" fmla="*/ 2147483647 h 28"/>
              <a:gd name="T6" fmla="*/ 2147483647 w 21"/>
              <a:gd name="T7" fmla="*/ 2147483647 h 28"/>
              <a:gd name="T8" fmla="*/ 0 w 21"/>
              <a:gd name="T9" fmla="*/ 0 h 28"/>
              <a:gd name="T10" fmla="*/ 2147483647 w 21"/>
              <a:gd name="T11" fmla="*/ 2147483647 h 28"/>
              <a:gd name="T12" fmla="*/ 0 60000 65536"/>
              <a:gd name="T13" fmla="*/ 0 60000 65536"/>
              <a:gd name="T14" fmla="*/ 0 60000 65536"/>
              <a:gd name="T15" fmla="*/ 0 60000 65536"/>
              <a:gd name="T16" fmla="*/ 0 60000 65536"/>
              <a:gd name="T17" fmla="*/ 0 60000 65536"/>
              <a:gd name="T18" fmla="*/ 0 w 21"/>
              <a:gd name="T19" fmla="*/ 0 h 28"/>
              <a:gd name="T20" fmla="*/ 21 w 21"/>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1" h="28">
                <a:moveTo>
                  <a:pt x="17" y="19"/>
                </a:moveTo>
                <a:lnTo>
                  <a:pt x="21" y="28"/>
                </a:lnTo>
                <a:lnTo>
                  <a:pt x="12" y="28"/>
                </a:lnTo>
                <a:lnTo>
                  <a:pt x="14" y="21"/>
                </a:lnTo>
                <a:lnTo>
                  <a:pt x="0" y="0"/>
                </a:lnTo>
                <a:lnTo>
                  <a:pt x="17" y="19"/>
                </a:lnTo>
                <a:close/>
              </a:path>
            </a:pathLst>
          </a:custGeom>
          <a:solidFill>
            <a:schemeClr val="accent1"/>
          </a:solidFill>
          <a:ln w="6350">
            <a:solidFill>
              <a:schemeClr val="tx2"/>
            </a:solidFill>
            <a:round/>
            <a:headEnd/>
            <a:tailEnd/>
          </a:ln>
        </p:spPr>
        <p:txBody>
          <a:bodyPr/>
          <a:lstStyle/>
          <a:p>
            <a:endParaRPr lang="en-US"/>
          </a:p>
        </p:txBody>
      </p:sp>
      <p:sp>
        <p:nvSpPr>
          <p:cNvPr id="158" name="Freeform 1044"/>
          <p:cNvSpPr>
            <a:spLocks/>
          </p:cNvSpPr>
          <p:nvPr/>
        </p:nvSpPr>
        <p:spPr bwMode="auto">
          <a:xfrm>
            <a:off x="3918528" y="4021016"/>
            <a:ext cx="2866" cy="3821"/>
          </a:xfrm>
          <a:custGeom>
            <a:avLst/>
            <a:gdLst>
              <a:gd name="T0" fmla="*/ 2147483647 w 7"/>
              <a:gd name="T1" fmla="*/ 0 h 7"/>
              <a:gd name="T2" fmla="*/ 0 w 7"/>
              <a:gd name="T3" fmla="*/ 2147483647 h 7"/>
              <a:gd name="T4" fmla="*/ 2147483647 w 7"/>
              <a:gd name="T5" fmla="*/ 2147483647 h 7"/>
              <a:gd name="T6" fmla="*/ 2147483647 w 7"/>
              <a:gd name="T7" fmla="*/ 0 h 7"/>
              <a:gd name="T8" fmla="*/ 2147483647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0"/>
                </a:moveTo>
                <a:lnTo>
                  <a:pt x="0" y="7"/>
                </a:lnTo>
                <a:lnTo>
                  <a:pt x="4" y="7"/>
                </a:lnTo>
                <a:lnTo>
                  <a:pt x="7" y="0"/>
                </a:lnTo>
                <a:lnTo>
                  <a:pt x="2" y="0"/>
                </a:lnTo>
                <a:close/>
              </a:path>
            </a:pathLst>
          </a:custGeom>
          <a:solidFill>
            <a:schemeClr val="accent1"/>
          </a:solidFill>
          <a:ln w="6350">
            <a:solidFill>
              <a:schemeClr val="tx2"/>
            </a:solidFill>
            <a:round/>
            <a:headEnd/>
            <a:tailEnd/>
          </a:ln>
        </p:spPr>
        <p:txBody>
          <a:bodyPr/>
          <a:lstStyle/>
          <a:p>
            <a:endParaRPr lang="en-US"/>
          </a:p>
        </p:txBody>
      </p:sp>
      <p:sp>
        <p:nvSpPr>
          <p:cNvPr id="159" name="Freeform 1045"/>
          <p:cNvSpPr>
            <a:spLocks/>
          </p:cNvSpPr>
          <p:nvPr/>
        </p:nvSpPr>
        <p:spPr bwMode="auto">
          <a:xfrm>
            <a:off x="3904195" y="4032479"/>
            <a:ext cx="5734" cy="12737"/>
          </a:xfrm>
          <a:custGeom>
            <a:avLst/>
            <a:gdLst>
              <a:gd name="T0" fmla="*/ 0 w 16"/>
              <a:gd name="T1" fmla="*/ 0 h 31"/>
              <a:gd name="T2" fmla="*/ 2147483647 w 16"/>
              <a:gd name="T3" fmla="*/ 2147483647 h 31"/>
              <a:gd name="T4" fmla="*/ 2147483647 w 16"/>
              <a:gd name="T5" fmla="*/ 2147483647 h 31"/>
              <a:gd name="T6" fmla="*/ 0 w 16"/>
              <a:gd name="T7" fmla="*/ 0 h 31"/>
              <a:gd name="T8" fmla="*/ 0 60000 65536"/>
              <a:gd name="T9" fmla="*/ 0 60000 65536"/>
              <a:gd name="T10" fmla="*/ 0 60000 65536"/>
              <a:gd name="T11" fmla="*/ 0 60000 65536"/>
              <a:gd name="T12" fmla="*/ 0 w 16"/>
              <a:gd name="T13" fmla="*/ 0 h 31"/>
              <a:gd name="T14" fmla="*/ 16 w 16"/>
              <a:gd name="T15" fmla="*/ 31 h 31"/>
            </a:gdLst>
            <a:ahLst/>
            <a:cxnLst>
              <a:cxn ang="T8">
                <a:pos x="T0" y="T1"/>
              </a:cxn>
              <a:cxn ang="T9">
                <a:pos x="T2" y="T3"/>
              </a:cxn>
              <a:cxn ang="T10">
                <a:pos x="T4" y="T5"/>
              </a:cxn>
              <a:cxn ang="T11">
                <a:pos x="T6" y="T7"/>
              </a:cxn>
            </a:cxnLst>
            <a:rect l="T12" t="T13" r="T14" b="T15"/>
            <a:pathLst>
              <a:path w="16" h="31">
                <a:moveTo>
                  <a:pt x="0" y="0"/>
                </a:moveTo>
                <a:lnTo>
                  <a:pt x="16" y="31"/>
                </a:lnTo>
                <a:lnTo>
                  <a:pt x="7" y="22"/>
                </a:lnTo>
                <a:lnTo>
                  <a:pt x="0" y="0"/>
                </a:lnTo>
                <a:close/>
              </a:path>
            </a:pathLst>
          </a:custGeom>
          <a:solidFill>
            <a:schemeClr val="accent1"/>
          </a:solidFill>
          <a:ln w="6350">
            <a:solidFill>
              <a:schemeClr val="tx2"/>
            </a:solidFill>
            <a:round/>
            <a:headEnd/>
            <a:tailEnd/>
          </a:ln>
        </p:spPr>
        <p:txBody>
          <a:bodyPr/>
          <a:lstStyle/>
          <a:p>
            <a:endParaRPr lang="en-US"/>
          </a:p>
        </p:txBody>
      </p:sp>
      <p:sp>
        <p:nvSpPr>
          <p:cNvPr id="160" name="Freeform 1046"/>
          <p:cNvSpPr>
            <a:spLocks/>
          </p:cNvSpPr>
          <p:nvPr/>
        </p:nvSpPr>
        <p:spPr bwMode="auto">
          <a:xfrm>
            <a:off x="3921394" y="4047763"/>
            <a:ext cx="8600" cy="11462"/>
          </a:xfrm>
          <a:custGeom>
            <a:avLst/>
            <a:gdLst>
              <a:gd name="T0" fmla="*/ 2147483647 w 21"/>
              <a:gd name="T1" fmla="*/ 2147483647 h 28"/>
              <a:gd name="T2" fmla="*/ 0 w 21"/>
              <a:gd name="T3" fmla="*/ 0 h 28"/>
              <a:gd name="T4" fmla="*/ 2147483647 w 21"/>
              <a:gd name="T5" fmla="*/ 2147483647 h 28"/>
              <a:gd name="T6" fmla="*/ 2147483647 w 21"/>
              <a:gd name="T7" fmla="*/ 2147483647 h 28"/>
              <a:gd name="T8" fmla="*/ 2147483647 w 21"/>
              <a:gd name="T9" fmla="*/ 2147483647 h 28"/>
              <a:gd name="T10" fmla="*/ 2147483647 w 21"/>
              <a:gd name="T11" fmla="*/ 2147483647 h 28"/>
              <a:gd name="T12" fmla="*/ 2147483647 w 21"/>
              <a:gd name="T13" fmla="*/ 2147483647 h 28"/>
              <a:gd name="T14" fmla="*/ 2147483647 w 21"/>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8"/>
              <a:gd name="T26" fmla="*/ 21 w 21"/>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8">
                <a:moveTo>
                  <a:pt x="14" y="9"/>
                </a:moveTo>
                <a:lnTo>
                  <a:pt x="0" y="0"/>
                </a:lnTo>
                <a:lnTo>
                  <a:pt x="21" y="7"/>
                </a:lnTo>
                <a:lnTo>
                  <a:pt x="21" y="14"/>
                </a:lnTo>
                <a:lnTo>
                  <a:pt x="7" y="28"/>
                </a:lnTo>
                <a:lnTo>
                  <a:pt x="5" y="24"/>
                </a:lnTo>
                <a:lnTo>
                  <a:pt x="15" y="12"/>
                </a:lnTo>
                <a:lnTo>
                  <a:pt x="14" y="9"/>
                </a:lnTo>
                <a:close/>
              </a:path>
            </a:pathLst>
          </a:custGeom>
          <a:solidFill>
            <a:schemeClr val="accent1"/>
          </a:solidFill>
          <a:ln w="6350">
            <a:solidFill>
              <a:schemeClr val="tx2"/>
            </a:solidFill>
            <a:round/>
            <a:headEnd/>
            <a:tailEnd/>
          </a:ln>
        </p:spPr>
        <p:txBody>
          <a:bodyPr/>
          <a:lstStyle/>
          <a:p>
            <a:endParaRPr lang="en-US"/>
          </a:p>
        </p:txBody>
      </p:sp>
      <p:sp>
        <p:nvSpPr>
          <p:cNvPr id="161" name="Freeform 1047"/>
          <p:cNvSpPr>
            <a:spLocks/>
          </p:cNvSpPr>
          <p:nvPr/>
        </p:nvSpPr>
        <p:spPr bwMode="auto">
          <a:xfrm>
            <a:off x="3947194" y="4055405"/>
            <a:ext cx="5734" cy="1273"/>
          </a:xfrm>
          <a:custGeom>
            <a:avLst/>
            <a:gdLst>
              <a:gd name="T0" fmla="*/ 2147483647 w 16"/>
              <a:gd name="T1" fmla="*/ 2147483647 h 4"/>
              <a:gd name="T2" fmla="*/ 2147483647 w 16"/>
              <a:gd name="T3" fmla="*/ 0 h 4"/>
              <a:gd name="T4" fmla="*/ 0 w 16"/>
              <a:gd name="T5" fmla="*/ 2147483647 h 4"/>
              <a:gd name="T6" fmla="*/ 2147483647 w 16"/>
              <a:gd name="T7" fmla="*/ 2147483647 h 4"/>
              <a:gd name="T8" fmla="*/ 0 60000 65536"/>
              <a:gd name="T9" fmla="*/ 0 60000 65536"/>
              <a:gd name="T10" fmla="*/ 0 60000 65536"/>
              <a:gd name="T11" fmla="*/ 0 60000 65536"/>
              <a:gd name="T12" fmla="*/ 0 w 16"/>
              <a:gd name="T13" fmla="*/ 0 h 4"/>
              <a:gd name="T14" fmla="*/ 16 w 16"/>
              <a:gd name="T15" fmla="*/ 4 h 4"/>
            </a:gdLst>
            <a:ahLst/>
            <a:cxnLst>
              <a:cxn ang="T8">
                <a:pos x="T0" y="T1"/>
              </a:cxn>
              <a:cxn ang="T9">
                <a:pos x="T2" y="T3"/>
              </a:cxn>
              <a:cxn ang="T10">
                <a:pos x="T4" y="T5"/>
              </a:cxn>
              <a:cxn ang="T11">
                <a:pos x="T6" y="T7"/>
              </a:cxn>
            </a:cxnLst>
            <a:rect l="T12" t="T13" r="T14" b="T15"/>
            <a:pathLst>
              <a:path w="16" h="4">
                <a:moveTo>
                  <a:pt x="16" y="4"/>
                </a:moveTo>
                <a:lnTo>
                  <a:pt x="14" y="0"/>
                </a:lnTo>
                <a:lnTo>
                  <a:pt x="0" y="3"/>
                </a:lnTo>
                <a:lnTo>
                  <a:pt x="16" y="4"/>
                </a:lnTo>
                <a:close/>
              </a:path>
            </a:pathLst>
          </a:custGeom>
          <a:solidFill>
            <a:schemeClr val="accent1"/>
          </a:solidFill>
          <a:ln w="6350">
            <a:solidFill>
              <a:schemeClr val="tx2"/>
            </a:solidFill>
            <a:round/>
            <a:headEnd/>
            <a:tailEnd/>
          </a:ln>
        </p:spPr>
        <p:txBody>
          <a:bodyPr/>
          <a:lstStyle/>
          <a:p>
            <a:endParaRPr lang="en-US"/>
          </a:p>
        </p:txBody>
      </p:sp>
      <p:sp>
        <p:nvSpPr>
          <p:cNvPr id="162" name="Freeform 1048"/>
          <p:cNvSpPr>
            <a:spLocks/>
          </p:cNvSpPr>
          <p:nvPr/>
        </p:nvSpPr>
        <p:spPr bwMode="auto">
          <a:xfrm>
            <a:off x="3964394" y="4063047"/>
            <a:ext cx="14334" cy="6368"/>
          </a:xfrm>
          <a:custGeom>
            <a:avLst/>
            <a:gdLst>
              <a:gd name="T0" fmla="*/ 2147483647 w 33"/>
              <a:gd name="T1" fmla="*/ 2147483647 h 14"/>
              <a:gd name="T2" fmla="*/ 2147483647 w 33"/>
              <a:gd name="T3" fmla="*/ 0 h 14"/>
              <a:gd name="T4" fmla="*/ 2147483647 w 33"/>
              <a:gd name="T5" fmla="*/ 2147483647 h 14"/>
              <a:gd name="T6" fmla="*/ 2147483647 w 33"/>
              <a:gd name="T7" fmla="*/ 2147483647 h 14"/>
              <a:gd name="T8" fmla="*/ 0 w 33"/>
              <a:gd name="T9" fmla="*/ 2147483647 h 14"/>
              <a:gd name="T10" fmla="*/ 2147483647 w 33"/>
              <a:gd name="T11" fmla="*/ 2147483647 h 14"/>
              <a:gd name="T12" fmla="*/ 0 60000 65536"/>
              <a:gd name="T13" fmla="*/ 0 60000 65536"/>
              <a:gd name="T14" fmla="*/ 0 60000 65536"/>
              <a:gd name="T15" fmla="*/ 0 60000 65536"/>
              <a:gd name="T16" fmla="*/ 0 60000 65536"/>
              <a:gd name="T17" fmla="*/ 0 60000 65536"/>
              <a:gd name="T18" fmla="*/ 0 w 33"/>
              <a:gd name="T19" fmla="*/ 0 h 14"/>
              <a:gd name="T20" fmla="*/ 33 w 3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33" h="14">
                <a:moveTo>
                  <a:pt x="6" y="3"/>
                </a:moveTo>
                <a:lnTo>
                  <a:pt x="11" y="0"/>
                </a:lnTo>
                <a:lnTo>
                  <a:pt x="33" y="14"/>
                </a:lnTo>
                <a:lnTo>
                  <a:pt x="13" y="5"/>
                </a:lnTo>
                <a:lnTo>
                  <a:pt x="0" y="10"/>
                </a:lnTo>
                <a:lnTo>
                  <a:pt x="6" y="3"/>
                </a:lnTo>
                <a:close/>
              </a:path>
            </a:pathLst>
          </a:custGeom>
          <a:solidFill>
            <a:schemeClr val="accent1"/>
          </a:solidFill>
          <a:ln w="6350">
            <a:solidFill>
              <a:schemeClr val="tx2"/>
            </a:solidFill>
            <a:round/>
            <a:headEnd/>
            <a:tailEnd/>
          </a:ln>
        </p:spPr>
        <p:txBody>
          <a:bodyPr/>
          <a:lstStyle/>
          <a:p>
            <a:endParaRPr lang="en-US"/>
          </a:p>
        </p:txBody>
      </p:sp>
      <p:sp>
        <p:nvSpPr>
          <p:cNvPr id="163" name="Freeform 1049"/>
          <p:cNvSpPr>
            <a:spLocks/>
          </p:cNvSpPr>
          <p:nvPr/>
        </p:nvSpPr>
        <p:spPr bwMode="auto">
          <a:xfrm>
            <a:off x="3935728" y="4075783"/>
            <a:ext cx="14334" cy="8915"/>
          </a:xfrm>
          <a:custGeom>
            <a:avLst/>
            <a:gdLst>
              <a:gd name="T0" fmla="*/ 2147483647 w 26"/>
              <a:gd name="T1" fmla="*/ 0 h 21"/>
              <a:gd name="T2" fmla="*/ 2147483647 w 26"/>
              <a:gd name="T3" fmla="*/ 2147483647 h 21"/>
              <a:gd name="T4" fmla="*/ 0 w 26"/>
              <a:gd name="T5" fmla="*/ 2147483647 h 21"/>
              <a:gd name="T6" fmla="*/ 2147483647 w 26"/>
              <a:gd name="T7" fmla="*/ 2147483647 h 21"/>
              <a:gd name="T8" fmla="*/ 2147483647 w 26"/>
              <a:gd name="T9" fmla="*/ 2147483647 h 21"/>
              <a:gd name="T10" fmla="*/ 2147483647 w 26"/>
              <a:gd name="T11" fmla="*/ 0 h 21"/>
              <a:gd name="T12" fmla="*/ 0 60000 65536"/>
              <a:gd name="T13" fmla="*/ 0 60000 65536"/>
              <a:gd name="T14" fmla="*/ 0 60000 65536"/>
              <a:gd name="T15" fmla="*/ 0 60000 65536"/>
              <a:gd name="T16" fmla="*/ 0 60000 65536"/>
              <a:gd name="T17" fmla="*/ 0 60000 65536"/>
              <a:gd name="T18" fmla="*/ 0 w 26"/>
              <a:gd name="T19" fmla="*/ 0 h 21"/>
              <a:gd name="T20" fmla="*/ 26 w 26"/>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6" h="21">
                <a:moveTo>
                  <a:pt x="26" y="0"/>
                </a:moveTo>
                <a:lnTo>
                  <a:pt x="24" y="15"/>
                </a:lnTo>
                <a:lnTo>
                  <a:pt x="0" y="21"/>
                </a:lnTo>
                <a:lnTo>
                  <a:pt x="1" y="11"/>
                </a:lnTo>
                <a:lnTo>
                  <a:pt x="16" y="10"/>
                </a:lnTo>
                <a:lnTo>
                  <a:pt x="26" y="0"/>
                </a:lnTo>
                <a:close/>
              </a:path>
            </a:pathLst>
          </a:custGeom>
          <a:solidFill>
            <a:schemeClr val="accent1"/>
          </a:solidFill>
          <a:ln w="6350">
            <a:solidFill>
              <a:schemeClr val="tx2"/>
            </a:solidFill>
            <a:round/>
            <a:headEnd/>
            <a:tailEnd/>
          </a:ln>
        </p:spPr>
        <p:txBody>
          <a:bodyPr/>
          <a:lstStyle/>
          <a:p>
            <a:endParaRPr lang="en-US"/>
          </a:p>
        </p:txBody>
      </p:sp>
      <p:sp>
        <p:nvSpPr>
          <p:cNvPr id="164" name="Freeform 1050"/>
          <p:cNvSpPr>
            <a:spLocks/>
          </p:cNvSpPr>
          <p:nvPr/>
        </p:nvSpPr>
        <p:spPr bwMode="auto">
          <a:xfrm>
            <a:off x="3710693" y="4040121"/>
            <a:ext cx="215001" cy="63683"/>
          </a:xfrm>
          <a:custGeom>
            <a:avLst/>
            <a:gdLst>
              <a:gd name="T0" fmla="*/ 2147483647 w 459"/>
              <a:gd name="T1" fmla="*/ 2147483647 h 153"/>
              <a:gd name="T2" fmla="*/ 2147483647 w 459"/>
              <a:gd name="T3" fmla="*/ 2147483647 h 153"/>
              <a:gd name="T4" fmla="*/ 2147483647 w 459"/>
              <a:gd name="T5" fmla="*/ 2147483647 h 153"/>
              <a:gd name="T6" fmla="*/ 2147483647 w 459"/>
              <a:gd name="T7" fmla="*/ 2147483647 h 153"/>
              <a:gd name="T8" fmla="*/ 2147483647 w 459"/>
              <a:gd name="T9" fmla="*/ 2147483647 h 153"/>
              <a:gd name="T10" fmla="*/ 2147483647 w 459"/>
              <a:gd name="T11" fmla="*/ 2147483647 h 153"/>
              <a:gd name="T12" fmla="*/ 2147483647 w 459"/>
              <a:gd name="T13" fmla="*/ 2147483647 h 153"/>
              <a:gd name="T14" fmla="*/ 2147483647 w 459"/>
              <a:gd name="T15" fmla="*/ 2147483647 h 153"/>
              <a:gd name="T16" fmla="*/ 2147483647 w 459"/>
              <a:gd name="T17" fmla="*/ 2147483647 h 153"/>
              <a:gd name="T18" fmla="*/ 2147483647 w 459"/>
              <a:gd name="T19" fmla="*/ 2147483647 h 153"/>
              <a:gd name="T20" fmla="*/ 2147483647 w 459"/>
              <a:gd name="T21" fmla="*/ 2147483647 h 153"/>
              <a:gd name="T22" fmla="*/ 2147483647 w 459"/>
              <a:gd name="T23" fmla="*/ 2147483647 h 153"/>
              <a:gd name="T24" fmla="*/ 2147483647 w 459"/>
              <a:gd name="T25" fmla="*/ 2147483647 h 153"/>
              <a:gd name="T26" fmla="*/ 2147483647 w 459"/>
              <a:gd name="T27" fmla="*/ 2147483647 h 153"/>
              <a:gd name="T28" fmla="*/ 2147483647 w 459"/>
              <a:gd name="T29" fmla="*/ 2147483647 h 153"/>
              <a:gd name="T30" fmla="*/ 2147483647 w 459"/>
              <a:gd name="T31" fmla="*/ 2147483647 h 153"/>
              <a:gd name="T32" fmla="*/ 2147483647 w 459"/>
              <a:gd name="T33" fmla="*/ 2147483647 h 153"/>
              <a:gd name="T34" fmla="*/ 2147483647 w 459"/>
              <a:gd name="T35" fmla="*/ 2147483647 h 153"/>
              <a:gd name="T36" fmla="*/ 2147483647 w 459"/>
              <a:gd name="T37" fmla="*/ 2147483647 h 153"/>
              <a:gd name="T38" fmla="*/ 2147483647 w 459"/>
              <a:gd name="T39" fmla="*/ 2147483647 h 153"/>
              <a:gd name="T40" fmla="*/ 2147483647 w 459"/>
              <a:gd name="T41" fmla="*/ 2147483647 h 153"/>
              <a:gd name="T42" fmla="*/ 2147483647 w 459"/>
              <a:gd name="T43" fmla="*/ 2147483647 h 153"/>
              <a:gd name="T44" fmla="*/ 2147483647 w 459"/>
              <a:gd name="T45" fmla="*/ 2147483647 h 153"/>
              <a:gd name="T46" fmla="*/ 2147483647 w 459"/>
              <a:gd name="T47" fmla="*/ 2147483647 h 153"/>
              <a:gd name="T48" fmla="*/ 2147483647 w 459"/>
              <a:gd name="T49" fmla="*/ 2147483647 h 153"/>
              <a:gd name="T50" fmla="*/ 2147483647 w 459"/>
              <a:gd name="T51" fmla="*/ 2147483647 h 153"/>
              <a:gd name="T52" fmla="*/ 2147483647 w 459"/>
              <a:gd name="T53" fmla="*/ 2147483647 h 153"/>
              <a:gd name="T54" fmla="*/ 2147483647 w 459"/>
              <a:gd name="T55" fmla="*/ 2147483647 h 153"/>
              <a:gd name="T56" fmla="*/ 0 w 459"/>
              <a:gd name="T57" fmla="*/ 2147483647 h 153"/>
              <a:gd name="T58" fmla="*/ 2147483647 w 459"/>
              <a:gd name="T59" fmla="*/ 2147483647 h 153"/>
              <a:gd name="T60" fmla="*/ 2147483647 w 459"/>
              <a:gd name="T61" fmla="*/ 2147483647 h 153"/>
              <a:gd name="T62" fmla="*/ 2147483647 w 459"/>
              <a:gd name="T63" fmla="*/ 2147483647 h 153"/>
              <a:gd name="T64" fmla="*/ 2147483647 w 459"/>
              <a:gd name="T65" fmla="*/ 0 h 153"/>
              <a:gd name="T66" fmla="*/ 2147483647 w 459"/>
              <a:gd name="T67" fmla="*/ 0 h 153"/>
              <a:gd name="T68" fmla="*/ 2147483647 w 459"/>
              <a:gd name="T69" fmla="*/ 2147483647 h 153"/>
              <a:gd name="T70" fmla="*/ 2147483647 w 459"/>
              <a:gd name="T71" fmla="*/ 2147483647 h 153"/>
              <a:gd name="T72" fmla="*/ 2147483647 w 459"/>
              <a:gd name="T73" fmla="*/ 2147483647 h 153"/>
              <a:gd name="T74" fmla="*/ 2147483647 w 459"/>
              <a:gd name="T75" fmla="*/ 2147483647 h 153"/>
              <a:gd name="T76" fmla="*/ 2147483647 w 459"/>
              <a:gd name="T77" fmla="*/ 2147483647 h 153"/>
              <a:gd name="T78" fmla="*/ 2147483647 w 459"/>
              <a:gd name="T79" fmla="*/ 2147483647 h 153"/>
              <a:gd name="T80" fmla="*/ 2147483647 w 459"/>
              <a:gd name="T81" fmla="*/ 2147483647 h 1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9"/>
              <a:gd name="T124" fmla="*/ 0 h 153"/>
              <a:gd name="T125" fmla="*/ 459 w 459"/>
              <a:gd name="T126" fmla="*/ 153 h 1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9" h="153">
                <a:moveTo>
                  <a:pt x="329" y="69"/>
                </a:moveTo>
                <a:lnTo>
                  <a:pt x="352" y="85"/>
                </a:lnTo>
                <a:lnTo>
                  <a:pt x="378" y="95"/>
                </a:lnTo>
                <a:lnTo>
                  <a:pt x="394" y="95"/>
                </a:lnTo>
                <a:lnTo>
                  <a:pt x="394" y="111"/>
                </a:lnTo>
                <a:lnTo>
                  <a:pt x="429" y="113"/>
                </a:lnTo>
                <a:lnTo>
                  <a:pt x="447" y="129"/>
                </a:lnTo>
                <a:lnTo>
                  <a:pt x="459" y="132"/>
                </a:lnTo>
                <a:lnTo>
                  <a:pt x="459" y="137"/>
                </a:lnTo>
                <a:lnTo>
                  <a:pt x="412" y="152"/>
                </a:lnTo>
                <a:lnTo>
                  <a:pt x="348" y="148"/>
                </a:lnTo>
                <a:lnTo>
                  <a:pt x="312" y="153"/>
                </a:lnTo>
                <a:lnTo>
                  <a:pt x="307" y="149"/>
                </a:lnTo>
                <a:lnTo>
                  <a:pt x="336" y="130"/>
                </a:lnTo>
                <a:lnTo>
                  <a:pt x="337" y="123"/>
                </a:lnTo>
                <a:lnTo>
                  <a:pt x="294" y="115"/>
                </a:lnTo>
                <a:lnTo>
                  <a:pt x="277" y="100"/>
                </a:lnTo>
                <a:lnTo>
                  <a:pt x="266" y="76"/>
                </a:lnTo>
                <a:lnTo>
                  <a:pt x="216" y="70"/>
                </a:lnTo>
                <a:lnTo>
                  <a:pt x="186" y="53"/>
                </a:lnTo>
                <a:lnTo>
                  <a:pt x="125" y="47"/>
                </a:lnTo>
                <a:lnTo>
                  <a:pt x="119" y="38"/>
                </a:lnTo>
                <a:lnTo>
                  <a:pt x="136" y="32"/>
                </a:lnTo>
                <a:lnTo>
                  <a:pt x="128" y="26"/>
                </a:lnTo>
                <a:lnTo>
                  <a:pt x="91" y="24"/>
                </a:lnTo>
                <a:lnTo>
                  <a:pt x="71" y="41"/>
                </a:lnTo>
                <a:lnTo>
                  <a:pt x="45" y="48"/>
                </a:lnTo>
                <a:lnTo>
                  <a:pt x="17" y="66"/>
                </a:lnTo>
                <a:lnTo>
                  <a:pt x="0" y="60"/>
                </a:lnTo>
                <a:lnTo>
                  <a:pt x="18" y="53"/>
                </a:lnTo>
                <a:lnTo>
                  <a:pt x="23" y="31"/>
                </a:lnTo>
                <a:lnTo>
                  <a:pt x="46" y="17"/>
                </a:lnTo>
                <a:lnTo>
                  <a:pt x="103" y="0"/>
                </a:lnTo>
                <a:lnTo>
                  <a:pt x="138" y="0"/>
                </a:lnTo>
                <a:lnTo>
                  <a:pt x="205" y="8"/>
                </a:lnTo>
                <a:lnTo>
                  <a:pt x="234" y="33"/>
                </a:lnTo>
                <a:lnTo>
                  <a:pt x="270" y="38"/>
                </a:lnTo>
                <a:lnTo>
                  <a:pt x="269" y="43"/>
                </a:lnTo>
                <a:lnTo>
                  <a:pt x="289" y="49"/>
                </a:lnTo>
                <a:lnTo>
                  <a:pt x="298" y="58"/>
                </a:lnTo>
                <a:lnTo>
                  <a:pt x="329" y="69"/>
                </a:lnTo>
                <a:close/>
              </a:path>
            </a:pathLst>
          </a:custGeom>
          <a:solidFill>
            <a:schemeClr val="accent1"/>
          </a:solidFill>
          <a:ln w="6350">
            <a:solidFill>
              <a:schemeClr val="tx2"/>
            </a:solidFill>
            <a:round/>
            <a:headEnd/>
            <a:tailEnd/>
          </a:ln>
        </p:spPr>
        <p:txBody>
          <a:bodyPr/>
          <a:lstStyle/>
          <a:p>
            <a:endParaRPr lang="en-US"/>
          </a:p>
        </p:txBody>
      </p:sp>
      <p:sp>
        <p:nvSpPr>
          <p:cNvPr id="165" name="Freeform 1051"/>
          <p:cNvSpPr>
            <a:spLocks/>
          </p:cNvSpPr>
          <p:nvPr/>
        </p:nvSpPr>
        <p:spPr bwMode="auto">
          <a:xfrm>
            <a:off x="3743660" y="4065595"/>
            <a:ext cx="8600" cy="7642"/>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2147483647 h 18"/>
              <a:gd name="T10" fmla="*/ 2147483647 w 23"/>
              <a:gd name="T11" fmla="*/ 0 h 18"/>
              <a:gd name="T12" fmla="*/ 2147483647 w 23"/>
              <a:gd name="T13" fmla="*/ 0 h 18"/>
              <a:gd name="T14" fmla="*/ 0 60000 65536"/>
              <a:gd name="T15" fmla="*/ 0 60000 65536"/>
              <a:gd name="T16" fmla="*/ 0 60000 65536"/>
              <a:gd name="T17" fmla="*/ 0 60000 65536"/>
              <a:gd name="T18" fmla="*/ 0 60000 65536"/>
              <a:gd name="T19" fmla="*/ 0 60000 65536"/>
              <a:gd name="T20" fmla="*/ 0 60000 65536"/>
              <a:gd name="T21" fmla="*/ 0 w 23"/>
              <a:gd name="T22" fmla="*/ 0 h 18"/>
              <a:gd name="T23" fmla="*/ 23 w 2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8">
                <a:moveTo>
                  <a:pt x="18" y="0"/>
                </a:moveTo>
                <a:lnTo>
                  <a:pt x="23" y="16"/>
                </a:lnTo>
                <a:lnTo>
                  <a:pt x="3" y="18"/>
                </a:lnTo>
                <a:lnTo>
                  <a:pt x="0" y="12"/>
                </a:lnTo>
                <a:lnTo>
                  <a:pt x="7" y="16"/>
                </a:lnTo>
                <a:lnTo>
                  <a:pt x="7" y="0"/>
                </a:lnTo>
                <a:lnTo>
                  <a:pt x="18" y="0"/>
                </a:lnTo>
                <a:close/>
              </a:path>
            </a:pathLst>
          </a:custGeom>
          <a:solidFill>
            <a:schemeClr val="accent1"/>
          </a:solidFill>
          <a:ln w="6350">
            <a:solidFill>
              <a:schemeClr val="tx2"/>
            </a:solidFill>
            <a:round/>
            <a:headEnd/>
            <a:tailEnd/>
          </a:ln>
        </p:spPr>
        <p:txBody>
          <a:bodyPr/>
          <a:lstStyle/>
          <a:p>
            <a:endParaRPr lang="en-US"/>
          </a:p>
        </p:txBody>
      </p:sp>
      <p:sp>
        <p:nvSpPr>
          <p:cNvPr id="166" name="Freeform 1052"/>
          <p:cNvSpPr>
            <a:spLocks/>
          </p:cNvSpPr>
          <p:nvPr/>
        </p:nvSpPr>
        <p:spPr bwMode="auto">
          <a:xfrm>
            <a:off x="3835395" y="4052858"/>
            <a:ext cx="20066" cy="11462"/>
          </a:xfrm>
          <a:custGeom>
            <a:avLst/>
            <a:gdLst>
              <a:gd name="T0" fmla="*/ 2147483647 w 44"/>
              <a:gd name="T1" fmla="*/ 2147483647 h 27"/>
              <a:gd name="T2" fmla="*/ 2147483647 w 44"/>
              <a:gd name="T3" fmla="*/ 2147483647 h 27"/>
              <a:gd name="T4" fmla="*/ 2147483647 w 44"/>
              <a:gd name="T5" fmla="*/ 2147483647 h 27"/>
              <a:gd name="T6" fmla="*/ 2147483647 w 44"/>
              <a:gd name="T7" fmla="*/ 2147483647 h 27"/>
              <a:gd name="T8" fmla="*/ 2147483647 w 44"/>
              <a:gd name="T9" fmla="*/ 2147483647 h 27"/>
              <a:gd name="T10" fmla="*/ 2147483647 w 44"/>
              <a:gd name="T11" fmla="*/ 2147483647 h 27"/>
              <a:gd name="T12" fmla="*/ 0 w 44"/>
              <a:gd name="T13" fmla="*/ 0 h 27"/>
              <a:gd name="T14" fmla="*/ 2147483647 w 44"/>
              <a:gd name="T15" fmla="*/ 0 h 27"/>
              <a:gd name="T16" fmla="*/ 2147483647 w 44"/>
              <a:gd name="T17" fmla="*/ 2147483647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27"/>
              <a:gd name="T29" fmla="*/ 44 w 44"/>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27">
                <a:moveTo>
                  <a:pt x="30" y="11"/>
                </a:moveTo>
                <a:lnTo>
                  <a:pt x="43" y="21"/>
                </a:lnTo>
                <a:lnTo>
                  <a:pt x="44" y="27"/>
                </a:lnTo>
                <a:lnTo>
                  <a:pt x="37" y="26"/>
                </a:lnTo>
                <a:lnTo>
                  <a:pt x="19" y="9"/>
                </a:lnTo>
                <a:lnTo>
                  <a:pt x="5" y="6"/>
                </a:lnTo>
                <a:lnTo>
                  <a:pt x="0" y="0"/>
                </a:lnTo>
                <a:lnTo>
                  <a:pt x="13" y="0"/>
                </a:lnTo>
                <a:lnTo>
                  <a:pt x="30" y="11"/>
                </a:lnTo>
                <a:close/>
              </a:path>
            </a:pathLst>
          </a:custGeom>
          <a:solidFill>
            <a:schemeClr val="accent1"/>
          </a:solidFill>
          <a:ln w="6350">
            <a:solidFill>
              <a:schemeClr val="tx2"/>
            </a:solidFill>
            <a:round/>
            <a:headEnd/>
            <a:tailEnd/>
          </a:ln>
        </p:spPr>
        <p:txBody>
          <a:bodyPr/>
          <a:lstStyle/>
          <a:p>
            <a:endParaRPr lang="en-US"/>
          </a:p>
        </p:txBody>
      </p:sp>
      <p:sp>
        <p:nvSpPr>
          <p:cNvPr id="167" name="Freeform 1053"/>
          <p:cNvSpPr>
            <a:spLocks/>
          </p:cNvSpPr>
          <p:nvPr/>
        </p:nvSpPr>
        <p:spPr bwMode="auto">
          <a:xfrm>
            <a:off x="3842561" y="4129278"/>
            <a:ext cx="43001" cy="15284"/>
          </a:xfrm>
          <a:custGeom>
            <a:avLst/>
            <a:gdLst>
              <a:gd name="T0" fmla="*/ 2147483647 w 88"/>
              <a:gd name="T1" fmla="*/ 2147483647 h 36"/>
              <a:gd name="T2" fmla="*/ 2147483647 w 88"/>
              <a:gd name="T3" fmla="*/ 2147483647 h 36"/>
              <a:gd name="T4" fmla="*/ 2147483647 w 88"/>
              <a:gd name="T5" fmla="*/ 2147483647 h 36"/>
              <a:gd name="T6" fmla="*/ 2147483647 w 88"/>
              <a:gd name="T7" fmla="*/ 2147483647 h 36"/>
              <a:gd name="T8" fmla="*/ 2147483647 w 88"/>
              <a:gd name="T9" fmla="*/ 2147483647 h 36"/>
              <a:gd name="T10" fmla="*/ 2147483647 w 88"/>
              <a:gd name="T11" fmla="*/ 2147483647 h 36"/>
              <a:gd name="T12" fmla="*/ 2147483647 w 88"/>
              <a:gd name="T13" fmla="*/ 2147483647 h 36"/>
              <a:gd name="T14" fmla="*/ 2147483647 w 88"/>
              <a:gd name="T15" fmla="*/ 2147483647 h 36"/>
              <a:gd name="T16" fmla="*/ 0 w 88"/>
              <a:gd name="T17" fmla="*/ 2147483647 h 36"/>
              <a:gd name="T18" fmla="*/ 2147483647 w 88"/>
              <a:gd name="T19" fmla="*/ 0 h 36"/>
              <a:gd name="T20" fmla="*/ 2147483647 w 88"/>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36"/>
              <a:gd name="T35" fmla="*/ 88 w 88"/>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36">
                <a:moveTo>
                  <a:pt x="50" y="4"/>
                </a:moveTo>
                <a:lnTo>
                  <a:pt x="66" y="13"/>
                </a:lnTo>
                <a:lnTo>
                  <a:pt x="82" y="14"/>
                </a:lnTo>
                <a:lnTo>
                  <a:pt x="88" y="29"/>
                </a:lnTo>
                <a:lnTo>
                  <a:pt x="69" y="27"/>
                </a:lnTo>
                <a:lnTo>
                  <a:pt x="53" y="30"/>
                </a:lnTo>
                <a:lnTo>
                  <a:pt x="50" y="36"/>
                </a:lnTo>
                <a:lnTo>
                  <a:pt x="26" y="30"/>
                </a:lnTo>
                <a:lnTo>
                  <a:pt x="0" y="9"/>
                </a:lnTo>
                <a:lnTo>
                  <a:pt x="19" y="0"/>
                </a:lnTo>
                <a:lnTo>
                  <a:pt x="50" y="4"/>
                </a:lnTo>
                <a:close/>
              </a:path>
            </a:pathLst>
          </a:custGeom>
          <a:solidFill>
            <a:schemeClr val="accent1"/>
          </a:solidFill>
          <a:ln w="6350">
            <a:solidFill>
              <a:schemeClr val="tx2"/>
            </a:solidFill>
            <a:round/>
            <a:headEnd/>
            <a:tailEnd/>
          </a:ln>
        </p:spPr>
        <p:txBody>
          <a:bodyPr/>
          <a:lstStyle/>
          <a:p>
            <a:endParaRPr lang="en-US"/>
          </a:p>
        </p:txBody>
      </p:sp>
      <p:sp>
        <p:nvSpPr>
          <p:cNvPr id="168" name="Freeform 1054"/>
          <p:cNvSpPr>
            <a:spLocks/>
          </p:cNvSpPr>
          <p:nvPr/>
        </p:nvSpPr>
        <p:spPr bwMode="auto">
          <a:xfrm>
            <a:off x="3944328" y="4121635"/>
            <a:ext cx="8600" cy="3820"/>
          </a:xfrm>
          <a:custGeom>
            <a:avLst/>
            <a:gdLst>
              <a:gd name="T0" fmla="*/ 2147483647 w 20"/>
              <a:gd name="T1" fmla="*/ 0 h 10"/>
              <a:gd name="T2" fmla="*/ 2147483647 w 20"/>
              <a:gd name="T3" fmla="*/ 2147483647 h 10"/>
              <a:gd name="T4" fmla="*/ 2147483647 w 20"/>
              <a:gd name="T5" fmla="*/ 2147483647 h 10"/>
              <a:gd name="T6" fmla="*/ 2147483647 w 20"/>
              <a:gd name="T7" fmla="*/ 2147483647 h 10"/>
              <a:gd name="T8" fmla="*/ 0 w 20"/>
              <a:gd name="T9" fmla="*/ 2147483647 h 10"/>
              <a:gd name="T10" fmla="*/ 2147483647 w 20"/>
              <a:gd name="T11" fmla="*/ 0 h 10"/>
              <a:gd name="T12" fmla="*/ 0 60000 65536"/>
              <a:gd name="T13" fmla="*/ 0 60000 65536"/>
              <a:gd name="T14" fmla="*/ 0 60000 65536"/>
              <a:gd name="T15" fmla="*/ 0 60000 65536"/>
              <a:gd name="T16" fmla="*/ 0 60000 65536"/>
              <a:gd name="T17" fmla="*/ 0 60000 65536"/>
              <a:gd name="T18" fmla="*/ 0 w 20"/>
              <a:gd name="T19" fmla="*/ 0 h 10"/>
              <a:gd name="T20" fmla="*/ 20 w 2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0" h="10">
                <a:moveTo>
                  <a:pt x="12" y="0"/>
                </a:moveTo>
                <a:lnTo>
                  <a:pt x="19" y="3"/>
                </a:lnTo>
                <a:lnTo>
                  <a:pt x="20" y="10"/>
                </a:lnTo>
                <a:lnTo>
                  <a:pt x="4" y="6"/>
                </a:lnTo>
                <a:lnTo>
                  <a:pt x="0" y="1"/>
                </a:lnTo>
                <a:lnTo>
                  <a:pt x="12" y="0"/>
                </a:lnTo>
                <a:close/>
              </a:path>
            </a:pathLst>
          </a:custGeom>
          <a:solidFill>
            <a:schemeClr val="accent1"/>
          </a:solidFill>
          <a:ln w="6350">
            <a:solidFill>
              <a:schemeClr val="tx2"/>
            </a:solidFill>
            <a:round/>
            <a:headEnd/>
            <a:tailEnd/>
          </a:ln>
        </p:spPr>
        <p:txBody>
          <a:bodyPr/>
          <a:lstStyle/>
          <a:p>
            <a:endParaRPr lang="en-US"/>
          </a:p>
        </p:txBody>
      </p:sp>
      <p:sp>
        <p:nvSpPr>
          <p:cNvPr id="169" name="Freeform 1055"/>
          <p:cNvSpPr>
            <a:spLocks/>
          </p:cNvSpPr>
          <p:nvPr/>
        </p:nvSpPr>
        <p:spPr bwMode="auto">
          <a:xfrm>
            <a:off x="3951494" y="4098710"/>
            <a:ext cx="4300" cy="2547"/>
          </a:xfrm>
          <a:custGeom>
            <a:avLst/>
            <a:gdLst>
              <a:gd name="T0" fmla="*/ 2147483647 w 8"/>
              <a:gd name="T1" fmla="*/ 0 h 6"/>
              <a:gd name="T2" fmla="*/ 2147483647 w 8"/>
              <a:gd name="T3" fmla="*/ 2147483647 h 6"/>
              <a:gd name="T4" fmla="*/ 0 w 8"/>
              <a:gd name="T5" fmla="*/ 2147483647 h 6"/>
              <a:gd name="T6" fmla="*/ 2147483647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3" y="0"/>
                </a:moveTo>
                <a:lnTo>
                  <a:pt x="8" y="6"/>
                </a:lnTo>
                <a:lnTo>
                  <a:pt x="0" y="5"/>
                </a:lnTo>
                <a:lnTo>
                  <a:pt x="3" y="0"/>
                </a:lnTo>
                <a:close/>
              </a:path>
            </a:pathLst>
          </a:custGeom>
          <a:solidFill>
            <a:schemeClr val="accent1"/>
          </a:solidFill>
          <a:ln w="6350">
            <a:solidFill>
              <a:schemeClr val="tx2"/>
            </a:solidFill>
            <a:round/>
            <a:headEnd/>
            <a:tailEnd/>
          </a:ln>
        </p:spPr>
        <p:txBody>
          <a:bodyPr/>
          <a:lstStyle/>
          <a:p>
            <a:endParaRPr lang="en-US"/>
          </a:p>
        </p:txBody>
      </p:sp>
      <p:sp>
        <p:nvSpPr>
          <p:cNvPr id="170" name="Freeform 1056"/>
          <p:cNvSpPr>
            <a:spLocks/>
          </p:cNvSpPr>
          <p:nvPr/>
        </p:nvSpPr>
        <p:spPr bwMode="auto">
          <a:xfrm>
            <a:off x="4057561" y="4135645"/>
            <a:ext cx="31533" cy="10189"/>
          </a:xfrm>
          <a:custGeom>
            <a:avLst/>
            <a:gdLst>
              <a:gd name="T0" fmla="*/ 2147483647 w 65"/>
              <a:gd name="T1" fmla="*/ 2147483647 h 25"/>
              <a:gd name="T2" fmla="*/ 2147483647 w 65"/>
              <a:gd name="T3" fmla="*/ 2147483647 h 25"/>
              <a:gd name="T4" fmla="*/ 2147483647 w 65"/>
              <a:gd name="T5" fmla="*/ 2147483647 h 25"/>
              <a:gd name="T6" fmla="*/ 2147483647 w 65"/>
              <a:gd name="T7" fmla="*/ 2147483647 h 25"/>
              <a:gd name="T8" fmla="*/ 2147483647 w 65"/>
              <a:gd name="T9" fmla="*/ 2147483647 h 25"/>
              <a:gd name="T10" fmla="*/ 0 w 65"/>
              <a:gd name="T11" fmla="*/ 2147483647 h 25"/>
              <a:gd name="T12" fmla="*/ 2147483647 w 65"/>
              <a:gd name="T13" fmla="*/ 0 h 25"/>
              <a:gd name="T14" fmla="*/ 2147483647 w 65"/>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25"/>
              <a:gd name="T26" fmla="*/ 65 w 65"/>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25">
                <a:moveTo>
                  <a:pt x="61" y="3"/>
                </a:moveTo>
                <a:lnTo>
                  <a:pt x="65" y="14"/>
                </a:lnTo>
                <a:lnTo>
                  <a:pt x="55" y="23"/>
                </a:lnTo>
                <a:lnTo>
                  <a:pt x="41" y="25"/>
                </a:lnTo>
                <a:lnTo>
                  <a:pt x="7" y="25"/>
                </a:lnTo>
                <a:lnTo>
                  <a:pt x="0" y="9"/>
                </a:lnTo>
                <a:lnTo>
                  <a:pt x="4" y="0"/>
                </a:lnTo>
                <a:lnTo>
                  <a:pt x="61" y="3"/>
                </a:lnTo>
                <a:close/>
              </a:path>
            </a:pathLst>
          </a:custGeom>
          <a:solidFill>
            <a:schemeClr val="accent1"/>
          </a:solidFill>
          <a:ln w="6350">
            <a:solidFill>
              <a:schemeClr val="tx2"/>
            </a:solidFill>
            <a:round/>
            <a:headEnd/>
            <a:tailEnd/>
          </a:ln>
        </p:spPr>
        <p:txBody>
          <a:bodyPr/>
          <a:lstStyle/>
          <a:p>
            <a:endParaRPr lang="en-US"/>
          </a:p>
        </p:txBody>
      </p:sp>
      <p:sp>
        <p:nvSpPr>
          <p:cNvPr id="171" name="Freeform 1057"/>
          <p:cNvSpPr>
            <a:spLocks/>
          </p:cNvSpPr>
          <p:nvPr/>
        </p:nvSpPr>
        <p:spPr bwMode="auto">
          <a:xfrm>
            <a:off x="4101996" y="4136919"/>
            <a:ext cx="2866" cy="2547"/>
          </a:xfrm>
          <a:custGeom>
            <a:avLst/>
            <a:gdLst>
              <a:gd name="T0" fmla="*/ 2147483647 w 3"/>
              <a:gd name="T1" fmla="*/ 0 h 5"/>
              <a:gd name="T2" fmla="*/ 0 w 3"/>
              <a:gd name="T3" fmla="*/ 2147483647 h 5"/>
              <a:gd name="T4" fmla="*/ 2147483647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0"/>
                </a:moveTo>
                <a:lnTo>
                  <a:pt x="0" y="5"/>
                </a:lnTo>
                <a:lnTo>
                  <a:pt x="3" y="0"/>
                </a:lnTo>
                <a:close/>
              </a:path>
            </a:pathLst>
          </a:custGeom>
          <a:solidFill>
            <a:schemeClr val="accent1"/>
          </a:solidFill>
          <a:ln w="6350">
            <a:solidFill>
              <a:schemeClr val="tx2"/>
            </a:solidFill>
            <a:round/>
            <a:headEnd/>
            <a:tailEnd/>
          </a:ln>
        </p:spPr>
        <p:txBody>
          <a:bodyPr/>
          <a:lstStyle/>
          <a:p>
            <a:endParaRPr lang="en-US"/>
          </a:p>
        </p:txBody>
      </p:sp>
      <p:sp>
        <p:nvSpPr>
          <p:cNvPr id="172" name="Freeform 1058"/>
          <p:cNvSpPr>
            <a:spLocks/>
          </p:cNvSpPr>
          <p:nvPr/>
        </p:nvSpPr>
        <p:spPr bwMode="auto">
          <a:xfrm>
            <a:off x="4107729" y="4149655"/>
            <a:ext cx="2866" cy="1273"/>
          </a:xfrm>
          <a:custGeom>
            <a:avLst/>
            <a:gdLst>
              <a:gd name="T0" fmla="*/ 0 w 5"/>
              <a:gd name="T1" fmla="*/ 2147483647 h 5"/>
              <a:gd name="T2" fmla="*/ 0 w 5"/>
              <a:gd name="T3" fmla="*/ 2147483647 h 5"/>
              <a:gd name="T4" fmla="*/ 2147483647 w 5"/>
              <a:gd name="T5" fmla="*/ 0 h 5"/>
              <a:gd name="T6" fmla="*/ 0 w 5"/>
              <a:gd name="T7" fmla="*/ 2147483647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1"/>
                </a:moveTo>
                <a:lnTo>
                  <a:pt x="0" y="5"/>
                </a:lnTo>
                <a:lnTo>
                  <a:pt x="5" y="0"/>
                </a:lnTo>
                <a:lnTo>
                  <a:pt x="0" y="1"/>
                </a:lnTo>
                <a:close/>
              </a:path>
            </a:pathLst>
          </a:custGeom>
          <a:solidFill>
            <a:schemeClr val="accent1"/>
          </a:solidFill>
          <a:ln w="6350">
            <a:solidFill>
              <a:schemeClr val="tx2"/>
            </a:solidFill>
            <a:round/>
            <a:headEnd/>
            <a:tailEnd/>
          </a:ln>
        </p:spPr>
        <p:txBody>
          <a:bodyPr/>
          <a:lstStyle/>
          <a:p>
            <a:endParaRPr lang="en-US"/>
          </a:p>
        </p:txBody>
      </p:sp>
      <p:sp>
        <p:nvSpPr>
          <p:cNvPr id="173" name="Freeform 1059"/>
          <p:cNvSpPr>
            <a:spLocks/>
          </p:cNvSpPr>
          <p:nvPr/>
        </p:nvSpPr>
        <p:spPr bwMode="auto">
          <a:xfrm>
            <a:off x="4021728" y="4247727"/>
            <a:ext cx="5734" cy="5095"/>
          </a:xfrm>
          <a:custGeom>
            <a:avLst/>
            <a:gdLst>
              <a:gd name="T0" fmla="*/ 2147483647 w 14"/>
              <a:gd name="T1" fmla="*/ 2147483647 h 13"/>
              <a:gd name="T2" fmla="*/ 0 w 14"/>
              <a:gd name="T3" fmla="*/ 0 h 13"/>
              <a:gd name="T4" fmla="*/ 2147483647 w 14"/>
              <a:gd name="T5" fmla="*/ 2147483647 h 13"/>
              <a:gd name="T6" fmla="*/ 2147483647 w 14"/>
              <a:gd name="T7" fmla="*/ 2147483647 h 13"/>
              <a:gd name="T8" fmla="*/ 2147483647 w 14"/>
              <a:gd name="T9" fmla="*/ 2147483647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3" y="4"/>
                </a:moveTo>
                <a:lnTo>
                  <a:pt x="0" y="0"/>
                </a:lnTo>
                <a:lnTo>
                  <a:pt x="3" y="9"/>
                </a:lnTo>
                <a:lnTo>
                  <a:pt x="14" y="13"/>
                </a:lnTo>
                <a:lnTo>
                  <a:pt x="3" y="4"/>
                </a:lnTo>
                <a:close/>
              </a:path>
            </a:pathLst>
          </a:custGeom>
          <a:solidFill>
            <a:schemeClr val="accent1"/>
          </a:solidFill>
          <a:ln w="6350">
            <a:solidFill>
              <a:schemeClr val="tx2"/>
            </a:solidFill>
            <a:round/>
            <a:headEnd/>
            <a:tailEnd/>
          </a:ln>
        </p:spPr>
        <p:txBody>
          <a:bodyPr/>
          <a:lstStyle/>
          <a:p>
            <a:endParaRPr lang="en-US"/>
          </a:p>
        </p:txBody>
      </p:sp>
      <p:sp>
        <p:nvSpPr>
          <p:cNvPr id="174" name="Freeform 1060"/>
          <p:cNvSpPr>
            <a:spLocks/>
          </p:cNvSpPr>
          <p:nvPr/>
        </p:nvSpPr>
        <p:spPr bwMode="auto">
          <a:xfrm>
            <a:off x="4036062" y="4250274"/>
            <a:ext cx="1432" cy="3821"/>
          </a:xfrm>
          <a:custGeom>
            <a:avLst/>
            <a:gdLst>
              <a:gd name="T0" fmla="*/ 0 w 6"/>
              <a:gd name="T1" fmla="*/ 0 h 9"/>
              <a:gd name="T2" fmla="*/ 2147483647 w 6"/>
              <a:gd name="T3" fmla="*/ 2147483647 h 9"/>
              <a:gd name="T4" fmla="*/ 2147483647 w 6"/>
              <a:gd name="T5" fmla="*/ 2147483647 h 9"/>
              <a:gd name="T6" fmla="*/ 0 w 6"/>
              <a:gd name="T7" fmla="*/ 0 h 9"/>
              <a:gd name="T8" fmla="*/ 0 60000 65536"/>
              <a:gd name="T9" fmla="*/ 0 60000 65536"/>
              <a:gd name="T10" fmla="*/ 0 60000 65536"/>
              <a:gd name="T11" fmla="*/ 0 60000 65536"/>
              <a:gd name="T12" fmla="*/ 0 w 6"/>
              <a:gd name="T13" fmla="*/ 0 h 9"/>
              <a:gd name="T14" fmla="*/ 6 w 6"/>
              <a:gd name="T15" fmla="*/ 9 h 9"/>
            </a:gdLst>
            <a:ahLst/>
            <a:cxnLst>
              <a:cxn ang="T8">
                <a:pos x="T0" y="T1"/>
              </a:cxn>
              <a:cxn ang="T9">
                <a:pos x="T2" y="T3"/>
              </a:cxn>
              <a:cxn ang="T10">
                <a:pos x="T4" y="T5"/>
              </a:cxn>
              <a:cxn ang="T11">
                <a:pos x="T6" y="T7"/>
              </a:cxn>
            </a:cxnLst>
            <a:rect l="T12" t="T13" r="T14" b="T15"/>
            <a:pathLst>
              <a:path w="6" h="9">
                <a:moveTo>
                  <a:pt x="0" y="0"/>
                </a:moveTo>
                <a:lnTo>
                  <a:pt x="6" y="9"/>
                </a:lnTo>
                <a:lnTo>
                  <a:pt x="6" y="2"/>
                </a:lnTo>
                <a:lnTo>
                  <a:pt x="0" y="0"/>
                </a:lnTo>
                <a:close/>
              </a:path>
            </a:pathLst>
          </a:custGeom>
          <a:solidFill>
            <a:schemeClr val="accent1"/>
          </a:solidFill>
          <a:ln w="6350">
            <a:solidFill>
              <a:schemeClr val="tx2"/>
            </a:solidFill>
            <a:round/>
            <a:headEnd/>
            <a:tailEnd/>
          </a:ln>
        </p:spPr>
        <p:txBody>
          <a:bodyPr/>
          <a:lstStyle/>
          <a:p>
            <a:endParaRPr lang="en-US"/>
          </a:p>
        </p:txBody>
      </p:sp>
      <p:sp>
        <p:nvSpPr>
          <p:cNvPr id="175" name="Freeform 1061"/>
          <p:cNvSpPr>
            <a:spLocks/>
          </p:cNvSpPr>
          <p:nvPr/>
        </p:nvSpPr>
        <p:spPr bwMode="auto">
          <a:xfrm>
            <a:off x="4117761" y="4270652"/>
            <a:ext cx="10034" cy="5095"/>
          </a:xfrm>
          <a:custGeom>
            <a:avLst/>
            <a:gdLst>
              <a:gd name="T0" fmla="*/ 2147483647 w 25"/>
              <a:gd name="T1" fmla="*/ 0 h 12"/>
              <a:gd name="T2" fmla="*/ 2147483647 w 25"/>
              <a:gd name="T3" fmla="*/ 2147483647 h 12"/>
              <a:gd name="T4" fmla="*/ 2147483647 w 25"/>
              <a:gd name="T5" fmla="*/ 2147483647 h 12"/>
              <a:gd name="T6" fmla="*/ 2147483647 w 25"/>
              <a:gd name="T7" fmla="*/ 2147483647 h 12"/>
              <a:gd name="T8" fmla="*/ 0 w 25"/>
              <a:gd name="T9" fmla="*/ 2147483647 h 12"/>
              <a:gd name="T10" fmla="*/ 2147483647 w 25"/>
              <a:gd name="T11" fmla="*/ 2147483647 h 12"/>
              <a:gd name="T12" fmla="*/ 2147483647 w 25"/>
              <a:gd name="T13" fmla="*/ 0 h 12"/>
              <a:gd name="T14" fmla="*/ 0 60000 65536"/>
              <a:gd name="T15" fmla="*/ 0 60000 65536"/>
              <a:gd name="T16" fmla="*/ 0 60000 65536"/>
              <a:gd name="T17" fmla="*/ 0 60000 65536"/>
              <a:gd name="T18" fmla="*/ 0 60000 65536"/>
              <a:gd name="T19" fmla="*/ 0 60000 65536"/>
              <a:gd name="T20" fmla="*/ 0 60000 65536"/>
              <a:gd name="T21" fmla="*/ 0 w 25"/>
              <a:gd name="T22" fmla="*/ 0 h 12"/>
              <a:gd name="T23" fmla="*/ 25 w 2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2">
                <a:moveTo>
                  <a:pt x="20" y="0"/>
                </a:moveTo>
                <a:lnTo>
                  <a:pt x="25" y="7"/>
                </a:lnTo>
                <a:lnTo>
                  <a:pt x="16" y="12"/>
                </a:lnTo>
                <a:lnTo>
                  <a:pt x="2" y="9"/>
                </a:lnTo>
                <a:lnTo>
                  <a:pt x="0" y="5"/>
                </a:lnTo>
                <a:lnTo>
                  <a:pt x="12" y="6"/>
                </a:lnTo>
                <a:lnTo>
                  <a:pt x="20" y="0"/>
                </a:lnTo>
                <a:close/>
              </a:path>
            </a:pathLst>
          </a:custGeom>
          <a:solidFill>
            <a:schemeClr val="accent1"/>
          </a:solidFill>
          <a:ln w="6350">
            <a:solidFill>
              <a:schemeClr val="tx2"/>
            </a:solidFill>
            <a:round/>
            <a:headEnd/>
            <a:tailEnd/>
          </a:ln>
        </p:spPr>
        <p:txBody>
          <a:bodyPr/>
          <a:lstStyle/>
          <a:p>
            <a:endParaRPr lang="en-US"/>
          </a:p>
        </p:txBody>
      </p:sp>
      <p:sp>
        <p:nvSpPr>
          <p:cNvPr id="176" name="Freeform 1062"/>
          <p:cNvSpPr>
            <a:spLocks/>
          </p:cNvSpPr>
          <p:nvPr/>
        </p:nvSpPr>
        <p:spPr bwMode="auto">
          <a:xfrm>
            <a:off x="4170796" y="4251548"/>
            <a:ext cx="2866" cy="3820"/>
          </a:xfrm>
          <a:custGeom>
            <a:avLst/>
            <a:gdLst>
              <a:gd name="T0" fmla="*/ 2147483647 w 7"/>
              <a:gd name="T1" fmla="*/ 0 h 9"/>
              <a:gd name="T2" fmla="*/ 0 w 7"/>
              <a:gd name="T3" fmla="*/ 2147483647 h 9"/>
              <a:gd name="T4" fmla="*/ 2147483647 w 7"/>
              <a:gd name="T5" fmla="*/ 0 h 9"/>
              <a:gd name="T6" fmla="*/ 0 60000 65536"/>
              <a:gd name="T7" fmla="*/ 0 60000 65536"/>
              <a:gd name="T8" fmla="*/ 0 60000 65536"/>
              <a:gd name="T9" fmla="*/ 0 w 7"/>
              <a:gd name="T10" fmla="*/ 0 h 9"/>
              <a:gd name="T11" fmla="*/ 7 w 7"/>
              <a:gd name="T12" fmla="*/ 9 h 9"/>
            </a:gdLst>
            <a:ahLst/>
            <a:cxnLst>
              <a:cxn ang="T6">
                <a:pos x="T0" y="T1"/>
              </a:cxn>
              <a:cxn ang="T7">
                <a:pos x="T2" y="T3"/>
              </a:cxn>
              <a:cxn ang="T8">
                <a:pos x="T4" y="T5"/>
              </a:cxn>
            </a:cxnLst>
            <a:rect l="T9" t="T10" r="T11" b="T12"/>
            <a:pathLst>
              <a:path w="7" h="9">
                <a:moveTo>
                  <a:pt x="7" y="0"/>
                </a:moveTo>
                <a:lnTo>
                  <a:pt x="0" y="9"/>
                </a:lnTo>
                <a:lnTo>
                  <a:pt x="7" y="0"/>
                </a:lnTo>
                <a:close/>
              </a:path>
            </a:pathLst>
          </a:custGeom>
          <a:solidFill>
            <a:schemeClr val="accent1"/>
          </a:solidFill>
          <a:ln w="6350">
            <a:solidFill>
              <a:schemeClr val="tx2"/>
            </a:solidFill>
            <a:round/>
            <a:headEnd/>
            <a:tailEnd/>
          </a:ln>
        </p:spPr>
        <p:txBody>
          <a:bodyPr/>
          <a:lstStyle/>
          <a:p>
            <a:endParaRPr lang="en-US"/>
          </a:p>
        </p:txBody>
      </p:sp>
      <p:sp>
        <p:nvSpPr>
          <p:cNvPr id="177" name="Freeform 1063"/>
          <p:cNvSpPr>
            <a:spLocks/>
          </p:cNvSpPr>
          <p:nvPr/>
        </p:nvSpPr>
        <p:spPr bwMode="auto">
          <a:xfrm>
            <a:off x="4182262" y="4231170"/>
            <a:ext cx="2866" cy="3820"/>
          </a:xfrm>
          <a:custGeom>
            <a:avLst/>
            <a:gdLst>
              <a:gd name="T0" fmla="*/ 2147483647 w 2"/>
              <a:gd name="T1" fmla="*/ 0 h 10"/>
              <a:gd name="T2" fmla="*/ 0 w 2"/>
              <a:gd name="T3" fmla="*/ 2147483647 h 10"/>
              <a:gd name="T4" fmla="*/ 2147483647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2" y="0"/>
                </a:moveTo>
                <a:lnTo>
                  <a:pt x="0" y="10"/>
                </a:lnTo>
                <a:lnTo>
                  <a:pt x="2" y="0"/>
                </a:lnTo>
                <a:close/>
              </a:path>
            </a:pathLst>
          </a:custGeom>
          <a:solidFill>
            <a:schemeClr val="accent1"/>
          </a:solidFill>
          <a:ln w="6350">
            <a:solidFill>
              <a:schemeClr val="tx2"/>
            </a:solidFill>
            <a:round/>
            <a:headEnd/>
            <a:tailEnd/>
          </a:ln>
        </p:spPr>
        <p:txBody>
          <a:bodyPr/>
          <a:lstStyle/>
          <a:p>
            <a:endParaRPr lang="en-US"/>
          </a:p>
        </p:txBody>
      </p:sp>
      <p:sp>
        <p:nvSpPr>
          <p:cNvPr id="178" name="Freeform 1064"/>
          <p:cNvSpPr>
            <a:spLocks/>
          </p:cNvSpPr>
          <p:nvPr/>
        </p:nvSpPr>
        <p:spPr bwMode="auto">
          <a:xfrm>
            <a:off x="4185129" y="4218433"/>
            <a:ext cx="0" cy="6368"/>
          </a:xfrm>
          <a:custGeom>
            <a:avLst/>
            <a:gdLst>
              <a:gd name="T0" fmla="*/ 0 w 3"/>
              <a:gd name="T1" fmla="*/ 0 h 14"/>
              <a:gd name="T2" fmla="*/ 0 w 3"/>
              <a:gd name="T3" fmla="*/ 2147483647 h 14"/>
              <a:gd name="T4" fmla="*/ 0 w 3"/>
              <a:gd name="T5" fmla="*/ 2147483647 h 14"/>
              <a:gd name="T6" fmla="*/ 0 w 3"/>
              <a:gd name="T7" fmla="*/ 0 h 14"/>
              <a:gd name="T8" fmla="*/ 0 60000 65536"/>
              <a:gd name="T9" fmla="*/ 0 60000 65536"/>
              <a:gd name="T10" fmla="*/ 0 60000 65536"/>
              <a:gd name="T11" fmla="*/ 0 60000 65536"/>
              <a:gd name="T12" fmla="*/ 0 w 3"/>
              <a:gd name="T13" fmla="*/ 0 h 14"/>
              <a:gd name="T14" fmla="*/ 0 w 3"/>
              <a:gd name="T15" fmla="*/ 14 h 14"/>
            </a:gdLst>
            <a:ahLst/>
            <a:cxnLst>
              <a:cxn ang="T8">
                <a:pos x="T0" y="T1"/>
              </a:cxn>
              <a:cxn ang="T9">
                <a:pos x="T2" y="T3"/>
              </a:cxn>
              <a:cxn ang="T10">
                <a:pos x="T4" y="T5"/>
              </a:cxn>
              <a:cxn ang="T11">
                <a:pos x="T6" y="T7"/>
              </a:cxn>
            </a:cxnLst>
            <a:rect l="T12" t="T13" r="T14" b="T15"/>
            <a:pathLst>
              <a:path w="3" h="14">
                <a:moveTo>
                  <a:pt x="3" y="0"/>
                </a:moveTo>
                <a:lnTo>
                  <a:pt x="0" y="13"/>
                </a:lnTo>
                <a:lnTo>
                  <a:pt x="3" y="14"/>
                </a:lnTo>
                <a:lnTo>
                  <a:pt x="3" y="0"/>
                </a:lnTo>
                <a:close/>
              </a:path>
            </a:pathLst>
          </a:custGeom>
          <a:solidFill>
            <a:schemeClr val="accent1"/>
          </a:solidFill>
          <a:ln w="6350">
            <a:solidFill>
              <a:schemeClr val="tx2"/>
            </a:solidFill>
            <a:round/>
            <a:headEnd/>
            <a:tailEnd/>
          </a:ln>
        </p:spPr>
        <p:txBody>
          <a:bodyPr/>
          <a:lstStyle/>
          <a:p>
            <a:endParaRPr lang="en-US"/>
          </a:p>
        </p:txBody>
      </p:sp>
      <p:sp>
        <p:nvSpPr>
          <p:cNvPr id="179" name="Freeform 1065"/>
          <p:cNvSpPr>
            <a:spLocks/>
          </p:cNvSpPr>
          <p:nvPr/>
        </p:nvSpPr>
        <p:spPr bwMode="auto">
          <a:xfrm>
            <a:off x="4179396" y="4201875"/>
            <a:ext cx="8600" cy="8916"/>
          </a:xfrm>
          <a:custGeom>
            <a:avLst/>
            <a:gdLst>
              <a:gd name="T0" fmla="*/ 0 w 13"/>
              <a:gd name="T1" fmla="*/ 0 h 20"/>
              <a:gd name="T2" fmla="*/ 2147483647 w 13"/>
              <a:gd name="T3" fmla="*/ 2147483647 h 20"/>
              <a:gd name="T4" fmla="*/ 2147483647 w 13"/>
              <a:gd name="T5" fmla="*/ 2147483647 h 20"/>
              <a:gd name="T6" fmla="*/ 2147483647 w 13"/>
              <a:gd name="T7" fmla="*/ 2147483647 h 20"/>
              <a:gd name="T8" fmla="*/ 0 w 13"/>
              <a:gd name="T9" fmla="*/ 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0"/>
                </a:moveTo>
                <a:lnTo>
                  <a:pt x="8" y="6"/>
                </a:lnTo>
                <a:lnTo>
                  <a:pt x="13" y="20"/>
                </a:lnTo>
                <a:lnTo>
                  <a:pt x="6" y="19"/>
                </a:lnTo>
                <a:lnTo>
                  <a:pt x="0" y="0"/>
                </a:lnTo>
                <a:close/>
              </a:path>
            </a:pathLst>
          </a:custGeom>
          <a:solidFill>
            <a:schemeClr val="accent1"/>
          </a:solidFill>
          <a:ln w="6350">
            <a:solidFill>
              <a:schemeClr val="tx2"/>
            </a:solidFill>
            <a:round/>
            <a:headEnd/>
            <a:tailEnd/>
          </a:ln>
        </p:spPr>
        <p:txBody>
          <a:bodyPr/>
          <a:lstStyle/>
          <a:p>
            <a:endParaRPr lang="en-US"/>
          </a:p>
        </p:txBody>
      </p:sp>
      <p:sp>
        <p:nvSpPr>
          <p:cNvPr id="180" name="Freeform 1066"/>
          <p:cNvSpPr>
            <a:spLocks/>
          </p:cNvSpPr>
          <p:nvPr/>
        </p:nvSpPr>
        <p:spPr bwMode="auto">
          <a:xfrm>
            <a:off x="4177962" y="4189138"/>
            <a:ext cx="2866" cy="6369"/>
          </a:xfrm>
          <a:custGeom>
            <a:avLst/>
            <a:gdLst>
              <a:gd name="T0" fmla="*/ 2147483647 w 7"/>
              <a:gd name="T1" fmla="*/ 0 h 17"/>
              <a:gd name="T2" fmla="*/ 0 w 7"/>
              <a:gd name="T3" fmla="*/ 2147483647 h 17"/>
              <a:gd name="T4" fmla="*/ 2147483647 w 7"/>
              <a:gd name="T5" fmla="*/ 2147483647 h 17"/>
              <a:gd name="T6" fmla="*/ 2147483647 w 7"/>
              <a:gd name="T7" fmla="*/ 2147483647 h 17"/>
              <a:gd name="T8" fmla="*/ 2147483647 w 7"/>
              <a:gd name="T9" fmla="*/ 0 h 17"/>
              <a:gd name="T10" fmla="*/ 0 60000 65536"/>
              <a:gd name="T11" fmla="*/ 0 60000 65536"/>
              <a:gd name="T12" fmla="*/ 0 60000 65536"/>
              <a:gd name="T13" fmla="*/ 0 60000 65536"/>
              <a:gd name="T14" fmla="*/ 0 60000 65536"/>
              <a:gd name="T15" fmla="*/ 0 w 7"/>
              <a:gd name="T16" fmla="*/ 0 h 17"/>
              <a:gd name="T17" fmla="*/ 7 w 7"/>
              <a:gd name="T18" fmla="*/ 17 h 17"/>
            </a:gdLst>
            <a:ahLst/>
            <a:cxnLst>
              <a:cxn ang="T10">
                <a:pos x="T0" y="T1"/>
              </a:cxn>
              <a:cxn ang="T11">
                <a:pos x="T2" y="T3"/>
              </a:cxn>
              <a:cxn ang="T12">
                <a:pos x="T4" y="T5"/>
              </a:cxn>
              <a:cxn ang="T13">
                <a:pos x="T6" y="T7"/>
              </a:cxn>
              <a:cxn ang="T14">
                <a:pos x="T8" y="T9"/>
              </a:cxn>
            </a:cxnLst>
            <a:rect l="T15" t="T16" r="T17" b="T18"/>
            <a:pathLst>
              <a:path w="7" h="17">
                <a:moveTo>
                  <a:pt x="3" y="0"/>
                </a:moveTo>
                <a:lnTo>
                  <a:pt x="0" y="12"/>
                </a:lnTo>
                <a:lnTo>
                  <a:pt x="6" y="17"/>
                </a:lnTo>
                <a:lnTo>
                  <a:pt x="7" y="3"/>
                </a:lnTo>
                <a:lnTo>
                  <a:pt x="3" y="0"/>
                </a:lnTo>
                <a:close/>
              </a:path>
            </a:pathLst>
          </a:custGeom>
          <a:solidFill>
            <a:schemeClr val="accent1"/>
          </a:solidFill>
          <a:ln w="6350">
            <a:solidFill>
              <a:schemeClr val="tx2"/>
            </a:solidFill>
            <a:round/>
            <a:headEnd/>
            <a:tailEnd/>
          </a:ln>
        </p:spPr>
        <p:txBody>
          <a:bodyPr/>
          <a:lstStyle/>
          <a:p>
            <a:endParaRPr lang="en-US"/>
          </a:p>
        </p:txBody>
      </p:sp>
      <p:sp>
        <p:nvSpPr>
          <p:cNvPr id="181" name="Freeform 1067"/>
          <p:cNvSpPr>
            <a:spLocks/>
          </p:cNvSpPr>
          <p:nvPr/>
        </p:nvSpPr>
        <p:spPr bwMode="auto">
          <a:xfrm>
            <a:off x="4169362" y="4172582"/>
            <a:ext cx="10034" cy="8915"/>
          </a:xfrm>
          <a:custGeom>
            <a:avLst/>
            <a:gdLst>
              <a:gd name="T0" fmla="*/ 2147483647 w 22"/>
              <a:gd name="T1" fmla="*/ 0 h 22"/>
              <a:gd name="T2" fmla="*/ 2147483647 w 22"/>
              <a:gd name="T3" fmla="*/ 2147483647 h 22"/>
              <a:gd name="T4" fmla="*/ 2147483647 w 22"/>
              <a:gd name="T5" fmla="*/ 2147483647 h 22"/>
              <a:gd name="T6" fmla="*/ 0 w 22"/>
              <a:gd name="T7" fmla="*/ 2147483647 h 22"/>
              <a:gd name="T8" fmla="*/ 2147483647 w 22"/>
              <a:gd name="T9" fmla="*/ 2147483647 h 22"/>
              <a:gd name="T10" fmla="*/ 2147483647 w 22"/>
              <a:gd name="T11" fmla="*/ 2147483647 h 22"/>
              <a:gd name="T12" fmla="*/ 2147483647 w 22"/>
              <a:gd name="T13" fmla="*/ 2147483647 h 22"/>
              <a:gd name="T14" fmla="*/ 2147483647 w 22"/>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2"/>
              <a:gd name="T26" fmla="*/ 22 w 22"/>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2">
                <a:moveTo>
                  <a:pt x="15" y="0"/>
                </a:moveTo>
                <a:lnTo>
                  <a:pt x="10" y="7"/>
                </a:lnTo>
                <a:lnTo>
                  <a:pt x="1" y="7"/>
                </a:lnTo>
                <a:lnTo>
                  <a:pt x="0" y="22"/>
                </a:lnTo>
                <a:lnTo>
                  <a:pt x="6" y="22"/>
                </a:lnTo>
                <a:lnTo>
                  <a:pt x="10" y="13"/>
                </a:lnTo>
                <a:lnTo>
                  <a:pt x="22" y="10"/>
                </a:lnTo>
                <a:lnTo>
                  <a:pt x="15" y="0"/>
                </a:lnTo>
                <a:close/>
              </a:path>
            </a:pathLst>
          </a:custGeom>
          <a:solidFill>
            <a:schemeClr val="accent1"/>
          </a:solidFill>
          <a:ln w="6350">
            <a:solidFill>
              <a:schemeClr val="tx2"/>
            </a:solidFill>
            <a:round/>
            <a:headEnd/>
            <a:tailEnd/>
          </a:ln>
        </p:spPr>
        <p:txBody>
          <a:bodyPr/>
          <a:lstStyle/>
          <a:p>
            <a:endParaRPr lang="en-US"/>
          </a:p>
        </p:txBody>
      </p:sp>
      <p:sp>
        <p:nvSpPr>
          <p:cNvPr id="182" name="Freeform 1068"/>
          <p:cNvSpPr>
            <a:spLocks/>
          </p:cNvSpPr>
          <p:nvPr/>
        </p:nvSpPr>
        <p:spPr bwMode="auto">
          <a:xfrm>
            <a:off x="4167929" y="4159845"/>
            <a:ext cx="2866" cy="2547"/>
          </a:xfrm>
          <a:custGeom>
            <a:avLst/>
            <a:gdLst>
              <a:gd name="T0" fmla="*/ 0 w 5"/>
              <a:gd name="T1" fmla="*/ 0 h 7"/>
              <a:gd name="T2" fmla="*/ 2147483647 w 5"/>
              <a:gd name="T3" fmla="*/ 2147483647 h 7"/>
              <a:gd name="T4" fmla="*/ 2147483647 w 5"/>
              <a:gd name="T5" fmla="*/ 2147483647 h 7"/>
              <a:gd name="T6" fmla="*/ 0 w 5"/>
              <a:gd name="T7" fmla="*/ 0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0"/>
                </a:moveTo>
                <a:lnTo>
                  <a:pt x="1" y="7"/>
                </a:lnTo>
                <a:lnTo>
                  <a:pt x="5" y="3"/>
                </a:lnTo>
                <a:lnTo>
                  <a:pt x="0" y="0"/>
                </a:lnTo>
                <a:close/>
              </a:path>
            </a:pathLst>
          </a:custGeom>
          <a:solidFill>
            <a:schemeClr val="accent1"/>
          </a:solidFill>
          <a:ln w="6350">
            <a:solidFill>
              <a:schemeClr val="tx2"/>
            </a:solidFill>
            <a:round/>
            <a:headEnd/>
            <a:tailEnd/>
          </a:ln>
        </p:spPr>
        <p:txBody>
          <a:bodyPr/>
          <a:lstStyle/>
          <a:p>
            <a:endParaRPr lang="en-US"/>
          </a:p>
        </p:txBody>
      </p:sp>
      <p:sp>
        <p:nvSpPr>
          <p:cNvPr id="183" name="Freeform 1069"/>
          <p:cNvSpPr>
            <a:spLocks/>
          </p:cNvSpPr>
          <p:nvPr/>
        </p:nvSpPr>
        <p:spPr bwMode="auto">
          <a:xfrm>
            <a:off x="4144995" y="4156023"/>
            <a:ext cx="2866" cy="1274"/>
          </a:xfrm>
          <a:custGeom>
            <a:avLst/>
            <a:gdLst>
              <a:gd name="T0" fmla="*/ 2147483647 w 4"/>
              <a:gd name="T1" fmla="*/ 2147483647 h 7"/>
              <a:gd name="T2" fmla="*/ 0 w 4"/>
              <a:gd name="T3" fmla="*/ 0 h 7"/>
              <a:gd name="T4" fmla="*/ 2147483647 w 4"/>
              <a:gd name="T5" fmla="*/ 2147483647 h 7"/>
              <a:gd name="T6" fmla="*/ 2147483647 w 4"/>
              <a:gd name="T7" fmla="*/ 2147483647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4" y="1"/>
                </a:moveTo>
                <a:lnTo>
                  <a:pt x="0" y="0"/>
                </a:lnTo>
                <a:lnTo>
                  <a:pt x="4" y="7"/>
                </a:lnTo>
                <a:lnTo>
                  <a:pt x="4" y="1"/>
                </a:lnTo>
                <a:close/>
              </a:path>
            </a:pathLst>
          </a:custGeom>
          <a:solidFill>
            <a:schemeClr val="accent1"/>
          </a:solidFill>
          <a:ln w="6350">
            <a:solidFill>
              <a:schemeClr val="tx2"/>
            </a:solidFill>
            <a:round/>
            <a:headEnd/>
            <a:tailEnd/>
          </a:ln>
        </p:spPr>
        <p:txBody>
          <a:bodyPr/>
          <a:lstStyle/>
          <a:p>
            <a:endParaRPr lang="en-US"/>
          </a:p>
        </p:txBody>
      </p:sp>
      <p:sp>
        <p:nvSpPr>
          <p:cNvPr id="184" name="Freeform 1070"/>
          <p:cNvSpPr>
            <a:spLocks/>
          </p:cNvSpPr>
          <p:nvPr/>
        </p:nvSpPr>
        <p:spPr bwMode="auto">
          <a:xfrm>
            <a:off x="4187996" y="4266832"/>
            <a:ext cx="5734" cy="3820"/>
          </a:xfrm>
          <a:custGeom>
            <a:avLst/>
            <a:gdLst>
              <a:gd name="T0" fmla="*/ 2147483647 w 12"/>
              <a:gd name="T1" fmla="*/ 0 h 7"/>
              <a:gd name="T2" fmla="*/ 0 w 12"/>
              <a:gd name="T3" fmla="*/ 2147483647 h 7"/>
              <a:gd name="T4" fmla="*/ 2147483647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solidFill>
            <a:schemeClr val="accent1"/>
          </a:solidFill>
          <a:ln w="6350">
            <a:solidFill>
              <a:schemeClr val="tx2"/>
            </a:solidFill>
            <a:round/>
            <a:headEnd/>
            <a:tailEnd/>
          </a:ln>
        </p:spPr>
        <p:txBody>
          <a:bodyPr/>
          <a:lstStyle/>
          <a:p>
            <a:endParaRPr lang="en-US"/>
          </a:p>
        </p:txBody>
      </p:sp>
      <p:sp>
        <p:nvSpPr>
          <p:cNvPr id="185" name="Freeform 1071"/>
          <p:cNvSpPr>
            <a:spLocks/>
          </p:cNvSpPr>
          <p:nvPr/>
        </p:nvSpPr>
        <p:spPr bwMode="auto">
          <a:xfrm>
            <a:off x="4167929" y="4277021"/>
            <a:ext cx="17201" cy="14010"/>
          </a:xfrm>
          <a:custGeom>
            <a:avLst/>
            <a:gdLst>
              <a:gd name="T0" fmla="*/ 2147483647 w 38"/>
              <a:gd name="T1" fmla="*/ 2147483647 h 34"/>
              <a:gd name="T2" fmla="*/ 2147483647 w 38"/>
              <a:gd name="T3" fmla="*/ 2147483647 h 34"/>
              <a:gd name="T4" fmla="*/ 2147483647 w 38"/>
              <a:gd name="T5" fmla="*/ 2147483647 h 34"/>
              <a:gd name="T6" fmla="*/ 2147483647 w 38"/>
              <a:gd name="T7" fmla="*/ 2147483647 h 34"/>
              <a:gd name="T8" fmla="*/ 0 w 38"/>
              <a:gd name="T9" fmla="*/ 2147483647 h 34"/>
              <a:gd name="T10" fmla="*/ 2147483647 w 38"/>
              <a:gd name="T11" fmla="*/ 2147483647 h 34"/>
              <a:gd name="T12" fmla="*/ 2147483647 w 38"/>
              <a:gd name="T13" fmla="*/ 2147483647 h 34"/>
              <a:gd name="T14" fmla="*/ 2147483647 w 38"/>
              <a:gd name="T15" fmla="*/ 2147483647 h 34"/>
              <a:gd name="T16" fmla="*/ 2147483647 w 38"/>
              <a:gd name="T17" fmla="*/ 0 h 34"/>
              <a:gd name="T18" fmla="*/ 2147483647 w 38"/>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34"/>
              <a:gd name="T32" fmla="*/ 38 w 38"/>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34">
                <a:moveTo>
                  <a:pt x="38" y="3"/>
                </a:moveTo>
                <a:lnTo>
                  <a:pt x="34" y="14"/>
                </a:lnTo>
                <a:lnTo>
                  <a:pt x="36" y="27"/>
                </a:lnTo>
                <a:lnTo>
                  <a:pt x="31" y="32"/>
                </a:lnTo>
                <a:lnTo>
                  <a:pt x="0" y="34"/>
                </a:lnTo>
                <a:lnTo>
                  <a:pt x="16" y="21"/>
                </a:lnTo>
                <a:lnTo>
                  <a:pt x="16" y="9"/>
                </a:lnTo>
                <a:lnTo>
                  <a:pt x="9" y="4"/>
                </a:lnTo>
                <a:lnTo>
                  <a:pt x="37" y="0"/>
                </a:lnTo>
                <a:lnTo>
                  <a:pt x="38" y="3"/>
                </a:lnTo>
                <a:close/>
              </a:path>
            </a:pathLst>
          </a:custGeom>
          <a:solidFill>
            <a:schemeClr val="accent1"/>
          </a:solidFill>
          <a:ln w="6350">
            <a:solidFill>
              <a:schemeClr val="tx2"/>
            </a:solidFill>
            <a:round/>
            <a:headEnd/>
            <a:tailEnd/>
          </a:ln>
        </p:spPr>
        <p:txBody>
          <a:bodyPr/>
          <a:lstStyle/>
          <a:p>
            <a:endParaRPr lang="en-US"/>
          </a:p>
        </p:txBody>
      </p:sp>
      <p:sp>
        <p:nvSpPr>
          <p:cNvPr id="186" name="Freeform 1072"/>
          <p:cNvSpPr>
            <a:spLocks/>
          </p:cNvSpPr>
          <p:nvPr/>
        </p:nvSpPr>
        <p:spPr bwMode="auto">
          <a:xfrm>
            <a:off x="3760861" y="4333063"/>
            <a:ext cx="5734" cy="7642"/>
          </a:xfrm>
          <a:custGeom>
            <a:avLst/>
            <a:gdLst>
              <a:gd name="T0" fmla="*/ 2147483647 w 7"/>
              <a:gd name="T1" fmla="*/ 0 h 18"/>
              <a:gd name="T2" fmla="*/ 0 w 7"/>
              <a:gd name="T3" fmla="*/ 2147483647 h 18"/>
              <a:gd name="T4" fmla="*/ 2147483647 w 7"/>
              <a:gd name="T5" fmla="*/ 2147483647 h 18"/>
              <a:gd name="T6" fmla="*/ 2147483647 w 7"/>
              <a:gd name="T7" fmla="*/ 2147483647 h 18"/>
              <a:gd name="T8" fmla="*/ 2147483647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4" y="0"/>
                </a:moveTo>
                <a:lnTo>
                  <a:pt x="0" y="13"/>
                </a:lnTo>
                <a:lnTo>
                  <a:pt x="6" y="18"/>
                </a:lnTo>
                <a:lnTo>
                  <a:pt x="7" y="1"/>
                </a:lnTo>
                <a:lnTo>
                  <a:pt x="4" y="0"/>
                </a:lnTo>
                <a:close/>
              </a:path>
            </a:pathLst>
          </a:custGeom>
          <a:solidFill>
            <a:schemeClr val="accent1"/>
          </a:solidFill>
          <a:ln w="6350">
            <a:solidFill>
              <a:schemeClr val="tx2"/>
            </a:solidFill>
            <a:round/>
            <a:headEnd/>
            <a:tailEnd/>
          </a:ln>
        </p:spPr>
        <p:txBody>
          <a:bodyPr/>
          <a:lstStyle/>
          <a:p>
            <a:endParaRPr lang="en-US"/>
          </a:p>
        </p:txBody>
      </p:sp>
      <p:sp>
        <p:nvSpPr>
          <p:cNvPr id="187" name="Freeform 1087"/>
          <p:cNvSpPr>
            <a:spLocks/>
          </p:cNvSpPr>
          <p:nvPr/>
        </p:nvSpPr>
        <p:spPr bwMode="auto">
          <a:xfrm>
            <a:off x="3634727" y="3649108"/>
            <a:ext cx="65933" cy="92978"/>
          </a:xfrm>
          <a:custGeom>
            <a:avLst/>
            <a:gdLst>
              <a:gd name="T0" fmla="*/ 2147483647 w 142"/>
              <a:gd name="T1" fmla="*/ 2147483647 h 223"/>
              <a:gd name="T2" fmla="*/ 2147483647 w 142"/>
              <a:gd name="T3" fmla="*/ 2147483647 h 223"/>
              <a:gd name="T4" fmla="*/ 2147483647 w 142"/>
              <a:gd name="T5" fmla="*/ 2147483647 h 223"/>
              <a:gd name="T6" fmla="*/ 2147483647 w 142"/>
              <a:gd name="T7" fmla="*/ 2147483647 h 223"/>
              <a:gd name="T8" fmla="*/ 2147483647 w 142"/>
              <a:gd name="T9" fmla="*/ 0 h 223"/>
              <a:gd name="T10" fmla="*/ 2147483647 w 142"/>
              <a:gd name="T11" fmla="*/ 0 h 223"/>
              <a:gd name="T12" fmla="*/ 2147483647 w 142"/>
              <a:gd name="T13" fmla="*/ 2147483647 h 223"/>
              <a:gd name="T14" fmla="*/ 2147483647 w 142"/>
              <a:gd name="T15" fmla="*/ 2147483647 h 223"/>
              <a:gd name="T16" fmla="*/ 2147483647 w 142"/>
              <a:gd name="T17" fmla="*/ 2147483647 h 223"/>
              <a:gd name="T18" fmla="*/ 2147483647 w 142"/>
              <a:gd name="T19" fmla="*/ 2147483647 h 223"/>
              <a:gd name="T20" fmla="*/ 2147483647 w 142"/>
              <a:gd name="T21" fmla="*/ 2147483647 h 223"/>
              <a:gd name="T22" fmla="*/ 2147483647 w 142"/>
              <a:gd name="T23" fmla="*/ 2147483647 h 223"/>
              <a:gd name="T24" fmla="*/ 2147483647 w 142"/>
              <a:gd name="T25" fmla="*/ 2147483647 h 223"/>
              <a:gd name="T26" fmla="*/ 2147483647 w 142"/>
              <a:gd name="T27" fmla="*/ 2147483647 h 223"/>
              <a:gd name="T28" fmla="*/ 2147483647 w 142"/>
              <a:gd name="T29" fmla="*/ 2147483647 h 223"/>
              <a:gd name="T30" fmla="*/ 2147483647 w 142"/>
              <a:gd name="T31" fmla="*/ 2147483647 h 223"/>
              <a:gd name="T32" fmla="*/ 2147483647 w 142"/>
              <a:gd name="T33" fmla="*/ 2147483647 h 223"/>
              <a:gd name="T34" fmla="*/ 2147483647 w 142"/>
              <a:gd name="T35" fmla="*/ 2147483647 h 223"/>
              <a:gd name="T36" fmla="*/ 2147483647 w 142"/>
              <a:gd name="T37" fmla="*/ 2147483647 h 223"/>
              <a:gd name="T38" fmla="*/ 2147483647 w 142"/>
              <a:gd name="T39" fmla="*/ 2147483647 h 223"/>
              <a:gd name="T40" fmla="*/ 2147483647 w 142"/>
              <a:gd name="T41" fmla="*/ 2147483647 h 223"/>
              <a:gd name="T42" fmla="*/ 2147483647 w 142"/>
              <a:gd name="T43" fmla="*/ 2147483647 h 223"/>
              <a:gd name="T44" fmla="*/ 2147483647 w 142"/>
              <a:gd name="T45" fmla="*/ 2147483647 h 223"/>
              <a:gd name="T46" fmla="*/ 2147483647 w 142"/>
              <a:gd name="T47" fmla="*/ 2147483647 h 223"/>
              <a:gd name="T48" fmla="*/ 2147483647 w 142"/>
              <a:gd name="T49" fmla="*/ 2147483647 h 223"/>
              <a:gd name="T50" fmla="*/ 2147483647 w 142"/>
              <a:gd name="T51" fmla="*/ 2147483647 h 223"/>
              <a:gd name="T52" fmla="*/ 2147483647 w 142"/>
              <a:gd name="T53" fmla="*/ 2147483647 h 223"/>
              <a:gd name="T54" fmla="*/ 2147483647 w 142"/>
              <a:gd name="T55" fmla="*/ 2147483647 h 223"/>
              <a:gd name="T56" fmla="*/ 2147483647 w 142"/>
              <a:gd name="T57" fmla="*/ 2147483647 h 223"/>
              <a:gd name="T58" fmla="*/ 2147483647 w 142"/>
              <a:gd name="T59" fmla="*/ 2147483647 h 223"/>
              <a:gd name="T60" fmla="*/ 0 w 142"/>
              <a:gd name="T61" fmla="*/ 2147483647 h 223"/>
              <a:gd name="T62" fmla="*/ 2147483647 w 142"/>
              <a:gd name="T63" fmla="*/ 2147483647 h 223"/>
              <a:gd name="T64" fmla="*/ 2147483647 w 142"/>
              <a:gd name="T65" fmla="*/ 2147483647 h 223"/>
              <a:gd name="T66" fmla="*/ 2147483647 w 142"/>
              <a:gd name="T67" fmla="*/ 2147483647 h 223"/>
              <a:gd name="T68" fmla="*/ 2147483647 w 142"/>
              <a:gd name="T69" fmla="*/ 2147483647 h 223"/>
              <a:gd name="T70" fmla="*/ 2147483647 w 142"/>
              <a:gd name="T71" fmla="*/ 2147483647 h 223"/>
              <a:gd name="T72" fmla="*/ 2147483647 w 142"/>
              <a:gd name="T73" fmla="*/ 2147483647 h 223"/>
              <a:gd name="T74" fmla="*/ 2147483647 w 142"/>
              <a:gd name="T75" fmla="*/ 2147483647 h 223"/>
              <a:gd name="T76" fmla="*/ 2147483647 w 142"/>
              <a:gd name="T77" fmla="*/ 2147483647 h 223"/>
              <a:gd name="T78" fmla="*/ 2147483647 w 142"/>
              <a:gd name="T79" fmla="*/ 2147483647 h 2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2"/>
              <a:gd name="T121" fmla="*/ 0 h 223"/>
              <a:gd name="T122" fmla="*/ 142 w 142"/>
              <a:gd name="T123" fmla="*/ 223 h 2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2" h="223">
                <a:moveTo>
                  <a:pt x="25" y="136"/>
                </a:moveTo>
                <a:lnTo>
                  <a:pt x="25" y="75"/>
                </a:lnTo>
                <a:lnTo>
                  <a:pt x="25" y="2"/>
                </a:lnTo>
                <a:lnTo>
                  <a:pt x="41" y="6"/>
                </a:lnTo>
                <a:lnTo>
                  <a:pt x="51" y="0"/>
                </a:lnTo>
                <a:lnTo>
                  <a:pt x="142" y="0"/>
                </a:lnTo>
                <a:lnTo>
                  <a:pt x="142" y="75"/>
                </a:lnTo>
                <a:lnTo>
                  <a:pt x="142" y="151"/>
                </a:lnTo>
                <a:lnTo>
                  <a:pt x="139" y="153"/>
                </a:lnTo>
                <a:lnTo>
                  <a:pt x="142" y="168"/>
                </a:lnTo>
                <a:lnTo>
                  <a:pt x="126" y="173"/>
                </a:lnTo>
                <a:lnTo>
                  <a:pt x="115" y="171"/>
                </a:lnTo>
                <a:lnTo>
                  <a:pt x="116" y="181"/>
                </a:lnTo>
                <a:lnTo>
                  <a:pt x="108" y="186"/>
                </a:lnTo>
                <a:lnTo>
                  <a:pt x="105" y="194"/>
                </a:lnTo>
                <a:lnTo>
                  <a:pt x="99" y="195"/>
                </a:lnTo>
                <a:lnTo>
                  <a:pt x="95" y="209"/>
                </a:lnTo>
                <a:lnTo>
                  <a:pt x="89" y="213"/>
                </a:lnTo>
                <a:lnTo>
                  <a:pt x="75" y="200"/>
                </a:lnTo>
                <a:lnTo>
                  <a:pt x="76" y="204"/>
                </a:lnTo>
                <a:lnTo>
                  <a:pt x="71" y="204"/>
                </a:lnTo>
                <a:lnTo>
                  <a:pt x="64" y="219"/>
                </a:lnTo>
                <a:lnTo>
                  <a:pt x="55" y="211"/>
                </a:lnTo>
                <a:lnTo>
                  <a:pt x="43" y="222"/>
                </a:lnTo>
                <a:lnTo>
                  <a:pt x="22" y="212"/>
                </a:lnTo>
                <a:lnTo>
                  <a:pt x="20" y="220"/>
                </a:lnTo>
                <a:lnTo>
                  <a:pt x="18" y="216"/>
                </a:lnTo>
                <a:lnTo>
                  <a:pt x="10" y="215"/>
                </a:lnTo>
                <a:lnTo>
                  <a:pt x="7" y="223"/>
                </a:lnTo>
                <a:lnTo>
                  <a:pt x="3" y="220"/>
                </a:lnTo>
                <a:lnTo>
                  <a:pt x="0" y="217"/>
                </a:lnTo>
                <a:lnTo>
                  <a:pt x="3" y="216"/>
                </a:lnTo>
                <a:lnTo>
                  <a:pt x="4" y="206"/>
                </a:lnTo>
                <a:lnTo>
                  <a:pt x="8" y="203"/>
                </a:lnTo>
                <a:lnTo>
                  <a:pt x="5" y="198"/>
                </a:lnTo>
                <a:lnTo>
                  <a:pt x="20" y="183"/>
                </a:lnTo>
                <a:lnTo>
                  <a:pt x="26" y="170"/>
                </a:lnTo>
                <a:lnTo>
                  <a:pt x="25" y="159"/>
                </a:lnTo>
                <a:lnTo>
                  <a:pt x="19" y="150"/>
                </a:lnTo>
                <a:lnTo>
                  <a:pt x="25" y="136"/>
                </a:lnTo>
                <a:close/>
              </a:path>
            </a:pathLst>
          </a:custGeom>
          <a:solidFill>
            <a:schemeClr val="accent1"/>
          </a:solidFill>
          <a:ln w="6350">
            <a:solidFill>
              <a:schemeClr val="tx2"/>
            </a:solidFill>
            <a:round/>
            <a:headEnd/>
            <a:tailEnd/>
          </a:ln>
        </p:spPr>
        <p:txBody>
          <a:bodyPr/>
          <a:lstStyle/>
          <a:p>
            <a:endParaRPr lang="en-US"/>
          </a:p>
        </p:txBody>
      </p:sp>
      <p:sp>
        <p:nvSpPr>
          <p:cNvPr id="188" name="Freeform 1088"/>
          <p:cNvSpPr>
            <a:spLocks/>
          </p:cNvSpPr>
          <p:nvPr/>
        </p:nvSpPr>
        <p:spPr bwMode="auto">
          <a:xfrm>
            <a:off x="3686327" y="3801947"/>
            <a:ext cx="94601" cy="99345"/>
          </a:xfrm>
          <a:custGeom>
            <a:avLst/>
            <a:gdLst>
              <a:gd name="T0" fmla="*/ 2147483647 w 205"/>
              <a:gd name="T1" fmla="*/ 2147483647 h 236"/>
              <a:gd name="T2" fmla="*/ 2147483647 w 205"/>
              <a:gd name="T3" fmla="*/ 2147483647 h 236"/>
              <a:gd name="T4" fmla="*/ 2147483647 w 205"/>
              <a:gd name="T5" fmla="*/ 2147483647 h 236"/>
              <a:gd name="T6" fmla="*/ 2147483647 w 205"/>
              <a:gd name="T7" fmla="*/ 2147483647 h 236"/>
              <a:gd name="T8" fmla="*/ 2147483647 w 205"/>
              <a:gd name="T9" fmla="*/ 2147483647 h 236"/>
              <a:gd name="T10" fmla="*/ 2147483647 w 205"/>
              <a:gd name="T11" fmla="*/ 2147483647 h 236"/>
              <a:gd name="T12" fmla="*/ 2147483647 w 205"/>
              <a:gd name="T13" fmla="*/ 2147483647 h 236"/>
              <a:gd name="T14" fmla="*/ 2147483647 w 205"/>
              <a:gd name="T15" fmla="*/ 2147483647 h 236"/>
              <a:gd name="T16" fmla="*/ 2147483647 w 205"/>
              <a:gd name="T17" fmla="*/ 2147483647 h 236"/>
              <a:gd name="T18" fmla="*/ 2147483647 w 205"/>
              <a:gd name="T19" fmla="*/ 2147483647 h 236"/>
              <a:gd name="T20" fmla="*/ 2147483647 w 205"/>
              <a:gd name="T21" fmla="*/ 2147483647 h 236"/>
              <a:gd name="T22" fmla="*/ 2147483647 w 205"/>
              <a:gd name="T23" fmla="*/ 2147483647 h 236"/>
              <a:gd name="T24" fmla="*/ 2147483647 w 205"/>
              <a:gd name="T25" fmla="*/ 2147483647 h 236"/>
              <a:gd name="T26" fmla="*/ 2147483647 w 205"/>
              <a:gd name="T27" fmla="*/ 2147483647 h 236"/>
              <a:gd name="T28" fmla="*/ 2147483647 w 205"/>
              <a:gd name="T29" fmla="*/ 2147483647 h 236"/>
              <a:gd name="T30" fmla="*/ 2147483647 w 205"/>
              <a:gd name="T31" fmla="*/ 2147483647 h 236"/>
              <a:gd name="T32" fmla="*/ 2147483647 w 205"/>
              <a:gd name="T33" fmla="*/ 2147483647 h 236"/>
              <a:gd name="T34" fmla="*/ 2147483647 w 205"/>
              <a:gd name="T35" fmla="*/ 2147483647 h 236"/>
              <a:gd name="T36" fmla="*/ 2147483647 w 205"/>
              <a:gd name="T37" fmla="*/ 0 h 236"/>
              <a:gd name="T38" fmla="*/ 0 w 205"/>
              <a:gd name="T39" fmla="*/ 0 h 236"/>
              <a:gd name="T40" fmla="*/ 2147483647 w 205"/>
              <a:gd name="T41" fmla="*/ 2147483647 h 236"/>
              <a:gd name="T42" fmla="*/ 2147483647 w 205"/>
              <a:gd name="T43" fmla="*/ 2147483647 h 236"/>
              <a:gd name="T44" fmla="*/ 2147483647 w 205"/>
              <a:gd name="T45" fmla="*/ 2147483647 h 236"/>
              <a:gd name="T46" fmla="*/ 2147483647 w 205"/>
              <a:gd name="T47" fmla="*/ 2147483647 h 236"/>
              <a:gd name="T48" fmla="*/ 2147483647 w 205"/>
              <a:gd name="T49" fmla="*/ 2147483647 h 236"/>
              <a:gd name="T50" fmla="*/ 2147483647 w 205"/>
              <a:gd name="T51" fmla="*/ 2147483647 h 236"/>
              <a:gd name="T52" fmla="*/ 2147483647 w 205"/>
              <a:gd name="T53" fmla="*/ 2147483647 h 236"/>
              <a:gd name="T54" fmla="*/ 2147483647 w 205"/>
              <a:gd name="T55" fmla="*/ 2147483647 h 236"/>
              <a:gd name="T56" fmla="*/ 2147483647 w 205"/>
              <a:gd name="T57" fmla="*/ 2147483647 h 236"/>
              <a:gd name="T58" fmla="*/ 2147483647 w 205"/>
              <a:gd name="T59" fmla="*/ 2147483647 h 236"/>
              <a:gd name="T60" fmla="*/ 2147483647 w 205"/>
              <a:gd name="T61" fmla="*/ 2147483647 h 236"/>
              <a:gd name="T62" fmla="*/ 2147483647 w 205"/>
              <a:gd name="T63" fmla="*/ 2147483647 h 236"/>
              <a:gd name="T64" fmla="*/ 2147483647 w 205"/>
              <a:gd name="T65" fmla="*/ 2147483647 h 236"/>
              <a:gd name="T66" fmla="*/ 2147483647 w 205"/>
              <a:gd name="T67" fmla="*/ 2147483647 h 236"/>
              <a:gd name="T68" fmla="*/ 2147483647 w 205"/>
              <a:gd name="T69" fmla="*/ 2147483647 h 236"/>
              <a:gd name="T70" fmla="*/ 2147483647 w 205"/>
              <a:gd name="T71" fmla="*/ 2147483647 h 236"/>
              <a:gd name="T72" fmla="*/ 2147483647 w 205"/>
              <a:gd name="T73" fmla="*/ 2147483647 h 236"/>
              <a:gd name="T74" fmla="*/ 2147483647 w 205"/>
              <a:gd name="T75" fmla="*/ 2147483647 h 236"/>
              <a:gd name="T76" fmla="*/ 2147483647 w 205"/>
              <a:gd name="T77" fmla="*/ 2147483647 h 2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5"/>
              <a:gd name="T118" fmla="*/ 0 h 236"/>
              <a:gd name="T119" fmla="*/ 205 w 205"/>
              <a:gd name="T120" fmla="*/ 236 h 2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5" h="236">
                <a:moveTo>
                  <a:pt x="177" y="219"/>
                </a:moveTo>
                <a:lnTo>
                  <a:pt x="178" y="207"/>
                </a:lnTo>
                <a:lnTo>
                  <a:pt x="187" y="191"/>
                </a:lnTo>
                <a:lnTo>
                  <a:pt x="188" y="184"/>
                </a:lnTo>
                <a:lnTo>
                  <a:pt x="197" y="161"/>
                </a:lnTo>
                <a:lnTo>
                  <a:pt x="205" y="153"/>
                </a:lnTo>
                <a:lnTo>
                  <a:pt x="194" y="148"/>
                </a:lnTo>
                <a:lnTo>
                  <a:pt x="195" y="139"/>
                </a:lnTo>
                <a:lnTo>
                  <a:pt x="190" y="128"/>
                </a:lnTo>
                <a:lnTo>
                  <a:pt x="183" y="124"/>
                </a:lnTo>
                <a:lnTo>
                  <a:pt x="178" y="103"/>
                </a:lnTo>
                <a:lnTo>
                  <a:pt x="167" y="96"/>
                </a:lnTo>
                <a:lnTo>
                  <a:pt x="159" y="86"/>
                </a:lnTo>
                <a:lnTo>
                  <a:pt x="160" y="80"/>
                </a:lnTo>
                <a:lnTo>
                  <a:pt x="132" y="56"/>
                </a:lnTo>
                <a:lnTo>
                  <a:pt x="119" y="28"/>
                </a:lnTo>
                <a:lnTo>
                  <a:pt x="111" y="28"/>
                </a:lnTo>
                <a:lnTo>
                  <a:pt x="97" y="16"/>
                </a:lnTo>
                <a:lnTo>
                  <a:pt x="108" y="0"/>
                </a:lnTo>
                <a:lnTo>
                  <a:pt x="0" y="0"/>
                </a:lnTo>
                <a:lnTo>
                  <a:pt x="11" y="62"/>
                </a:lnTo>
                <a:lnTo>
                  <a:pt x="19" y="104"/>
                </a:lnTo>
                <a:lnTo>
                  <a:pt x="23" y="123"/>
                </a:lnTo>
                <a:lnTo>
                  <a:pt x="28" y="134"/>
                </a:lnTo>
                <a:lnTo>
                  <a:pt x="27" y="138"/>
                </a:lnTo>
                <a:lnTo>
                  <a:pt x="31" y="141"/>
                </a:lnTo>
                <a:lnTo>
                  <a:pt x="25" y="148"/>
                </a:lnTo>
                <a:lnTo>
                  <a:pt x="23" y="159"/>
                </a:lnTo>
                <a:lnTo>
                  <a:pt x="26" y="167"/>
                </a:lnTo>
                <a:lnTo>
                  <a:pt x="23" y="197"/>
                </a:lnTo>
                <a:lnTo>
                  <a:pt x="27" y="205"/>
                </a:lnTo>
                <a:lnTo>
                  <a:pt x="32" y="219"/>
                </a:lnTo>
                <a:lnTo>
                  <a:pt x="90" y="223"/>
                </a:lnTo>
                <a:lnTo>
                  <a:pt x="146" y="226"/>
                </a:lnTo>
                <a:lnTo>
                  <a:pt x="149" y="236"/>
                </a:lnTo>
                <a:lnTo>
                  <a:pt x="155" y="236"/>
                </a:lnTo>
                <a:lnTo>
                  <a:pt x="155" y="218"/>
                </a:lnTo>
                <a:lnTo>
                  <a:pt x="158" y="214"/>
                </a:lnTo>
                <a:lnTo>
                  <a:pt x="177" y="219"/>
                </a:lnTo>
                <a:close/>
              </a:path>
            </a:pathLst>
          </a:custGeom>
          <a:solidFill>
            <a:schemeClr val="accent1"/>
          </a:solidFill>
          <a:ln w="6350">
            <a:solidFill>
              <a:schemeClr val="tx2"/>
            </a:solidFill>
            <a:round/>
            <a:headEnd/>
            <a:tailEnd/>
          </a:ln>
        </p:spPr>
        <p:txBody>
          <a:bodyPr/>
          <a:lstStyle/>
          <a:p>
            <a:endParaRPr lang="en-US"/>
          </a:p>
        </p:txBody>
      </p:sp>
      <p:sp>
        <p:nvSpPr>
          <p:cNvPr id="189" name="Freeform 1089"/>
          <p:cNvSpPr>
            <a:spLocks/>
          </p:cNvSpPr>
          <p:nvPr/>
        </p:nvSpPr>
        <p:spPr bwMode="auto">
          <a:xfrm>
            <a:off x="2989725" y="3123088"/>
            <a:ext cx="200668" cy="341340"/>
          </a:xfrm>
          <a:custGeom>
            <a:avLst/>
            <a:gdLst>
              <a:gd name="T0" fmla="*/ 2147483647 w 429"/>
              <a:gd name="T1" fmla="*/ 0 h 820"/>
              <a:gd name="T2" fmla="*/ 2147483647 w 429"/>
              <a:gd name="T3" fmla="*/ 0 h 820"/>
              <a:gd name="T4" fmla="*/ 2147483647 w 429"/>
              <a:gd name="T5" fmla="*/ 0 h 820"/>
              <a:gd name="T6" fmla="*/ 2147483647 w 429"/>
              <a:gd name="T7" fmla="*/ 0 h 820"/>
              <a:gd name="T8" fmla="*/ 2147483647 w 429"/>
              <a:gd name="T9" fmla="*/ 0 h 820"/>
              <a:gd name="T10" fmla="*/ 0 w 429"/>
              <a:gd name="T11" fmla="*/ 0 h 820"/>
              <a:gd name="T12" fmla="*/ 0 w 429"/>
              <a:gd name="T13" fmla="*/ 2147483647 h 820"/>
              <a:gd name="T14" fmla="*/ 0 w 429"/>
              <a:gd name="T15" fmla="*/ 2147483647 h 820"/>
              <a:gd name="T16" fmla="*/ 0 w 429"/>
              <a:gd name="T17" fmla="*/ 2147483647 h 820"/>
              <a:gd name="T18" fmla="*/ 2147483647 w 429"/>
              <a:gd name="T19" fmla="*/ 2147483647 h 820"/>
              <a:gd name="T20" fmla="*/ 2147483647 w 429"/>
              <a:gd name="T21" fmla="*/ 2147483647 h 820"/>
              <a:gd name="T22" fmla="*/ 2147483647 w 429"/>
              <a:gd name="T23" fmla="*/ 2147483647 h 820"/>
              <a:gd name="T24" fmla="*/ 2147483647 w 429"/>
              <a:gd name="T25" fmla="*/ 2147483647 h 820"/>
              <a:gd name="T26" fmla="*/ 2147483647 w 429"/>
              <a:gd name="T27" fmla="*/ 2147483647 h 820"/>
              <a:gd name="T28" fmla="*/ 2147483647 w 429"/>
              <a:gd name="T29" fmla="*/ 2147483647 h 820"/>
              <a:gd name="T30" fmla="*/ 2147483647 w 429"/>
              <a:gd name="T31" fmla="*/ 2147483647 h 820"/>
              <a:gd name="T32" fmla="*/ 2147483647 w 429"/>
              <a:gd name="T33" fmla="*/ 2147483647 h 820"/>
              <a:gd name="T34" fmla="*/ 2147483647 w 429"/>
              <a:gd name="T35" fmla="*/ 2147483647 h 820"/>
              <a:gd name="T36" fmla="*/ 2147483647 w 429"/>
              <a:gd name="T37" fmla="*/ 2147483647 h 820"/>
              <a:gd name="T38" fmla="*/ 2147483647 w 429"/>
              <a:gd name="T39" fmla="*/ 2147483647 h 820"/>
              <a:gd name="T40" fmla="*/ 2147483647 w 429"/>
              <a:gd name="T41" fmla="*/ 2147483647 h 820"/>
              <a:gd name="T42" fmla="*/ 2147483647 w 429"/>
              <a:gd name="T43" fmla="*/ 2147483647 h 820"/>
              <a:gd name="T44" fmla="*/ 2147483647 w 429"/>
              <a:gd name="T45" fmla="*/ 2147483647 h 820"/>
              <a:gd name="T46" fmla="*/ 2147483647 w 429"/>
              <a:gd name="T47" fmla="*/ 2147483647 h 820"/>
              <a:gd name="T48" fmla="*/ 2147483647 w 429"/>
              <a:gd name="T49" fmla="*/ 2147483647 h 820"/>
              <a:gd name="T50" fmla="*/ 2147483647 w 429"/>
              <a:gd name="T51" fmla="*/ 2147483647 h 820"/>
              <a:gd name="T52" fmla="*/ 2147483647 w 429"/>
              <a:gd name="T53" fmla="*/ 2147483647 h 820"/>
              <a:gd name="T54" fmla="*/ 2147483647 w 429"/>
              <a:gd name="T55" fmla="*/ 2147483647 h 820"/>
              <a:gd name="T56" fmla="*/ 2147483647 w 429"/>
              <a:gd name="T57" fmla="*/ 2147483647 h 820"/>
              <a:gd name="T58" fmla="*/ 2147483647 w 429"/>
              <a:gd name="T59" fmla="*/ 2147483647 h 820"/>
              <a:gd name="T60" fmla="*/ 2147483647 w 429"/>
              <a:gd name="T61" fmla="*/ 2147483647 h 820"/>
              <a:gd name="T62" fmla="*/ 2147483647 w 429"/>
              <a:gd name="T63" fmla="*/ 2147483647 h 820"/>
              <a:gd name="T64" fmla="*/ 2147483647 w 429"/>
              <a:gd name="T65" fmla="*/ 0 h 8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9"/>
              <a:gd name="T100" fmla="*/ 0 h 820"/>
              <a:gd name="T101" fmla="*/ 429 w 429"/>
              <a:gd name="T102" fmla="*/ 820 h 8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9" h="820">
                <a:moveTo>
                  <a:pt x="428" y="0"/>
                </a:moveTo>
                <a:lnTo>
                  <a:pt x="390" y="0"/>
                </a:lnTo>
                <a:lnTo>
                  <a:pt x="354" y="0"/>
                </a:lnTo>
                <a:lnTo>
                  <a:pt x="317" y="0"/>
                </a:lnTo>
                <a:lnTo>
                  <a:pt x="275" y="0"/>
                </a:lnTo>
                <a:lnTo>
                  <a:pt x="236" y="0"/>
                </a:lnTo>
                <a:lnTo>
                  <a:pt x="194" y="0"/>
                </a:lnTo>
                <a:lnTo>
                  <a:pt x="154" y="0"/>
                </a:lnTo>
                <a:lnTo>
                  <a:pt x="119" y="0"/>
                </a:lnTo>
                <a:lnTo>
                  <a:pt x="80" y="0"/>
                </a:lnTo>
                <a:lnTo>
                  <a:pt x="38" y="0"/>
                </a:lnTo>
                <a:lnTo>
                  <a:pt x="0" y="0"/>
                </a:lnTo>
                <a:lnTo>
                  <a:pt x="0" y="89"/>
                </a:lnTo>
                <a:lnTo>
                  <a:pt x="0" y="167"/>
                </a:lnTo>
                <a:lnTo>
                  <a:pt x="0" y="243"/>
                </a:lnTo>
                <a:lnTo>
                  <a:pt x="0" y="318"/>
                </a:lnTo>
                <a:lnTo>
                  <a:pt x="0" y="398"/>
                </a:lnTo>
                <a:lnTo>
                  <a:pt x="0" y="489"/>
                </a:lnTo>
                <a:lnTo>
                  <a:pt x="11" y="501"/>
                </a:lnTo>
                <a:lnTo>
                  <a:pt x="3" y="503"/>
                </a:lnTo>
                <a:lnTo>
                  <a:pt x="4" y="509"/>
                </a:lnTo>
                <a:lnTo>
                  <a:pt x="15" y="521"/>
                </a:lnTo>
                <a:lnTo>
                  <a:pt x="26" y="520"/>
                </a:lnTo>
                <a:lnTo>
                  <a:pt x="31" y="533"/>
                </a:lnTo>
                <a:lnTo>
                  <a:pt x="42" y="536"/>
                </a:lnTo>
                <a:lnTo>
                  <a:pt x="44" y="529"/>
                </a:lnTo>
                <a:lnTo>
                  <a:pt x="53" y="537"/>
                </a:lnTo>
                <a:lnTo>
                  <a:pt x="59" y="555"/>
                </a:lnTo>
                <a:lnTo>
                  <a:pt x="64" y="554"/>
                </a:lnTo>
                <a:lnTo>
                  <a:pt x="71" y="565"/>
                </a:lnTo>
                <a:lnTo>
                  <a:pt x="76" y="591"/>
                </a:lnTo>
                <a:lnTo>
                  <a:pt x="86" y="583"/>
                </a:lnTo>
                <a:lnTo>
                  <a:pt x="96" y="589"/>
                </a:lnTo>
                <a:lnTo>
                  <a:pt x="92" y="597"/>
                </a:lnTo>
                <a:lnTo>
                  <a:pt x="96" y="603"/>
                </a:lnTo>
                <a:lnTo>
                  <a:pt x="103" y="607"/>
                </a:lnTo>
                <a:lnTo>
                  <a:pt x="115" y="604"/>
                </a:lnTo>
                <a:lnTo>
                  <a:pt x="131" y="636"/>
                </a:lnTo>
                <a:lnTo>
                  <a:pt x="143" y="631"/>
                </a:lnTo>
                <a:lnTo>
                  <a:pt x="158" y="655"/>
                </a:lnTo>
                <a:lnTo>
                  <a:pt x="160" y="664"/>
                </a:lnTo>
                <a:lnTo>
                  <a:pt x="188" y="688"/>
                </a:lnTo>
                <a:lnTo>
                  <a:pt x="187" y="696"/>
                </a:lnTo>
                <a:lnTo>
                  <a:pt x="200" y="704"/>
                </a:lnTo>
                <a:lnTo>
                  <a:pt x="205" y="716"/>
                </a:lnTo>
                <a:lnTo>
                  <a:pt x="214" y="715"/>
                </a:lnTo>
                <a:lnTo>
                  <a:pt x="224" y="729"/>
                </a:lnTo>
                <a:lnTo>
                  <a:pt x="229" y="748"/>
                </a:lnTo>
                <a:lnTo>
                  <a:pt x="230" y="771"/>
                </a:lnTo>
                <a:lnTo>
                  <a:pt x="225" y="781"/>
                </a:lnTo>
                <a:lnTo>
                  <a:pt x="232" y="783"/>
                </a:lnTo>
                <a:lnTo>
                  <a:pt x="232" y="793"/>
                </a:lnTo>
                <a:lnTo>
                  <a:pt x="255" y="820"/>
                </a:lnTo>
                <a:lnTo>
                  <a:pt x="310" y="820"/>
                </a:lnTo>
                <a:lnTo>
                  <a:pt x="375" y="820"/>
                </a:lnTo>
                <a:lnTo>
                  <a:pt x="428" y="820"/>
                </a:lnTo>
                <a:lnTo>
                  <a:pt x="428" y="760"/>
                </a:lnTo>
                <a:lnTo>
                  <a:pt x="428" y="703"/>
                </a:lnTo>
                <a:lnTo>
                  <a:pt x="428" y="620"/>
                </a:lnTo>
                <a:lnTo>
                  <a:pt x="429" y="518"/>
                </a:lnTo>
                <a:lnTo>
                  <a:pt x="429" y="422"/>
                </a:lnTo>
                <a:lnTo>
                  <a:pt x="429" y="301"/>
                </a:lnTo>
                <a:lnTo>
                  <a:pt x="429" y="188"/>
                </a:lnTo>
                <a:lnTo>
                  <a:pt x="429" y="89"/>
                </a:lnTo>
                <a:lnTo>
                  <a:pt x="429" y="0"/>
                </a:lnTo>
                <a:lnTo>
                  <a:pt x="428" y="0"/>
                </a:lnTo>
                <a:close/>
              </a:path>
            </a:pathLst>
          </a:custGeom>
          <a:solidFill>
            <a:schemeClr val="accent1"/>
          </a:solidFill>
          <a:ln w="6350">
            <a:solidFill>
              <a:schemeClr val="tx2"/>
            </a:solidFill>
            <a:round/>
            <a:headEnd/>
            <a:tailEnd/>
          </a:ln>
        </p:spPr>
        <p:txBody>
          <a:bodyPr/>
          <a:lstStyle/>
          <a:p>
            <a:endParaRPr lang="en-US"/>
          </a:p>
        </p:txBody>
      </p:sp>
      <p:sp>
        <p:nvSpPr>
          <p:cNvPr id="190" name="Freeform 1090"/>
          <p:cNvSpPr>
            <a:spLocks/>
          </p:cNvSpPr>
          <p:nvPr/>
        </p:nvSpPr>
        <p:spPr bwMode="auto">
          <a:xfrm>
            <a:off x="3191825" y="3123088"/>
            <a:ext cx="174867" cy="341340"/>
          </a:xfrm>
          <a:custGeom>
            <a:avLst/>
            <a:gdLst>
              <a:gd name="T0" fmla="*/ 2147483647 w 373"/>
              <a:gd name="T1" fmla="*/ 2147483647 h 821"/>
              <a:gd name="T2" fmla="*/ 2147483647 w 373"/>
              <a:gd name="T3" fmla="*/ 2147483647 h 821"/>
              <a:gd name="T4" fmla="*/ 2147483647 w 373"/>
              <a:gd name="T5" fmla="*/ 2147483647 h 821"/>
              <a:gd name="T6" fmla="*/ 2147483647 w 373"/>
              <a:gd name="T7" fmla="*/ 2147483647 h 821"/>
              <a:gd name="T8" fmla="*/ 2147483647 w 373"/>
              <a:gd name="T9" fmla="*/ 2147483647 h 821"/>
              <a:gd name="T10" fmla="*/ 2147483647 w 373"/>
              <a:gd name="T11" fmla="*/ 2147483647 h 821"/>
              <a:gd name="T12" fmla="*/ 2147483647 w 373"/>
              <a:gd name="T13" fmla="*/ 2147483647 h 821"/>
              <a:gd name="T14" fmla="*/ 2147483647 w 373"/>
              <a:gd name="T15" fmla="*/ 2147483647 h 821"/>
              <a:gd name="T16" fmla="*/ 2147483647 w 373"/>
              <a:gd name="T17" fmla="*/ 2147483647 h 821"/>
              <a:gd name="T18" fmla="*/ 2147483647 w 373"/>
              <a:gd name="T19" fmla="*/ 2147483647 h 821"/>
              <a:gd name="T20" fmla="*/ 2147483647 w 373"/>
              <a:gd name="T21" fmla="*/ 2147483647 h 821"/>
              <a:gd name="T22" fmla="*/ 2147483647 w 373"/>
              <a:gd name="T23" fmla="*/ 2147483647 h 821"/>
              <a:gd name="T24" fmla="*/ 2147483647 w 373"/>
              <a:gd name="T25" fmla="*/ 2147483647 h 821"/>
              <a:gd name="T26" fmla="*/ 2147483647 w 373"/>
              <a:gd name="T27" fmla="*/ 0 h 821"/>
              <a:gd name="T28" fmla="*/ 2147483647 w 373"/>
              <a:gd name="T29" fmla="*/ 0 h 821"/>
              <a:gd name="T30" fmla="*/ 2147483647 w 373"/>
              <a:gd name="T31" fmla="*/ 0 h 821"/>
              <a:gd name="T32" fmla="*/ 2147483647 w 373"/>
              <a:gd name="T33" fmla="*/ 0 h 821"/>
              <a:gd name="T34" fmla="*/ 2147483647 w 373"/>
              <a:gd name="T35" fmla="*/ 0 h 821"/>
              <a:gd name="T36" fmla="*/ 2147483647 w 373"/>
              <a:gd name="T37" fmla="*/ 0 h 821"/>
              <a:gd name="T38" fmla="*/ 2147483647 w 373"/>
              <a:gd name="T39" fmla="*/ 0 h 821"/>
              <a:gd name="T40" fmla="*/ 2147483647 w 373"/>
              <a:gd name="T41" fmla="*/ 0 h 821"/>
              <a:gd name="T42" fmla="*/ 2147483647 w 373"/>
              <a:gd name="T43" fmla="*/ 0 h 821"/>
              <a:gd name="T44" fmla="*/ 0 w 373"/>
              <a:gd name="T45" fmla="*/ 0 h 821"/>
              <a:gd name="T46" fmla="*/ 2147483647 w 373"/>
              <a:gd name="T47" fmla="*/ 0 h 821"/>
              <a:gd name="T48" fmla="*/ 2147483647 w 373"/>
              <a:gd name="T49" fmla="*/ 2147483647 h 821"/>
              <a:gd name="T50" fmla="*/ 2147483647 w 373"/>
              <a:gd name="T51" fmla="*/ 2147483647 h 821"/>
              <a:gd name="T52" fmla="*/ 2147483647 w 373"/>
              <a:gd name="T53" fmla="*/ 2147483647 h 821"/>
              <a:gd name="T54" fmla="*/ 2147483647 w 373"/>
              <a:gd name="T55" fmla="*/ 2147483647 h 821"/>
              <a:gd name="T56" fmla="*/ 2147483647 w 373"/>
              <a:gd name="T57" fmla="*/ 2147483647 h 821"/>
              <a:gd name="T58" fmla="*/ 0 w 373"/>
              <a:gd name="T59" fmla="*/ 2147483647 h 821"/>
              <a:gd name="T60" fmla="*/ 0 w 373"/>
              <a:gd name="T61" fmla="*/ 2147483647 h 821"/>
              <a:gd name="T62" fmla="*/ 0 w 373"/>
              <a:gd name="T63" fmla="*/ 2147483647 h 821"/>
              <a:gd name="T64" fmla="*/ 0 w 373"/>
              <a:gd name="T65" fmla="*/ 2147483647 h 821"/>
              <a:gd name="T66" fmla="*/ 2147483647 w 373"/>
              <a:gd name="T67" fmla="*/ 2147483647 h 821"/>
              <a:gd name="T68" fmla="*/ 2147483647 w 373"/>
              <a:gd name="T69" fmla="*/ 2147483647 h 821"/>
              <a:gd name="T70" fmla="*/ 2147483647 w 373"/>
              <a:gd name="T71" fmla="*/ 2147483647 h 821"/>
              <a:gd name="T72" fmla="*/ 2147483647 w 373"/>
              <a:gd name="T73" fmla="*/ 2147483647 h 821"/>
              <a:gd name="T74" fmla="*/ 2147483647 w 373"/>
              <a:gd name="T75" fmla="*/ 2147483647 h 821"/>
              <a:gd name="T76" fmla="*/ 2147483647 w 373"/>
              <a:gd name="T77" fmla="*/ 2147483647 h 8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3"/>
              <a:gd name="T118" fmla="*/ 0 h 821"/>
              <a:gd name="T119" fmla="*/ 373 w 373"/>
              <a:gd name="T120" fmla="*/ 821 h 8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3" h="821">
                <a:moveTo>
                  <a:pt x="373" y="821"/>
                </a:moveTo>
                <a:lnTo>
                  <a:pt x="371" y="776"/>
                </a:lnTo>
                <a:lnTo>
                  <a:pt x="367" y="718"/>
                </a:lnTo>
                <a:lnTo>
                  <a:pt x="363" y="652"/>
                </a:lnTo>
                <a:lnTo>
                  <a:pt x="360" y="588"/>
                </a:lnTo>
                <a:lnTo>
                  <a:pt x="357" y="542"/>
                </a:lnTo>
                <a:lnTo>
                  <a:pt x="354" y="479"/>
                </a:lnTo>
                <a:lnTo>
                  <a:pt x="350" y="408"/>
                </a:lnTo>
                <a:lnTo>
                  <a:pt x="346" y="339"/>
                </a:lnTo>
                <a:lnTo>
                  <a:pt x="346" y="294"/>
                </a:lnTo>
                <a:lnTo>
                  <a:pt x="346" y="228"/>
                </a:lnTo>
                <a:lnTo>
                  <a:pt x="346" y="157"/>
                </a:lnTo>
                <a:lnTo>
                  <a:pt x="346" y="78"/>
                </a:lnTo>
                <a:lnTo>
                  <a:pt x="346" y="0"/>
                </a:lnTo>
                <a:lnTo>
                  <a:pt x="319" y="0"/>
                </a:lnTo>
                <a:lnTo>
                  <a:pt x="278" y="0"/>
                </a:lnTo>
                <a:lnTo>
                  <a:pt x="238" y="0"/>
                </a:lnTo>
                <a:lnTo>
                  <a:pt x="197" y="0"/>
                </a:lnTo>
                <a:lnTo>
                  <a:pt x="157" y="0"/>
                </a:lnTo>
                <a:lnTo>
                  <a:pt x="121" y="0"/>
                </a:lnTo>
                <a:lnTo>
                  <a:pt x="82" y="0"/>
                </a:lnTo>
                <a:lnTo>
                  <a:pt x="40" y="0"/>
                </a:lnTo>
                <a:lnTo>
                  <a:pt x="0" y="0"/>
                </a:lnTo>
                <a:lnTo>
                  <a:pt x="1" y="0"/>
                </a:lnTo>
                <a:lnTo>
                  <a:pt x="1" y="89"/>
                </a:lnTo>
                <a:lnTo>
                  <a:pt x="1" y="188"/>
                </a:lnTo>
                <a:lnTo>
                  <a:pt x="1" y="301"/>
                </a:lnTo>
                <a:lnTo>
                  <a:pt x="1" y="422"/>
                </a:lnTo>
                <a:lnTo>
                  <a:pt x="1" y="518"/>
                </a:lnTo>
                <a:lnTo>
                  <a:pt x="0" y="620"/>
                </a:lnTo>
                <a:lnTo>
                  <a:pt x="0" y="703"/>
                </a:lnTo>
                <a:lnTo>
                  <a:pt x="0" y="760"/>
                </a:lnTo>
                <a:lnTo>
                  <a:pt x="0" y="820"/>
                </a:lnTo>
                <a:lnTo>
                  <a:pt x="63" y="820"/>
                </a:lnTo>
                <a:lnTo>
                  <a:pt x="134" y="820"/>
                </a:lnTo>
                <a:lnTo>
                  <a:pt x="210" y="820"/>
                </a:lnTo>
                <a:lnTo>
                  <a:pt x="259" y="821"/>
                </a:lnTo>
                <a:lnTo>
                  <a:pt x="314" y="821"/>
                </a:lnTo>
                <a:lnTo>
                  <a:pt x="373" y="821"/>
                </a:lnTo>
                <a:close/>
              </a:path>
            </a:pathLst>
          </a:custGeom>
          <a:solidFill>
            <a:schemeClr val="accent1"/>
          </a:solidFill>
          <a:ln w="6350">
            <a:solidFill>
              <a:schemeClr val="tx2"/>
            </a:solidFill>
            <a:round/>
            <a:headEnd/>
            <a:tailEnd/>
          </a:ln>
        </p:spPr>
        <p:txBody>
          <a:bodyPr/>
          <a:lstStyle/>
          <a:p>
            <a:endParaRPr lang="en-US"/>
          </a:p>
        </p:txBody>
      </p:sp>
      <p:sp>
        <p:nvSpPr>
          <p:cNvPr id="191" name="Freeform 1091"/>
          <p:cNvSpPr>
            <a:spLocks/>
          </p:cNvSpPr>
          <p:nvPr/>
        </p:nvSpPr>
        <p:spPr bwMode="auto">
          <a:xfrm>
            <a:off x="2602723" y="3123088"/>
            <a:ext cx="507402" cy="341340"/>
          </a:xfrm>
          <a:custGeom>
            <a:avLst/>
            <a:gdLst>
              <a:gd name="T0" fmla="*/ 2147483647 w 1079"/>
              <a:gd name="T1" fmla="*/ 0 h 820"/>
              <a:gd name="T2" fmla="*/ 2147483647 w 1079"/>
              <a:gd name="T3" fmla="*/ 2147483647 h 820"/>
              <a:gd name="T4" fmla="*/ 2147483647 w 1079"/>
              <a:gd name="T5" fmla="*/ 2147483647 h 820"/>
              <a:gd name="T6" fmla="*/ 2147483647 w 1079"/>
              <a:gd name="T7" fmla="*/ 2147483647 h 820"/>
              <a:gd name="T8" fmla="*/ 2147483647 w 1079"/>
              <a:gd name="T9" fmla="*/ 2147483647 h 820"/>
              <a:gd name="T10" fmla="*/ 2147483647 w 1079"/>
              <a:gd name="T11" fmla="*/ 2147483647 h 820"/>
              <a:gd name="T12" fmla="*/ 2147483647 w 1079"/>
              <a:gd name="T13" fmla="*/ 2147483647 h 820"/>
              <a:gd name="T14" fmla="*/ 2147483647 w 1079"/>
              <a:gd name="T15" fmla="*/ 2147483647 h 820"/>
              <a:gd name="T16" fmla="*/ 2147483647 w 1079"/>
              <a:gd name="T17" fmla="*/ 2147483647 h 820"/>
              <a:gd name="T18" fmla="*/ 2147483647 w 1079"/>
              <a:gd name="T19" fmla="*/ 2147483647 h 820"/>
              <a:gd name="T20" fmla="*/ 2147483647 w 1079"/>
              <a:gd name="T21" fmla="*/ 2147483647 h 820"/>
              <a:gd name="T22" fmla="*/ 2147483647 w 1079"/>
              <a:gd name="T23" fmla="*/ 2147483647 h 820"/>
              <a:gd name="T24" fmla="*/ 2147483647 w 1079"/>
              <a:gd name="T25" fmla="*/ 2147483647 h 820"/>
              <a:gd name="T26" fmla="*/ 2147483647 w 1079"/>
              <a:gd name="T27" fmla="*/ 2147483647 h 820"/>
              <a:gd name="T28" fmla="*/ 2147483647 w 1079"/>
              <a:gd name="T29" fmla="*/ 2147483647 h 820"/>
              <a:gd name="T30" fmla="*/ 2147483647 w 1079"/>
              <a:gd name="T31" fmla="*/ 2147483647 h 820"/>
              <a:gd name="T32" fmla="*/ 2147483647 w 1079"/>
              <a:gd name="T33" fmla="*/ 2147483647 h 820"/>
              <a:gd name="T34" fmla="*/ 2147483647 w 1079"/>
              <a:gd name="T35" fmla="*/ 2147483647 h 820"/>
              <a:gd name="T36" fmla="*/ 2147483647 w 1079"/>
              <a:gd name="T37" fmla="*/ 2147483647 h 820"/>
              <a:gd name="T38" fmla="*/ 2147483647 w 1079"/>
              <a:gd name="T39" fmla="*/ 2147483647 h 820"/>
              <a:gd name="T40" fmla="*/ 2147483647 w 1079"/>
              <a:gd name="T41" fmla="*/ 2147483647 h 820"/>
              <a:gd name="T42" fmla="*/ 2147483647 w 1079"/>
              <a:gd name="T43" fmla="*/ 2147483647 h 820"/>
              <a:gd name="T44" fmla="*/ 2147483647 w 1079"/>
              <a:gd name="T45" fmla="*/ 2147483647 h 820"/>
              <a:gd name="T46" fmla="*/ 2147483647 w 1079"/>
              <a:gd name="T47" fmla="*/ 2147483647 h 820"/>
              <a:gd name="T48" fmla="*/ 2147483647 w 1079"/>
              <a:gd name="T49" fmla="*/ 2147483647 h 820"/>
              <a:gd name="T50" fmla="*/ 2147483647 w 1079"/>
              <a:gd name="T51" fmla="*/ 2147483647 h 820"/>
              <a:gd name="T52" fmla="*/ 2147483647 w 1079"/>
              <a:gd name="T53" fmla="*/ 2147483647 h 820"/>
              <a:gd name="T54" fmla="*/ 2147483647 w 1079"/>
              <a:gd name="T55" fmla="*/ 2147483647 h 820"/>
              <a:gd name="T56" fmla="*/ 2147483647 w 1079"/>
              <a:gd name="T57" fmla="*/ 2147483647 h 820"/>
              <a:gd name="T58" fmla="*/ 2147483647 w 1079"/>
              <a:gd name="T59" fmla="*/ 2147483647 h 820"/>
              <a:gd name="T60" fmla="*/ 2147483647 w 1079"/>
              <a:gd name="T61" fmla="*/ 2147483647 h 820"/>
              <a:gd name="T62" fmla="*/ 2147483647 w 1079"/>
              <a:gd name="T63" fmla="*/ 2147483647 h 820"/>
              <a:gd name="T64" fmla="*/ 2147483647 w 1079"/>
              <a:gd name="T65" fmla="*/ 2147483647 h 820"/>
              <a:gd name="T66" fmla="*/ 2147483647 w 1079"/>
              <a:gd name="T67" fmla="*/ 2147483647 h 820"/>
              <a:gd name="T68" fmla="*/ 2147483647 w 1079"/>
              <a:gd name="T69" fmla="*/ 2147483647 h 820"/>
              <a:gd name="T70" fmla="*/ 2147483647 w 1079"/>
              <a:gd name="T71" fmla="*/ 2147483647 h 820"/>
              <a:gd name="T72" fmla="*/ 2147483647 w 1079"/>
              <a:gd name="T73" fmla="*/ 2147483647 h 820"/>
              <a:gd name="T74" fmla="*/ 2147483647 w 1079"/>
              <a:gd name="T75" fmla="*/ 2147483647 h 820"/>
              <a:gd name="T76" fmla="*/ 2147483647 w 1079"/>
              <a:gd name="T77" fmla="*/ 2147483647 h 820"/>
              <a:gd name="T78" fmla="*/ 2147483647 w 1079"/>
              <a:gd name="T79" fmla="*/ 2147483647 h 820"/>
              <a:gd name="T80" fmla="*/ 2147483647 w 1079"/>
              <a:gd name="T81" fmla="*/ 2147483647 h 820"/>
              <a:gd name="T82" fmla="*/ 2147483647 w 1079"/>
              <a:gd name="T83" fmla="*/ 2147483647 h 820"/>
              <a:gd name="T84" fmla="*/ 2147483647 w 1079"/>
              <a:gd name="T85" fmla="*/ 2147483647 h 820"/>
              <a:gd name="T86" fmla="*/ 2147483647 w 1079"/>
              <a:gd name="T87" fmla="*/ 2147483647 h 820"/>
              <a:gd name="T88" fmla="*/ 2147483647 w 1079"/>
              <a:gd name="T89" fmla="*/ 2147483647 h 820"/>
              <a:gd name="T90" fmla="*/ 2147483647 w 1079"/>
              <a:gd name="T91" fmla="*/ 2147483647 h 820"/>
              <a:gd name="T92" fmla="*/ 2147483647 w 1079"/>
              <a:gd name="T93" fmla="*/ 2147483647 h 820"/>
              <a:gd name="T94" fmla="*/ 2147483647 w 1079"/>
              <a:gd name="T95" fmla="*/ 2147483647 h 820"/>
              <a:gd name="T96" fmla="*/ 2147483647 w 1079"/>
              <a:gd name="T97" fmla="*/ 2147483647 h 820"/>
              <a:gd name="T98" fmla="*/ 2147483647 w 1079"/>
              <a:gd name="T99" fmla="*/ 2147483647 h 820"/>
              <a:gd name="T100" fmla="*/ 2147483647 w 1079"/>
              <a:gd name="T101" fmla="*/ 0 h 820"/>
              <a:gd name="T102" fmla="*/ 2147483647 w 1079"/>
              <a:gd name="T103" fmla="*/ 0 h 820"/>
              <a:gd name="T104" fmla="*/ 2147483647 w 1079"/>
              <a:gd name="T105" fmla="*/ 0 h 820"/>
              <a:gd name="T106" fmla="*/ 2147483647 w 1079"/>
              <a:gd name="T107" fmla="*/ 0 h 820"/>
              <a:gd name="T108" fmla="*/ 2147483647 w 1079"/>
              <a:gd name="T109" fmla="*/ 0 h 820"/>
              <a:gd name="T110" fmla="*/ 2147483647 w 1079"/>
              <a:gd name="T111" fmla="*/ 0 h 8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79"/>
              <a:gd name="T169" fmla="*/ 0 h 820"/>
              <a:gd name="T170" fmla="*/ 1079 w 1079"/>
              <a:gd name="T171" fmla="*/ 820 h 8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79" h="820">
                <a:moveTo>
                  <a:pt x="700" y="0"/>
                </a:moveTo>
                <a:lnTo>
                  <a:pt x="737" y="0"/>
                </a:lnTo>
                <a:lnTo>
                  <a:pt x="775" y="0"/>
                </a:lnTo>
                <a:lnTo>
                  <a:pt x="824" y="0"/>
                </a:lnTo>
                <a:lnTo>
                  <a:pt x="824" y="89"/>
                </a:lnTo>
                <a:lnTo>
                  <a:pt x="824" y="167"/>
                </a:lnTo>
                <a:lnTo>
                  <a:pt x="824" y="243"/>
                </a:lnTo>
                <a:lnTo>
                  <a:pt x="824" y="318"/>
                </a:lnTo>
                <a:lnTo>
                  <a:pt x="824" y="398"/>
                </a:lnTo>
                <a:lnTo>
                  <a:pt x="824" y="489"/>
                </a:lnTo>
                <a:lnTo>
                  <a:pt x="835" y="501"/>
                </a:lnTo>
                <a:lnTo>
                  <a:pt x="827" y="503"/>
                </a:lnTo>
                <a:lnTo>
                  <a:pt x="828" y="509"/>
                </a:lnTo>
                <a:lnTo>
                  <a:pt x="839" y="521"/>
                </a:lnTo>
                <a:lnTo>
                  <a:pt x="850" y="520"/>
                </a:lnTo>
                <a:lnTo>
                  <a:pt x="855" y="533"/>
                </a:lnTo>
                <a:lnTo>
                  <a:pt x="866" y="536"/>
                </a:lnTo>
                <a:lnTo>
                  <a:pt x="868" y="529"/>
                </a:lnTo>
                <a:lnTo>
                  <a:pt x="877" y="537"/>
                </a:lnTo>
                <a:lnTo>
                  <a:pt x="883" y="555"/>
                </a:lnTo>
                <a:lnTo>
                  <a:pt x="888" y="554"/>
                </a:lnTo>
                <a:lnTo>
                  <a:pt x="895" y="565"/>
                </a:lnTo>
                <a:lnTo>
                  <a:pt x="900" y="591"/>
                </a:lnTo>
                <a:lnTo>
                  <a:pt x="910" y="583"/>
                </a:lnTo>
                <a:lnTo>
                  <a:pt x="920" y="589"/>
                </a:lnTo>
                <a:lnTo>
                  <a:pt x="916" y="597"/>
                </a:lnTo>
                <a:lnTo>
                  <a:pt x="920" y="603"/>
                </a:lnTo>
                <a:lnTo>
                  <a:pt x="927" y="607"/>
                </a:lnTo>
                <a:lnTo>
                  <a:pt x="939" y="604"/>
                </a:lnTo>
                <a:lnTo>
                  <a:pt x="955" y="636"/>
                </a:lnTo>
                <a:lnTo>
                  <a:pt x="967" y="631"/>
                </a:lnTo>
                <a:lnTo>
                  <a:pt x="982" y="655"/>
                </a:lnTo>
                <a:lnTo>
                  <a:pt x="984" y="664"/>
                </a:lnTo>
                <a:lnTo>
                  <a:pt x="1012" y="688"/>
                </a:lnTo>
                <a:lnTo>
                  <a:pt x="1011" y="696"/>
                </a:lnTo>
                <a:lnTo>
                  <a:pt x="1024" y="704"/>
                </a:lnTo>
                <a:lnTo>
                  <a:pt x="1029" y="716"/>
                </a:lnTo>
                <a:lnTo>
                  <a:pt x="1038" y="715"/>
                </a:lnTo>
                <a:lnTo>
                  <a:pt x="1048" y="729"/>
                </a:lnTo>
                <a:lnTo>
                  <a:pt x="1053" y="748"/>
                </a:lnTo>
                <a:lnTo>
                  <a:pt x="1054" y="771"/>
                </a:lnTo>
                <a:lnTo>
                  <a:pt x="1049" y="781"/>
                </a:lnTo>
                <a:lnTo>
                  <a:pt x="1056" y="783"/>
                </a:lnTo>
                <a:lnTo>
                  <a:pt x="1056" y="793"/>
                </a:lnTo>
                <a:lnTo>
                  <a:pt x="1079" y="820"/>
                </a:lnTo>
                <a:lnTo>
                  <a:pt x="1034" y="820"/>
                </a:lnTo>
                <a:lnTo>
                  <a:pt x="993" y="820"/>
                </a:lnTo>
                <a:lnTo>
                  <a:pt x="952" y="820"/>
                </a:lnTo>
                <a:lnTo>
                  <a:pt x="900" y="820"/>
                </a:lnTo>
                <a:lnTo>
                  <a:pt x="842" y="820"/>
                </a:lnTo>
                <a:lnTo>
                  <a:pt x="787" y="820"/>
                </a:lnTo>
                <a:lnTo>
                  <a:pt x="755" y="820"/>
                </a:lnTo>
                <a:lnTo>
                  <a:pt x="705" y="820"/>
                </a:lnTo>
                <a:lnTo>
                  <a:pt x="696" y="814"/>
                </a:lnTo>
                <a:lnTo>
                  <a:pt x="696" y="809"/>
                </a:lnTo>
                <a:lnTo>
                  <a:pt x="713" y="807"/>
                </a:lnTo>
                <a:lnTo>
                  <a:pt x="712" y="803"/>
                </a:lnTo>
                <a:lnTo>
                  <a:pt x="689" y="801"/>
                </a:lnTo>
                <a:lnTo>
                  <a:pt x="689" y="773"/>
                </a:lnTo>
                <a:lnTo>
                  <a:pt x="685" y="771"/>
                </a:lnTo>
                <a:lnTo>
                  <a:pt x="673" y="790"/>
                </a:lnTo>
                <a:lnTo>
                  <a:pt x="668" y="789"/>
                </a:lnTo>
                <a:lnTo>
                  <a:pt x="669" y="773"/>
                </a:lnTo>
                <a:lnTo>
                  <a:pt x="663" y="773"/>
                </a:lnTo>
                <a:lnTo>
                  <a:pt x="654" y="750"/>
                </a:lnTo>
                <a:lnTo>
                  <a:pt x="654" y="762"/>
                </a:lnTo>
                <a:lnTo>
                  <a:pt x="650" y="755"/>
                </a:lnTo>
                <a:lnTo>
                  <a:pt x="644" y="765"/>
                </a:lnTo>
                <a:lnTo>
                  <a:pt x="635" y="765"/>
                </a:lnTo>
                <a:lnTo>
                  <a:pt x="620" y="750"/>
                </a:lnTo>
                <a:lnTo>
                  <a:pt x="619" y="747"/>
                </a:lnTo>
                <a:lnTo>
                  <a:pt x="626" y="739"/>
                </a:lnTo>
                <a:lnTo>
                  <a:pt x="625" y="724"/>
                </a:lnTo>
                <a:lnTo>
                  <a:pt x="613" y="727"/>
                </a:lnTo>
                <a:lnTo>
                  <a:pt x="609" y="716"/>
                </a:lnTo>
                <a:lnTo>
                  <a:pt x="597" y="721"/>
                </a:lnTo>
                <a:lnTo>
                  <a:pt x="581" y="715"/>
                </a:lnTo>
                <a:lnTo>
                  <a:pt x="576" y="721"/>
                </a:lnTo>
                <a:lnTo>
                  <a:pt x="550" y="717"/>
                </a:lnTo>
                <a:lnTo>
                  <a:pt x="547" y="714"/>
                </a:lnTo>
                <a:lnTo>
                  <a:pt x="569" y="706"/>
                </a:lnTo>
                <a:lnTo>
                  <a:pt x="560" y="705"/>
                </a:lnTo>
                <a:lnTo>
                  <a:pt x="562" y="698"/>
                </a:lnTo>
                <a:lnTo>
                  <a:pt x="550" y="694"/>
                </a:lnTo>
                <a:lnTo>
                  <a:pt x="559" y="691"/>
                </a:lnTo>
                <a:lnTo>
                  <a:pt x="555" y="687"/>
                </a:lnTo>
                <a:lnTo>
                  <a:pt x="543" y="684"/>
                </a:lnTo>
                <a:lnTo>
                  <a:pt x="537" y="690"/>
                </a:lnTo>
                <a:lnTo>
                  <a:pt x="520" y="685"/>
                </a:lnTo>
                <a:lnTo>
                  <a:pt x="521" y="692"/>
                </a:lnTo>
                <a:lnTo>
                  <a:pt x="517" y="693"/>
                </a:lnTo>
                <a:lnTo>
                  <a:pt x="494" y="676"/>
                </a:lnTo>
                <a:lnTo>
                  <a:pt x="492" y="667"/>
                </a:lnTo>
                <a:lnTo>
                  <a:pt x="506" y="663"/>
                </a:lnTo>
                <a:lnTo>
                  <a:pt x="492" y="660"/>
                </a:lnTo>
                <a:lnTo>
                  <a:pt x="493" y="656"/>
                </a:lnTo>
                <a:lnTo>
                  <a:pt x="512" y="652"/>
                </a:lnTo>
                <a:lnTo>
                  <a:pt x="504" y="649"/>
                </a:lnTo>
                <a:lnTo>
                  <a:pt x="508" y="640"/>
                </a:lnTo>
                <a:lnTo>
                  <a:pt x="503" y="633"/>
                </a:lnTo>
                <a:lnTo>
                  <a:pt x="495" y="643"/>
                </a:lnTo>
                <a:lnTo>
                  <a:pt x="489" y="643"/>
                </a:lnTo>
                <a:lnTo>
                  <a:pt x="489" y="618"/>
                </a:lnTo>
                <a:lnTo>
                  <a:pt x="486" y="614"/>
                </a:lnTo>
                <a:lnTo>
                  <a:pt x="488" y="601"/>
                </a:lnTo>
                <a:lnTo>
                  <a:pt x="483" y="585"/>
                </a:lnTo>
                <a:lnTo>
                  <a:pt x="467" y="591"/>
                </a:lnTo>
                <a:lnTo>
                  <a:pt x="468" y="578"/>
                </a:lnTo>
                <a:lnTo>
                  <a:pt x="448" y="579"/>
                </a:lnTo>
                <a:lnTo>
                  <a:pt x="444" y="566"/>
                </a:lnTo>
                <a:lnTo>
                  <a:pt x="431" y="546"/>
                </a:lnTo>
                <a:lnTo>
                  <a:pt x="436" y="533"/>
                </a:lnTo>
                <a:lnTo>
                  <a:pt x="435" y="513"/>
                </a:lnTo>
                <a:lnTo>
                  <a:pt x="425" y="515"/>
                </a:lnTo>
                <a:lnTo>
                  <a:pt x="391" y="478"/>
                </a:lnTo>
                <a:lnTo>
                  <a:pt x="391" y="468"/>
                </a:lnTo>
                <a:lnTo>
                  <a:pt x="398" y="462"/>
                </a:lnTo>
                <a:lnTo>
                  <a:pt x="397" y="458"/>
                </a:lnTo>
                <a:lnTo>
                  <a:pt x="383" y="457"/>
                </a:lnTo>
                <a:lnTo>
                  <a:pt x="375" y="445"/>
                </a:lnTo>
                <a:lnTo>
                  <a:pt x="375" y="434"/>
                </a:lnTo>
                <a:lnTo>
                  <a:pt x="380" y="424"/>
                </a:lnTo>
                <a:lnTo>
                  <a:pt x="390" y="424"/>
                </a:lnTo>
                <a:lnTo>
                  <a:pt x="387" y="416"/>
                </a:lnTo>
                <a:lnTo>
                  <a:pt x="393" y="405"/>
                </a:lnTo>
                <a:lnTo>
                  <a:pt x="389" y="396"/>
                </a:lnTo>
                <a:lnTo>
                  <a:pt x="393" y="388"/>
                </a:lnTo>
                <a:lnTo>
                  <a:pt x="394" y="383"/>
                </a:lnTo>
                <a:lnTo>
                  <a:pt x="390" y="346"/>
                </a:lnTo>
                <a:lnTo>
                  <a:pt x="394" y="328"/>
                </a:lnTo>
                <a:lnTo>
                  <a:pt x="392" y="323"/>
                </a:lnTo>
                <a:lnTo>
                  <a:pt x="351" y="295"/>
                </a:lnTo>
                <a:lnTo>
                  <a:pt x="323" y="287"/>
                </a:lnTo>
                <a:lnTo>
                  <a:pt x="310" y="277"/>
                </a:lnTo>
                <a:lnTo>
                  <a:pt x="300" y="248"/>
                </a:lnTo>
                <a:lnTo>
                  <a:pt x="292" y="241"/>
                </a:lnTo>
                <a:lnTo>
                  <a:pt x="292" y="231"/>
                </a:lnTo>
                <a:lnTo>
                  <a:pt x="229" y="113"/>
                </a:lnTo>
                <a:lnTo>
                  <a:pt x="203" y="97"/>
                </a:lnTo>
                <a:lnTo>
                  <a:pt x="197" y="77"/>
                </a:lnTo>
                <a:lnTo>
                  <a:pt x="159" y="19"/>
                </a:lnTo>
                <a:lnTo>
                  <a:pt x="121" y="37"/>
                </a:lnTo>
                <a:lnTo>
                  <a:pt x="105" y="73"/>
                </a:lnTo>
                <a:lnTo>
                  <a:pt x="69" y="91"/>
                </a:lnTo>
                <a:lnTo>
                  <a:pt x="57" y="64"/>
                </a:lnTo>
                <a:lnTo>
                  <a:pt x="44" y="54"/>
                </a:lnTo>
                <a:lnTo>
                  <a:pt x="56" y="38"/>
                </a:lnTo>
                <a:lnTo>
                  <a:pt x="43" y="31"/>
                </a:lnTo>
                <a:lnTo>
                  <a:pt x="52" y="40"/>
                </a:lnTo>
                <a:lnTo>
                  <a:pt x="39" y="47"/>
                </a:lnTo>
                <a:lnTo>
                  <a:pt x="0" y="0"/>
                </a:lnTo>
                <a:lnTo>
                  <a:pt x="1" y="0"/>
                </a:lnTo>
                <a:lnTo>
                  <a:pt x="41" y="0"/>
                </a:lnTo>
                <a:lnTo>
                  <a:pt x="82" y="0"/>
                </a:lnTo>
                <a:lnTo>
                  <a:pt x="120" y="0"/>
                </a:lnTo>
                <a:lnTo>
                  <a:pt x="157" y="0"/>
                </a:lnTo>
                <a:lnTo>
                  <a:pt x="195" y="0"/>
                </a:lnTo>
                <a:lnTo>
                  <a:pt x="237" y="0"/>
                </a:lnTo>
                <a:lnTo>
                  <a:pt x="277" y="0"/>
                </a:lnTo>
                <a:lnTo>
                  <a:pt x="319" y="0"/>
                </a:lnTo>
                <a:lnTo>
                  <a:pt x="358" y="0"/>
                </a:lnTo>
                <a:lnTo>
                  <a:pt x="393" y="0"/>
                </a:lnTo>
                <a:lnTo>
                  <a:pt x="433" y="0"/>
                </a:lnTo>
                <a:lnTo>
                  <a:pt x="476" y="0"/>
                </a:lnTo>
                <a:lnTo>
                  <a:pt x="515" y="0"/>
                </a:lnTo>
                <a:lnTo>
                  <a:pt x="557" y="0"/>
                </a:lnTo>
                <a:lnTo>
                  <a:pt x="595" y="0"/>
                </a:lnTo>
                <a:lnTo>
                  <a:pt x="631" y="0"/>
                </a:lnTo>
                <a:lnTo>
                  <a:pt x="658" y="0"/>
                </a:lnTo>
                <a:lnTo>
                  <a:pt x="700" y="0"/>
                </a:lnTo>
                <a:close/>
              </a:path>
            </a:pathLst>
          </a:custGeom>
          <a:solidFill>
            <a:schemeClr val="accent1"/>
          </a:solidFill>
          <a:ln w="6350">
            <a:solidFill>
              <a:schemeClr val="tx2"/>
            </a:solidFill>
            <a:round/>
            <a:headEnd/>
            <a:tailEnd/>
          </a:ln>
        </p:spPr>
        <p:txBody>
          <a:bodyPr/>
          <a:lstStyle/>
          <a:p>
            <a:endParaRPr lang="en-US"/>
          </a:p>
        </p:txBody>
      </p:sp>
      <p:sp>
        <p:nvSpPr>
          <p:cNvPr id="192" name="Freeform 1092"/>
          <p:cNvSpPr>
            <a:spLocks/>
          </p:cNvSpPr>
          <p:nvPr/>
        </p:nvSpPr>
        <p:spPr bwMode="auto">
          <a:xfrm>
            <a:off x="3211891" y="3758643"/>
            <a:ext cx="123267" cy="122270"/>
          </a:xfrm>
          <a:custGeom>
            <a:avLst/>
            <a:gdLst>
              <a:gd name="T0" fmla="*/ 2147483647 w 261"/>
              <a:gd name="T1" fmla="*/ 2147483647 h 293"/>
              <a:gd name="T2" fmla="*/ 2147483647 w 261"/>
              <a:gd name="T3" fmla="*/ 2147483647 h 293"/>
              <a:gd name="T4" fmla="*/ 2147483647 w 261"/>
              <a:gd name="T5" fmla="*/ 2147483647 h 293"/>
              <a:gd name="T6" fmla="*/ 2147483647 w 261"/>
              <a:gd name="T7" fmla="*/ 2147483647 h 293"/>
              <a:gd name="T8" fmla="*/ 2147483647 w 261"/>
              <a:gd name="T9" fmla="*/ 2147483647 h 293"/>
              <a:gd name="T10" fmla="*/ 2147483647 w 261"/>
              <a:gd name="T11" fmla="*/ 2147483647 h 293"/>
              <a:gd name="T12" fmla="*/ 2147483647 w 261"/>
              <a:gd name="T13" fmla="*/ 2147483647 h 293"/>
              <a:gd name="T14" fmla="*/ 2147483647 w 261"/>
              <a:gd name="T15" fmla="*/ 2147483647 h 293"/>
              <a:gd name="T16" fmla="*/ 2147483647 w 261"/>
              <a:gd name="T17" fmla="*/ 0 h 293"/>
              <a:gd name="T18" fmla="*/ 2147483647 w 261"/>
              <a:gd name="T19" fmla="*/ 0 h 293"/>
              <a:gd name="T20" fmla="*/ 2147483647 w 261"/>
              <a:gd name="T21" fmla="*/ 0 h 293"/>
              <a:gd name="T22" fmla="*/ 2147483647 w 261"/>
              <a:gd name="T23" fmla="*/ 0 h 293"/>
              <a:gd name="T24" fmla="*/ 0 w 261"/>
              <a:gd name="T25" fmla="*/ 0 h 293"/>
              <a:gd name="T26" fmla="*/ 0 w 261"/>
              <a:gd name="T27" fmla="*/ 2147483647 h 293"/>
              <a:gd name="T28" fmla="*/ 0 w 261"/>
              <a:gd name="T29" fmla="*/ 2147483647 h 293"/>
              <a:gd name="T30" fmla="*/ 0 w 261"/>
              <a:gd name="T31" fmla="*/ 2147483647 h 293"/>
              <a:gd name="T32" fmla="*/ 0 w 261"/>
              <a:gd name="T33" fmla="*/ 2147483647 h 293"/>
              <a:gd name="T34" fmla="*/ 2147483647 w 261"/>
              <a:gd name="T35" fmla="*/ 2147483647 h 293"/>
              <a:gd name="T36" fmla="*/ 2147483647 w 261"/>
              <a:gd name="T37" fmla="*/ 2147483647 h 293"/>
              <a:gd name="T38" fmla="*/ 2147483647 w 261"/>
              <a:gd name="T39" fmla="*/ 2147483647 h 293"/>
              <a:gd name="T40" fmla="*/ 2147483647 w 261"/>
              <a:gd name="T41" fmla="*/ 2147483647 h 293"/>
              <a:gd name="T42" fmla="*/ 2147483647 w 261"/>
              <a:gd name="T43" fmla="*/ 2147483647 h 293"/>
              <a:gd name="T44" fmla="*/ 2147483647 w 261"/>
              <a:gd name="T45" fmla="*/ 2147483647 h 29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1"/>
              <a:gd name="T70" fmla="*/ 0 h 293"/>
              <a:gd name="T71" fmla="*/ 261 w 261"/>
              <a:gd name="T72" fmla="*/ 293 h 29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1" h="293">
                <a:moveTo>
                  <a:pt x="156" y="260"/>
                </a:moveTo>
                <a:lnTo>
                  <a:pt x="218" y="260"/>
                </a:lnTo>
                <a:lnTo>
                  <a:pt x="259" y="260"/>
                </a:lnTo>
                <a:lnTo>
                  <a:pt x="259" y="202"/>
                </a:lnTo>
                <a:lnTo>
                  <a:pt x="259" y="146"/>
                </a:lnTo>
                <a:lnTo>
                  <a:pt x="259" y="80"/>
                </a:lnTo>
                <a:lnTo>
                  <a:pt x="259" y="27"/>
                </a:lnTo>
                <a:lnTo>
                  <a:pt x="261" y="27"/>
                </a:lnTo>
                <a:lnTo>
                  <a:pt x="261" y="0"/>
                </a:lnTo>
                <a:lnTo>
                  <a:pt x="188" y="0"/>
                </a:lnTo>
                <a:lnTo>
                  <a:pt x="114" y="0"/>
                </a:lnTo>
                <a:lnTo>
                  <a:pt x="52" y="0"/>
                </a:lnTo>
                <a:lnTo>
                  <a:pt x="0" y="0"/>
                </a:lnTo>
                <a:lnTo>
                  <a:pt x="0" y="78"/>
                </a:lnTo>
                <a:lnTo>
                  <a:pt x="0" y="155"/>
                </a:lnTo>
                <a:lnTo>
                  <a:pt x="0" y="228"/>
                </a:lnTo>
                <a:lnTo>
                  <a:pt x="0" y="293"/>
                </a:lnTo>
                <a:lnTo>
                  <a:pt x="35" y="293"/>
                </a:lnTo>
                <a:lnTo>
                  <a:pt x="35" y="269"/>
                </a:lnTo>
                <a:lnTo>
                  <a:pt x="72" y="268"/>
                </a:lnTo>
                <a:lnTo>
                  <a:pt x="107" y="268"/>
                </a:lnTo>
                <a:lnTo>
                  <a:pt x="104" y="260"/>
                </a:lnTo>
                <a:lnTo>
                  <a:pt x="156" y="260"/>
                </a:lnTo>
                <a:close/>
              </a:path>
            </a:pathLst>
          </a:custGeom>
          <a:solidFill>
            <a:schemeClr val="accent1"/>
          </a:solidFill>
          <a:ln w="6350">
            <a:solidFill>
              <a:schemeClr val="tx2"/>
            </a:solidFill>
            <a:round/>
            <a:headEnd/>
            <a:tailEnd/>
          </a:ln>
        </p:spPr>
        <p:txBody>
          <a:bodyPr/>
          <a:lstStyle/>
          <a:p>
            <a:endParaRPr lang="en-US"/>
          </a:p>
        </p:txBody>
      </p:sp>
      <p:sp>
        <p:nvSpPr>
          <p:cNvPr id="193" name="Freeform 1093"/>
          <p:cNvSpPr>
            <a:spLocks/>
          </p:cNvSpPr>
          <p:nvPr/>
        </p:nvSpPr>
        <p:spPr bwMode="auto">
          <a:xfrm>
            <a:off x="3095792" y="3758643"/>
            <a:ext cx="114667" cy="122270"/>
          </a:xfrm>
          <a:custGeom>
            <a:avLst/>
            <a:gdLst>
              <a:gd name="T0" fmla="*/ 2147483647 w 246"/>
              <a:gd name="T1" fmla="*/ 0 h 293"/>
              <a:gd name="T2" fmla="*/ 2147483647 w 246"/>
              <a:gd name="T3" fmla="*/ 0 h 293"/>
              <a:gd name="T4" fmla="*/ 2147483647 w 246"/>
              <a:gd name="T5" fmla="*/ 0 h 293"/>
              <a:gd name="T6" fmla="*/ 2147483647 w 246"/>
              <a:gd name="T7" fmla="*/ 0 h 293"/>
              <a:gd name="T8" fmla="*/ 2147483647 w 246"/>
              <a:gd name="T9" fmla="*/ 0 h 293"/>
              <a:gd name="T10" fmla="*/ 2147483647 w 246"/>
              <a:gd name="T11" fmla="*/ 2147483647 h 293"/>
              <a:gd name="T12" fmla="*/ 2147483647 w 246"/>
              <a:gd name="T13" fmla="*/ 2147483647 h 293"/>
              <a:gd name="T14" fmla="*/ 2147483647 w 246"/>
              <a:gd name="T15" fmla="*/ 2147483647 h 293"/>
              <a:gd name="T16" fmla="*/ 2147483647 w 246"/>
              <a:gd name="T17" fmla="*/ 2147483647 h 293"/>
              <a:gd name="T18" fmla="*/ 2147483647 w 246"/>
              <a:gd name="T19" fmla="*/ 2147483647 h 293"/>
              <a:gd name="T20" fmla="*/ 2147483647 w 246"/>
              <a:gd name="T21" fmla="*/ 2147483647 h 293"/>
              <a:gd name="T22" fmla="*/ 2147483647 w 246"/>
              <a:gd name="T23" fmla="*/ 2147483647 h 293"/>
              <a:gd name="T24" fmla="*/ 2147483647 w 246"/>
              <a:gd name="T25" fmla="*/ 2147483647 h 293"/>
              <a:gd name="T26" fmla="*/ 2147483647 w 246"/>
              <a:gd name="T27" fmla="*/ 2147483647 h 293"/>
              <a:gd name="T28" fmla="*/ 0 w 246"/>
              <a:gd name="T29" fmla="*/ 2147483647 h 293"/>
              <a:gd name="T30" fmla="*/ 2147483647 w 246"/>
              <a:gd name="T31" fmla="*/ 2147483647 h 293"/>
              <a:gd name="T32" fmla="*/ 2147483647 w 246"/>
              <a:gd name="T33" fmla="*/ 2147483647 h 293"/>
              <a:gd name="T34" fmla="*/ 2147483647 w 246"/>
              <a:gd name="T35" fmla="*/ 2147483647 h 293"/>
              <a:gd name="T36" fmla="*/ 2147483647 w 246"/>
              <a:gd name="T37" fmla="*/ 2147483647 h 293"/>
              <a:gd name="T38" fmla="*/ 2147483647 w 246"/>
              <a:gd name="T39" fmla="*/ 2147483647 h 293"/>
              <a:gd name="T40" fmla="*/ 2147483647 w 246"/>
              <a:gd name="T41" fmla="*/ 2147483647 h 293"/>
              <a:gd name="T42" fmla="*/ 2147483647 w 246"/>
              <a:gd name="T43" fmla="*/ 2147483647 h 293"/>
              <a:gd name="T44" fmla="*/ 2147483647 w 246"/>
              <a:gd name="T45" fmla="*/ 2147483647 h 293"/>
              <a:gd name="T46" fmla="*/ 2147483647 w 246"/>
              <a:gd name="T47" fmla="*/ 2147483647 h 293"/>
              <a:gd name="T48" fmla="*/ 2147483647 w 246"/>
              <a:gd name="T49" fmla="*/ 2147483647 h 293"/>
              <a:gd name="T50" fmla="*/ 2147483647 w 246"/>
              <a:gd name="T51" fmla="*/ 2147483647 h 293"/>
              <a:gd name="T52" fmla="*/ 2147483647 w 246"/>
              <a:gd name="T53" fmla="*/ 2147483647 h 293"/>
              <a:gd name="T54" fmla="*/ 2147483647 w 246"/>
              <a:gd name="T55" fmla="*/ 2147483647 h 293"/>
              <a:gd name="T56" fmla="*/ 2147483647 w 246"/>
              <a:gd name="T57" fmla="*/ 2147483647 h 293"/>
              <a:gd name="T58" fmla="*/ 2147483647 w 246"/>
              <a:gd name="T59" fmla="*/ 2147483647 h 293"/>
              <a:gd name="T60" fmla="*/ 2147483647 w 246"/>
              <a:gd name="T61" fmla="*/ 2147483647 h 293"/>
              <a:gd name="T62" fmla="*/ 2147483647 w 246"/>
              <a:gd name="T63" fmla="*/ 0 h 293"/>
              <a:gd name="T64" fmla="*/ 2147483647 w 246"/>
              <a:gd name="T65" fmla="*/ 0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6"/>
              <a:gd name="T100" fmla="*/ 0 h 293"/>
              <a:gd name="T101" fmla="*/ 246 w 246"/>
              <a:gd name="T102" fmla="*/ 293 h 2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6" h="293">
                <a:moveTo>
                  <a:pt x="64" y="0"/>
                </a:moveTo>
                <a:lnTo>
                  <a:pt x="109" y="0"/>
                </a:lnTo>
                <a:lnTo>
                  <a:pt x="165" y="0"/>
                </a:lnTo>
                <a:lnTo>
                  <a:pt x="210" y="0"/>
                </a:lnTo>
                <a:lnTo>
                  <a:pt x="246" y="0"/>
                </a:lnTo>
                <a:lnTo>
                  <a:pt x="246" y="78"/>
                </a:lnTo>
                <a:lnTo>
                  <a:pt x="246" y="155"/>
                </a:lnTo>
                <a:lnTo>
                  <a:pt x="246" y="228"/>
                </a:lnTo>
                <a:lnTo>
                  <a:pt x="246" y="293"/>
                </a:lnTo>
                <a:lnTo>
                  <a:pt x="210" y="293"/>
                </a:lnTo>
                <a:lnTo>
                  <a:pt x="164" y="293"/>
                </a:lnTo>
                <a:lnTo>
                  <a:pt x="103" y="269"/>
                </a:lnTo>
                <a:lnTo>
                  <a:pt x="42" y="247"/>
                </a:lnTo>
                <a:lnTo>
                  <a:pt x="1" y="232"/>
                </a:lnTo>
                <a:lnTo>
                  <a:pt x="0" y="227"/>
                </a:lnTo>
                <a:lnTo>
                  <a:pt x="3" y="223"/>
                </a:lnTo>
                <a:lnTo>
                  <a:pt x="10" y="223"/>
                </a:lnTo>
                <a:lnTo>
                  <a:pt x="14" y="216"/>
                </a:lnTo>
                <a:lnTo>
                  <a:pt x="14" y="210"/>
                </a:lnTo>
                <a:lnTo>
                  <a:pt x="3" y="204"/>
                </a:lnTo>
                <a:lnTo>
                  <a:pt x="2" y="188"/>
                </a:lnTo>
                <a:lnTo>
                  <a:pt x="10" y="180"/>
                </a:lnTo>
                <a:lnTo>
                  <a:pt x="12" y="160"/>
                </a:lnTo>
                <a:lnTo>
                  <a:pt x="29" y="143"/>
                </a:lnTo>
                <a:lnTo>
                  <a:pt x="6" y="112"/>
                </a:lnTo>
                <a:lnTo>
                  <a:pt x="6" y="106"/>
                </a:lnTo>
                <a:lnTo>
                  <a:pt x="8" y="89"/>
                </a:lnTo>
                <a:lnTo>
                  <a:pt x="2" y="56"/>
                </a:lnTo>
                <a:lnTo>
                  <a:pt x="9" y="45"/>
                </a:lnTo>
                <a:lnTo>
                  <a:pt x="29" y="50"/>
                </a:lnTo>
                <a:lnTo>
                  <a:pt x="32" y="43"/>
                </a:lnTo>
                <a:lnTo>
                  <a:pt x="32" y="0"/>
                </a:lnTo>
                <a:lnTo>
                  <a:pt x="64" y="0"/>
                </a:lnTo>
                <a:close/>
              </a:path>
            </a:pathLst>
          </a:custGeom>
          <a:solidFill>
            <a:schemeClr val="accent1"/>
          </a:solidFill>
          <a:ln w="6350">
            <a:solidFill>
              <a:schemeClr val="tx2"/>
            </a:solidFill>
            <a:round/>
            <a:headEnd/>
            <a:tailEnd/>
          </a:ln>
        </p:spPr>
        <p:txBody>
          <a:bodyPr/>
          <a:lstStyle/>
          <a:p>
            <a:endParaRPr lang="en-US"/>
          </a:p>
        </p:txBody>
      </p:sp>
      <p:sp>
        <p:nvSpPr>
          <p:cNvPr id="194" name="Freeform 1094"/>
          <p:cNvSpPr>
            <a:spLocks/>
          </p:cNvSpPr>
          <p:nvPr/>
        </p:nvSpPr>
        <p:spPr bwMode="auto">
          <a:xfrm>
            <a:off x="3049924" y="3854167"/>
            <a:ext cx="610602" cy="354077"/>
          </a:xfrm>
          <a:custGeom>
            <a:avLst/>
            <a:gdLst>
              <a:gd name="T0" fmla="*/ 2147483647 w 1301"/>
              <a:gd name="T1" fmla="*/ 2147483647 h 849"/>
              <a:gd name="T2" fmla="*/ 2147483647 w 1301"/>
              <a:gd name="T3" fmla="*/ 2147483647 h 849"/>
              <a:gd name="T4" fmla="*/ 2147483647 w 1301"/>
              <a:gd name="T5" fmla="*/ 2147483647 h 849"/>
              <a:gd name="T6" fmla="*/ 2147483647 w 1301"/>
              <a:gd name="T7" fmla="*/ 2147483647 h 849"/>
              <a:gd name="T8" fmla="*/ 2147483647 w 1301"/>
              <a:gd name="T9" fmla="*/ 2147483647 h 849"/>
              <a:gd name="T10" fmla="*/ 2147483647 w 1301"/>
              <a:gd name="T11" fmla="*/ 2147483647 h 849"/>
              <a:gd name="T12" fmla="*/ 2147483647 w 1301"/>
              <a:gd name="T13" fmla="*/ 2147483647 h 849"/>
              <a:gd name="T14" fmla="*/ 2147483647 w 1301"/>
              <a:gd name="T15" fmla="*/ 2147483647 h 849"/>
              <a:gd name="T16" fmla="*/ 2147483647 w 1301"/>
              <a:gd name="T17" fmla="*/ 2147483647 h 849"/>
              <a:gd name="T18" fmla="*/ 2147483647 w 1301"/>
              <a:gd name="T19" fmla="*/ 2147483647 h 849"/>
              <a:gd name="T20" fmla="*/ 2147483647 w 1301"/>
              <a:gd name="T21" fmla="*/ 2147483647 h 849"/>
              <a:gd name="T22" fmla="*/ 2147483647 w 1301"/>
              <a:gd name="T23" fmla="*/ 2147483647 h 849"/>
              <a:gd name="T24" fmla="*/ 2147483647 w 1301"/>
              <a:gd name="T25" fmla="*/ 2147483647 h 849"/>
              <a:gd name="T26" fmla="*/ 2147483647 w 1301"/>
              <a:gd name="T27" fmla="*/ 2147483647 h 849"/>
              <a:gd name="T28" fmla="*/ 2147483647 w 1301"/>
              <a:gd name="T29" fmla="*/ 2147483647 h 849"/>
              <a:gd name="T30" fmla="*/ 2147483647 w 1301"/>
              <a:gd name="T31" fmla="*/ 2147483647 h 849"/>
              <a:gd name="T32" fmla="*/ 2147483647 w 1301"/>
              <a:gd name="T33" fmla="*/ 2147483647 h 849"/>
              <a:gd name="T34" fmla="*/ 2147483647 w 1301"/>
              <a:gd name="T35" fmla="*/ 2147483647 h 849"/>
              <a:gd name="T36" fmla="*/ 2147483647 w 1301"/>
              <a:gd name="T37" fmla="*/ 2147483647 h 849"/>
              <a:gd name="T38" fmla="*/ 2147483647 w 1301"/>
              <a:gd name="T39" fmla="*/ 2147483647 h 849"/>
              <a:gd name="T40" fmla="*/ 2147483647 w 1301"/>
              <a:gd name="T41" fmla="*/ 2147483647 h 849"/>
              <a:gd name="T42" fmla="*/ 2147483647 w 1301"/>
              <a:gd name="T43" fmla="*/ 2147483647 h 849"/>
              <a:gd name="T44" fmla="*/ 2147483647 w 1301"/>
              <a:gd name="T45" fmla="*/ 2147483647 h 849"/>
              <a:gd name="T46" fmla="*/ 2147483647 w 1301"/>
              <a:gd name="T47" fmla="*/ 2147483647 h 849"/>
              <a:gd name="T48" fmla="*/ 2147483647 w 1301"/>
              <a:gd name="T49" fmla="*/ 2147483647 h 849"/>
              <a:gd name="T50" fmla="*/ 2147483647 w 1301"/>
              <a:gd name="T51" fmla="*/ 2147483647 h 849"/>
              <a:gd name="T52" fmla="*/ 2147483647 w 1301"/>
              <a:gd name="T53" fmla="*/ 2147483647 h 849"/>
              <a:gd name="T54" fmla="*/ 2147483647 w 1301"/>
              <a:gd name="T55" fmla="*/ 2147483647 h 849"/>
              <a:gd name="T56" fmla="*/ 2147483647 w 1301"/>
              <a:gd name="T57" fmla="*/ 2147483647 h 849"/>
              <a:gd name="T58" fmla="*/ 2147483647 w 1301"/>
              <a:gd name="T59" fmla="*/ 2147483647 h 849"/>
              <a:gd name="T60" fmla="*/ 2147483647 w 1301"/>
              <a:gd name="T61" fmla="*/ 2147483647 h 849"/>
              <a:gd name="T62" fmla="*/ 2147483647 w 1301"/>
              <a:gd name="T63" fmla="*/ 2147483647 h 849"/>
              <a:gd name="T64" fmla="*/ 2147483647 w 1301"/>
              <a:gd name="T65" fmla="*/ 2147483647 h 849"/>
              <a:gd name="T66" fmla="*/ 2147483647 w 1301"/>
              <a:gd name="T67" fmla="*/ 2147483647 h 849"/>
              <a:gd name="T68" fmla="*/ 2147483647 w 1301"/>
              <a:gd name="T69" fmla="*/ 2147483647 h 849"/>
              <a:gd name="T70" fmla="*/ 2147483647 w 1301"/>
              <a:gd name="T71" fmla="*/ 2147483647 h 849"/>
              <a:gd name="T72" fmla="*/ 2147483647 w 1301"/>
              <a:gd name="T73" fmla="*/ 2147483647 h 849"/>
              <a:gd name="T74" fmla="*/ 2147483647 w 1301"/>
              <a:gd name="T75" fmla="*/ 2147483647 h 849"/>
              <a:gd name="T76" fmla="*/ 2147483647 w 1301"/>
              <a:gd name="T77" fmla="*/ 2147483647 h 849"/>
              <a:gd name="T78" fmla="*/ 2147483647 w 1301"/>
              <a:gd name="T79" fmla="*/ 2147483647 h 849"/>
              <a:gd name="T80" fmla="*/ 2147483647 w 1301"/>
              <a:gd name="T81" fmla="*/ 2147483647 h 849"/>
              <a:gd name="T82" fmla="*/ 2147483647 w 1301"/>
              <a:gd name="T83" fmla="*/ 2147483647 h 849"/>
              <a:gd name="T84" fmla="*/ 2147483647 w 1301"/>
              <a:gd name="T85" fmla="*/ 2147483647 h 849"/>
              <a:gd name="T86" fmla="*/ 2147483647 w 1301"/>
              <a:gd name="T87" fmla="*/ 2147483647 h 849"/>
              <a:gd name="T88" fmla="*/ 2147483647 w 1301"/>
              <a:gd name="T89" fmla="*/ 2147483647 h 849"/>
              <a:gd name="T90" fmla="*/ 2147483647 w 1301"/>
              <a:gd name="T91" fmla="*/ 2147483647 h 849"/>
              <a:gd name="T92" fmla="*/ 2147483647 w 1301"/>
              <a:gd name="T93" fmla="*/ 2147483647 h 849"/>
              <a:gd name="T94" fmla="*/ 2147483647 w 1301"/>
              <a:gd name="T95" fmla="*/ 2147483647 h 849"/>
              <a:gd name="T96" fmla="*/ 2147483647 w 1301"/>
              <a:gd name="T97" fmla="*/ 2147483647 h 849"/>
              <a:gd name="T98" fmla="*/ 2147483647 w 1301"/>
              <a:gd name="T99" fmla="*/ 2147483647 h 849"/>
              <a:gd name="T100" fmla="*/ 2147483647 w 1301"/>
              <a:gd name="T101" fmla="*/ 2147483647 h 849"/>
              <a:gd name="T102" fmla="*/ 2147483647 w 1301"/>
              <a:gd name="T103" fmla="*/ 2147483647 h 849"/>
              <a:gd name="T104" fmla="*/ 2147483647 w 1301"/>
              <a:gd name="T105" fmla="*/ 2147483647 h 849"/>
              <a:gd name="T106" fmla="*/ 2147483647 w 1301"/>
              <a:gd name="T107" fmla="*/ 2147483647 h 849"/>
              <a:gd name="T108" fmla="*/ 2147483647 w 1301"/>
              <a:gd name="T109" fmla="*/ 2147483647 h 849"/>
              <a:gd name="T110" fmla="*/ 2147483647 w 1301"/>
              <a:gd name="T111" fmla="*/ 2147483647 h 849"/>
              <a:gd name="T112" fmla="*/ 2147483647 w 1301"/>
              <a:gd name="T113" fmla="*/ 2147483647 h 849"/>
              <a:gd name="T114" fmla="*/ 2147483647 w 1301"/>
              <a:gd name="T115" fmla="*/ 2147483647 h 849"/>
              <a:gd name="T116" fmla="*/ 2147483647 w 1301"/>
              <a:gd name="T117" fmla="*/ 2147483647 h 8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01"/>
              <a:gd name="T178" fmla="*/ 0 h 849"/>
              <a:gd name="T179" fmla="*/ 1301 w 1301"/>
              <a:gd name="T180" fmla="*/ 849 h 8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01" h="849">
                <a:moveTo>
                  <a:pt x="99" y="42"/>
                </a:moveTo>
                <a:lnTo>
                  <a:pt x="127" y="60"/>
                </a:lnTo>
                <a:lnTo>
                  <a:pt x="143" y="60"/>
                </a:lnTo>
                <a:lnTo>
                  <a:pt x="150" y="69"/>
                </a:lnTo>
                <a:lnTo>
                  <a:pt x="172" y="78"/>
                </a:lnTo>
                <a:lnTo>
                  <a:pt x="177" y="102"/>
                </a:lnTo>
                <a:lnTo>
                  <a:pt x="191" y="139"/>
                </a:lnTo>
                <a:lnTo>
                  <a:pt x="200" y="148"/>
                </a:lnTo>
                <a:lnTo>
                  <a:pt x="204" y="167"/>
                </a:lnTo>
                <a:lnTo>
                  <a:pt x="211" y="172"/>
                </a:lnTo>
                <a:lnTo>
                  <a:pt x="227" y="202"/>
                </a:lnTo>
                <a:lnTo>
                  <a:pt x="262" y="235"/>
                </a:lnTo>
                <a:lnTo>
                  <a:pt x="282" y="240"/>
                </a:lnTo>
                <a:lnTo>
                  <a:pt x="281" y="255"/>
                </a:lnTo>
                <a:lnTo>
                  <a:pt x="287" y="267"/>
                </a:lnTo>
                <a:lnTo>
                  <a:pt x="306" y="279"/>
                </a:lnTo>
                <a:lnTo>
                  <a:pt x="319" y="298"/>
                </a:lnTo>
                <a:lnTo>
                  <a:pt x="330" y="297"/>
                </a:lnTo>
                <a:lnTo>
                  <a:pt x="344" y="312"/>
                </a:lnTo>
                <a:lnTo>
                  <a:pt x="335" y="333"/>
                </a:lnTo>
                <a:lnTo>
                  <a:pt x="339" y="349"/>
                </a:lnTo>
                <a:lnTo>
                  <a:pt x="354" y="345"/>
                </a:lnTo>
                <a:lnTo>
                  <a:pt x="355" y="358"/>
                </a:lnTo>
                <a:lnTo>
                  <a:pt x="374" y="367"/>
                </a:lnTo>
                <a:lnTo>
                  <a:pt x="382" y="366"/>
                </a:lnTo>
                <a:lnTo>
                  <a:pt x="398" y="379"/>
                </a:lnTo>
                <a:lnTo>
                  <a:pt x="400" y="397"/>
                </a:lnTo>
                <a:lnTo>
                  <a:pt x="441" y="430"/>
                </a:lnTo>
                <a:lnTo>
                  <a:pt x="446" y="442"/>
                </a:lnTo>
                <a:lnTo>
                  <a:pt x="453" y="446"/>
                </a:lnTo>
                <a:lnTo>
                  <a:pt x="465" y="466"/>
                </a:lnTo>
                <a:lnTo>
                  <a:pt x="495" y="492"/>
                </a:lnTo>
                <a:lnTo>
                  <a:pt x="502" y="520"/>
                </a:lnTo>
                <a:lnTo>
                  <a:pt x="508" y="527"/>
                </a:lnTo>
                <a:lnTo>
                  <a:pt x="517" y="551"/>
                </a:lnTo>
                <a:lnTo>
                  <a:pt x="515" y="562"/>
                </a:lnTo>
                <a:lnTo>
                  <a:pt x="507" y="572"/>
                </a:lnTo>
                <a:lnTo>
                  <a:pt x="514" y="582"/>
                </a:lnTo>
                <a:lnTo>
                  <a:pt x="499" y="592"/>
                </a:lnTo>
                <a:lnTo>
                  <a:pt x="508" y="617"/>
                </a:lnTo>
                <a:lnTo>
                  <a:pt x="536" y="644"/>
                </a:lnTo>
                <a:lnTo>
                  <a:pt x="554" y="649"/>
                </a:lnTo>
                <a:lnTo>
                  <a:pt x="574" y="662"/>
                </a:lnTo>
                <a:lnTo>
                  <a:pt x="593" y="685"/>
                </a:lnTo>
                <a:lnTo>
                  <a:pt x="640" y="701"/>
                </a:lnTo>
                <a:lnTo>
                  <a:pt x="656" y="702"/>
                </a:lnTo>
                <a:lnTo>
                  <a:pt x="700" y="734"/>
                </a:lnTo>
                <a:lnTo>
                  <a:pt x="785" y="765"/>
                </a:lnTo>
                <a:lnTo>
                  <a:pt x="792" y="764"/>
                </a:lnTo>
                <a:lnTo>
                  <a:pt x="818" y="782"/>
                </a:lnTo>
                <a:lnTo>
                  <a:pt x="844" y="791"/>
                </a:lnTo>
                <a:lnTo>
                  <a:pt x="865" y="794"/>
                </a:lnTo>
                <a:lnTo>
                  <a:pt x="887" y="803"/>
                </a:lnTo>
                <a:lnTo>
                  <a:pt x="904" y="803"/>
                </a:lnTo>
                <a:lnTo>
                  <a:pt x="949" y="778"/>
                </a:lnTo>
                <a:lnTo>
                  <a:pt x="978" y="781"/>
                </a:lnTo>
                <a:lnTo>
                  <a:pt x="1013" y="797"/>
                </a:lnTo>
                <a:lnTo>
                  <a:pt x="1069" y="849"/>
                </a:lnTo>
                <a:lnTo>
                  <a:pt x="1075" y="831"/>
                </a:lnTo>
                <a:lnTo>
                  <a:pt x="1073" y="825"/>
                </a:lnTo>
                <a:lnTo>
                  <a:pt x="1101" y="782"/>
                </a:lnTo>
                <a:lnTo>
                  <a:pt x="1143" y="780"/>
                </a:lnTo>
                <a:lnTo>
                  <a:pt x="1143" y="769"/>
                </a:lnTo>
                <a:lnTo>
                  <a:pt x="1131" y="751"/>
                </a:lnTo>
                <a:lnTo>
                  <a:pt x="1099" y="723"/>
                </a:lnTo>
                <a:lnTo>
                  <a:pt x="1125" y="724"/>
                </a:lnTo>
                <a:lnTo>
                  <a:pt x="1126" y="703"/>
                </a:lnTo>
                <a:lnTo>
                  <a:pt x="1167" y="703"/>
                </a:lnTo>
                <a:lnTo>
                  <a:pt x="1200" y="702"/>
                </a:lnTo>
                <a:lnTo>
                  <a:pt x="1215" y="700"/>
                </a:lnTo>
                <a:lnTo>
                  <a:pt x="1226" y="677"/>
                </a:lnTo>
                <a:lnTo>
                  <a:pt x="1234" y="676"/>
                </a:lnTo>
                <a:lnTo>
                  <a:pt x="1243" y="659"/>
                </a:lnTo>
                <a:lnTo>
                  <a:pt x="1249" y="660"/>
                </a:lnTo>
                <a:lnTo>
                  <a:pt x="1246" y="672"/>
                </a:lnTo>
                <a:lnTo>
                  <a:pt x="1253" y="676"/>
                </a:lnTo>
                <a:lnTo>
                  <a:pt x="1254" y="696"/>
                </a:lnTo>
                <a:lnTo>
                  <a:pt x="1257" y="692"/>
                </a:lnTo>
                <a:lnTo>
                  <a:pt x="1270" y="639"/>
                </a:lnTo>
                <a:lnTo>
                  <a:pt x="1265" y="632"/>
                </a:lnTo>
                <a:lnTo>
                  <a:pt x="1271" y="628"/>
                </a:lnTo>
                <a:lnTo>
                  <a:pt x="1271" y="623"/>
                </a:lnTo>
                <a:lnTo>
                  <a:pt x="1265" y="619"/>
                </a:lnTo>
                <a:lnTo>
                  <a:pt x="1282" y="583"/>
                </a:lnTo>
                <a:lnTo>
                  <a:pt x="1298" y="567"/>
                </a:lnTo>
                <a:lnTo>
                  <a:pt x="1301" y="552"/>
                </a:lnTo>
                <a:lnTo>
                  <a:pt x="1294" y="535"/>
                </a:lnTo>
                <a:lnTo>
                  <a:pt x="1270" y="533"/>
                </a:lnTo>
                <a:lnTo>
                  <a:pt x="1260" y="541"/>
                </a:lnTo>
                <a:lnTo>
                  <a:pt x="1260" y="532"/>
                </a:lnTo>
                <a:lnTo>
                  <a:pt x="1246" y="529"/>
                </a:lnTo>
                <a:lnTo>
                  <a:pt x="1213" y="540"/>
                </a:lnTo>
                <a:lnTo>
                  <a:pt x="1174" y="542"/>
                </a:lnTo>
                <a:lnTo>
                  <a:pt x="1150" y="555"/>
                </a:lnTo>
                <a:lnTo>
                  <a:pt x="1141" y="601"/>
                </a:lnTo>
                <a:lnTo>
                  <a:pt x="1128" y="638"/>
                </a:lnTo>
                <a:lnTo>
                  <a:pt x="1108" y="651"/>
                </a:lnTo>
                <a:lnTo>
                  <a:pt x="1110" y="666"/>
                </a:lnTo>
                <a:lnTo>
                  <a:pt x="1097" y="674"/>
                </a:lnTo>
                <a:lnTo>
                  <a:pt x="1084" y="674"/>
                </a:lnTo>
                <a:lnTo>
                  <a:pt x="1082" y="665"/>
                </a:lnTo>
                <a:lnTo>
                  <a:pt x="1061" y="663"/>
                </a:lnTo>
                <a:lnTo>
                  <a:pt x="1058" y="666"/>
                </a:lnTo>
                <a:lnTo>
                  <a:pt x="1039" y="673"/>
                </a:lnTo>
                <a:lnTo>
                  <a:pt x="1001" y="677"/>
                </a:lnTo>
                <a:lnTo>
                  <a:pt x="983" y="687"/>
                </a:lnTo>
                <a:lnTo>
                  <a:pt x="973" y="687"/>
                </a:lnTo>
                <a:lnTo>
                  <a:pt x="949" y="666"/>
                </a:lnTo>
                <a:lnTo>
                  <a:pt x="937" y="667"/>
                </a:lnTo>
                <a:lnTo>
                  <a:pt x="918" y="658"/>
                </a:lnTo>
                <a:lnTo>
                  <a:pt x="901" y="642"/>
                </a:lnTo>
                <a:lnTo>
                  <a:pt x="887" y="605"/>
                </a:lnTo>
                <a:lnTo>
                  <a:pt x="865" y="581"/>
                </a:lnTo>
                <a:lnTo>
                  <a:pt x="854" y="562"/>
                </a:lnTo>
                <a:lnTo>
                  <a:pt x="851" y="554"/>
                </a:lnTo>
                <a:lnTo>
                  <a:pt x="856" y="544"/>
                </a:lnTo>
                <a:lnTo>
                  <a:pt x="855" y="537"/>
                </a:lnTo>
                <a:lnTo>
                  <a:pt x="841" y="520"/>
                </a:lnTo>
                <a:lnTo>
                  <a:pt x="835" y="506"/>
                </a:lnTo>
                <a:lnTo>
                  <a:pt x="838" y="450"/>
                </a:lnTo>
                <a:lnTo>
                  <a:pt x="830" y="390"/>
                </a:lnTo>
                <a:lnTo>
                  <a:pt x="839" y="376"/>
                </a:lnTo>
                <a:lnTo>
                  <a:pt x="840" y="360"/>
                </a:lnTo>
                <a:lnTo>
                  <a:pt x="855" y="359"/>
                </a:lnTo>
                <a:lnTo>
                  <a:pt x="860" y="353"/>
                </a:lnTo>
                <a:lnTo>
                  <a:pt x="862" y="341"/>
                </a:lnTo>
                <a:lnTo>
                  <a:pt x="855" y="348"/>
                </a:lnTo>
                <a:lnTo>
                  <a:pt x="860" y="333"/>
                </a:lnTo>
                <a:lnTo>
                  <a:pt x="861" y="332"/>
                </a:lnTo>
                <a:lnTo>
                  <a:pt x="847" y="332"/>
                </a:lnTo>
                <a:lnTo>
                  <a:pt x="832" y="325"/>
                </a:lnTo>
                <a:lnTo>
                  <a:pt x="811" y="324"/>
                </a:lnTo>
                <a:lnTo>
                  <a:pt x="788" y="316"/>
                </a:lnTo>
                <a:lnTo>
                  <a:pt x="775" y="307"/>
                </a:lnTo>
                <a:lnTo>
                  <a:pt x="762" y="288"/>
                </a:lnTo>
                <a:lnTo>
                  <a:pt x="750" y="250"/>
                </a:lnTo>
                <a:lnTo>
                  <a:pt x="736" y="241"/>
                </a:lnTo>
                <a:lnTo>
                  <a:pt x="730" y="226"/>
                </a:lnTo>
                <a:lnTo>
                  <a:pt x="717" y="213"/>
                </a:lnTo>
                <a:lnTo>
                  <a:pt x="702" y="176"/>
                </a:lnTo>
                <a:lnTo>
                  <a:pt x="676" y="150"/>
                </a:lnTo>
                <a:lnTo>
                  <a:pt x="669" y="143"/>
                </a:lnTo>
                <a:lnTo>
                  <a:pt x="625" y="142"/>
                </a:lnTo>
                <a:lnTo>
                  <a:pt x="616" y="145"/>
                </a:lnTo>
                <a:lnTo>
                  <a:pt x="595" y="184"/>
                </a:lnTo>
                <a:lnTo>
                  <a:pt x="578" y="181"/>
                </a:lnTo>
                <a:lnTo>
                  <a:pt x="544" y="156"/>
                </a:lnTo>
                <a:lnTo>
                  <a:pt x="533" y="141"/>
                </a:lnTo>
                <a:lnTo>
                  <a:pt x="522" y="101"/>
                </a:lnTo>
                <a:lnTo>
                  <a:pt x="499" y="86"/>
                </a:lnTo>
                <a:lnTo>
                  <a:pt x="476" y="62"/>
                </a:lnTo>
                <a:lnTo>
                  <a:pt x="467" y="57"/>
                </a:lnTo>
                <a:lnTo>
                  <a:pt x="461" y="47"/>
                </a:lnTo>
                <a:lnTo>
                  <a:pt x="450" y="41"/>
                </a:lnTo>
                <a:lnTo>
                  <a:pt x="415" y="41"/>
                </a:lnTo>
                <a:lnTo>
                  <a:pt x="378" y="42"/>
                </a:lnTo>
                <a:lnTo>
                  <a:pt x="378" y="66"/>
                </a:lnTo>
                <a:lnTo>
                  <a:pt x="307" y="66"/>
                </a:lnTo>
                <a:lnTo>
                  <a:pt x="261" y="66"/>
                </a:lnTo>
                <a:lnTo>
                  <a:pt x="200" y="42"/>
                </a:lnTo>
                <a:lnTo>
                  <a:pt x="139" y="20"/>
                </a:lnTo>
                <a:lnTo>
                  <a:pt x="98" y="5"/>
                </a:lnTo>
                <a:lnTo>
                  <a:pt x="97" y="0"/>
                </a:lnTo>
                <a:lnTo>
                  <a:pt x="68" y="3"/>
                </a:lnTo>
                <a:lnTo>
                  <a:pt x="36" y="5"/>
                </a:lnTo>
                <a:lnTo>
                  <a:pt x="0" y="8"/>
                </a:lnTo>
                <a:lnTo>
                  <a:pt x="23" y="44"/>
                </a:lnTo>
                <a:lnTo>
                  <a:pt x="24" y="56"/>
                </a:lnTo>
                <a:lnTo>
                  <a:pt x="46" y="93"/>
                </a:lnTo>
                <a:lnTo>
                  <a:pt x="52" y="117"/>
                </a:lnTo>
                <a:lnTo>
                  <a:pt x="57" y="114"/>
                </a:lnTo>
                <a:lnTo>
                  <a:pt x="64" y="147"/>
                </a:lnTo>
                <a:lnTo>
                  <a:pt x="88" y="164"/>
                </a:lnTo>
                <a:lnTo>
                  <a:pt x="95" y="165"/>
                </a:lnTo>
                <a:lnTo>
                  <a:pt x="134" y="211"/>
                </a:lnTo>
                <a:lnTo>
                  <a:pt x="135" y="232"/>
                </a:lnTo>
                <a:lnTo>
                  <a:pt x="129" y="236"/>
                </a:lnTo>
                <a:lnTo>
                  <a:pt x="130" y="244"/>
                </a:lnTo>
                <a:lnTo>
                  <a:pt x="125" y="240"/>
                </a:lnTo>
                <a:lnTo>
                  <a:pt x="112" y="244"/>
                </a:lnTo>
                <a:lnTo>
                  <a:pt x="94" y="243"/>
                </a:lnTo>
                <a:lnTo>
                  <a:pt x="94" y="249"/>
                </a:lnTo>
                <a:lnTo>
                  <a:pt x="98" y="247"/>
                </a:lnTo>
                <a:lnTo>
                  <a:pt x="115" y="258"/>
                </a:lnTo>
                <a:lnTo>
                  <a:pt x="120" y="271"/>
                </a:lnTo>
                <a:lnTo>
                  <a:pt x="134" y="276"/>
                </a:lnTo>
                <a:lnTo>
                  <a:pt x="156" y="292"/>
                </a:lnTo>
                <a:lnTo>
                  <a:pt x="166" y="294"/>
                </a:lnTo>
                <a:lnTo>
                  <a:pt x="175" y="285"/>
                </a:lnTo>
                <a:lnTo>
                  <a:pt x="179" y="299"/>
                </a:lnTo>
                <a:lnTo>
                  <a:pt x="188" y="311"/>
                </a:lnTo>
                <a:lnTo>
                  <a:pt x="207" y="319"/>
                </a:lnTo>
                <a:lnTo>
                  <a:pt x="217" y="342"/>
                </a:lnTo>
                <a:lnTo>
                  <a:pt x="219" y="366"/>
                </a:lnTo>
                <a:lnTo>
                  <a:pt x="213" y="389"/>
                </a:lnTo>
                <a:lnTo>
                  <a:pt x="217" y="384"/>
                </a:lnTo>
                <a:lnTo>
                  <a:pt x="219" y="389"/>
                </a:lnTo>
                <a:lnTo>
                  <a:pt x="228" y="390"/>
                </a:lnTo>
                <a:lnTo>
                  <a:pt x="231" y="397"/>
                </a:lnTo>
                <a:lnTo>
                  <a:pt x="240" y="399"/>
                </a:lnTo>
                <a:lnTo>
                  <a:pt x="247" y="411"/>
                </a:lnTo>
                <a:lnTo>
                  <a:pt x="288" y="441"/>
                </a:lnTo>
                <a:lnTo>
                  <a:pt x="297" y="451"/>
                </a:lnTo>
                <a:lnTo>
                  <a:pt x="309" y="475"/>
                </a:lnTo>
                <a:lnTo>
                  <a:pt x="328" y="462"/>
                </a:lnTo>
                <a:lnTo>
                  <a:pt x="332" y="451"/>
                </a:lnTo>
                <a:lnTo>
                  <a:pt x="330" y="446"/>
                </a:lnTo>
                <a:lnTo>
                  <a:pt x="317" y="425"/>
                </a:lnTo>
                <a:lnTo>
                  <a:pt x="299" y="411"/>
                </a:lnTo>
                <a:lnTo>
                  <a:pt x="292" y="417"/>
                </a:lnTo>
                <a:lnTo>
                  <a:pt x="283" y="411"/>
                </a:lnTo>
                <a:lnTo>
                  <a:pt x="277" y="397"/>
                </a:lnTo>
                <a:lnTo>
                  <a:pt x="277" y="383"/>
                </a:lnTo>
                <a:lnTo>
                  <a:pt x="267" y="368"/>
                </a:lnTo>
                <a:lnTo>
                  <a:pt x="267" y="354"/>
                </a:lnTo>
                <a:lnTo>
                  <a:pt x="255" y="341"/>
                </a:lnTo>
                <a:lnTo>
                  <a:pt x="251" y="317"/>
                </a:lnTo>
                <a:lnTo>
                  <a:pt x="242" y="298"/>
                </a:lnTo>
                <a:lnTo>
                  <a:pt x="230" y="291"/>
                </a:lnTo>
                <a:lnTo>
                  <a:pt x="235" y="304"/>
                </a:lnTo>
                <a:lnTo>
                  <a:pt x="229" y="299"/>
                </a:lnTo>
                <a:lnTo>
                  <a:pt x="223" y="281"/>
                </a:lnTo>
                <a:lnTo>
                  <a:pt x="214" y="274"/>
                </a:lnTo>
                <a:lnTo>
                  <a:pt x="209" y="258"/>
                </a:lnTo>
                <a:lnTo>
                  <a:pt x="194" y="242"/>
                </a:lnTo>
                <a:lnTo>
                  <a:pt x="188" y="216"/>
                </a:lnTo>
                <a:lnTo>
                  <a:pt x="180" y="211"/>
                </a:lnTo>
                <a:lnTo>
                  <a:pt x="172" y="193"/>
                </a:lnTo>
                <a:lnTo>
                  <a:pt x="160" y="190"/>
                </a:lnTo>
                <a:lnTo>
                  <a:pt x="152" y="171"/>
                </a:lnTo>
                <a:lnTo>
                  <a:pt x="129" y="149"/>
                </a:lnTo>
                <a:lnTo>
                  <a:pt x="123" y="148"/>
                </a:lnTo>
                <a:lnTo>
                  <a:pt x="113" y="129"/>
                </a:lnTo>
                <a:lnTo>
                  <a:pt x="107" y="89"/>
                </a:lnTo>
                <a:lnTo>
                  <a:pt x="101" y="78"/>
                </a:lnTo>
                <a:lnTo>
                  <a:pt x="99" y="42"/>
                </a:lnTo>
                <a:close/>
              </a:path>
            </a:pathLst>
          </a:custGeom>
          <a:solidFill>
            <a:schemeClr val="accent1"/>
          </a:solidFill>
          <a:ln w="6350">
            <a:solidFill>
              <a:schemeClr val="tx2"/>
            </a:solidFill>
            <a:round/>
            <a:headEnd/>
            <a:tailEnd/>
          </a:ln>
        </p:spPr>
        <p:txBody>
          <a:bodyPr/>
          <a:lstStyle/>
          <a:p>
            <a:endParaRPr lang="en-US"/>
          </a:p>
        </p:txBody>
      </p:sp>
      <p:sp>
        <p:nvSpPr>
          <p:cNvPr id="195" name="Freeform 1095"/>
          <p:cNvSpPr>
            <a:spLocks/>
          </p:cNvSpPr>
          <p:nvPr/>
        </p:nvSpPr>
        <p:spPr bwMode="auto">
          <a:xfrm>
            <a:off x="2905157" y="3642740"/>
            <a:ext cx="203534" cy="215247"/>
          </a:xfrm>
          <a:custGeom>
            <a:avLst/>
            <a:gdLst>
              <a:gd name="T0" fmla="*/ 2147483647 w 436"/>
              <a:gd name="T1" fmla="*/ 2147483647 h 514"/>
              <a:gd name="T2" fmla="*/ 2147483647 w 436"/>
              <a:gd name="T3" fmla="*/ 2147483647 h 514"/>
              <a:gd name="T4" fmla="*/ 2147483647 w 436"/>
              <a:gd name="T5" fmla="*/ 2147483647 h 514"/>
              <a:gd name="T6" fmla="*/ 2147483647 w 436"/>
              <a:gd name="T7" fmla="*/ 2147483647 h 514"/>
              <a:gd name="T8" fmla="*/ 2147483647 w 436"/>
              <a:gd name="T9" fmla="*/ 2147483647 h 514"/>
              <a:gd name="T10" fmla="*/ 2147483647 w 436"/>
              <a:gd name="T11" fmla="*/ 2147483647 h 514"/>
              <a:gd name="T12" fmla="*/ 2147483647 w 436"/>
              <a:gd name="T13" fmla="*/ 0 h 514"/>
              <a:gd name="T14" fmla="*/ 2147483647 w 436"/>
              <a:gd name="T15" fmla="*/ 0 h 514"/>
              <a:gd name="T16" fmla="*/ 2147483647 w 436"/>
              <a:gd name="T17" fmla="*/ 0 h 514"/>
              <a:gd name="T18" fmla="*/ 2147483647 w 436"/>
              <a:gd name="T19" fmla="*/ 2147483647 h 514"/>
              <a:gd name="T20" fmla="*/ 0 w 436"/>
              <a:gd name="T21" fmla="*/ 2147483647 h 514"/>
              <a:gd name="T22" fmla="*/ 2147483647 w 436"/>
              <a:gd name="T23" fmla="*/ 2147483647 h 514"/>
              <a:gd name="T24" fmla="*/ 2147483647 w 436"/>
              <a:gd name="T25" fmla="*/ 2147483647 h 514"/>
              <a:gd name="T26" fmla="*/ 2147483647 w 436"/>
              <a:gd name="T27" fmla="*/ 2147483647 h 514"/>
              <a:gd name="T28" fmla="*/ 2147483647 w 436"/>
              <a:gd name="T29" fmla="*/ 2147483647 h 514"/>
              <a:gd name="T30" fmla="*/ 2147483647 w 436"/>
              <a:gd name="T31" fmla="*/ 2147483647 h 514"/>
              <a:gd name="T32" fmla="*/ 2147483647 w 436"/>
              <a:gd name="T33" fmla="*/ 2147483647 h 514"/>
              <a:gd name="T34" fmla="*/ 2147483647 w 436"/>
              <a:gd name="T35" fmla="*/ 2147483647 h 514"/>
              <a:gd name="T36" fmla="*/ 2147483647 w 436"/>
              <a:gd name="T37" fmla="*/ 2147483647 h 514"/>
              <a:gd name="T38" fmla="*/ 2147483647 w 436"/>
              <a:gd name="T39" fmla="*/ 2147483647 h 514"/>
              <a:gd name="T40" fmla="*/ 2147483647 w 436"/>
              <a:gd name="T41" fmla="*/ 2147483647 h 514"/>
              <a:gd name="T42" fmla="*/ 2147483647 w 436"/>
              <a:gd name="T43" fmla="*/ 2147483647 h 514"/>
              <a:gd name="T44" fmla="*/ 2147483647 w 436"/>
              <a:gd name="T45" fmla="*/ 2147483647 h 514"/>
              <a:gd name="T46" fmla="*/ 2147483647 w 436"/>
              <a:gd name="T47" fmla="*/ 2147483647 h 514"/>
              <a:gd name="T48" fmla="*/ 2147483647 w 436"/>
              <a:gd name="T49" fmla="*/ 2147483647 h 514"/>
              <a:gd name="T50" fmla="*/ 2147483647 w 436"/>
              <a:gd name="T51" fmla="*/ 2147483647 h 514"/>
              <a:gd name="T52" fmla="*/ 2147483647 w 436"/>
              <a:gd name="T53" fmla="*/ 2147483647 h 514"/>
              <a:gd name="T54" fmla="*/ 2147483647 w 436"/>
              <a:gd name="T55" fmla="*/ 2147483647 h 514"/>
              <a:gd name="T56" fmla="*/ 2147483647 w 436"/>
              <a:gd name="T57" fmla="*/ 2147483647 h 514"/>
              <a:gd name="T58" fmla="*/ 2147483647 w 436"/>
              <a:gd name="T59" fmla="*/ 2147483647 h 514"/>
              <a:gd name="T60" fmla="*/ 2147483647 w 436"/>
              <a:gd name="T61" fmla="*/ 2147483647 h 514"/>
              <a:gd name="T62" fmla="*/ 2147483647 w 436"/>
              <a:gd name="T63" fmla="*/ 2147483647 h 5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6"/>
              <a:gd name="T97" fmla="*/ 0 h 514"/>
              <a:gd name="T98" fmla="*/ 436 w 436"/>
              <a:gd name="T99" fmla="*/ 514 h 51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6" h="514">
                <a:moveTo>
                  <a:pt x="409" y="467"/>
                </a:moveTo>
                <a:lnTo>
                  <a:pt x="417" y="459"/>
                </a:lnTo>
                <a:lnTo>
                  <a:pt x="419" y="439"/>
                </a:lnTo>
                <a:lnTo>
                  <a:pt x="436" y="422"/>
                </a:lnTo>
                <a:lnTo>
                  <a:pt x="413" y="391"/>
                </a:lnTo>
                <a:lnTo>
                  <a:pt x="413" y="385"/>
                </a:lnTo>
                <a:lnTo>
                  <a:pt x="372" y="346"/>
                </a:lnTo>
                <a:lnTo>
                  <a:pt x="311" y="291"/>
                </a:lnTo>
                <a:lnTo>
                  <a:pt x="267" y="250"/>
                </a:lnTo>
                <a:lnTo>
                  <a:pt x="220" y="206"/>
                </a:lnTo>
                <a:lnTo>
                  <a:pt x="183" y="171"/>
                </a:lnTo>
                <a:lnTo>
                  <a:pt x="183" y="104"/>
                </a:lnTo>
                <a:lnTo>
                  <a:pt x="183" y="48"/>
                </a:lnTo>
                <a:lnTo>
                  <a:pt x="183" y="0"/>
                </a:lnTo>
                <a:lnTo>
                  <a:pt x="137" y="0"/>
                </a:lnTo>
                <a:lnTo>
                  <a:pt x="90" y="0"/>
                </a:lnTo>
                <a:lnTo>
                  <a:pt x="43" y="0"/>
                </a:lnTo>
                <a:lnTo>
                  <a:pt x="5" y="0"/>
                </a:lnTo>
                <a:lnTo>
                  <a:pt x="13" y="35"/>
                </a:lnTo>
                <a:lnTo>
                  <a:pt x="10" y="68"/>
                </a:lnTo>
                <a:lnTo>
                  <a:pt x="0" y="85"/>
                </a:lnTo>
                <a:lnTo>
                  <a:pt x="0" y="92"/>
                </a:lnTo>
                <a:lnTo>
                  <a:pt x="25" y="132"/>
                </a:lnTo>
                <a:lnTo>
                  <a:pt x="24" y="150"/>
                </a:lnTo>
                <a:lnTo>
                  <a:pt x="32" y="179"/>
                </a:lnTo>
                <a:lnTo>
                  <a:pt x="57" y="207"/>
                </a:lnTo>
                <a:lnTo>
                  <a:pt x="59" y="220"/>
                </a:lnTo>
                <a:lnTo>
                  <a:pt x="67" y="228"/>
                </a:lnTo>
                <a:lnTo>
                  <a:pt x="78" y="229"/>
                </a:lnTo>
                <a:lnTo>
                  <a:pt x="79" y="217"/>
                </a:lnTo>
                <a:lnTo>
                  <a:pt x="101" y="221"/>
                </a:lnTo>
                <a:lnTo>
                  <a:pt x="86" y="230"/>
                </a:lnTo>
                <a:lnTo>
                  <a:pt x="97" y="252"/>
                </a:lnTo>
                <a:lnTo>
                  <a:pt x="80" y="237"/>
                </a:lnTo>
                <a:lnTo>
                  <a:pt x="87" y="272"/>
                </a:lnTo>
                <a:lnTo>
                  <a:pt x="94" y="279"/>
                </a:lnTo>
                <a:lnTo>
                  <a:pt x="104" y="281"/>
                </a:lnTo>
                <a:lnTo>
                  <a:pt x="109" y="289"/>
                </a:lnTo>
                <a:lnTo>
                  <a:pt x="109" y="298"/>
                </a:lnTo>
                <a:lnTo>
                  <a:pt x="104" y="302"/>
                </a:lnTo>
                <a:lnTo>
                  <a:pt x="106" y="315"/>
                </a:lnTo>
                <a:lnTo>
                  <a:pt x="149" y="364"/>
                </a:lnTo>
                <a:lnTo>
                  <a:pt x="150" y="372"/>
                </a:lnTo>
                <a:lnTo>
                  <a:pt x="162" y="381"/>
                </a:lnTo>
                <a:lnTo>
                  <a:pt x="165" y="408"/>
                </a:lnTo>
                <a:lnTo>
                  <a:pt x="194" y="417"/>
                </a:lnTo>
                <a:lnTo>
                  <a:pt x="203" y="416"/>
                </a:lnTo>
                <a:lnTo>
                  <a:pt x="240" y="439"/>
                </a:lnTo>
                <a:lnTo>
                  <a:pt x="243" y="434"/>
                </a:lnTo>
                <a:lnTo>
                  <a:pt x="249" y="436"/>
                </a:lnTo>
                <a:lnTo>
                  <a:pt x="258" y="451"/>
                </a:lnTo>
                <a:lnTo>
                  <a:pt x="277" y="457"/>
                </a:lnTo>
                <a:lnTo>
                  <a:pt x="302" y="481"/>
                </a:lnTo>
                <a:lnTo>
                  <a:pt x="306" y="488"/>
                </a:lnTo>
                <a:lnTo>
                  <a:pt x="310" y="514"/>
                </a:lnTo>
                <a:lnTo>
                  <a:pt x="346" y="511"/>
                </a:lnTo>
                <a:lnTo>
                  <a:pt x="378" y="509"/>
                </a:lnTo>
                <a:lnTo>
                  <a:pt x="407" y="506"/>
                </a:lnTo>
                <a:lnTo>
                  <a:pt x="410" y="502"/>
                </a:lnTo>
                <a:lnTo>
                  <a:pt x="417" y="502"/>
                </a:lnTo>
                <a:lnTo>
                  <a:pt x="421" y="495"/>
                </a:lnTo>
                <a:lnTo>
                  <a:pt x="421" y="489"/>
                </a:lnTo>
                <a:lnTo>
                  <a:pt x="410" y="483"/>
                </a:lnTo>
                <a:lnTo>
                  <a:pt x="409" y="467"/>
                </a:lnTo>
                <a:close/>
              </a:path>
            </a:pathLst>
          </a:custGeom>
          <a:solidFill>
            <a:schemeClr val="accent1"/>
          </a:solidFill>
          <a:ln w="6350">
            <a:solidFill>
              <a:schemeClr val="tx2"/>
            </a:solidFill>
            <a:round/>
            <a:headEnd/>
            <a:tailEnd/>
          </a:ln>
        </p:spPr>
        <p:txBody>
          <a:bodyPr/>
          <a:lstStyle/>
          <a:p>
            <a:endParaRPr lang="en-US"/>
          </a:p>
        </p:txBody>
      </p:sp>
      <p:sp>
        <p:nvSpPr>
          <p:cNvPr id="196" name="Freeform 1096"/>
          <p:cNvSpPr>
            <a:spLocks/>
          </p:cNvSpPr>
          <p:nvPr/>
        </p:nvSpPr>
        <p:spPr bwMode="auto">
          <a:xfrm>
            <a:off x="3110124" y="3642740"/>
            <a:ext cx="100334" cy="115902"/>
          </a:xfrm>
          <a:custGeom>
            <a:avLst/>
            <a:gdLst>
              <a:gd name="T0" fmla="*/ 2147483647 w 214"/>
              <a:gd name="T1" fmla="*/ 0 h 279"/>
              <a:gd name="T2" fmla="*/ 2147483647 w 214"/>
              <a:gd name="T3" fmla="*/ 0 h 279"/>
              <a:gd name="T4" fmla="*/ 2147483647 w 214"/>
              <a:gd name="T5" fmla="*/ 2147483647 h 279"/>
              <a:gd name="T6" fmla="*/ 2147483647 w 214"/>
              <a:gd name="T7" fmla="*/ 2147483647 h 279"/>
              <a:gd name="T8" fmla="*/ 2147483647 w 214"/>
              <a:gd name="T9" fmla="*/ 2147483647 h 279"/>
              <a:gd name="T10" fmla="*/ 2147483647 w 214"/>
              <a:gd name="T11" fmla="*/ 2147483647 h 279"/>
              <a:gd name="T12" fmla="*/ 2147483647 w 214"/>
              <a:gd name="T13" fmla="*/ 2147483647 h 279"/>
              <a:gd name="T14" fmla="*/ 2147483647 w 214"/>
              <a:gd name="T15" fmla="*/ 2147483647 h 279"/>
              <a:gd name="T16" fmla="*/ 2147483647 w 214"/>
              <a:gd name="T17" fmla="*/ 2147483647 h 279"/>
              <a:gd name="T18" fmla="*/ 2147483647 w 214"/>
              <a:gd name="T19" fmla="*/ 2147483647 h 279"/>
              <a:gd name="T20" fmla="*/ 2147483647 w 214"/>
              <a:gd name="T21" fmla="*/ 2147483647 h 279"/>
              <a:gd name="T22" fmla="*/ 2147483647 w 214"/>
              <a:gd name="T23" fmla="*/ 2147483647 h 279"/>
              <a:gd name="T24" fmla="*/ 0 w 214"/>
              <a:gd name="T25" fmla="*/ 2147483647 h 279"/>
              <a:gd name="T26" fmla="*/ 0 w 214"/>
              <a:gd name="T27" fmla="*/ 2147483647 h 279"/>
              <a:gd name="T28" fmla="*/ 0 w 214"/>
              <a:gd name="T29" fmla="*/ 2147483647 h 279"/>
              <a:gd name="T30" fmla="*/ 0 w 214"/>
              <a:gd name="T31" fmla="*/ 2147483647 h 279"/>
              <a:gd name="T32" fmla="*/ 0 w 214"/>
              <a:gd name="T33" fmla="*/ 0 h 279"/>
              <a:gd name="T34" fmla="*/ 2147483647 w 214"/>
              <a:gd name="T35" fmla="*/ 0 h 27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4"/>
              <a:gd name="T55" fmla="*/ 0 h 279"/>
              <a:gd name="T56" fmla="*/ 214 w 214"/>
              <a:gd name="T57" fmla="*/ 279 h 27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4" h="279">
                <a:moveTo>
                  <a:pt x="27" y="0"/>
                </a:moveTo>
                <a:lnTo>
                  <a:pt x="128" y="0"/>
                </a:lnTo>
                <a:lnTo>
                  <a:pt x="128" y="58"/>
                </a:lnTo>
                <a:lnTo>
                  <a:pt x="170" y="58"/>
                </a:lnTo>
                <a:lnTo>
                  <a:pt x="214" y="58"/>
                </a:lnTo>
                <a:lnTo>
                  <a:pt x="214" y="134"/>
                </a:lnTo>
                <a:lnTo>
                  <a:pt x="214" y="218"/>
                </a:lnTo>
                <a:lnTo>
                  <a:pt x="214" y="279"/>
                </a:lnTo>
                <a:lnTo>
                  <a:pt x="178" y="279"/>
                </a:lnTo>
                <a:lnTo>
                  <a:pt x="133" y="279"/>
                </a:lnTo>
                <a:lnTo>
                  <a:pt x="77" y="279"/>
                </a:lnTo>
                <a:lnTo>
                  <a:pt x="32" y="279"/>
                </a:lnTo>
                <a:lnTo>
                  <a:pt x="0" y="279"/>
                </a:lnTo>
                <a:lnTo>
                  <a:pt x="0" y="217"/>
                </a:lnTo>
                <a:lnTo>
                  <a:pt x="0" y="139"/>
                </a:lnTo>
                <a:lnTo>
                  <a:pt x="0" y="65"/>
                </a:lnTo>
                <a:lnTo>
                  <a:pt x="0" y="0"/>
                </a:lnTo>
                <a:lnTo>
                  <a:pt x="27" y="0"/>
                </a:lnTo>
                <a:close/>
              </a:path>
            </a:pathLst>
          </a:custGeom>
          <a:solidFill>
            <a:schemeClr val="accent1"/>
          </a:solidFill>
          <a:ln w="6350">
            <a:solidFill>
              <a:schemeClr val="tx2"/>
            </a:solidFill>
            <a:round/>
            <a:headEnd/>
            <a:tailEnd/>
          </a:ln>
        </p:spPr>
        <p:txBody>
          <a:bodyPr/>
          <a:lstStyle/>
          <a:p>
            <a:endParaRPr lang="en-US"/>
          </a:p>
        </p:txBody>
      </p:sp>
      <p:sp>
        <p:nvSpPr>
          <p:cNvPr id="197" name="Freeform 1097"/>
          <p:cNvSpPr>
            <a:spLocks/>
          </p:cNvSpPr>
          <p:nvPr/>
        </p:nvSpPr>
        <p:spPr bwMode="auto">
          <a:xfrm>
            <a:off x="2991157" y="3642740"/>
            <a:ext cx="118967" cy="160481"/>
          </a:xfrm>
          <a:custGeom>
            <a:avLst/>
            <a:gdLst>
              <a:gd name="T0" fmla="*/ 2147483647 w 256"/>
              <a:gd name="T1" fmla="*/ 2147483647 h 385"/>
              <a:gd name="T2" fmla="*/ 2147483647 w 256"/>
              <a:gd name="T3" fmla="*/ 2147483647 h 385"/>
              <a:gd name="T4" fmla="*/ 2147483647 w 256"/>
              <a:gd name="T5" fmla="*/ 2147483647 h 385"/>
              <a:gd name="T6" fmla="*/ 2147483647 w 256"/>
              <a:gd name="T7" fmla="*/ 2147483647 h 385"/>
              <a:gd name="T8" fmla="*/ 0 w 256"/>
              <a:gd name="T9" fmla="*/ 2147483647 h 385"/>
              <a:gd name="T10" fmla="*/ 0 w 256"/>
              <a:gd name="T11" fmla="*/ 2147483647 h 385"/>
              <a:gd name="T12" fmla="*/ 0 w 256"/>
              <a:gd name="T13" fmla="*/ 2147483647 h 385"/>
              <a:gd name="T14" fmla="*/ 0 w 256"/>
              <a:gd name="T15" fmla="*/ 0 h 385"/>
              <a:gd name="T16" fmla="*/ 2147483647 w 256"/>
              <a:gd name="T17" fmla="*/ 0 h 385"/>
              <a:gd name="T18" fmla="*/ 2147483647 w 256"/>
              <a:gd name="T19" fmla="*/ 0 h 385"/>
              <a:gd name="T20" fmla="*/ 2147483647 w 256"/>
              <a:gd name="T21" fmla="*/ 0 h 385"/>
              <a:gd name="T22" fmla="*/ 2147483647 w 256"/>
              <a:gd name="T23" fmla="*/ 0 h 385"/>
              <a:gd name="T24" fmla="*/ 2147483647 w 256"/>
              <a:gd name="T25" fmla="*/ 0 h 385"/>
              <a:gd name="T26" fmla="*/ 2147483647 w 256"/>
              <a:gd name="T27" fmla="*/ 0 h 385"/>
              <a:gd name="T28" fmla="*/ 2147483647 w 256"/>
              <a:gd name="T29" fmla="*/ 2147483647 h 385"/>
              <a:gd name="T30" fmla="*/ 2147483647 w 256"/>
              <a:gd name="T31" fmla="*/ 2147483647 h 385"/>
              <a:gd name="T32" fmla="*/ 2147483647 w 256"/>
              <a:gd name="T33" fmla="*/ 2147483647 h 385"/>
              <a:gd name="T34" fmla="*/ 2147483647 w 256"/>
              <a:gd name="T35" fmla="*/ 2147483647 h 385"/>
              <a:gd name="T36" fmla="*/ 2147483647 w 256"/>
              <a:gd name="T37" fmla="*/ 2147483647 h 385"/>
              <a:gd name="T38" fmla="*/ 2147483647 w 256"/>
              <a:gd name="T39" fmla="*/ 2147483647 h 385"/>
              <a:gd name="T40" fmla="*/ 2147483647 w 256"/>
              <a:gd name="T41" fmla="*/ 2147483647 h 385"/>
              <a:gd name="T42" fmla="*/ 2147483647 w 256"/>
              <a:gd name="T43" fmla="*/ 2147483647 h 385"/>
              <a:gd name="T44" fmla="*/ 2147483647 w 256"/>
              <a:gd name="T45" fmla="*/ 2147483647 h 385"/>
              <a:gd name="T46" fmla="*/ 2147483647 w 256"/>
              <a:gd name="T47" fmla="*/ 2147483647 h 3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6"/>
              <a:gd name="T73" fmla="*/ 0 h 385"/>
              <a:gd name="T74" fmla="*/ 256 w 256"/>
              <a:gd name="T75" fmla="*/ 385 h 3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6" h="385">
                <a:moveTo>
                  <a:pt x="189" y="346"/>
                </a:moveTo>
                <a:lnTo>
                  <a:pt x="128" y="291"/>
                </a:lnTo>
                <a:lnTo>
                  <a:pt x="84" y="250"/>
                </a:lnTo>
                <a:lnTo>
                  <a:pt x="37" y="206"/>
                </a:lnTo>
                <a:lnTo>
                  <a:pt x="0" y="171"/>
                </a:lnTo>
                <a:lnTo>
                  <a:pt x="0" y="104"/>
                </a:lnTo>
                <a:lnTo>
                  <a:pt x="0" y="48"/>
                </a:lnTo>
                <a:lnTo>
                  <a:pt x="0" y="0"/>
                </a:lnTo>
                <a:lnTo>
                  <a:pt x="42" y="0"/>
                </a:lnTo>
                <a:lnTo>
                  <a:pt x="83" y="0"/>
                </a:lnTo>
                <a:lnTo>
                  <a:pt x="128" y="0"/>
                </a:lnTo>
                <a:lnTo>
                  <a:pt x="168" y="0"/>
                </a:lnTo>
                <a:lnTo>
                  <a:pt x="210" y="0"/>
                </a:lnTo>
                <a:lnTo>
                  <a:pt x="256" y="0"/>
                </a:lnTo>
                <a:lnTo>
                  <a:pt x="256" y="65"/>
                </a:lnTo>
                <a:lnTo>
                  <a:pt x="256" y="139"/>
                </a:lnTo>
                <a:lnTo>
                  <a:pt x="256" y="217"/>
                </a:lnTo>
                <a:lnTo>
                  <a:pt x="256" y="322"/>
                </a:lnTo>
                <a:lnTo>
                  <a:pt x="253" y="329"/>
                </a:lnTo>
                <a:lnTo>
                  <a:pt x="233" y="324"/>
                </a:lnTo>
                <a:lnTo>
                  <a:pt x="226" y="335"/>
                </a:lnTo>
                <a:lnTo>
                  <a:pt x="232" y="368"/>
                </a:lnTo>
                <a:lnTo>
                  <a:pt x="230" y="385"/>
                </a:lnTo>
                <a:lnTo>
                  <a:pt x="189" y="346"/>
                </a:lnTo>
                <a:close/>
              </a:path>
            </a:pathLst>
          </a:custGeom>
          <a:solidFill>
            <a:schemeClr val="accent1"/>
          </a:solidFill>
          <a:ln w="6350">
            <a:solidFill>
              <a:schemeClr val="tx2"/>
            </a:solidFill>
            <a:round/>
            <a:headEnd/>
            <a:tailEnd/>
          </a:ln>
        </p:spPr>
        <p:txBody>
          <a:bodyPr/>
          <a:lstStyle/>
          <a:p>
            <a:endParaRPr lang="en-US"/>
          </a:p>
        </p:txBody>
      </p:sp>
      <p:sp>
        <p:nvSpPr>
          <p:cNvPr id="198" name="Freeform 1098"/>
          <p:cNvSpPr>
            <a:spLocks/>
          </p:cNvSpPr>
          <p:nvPr/>
        </p:nvSpPr>
        <p:spPr bwMode="auto">
          <a:xfrm>
            <a:off x="2900857" y="3538301"/>
            <a:ext cx="163401" cy="104440"/>
          </a:xfrm>
          <a:custGeom>
            <a:avLst/>
            <a:gdLst>
              <a:gd name="T0" fmla="*/ 2147483647 w 341"/>
              <a:gd name="T1" fmla="*/ 2147483647 h 249"/>
              <a:gd name="T2" fmla="*/ 2147483647 w 341"/>
              <a:gd name="T3" fmla="*/ 2147483647 h 249"/>
              <a:gd name="T4" fmla="*/ 2147483647 w 341"/>
              <a:gd name="T5" fmla="*/ 2147483647 h 249"/>
              <a:gd name="T6" fmla="*/ 2147483647 w 341"/>
              <a:gd name="T7" fmla="*/ 2147483647 h 249"/>
              <a:gd name="T8" fmla="*/ 2147483647 w 341"/>
              <a:gd name="T9" fmla="*/ 2147483647 h 249"/>
              <a:gd name="T10" fmla="*/ 2147483647 w 341"/>
              <a:gd name="T11" fmla="*/ 2147483647 h 249"/>
              <a:gd name="T12" fmla="*/ 2147483647 w 341"/>
              <a:gd name="T13" fmla="*/ 2147483647 h 249"/>
              <a:gd name="T14" fmla="*/ 2147483647 w 341"/>
              <a:gd name="T15" fmla="*/ 2147483647 h 249"/>
              <a:gd name="T16" fmla="*/ 0 w 341"/>
              <a:gd name="T17" fmla="*/ 2147483647 h 249"/>
              <a:gd name="T18" fmla="*/ 2147483647 w 341"/>
              <a:gd name="T19" fmla="*/ 2147483647 h 249"/>
              <a:gd name="T20" fmla="*/ 2147483647 w 341"/>
              <a:gd name="T21" fmla="*/ 2147483647 h 249"/>
              <a:gd name="T22" fmla="*/ 2147483647 w 341"/>
              <a:gd name="T23" fmla="*/ 2147483647 h 249"/>
              <a:gd name="T24" fmla="*/ 2147483647 w 341"/>
              <a:gd name="T25" fmla="*/ 2147483647 h 249"/>
              <a:gd name="T26" fmla="*/ 2147483647 w 341"/>
              <a:gd name="T27" fmla="*/ 2147483647 h 249"/>
              <a:gd name="T28" fmla="*/ 2147483647 w 341"/>
              <a:gd name="T29" fmla="*/ 0 h 249"/>
              <a:gd name="T30" fmla="*/ 2147483647 w 341"/>
              <a:gd name="T31" fmla="*/ 2147483647 h 249"/>
              <a:gd name="T32" fmla="*/ 2147483647 w 341"/>
              <a:gd name="T33" fmla="*/ 2147483647 h 249"/>
              <a:gd name="T34" fmla="*/ 2147483647 w 341"/>
              <a:gd name="T35" fmla="*/ 2147483647 h 249"/>
              <a:gd name="T36" fmla="*/ 2147483647 w 341"/>
              <a:gd name="T37" fmla="*/ 2147483647 h 249"/>
              <a:gd name="T38" fmla="*/ 2147483647 w 341"/>
              <a:gd name="T39" fmla="*/ 2147483647 h 249"/>
              <a:gd name="T40" fmla="*/ 2147483647 w 341"/>
              <a:gd name="T41" fmla="*/ 2147483647 h 249"/>
              <a:gd name="T42" fmla="*/ 2147483647 w 341"/>
              <a:gd name="T43" fmla="*/ 2147483647 h 249"/>
              <a:gd name="T44" fmla="*/ 2147483647 w 341"/>
              <a:gd name="T45" fmla="*/ 2147483647 h 249"/>
              <a:gd name="T46" fmla="*/ 2147483647 w 341"/>
              <a:gd name="T47" fmla="*/ 2147483647 h 249"/>
              <a:gd name="T48" fmla="*/ 2147483647 w 341"/>
              <a:gd name="T49" fmla="*/ 2147483647 h 249"/>
              <a:gd name="T50" fmla="*/ 2147483647 w 341"/>
              <a:gd name="T51" fmla="*/ 2147483647 h 249"/>
              <a:gd name="T52" fmla="*/ 2147483647 w 341"/>
              <a:gd name="T53" fmla="*/ 2147483647 h 249"/>
              <a:gd name="T54" fmla="*/ 2147483647 w 341"/>
              <a:gd name="T55" fmla="*/ 2147483647 h 249"/>
              <a:gd name="T56" fmla="*/ 2147483647 w 341"/>
              <a:gd name="T57" fmla="*/ 2147483647 h 249"/>
              <a:gd name="T58" fmla="*/ 2147483647 w 341"/>
              <a:gd name="T59" fmla="*/ 2147483647 h 249"/>
              <a:gd name="T60" fmla="*/ 2147483647 w 341"/>
              <a:gd name="T61" fmla="*/ 2147483647 h 249"/>
              <a:gd name="T62" fmla="*/ 2147483647 w 341"/>
              <a:gd name="T63" fmla="*/ 2147483647 h 249"/>
              <a:gd name="T64" fmla="*/ 2147483647 w 341"/>
              <a:gd name="T65" fmla="*/ 2147483647 h 249"/>
              <a:gd name="T66" fmla="*/ 2147483647 w 341"/>
              <a:gd name="T67" fmla="*/ 2147483647 h 249"/>
              <a:gd name="T68" fmla="*/ 2147483647 w 341"/>
              <a:gd name="T69" fmla="*/ 2147483647 h 249"/>
              <a:gd name="T70" fmla="*/ 2147483647 w 341"/>
              <a:gd name="T71" fmla="*/ 2147483647 h 249"/>
              <a:gd name="T72" fmla="*/ 2147483647 w 341"/>
              <a:gd name="T73" fmla="*/ 2147483647 h 249"/>
              <a:gd name="T74" fmla="*/ 2147483647 w 341"/>
              <a:gd name="T75" fmla="*/ 2147483647 h 2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1"/>
              <a:gd name="T115" fmla="*/ 0 h 249"/>
              <a:gd name="T116" fmla="*/ 341 w 341"/>
              <a:gd name="T117" fmla="*/ 249 h 24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1" h="249">
                <a:moveTo>
                  <a:pt x="272" y="249"/>
                </a:moveTo>
                <a:lnTo>
                  <a:pt x="231" y="249"/>
                </a:lnTo>
                <a:lnTo>
                  <a:pt x="189" y="249"/>
                </a:lnTo>
                <a:lnTo>
                  <a:pt x="143" y="249"/>
                </a:lnTo>
                <a:lnTo>
                  <a:pt x="96" y="249"/>
                </a:lnTo>
                <a:lnTo>
                  <a:pt x="49" y="249"/>
                </a:lnTo>
                <a:lnTo>
                  <a:pt x="11" y="249"/>
                </a:lnTo>
                <a:lnTo>
                  <a:pt x="4" y="231"/>
                </a:lnTo>
                <a:lnTo>
                  <a:pt x="0" y="199"/>
                </a:lnTo>
                <a:lnTo>
                  <a:pt x="4" y="178"/>
                </a:lnTo>
                <a:lnTo>
                  <a:pt x="13" y="167"/>
                </a:lnTo>
                <a:lnTo>
                  <a:pt x="11" y="160"/>
                </a:lnTo>
                <a:lnTo>
                  <a:pt x="18" y="117"/>
                </a:lnTo>
                <a:lnTo>
                  <a:pt x="24" y="3"/>
                </a:lnTo>
                <a:lnTo>
                  <a:pt x="52" y="0"/>
                </a:lnTo>
                <a:lnTo>
                  <a:pt x="64" y="8"/>
                </a:lnTo>
                <a:lnTo>
                  <a:pt x="70" y="33"/>
                </a:lnTo>
                <a:lnTo>
                  <a:pt x="89" y="38"/>
                </a:lnTo>
                <a:lnTo>
                  <a:pt x="111" y="29"/>
                </a:lnTo>
                <a:lnTo>
                  <a:pt x="132" y="29"/>
                </a:lnTo>
                <a:lnTo>
                  <a:pt x="138" y="35"/>
                </a:lnTo>
                <a:lnTo>
                  <a:pt x="162" y="27"/>
                </a:lnTo>
                <a:lnTo>
                  <a:pt x="180" y="28"/>
                </a:lnTo>
                <a:lnTo>
                  <a:pt x="207" y="16"/>
                </a:lnTo>
                <a:lnTo>
                  <a:pt x="232" y="12"/>
                </a:lnTo>
                <a:lnTo>
                  <a:pt x="279" y="12"/>
                </a:lnTo>
                <a:lnTo>
                  <a:pt x="322" y="12"/>
                </a:lnTo>
                <a:lnTo>
                  <a:pt x="328" y="22"/>
                </a:lnTo>
                <a:lnTo>
                  <a:pt x="337" y="26"/>
                </a:lnTo>
                <a:lnTo>
                  <a:pt x="341" y="36"/>
                </a:lnTo>
                <a:lnTo>
                  <a:pt x="322" y="83"/>
                </a:lnTo>
                <a:lnTo>
                  <a:pt x="309" y="104"/>
                </a:lnTo>
                <a:lnTo>
                  <a:pt x="310" y="116"/>
                </a:lnTo>
                <a:lnTo>
                  <a:pt x="322" y="123"/>
                </a:lnTo>
                <a:lnTo>
                  <a:pt x="317" y="143"/>
                </a:lnTo>
                <a:lnTo>
                  <a:pt x="317" y="196"/>
                </a:lnTo>
                <a:lnTo>
                  <a:pt x="317" y="249"/>
                </a:lnTo>
                <a:lnTo>
                  <a:pt x="272" y="249"/>
                </a:lnTo>
                <a:close/>
              </a:path>
            </a:pathLst>
          </a:custGeom>
          <a:solidFill>
            <a:schemeClr val="accent1"/>
          </a:solidFill>
          <a:ln w="6350">
            <a:solidFill>
              <a:schemeClr val="tx2"/>
            </a:solidFill>
            <a:round/>
            <a:headEnd/>
            <a:tailEnd/>
          </a:ln>
        </p:spPr>
        <p:txBody>
          <a:bodyPr/>
          <a:lstStyle/>
          <a:p>
            <a:endParaRPr lang="en-US"/>
          </a:p>
        </p:txBody>
      </p:sp>
      <p:sp>
        <p:nvSpPr>
          <p:cNvPr id="199" name="Freeform 1099"/>
          <p:cNvSpPr>
            <a:spLocks/>
          </p:cNvSpPr>
          <p:nvPr/>
        </p:nvSpPr>
        <p:spPr bwMode="auto">
          <a:xfrm>
            <a:off x="3047058" y="3464428"/>
            <a:ext cx="123267" cy="178312"/>
          </a:xfrm>
          <a:custGeom>
            <a:avLst/>
            <a:gdLst>
              <a:gd name="T0" fmla="*/ 2147483647 w 264"/>
              <a:gd name="T1" fmla="*/ 2147483647 h 427"/>
              <a:gd name="T2" fmla="*/ 2147483647 w 264"/>
              <a:gd name="T3" fmla="*/ 2147483647 h 427"/>
              <a:gd name="T4" fmla="*/ 2147483647 w 264"/>
              <a:gd name="T5" fmla="*/ 2147483647 h 427"/>
              <a:gd name="T6" fmla="*/ 2147483647 w 264"/>
              <a:gd name="T7" fmla="*/ 2147483647 h 427"/>
              <a:gd name="T8" fmla="*/ 2147483647 w 264"/>
              <a:gd name="T9" fmla="*/ 2147483647 h 427"/>
              <a:gd name="T10" fmla="*/ 2147483647 w 264"/>
              <a:gd name="T11" fmla="*/ 2147483647 h 427"/>
              <a:gd name="T12" fmla="*/ 2147483647 w 264"/>
              <a:gd name="T13" fmla="*/ 2147483647 h 427"/>
              <a:gd name="T14" fmla="*/ 2147483647 w 264"/>
              <a:gd name="T15" fmla="*/ 2147483647 h 427"/>
              <a:gd name="T16" fmla="*/ 2147483647 w 264"/>
              <a:gd name="T17" fmla="*/ 2147483647 h 427"/>
              <a:gd name="T18" fmla="*/ 2147483647 w 264"/>
              <a:gd name="T19" fmla="*/ 2147483647 h 427"/>
              <a:gd name="T20" fmla="*/ 2147483647 w 264"/>
              <a:gd name="T21" fmla="*/ 2147483647 h 427"/>
              <a:gd name="T22" fmla="*/ 2147483647 w 264"/>
              <a:gd name="T23" fmla="*/ 2147483647 h 427"/>
              <a:gd name="T24" fmla="*/ 2147483647 w 264"/>
              <a:gd name="T25" fmla="*/ 2147483647 h 427"/>
              <a:gd name="T26" fmla="*/ 2147483647 w 264"/>
              <a:gd name="T27" fmla="*/ 2147483647 h 427"/>
              <a:gd name="T28" fmla="*/ 2147483647 w 264"/>
              <a:gd name="T29" fmla="*/ 2147483647 h 427"/>
              <a:gd name="T30" fmla="*/ 2147483647 w 264"/>
              <a:gd name="T31" fmla="*/ 2147483647 h 427"/>
              <a:gd name="T32" fmla="*/ 2147483647 w 264"/>
              <a:gd name="T33" fmla="*/ 2147483647 h 427"/>
              <a:gd name="T34" fmla="*/ 2147483647 w 264"/>
              <a:gd name="T35" fmla="*/ 2147483647 h 427"/>
              <a:gd name="T36" fmla="*/ 2147483647 w 264"/>
              <a:gd name="T37" fmla="*/ 2147483647 h 427"/>
              <a:gd name="T38" fmla="*/ 2147483647 w 264"/>
              <a:gd name="T39" fmla="*/ 2147483647 h 427"/>
              <a:gd name="T40" fmla="*/ 2147483647 w 264"/>
              <a:gd name="T41" fmla="*/ 2147483647 h 427"/>
              <a:gd name="T42" fmla="*/ 2147483647 w 264"/>
              <a:gd name="T43" fmla="*/ 2147483647 h 427"/>
              <a:gd name="T44" fmla="*/ 2147483647 w 264"/>
              <a:gd name="T45" fmla="*/ 2147483647 h 427"/>
              <a:gd name="T46" fmla="*/ 2147483647 w 264"/>
              <a:gd name="T47" fmla="*/ 2147483647 h 427"/>
              <a:gd name="T48" fmla="*/ 2147483647 w 264"/>
              <a:gd name="T49" fmla="*/ 2147483647 h 427"/>
              <a:gd name="T50" fmla="*/ 2147483647 w 264"/>
              <a:gd name="T51" fmla="*/ 2147483647 h 427"/>
              <a:gd name="T52" fmla="*/ 2147483647 w 264"/>
              <a:gd name="T53" fmla="*/ 2147483647 h 427"/>
              <a:gd name="T54" fmla="*/ 2147483647 w 264"/>
              <a:gd name="T55" fmla="*/ 2147483647 h 427"/>
              <a:gd name="T56" fmla="*/ 2147483647 w 264"/>
              <a:gd name="T57" fmla="*/ 2147483647 h 427"/>
              <a:gd name="T58" fmla="*/ 2147483647 w 264"/>
              <a:gd name="T59" fmla="*/ 2147483647 h 427"/>
              <a:gd name="T60" fmla="*/ 2147483647 w 264"/>
              <a:gd name="T61" fmla="*/ 2147483647 h 427"/>
              <a:gd name="T62" fmla="*/ 2147483647 w 264"/>
              <a:gd name="T63" fmla="*/ 2147483647 h 427"/>
              <a:gd name="T64" fmla="*/ 2147483647 w 264"/>
              <a:gd name="T65" fmla="*/ 2147483647 h 427"/>
              <a:gd name="T66" fmla="*/ 2147483647 w 264"/>
              <a:gd name="T67" fmla="*/ 2147483647 h 427"/>
              <a:gd name="T68" fmla="*/ 2147483647 w 264"/>
              <a:gd name="T69" fmla="*/ 2147483647 h 427"/>
              <a:gd name="T70" fmla="*/ 2147483647 w 264"/>
              <a:gd name="T71" fmla="*/ 0 h 427"/>
              <a:gd name="T72" fmla="*/ 2147483647 w 264"/>
              <a:gd name="T73" fmla="*/ 0 h 427"/>
              <a:gd name="T74" fmla="*/ 2147483647 w 264"/>
              <a:gd name="T75" fmla="*/ 2147483647 h 427"/>
              <a:gd name="T76" fmla="*/ 2147483647 w 264"/>
              <a:gd name="T77" fmla="*/ 2147483647 h 427"/>
              <a:gd name="T78" fmla="*/ 2147483647 w 264"/>
              <a:gd name="T79" fmla="*/ 2147483647 h 427"/>
              <a:gd name="T80" fmla="*/ 2147483647 w 264"/>
              <a:gd name="T81" fmla="*/ 2147483647 h 427"/>
              <a:gd name="T82" fmla="*/ 2147483647 w 264"/>
              <a:gd name="T83" fmla="*/ 2147483647 h 427"/>
              <a:gd name="T84" fmla="*/ 2147483647 w 264"/>
              <a:gd name="T85" fmla="*/ 2147483647 h 427"/>
              <a:gd name="T86" fmla="*/ 2147483647 w 264"/>
              <a:gd name="T87" fmla="*/ 2147483647 h 427"/>
              <a:gd name="T88" fmla="*/ 2147483647 w 264"/>
              <a:gd name="T89" fmla="*/ 2147483647 h 427"/>
              <a:gd name="T90" fmla="*/ 2147483647 w 264"/>
              <a:gd name="T91" fmla="*/ 2147483647 h 427"/>
              <a:gd name="T92" fmla="*/ 0 w 264"/>
              <a:gd name="T93" fmla="*/ 2147483647 h 427"/>
              <a:gd name="T94" fmla="*/ 2147483647 w 264"/>
              <a:gd name="T95" fmla="*/ 2147483647 h 427"/>
              <a:gd name="T96" fmla="*/ 2147483647 w 264"/>
              <a:gd name="T97" fmla="*/ 2147483647 h 427"/>
              <a:gd name="T98" fmla="*/ 2147483647 w 264"/>
              <a:gd name="T99" fmla="*/ 2147483647 h 427"/>
              <a:gd name="T100" fmla="*/ 2147483647 w 264"/>
              <a:gd name="T101" fmla="*/ 2147483647 h 427"/>
              <a:gd name="T102" fmla="*/ 2147483647 w 264"/>
              <a:gd name="T103" fmla="*/ 2147483647 h 427"/>
              <a:gd name="T104" fmla="*/ 2147483647 w 264"/>
              <a:gd name="T105" fmla="*/ 2147483647 h 42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4"/>
              <a:gd name="T160" fmla="*/ 0 h 427"/>
              <a:gd name="T161" fmla="*/ 264 w 264"/>
              <a:gd name="T162" fmla="*/ 427 h 42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4" h="427">
                <a:moveTo>
                  <a:pt x="48" y="427"/>
                </a:moveTo>
                <a:lnTo>
                  <a:pt x="90" y="427"/>
                </a:lnTo>
                <a:lnTo>
                  <a:pt x="264" y="427"/>
                </a:lnTo>
                <a:lnTo>
                  <a:pt x="264" y="353"/>
                </a:lnTo>
                <a:lnTo>
                  <a:pt x="264" y="281"/>
                </a:lnTo>
                <a:lnTo>
                  <a:pt x="251" y="265"/>
                </a:lnTo>
                <a:lnTo>
                  <a:pt x="247" y="268"/>
                </a:lnTo>
                <a:lnTo>
                  <a:pt x="247" y="278"/>
                </a:lnTo>
                <a:lnTo>
                  <a:pt x="213" y="277"/>
                </a:lnTo>
                <a:lnTo>
                  <a:pt x="207" y="283"/>
                </a:lnTo>
                <a:lnTo>
                  <a:pt x="191" y="281"/>
                </a:lnTo>
                <a:lnTo>
                  <a:pt x="188" y="290"/>
                </a:lnTo>
                <a:lnTo>
                  <a:pt x="181" y="283"/>
                </a:lnTo>
                <a:lnTo>
                  <a:pt x="174" y="264"/>
                </a:lnTo>
                <a:lnTo>
                  <a:pt x="161" y="259"/>
                </a:lnTo>
                <a:lnTo>
                  <a:pt x="161" y="250"/>
                </a:lnTo>
                <a:lnTo>
                  <a:pt x="150" y="232"/>
                </a:lnTo>
                <a:lnTo>
                  <a:pt x="146" y="214"/>
                </a:lnTo>
                <a:lnTo>
                  <a:pt x="138" y="208"/>
                </a:lnTo>
                <a:lnTo>
                  <a:pt x="125" y="222"/>
                </a:lnTo>
                <a:lnTo>
                  <a:pt x="113" y="216"/>
                </a:lnTo>
                <a:lnTo>
                  <a:pt x="117" y="208"/>
                </a:lnTo>
                <a:lnTo>
                  <a:pt x="113" y="203"/>
                </a:lnTo>
                <a:lnTo>
                  <a:pt x="121" y="197"/>
                </a:lnTo>
                <a:lnTo>
                  <a:pt x="116" y="180"/>
                </a:lnTo>
                <a:lnTo>
                  <a:pt x="119" y="178"/>
                </a:lnTo>
                <a:lnTo>
                  <a:pt x="124" y="149"/>
                </a:lnTo>
                <a:lnTo>
                  <a:pt x="104" y="145"/>
                </a:lnTo>
                <a:lnTo>
                  <a:pt x="81" y="112"/>
                </a:lnTo>
                <a:lnTo>
                  <a:pt x="64" y="101"/>
                </a:lnTo>
                <a:lnTo>
                  <a:pt x="67" y="98"/>
                </a:lnTo>
                <a:lnTo>
                  <a:pt x="63" y="93"/>
                </a:lnTo>
                <a:lnTo>
                  <a:pt x="66" y="90"/>
                </a:lnTo>
                <a:lnTo>
                  <a:pt x="64" y="84"/>
                </a:lnTo>
                <a:lnTo>
                  <a:pt x="49" y="65"/>
                </a:lnTo>
                <a:lnTo>
                  <a:pt x="49" y="0"/>
                </a:lnTo>
                <a:lnTo>
                  <a:pt x="8" y="0"/>
                </a:lnTo>
                <a:lnTo>
                  <a:pt x="7" y="57"/>
                </a:lnTo>
                <a:lnTo>
                  <a:pt x="7" y="110"/>
                </a:lnTo>
                <a:lnTo>
                  <a:pt x="8" y="163"/>
                </a:lnTo>
                <a:lnTo>
                  <a:pt x="12" y="180"/>
                </a:lnTo>
                <a:lnTo>
                  <a:pt x="13" y="190"/>
                </a:lnTo>
                <a:lnTo>
                  <a:pt x="19" y="200"/>
                </a:lnTo>
                <a:lnTo>
                  <a:pt x="28" y="204"/>
                </a:lnTo>
                <a:lnTo>
                  <a:pt x="32" y="214"/>
                </a:lnTo>
                <a:lnTo>
                  <a:pt x="13" y="261"/>
                </a:lnTo>
                <a:lnTo>
                  <a:pt x="0" y="282"/>
                </a:lnTo>
                <a:lnTo>
                  <a:pt x="1" y="294"/>
                </a:lnTo>
                <a:lnTo>
                  <a:pt x="13" y="301"/>
                </a:lnTo>
                <a:lnTo>
                  <a:pt x="8" y="321"/>
                </a:lnTo>
                <a:lnTo>
                  <a:pt x="8" y="374"/>
                </a:lnTo>
                <a:lnTo>
                  <a:pt x="8" y="427"/>
                </a:lnTo>
                <a:lnTo>
                  <a:pt x="48" y="427"/>
                </a:lnTo>
                <a:close/>
              </a:path>
            </a:pathLst>
          </a:custGeom>
          <a:solidFill>
            <a:schemeClr val="accent1"/>
          </a:solidFill>
          <a:ln w="6350">
            <a:solidFill>
              <a:schemeClr val="tx2"/>
            </a:solidFill>
            <a:round/>
            <a:headEnd/>
            <a:tailEnd/>
          </a:ln>
        </p:spPr>
        <p:txBody>
          <a:bodyPr/>
          <a:lstStyle/>
          <a:p>
            <a:endParaRPr lang="en-US"/>
          </a:p>
        </p:txBody>
      </p:sp>
      <p:sp>
        <p:nvSpPr>
          <p:cNvPr id="200" name="Freeform 1100"/>
          <p:cNvSpPr>
            <a:spLocks/>
          </p:cNvSpPr>
          <p:nvPr/>
        </p:nvSpPr>
        <p:spPr bwMode="auto">
          <a:xfrm>
            <a:off x="2897991" y="3464428"/>
            <a:ext cx="154800" cy="90430"/>
          </a:xfrm>
          <a:custGeom>
            <a:avLst/>
            <a:gdLst>
              <a:gd name="T0" fmla="*/ 2147483647 w 331"/>
              <a:gd name="T1" fmla="*/ 0 h 216"/>
              <a:gd name="T2" fmla="*/ 2147483647 w 331"/>
              <a:gd name="T3" fmla="*/ 0 h 216"/>
              <a:gd name="T4" fmla="*/ 2147483647 w 331"/>
              <a:gd name="T5" fmla="*/ 0 h 216"/>
              <a:gd name="T6" fmla="*/ 2147483647 w 331"/>
              <a:gd name="T7" fmla="*/ 0 h 216"/>
              <a:gd name="T8" fmla="*/ 2147483647 w 331"/>
              <a:gd name="T9" fmla="*/ 0 h 216"/>
              <a:gd name="T10" fmla="*/ 2147483647 w 331"/>
              <a:gd name="T11" fmla="*/ 2147483647 h 216"/>
              <a:gd name="T12" fmla="*/ 2147483647 w 331"/>
              <a:gd name="T13" fmla="*/ 2147483647 h 216"/>
              <a:gd name="T14" fmla="*/ 2147483647 w 331"/>
              <a:gd name="T15" fmla="*/ 2147483647 h 216"/>
              <a:gd name="T16" fmla="*/ 2147483647 w 331"/>
              <a:gd name="T17" fmla="*/ 2147483647 h 216"/>
              <a:gd name="T18" fmla="*/ 2147483647 w 331"/>
              <a:gd name="T19" fmla="*/ 2147483647 h 216"/>
              <a:gd name="T20" fmla="*/ 2147483647 w 331"/>
              <a:gd name="T21" fmla="*/ 2147483647 h 216"/>
              <a:gd name="T22" fmla="*/ 2147483647 w 331"/>
              <a:gd name="T23" fmla="*/ 2147483647 h 216"/>
              <a:gd name="T24" fmla="*/ 2147483647 w 331"/>
              <a:gd name="T25" fmla="*/ 2147483647 h 216"/>
              <a:gd name="T26" fmla="*/ 2147483647 w 331"/>
              <a:gd name="T27" fmla="*/ 2147483647 h 216"/>
              <a:gd name="T28" fmla="*/ 2147483647 w 331"/>
              <a:gd name="T29" fmla="*/ 2147483647 h 216"/>
              <a:gd name="T30" fmla="*/ 2147483647 w 331"/>
              <a:gd name="T31" fmla="*/ 2147483647 h 216"/>
              <a:gd name="T32" fmla="*/ 2147483647 w 331"/>
              <a:gd name="T33" fmla="*/ 2147483647 h 216"/>
              <a:gd name="T34" fmla="*/ 2147483647 w 331"/>
              <a:gd name="T35" fmla="*/ 2147483647 h 216"/>
              <a:gd name="T36" fmla="*/ 2147483647 w 331"/>
              <a:gd name="T37" fmla="*/ 2147483647 h 216"/>
              <a:gd name="T38" fmla="*/ 2147483647 w 331"/>
              <a:gd name="T39" fmla="*/ 2147483647 h 216"/>
              <a:gd name="T40" fmla="*/ 2147483647 w 331"/>
              <a:gd name="T41" fmla="*/ 2147483647 h 216"/>
              <a:gd name="T42" fmla="*/ 2147483647 w 331"/>
              <a:gd name="T43" fmla="*/ 2147483647 h 216"/>
              <a:gd name="T44" fmla="*/ 2147483647 w 331"/>
              <a:gd name="T45" fmla="*/ 2147483647 h 216"/>
              <a:gd name="T46" fmla="*/ 2147483647 w 331"/>
              <a:gd name="T47" fmla="*/ 2147483647 h 216"/>
              <a:gd name="T48" fmla="*/ 2147483647 w 331"/>
              <a:gd name="T49" fmla="*/ 2147483647 h 216"/>
              <a:gd name="T50" fmla="*/ 2147483647 w 331"/>
              <a:gd name="T51" fmla="*/ 2147483647 h 216"/>
              <a:gd name="T52" fmla="*/ 2147483647 w 331"/>
              <a:gd name="T53" fmla="*/ 2147483647 h 216"/>
              <a:gd name="T54" fmla="*/ 2147483647 w 331"/>
              <a:gd name="T55" fmla="*/ 2147483647 h 216"/>
              <a:gd name="T56" fmla="*/ 2147483647 w 331"/>
              <a:gd name="T57" fmla="*/ 2147483647 h 216"/>
              <a:gd name="T58" fmla="*/ 2147483647 w 331"/>
              <a:gd name="T59" fmla="*/ 2147483647 h 216"/>
              <a:gd name="T60" fmla="*/ 2147483647 w 331"/>
              <a:gd name="T61" fmla="*/ 2147483647 h 216"/>
              <a:gd name="T62" fmla="*/ 2147483647 w 331"/>
              <a:gd name="T63" fmla="*/ 2147483647 h 216"/>
              <a:gd name="T64" fmla="*/ 2147483647 w 331"/>
              <a:gd name="T65" fmla="*/ 2147483647 h 216"/>
              <a:gd name="T66" fmla="*/ 0 w 331"/>
              <a:gd name="T67" fmla="*/ 2147483647 h 216"/>
              <a:gd name="T68" fmla="*/ 2147483647 w 331"/>
              <a:gd name="T69" fmla="*/ 2147483647 h 216"/>
              <a:gd name="T70" fmla="*/ 2147483647 w 331"/>
              <a:gd name="T71" fmla="*/ 2147483647 h 216"/>
              <a:gd name="T72" fmla="*/ 2147483647 w 331"/>
              <a:gd name="T73" fmla="*/ 2147483647 h 216"/>
              <a:gd name="T74" fmla="*/ 2147483647 w 331"/>
              <a:gd name="T75" fmla="*/ 2147483647 h 216"/>
              <a:gd name="T76" fmla="*/ 2147483647 w 331"/>
              <a:gd name="T77" fmla="*/ 2147483647 h 216"/>
              <a:gd name="T78" fmla="*/ 2147483647 w 331"/>
              <a:gd name="T79" fmla="*/ 2147483647 h 216"/>
              <a:gd name="T80" fmla="*/ 2147483647 w 331"/>
              <a:gd name="T81" fmla="*/ 2147483647 h 216"/>
              <a:gd name="T82" fmla="*/ 2147483647 w 331"/>
              <a:gd name="T83" fmla="*/ 2147483647 h 216"/>
              <a:gd name="T84" fmla="*/ 2147483647 w 331"/>
              <a:gd name="T85" fmla="*/ 2147483647 h 216"/>
              <a:gd name="T86" fmla="*/ 2147483647 w 331"/>
              <a:gd name="T87" fmla="*/ 2147483647 h 216"/>
              <a:gd name="T88" fmla="*/ 2147483647 w 331"/>
              <a:gd name="T89" fmla="*/ 2147483647 h 216"/>
              <a:gd name="T90" fmla="*/ 2147483647 w 331"/>
              <a:gd name="T91" fmla="*/ 2147483647 h 216"/>
              <a:gd name="T92" fmla="*/ 2147483647 w 331"/>
              <a:gd name="T93" fmla="*/ 2147483647 h 216"/>
              <a:gd name="T94" fmla="*/ 2147483647 w 331"/>
              <a:gd name="T95" fmla="*/ 2147483647 h 216"/>
              <a:gd name="T96" fmla="*/ 2147483647 w 331"/>
              <a:gd name="T97" fmla="*/ 2147483647 h 216"/>
              <a:gd name="T98" fmla="*/ 2147483647 w 331"/>
              <a:gd name="T99" fmla="*/ 2147483647 h 216"/>
              <a:gd name="T100" fmla="*/ 2147483647 w 331"/>
              <a:gd name="T101" fmla="*/ 2147483647 h 216"/>
              <a:gd name="T102" fmla="*/ 2147483647 w 331"/>
              <a:gd name="T103" fmla="*/ 2147483647 h 216"/>
              <a:gd name="T104" fmla="*/ 2147483647 w 331"/>
              <a:gd name="T105" fmla="*/ 2147483647 h 216"/>
              <a:gd name="T106" fmla="*/ 2147483647 w 331"/>
              <a:gd name="T107" fmla="*/ 0 h 216"/>
              <a:gd name="T108" fmla="*/ 2147483647 w 331"/>
              <a:gd name="T109" fmla="*/ 0 h 2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1"/>
              <a:gd name="T166" fmla="*/ 0 h 216"/>
              <a:gd name="T167" fmla="*/ 331 w 331"/>
              <a:gd name="T168" fmla="*/ 216 h 2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1" h="216">
                <a:moveTo>
                  <a:pt x="129" y="0"/>
                </a:moveTo>
                <a:lnTo>
                  <a:pt x="161" y="0"/>
                </a:lnTo>
                <a:lnTo>
                  <a:pt x="216" y="0"/>
                </a:lnTo>
                <a:lnTo>
                  <a:pt x="274" y="0"/>
                </a:lnTo>
                <a:lnTo>
                  <a:pt x="326" y="0"/>
                </a:lnTo>
                <a:lnTo>
                  <a:pt x="325" y="57"/>
                </a:lnTo>
                <a:lnTo>
                  <a:pt x="325" y="110"/>
                </a:lnTo>
                <a:lnTo>
                  <a:pt x="326" y="163"/>
                </a:lnTo>
                <a:lnTo>
                  <a:pt x="330" y="180"/>
                </a:lnTo>
                <a:lnTo>
                  <a:pt x="331" y="190"/>
                </a:lnTo>
                <a:lnTo>
                  <a:pt x="288" y="190"/>
                </a:lnTo>
                <a:lnTo>
                  <a:pt x="241" y="190"/>
                </a:lnTo>
                <a:lnTo>
                  <a:pt x="216" y="194"/>
                </a:lnTo>
                <a:lnTo>
                  <a:pt x="189" y="206"/>
                </a:lnTo>
                <a:lnTo>
                  <a:pt x="171" y="205"/>
                </a:lnTo>
                <a:lnTo>
                  <a:pt x="147" y="213"/>
                </a:lnTo>
                <a:lnTo>
                  <a:pt x="141" y="207"/>
                </a:lnTo>
                <a:lnTo>
                  <a:pt x="120" y="207"/>
                </a:lnTo>
                <a:lnTo>
                  <a:pt x="98" y="216"/>
                </a:lnTo>
                <a:lnTo>
                  <a:pt x="79" y="211"/>
                </a:lnTo>
                <a:lnTo>
                  <a:pt x="73" y="186"/>
                </a:lnTo>
                <a:lnTo>
                  <a:pt x="61" y="178"/>
                </a:lnTo>
                <a:lnTo>
                  <a:pt x="51" y="170"/>
                </a:lnTo>
                <a:lnTo>
                  <a:pt x="28" y="167"/>
                </a:lnTo>
                <a:lnTo>
                  <a:pt x="27" y="150"/>
                </a:lnTo>
                <a:lnTo>
                  <a:pt x="31" y="161"/>
                </a:lnTo>
                <a:lnTo>
                  <a:pt x="34" y="159"/>
                </a:lnTo>
                <a:lnTo>
                  <a:pt x="34" y="143"/>
                </a:lnTo>
                <a:lnTo>
                  <a:pt x="26" y="139"/>
                </a:lnTo>
                <a:lnTo>
                  <a:pt x="30" y="125"/>
                </a:lnTo>
                <a:lnTo>
                  <a:pt x="27" y="121"/>
                </a:lnTo>
                <a:lnTo>
                  <a:pt x="22" y="125"/>
                </a:lnTo>
                <a:lnTo>
                  <a:pt x="14" y="90"/>
                </a:lnTo>
                <a:lnTo>
                  <a:pt x="0" y="62"/>
                </a:lnTo>
                <a:lnTo>
                  <a:pt x="1" y="42"/>
                </a:lnTo>
                <a:lnTo>
                  <a:pt x="4" y="38"/>
                </a:lnTo>
                <a:lnTo>
                  <a:pt x="35" y="50"/>
                </a:lnTo>
                <a:lnTo>
                  <a:pt x="83" y="55"/>
                </a:lnTo>
                <a:lnTo>
                  <a:pt x="84" y="69"/>
                </a:lnTo>
                <a:lnTo>
                  <a:pt x="70" y="92"/>
                </a:lnTo>
                <a:lnTo>
                  <a:pt x="70" y="101"/>
                </a:lnTo>
                <a:lnTo>
                  <a:pt x="76" y="101"/>
                </a:lnTo>
                <a:lnTo>
                  <a:pt x="75" y="95"/>
                </a:lnTo>
                <a:lnTo>
                  <a:pt x="90" y="73"/>
                </a:lnTo>
                <a:lnTo>
                  <a:pt x="96" y="72"/>
                </a:lnTo>
                <a:lnTo>
                  <a:pt x="100" y="79"/>
                </a:lnTo>
                <a:lnTo>
                  <a:pt x="101" y="67"/>
                </a:lnTo>
                <a:lnTo>
                  <a:pt x="97" y="42"/>
                </a:lnTo>
                <a:lnTo>
                  <a:pt x="88" y="33"/>
                </a:lnTo>
                <a:lnTo>
                  <a:pt x="94" y="27"/>
                </a:lnTo>
                <a:lnTo>
                  <a:pt x="95" y="19"/>
                </a:lnTo>
                <a:lnTo>
                  <a:pt x="101" y="19"/>
                </a:lnTo>
                <a:lnTo>
                  <a:pt x="86" y="14"/>
                </a:lnTo>
                <a:lnTo>
                  <a:pt x="79" y="0"/>
                </a:lnTo>
                <a:lnTo>
                  <a:pt x="129" y="0"/>
                </a:lnTo>
                <a:close/>
              </a:path>
            </a:pathLst>
          </a:custGeom>
          <a:solidFill>
            <a:schemeClr val="accent1"/>
          </a:solidFill>
          <a:ln w="6350">
            <a:solidFill>
              <a:schemeClr val="tx2"/>
            </a:solidFill>
            <a:round/>
            <a:headEnd/>
            <a:tailEnd/>
          </a:ln>
        </p:spPr>
        <p:txBody>
          <a:bodyPr/>
          <a:lstStyle/>
          <a:p>
            <a:endParaRPr lang="en-US"/>
          </a:p>
        </p:txBody>
      </p:sp>
      <p:sp>
        <p:nvSpPr>
          <p:cNvPr id="201" name="Freeform 1101"/>
          <p:cNvSpPr>
            <a:spLocks/>
          </p:cNvSpPr>
          <p:nvPr/>
        </p:nvSpPr>
        <p:spPr bwMode="auto">
          <a:xfrm>
            <a:off x="3069991" y="3464428"/>
            <a:ext cx="243668" cy="122270"/>
          </a:xfrm>
          <a:custGeom>
            <a:avLst/>
            <a:gdLst>
              <a:gd name="T0" fmla="*/ 2147483647 w 518"/>
              <a:gd name="T1" fmla="*/ 2147483647 h 290"/>
              <a:gd name="T2" fmla="*/ 2147483647 w 518"/>
              <a:gd name="T3" fmla="*/ 2147483647 h 290"/>
              <a:gd name="T4" fmla="*/ 2147483647 w 518"/>
              <a:gd name="T5" fmla="*/ 2147483647 h 290"/>
              <a:gd name="T6" fmla="*/ 2147483647 w 518"/>
              <a:gd name="T7" fmla="*/ 2147483647 h 290"/>
              <a:gd name="T8" fmla="*/ 2147483647 w 518"/>
              <a:gd name="T9" fmla="*/ 2147483647 h 290"/>
              <a:gd name="T10" fmla="*/ 2147483647 w 518"/>
              <a:gd name="T11" fmla="*/ 2147483647 h 290"/>
              <a:gd name="T12" fmla="*/ 2147483647 w 518"/>
              <a:gd name="T13" fmla="*/ 2147483647 h 290"/>
              <a:gd name="T14" fmla="*/ 2147483647 w 518"/>
              <a:gd name="T15" fmla="*/ 2147483647 h 290"/>
              <a:gd name="T16" fmla="*/ 2147483647 w 518"/>
              <a:gd name="T17" fmla="*/ 2147483647 h 290"/>
              <a:gd name="T18" fmla="*/ 2147483647 w 518"/>
              <a:gd name="T19" fmla="*/ 2147483647 h 290"/>
              <a:gd name="T20" fmla="*/ 2147483647 w 518"/>
              <a:gd name="T21" fmla="*/ 2147483647 h 290"/>
              <a:gd name="T22" fmla="*/ 2147483647 w 518"/>
              <a:gd name="T23" fmla="*/ 2147483647 h 290"/>
              <a:gd name="T24" fmla="*/ 2147483647 w 518"/>
              <a:gd name="T25" fmla="*/ 2147483647 h 290"/>
              <a:gd name="T26" fmla="*/ 2147483647 w 518"/>
              <a:gd name="T27" fmla="*/ 2147483647 h 290"/>
              <a:gd name="T28" fmla="*/ 2147483647 w 518"/>
              <a:gd name="T29" fmla="*/ 2147483647 h 290"/>
              <a:gd name="T30" fmla="*/ 2147483647 w 518"/>
              <a:gd name="T31" fmla="*/ 2147483647 h 290"/>
              <a:gd name="T32" fmla="*/ 2147483647 w 518"/>
              <a:gd name="T33" fmla="*/ 2147483647 h 290"/>
              <a:gd name="T34" fmla="*/ 2147483647 w 518"/>
              <a:gd name="T35" fmla="*/ 2147483647 h 290"/>
              <a:gd name="T36" fmla="*/ 2147483647 w 518"/>
              <a:gd name="T37" fmla="*/ 2147483647 h 290"/>
              <a:gd name="T38" fmla="*/ 2147483647 w 518"/>
              <a:gd name="T39" fmla="*/ 2147483647 h 290"/>
              <a:gd name="T40" fmla="*/ 2147483647 w 518"/>
              <a:gd name="T41" fmla="*/ 2147483647 h 290"/>
              <a:gd name="T42" fmla="*/ 2147483647 w 518"/>
              <a:gd name="T43" fmla="*/ 2147483647 h 290"/>
              <a:gd name="T44" fmla="*/ 2147483647 w 518"/>
              <a:gd name="T45" fmla="*/ 2147483647 h 290"/>
              <a:gd name="T46" fmla="*/ 2147483647 w 518"/>
              <a:gd name="T47" fmla="*/ 2147483647 h 290"/>
              <a:gd name="T48" fmla="*/ 2147483647 w 518"/>
              <a:gd name="T49" fmla="*/ 2147483647 h 290"/>
              <a:gd name="T50" fmla="*/ 2147483647 w 518"/>
              <a:gd name="T51" fmla="*/ 2147483647 h 290"/>
              <a:gd name="T52" fmla="*/ 2147483647 w 518"/>
              <a:gd name="T53" fmla="*/ 2147483647 h 290"/>
              <a:gd name="T54" fmla="*/ 2147483647 w 518"/>
              <a:gd name="T55" fmla="*/ 2147483647 h 290"/>
              <a:gd name="T56" fmla="*/ 2147483647 w 518"/>
              <a:gd name="T57" fmla="*/ 2147483647 h 290"/>
              <a:gd name="T58" fmla="*/ 2147483647 w 518"/>
              <a:gd name="T59" fmla="*/ 2147483647 h 290"/>
              <a:gd name="T60" fmla="*/ 2147483647 w 518"/>
              <a:gd name="T61" fmla="*/ 2147483647 h 290"/>
              <a:gd name="T62" fmla="*/ 2147483647 w 518"/>
              <a:gd name="T63" fmla="*/ 2147483647 h 290"/>
              <a:gd name="T64" fmla="*/ 2147483647 w 518"/>
              <a:gd name="T65" fmla="*/ 2147483647 h 290"/>
              <a:gd name="T66" fmla="*/ 2147483647 w 518"/>
              <a:gd name="T67" fmla="*/ 2147483647 h 290"/>
              <a:gd name="T68" fmla="*/ 2147483647 w 518"/>
              <a:gd name="T69" fmla="*/ 2147483647 h 290"/>
              <a:gd name="T70" fmla="*/ 0 w 518"/>
              <a:gd name="T71" fmla="*/ 2147483647 h 290"/>
              <a:gd name="T72" fmla="*/ 0 w 518"/>
              <a:gd name="T73" fmla="*/ 0 h 290"/>
              <a:gd name="T74" fmla="*/ 2147483647 w 518"/>
              <a:gd name="T75" fmla="*/ 0 h 290"/>
              <a:gd name="T76" fmla="*/ 2147483647 w 518"/>
              <a:gd name="T77" fmla="*/ 0 h 290"/>
              <a:gd name="T78" fmla="*/ 2147483647 w 518"/>
              <a:gd name="T79" fmla="*/ 0 h 290"/>
              <a:gd name="T80" fmla="*/ 2147483647 w 518"/>
              <a:gd name="T81" fmla="*/ 0 h 290"/>
              <a:gd name="T82" fmla="*/ 2147483647 w 518"/>
              <a:gd name="T83" fmla="*/ 0 h 290"/>
              <a:gd name="T84" fmla="*/ 2147483647 w 518"/>
              <a:gd name="T85" fmla="*/ 0 h 290"/>
              <a:gd name="T86" fmla="*/ 2147483647 w 518"/>
              <a:gd name="T87" fmla="*/ 0 h 290"/>
              <a:gd name="T88" fmla="*/ 2147483647 w 518"/>
              <a:gd name="T89" fmla="*/ 0 h 290"/>
              <a:gd name="T90" fmla="*/ 2147483647 w 518"/>
              <a:gd name="T91" fmla="*/ 2147483647 h 290"/>
              <a:gd name="T92" fmla="*/ 2147483647 w 518"/>
              <a:gd name="T93" fmla="*/ 2147483647 h 290"/>
              <a:gd name="T94" fmla="*/ 2147483647 w 518"/>
              <a:gd name="T95" fmla="*/ 2147483647 h 290"/>
              <a:gd name="T96" fmla="*/ 2147483647 w 518"/>
              <a:gd name="T97" fmla="*/ 2147483647 h 29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18"/>
              <a:gd name="T148" fmla="*/ 0 h 290"/>
              <a:gd name="T149" fmla="*/ 518 w 518"/>
              <a:gd name="T150" fmla="*/ 290 h 29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18" h="290">
                <a:moveTo>
                  <a:pt x="480" y="251"/>
                </a:moveTo>
                <a:lnTo>
                  <a:pt x="406" y="251"/>
                </a:lnTo>
                <a:lnTo>
                  <a:pt x="333" y="251"/>
                </a:lnTo>
                <a:lnTo>
                  <a:pt x="271" y="251"/>
                </a:lnTo>
                <a:lnTo>
                  <a:pt x="215" y="251"/>
                </a:lnTo>
                <a:lnTo>
                  <a:pt x="215" y="281"/>
                </a:lnTo>
                <a:lnTo>
                  <a:pt x="202" y="265"/>
                </a:lnTo>
                <a:lnTo>
                  <a:pt x="198" y="268"/>
                </a:lnTo>
                <a:lnTo>
                  <a:pt x="198" y="278"/>
                </a:lnTo>
                <a:lnTo>
                  <a:pt x="164" y="277"/>
                </a:lnTo>
                <a:lnTo>
                  <a:pt x="158" y="283"/>
                </a:lnTo>
                <a:lnTo>
                  <a:pt x="142" y="281"/>
                </a:lnTo>
                <a:lnTo>
                  <a:pt x="139" y="290"/>
                </a:lnTo>
                <a:lnTo>
                  <a:pt x="132" y="283"/>
                </a:lnTo>
                <a:lnTo>
                  <a:pt x="125" y="264"/>
                </a:lnTo>
                <a:lnTo>
                  <a:pt x="112" y="259"/>
                </a:lnTo>
                <a:lnTo>
                  <a:pt x="112" y="250"/>
                </a:lnTo>
                <a:lnTo>
                  <a:pt x="101" y="232"/>
                </a:lnTo>
                <a:lnTo>
                  <a:pt x="97" y="214"/>
                </a:lnTo>
                <a:lnTo>
                  <a:pt x="89" y="208"/>
                </a:lnTo>
                <a:lnTo>
                  <a:pt x="76" y="222"/>
                </a:lnTo>
                <a:lnTo>
                  <a:pt x="64" y="216"/>
                </a:lnTo>
                <a:lnTo>
                  <a:pt x="68" y="208"/>
                </a:lnTo>
                <a:lnTo>
                  <a:pt x="64" y="203"/>
                </a:lnTo>
                <a:lnTo>
                  <a:pt x="72" y="197"/>
                </a:lnTo>
                <a:lnTo>
                  <a:pt x="67" y="180"/>
                </a:lnTo>
                <a:lnTo>
                  <a:pt x="70" y="178"/>
                </a:lnTo>
                <a:lnTo>
                  <a:pt x="75" y="149"/>
                </a:lnTo>
                <a:lnTo>
                  <a:pt x="55" y="145"/>
                </a:lnTo>
                <a:lnTo>
                  <a:pt x="32" y="112"/>
                </a:lnTo>
                <a:lnTo>
                  <a:pt x="15" y="101"/>
                </a:lnTo>
                <a:lnTo>
                  <a:pt x="18" y="98"/>
                </a:lnTo>
                <a:lnTo>
                  <a:pt x="14" y="93"/>
                </a:lnTo>
                <a:lnTo>
                  <a:pt x="17" y="90"/>
                </a:lnTo>
                <a:lnTo>
                  <a:pt x="15" y="84"/>
                </a:lnTo>
                <a:lnTo>
                  <a:pt x="0" y="65"/>
                </a:lnTo>
                <a:lnTo>
                  <a:pt x="0" y="0"/>
                </a:lnTo>
                <a:lnTo>
                  <a:pt x="41" y="0"/>
                </a:lnTo>
                <a:lnTo>
                  <a:pt x="86" y="0"/>
                </a:lnTo>
                <a:lnTo>
                  <a:pt x="141" y="0"/>
                </a:lnTo>
                <a:lnTo>
                  <a:pt x="206" y="0"/>
                </a:lnTo>
                <a:lnTo>
                  <a:pt x="259" y="0"/>
                </a:lnTo>
                <a:lnTo>
                  <a:pt x="322" y="0"/>
                </a:lnTo>
                <a:lnTo>
                  <a:pt x="393" y="0"/>
                </a:lnTo>
                <a:lnTo>
                  <a:pt x="469" y="0"/>
                </a:lnTo>
                <a:lnTo>
                  <a:pt x="518" y="1"/>
                </a:lnTo>
                <a:lnTo>
                  <a:pt x="518" y="94"/>
                </a:lnTo>
                <a:lnTo>
                  <a:pt x="518" y="251"/>
                </a:lnTo>
                <a:lnTo>
                  <a:pt x="480" y="251"/>
                </a:lnTo>
                <a:close/>
              </a:path>
            </a:pathLst>
          </a:custGeom>
          <a:solidFill>
            <a:schemeClr val="accent1"/>
          </a:solidFill>
          <a:ln w="6350">
            <a:solidFill>
              <a:schemeClr val="tx2"/>
            </a:solidFill>
            <a:round/>
            <a:headEnd/>
            <a:tailEnd/>
          </a:ln>
        </p:spPr>
        <p:txBody>
          <a:bodyPr/>
          <a:lstStyle/>
          <a:p>
            <a:endParaRPr lang="en-US"/>
          </a:p>
        </p:txBody>
      </p:sp>
      <p:sp>
        <p:nvSpPr>
          <p:cNvPr id="202" name="Freeform 1102"/>
          <p:cNvSpPr>
            <a:spLocks/>
          </p:cNvSpPr>
          <p:nvPr/>
        </p:nvSpPr>
        <p:spPr bwMode="auto">
          <a:xfrm>
            <a:off x="3170325" y="3570142"/>
            <a:ext cx="143334" cy="96797"/>
          </a:xfrm>
          <a:custGeom>
            <a:avLst/>
            <a:gdLst>
              <a:gd name="T0" fmla="*/ 2147483647 w 303"/>
              <a:gd name="T1" fmla="*/ 0 h 234"/>
              <a:gd name="T2" fmla="*/ 2147483647 w 303"/>
              <a:gd name="T3" fmla="*/ 0 h 234"/>
              <a:gd name="T4" fmla="*/ 2147483647 w 303"/>
              <a:gd name="T5" fmla="*/ 0 h 234"/>
              <a:gd name="T6" fmla="*/ 2147483647 w 303"/>
              <a:gd name="T7" fmla="*/ 0 h 234"/>
              <a:gd name="T8" fmla="*/ 0 w 303"/>
              <a:gd name="T9" fmla="*/ 0 h 234"/>
              <a:gd name="T10" fmla="*/ 0 w 303"/>
              <a:gd name="T11" fmla="*/ 2147483647 h 234"/>
              <a:gd name="T12" fmla="*/ 0 w 303"/>
              <a:gd name="T13" fmla="*/ 2147483647 h 234"/>
              <a:gd name="T14" fmla="*/ 2147483647 w 303"/>
              <a:gd name="T15" fmla="*/ 2147483647 h 234"/>
              <a:gd name="T16" fmla="*/ 2147483647 w 303"/>
              <a:gd name="T17" fmla="*/ 2147483647 h 234"/>
              <a:gd name="T18" fmla="*/ 2147483647 w 303"/>
              <a:gd name="T19" fmla="*/ 2147483647 h 234"/>
              <a:gd name="T20" fmla="*/ 2147483647 w 303"/>
              <a:gd name="T21" fmla="*/ 2147483647 h 234"/>
              <a:gd name="T22" fmla="*/ 2147483647 w 303"/>
              <a:gd name="T23" fmla="*/ 2147483647 h 234"/>
              <a:gd name="T24" fmla="*/ 2147483647 w 303"/>
              <a:gd name="T25" fmla="*/ 2147483647 h 234"/>
              <a:gd name="T26" fmla="*/ 2147483647 w 303"/>
              <a:gd name="T27" fmla="*/ 2147483647 h 234"/>
              <a:gd name="T28" fmla="*/ 2147483647 w 303"/>
              <a:gd name="T29" fmla="*/ 0 h 234"/>
              <a:gd name="T30" fmla="*/ 2147483647 w 303"/>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3"/>
              <a:gd name="T49" fmla="*/ 0 h 234"/>
              <a:gd name="T50" fmla="*/ 303 w 303"/>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3" h="234">
                <a:moveTo>
                  <a:pt x="265" y="0"/>
                </a:moveTo>
                <a:lnTo>
                  <a:pt x="191" y="0"/>
                </a:lnTo>
                <a:lnTo>
                  <a:pt x="118" y="0"/>
                </a:lnTo>
                <a:lnTo>
                  <a:pt x="56" y="0"/>
                </a:lnTo>
                <a:lnTo>
                  <a:pt x="0" y="0"/>
                </a:lnTo>
                <a:lnTo>
                  <a:pt x="0" y="102"/>
                </a:lnTo>
                <a:lnTo>
                  <a:pt x="0" y="234"/>
                </a:lnTo>
                <a:lnTo>
                  <a:pt x="42" y="234"/>
                </a:lnTo>
                <a:lnTo>
                  <a:pt x="131" y="234"/>
                </a:lnTo>
                <a:lnTo>
                  <a:pt x="181" y="234"/>
                </a:lnTo>
                <a:lnTo>
                  <a:pt x="249" y="234"/>
                </a:lnTo>
                <a:lnTo>
                  <a:pt x="303" y="234"/>
                </a:lnTo>
                <a:lnTo>
                  <a:pt x="303" y="174"/>
                </a:lnTo>
                <a:lnTo>
                  <a:pt x="303" y="60"/>
                </a:lnTo>
                <a:lnTo>
                  <a:pt x="303" y="0"/>
                </a:lnTo>
                <a:lnTo>
                  <a:pt x="265" y="0"/>
                </a:lnTo>
                <a:close/>
              </a:path>
            </a:pathLst>
          </a:custGeom>
          <a:solidFill>
            <a:schemeClr val="accent1"/>
          </a:solidFill>
          <a:ln w="6350">
            <a:solidFill>
              <a:schemeClr val="tx2"/>
            </a:solidFill>
            <a:round/>
            <a:headEnd/>
            <a:tailEnd/>
          </a:ln>
        </p:spPr>
        <p:txBody>
          <a:bodyPr/>
          <a:lstStyle/>
          <a:p>
            <a:endParaRPr lang="en-US"/>
          </a:p>
        </p:txBody>
      </p:sp>
      <p:sp>
        <p:nvSpPr>
          <p:cNvPr id="203" name="Freeform 1103"/>
          <p:cNvSpPr>
            <a:spLocks/>
          </p:cNvSpPr>
          <p:nvPr/>
        </p:nvSpPr>
        <p:spPr bwMode="auto">
          <a:xfrm>
            <a:off x="3313659" y="3618540"/>
            <a:ext cx="172001" cy="71324"/>
          </a:xfrm>
          <a:custGeom>
            <a:avLst/>
            <a:gdLst>
              <a:gd name="T0" fmla="*/ 2147483647 w 370"/>
              <a:gd name="T1" fmla="*/ 0 h 171"/>
              <a:gd name="T2" fmla="*/ 2147483647 w 370"/>
              <a:gd name="T3" fmla="*/ 0 h 171"/>
              <a:gd name="T4" fmla="*/ 2147483647 w 370"/>
              <a:gd name="T5" fmla="*/ 0 h 171"/>
              <a:gd name="T6" fmla="*/ 0 w 370"/>
              <a:gd name="T7" fmla="*/ 0 h 171"/>
              <a:gd name="T8" fmla="*/ 0 w 370"/>
              <a:gd name="T9" fmla="*/ 2147483647 h 171"/>
              <a:gd name="T10" fmla="*/ 0 w 370"/>
              <a:gd name="T11" fmla="*/ 2147483647 h 171"/>
              <a:gd name="T12" fmla="*/ 2147483647 w 370"/>
              <a:gd name="T13" fmla="*/ 2147483647 h 171"/>
              <a:gd name="T14" fmla="*/ 2147483647 w 370"/>
              <a:gd name="T15" fmla="*/ 2147483647 h 171"/>
              <a:gd name="T16" fmla="*/ 2147483647 w 370"/>
              <a:gd name="T17" fmla="*/ 2147483647 h 171"/>
              <a:gd name="T18" fmla="*/ 2147483647 w 370"/>
              <a:gd name="T19" fmla="*/ 2147483647 h 171"/>
              <a:gd name="T20" fmla="*/ 2147483647 w 370"/>
              <a:gd name="T21" fmla="*/ 2147483647 h 171"/>
              <a:gd name="T22" fmla="*/ 2147483647 w 370"/>
              <a:gd name="T23" fmla="*/ 2147483647 h 171"/>
              <a:gd name="T24" fmla="*/ 2147483647 w 370"/>
              <a:gd name="T25" fmla="*/ 2147483647 h 171"/>
              <a:gd name="T26" fmla="*/ 2147483647 w 370"/>
              <a:gd name="T27" fmla="*/ 2147483647 h 171"/>
              <a:gd name="T28" fmla="*/ 2147483647 w 370"/>
              <a:gd name="T29" fmla="*/ 2147483647 h 171"/>
              <a:gd name="T30" fmla="*/ 2147483647 w 370"/>
              <a:gd name="T31" fmla="*/ 2147483647 h 171"/>
              <a:gd name="T32" fmla="*/ 2147483647 w 370"/>
              <a:gd name="T33" fmla="*/ 2147483647 h 171"/>
              <a:gd name="T34" fmla="*/ 2147483647 w 370"/>
              <a:gd name="T35" fmla="*/ 2147483647 h 171"/>
              <a:gd name="T36" fmla="*/ 2147483647 w 370"/>
              <a:gd name="T37" fmla="*/ 2147483647 h 171"/>
              <a:gd name="T38" fmla="*/ 2147483647 w 370"/>
              <a:gd name="T39" fmla="*/ 2147483647 h 171"/>
              <a:gd name="T40" fmla="*/ 2147483647 w 370"/>
              <a:gd name="T41" fmla="*/ 2147483647 h 171"/>
              <a:gd name="T42" fmla="*/ 2147483647 w 370"/>
              <a:gd name="T43" fmla="*/ 2147483647 h 171"/>
              <a:gd name="T44" fmla="*/ 2147483647 w 370"/>
              <a:gd name="T45" fmla="*/ 2147483647 h 171"/>
              <a:gd name="T46" fmla="*/ 2147483647 w 370"/>
              <a:gd name="T47" fmla="*/ 2147483647 h 171"/>
              <a:gd name="T48" fmla="*/ 2147483647 w 370"/>
              <a:gd name="T49" fmla="*/ 2147483647 h 171"/>
              <a:gd name="T50" fmla="*/ 2147483647 w 370"/>
              <a:gd name="T51" fmla="*/ 2147483647 h 171"/>
              <a:gd name="T52" fmla="*/ 2147483647 w 370"/>
              <a:gd name="T53" fmla="*/ 2147483647 h 171"/>
              <a:gd name="T54" fmla="*/ 2147483647 w 370"/>
              <a:gd name="T55" fmla="*/ 2147483647 h 171"/>
              <a:gd name="T56" fmla="*/ 2147483647 w 370"/>
              <a:gd name="T57" fmla="*/ 2147483647 h 171"/>
              <a:gd name="T58" fmla="*/ 2147483647 w 370"/>
              <a:gd name="T59" fmla="*/ 2147483647 h 171"/>
              <a:gd name="T60" fmla="*/ 2147483647 w 370"/>
              <a:gd name="T61" fmla="*/ 2147483647 h 171"/>
              <a:gd name="T62" fmla="*/ 2147483647 w 370"/>
              <a:gd name="T63" fmla="*/ 2147483647 h 171"/>
              <a:gd name="T64" fmla="*/ 2147483647 w 370"/>
              <a:gd name="T65" fmla="*/ 2147483647 h 171"/>
              <a:gd name="T66" fmla="*/ 2147483647 w 370"/>
              <a:gd name="T67" fmla="*/ 0 h 171"/>
              <a:gd name="T68" fmla="*/ 2147483647 w 370"/>
              <a:gd name="T69" fmla="*/ 0 h 17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0"/>
              <a:gd name="T106" fmla="*/ 0 h 171"/>
              <a:gd name="T107" fmla="*/ 370 w 370"/>
              <a:gd name="T108" fmla="*/ 171 h 17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0" h="171">
                <a:moveTo>
                  <a:pt x="222" y="0"/>
                </a:moveTo>
                <a:lnTo>
                  <a:pt x="163" y="0"/>
                </a:lnTo>
                <a:lnTo>
                  <a:pt x="83" y="0"/>
                </a:lnTo>
                <a:lnTo>
                  <a:pt x="0" y="0"/>
                </a:lnTo>
                <a:lnTo>
                  <a:pt x="0" y="55"/>
                </a:lnTo>
                <a:lnTo>
                  <a:pt x="0" y="115"/>
                </a:lnTo>
                <a:lnTo>
                  <a:pt x="43" y="115"/>
                </a:lnTo>
                <a:lnTo>
                  <a:pt x="87" y="115"/>
                </a:lnTo>
                <a:lnTo>
                  <a:pt x="87" y="171"/>
                </a:lnTo>
                <a:lnTo>
                  <a:pt x="158" y="171"/>
                </a:lnTo>
                <a:lnTo>
                  <a:pt x="230" y="171"/>
                </a:lnTo>
                <a:lnTo>
                  <a:pt x="299" y="171"/>
                </a:lnTo>
                <a:lnTo>
                  <a:pt x="370" y="171"/>
                </a:lnTo>
                <a:lnTo>
                  <a:pt x="368" y="158"/>
                </a:lnTo>
                <a:lnTo>
                  <a:pt x="360" y="154"/>
                </a:lnTo>
                <a:lnTo>
                  <a:pt x="358" y="143"/>
                </a:lnTo>
                <a:lnTo>
                  <a:pt x="355" y="138"/>
                </a:lnTo>
                <a:lnTo>
                  <a:pt x="351" y="131"/>
                </a:lnTo>
                <a:lnTo>
                  <a:pt x="353" y="122"/>
                </a:lnTo>
                <a:lnTo>
                  <a:pt x="351" y="112"/>
                </a:lnTo>
                <a:lnTo>
                  <a:pt x="351" y="98"/>
                </a:lnTo>
                <a:lnTo>
                  <a:pt x="347" y="96"/>
                </a:lnTo>
                <a:lnTo>
                  <a:pt x="349" y="89"/>
                </a:lnTo>
                <a:lnTo>
                  <a:pt x="342" y="84"/>
                </a:lnTo>
                <a:lnTo>
                  <a:pt x="343" y="70"/>
                </a:lnTo>
                <a:lnTo>
                  <a:pt x="331" y="47"/>
                </a:lnTo>
                <a:lnTo>
                  <a:pt x="328" y="29"/>
                </a:lnTo>
                <a:lnTo>
                  <a:pt x="324" y="28"/>
                </a:lnTo>
                <a:lnTo>
                  <a:pt x="318" y="28"/>
                </a:lnTo>
                <a:lnTo>
                  <a:pt x="315" y="19"/>
                </a:lnTo>
                <a:lnTo>
                  <a:pt x="291" y="8"/>
                </a:lnTo>
                <a:lnTo>
                  <a:pt x="266" y="8"/>
                </a:lnTo>
                <a:lnTo>
                  <a:pt x="258" y="13"/>
                </a:lnTo>
                <a:lnTo>
                  <a:pt x="238" y="0"/>
                </a:lnTo>
                <a:lnTo>
                  <a:pt x="222" y="0"/>
                </a:lnTo>
                <a:close/>
              </a:path>
            </a:pathLst>
          </a:custGeom>
          <a:solidFill>
            <a:schemeClr val="accent1"/>
          </a:solidFill>
          <a:ln w="6350">
            <a:solidFill>
              <a:schemeClr val="tx2"/>
            </a:solidFill>
            <a:round/>
            <a:headEnd/>
            <a:tailEnd/>
          </a:ln>
        </p:spPr>
        <p:txBody>
          <a:bodyPr/>
          <a:lstStyle/>
          <a:p>
            <a:endParaRPr lang="en-US"/>
          </a:p>
        </p:txBody>
      </p:sp>
      <p:sp>
        <p:nvSpPr>
          <p:cNvPr id="204" name="Freeform 1104"/>
          <p:cNvSpPr>
            <a:spLocks/>
          </p:cNvSpPr>
          <p:nvPr/>
        </p:nvSpPr>
        <p:spPr bwMode="auto">
          <a:xfrm>
            <a:off x="3210459" y="3666940"/>
            <a:ext cx="143334" cy="91703"/>
          </a:xfrm>
          <a:custGeom>
            <a:avLst/>
            <a:gdLst>
              <a:gd name="T0" fmla="*/ 2147483647 w 304"/>
              <a:gd name="T1" fmla="*/ 2147483647 h 221"/>
              <a:gd name="T2" fmla="*/ 2147483647 w 304"/>
              <a:gd name="T3" fmla="*/ 2147483647 h 221"/>
              <a:gd name="T4" fmla="*/ 2147483647 w 304"/>
              <a:gd name="T5" fmla="*/ 2147483647 h 221"/>
              <a:gd name="T6" fmla="*/ 2147483647 w 304"/>
              <a:gd name="T7" fmla="*/ 2147483647 h 221"/>
              <a:gd name="T8" fmla="*/ 0 w 304"/>
              <a:gd name="T9" fmla="*/ 2147483647 h 221"/>
              <a:gd name="T10" fmla="*/ 0 w 304"/>
              <a:gd name="T11" fmla="*/ 2147483647 h 221"/>
              <a:gd name="T12" fmla="*/ 0 w 304"/>
              <a:gd name="T13" fmla="*/ 2147483647 h 221"/>
              <a:gd name="T14" fmla="*/ 0 w 304"/>
              <a:gd name="T15" fmla="*/ 0 h 221"/>
              <a:gd name="T16" fmla="*/ 2147483647 w 304"/>
              <a:gd name="T17" fmla="*/ 0 h 221"/>
              <a:gd name="T18" fmla="*/ 2147483647 w 304"/>
              <a:gd name="T19" fmla="*/ 0 h 221"/>
              <a:gd name="T20" fmla="*/ 2147483647 w 304"/>
              <a:gd name="T21" fmla="*/ 0 h 221"/>
              <a:gd name="T22" fmla="*/ 2147483647 w 304"/>
              <a:gd name="T23" fmla="*/ 0 h 221"/>
              <a:gd name="T24" fmla="*/ 2147483647 w 304"/>
              <a:gd name="T25" fmla="*/ 0 h 221"/>
              <a:gd name="T26" fmla="*/ 2147483647 w 304"/>
              <a:gd name="T27" fmla="*/ 2147483647 h 221"/>
              <a:gd name="T28" fmla="*/ 2147483647 w 304"/>
              <a:gd name="T29" fmla="*/ 2147483647 h 221"/>
              <a:gd name="T30" fmla="*/ 2147483647 w 304"/>
              <a:gd name="T31" fmla="*/ 2147483647 h 221"/>
              <a:gd name="T32" fmla="*/ 2147483647 w 304"/>
              <a:gd name="T33" fmla="*/ 2147483647 h 2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4"/>
              <a:gd name="T52" fmla="*/ 0 h 221"/>
              <a:gd name="T53" fmla="*/ 304 w 304"/>
              <a:gd name="T54" fmla="*/ 221 h 2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4" h="221">
                <a:moveTo>
                  <a:pt x="261" y="221"/>
                </a:moveTo>
                <a:lnTo>
                  <a:pt x="188" y="221"/>
                </a:lnTo>
                <a:lnTo>
                  <a:pt x="114" y="221"/>
                </a:lnTo>
                <a:lnTo>
                  <a:pt x="52" y="221"/>
                </a:lnTo>
                <a:lnTo>
                  <a:pt x="0" y="221"/>
                </a:lnTo>
                <a:lnTo>
                  <a:pt x="0" y="160"/>
                </a:lnTo>
                <a:lnTo>
                  <a:pt x="0" y="76"/>
                </a:lnTo>
                <a:lnTo>
                  <a:pt x="0" y="0"/>
                </a:lnTo>
                <a:lnTo>
                  <a:pt x="45" y="0"/>
                </a:lnTo>
                <a:lnTo>
                  <a:pt x="95" y="0"/>
                </a:lnTo>
                <a:lnTo>
                  <a:pt x="163" y="0"/>
                </a:lnTo>
                <a:lnTo>
                  <a:pt x="260" y="0"/>
                </a:lnTo>
                <a:lnTo>
                  <a:pt x="304" y="0"/>
                </a:lnTo>
                <a:lnTo>
                  <a:pt x="304" y="107"/>
                </a:lnTo>
                <a:lnTo>
                  <a:pt x="304" y="169"/>
                </a:lnTo>
                <a:lnTo>
                  <a:pt x="304" y="221"/>
                </a:lnTo>
                <a:lnTo>
                  <a:pt x="261" y="221"/>
                </a:lnTo>
                <a:close/>
              </a:path>
            </a:pathLst>
          </a:custGeom>
          <a:solidFill>
            <a:schemeClr val="accent1"/>
          </a:solidFill>
          <a:ln w="6350">
            <a:solidFill>
              <a:schemeClr val="tx2"/>
            </a:solidFill>
            <a:round/>
            <a:headEnd/>
            <a:tailEnd/>
          </a:ln>
        </p:spPr>
        <p:txBody>
          <a:bodyPr/>
          <a:lstStyle/>
          <a:p>
            <a:endParaRPr lang="en-US"/>
          </a:p>
        </p:txBody>
      </p:sp>
      <p:sp>
        <p:nvSpPr>
          <p:cNvPr id="205" name="Freeform 1105"/>
          <p:cNvSpPr>
            <a:spLocks/>
          </p:cNvSpPr>
          <p:nvPr/>
        </p:nvSpPr>
        <p:spPr bwMode="auto">
          <a:xfrm>
            <a:off x="3353792" y="3689865"/>
            <a:ext cx="149067" cy="68777"/>
          </a:xfrm>
          <a:custGeom>
            <a:avLst/>
            <a:gdLst>
              <a:gd name="T0" fmla="*/ 2147483647 w 319"/>
              <a:gd name="T1" fmla="*/ 0 h 165"/>
              <a:gd name="T2" fmla="*/ 2147483647 w 319"/>
              <a:gd name="T3" fmla="*/ 0 h 165"/>
              <a:gd name="T4" fmla="*/ 2147483647 w 319"/>
              <a:gd name="T5" fmla="*/ 0 h 165"/>
              <a:gd name="T6" fmla="*/ 2147483647 w 319"/>
              <a:gd name="T7" fmla="*/ 0 h 165"/>
              <a:gd name="T8" fmla="*/ 0 w 319"/>
              <a:gd name="T9" fmla="*/ 0 h 165"/>
              <a:gd name="T10" fmla="*/ 0 w 319"/>
              <a:gd name="T11" fmla="*/ 2147483647 h 165"/>
              <a:gd name="T12" fmla="*/ 0 w 319"/>
              <a:gd name="T13" fmla="*/ 2147483647 h 165"/>
              <a:gd name="T14" fmla="*/ 0 w 319"/>
              <a:gd name="T15" fmla="*/ 2147483647 h 165"/>
              <a:gd name="T16" fmla="*/ 2147483647 w 319"/>
              <a:gd name="T17" fmla="*/ 2147483647 h 165"/>
              <a:gd name="T18" fmla="*/ 2147483647 w 319"/>
              <a:gd name="T19" fmla="*/ 2147483647 h 165"/>
              <a:gd name="T20" fmla="*/ 2147483647 w 319"/>
              <a:gd name="T21" fmla="*/ 2147483647 h 165"/>
              <a:gd name="T22" fmla="*/ 2147483647 w 319"/>
              <a:gd name="T23" fmla="*/ 2147483647 h 165"/>
              <a:gd name="T24" fmla="*/ 2147483647 w 319"/>
              <a:gd name="T25" fmla="*/ 2147483647 h 165"/>
              <a:gd name="T26" fmla="*/ 2147483647 w 319"/>
              <a:gd name="T27" fmla="*/ 2147483647 h 165"/>
              <a:gd name="T28" fmla="*/ 2147483647 w 319"/>
              <a:gd name="T29" fmla="*/ 2147483647 h 165"/>
              <a:gd name="T30" fmla="*/ 2147483647 w 319"/>
              <a:gd name="T31" fmla="*/ 2147483647 h 165"/>
              <a:gd name="T32" fmla="*/ 2147483647 w 319"/>
              <a:gd name="T33" fmla="*/ 2147483647 h 165"/>
              <a:gd name="T34" fmla="*/ 2147483647 w 319"/>
              <a:gd name="T35" fmla="*/ 2147483647 h 165"/>
              <a:gd name="T36" fmla="*/ 2147483647 w 319"/>
              <a:gd name="T37" fmla="*/ 2147483647 h 165"/>
              <a:gd name="T38" fmla="*/ 2147483647 w 319"/>
              <a:gd name="T39" fmla="*/ 2147483647 h 165"/>
              <a:gd name="T40" fmla="*/ 2147483647 w 319"/>
              <a:gd name="T41" fmla="*/ 0 h 165"/>
              <a:gd name="T42" fmla="*/ 2147483647 w 319"/>
              <a:gd name="T43" fmla="*/ 0 h 1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9"/>
              <a:gd name="T67" fmla="*/ 0 h 165"/>
              <a:gd name="T68" fmla="*/ 319 w 319"/>
              <a:gd name="T69" fmla="*/ 165 h 16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9" h="165">
                <a:moveTo>
                  <a:pt x="275" y="0"/>
                </a:moveTo>
                <a:lnTo>
                  <a:pt x="212" y="0"/>
                </a:lnTo>
                <a:lnTo>
                  <a:pt x="143" y="0"/>
                </a:lnTo>
                <a:lnTo>
                  <a:pt x="71" y="0"/>
                </a:lnTo>
                <a:lnTo>
                  <a:pt x="0" y="0"/>
                </a:lnTo>
                <a:lnTo>
                  <a:pt x="0" y="51"/>
                </a:lnTo>
                <a:lnTo>
                  <a:pt x="0" y="113"/>
                </a:lnTo>
                <a:lnTo>
                  <a:pt x="0" y="165"/>
                </a:lnTo>
                <a:lnTo>
                  <a:pt x="41" y="165"/>
                </a:lnTo>
                <a:lnTo>
                  <a:pt x="104" y="165"/>
                </a:lnTo>
                <a:lnTo>
                  <a:pt x="176" y="165"/>
                </a:lnTo>
                <a:lnTo>
                  <a:pt x="253" y="165"/>
                </a:lnTo>
                <a:lnTo>
                  <a:pt x="319" y="165"/>
                </a:lnTo>
                <a:lnTo>
                  <a:pt x="319" y="49"/>
                </a:lnTo>
                <a:lnTo>
                  <a:pt x="310" y="45"/>
                </a:lnTo>
                <a:lnTo>
                  <a:pt x="296" y="26"/>
                </a:lnTo>
                <a:lnTo>
                  <a:pt x="302" y="16"/>
                </a:lnTo>
                <a:lnTo>
                  <a:pt x="308" y="16"/>
                </a:lnTo>
                <a:lnTo>
                  <a:pt x="305" y="7"/>
                </a:lnTo>
                <a:lnTo>
                  <a:pt x="296" y="9"/>
                </a:lnTo>
                <a:lnTo>
                  <a:pt x="283" y="0"/>
                </a:lnTo>
                <a:lnTo>
                  <a:pt x="275" y="0"/>
                </a:lnTo>
                <a:close/>
              </a:path>
            </a:pathLst>
          </a:custGeom>
          <a:solidFill>
            <a:schemeClr val="accent1"/>
          </a:solidFill>
          <a:ln w="6350">
            <a:solidFill>
              <a:schemeClr val="tx2"/>
            </a:solidFill>
            <a:round/>
            <a:headEnd/>
            <a:tailEnd/>
          </a:ln>
        </p:spPr>
        <p:txBody>
          <a:bodyPr/>
          <a:lstStyle/>
          <a:p>
            <a:endParaRPr lang="en-US"/>
          </a:p>
        </p:txBody>
      </p:sp>
      <p:sp>
        <p:nvSpPr>
          <p:cNvPr id="206" name="Freeform 1106"/>
          <p:cNvSpPr>
            <a:spLocks/>
          </p:cNvSpPr>
          <p:nvPr/>
        </p:nvSpPr>
        <p:spPr bwMode="auto">
          <a:xfrm>
            <a:off x="3260625" y="3770106"/>
            <a:ext cx="266601" cy="222889"/>
          </a:xfrm>
          <a:custGeom>
            <a:avLst/>
            <a:gdLst>
              <a:gd name="T0" fmla="*/ 2147483647 w 566"/>
              <a:gd name="T1" fmla="*/ 2147483647 h 532"/>
              <a:gd name="T2" fmla="*/ 2147483647 w 566"/>
              <a:gd name="T3" fmla="*/ 2147483647 h 532"/>
              <a:gd name="T4" fmla="*/ 2147483647 w 566"/>
              <a:gd name="T5" fmla="*/ 2147483647 h 532"/>
              <a:gd name="T6" fmla="*/ 2147483647 w 566"/>
              <a:gd name="T7" fmla="*/ 2147483647 h 532"/>
              <a:gd name="T8" fmla="*/ 2147483647 w 566"/>
              <a:gd name="T9" fmla="*/ 2147483647 h 532"/>
              <a:gd name="T10" fmla="*/ 2147483647 w 566"/>
              <a:gd name="T11" fmla="*/ 2147483647 h 532"/>
              <a:gd name="T12" fmla="*/ 2147483647 w 566"/>
              <a:gd name="T13" fmla="*/ 2147483647 h 532"/>
              <a:gd name="T14" fmla="*/ 2147483647 w 566"/>
              <a:gd name="T15" fmla="*/ 2147483647 h 532"/>
              <a:gd name="T16" fmla="*/ 2147483647 w 566"/>
              <a:gd name="T17" fmla="*/ 2147483647 h 532"/>
              <a:gd name="T18" fmla="*/ 2147483647 w 566"/>
              <a:gd name="T19" fmla="*/ 2147483647 h 532"/>
              <a:gd name="T20" fmla="*/ 2147483647 w 566"/>
              <a:gd name="T21" fmla="*/ 2147483647 h 532"/>
              <a:gd name="T22" fmla="*/ 2147483647 w 566"/>
              <a:gd name="T23" fmla="*/ 2147483647 h 532"/>
              <a:gd name="T24" fmla="*/ 2147483647 w 566"/>
              <a:gd name="T25" fmla="*/ 2147483647 h 532"/>
              <a:gd name="T26" fmla="*/ 2147483647 w 566"/>
              <a:gd name="T27" fmla="*/ 2147483647 h 532"/>
              <a:gd name="T28" fmla="*/ 2147483647 w 566"/>
              <a:gd name="T29" fmla="*/ 2147483647 h 532"/>
              <a:gd name="T30" fmla="*/ 2147483647 w 566"/>
              <a:gd name="T31" fmla="*/ 2147483647 h 532"/>
              <a:gd name="T32" fmla="*/ 2147483647 w 566"/>
              <a:gd name="T33" fmla="*/ 2147483647 h 532"/>
              <a:gd name="T34" fmla="*/ 2147483647 w 566"/>
              <a:gd name="T35" fmla="*/ 2147483647 h 532"/>
              <a:gd name="T36" fmla="*/ 2147483647 w 566"/>
              <a:gd name="T37" fmla="*/ 2147483647 h 532"/>
              <a:gd name="T38" fmla="*/ 2147483647 w 566"/>
              <a:gd name="T39" fmla="*/ 2147483647 h 532"/>
              <a:gd name="T40" fmla="*/ 2147483647 w 566"/>
              <a:gd name="T41" fmla="*/ 2147483647 h 532"/>
              <a:gd name="T42" fmla="*/ 2147483647 w 566"/>
              <a:gd name="T43" fmla="*/ 2147483647 h 532"/>
              <a:gd name="T44" fmla="*/ 2147483647 w 566"/>
              <a:gd name="T45" fmla="*/ 2147483647 h 532"/>
              <a:gd name="T46" fmla="*/ 2147483647 w 566"/>
              <a:gd name="T47" fmla="*/ 2147483647 h 532"/>
              <a:gd name="T48" fmla="*/ 2147483647 w 566"/>
              <a:gd name="T49" fmla="*/ 2147483647 h 532"/>
              <a:gd name="T50" fmla="*/ 2147483647 w 566"/>
              <a:gd name="T51" fmla="*/ 2147483647 h 532"/>
              <a:gd name="T52" fmla="*/ 2147483647 w 566"/>
              <a:gd name="T53" fmla="*/ 2147483647 h 532"/>
              <a:gd name="T54" fmla="*/ 2147483647 w 566"/>
              <a:gd name="T55" fmla="*/ 2147483647 h 532"/>
              <a:gd name="T56" fmla="*/ 2147483647 w 566"/>
              <a:gd name="T57" fmla="*/ 2147483647 h 532"/>
              <a:gd name="T58" fmla="*/ 2147483647 w 566"/>
              <a:gd name="T59" fmla="*/ 2147483647 h 532"/>
              <a:gd name="T60" fmla="*/ 2147483647 w 566"/>
              <a:gd name="T61" fmla="*/ 2147483647 h 532"/>
              <a:gd name="T62" fmla="*/ 2147483647 w 566"/>
              <a:gd name="T63" fmla="*/ 2147483647 h 532"/>
              <a:gd name="T64" fmla="*/ 2147483647 w 566"/>
              <a:gd name="T65" fmla="*/ 2147483647 h 532"/>
              <a:gd name="T66" fmla="*/ 2147483647 w 566"/>
              <a:gd name="T67" fmla="*/ 2147483647 h 532"/>
              <a:gd name="T68" fmla="*/ 2147483647 w 566"/>
              <a:gd name="T69" fmla="*/ 2147483647 h 532"/>
              <a:gd name="T70" fmla="*/ 2147483647 w 566"/>
              <a:gd name="T71" fmla="*/ 2147483647 h 532"/>
              <a:gd name="T72" fmla="*/ 2147483647 w 566"/>
              <a:gd name="T73" fmla="*/ 2147483647 h 532"/>
              <a:gd name="T74" fmla="*/ 2147483647 w 566"/>
              <a:gd name="T75" fmla="*/ 2147483647 h 532"/>
              <a:gd name="T76" fmla="*/ 2147483647 w 566"/>
              <a:gd name="T77" fmla="*/ 2147483647 h 532"/>
              <a:gd name="T78" fmla="*/ 2147483647 w 566"/>
              <a:gd name="T79" fmla="*/ 2147483647 h 532"/>
              <a:gd name="T80" fmla="*/ 2147483647 w 566"/>
              <a:gd name="T81" fmla="*/ 2147483647 h 532"/>
              <a:gd name="T82" fmla="*/ 2147483647 w 566"/>
              <a:gd name="T83" fmla="*/ 2147483647 h 532"/>
              <a:gd name="T84" fmla="*/ 2147483647 w 566"/>
              <a:gd name="T85" fmla="*/ 2147483647 h 532"/>
              <a:gd name="T86" fmla="*/ 2147483647 w 566"/>
              <a:gd name="T87" fmla="*/ 2147483647 h 532"/>
              <a:gd name="T88" fmla="*/ 2147483647 w 566"/>
              <a:gd name="T89" fmla="*/ 2147483647 h 532"/>
              <a:gd name="T90" fmla="*/ 2147483647 w 566"/>
              <a:gd name="T91" fmla="*/ 2147483647 h 532"/>
              <a:gd name="T92" fmla="*/ 2147483647 w 566"/>
              <a:gd name="T93" fmla="*/ 2147483647 h 532"/>
              <a:gd name="T94" fmla="*/ 2147483647 w 566"/>
              <a:gd name="T95" fmla="*/ 0 h 532"/>
              <a:gd name="T96" fmla="*/ 2147483647 w 566"/>
              <a:gd name="T97" fmla="*/ 0 h 532"/>
              <a:gd name="T98" fmla="*/ 2147483647 w 566"/>
              <a:gd name="T99" fmla="*/ 2147483647 h 532"/>
              <a:gd name="T100" fmla="*/ 2147483647 w 566"/>
              <a:gd name="T101" fmla="*/ 2147483647 h 532"/>
              <a:gd name="T102" fmla="*/ 2147483647 w 566"/>
              <a:gd name="T103" fmla="*/ 2147483647 h 5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66"/>
              <a:gd name="T157" fmla="*/ 0 h 532"/>
              <a:gd name="T158" fmla="*/ 566 w 566"/>
              <a:gd name="T159" fmla="*/ 532 h 53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66" h="532">
                <a:moveTo>
                  <a:pt x="114" y="233"/>
                </a:moveTo>
                <a:lnTo>
                  <a:pt x="52" y="233"/>
                </a:lnTo>
                <a:lnTo>
                  <a:pt x="0" y="233"/>
                </a:lnTo>
                <a:lnTo>
                  <a:pt x="3" y="241"/>
                </a:lnTo>
                <a:lnTo>
                  <a:pt x="14" y="247"/>
                </a:lnTo>
                <a:lnTo>
                  <a:pt x="20" y="257"/>
                </a:lnTo>
                <a:lnTo>
                  <a:pt x="29" y="262"/>
                </a:lnTo>
                <a:lnTo>
                  <a:pt x="52" y="286"/>
                </a:lnTo>
                <a:lnTo>
                  <a:pt x="75" y="301"/>
                </a:lnTo>
                <a:lnTo>
                  <a:pt x="86" y="341"/>
                </a:lnTo>
                <a:lnTo>
                  <a:pt x="97" y="356"/>
                </a:lnTo>
                <a:lnTo>
                  <a:pt x="131" y="381"/>
                </a:lnTo>
                <a:lnTo>
                  <a:pt x="148" y="384"/>
                </a:lnTo>
                <a:lnTo>
                  <a:pt x="169" y="345"/>
                </a:lnTo>
                <a:lnTo>
                  <a:pt x="178" y="342"/>
                </a:lnTo>
                <a:lnTo>
                  <a:pt x="222" y="343"/>
                </a:lnTo>
                <a:lnTo>
                  <a:pt x="229" y="350"/>
                </a:lnTo>
                <a:lnTo>
                  <a:pt x="255" y="376"/>
                </a:lnTo>
                <a:lnTo>
                  <a:pt x="270" y="413"/>
                </a:lnTo>
                <a:lnTo>
                  <a:pt x="283" y="426"/>
                </a:lnTo>
                <a:lnTo>
                  <a:pt x="289" y="441"/>
                </a:lnTo>
                <a:lnTo>
                  <a:pt x="303" y="450"/>
                </a:lnTo>
                <a:lnTo>
                  <a:pt x="315" y="488"/>
                </a:lnTo>
                <a:lnTo>
                  <a:pt x="328" y="507"/>
                </a:lnTo>
                <a:lnTo>
                  <a:pt x="341" y="516"/>
                </a:lnTo>
                <a:lnTo>
                  <a:pt x="364" y="524"/>
                </a:lnTo>
                <a:lnTo>
                  <a:pt x="385" y="525"/>
                </a:lnTo>
                <a:lnTo>
                  <a:pt x="400" y="532"/>
                </a:lnTo>
                <a:lnTo>
                  <a:pt x="414" y="532"/>
                </a:lnTo>
                <a:lnTo>
                  <a:pt x="407" y="521"/>
                </a:lnTo>
                <a:lnTo>
                  <a:pt x="400" y="494"/>
                </a:lnTo>
                <a:lnTo>
                  <a:pt x="403" y="475"/>
                </a:lnTo>
                <a:lnTo>
                  <a:pt x="395" y="471"/>
                </a:lnTo>
                <a:lnTo>
                  <a:pt x="407" y="467"/>
                </a:lnTo>
                <a:lnTo>
                  <a:pt x="409" y="451"/>
                </a:lnTo>
                <a:lnTo>
                  <a:pt x="404" y="443"/>
                </a:lnTo>
                <a:lnTo>
                  <a:pt x="415" y="441"/>
                </a:lnTo>
                <a:lnTo>
                  <a:pt x="419" y="433"/>
                </a:lnTo>
                <a:lnTo>
                  <a:pt x="414" y="432"/>
                </a:lnTo>
                <a:lnTo>
                  <a:pt x="415" y="429"/>
                </a:lnTo>
                <a:lnTo>
                  <a:pt x="425" y="425"/>
                </a:lnTo>
                <a:lnTo>
                  <a:pt x="432" y="415"/>
                </a:lnTo>
                <a:lnTo>
                  <a:pt x="443" y="413"/>
                </a:lnTo>
                <a:lnTo>
                  <a:pt x="440" y="400"/>
                </a:lnTo>
                <a:lnTo>
                  <a:pt x="447" y="404"/>
                </a:lnTo>
                <a:lnTo>
                  <a:pt x="448" y="397"/>
                </a:lnTo>
                <a:lnTo>
                  <a:pt x="453" y="403"/>
                </a:lnTo>
                <a:lnTo>
                  <a:pt x="458" y="396"/>
                </a:lnTo>
                <a:lnTo>
                  <a:pt x="460" y="404"/>
                </a:lnTo>
                <a:lnTo>
                  <a:pt x="474" y="400"/>
                </a:lnTo>
                <a:lnTo>
                  <a:pt x="456" y="412"/>
                </a:lnTo>
                <a:lnTo>
                  <a:pt x="465" y="410"/>
                </a:lnTo>
                <a:lnTo>
                  <a:pt x="481" y="403"/>
                </a:lnTo>
                <a:lnTo>
                  <a:pt x="487" y="396"/>
                </a:lnTo>
                <a:lnTo>
                  <a:pt x="496" y="388"/>
                </a:lnTo>
                <a:lnTo>
                  <a:pt x="505" y="373"/>
                </a:lnTo>
                <a:lnTo>
                  <a:pt x="508" y="345"/>
                </a:lnTo>
                <a:lnTo>
                  <a:pt x="512" y="344"/>
                </a:lnTo>
                <a:lnTo>
                  <a:pt x="513" y="353"/>
                </a:lnTo>
                <a:lnTo>
                  <a:pt x="518" y="354"/>
                </a:lnTo>
                <a:lnTo>
                  <a:pt x="514" y="360"/>
                </a:lnTo>
                <a:lnTo>
                  <a:pt x="538" y="349"/>
                </a:lnTo>
                <a:lnTo>
                  <a:pt x="551" y="348"/>
                </a:lnTo>
                <a:lnTo>
                  <a:pt x="547" y="343"/>
                </a:lnTo>
                <a:lnTo>
                  <a:pt x="557" y="331"/>
                </a:lnTo>
                <a:lnTo>
                  <a:pt x="556" y="305"/>
                </a:lnTo>
                <a:lnTo>
                  <a:pt x="566" y="281"/>
                </a:lnTo>
                <a:lnTo>
                  <a:pt x="552" y="253"/>
                </a:lnTo>
                <a:lnTo>
                  <a:pt x="552" y="243"/>
                </a:lnTo>
                <a:lnTo>
                  <a:pt x="543" y="233"/>
                </a:lnTo>
                <a:lnTo>
                  <a:pt x="543" y="154"/>
                </a:lnTo>
                <a:lnTo>
                  <a:pt x="528" y="154"/>
                </a:lnTo>
                <a:lnTo>
                  <a:pt x="525" y="149"/>
                </a:lnTo>
                <a:lnTo>
                  <a:pt x="491" y="133"/>
                </a:lnTo>
                <a:lnTo>
                  <a:pt x="486" y="138"/>
                </a:lnTo>
                <a:lnTo>
                  <a:pt x="476" y="134"/>
                </a:lnTo>
                <a:lnTo>
                  <a:pt x="468" y="139"/>
                </a:lnTo>
                <a:lnTo>
                  <a:pt x="461" y="137"/>
                </a:lnTo>
                <a:lnTo>
                  <a:pt x="445" y="147"/>
                </a:lnTo>
                <a:lnTo>
                  <a:pt x="424" y="135"/>
                </a:lnTo>
                <a:lnTo>
                  <a:pt x="412" y="139"/>
                </a:lnTo>
                <a:lnTo>
                  <a:pt x="409" y="145"/>
                </a:lnTo>
                <a:lnTo>
                  <a:pt x="407" y="136"/>
                </a:lnTo>
                <a:lnTo>
                  <a:pt x="397" y="140"/>
                </a:lnTo>
                <a:lnTo>
                  <a:pt x="388" y="132"/>
                </a:lnTo>
                <a:lnTo>
                  <a:pt x="378" y="138"/>
                </a:lnTo>
                <a:lnTo>
                  <a:pt x="373" y="137"/>
                </a:lnTo>
                <a:lnTo>
                  <a:pt x="367" y="124"/>
                </a:lnTo>
                <a:lnTo>
                  <a:pt x="352" y="128"/>
                </a:lnTo>
                <a:lnTo>
                  <a:pt x="346" y="123"/>
                </a:lnTo>
                <a:lnTo>
                  <a:pt x="322" y="120"/>
                </a:lnTo>
                <a:lnTo>
                  <a:pt x="314" y="107"/>
                </a:lnTo>
                <a:lnTo>
                  <a:pt x="312" y="111"/>
                </a:lnTo>
                <a:lnTo>
                  <a:pt x="301" y="111"/>
                </a:lnTo>
                <a:lnTo>
                  <a:pt x="286" y="101"/>
                </a:lnTo>
                <a:lnTo>
                  <a:pt x="286" y="0"/>
                </a:lnTo>
                <a:lnTo>
                  <a:pt x="239" y="0"/>
                </a:lnTo>
                <a:lnTo>
                  <a:pt x="201" y="0"/>
                </a:lnTo>
                <a:lnTo>
                  <a:pt x="155" y="0"/>
                </a:lnTo>
                <a:lnTo>
                  <a:pt x="155" y="53"/>
                </a:lnTo>
                <a:lnTo>
                  <a:pt x="155" y="119"/>
                </a:lnTo>
                <a:lnTo>
                  <a:pt x="155" y="175"/>
                </a:lnTo>
                <a:lnTo>
                  <a:pt x="155" y="233"/>
                </a:lnTo>
                <a:lnTo>
                  <a:pt x="114" y="233"/>
                </a:lnTo>
                <a:close/>
              </a:path>
            </a:pathLst>
          </a:custGeom>
          <a:solidFill>
            <a:schemeClr val="accent1"/>
          </a:solidFill>
          <a:ln w="6350">
            <a:solidFill>
              <a:schemeClr val="tx2"/>
            </a:solidFill>
            <a:round/>
            <a:headEnd/>
            <a:tailEnd/>
          </a:ln>
        </p:spPr>
        <p:txBody>
          <a:bodyPr/>
          <a:lstStyle/>
          <a:p>
            <a:endParaRPr lang="en-US"/>
          </a:p>
        </p:txBody>
      </p:sp>
      <p:sp>
        <p:nvSpPr>
          <p:cNvPr id="207" name="Freeform 1107"/>
          <p:cNvSpPr>
            <a:spLocks/>
          </p:cNvSpPr>
          <p:nvPr/>
        </p:nvSpPr>
        <p:spPr bwMode="auto">
          <a:xfrm>
            <a:off x="3315092" y="3544668"/>
            <a:ext cx="151934" cy="86608"/>
          </a:xfrm>
          <a:custGeom>
            <a:avLst/>
            <a:gdLst>
              <a:gd name="T0" fmla="*/ 2147483647 w 326"/>
              <a:gd name="T1" fmla="*/ 0 h 205"/>
              <a:gd name="T2" fmla="*/ 2147483647 w 326"/>
              <a:gd name="T3" fmla="*/ 0 h 205"/>
              <a:gd name="T4" fmla="*/ 2147483647 w 326"/>
              <a:gd name="T5" fmla="*/ 0 h 205"/>
              <a:gd name="T6" fmla="*/ 2147483647 w 326"/>
              <a:gd name="T7" fmla="*/ 0 h 205"/>
              <a:gd name="T8" fmla="*/ 2147483647 w 326"/>
              <a:gd name="T9" fmla="*/ 0 h 205"/>
              <a:gd name="T10" fmla="*/ 0 w 326"/>
              <a:gd name="T11" fmla="*/ 0 h 205"/>
              <a:gd name="T12" fmla="*/ 0 w 326"/>
              <a:gd name="T13" fmla="*/ 2147483647 h 205"/>
              <a:gd name="T14" fmla="*/ 0 w 326"/>
              <a:gd name="T15" fmla="*/ 2147483647 h 205"/>
              <a:gd name="T16" fmla="*/ 2147483647 w 326"/>
              <a:gd name="T17" fmla="*/ 2147483647 h 205"/>
              <a:gd name="T18" fmla="*/ 2147483647 w 326"/>
              <a:gd name="T19" fmla="*/ 2147483647 h 205"/>
              <a:gd name="T20" fmla="*/ 2147483647 w 326"/>
              <a:gd name="T21" fmla="*/ 2147483647 h 205"/>
              <a:gd name="T22" fmla="*/ 2147483647 w 326"/>
              <a:gd name="T23" fmla="*/ 2147483647 h 205"/>
              <a:gd name="T24" fmla="*/ 2147483647 w 326"/>
              <a:gd name="T25" fmla="*/ 2147483647 h 205"/>
              <a:gd name="T26" fmla="*/ 2147483647 w 326"/>
              <a:gd name="T27" fmla="*/ 2147483647 h 205"/>
              <a:gd name="T28" fmla="*/ 2147483647 w 326"/>
              <a:gd name="T29" fmla="*/ 2147483647 h 205"/>
              <a:gd name="T30" fmla="*/ 2147483647 w 326"/>
              <a:gd name="T31" fmla="*/ 2147483647 h 205"/>
              <a:gd name="T32" fmla="*/ 2147483647 w 326"/>
              <a:gd name="T33" fmla="*/ 2147483647 h 205"/>
              <a:gd name="T34" fmla="*/ 2147483647 w 326"/>
              <a:gd name="T35" fmla="*/ 2147483647 h 205"/>
              <a:gd name="T36" fmla="*/ 2147483647 w 326"/>
              <a:gd name="T37" fmla="*/ 2147483647 h 205"/>
              <a:gd name="T38" fmla="*/ 2147483647 w 326"/>
              <a:gd name="T39" fmla="*/ 2147483647 h 205"/>
              <a:gd name="T40" fmla="*/ 2147483647 w 326"/>
              <a:gd name="T41" fmla="*/ 2147483647 h 205"/>
              <a:gd name="T42" fmla="*/ 2147483647 w 326"/>
              <a:gd name="T43" fmla="*/ 2147483647 h 205"/>
              <a:gd name="T44" fmla="*/ 2147483647 w 326"/>
              <a:gd name="T45" fmla="*/ 2147483647 h 205"/>
              <a:gd name="T46" fmla="*/ 2147483647 w 326"/>
              <a:gd name="T47" fmla="*/ 2147483647 h 205"/>
              <a:gd name="T48" fmla="*/ 2147483647 w 326"/>
              <a:gd name="T49" fmla="*/ 0 h 205"/>
              <a:gd name="T50" fmla="*/ 2147483647 w 326"/>
              <a:gd name="T51" fmla="*/ 0 h 20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26"/>
              <a:gd name="T79" fmla="*/ 0 h 205"/>
              <a:gd name="T80" fmla="*/ 326 w 326"/>
              <a:gd name="T81" fmla="*/ 205 h 20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26" h="205">
                <a:moveTo>
                  <a:pt x="303" y="0"/>
                </a:moveTo>
                <a:lnTo>
                  <a:pt x="266" y="0"/>
                </a:lnTo>
                <a:lnTo>
                  <a:pt x="208" y="0"/>
                </a:lnTo>
                <a:lnTo>
                  <a:pt x="133" y="0"/>
                </a:lnTo>
                <a:lnTo>
                  <a:pt x="62" y="0"/>
                </a:lnTo>
                <a:lnTo>
                  <a:pt x="0" y="0"/>
                </a:lnTo>
                <a:lnTo>
                  <a:pt x="0" y="118"/>
                </a:lnTo>
                <a:lnTo>
                  <a:pt x="0" y="177"/>
                </a:lnTo>
                <a:lnTo>
                  <a:pt x="83" y="177"/>
                </a:lnTo>
                <a:lnTo>
                  <a:pt x="163" y="177"/>
                </a:lnTo>
                <a:lnTo>
                  <a:pt x="238" y="177"/>
                </a:lnTo>
                <a:lnTo>
                  <a:pt x="258" y="190"/>
                </a:lnTo>
                <a:lnTo>
                  <a:pt x="266" y="185"/>
                </a:lnTo>
                <a:lnTo>
                  <a:pt x="291" y="185"/>
                </a:lnTo>
                <a:lnTo>
                  <a:pt x="315" y="196"/>
                </a:lnTo>
                <a:lnTo>
                  <a:pt x="318" y="205"/>
                </a:lnTo>
                <a:lnTo>
                  <a:pt x="324" y="205"/>
                </a:lnTo>
                <a:lnTo>
                  <a:pt x="317" y="192"/>
                </a:lnTo>
                <a:lnTo>
                  <a:pt x="326" y="170"/>
                </a:lnTo>
                <a:lnTo>
                  <a:pt x="320" y="163"/>
                </a:lnTo>
                <a:lnTo>
                  <a:pt x="319" y="147"/>
                </a:lnTo>
                <a:lnTo>
                  <a:pt x="326" y="147"/>
                </a:lnTo>
                <a:lnTo>
                  <a:pt x="326" y="40"/>
                </a:lnTo>
                <a:lnTo>
                  <a:pt x="308" y="22"/>
                </a:lnTo>
                <a:lnTo>
                  <a:pt x="321" y="0"/>
                </a:lnTo>
                <a:lnTo>
                  <a:pt x="303" y="0"/>
                </a:lnTo>
                <a:close/>
              </a:path>
            </a:pathLst>
          </a:custGeom>
          <a:solidFill>
            <a:schemeClr val="accent1"/>
          </a:solidFill>
          <a:ln w="6350">
            <a:solidFill>
              <a:schemeClr val="tx2"/>
            </a:solidFill>
            <a:round/>
            <a:headEnd/>
            <a:tailEnd/>
          </a:ln>
        </p:spPr>
        <p:txBody>
          <a:bodyPr/>
          <a:lstStyle/>
          <a:p>
            <a:endParaRPr lang="en-US"/>
          </a:p>
        </p:txBody>
      </p:sp>
      <p:sp>
        <p:nvSpPr>
          <p:cNvPr id="208" name="Freeform 1108"/>
          <p:cNvSpPr>
            <a:spLocks/>
          </p:cNvSpPr>
          <p:nvPr/>
        </p:nvSpPr>
        <p:spPr bwMode="auto">
          <a:xfrm>
            <a:off x="3313659" y="3464428"/>
            <a:ext cx="151934" cy="80240"/>
          </a:xfrm>
          <a:custGeom>
            <a:avLst/>
            <a:gdLst>
              <a:gd name="T0" fmla="*/ 2147483647 w 321"/>
              <a:gd name="T1" fmla="*/ 0 h 192"/>
              <a:gd name="T2" fmla="*/ 2147483647 w 321"/>
              <a:gd name="T3" fmla="*/ 0 h 192"/>
              <a:gd name="T4" fmla="*/ 2147483647 w 321"/>
              <a:gd name="T5" fmla="*/ 0 h 192"/>
              <a:gd name="T6" fmla="*/ 2147483647 w 321"/>
              <a:gd name="T7" fmla="*/ 0 h 192"/>
              <a:gd name="T8" fmla="*/ 0 w 321"/>
              <a:gd name="T9" fmla="*/ 0 h 192"/>
              <a:gd name="T10" fmla="*/ 0 w 321"/>
              <a:gd name="T11" fmla="*/ 2147483647 h 192"/>
              <a:gd name="T12" fmla="*/ 0 w 321"/>
              <a:gd name="T13" fmla="*/ 2147483647 h 192"/>
              <a:gd name="T14" fmla="*/ 2147483647 w 321"/>
              <a:gd name="T15" fmla="*/ 2147483647 h 192"/>
              <a:gd name="T16" fmla="*/ 2147483647 w 321"/>
              <a:gd name="T17" fmla="*/ 2147483647 h 192"/>
              <a:gd name="T18" fmla="*/ 2147483647 w 321"/>
              <a:gd name="T19" fmla="*/ 2147483647 h 192"/>
              <a:gd name="T20" fmla="*/ 2147483647 w 321"/>
              <a:gd name="T21" fmla="*/ 2147483647 h 192"/>
              <a:gd name="T22" fmla="*/ 2147483647 w 321"/>
              <a:gd name="T23" fmla="*/ 2147483647 h 192"/>
              <a:gd name="T24" fmla="*/ 2147483647 w 321"/>
              <a:gd name="T25" fmla="*/ 2147483647 h 192"/>
              <a:gd name="T26" fmla="*/ 2147483647 w 321"/>
              <a:gd name="T27" fmla="*/ 2147483647 h 192"/>
              <a:gd name="T28" fmla="*/ 2147483647 w 321"/>
              <a:gd name="T29" fmla="*/ 2147483647 h 192"/>
              <a:gd name="T30" fmla="*/ 2147483647 w 321"/>
              <a:gd name="T31" fmla="*/ 2147483647 h 192"/>
              <a:gd name="T32" fmla="*/ 2147483647 w 321"/>
              <a:gd name="T33" fmla="*/ 2147483647 h 192"/>
              <a:gd name="T34" fmla="*/ 2147483647 w 321"/>
              <a:gd name="T35" fmla="*/ 2147483647 h 192"/>
              <a:gd name="T36" fmla="*/ 2147483647 w 321"/>
              <a:gd name="T37" fmla="*/ 0 h 192"/>
              <a:gd name="T38" fmla="*/ 2147483647 w 321"/>
              <a:gd name="T39" fmla="*/ 0 h 19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1"/>
              <a:gd name="T61" fmla="*/ 0 h 192"/>
              <a:gd name="T62" fmla="*/ 321 w 321"/>
              <a:gd name="T63" fmla="*/ 192 h 19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1" h="192">
                <a:moveTo>
                  <a:pt x="237" y="0"/>
                </a:moveTo>
                <a:lnTo>
                  <a:pt x="172" y="0"/>
                </a:lnTo>
                <a:lnTo>
                  <a:pt x="114" y="0"/>
                </a:lnTo>
                <a:lnTo>
                  <a:pt x="55" y="0"/>
                </a:lnTo>
                <a:lnTo>
                  <a:pt x="0" y="0"/>
                </a:lnTo>
                <a:lnTo>
                  <a:pt x="0" y="93"/>
                </a:lnTo>
                <a:lnTo>
                  <a:pt x="0" y="192"/>
                </a:lnTo>
                <a:lnTo>
                  <a:pt x="62" y="192"/>
                </a:lnTo>
                <a:lnTo>
                  <a:pt x="133" y="192"/>
                </a:lnTo>
                <a:lnTo>
                  <a:pt x="208" y="192"/>
                </a:lnTo>
                <a:lnTo>
                  <a:pt x="266" y="192"/>
                </a:lnTo>
                <a:lnTo>
                  <a:pt x="321" y="192"/>
                </a:lnTo>
                <a:lnTo>
                  <a:pt x="320" y="179"/>
                </a:lnTo>
                <a:lnTo>
                  <a:pt x="310" y="149"/>
                </a:lnTo>
                <a:lnTo>
                  <a:pt x="309" y="125"/>
                </a:lnTo>
                <a:lnTo>
                  <a:pt x="308" y="89"/>
                </a:lnTo>
                <a:lnTo>
                  <a:pt x="296" y="53"/>
                </a:lnTo>
                <a:lnTo>
                  <a:pt x="298" y="21"/>
                </a:lnTo>
                <a:lnTo>
                  <a:pt x="292" y="0"/>
                </a:lnTo>
                <a:lnTo>
                  <a:pt x="237" y="0"/>
                </a:lnTo>
                <a:close/>
              </a:path>
            </a:pathLst>
          </a:custGeom>
          <a:solidFill>
            <a:schemeClr val="accent1"/>
          </a:solidFill>
          <a:ln w="6350">
            <a:solidFill>
              <a:schemeClr val="tx2"/>
            </a:solidFill>
            <a:round/>
            <a:headEnd/>
            <a:tailEnd/>
          </a:ln>
        </p:spPr>
        <p:txBody>
          <a:bodyPr/>
          <a:lstStyle/>
          <a:p>
            <a:endParaRPr lang="en-US"/>
          </a:p>
        </p:txBody>
      </p:sp>
      <p:sp>
        <p:nvSpPr>
          <p:cNvPr id="209" name="Freeform 1109"/>
          <p:cNvSpPr>
            <a:spLocks/>
          </p:cNvSpPr>
          <p:nvPr/>
        </p:nvSpPr>
        <p:spPr bwMode="auto">
          <a:xfrm>
            <a:off x="3353792" y="3123088"/>
            <a:ext cx="260867" cy="341340"/>
          </a:xfrm>
          <a:custGeom>
            <a:avLst/>
            <a:gdLst>
              <a:gd name="T0" fmla="*/ 2147483647 w 556"/>
              <a:gd name="T1" fmla="*/ 2147483647 h 821"/>
              <a:gd name="T2" fmla="*/ 2147483647 w 556"/>
              <a:gd name="T3" fmla="*/ 2147483647 h 821"/>
              <a:gd name="T4" fmla="*/ 2147483647 w 556"/>
              <a:gd name="T5" fmla="*/ 2147483647 h 821"/>
              <a:gd name="T6" fmla="*/ 2147483647 w 556"/>
              <a:gd name="T7" fmla="*/ 2147483647 h 821"/>
              <a:gd name="T8" fmla="*/ 2147483647 w 556"/>
              <a:gd name="T9" fmla="*/ 2147483647 h 821"/>
              <a:gd name="T10" fmla="*/ 2147483647 w 556"/>
              <a:gd name="T11" fmla="*/ 2147483647 h 821"/>
              <a:gd name="T12" fmla="*/ 2147483647 w 556"/>
              <a:gd name="T13" fmla="*/ 2147483647 h 821"/>
              <a:gd name="T14" fmla="*/ 2147483647 w 556"/>
              <a:gd name="T15" fmla="*/ 2147483647 h 821"/>
              <a:gd name="T16" fmla="*/ 2147483647 w 556"/>
              <a:gd name="T17" fmla="*/ 2147483647 h 821"/>
              <a:gd name="T18" fmla="*/ 2147483647 w 556"/>
              <a:gd name="T19" fmla="*/ 2147483647 h 821"/>
              <a:gd name="T20" fmla="*/ 2147483647 w 556"/>
              <a:gd name="T21" fmla="*/ 2147483647 h 821"/>
              <a:gd name="T22" fmla="*/ 2147483647 w 556"/>
              <a:gd name="T23" fmla="*/ 2147483647 h 821"/>
              <a:gd name="T24" fmla="*/ 2147483647 w 556"/>
              <a:gd name="T25" fmla="*/ 2147483647 h 821"/>
              <a:gd name="T26" fmla="*/ 2147483647 w 556"/>
              <a:gd name="T27" fmla="*/ 2147483647 h 821"/>
              <a:gd name="T28" fmla="*/ 2147483647 w 556"/>
              <a:gd name="T29" fmla="*/ 2147483647 h 821"/>
              <a:gd name="T30" fmla="*/ 2147483647 w 556"/>
              <a:gd name="T31" fmla="*/ 2147483647 h 821"/>
              <a:gd name="T32" fmla="*/ 2147483647 w 556"/>
              <a:gd name="T33" fmla="*/ 2147483647 h 821"/>
              <a:gd name="T34" fmla="*/ 2147483647 w 556"/>
              <a:gd name="T35" fmla="*/ 2147483647 h 821"/>
              <a:gd name="T36" fmla="*/ 2147483647 w 556"/>
              <a:gd name="T37" fmla="*/ 2147483647 h 821"/>
              <a:gd name="T38" fmla="*/ 2147483647 w 556"/>
              <a:gd name="T39" fmla="*/ 2147483647 h 821"/>
              <a:gd name="T40" fmla="*/ 2147483647 w 556"/>
              <a:gd name="T41" fmla="*/ 2147483647 h 821"/>
              <a:gd name="T42" fmla="*/ 2147483647 w 556"/>
              <a:gd name="T43" fmla="*/ 2147483647 h 821"/>
              <a:gd name="T44" fmla="*/ 2147483647 w 556"/>
              <a:gd name="T45" fmla="*/ 2147483647 h 821"/>
              <a:gd name="T46" fmla="*/ 2147483647 w 556"/>
              <a:gd name="T47" fmla="*/ 2147483647 h 821"/>
              <a:gd name="T48" fmla="*/ 2147483647 w 556"/>
              <a:gd name="T49" fmla="*/ 2147483647 h 821"/>
              <a:gd name="T50" fmla="*/ 2147483647 w 556"/>
              <a:gd name="T51" fmla="*/ 2147483647 h 821"/>
              <a:gd name="T52" fmla="*/ 2147483647 w 556"/>
              <a:gd name="T53" fmla="*/ 2147483647 h 821"/>
              <a:gd name="T54" fmla="*/ 2147483647 w 556"/>
              <a:gd name="T55" fmla="*/ 2147483647 h 821"/>
              <a:gd name="T56" fmla="*/ 2147483647 w 556"/>
              <a:gd name="T57" fmla="*/ 2147483647 h 821"/>
              <a:gd name="T58" fmla="*/ 2147483647 w 556"/>
              <a:gd name="T59" fmla="*/ 2147483647 h 821"/>
              <a:gd name="T60" fmla="*/ 2147483647 w 556"/>
              <a:gd name="T61" fmla="*/ 2147483647 h 821"/>
              <a:gd name="T62" fmla="*/ 2147483647 w 556"/>
              <a:gd name="T63" fmla="*/ 2147483647 h 821"/>
              <a:gd name="T64" fmla="*/ 2147483647 w 556"/>
              <a:gd name="T65" fmla="*/ 2147483647 h 821"/>
              <a:gd name="T66" fmla="*/ 2147483647 w 556"/>
              <a:gd name="T67" fmla="*/ 2147483647 h 821"/>
              <a:gd name="T68" fmla="*/ 2147483647 w 556"/>
              <a:gd name="T69" fmla="*/ 0 h 821"/>
              <a:gd name="T70" fmla="*/ 2147483647 w 556"/>
              <a:gd name="T71" fmla="*/ 0 h 821"/>
              <a:gd name="T72" fmla="*/ 2147483647 w 556"/>
              <a:gd name="T73" fmla="*/ 0 h 821"/>
              <a:gd name="T74" fmla="*/ 2147483647 w 556"/>
              <a:gd name="T75" fmla="*/ 0 h 821"/>
              <a:gd name="T76" fmla="*/ 2147483647 w 556"/>
              <a:gd name="T77" fmla="*/ 0 h 821"/>
              <a:gd name="T78" fmla="*/ 2147483647 w 556"/>
              <a:gd name="T79" fmla="*/ 0 h 821"/>
              <a:gd name="T80" fmla="*/ 2147483647 w 556"/>
              <a:gd name="T81" fmla="*/ 0 h 821"/>
              <a:gd name="T82" fmla="*/ 2147483647 w 556"/>
              <a:gd name="T83" fmla="*/ 0 h 821"/>
              <a:gd name="T84" fmla="*/ 0 w 556"/>
              <a:gd name="T85" fmla="*/ 0 h 821"/>
              <a:gd name="T86" fmla="*/ 0 w 556"/>
              <a:gd name="T87" fmla="*/ 2147483647 h 821"/>
              <a:gd name="T88" fmla="*/ 0 w 556"/>
              <a:gd name="T89" fmla="*/ 2147483647 h 821"/>
              <a:gd name="T90" fmla="*/ 0 w 556"/>
              <a:gd name="T91" fmla="*/ 2147483647 h 821"/>
              <a:gd name="T92" fmla="*/ 0 w 556"/>
              <a:gd name="T93" fmla="*/ 2147483647 h 821"/>
              <a:gd name="T94" fmla="*/ 0 w 556"/>
              <a:gd name="T95" fmla="*/ 2147483647 h 821"/>
              <a:gd name="T96" fmla="*/ 2147483647 w 556"/>
              <a:gd name="T97" fmla="*/ 2147483647 h 821"/>
              <a:gd name="T98" fmla="*/ 2147483647 w 556"/>
              <a:gd name="T99" fmla="*/ 2147483647 h 821"/>
              <a:gd name="T100" fmla="*/ 2147483647 w 556"/>
              <a:gd name="T101" fmla="*/ 2147483647 h 821"/>
              <a:gd name="T102" fmla="*/ 2147483647 w 556"/>
              <a:gd name="T103" fmla="*/ 2147483647 h 821"/>
              <a:gd name="T104" fmla="*/ 2147483647 w 556"/>
              <a:gd name="T105" fmla="*/ 2147483647 h 821"/>
              <a:gd name="T106" fmla="*/ 2147483647 w 556"/>
              <a:gd name="T107" fmla="*/ 2147483647 h 821"/>
              <a:gd name="T108" fmla="*/ 2147483647 w 556"/>
              <a:gd name="T109" fmla="*/ 2147483647 h 821"/>
              <a:gd name="T110" fmla="*/ 2147483647 w 556"/>
              <a:gd name="T111" fmla="*/ 2147483647 h 821"/>
              <a:gd name="T112" fmla="*/ 2147483647 w 556"/>
              <a:gd name="T113" fmla="*/ 2147483647 h 821"/>
              <a:gd name="T114" fmla="*/ 2147483647 w 556"/>
              <a:gd name="T115" fmla="*/ 2147483647 h 821"/>
              <a:gd name="T116" fmla="*/ 2147483647 w 556"/>
              <a:gd name="T117" fmla="*/ 2147483647 h 821"/>
              <a:gd name="T118" fmla="*/ 2147483647 w 556"/>
              <a:gd name="T119" fmla="*/ 2147483647 h 821"/>
              <a:gd name="T120" fmla="*/ 2147483647 w 556"/>
              <a:gd name="T121" fmla="*/ 2147483647 h 8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56"/>
              <a:gd name="T184" fmla="*/ 0 h 821"/>
              <a:gd name="T185" fmla="*/ 556 w 556"/>
              <a:gd name="T186" fmla="*/ 821 h 8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56" h="821">
                <a:moveTo>
                  <a:pt x="295" y="793"/>
                </a:moveTo>
                <a:lnTo>
                  <a:pt x="295" y="749"/>
                </a:lnTo>
                <a:lnTo>
                  <a:pt x="295" y="690"/>
                </a:lnTo>
                <a:lnTo>
                  <a:pt x="295" y="623"/>
                </a:lnTo>
                <a:lnTo>
                  <a:pt x="295" y="559"/>
                </a:lnTo>
                <a:lnTo>
                  <a:pt x="320" y="533"/>
                </a:lnTo>
                <a:lnTo>
                  <a:pt x="351" y="499"/>
                </a:lnTo>
                <a:lnTo>
                  <a:pt x="387" y="460"/>
                </a:lnTo>
                <a:lnTo>
                  <a:pt x="419" y="424"/>
                </a:lnTo>
                <a:lnTo>
                  <a:pt x="444" y="397"/>
                </a:lnTo>
                <a:lnTo>
                  <a:pt x="475" y="361"/>
                </a:lnTo>
                <a:lnTo>
                  <a:pt x="510" y="321"/>
                </a:lnTo>
                <a:lnTo>
                  <a:pt x="543" y="282"/>
                </a:lnTo>
                <a:lnTo>
                  <a:pt x="556" y="266"/>
                </a:lnTo>
                <a:lnTo>
                  <a:pt x="536" y="262"/>
                </a:lnTo>
                <a:lnTo>
                  <a:pt x="504" y="247"/>
                </a:lnTo>
                <a:lnTo>
                  <a:pt x="485" y="230"/>
                </a:lnTo>
                <a:lnTo>
                  <a:pt x="468" y="226"/>
                </a:lnTo>
                <a:lnTo>
                  <a:pt x="418" y="252"/>
                </a:lnTo>
                <a:lnTo>
                  <a:pt x="414" y="245"/>
                </a:lnTo>
                <a:lnTo>
                  <a:pt x="399" y="255"/>
                </a:lnTo>
                <a:lnTo>
                  <a:pt x="411" y="237"/>
                </a:lnTo>
                <a:lnTo>
                  <a:pt x="410" y="210"/>
                </a:lnTo>
                <a:lnTo>
                  <a:pt x="400" y="196"/>
                </a:lnTo>
                <a:lnTo>
                  <a:pt x="399" y="167"/>
                </a:lnTo>
                <a:lnTo>
                  <a:pt x="385" y="133"/>
                </a:lnTo>
                <a:lnTo>
                  <a:pt x="380" y="107"/>
                </a:lnTo>
                <a:lnTo>
                  <a:pt x="338" y="102"/>
                </a:lnTo>
                <a:lnTo>
                  <a:pt x="333" y="126"/>
                </a:lnTo>
                <a:lnTo>
                  <a:pt x="330" y="102"/>
                </a:lnTo>
                <a:lnTo>
                  <a:pt x="325" y="105"/>
                </a:lnTo>
                <a:lnTo>
                  <a:pt x="312" y="84"/>
                </a:lnTo>
                <a:lnTo>
                  <a:pt x="305" y="82"/>
                </a:lnTo>
                <a:lnTo>
                  <a:pt x="312" y="68"/>
                </a:lnTo>
                <a:lnTo>
                  <a:pt x="314" y="0"/>
                </a:lnTo>
                <a:lnTo>
                  <a:pt x="276" y="0"/>
                </a:lnTo>
                <a:lnTo>
                  <a:pt x="236" y="0"/>
                </a:lnTo>
                <a:lnTo>
                  <a:pt x="195" y="0"/>
                </a:lnTo>
                <a:lnTo>
                  <a:pt x="155" y="0"/>
                </a:lnTo>
                <a:lnTo>
                  <a:pt x="120" y="0"/>
                </a:lnTo>
                <a:lnTo>
                  <a:pt x="81" y="0"/>
                </a:lnTo>
                <a:lnTo>
                  <a:pt x="39" y="0"/>
                </a:lnTo>
                <a:lnTo>
                  <a:pt x="0" y="0"/>
                </a:lnTo>
                <a:lnTo>
                  <a:pt x="0" y="78"/>
                </a:lnTo>
                <a:lnTo>
                  <a:pt x="0" y="157"/>
                </a:lnTo>
                <a:lnTo>
                  <a:pt x="0" y="228"/>
                </a:lnTo>
                <a:lnTo>
                  <a:pt x="0" y="294"/>
                </a:lnTo>
                <a:lnTo>
                  <a:pt x="0" y="339"/>
                </a:lnTo>
                <a:lnTo>
                  <a:pt x="4" y="408"/>
                </a:lnTo>
                <a:lnTo>
                  <a:pt x="8" y="479"/>
                </a:lnTo>
                <a:lnTo>
                  <a:pt x="11" y="542"/>
                </a:lnTo>
                <a:lnTo>
                  <a:pt x="14" y="588"/>
                </a:lnTo>
                <a:lnTo>
                  <a:pt x="17" y="652"/>
                </a:lnTo>
                <a:lnTo>
                  <a:pt x="21" y="718"/>
                </a:lnTo>
                <a:lnTo>
                  <a:pt x="25" y="776"/>
                </a:lnTo>
                <a:lnTo>
                  <a:pt x="27" y="821"/>
                </a:lnTo>
                <a:lnTo>
                  <a:pt x="85" y="821"/>
                </a:lnTo>
                <a:lnTo>
                  <a:pt x="150" y="821"/>
                </a:lnTo>
                <a:lnTo>
                  <a:pt x="205" y="821"/>
                </a:lnTo>
                <a:lnTo>
                  <a:pt x="295" y="821"/>
                </a:lnTo>
                <a:lnTo>
                  <a:pt x="295" y="793"/>
                </a:lnTo>
                <a:close/>
              </a:path>
            </a:pathLst>
          </a:custGeom>
          <a:solidFill>
            <a:schemeClr val="accent1"/>
          </a:solidFill>
          <a:ln w="6350">
            <a:solidFill>
              <a:schemeClr val="tx2"/>
            </a:solidFill>
            <a:round/>
            <a:headEnd/>
            <a:tailEnd/>
          </a:ln>
        </p:spPr>
        <p:txBody>
          <a:bodyPr/>
          <a:lstStyle/>
          <a:p>
            <a:endParaRPr lang="en-US"/>
          </a:p>
        </p:txBody>
      </p:sp>
      <p:sp>
        <p:nvSpPr>
          <p:cNvPr id="210" name="Freeform 1110"/>
          <p:cNvSpPr>
            <a:spLocks/>
          </p:cNvSpPr>
          <p:nvPr/>
        </p:nvSpPr>
        <p:spPr bwMode="auto">
          <a:xfrm>
            <a:off x="3449825" y="3452965"/>
            <a:ext cx="153368" cy="152839"/>
          </a:xfrm>
          <a:custGeom>
            <a:avLst/>
            <a:gdLst>
              <a:gd name="T0" fmla="*/ 2147483647 w 324"/>
              <a:gd name="T1" fmla="*/ 2147483647 h 367"/>
              <a:gd name="T2" fmla="*/ 2147483647 w 324"/>
              <a:gd name="T3" fmla="*/ 2147483647 h 367"/>
              <a:gd name="T4" fmla="*/ 2147483647 w 324"/>
              <a:gd name="T5" fmla="*/ 2147483647 h 367"/>
              <a:gd name="T6" fmla="*/ 2147483647 w 324"/>
              <a:gd name="T7" fmla="*/ 2147483647 h 367"/>
              <a:gd name="T8" fmla="*/ 2147483647 w 324"/>
              <a:gd name="T9" fmla="*/ 2147483647 h 367"/>
              <a:gd name="T10" fmla="*/ 2147483647 w 324"/>
              <a:gd name="T11" fmla="*/ 2147483647 h 367"/>
              <a:gd name="T12" fmla="*/ 2147483647 w 324"/>
              <a:gd name="T13" fmla="*/ 2147483647 h 367"/>
              <a:gd name="T14" fmla="*/ 2147483647 w 324"/>
              <a:gd name="T15" fmla="*/ 2147483647 h 367"/>
              <a:gd name="T16" fmla="*/ 2147483647 w 324"/>
              <a:gd name="T17" fmla="*/ 2147483647 h 367"/>
              <a:gd name="T18" fmla="*/ 2147483647 w 324"/>
              <a:gd name="T19" fmla="*/ 2147483647 h 367"/>
              <a:gd name="T20" fmla="*/ 2147483647 w 324"/>
              <a:gd name="T21" fmla="*/ 2147483647 h 367"/>
              <a:gd name="T22" fmla="*/ 2147483647 w 324"/>
              <a:gd name="T23" fmla="*/ 2147483647 h 367"/>
              <a:gd name="T24" fmla="*/ 2147483647 w 324"/>
              <a:gd name="T25" fmla="*/ 2147483647 h 367"/>
              <a:gd name="T26" fmla="*/ 2147483647 w 324"/>
              <a:gd name="T27" fmla="*/ 2147483647 h 367"/>
              <a:gd name="T28" fmla="*/ 2147483647 w 324"/>
              <a:gd name="T29" fmla="*/ 2147483647 h 367"/>
              <a:gd name="T30" fmla="*/ 2147483647 w 324"/>
              <a:gd name="T31" fmla="*/ 2147483647 h 367"/>
              <a:gd name="T32" fmla="*/ 2147483647 w 324"/>
              <a:gd name="T33" fmla="*/ 2147483647 h 367"/>
              <a:gd name="T34" fmla="*/ 2147483647 w 324"/>
              <a:gd name="T35" fmla="*/ 2147483647 h 367"/>
              <a:gd name="T36" fmla="*/ 2147483647 w 324"/>
              <a:gd name="T37" fmla="*/ 2147483647 h 367"/>
              <a:gd name="T38" fmla="*/ 2147483647 w 324"/>
              <a:gd name="T39" fmla="*/ 2147483647 h 367"/>
              <a:gd name="T40" fmla="*/ 2147483647 w 324"/>
              <a:gd name="T41" fmla="*/ 2147483647 h 367"/>
              <a:gd name="T42" fmla="*/ 2147483647 w 324"/>
              <a:gd name="T43" fmla="*/ 2147483647 h 367"/>
              <a:gd name="T44" fmla="*/ 2147483647 w 324"/>
              <a:gd name="T45" fmla="*/ 2147483647 h 367"/>
              <a:gd name="T46" fmla="*/ 2147483647 w 324"/>
              <a:gd name="T47" fmla="*/ 2147483647 h 367"/>
              <a:gd name="T48" fmla="*/ 2147483647 w 324"/>
              <a:gd name="T49" fmla="*/ 2147483647 h 367"/>
              <a:gd name="T50" fmla="*/ 2147483647 w 324"/>
              <a:gd name="T51" fmla="*/ 2147483647 h 367"/>
              <a:gd name="T52" fmla="*/ 2147483647 w 324"/>
              <a:gd name="T53" fmla="*/ 2147483647 h 367"/>
              <a:gd name="T54" fmla="*/ 2147483647 w 324"/>
              <a:gd name="T55" fmla="*/ 2147483647 h 367"/>
              <a:gd name="T56" fmla="*/ 2147483647 w 324"/>
              <a:gd name="T57" fmla="*/ 0 h 367"/>
              <a:gd name="T58" fmla="*/ 2147483647 w 324"/>
              <a:gd name="T59" fmla="*/ 2147483647 h 367"/>
              <a:gd name="T60" fmla="*/ 0 w 324"/>
              <a:gd name="T61" fmla="*/ 2147483647 h 367"/>
              <a:gd name="T62" fmla="*/ 2147483647 w 324"/>
              <a:gd name="T63" fmla="*/ 2147483647 h 367"/>
              <a:gd name="T64" fmla="*/ 2147483647 w 324"/>
              <a:gd name="T65" fmla="*/ 2147483647 h 367"/>
              <a:gd name="T66" fmla="*/ 2147483647 w 324"/>
              <a:gd name="T67" fmla="*/ 2147483647 h 367"/>
              <a:gd name="T68" fmla="*/ 2147483647 w 324"/>
              <a:gd name="T69" fmla="*/ 2147483647 h 367"/>
              <a:gd name="T70" fmla="*/ 2147483647 w 324"/>
              <a:gd name="T71" fmla="*/ 2147483647 h 367"/>
              <a:gd name="T72" fmla="*/ 2147483647 w 324"/>
              <a:gd name="T73" fmla="*/ 2147483647 h 367"/>
              <a:gd name="T74" fmla="*/ 2147483647 w 324"/>
              <a:gd name="T75" fmla="*/ 2147483647 h 367"/>
              <a:gd name="T76" fmla="*/ 2147483647 w 324"/>
              <a:gd name="T77" fmla="*/ 2147483647 h 367"/>
              <a:gd name="T78" fmla="*/ 2147483647 w 324"/>
              <a:gd name="T79" fmla="*/ 2147483647 h 367"/>
              <a:gd name="T80" fmla="*/ 2147483647 w 324"/>
              <a:gd name="T81" fmla="*/ 2147483647 h 367"/>
              <a:gd name="T82" fmla="*/ 2147483647 w 324"/>
              <a:gd name="T83" fmla="*/ 2147483647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4"/>
              <a:gd name="T127" fmla="*/ 0 h 367"/>
              <a:gd name="T128" fmla="*/ 324 w 324"/>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4" h="367">
                <a:moveTo>
                  <a:pt x="48" y="367"/>
                </a:moveTo>
                <a:lnTo>
                  <a:pt x="90" y="367"/>
                </a:lnTo>
                <a:lnTo>
                  <a:pt x="145" y="367"/>
                </a:lnTo>
                <a:lnTo>
                  <a:pt x="206" y="367"/>
                </a:lnTo>
                <a:lnTo>
                  <a:pt x="260" y="367"/>
                </a:lnTo>
                <a:lnTo>
                  <a:pt x="254" y="343"/>
                </a:lnTo>
                <a:lnTo>
                  <a:pt x="235" y="329"/>
                </a:lnTo>
                <a:lnTo>
                  <a:pt x="222" y="311"/>
                </a:lnTo>
                <a:lnTo>
                  <a:pt x="209" y="308"/>
                </a:lnTo>
                <a:lnTo>
                  <a:pt x="191" y="293"/>
                </a:lnTo>
                <a:lnTo>
                  <a:pt x="194" y="261"/>
                </a:lnTo>
                <a:lnTo>
                  <a:pt x="198" y="253"/>
                </a:lnTo>
                <a:lnTo>
                  <a:pt x="188" y="242"/>
                </a:lnTo>
                <a:lnTo>
                  <a:pt x="188" y="235"/>
                </a:lnTo>
                <a:lnTo>
                  <a:pt x="196" y="222"/>
                </a:lnTo>
                <a:lnTo>
                  <a:pt x="213" y="212"/>
                </a:lnTo>
                <a:lnTo>
                  <a:pt x="213" y="176"/>
                </a:lnTo>
                <a:lnTo>
                  <a:pt x="219" y="170"/>
                </a:lnTo>
                <a:lnTo>
                  <a:pt x="222" y="175"/>
                </a:lnTo>
                <a:lnTo>
                  <a:pt x="258" y="141"/>
                </a:lnTo>
                <a:lnTo>
                  <a:pt x="324" y="93"/>
                </a:lnTo>
                <a:lnTo>
                  <a:pt x="276" y="82"/>
                </a:lnTo>
                <a:lnTo>
                  <a:pt x="253" y="88"/>
                </a:lnTo>
                <a:lnTo>
                  <a:pt x="192" y="52"/>
                </a:lnTo>
                <a:lnTo>
                  <a:pt x="157" y="55"/>
                </a:lnTo>
                <a:lnTo>
                  <a:pt x="136" y="45"/>
                </a:lnTo>
                <a:lnTo>
                  <a:pt x="118" y="46"/>
                </a:lnTo>
                <a:lnTo>
                  <a:pt x="101" y="1"/>
                </a:lnTo>
                <a:lnTo>
                  <a:pt x="90" y="0"/>
                </a:lnTo>
                <a:lnTo>
                  <a:pt x="90" y="28"/>
                </a:lnTo>
                <a:lnTo>
                  <a:pt x="0" y="28"/>
                </a:lnTo>
                <a:lnTo>
                  <a:pt x="6" y="49"/>
                </a:lnTo>
                <a:lnTo>
                  <a:pt x="4" y="81"/>
                </a:lnTo>
                <a:lnTo>
                  <a:pt x="16" y="117"/>
                </a:lnTo>
                <a:lnTo>
                  <a:pt x="17" y="153"/>
                </a:lnTo>
                <a:lnTo>
                  <a:pt x="18" y="177"/>
                </a:lnTo>
                <a:lnTo>
                  <a:pt x="28" y="207"/>
                </a:lnTo>
                <a:lnTo>
                  <a:pt x="29" y="220"/>
                </a:lnTo>
                <a:lnTo>
                  <a:pt x="16" y="242"/>
                </a:lnTo>
                <a:lnTo>
                  <a:pt x="34" y="260"/>
                </a:lnTo>
                <a:lnTo>
                  <a:pt x="34" y="367"/>
                </a:lnTo>
                <a:lnTo>
                  <a:pt x="48" y="367"/>
                </a:lnTo>
                <a:close/>
              </a:path>
            </a:pathLst>
          </a:custGeom>
          <a:solidFill>
            <a:schemeClr val="accent1"/>
          </a:solidFill>
          <a:ln w="6350">
            <a:solidFill>
              <a:schemeClr val="tx2"/>
            </a:solidFill>
            <a:round/>
            <a:headEnd/>
            <a:tailEnd/>
          </a:ln>
        </p:spPr>
        <p:txBody>
          <a:bodyPr/>
          <a:lstStyle/>
          <a:p>
            <a:endParaRPr lang="en-US"/>
          </a:p>
        </p:txBody>
      </p:sp>
      <p:sp>
        <p:nvSpPr>
          <p:cNvPr id="211" name="Freeform 1111"/>
          <p:cNvSpPr>
            <a:spLocks/>
          </p:cNvSpPr>
          <p:nvPr/>
        </p:nvSpPr>
        <p:spPr bwMode="auto">
          <a:xfrm>
            <a:off x="3464159" y="3605804"/>
            <a:ext cx="130434" cy="76420"/>
          </a:xfrm>
          <a:custGeom>
            <a:avLst/>
            <a:gdLst>
              <a:gd name="T0" fmla="*/ 2147483647 w 281"/>
              <a:gd name="T1" fmla="*/ 0 h 181"/>
              <a:gd name="T2" fmla="*/ 2147483647 w 281"/>
              <a:gd name="T3" fmla="*/ 0 h 181"/>
              <a:gd name="T4" fmla="*/ 2147483647 w 281"/>
              <a:gd name="T5" fmla="*/ 0 h 181"/>
              <a:gd name="T6" fmla="*/ 2147483647 w 281"/>
              <a:gd name="T7" fmla="*/ 0 h 181"/>
              <a:gd name="T8" fmla="*/ 2147483647 w 281"/>
              <a:gd name="T9" fmla="*/ 0 h 181"/>
              <a:gd name="T10" fmla="*/ 2147483647 w 281"/>
              <a:gd name="T11" fmla="*/ 2147483647 h 181"/>
              <a:gd name="T12" fmla="*/ 2147483647 w 281"/>
              <a:gd name="T13" fmla="*/ 2147483647 h 181"/>
              <a:gd name="T14" fmla="*/ 2147483647 w 281"/>
              <a:gd name="T15" fmla="*/ 2147483647 h 181"/>
              <a:gd name="T16" fmla="*/ 2147483647 w 281"/>
              <a:gd name="T17" fmla="*/ 2147483647 h 181"/>
              <a:gd name="T18" fmla="*/ 2147483647 w 281"/>
              <a:gd name="T19" fmla="*/ 2147483647 h 181"/>
              <a:gd name="T20" fmla="*/ 2147483647 w 281"/>
              <a:gd name="T21" fmla="*/ 2147483647 h 181"/>
              <a:gd name="T22" fmla="*/ 2147483647 w 281"/>
              <a:gd name="T23" fmla="*/ 2147483647 h 181"/>
              <a:gd name="T24" fmla="*/ 2147483647 w 281"/>
              <a:gd name="T25" fmla="*/ 2147483647 h 181"/>
              <a:gd name="T26" fmla="*/ 2147483647 w 281"/>
              <a:gd name="T27" fmla="*/ 2147483647 h 181"/>
              <a:gd name="T28" fmla="*/ 2147483647 w 281"/>
              <a:gd name="T29" fmla="*/ 2147483647 h 181"/>
              <a:gd name="T30" fmla="*/ 2147483647 w 281"/>
              <a:gd name="T31" fmla="*/ 2147483647 h 181"/>
              <a:gd name="T32" fmla="*/ 2147483647 w 281"/>
              <a:gd name="T33" fmla="*/ 2147483647 h 181"/>
              <a:gd name="T34" fmla="*/ 2147483647 w 281"/>
              <a:gd name="T35" fmla="*/ 2147483647 h 181"/>
              <a:gd name="T36" fmla="*/ 2147483647 w 281"/>
              <a:gd name="T37" fmla="*/ 2147483647 h 181"/>
              <a:gd name="T38" fmla="*/ 2147483647 w 281"/>
              <a:gd name="T39" fmla="*/ 2147483647 h 181"/>
              <a:gd name="T40" fmla="*/ 2147483647 w 281"/>
              <a:gd name="T41" fmla="*/ 2147483647 h 181"/>
              <a:gd name="T42" fmla="*/ 2147483647 w 281"/>
              <a:gd name="T43" fmla="*/ 2147483647 h 181"/>
              <a:gd name="T44" fmla="*/ 2147483647 w 281"/>
              <a:gd name="T45" fmla="*/ 2147483647 h 181"/>
              <a:gd name="T46" fmla="*/ 2147483647 w 281"/>
              <a:gd name="T47" fmla="*/ 2147483647 h 181"/>
              <a:gd name="T48" fmla="*/ 2147483647 w 281"/>
              <a:gd name="T49" fmla="*/ 2147483647 h 181"/>
              <a:gd name="T50" fmla="*/ 2147483647 w 281"/>
              <a:gd name="T51" fmla="*/ 2147483647 h 181"/>
              <a:gd name="T52" fmla="*/ 2147483647 w 281"/>
              <a:gd name="T53" fmla="*/ 2147483647 h 181"/>
              <a:gd name="T54" fmla="*/ 2147483647 w 281"/>
              <a:gd name="T55" fmla="*/ 2147483647 h 181"/>
              <a:gd name="T56" fmla="*/ 2147483647 w 281"/>
              <a:gd name="T57" fmla="*/ 2147483647 h 181"/>
              <a:gd name="T58" fmla="*/ 2147483647 w 281"/>
              <a:gd name="T59" fmla="*/ 2147483647 h 181"/>
              <a:gd name="T60" fmla="*/ 2147483647 w 281"/>
              <a:gd name="T61" fmla="*/ 2147483647 h 181"/>
              <a:gd name="T62" fmla="*/ 2147483647 w 281"/>
              <a:gd name="T63" fmla="*/ 2147483647 h 181"/>
              <a:gd name="T64" fmla="*/ 2147483647 w 281"/>
              <a:gd name="T65" fmla="*/ 2147483647 h 181"/>
              <a:gd name="T66" fmla="*/ 2147483647 w 281"/>
              <a:gd name="T67" fmla="*/ 2147483647 h 181"/>
              <a:gd name="T68" fmla="*/ 2147483647 w 281"/>
              <a:gd name="T69" fmla="*/ 2147483647 h 181"/>
              <a:gd name="T70" fmla="*/ 2147483647 w 281"/>
              <a:gd name="T71" fmla="*/ 2147483647 h 181"/>
              <a:gd name="T72" fmla="*/ 0 w 281"/>
              <a:gd name="T73" fmla="*/ 2147483647 h 181"/>
              <a:gd name="T74" fmla="*/ 2147483647 w 281"/>
              <a:gd name="T75" fmla="*/ 2147483647 h 181"/>
              <a:gd name="T76" fmla="*/ 2147483647 w 281"/>
              <a:gd name="T77" fmla="*/ 2147483647 h 181"/>
              <a:gd name="T78" fmla="*/ 2147483647 w 281"/>
              <a:gd name="T79" fmla="*/ 0 h 181"/>
              <a:gd name="T80" fmla="*/ 2147483647 w 281"/>
              <a:gd name="T81" fmla="*/ 0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1"/>
              <a:gd name="T124" fmla="*/ 0 h 181"/>
              <a:gd name="T125" fmla="*/ 281 w 281"/>
              <a:gd name="T126" fmla="*/ 181 h 1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1" h="181">
                <a:moveTo>
                  <a:pt x="23" y="0"/>
                </a:moveTo>
                <a:lnTo>
                  <a:pt x="65" y="0"/>
                </a:lnTo>
                <a:lnTo>
                  <a:pt x="120" y="0"/>
                </a:lnTo>
                <a:lnTo>
                  <a:pt x="181" y="0"/>
                </a:lnTo>
                <a:lnTo>
                  <a:pt x="235" y="0"/>
                </a:lnTo>
                <a:lnTo>
                  <a:pt x="242" y="46"/>
                </a:lnTo>
                <a:lnTo>
                  <a:pt x="257" y="51"/>
                </a:lnTo>
                <a:lnTo>
                  <a:pt x="259" y="61"/>
                </a:lnTo>
                <a:lnTo>
                  <a:pt x="280" y="81"/>
                </a:lnTo>
                <a:lnTo>
                  <a:pt x="281" y="89"/>
                </a:lnTo>
                <a:lnTo>
                  <a:pt x="279" y="99"/>
                </a:lnTo>
                <a:lnTo>
                  <a:pt x="272" y="112"/>
                </a:lnTo>
                <a:lnTo>
                  <a:pt x="242" y="122"/>
                </a:lnTo>
                <a:lnTo>
                  <a:pt x="240" y="132"/>
                </a:lnTo>
                <a:lnTo>
                  <a:pt x="246" y="139"/>
                </a:lnTo>
                <a:lnTo>
                  <a:pt x="246" y="147"/>
                </a:lnTo>
                <a:lnTo>
                  <a:pt x="238" y="164"/>
                </a:lnTo>
                <a:lnTo>
                  <a:pt x="227" y="170"/>
                </a:lnTo>
                <a:lnTo>
                  <a:pt x="228" y="179"/>
                </a:lnTo>
                <a:lnTo>
                  <a:pt x="224" y="181"/>
                </a:lnTo>
                <a:lnTo>
                  <a:pt x="213" y="168"/>
                </a:lnTo>
                <a:lnTo>
                  <a:pt x="178" y="168"/>
                </a:lnTo>
                <a:lnTo>
                  <a:pt x="128" y="168"/>
                </a:lnTo>
                <a:lnTo>
                  <a:pt x="82" y="168"/>
                </a:lnTo>
                <a:lnTo>
                  <a:pt x="38" y="168"/>
                </a:lnTo>
                <a:lnTo>
                  <a:pt x="34" y="161"/>
                </a:lnTo>
                <a:lnTo>
                  <a:pt x="36" y="152"/>
                </a:lnTo>
                <a:lnTo>
                  <a:pt x="34" y="142"/>
                </a:lnTo>
                <a:lnTo>
                  <a:pt x="34" y="128"/>
                </a:lnTo>
                <a:lnTo>
                  <a:pt x="30" y="126"/>
                </a:lnTo>
                <a:lnTo>
                  <a:pt x="32" y="119"/>
                </a:lnTo>
                <a:lnTo>
                  <a:pt x="25" y="114"/>
                </a:lnTo>
                <a:lnTo>
                  <a:pt x="26" y="100"/>
                </a:lnTo>
                <a:lnTo>
                  <a:pt x="14" y="77"/>
                </a:lnTo>
                <a:lnTo>
                  <a:pt x="11" y="59"/>
                </a:lnTo>
                <a:lnTo>
                  <a:pt x="7" y="58"/>
                </a:lnTo>
                <a:lnTo>
                  <a:pt x="0" y="45"/>
                </a:lnTo>
                <a:lnTo>
                  <a:pt x="9" y="23"/>
                </a:lnTo>
                <a:lnTo>
                  <a:pt x="3" y="16"/>
                </a:lnTo>
                <a:lnTo>
                  <a:pt x="2" y="0"/>
                </a:lnTo>
                <a:lnTo>
                  <a:pt x="23" y="0"/>
                </a:lnTo>
                <a:close/>
              </a:path>
            </a:pathLst>
          </a:custGeom>
          <a:solidFill>
            <a:schemeClr val="accent1"/>
          </a:solidFill>
          <a:ln w="6350">
            <a:solidFill>
              <a:schemeClr val="tx2"/>
            </a:solidFill>
            <a:round/>
            <a:headEnd/>
            <a:tailEnd/>
          </a:ln>
        </p:spPr>
        <p:txBody>
          <a:bodyPr/>
          <a:lstStyle/>
          <a:p>
            <a:endParaRPr lang="en-US"/>
          </a:p>
        </p:txBody>
      </p:sp>
      <p:sp>
        <p:nvSpPr>
          <p:cNvPr id="212" name="Freeform 1112"/>
          <p:cNvSpPr>
            <a:spLocks/>
          </p:cNvSpPr>
          <p:nvPr/>
        </p:nvSpPr>
        <p:spPr bwMode="auto">
          <a:xfrm>
            <a:off x="3608927" y="3711518"/>
            <a:ext cx="151934" cy="59862"/>
          </a:xfrm>
          <a:custGeom>
            <a:avLst/>
            <a:gdLst>
              <a:gd name="T0" fmla="*/ 2147483647 w 324"/>
              <a:gd name="T1" fmla="*/ 2147483647 h 146"/>
              <a:gd name="T2" fmla="*/ 2147483647 w 324"/>
              <a:gd name="T3" fmla="*/ 2147483647 h 146"/>
              <a:gd name="T4" fmla="*/ 2147483647 w 324"/>
              <a:gd name="T5" fmla="*/ 2147483647 h 146"/>
              <a:gd name="T6" fmla="*/ 2147483647 w 324"/>
              <a:gd name="T7" fmla="*/ 2147483647 h 146"/>
              <a:gd name="T8" fmla="*/ 2147483647 w 324"/>
              <a:gd name="T9" fmla="*/ 2147483647 h 146"/>
              <a:gd name="T10" fmla="*/ 2147483647 w 324"/>
              <a:gd name="T11" fmla="*/ 2147483647 h 146"/>
              <a:gd name="T12" fmla="*/ 2147483647 w 324"/>
              <a:gd name="T13" fmla="*/ 2147483647 h 146"/>
              <a:gd name="T14" fmla="*/ 2147483647 w 324"/>
              <a:gd name="T15" fmla="*/ 2147483647 h 146"/>
              <a:gd name="T16" fmla="*/ 2147483647 w 324"/>
              <a:gd name="T17" fmla="*/ 2147483647 h 146"/>
              <a:gd name="T18" fmla="*/ 2147483647 w 324"/>
              <a:gd name="T19" fmla="*/ 2147483647 h 146"/>
              <a:gd name="T20" fmla="*/ 2147483647 w 324"/>
              <a:gd name="T21" fmla="*/ 2147483647 h 146"/>
              <a:gd name="T22" fmla="*/ 2147483647 w 324"/>
              <a:gd name="T23" fmla="*/ 2147483647 h 146"/>
              <a:gd name="T24" fmla="*/ 2147483647 w 324"/>
              <a:gd name="T25" fmla="*/ 2147483647 h 146"/>
              <a:gd name="T26" fmla="*/ 2147483647 w 324"/>
              <a:gd name="T27" fmla="*/ 2147483647 h 146"/>
              <a:gd name="T28" fmla="*/ 2147483647 w 324"/>
              <a:gd name="T29" fmla="*/ 2147483647 h 146"/>
              <a:gd name="T30" fmla="*/ 2147483647 w 324"/>
              <a:gd name="T31" fmla="*/ 2147483647 h 146"/>
              <a:gd name="T32" fmla="*/ 2147483647 w 324"/>
              <a:gd name="T33" fmla="*/ 2147483647 h 146"/>
              <a:gd name="T34" fmla="*/ 2147483647 w 324"/>
              <a:gd name="T35" fmla="*/ 2147483647 h 146"/>
              <a:gd name="T36" fmla="*/ 2147483647 w 324"/>
              <a:gd name="T37" fmla="*/ 2147483647 h 146"/>
              <a:gd name="T38" fmla="*/ 2147483647 w 324"/>
              <a:gd name="T39" fmla="*/ 2147483647 h 146"/>
              <a:gd name="T40" fmla="*/ 2147483647 w 324"/>
              <a:gd name="T41" fmla="*/ 2147483647 h 146"/>
              <a:gd name="T42" fmla="*/ 2147483647 w 324"/>
              <a:gd name="T43" fmla="*/ 0 h 146"/>
              <a:gd name="T44" fmla="*/ 2147483647 w 324"/>
              <a:gd name="T45" fmla="*/ 2147483647 h 146"/>
              <a:gd name="T46" fmla="*/ 2147483647 w 324"/>
              <a:gd name="T47" fmla="*/ 2147483647 h 146"/>
              <a:gd name="T48" fmla="*/ 2147483647 w 324"/>
              <a:gd name="T49" fmla="*/ 2147483647 h 146"/>
              <a:gd name="T50" fmla="*/ 2147483647 w 324"/>
              <a:gd name="T51" fmla="*/ 2147483647 h 146"/>
              <a:gd name="T52" fmla="*/ 2147483647 w 324"/>
              <a:gd name="T53" fmla="*/ 2147483647 h 146"/>
              <a:gd name="T54" fmla="*/ 2147483647 w 324"/>
              <a:gd name="T55" fmla="*/ 2147483647 h 146"/>
              <a:gd name="T56" fmla="*/ 2147483647 w 324"/>
              <a:gd name="T57" fmla="*/ 2147483647 h 146"/>
              <a:gd name="T58" fmla="*/ 2147483647 w 324"/>
              <a:gd name="T59" fmla="*/ 2147483647 h 146"/>
              <a:gd name="T60" fmla="*/ 2147483647 w 324"/>
              <a:gd name="T61" fmla="*/ 2147483647 h 146"/>
              <a:gd name="T62" fmla="*/ 2147483647 w 324"/>
              <a:gd name="T63" fmla="*/ 2147483647 h 146"/>
              <a:gd name="T64" fmla="*/ 2147483647 w 324"/>
              <a:gd name="T65" fmla="*/ 2147483647 h 146"/>
              <a:gd name="T66" fmla="*/ 2147483647 w 324"/>
              <a:gd name="T67" fmla="*/ 2147483647 h 146"/>
              <a:gd name="T68" fmla="*/ 2147483647 w 324"/>
              <a:gd name="T69" fmla="*/ 2147483647 h 146"/>
              <a:gd name="T70" fmla="*/ 2147483647 w 324"/>
              <a:gd name="T71" fmla="*/ 2147483647 h 146"/>
              <a:gd name="T72" fmla="*/ 2147483647 w 324"/>
              <a:gd name="T73" fmla="*/ 2147483647 h 146"/>
              <a:gd name="T74" fmla="*/ 2147483647 w 324"/>
              <a:gd name="T75" fmla="*/ 2147483647 h 146"/>
              <a:gd name="T76" fmla="*/ 2147483647 w 324"/>
              <a:gd name="T77" fmla="*/ 2147483647 h 146"/>
              <a:gd name="T78" fmla="*/ 2147483647 w 324"/>
              <a:gd name="T79" fmla="*/ 2147483647 h 146"/>
              <a:gd name="T80" fmla="*/ 2147483647 w 324"/>
              <a:gd name="T81" fmla="*/ 2147483647 h 146"/>
              <a:gd name="T82" fmla="*/ 2147483647 w 324"/>
              <a:gd name="T83" fmla="*/ 2147483647 h 146"/>
              <a:gd name="T84" fmla="*/ 2147483647 w 324"/>
              <a:gd name="T85" fmla="*/ 2147483647 h 146"/>
              <a:gd name="T86" fmla="*/ 2147483647 w 324"/>
              <a:gd name="T87" fmla="*/ 2147483647 h 146"/>
              <a:gd name="T88" fmla="*/ 2147483647 w 324"/>
              <a:gd name="T89" fmla="*/ 2147483647 h 146"/>
              <a:gd name="T90" fmla="*/ 2147483647 w 324"/>
              <a:gd name="T91" fmla="*/ 2147483647 h 146"/>
              <a:gd name="T92" fmla="*/ 2147483647 w 324"/>
              <a:gd name="T93" fmla="*/ 2147483647 h 146"/>
              <a:gd name="T94" fmla="*/ 2147483647 w 324"/>
              <a:gd name="T95" fmla="*/ 2147483647 h 146"/>
              <a:gd name="T96" fmla="*/ 2147483647 w 324"/>
              <a:gd name="T97" fmla="*/ 2147483647 h 146"/>
              <a:gd name="T98" fmla="*/ 2147483647 w 324"/>
              <a:gd name="T99" fmla="*/ 2147483647 h 146"/>
              <a:gd name="T100" fmla="*/ 2147483647 w 324"/>
              <a:gd name="T101" fmla="*/ 2147483647 h 146"/>
              <a:gd name="T102" fmla="*/ 2147483647 w 324"/>
              <a:gd name="T103" fmla="*/ 2147483647 h 146"/>
              <a:gd name="T104" fmla="*/ 2147483647 w 324"/>
              <a:gd name="T105" fmla="*/ 2147483647 h 146"/>
              <a:gd name="T106" fmla="*/ 2147483647 w 324"/>
              <a:gd name="T107" fmla="*/ 2147483647 h 146"/>
              <a:gd name="T108" fmla="*/ 2147483647 w 324"/>
              <a:gd name="T109" fmla="*/ 2147483647 h 146"/>
              <a:gd name="T110" fmla="*/ 0 w 324"/>
              <a:gd name="T111" fmla="*/ 2147483647 h 146"/>
              <a:gd name="T112" fmla="*/ 2147483647 w 324"/>
              <a:gd name="T113" fmla="*/ 2147483647 h 146"/>
              <a:gd name="T114" fmla="*/ 2147483647 w 324"/>
              <a:gd name="T115" fmla="*/ 2147483647 h 146"/>
              <a:gd name="T116" fmla="*/ 2147483647 w 324"/>
              <a:gd name="T117" fmla="*/ 2147483647 h 1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4"/>
              <a:gd name="T178" fmla="*/ 0 h 146"/>
              <a:gd name="T179" fmla="*/ 324 w 324"/>
              <a:gd name="T180" fmla="*/ 146 h 1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4" h="146">
                <a:moveTo>
                  <a:pt x="108" y="133"/>
                </a:moveTo>
                <a:lnTo>
                  <a:pt x="158" y="134"/>
                </a:lnTo>
                <a:lnTo>
                  <a:pt x="187" y="134"/>
                </a:lnTo>
                <a:lnTo>
                  <a:pt x="250" y="134"/>
                </a:lnTo>
                <a:lnTo>
                  <a:pt x="273" y="130"/>
                </a:lnTo>
                <a:lnTo>
                  <a:pt x="285" y="122"/>
                </a:lnTo>
                <a:lnTo>
                  <a:pt x="292" y="109"/>
                </a:lnTo>
                <a:lnTo>
                  <a:pt x="324" y="87"/>
                </a:lnTo>
                <a:lnTo>
                  <a:pt x="309" y="80"/>
                </a:lnTo>
                <a:lnTo>
                  <a:pt x="295" y="54"/>
                </a:lnTo>
                <a:lnTo>
                  <a:pt x="297" y="40"/>
                </a:lnTo>
                <a:lnTo>
                  <a:pt x="287" y="31"/>
                </a:lnTo>
                <a:lnTo>
                  <a:pt x="284" y="22"/>
                </a:lnTo>
                <a:lnTo>
                  <a:pt x="272" y="29"/>
                </a:lnTo>
                <a:lnTo>
                  <a:pt x="266" y="30"/>
                </a:lnTo>
                <a:lnTo>
                  <a:pt x="257" y="24"/>
                </a:lnTo>
                <a:lnTo>
                  <a:pt x="251" y="28"/>
                </a:lnTo>
                <a:lnTo>
                  <a:pt x="247" y="27"/>
                </a:lnTo>
                <a:lnTo>
                  <a:pt x="242" y="21"/>
                </a:lnTo>
                <a:lnTo>
                  <a:pt x="227" y="18"/>
                </a:lnTo>
                <a:lnTo>
                  <a:pt x="216" y="2"/>
                </a:lnTo>
                <a:lnTo>
                  <a:pt x="204" y="0"/>
                </a:lnTo>
                <a:lnTo>
                  <a:pt x="198" y="5"/>
                </a:lnTo>
                <a:lnTo>
                  <a:pt x="201" y="20"/>
                </a:lnTo>
                <a:lnTo>
                  <a:pt x="185" y="25"/>
                </a:lnTo>
                <a:lnTo>
                  <a:pt x="174" y="23"/>
                </a:lnTo>
                <a:lnTo>
                  <a:pt x="175" y="33"/>
                </a:lnTo>
                <a:lnTo>
                  <a:pt x="167" y="38"/>
                </a:lnTo>
                <a:lnTo>
                  <a:pt x="164" y="46"/>
                </a:lnTo>
                <a:lnTo>
                  <a:pt x="158" y="47"/>
                </a:lnTo>
                <a:lnTo>
                  <a:pt x="154" y="61"/>
                </a:lnTo>
                <a:lnTo>
                  <a:pt x="148" y="65"/>
                </a:lnTo>
                <a:lnTo>
                  <a:pt x="134" y="52"/>
                </a:lnTo>
                <a:lnTo>
                  <a:pt x="135" y="56"/>
                </a:lnTo>
                <a:lnTo>
                  <a:pt x="130" y="56"/>
                </a:lnTo>
                <a:lnTo>
                  <a:pt x="123" y="71"/>
                </a:lnTo>
                <a:lnTo>
                  <a:pt x="114" y="63"/>
                </a:lnTo>
                <a:lnTo>
                  <a:pt x="102" y="74"/>
                </a:lnTo>
                <a:lnTo>
                  <a:pt x="81" y="64"/>
                </a:lnTo>
                <a:lnTo>
                  <a:pt x="79" y="72"/>
                </a:lnTo>
                <a:lnTo>
                  <a:pt x="77" y="68"/>
                </a:lnTo>
                <a:lnTo>
                  <a:pt x="69" y="67"/>
                </a:lnTo>
                <a:lnTo>
                  <a:pt x="66" y="75"/>
                </a:lnTo>
                <a:lnTo>
                  <a:pt x="62" y="72"/>
                </a:lnTo>
                <a:lnTo>
                  <a:pt x="57" y="81"/>
                </a:lnTo>
                <a:lnTo>
                  <a:pt x="60" y="90"/>
                </a:lnTo>
                <a:lnTo>
                  <a:pt x="43" y="95"/>
                </a:lnTo>
                <a:lnTo>
                  <a:pt x="46" y="108"/>
                </a:lnTo>
                <a:lnTo>
                  <a:pt x="41" y="113"/>
                </a:lnTo>
                <a:lnTo>
                  <a:pt x="21" y="104"/>
                </a:lnTo>
                <a:lnTo>
                  <a:pt x="13" y="112"/>
                </a:lnTo>
                <a:lnTo>
                  <a:pt x="16" y="118"/>
                </a:lnTo>
                <a:lnTo>
                  <a:pt x="15" y="129"/>
                </a:lnTo>
                <a:lnTo>
                  <a:pt x="10" y="140"/>
                </a:lnTo>
                <a:lnTo>
                  <a:pt x="5" y="137"/>
                </a:lnTo>
                <a:lnTo>
                  <a:pt x="0" y="146"/>
                </a:lnTo>
                <a:lnTo>
                  <a:pt x="62" y="143"/>
                </a:lnTo>
                <a:lnTo>
                  <a:pt x="61" y="133"/>
                </a:lnTo>
                <a:lnTo>
                  <a:pt x="108" y="133"/>
                </a:lnTo>
                <a:close/>
              </a:path>
            </a:pathLst>
          </a:custGeom>
          <a:solidFill>
            <a:schemeClr val="accent1"/>
          </a:solidFill>
          <a:ln w="6350">
            <a:solidFill>
              <a:schemeClr val="tx2"/>
            </a:solidFill>
            <a:round/>
            <a:headEnd/>
            <a:tailEnd/>
          </a:ln>
        </p:spPr>
        <p:txBody>
          <a:bodyPr/>
          <a:lstStyle/>
          <a:p>
            <a:endParaRPr lang="en-US"/>
          </a:p>
        </p:txBody>
      </p:sp>
      <p:sp>
        <p:nvSpPr>
          <p:cNvPr id="213" name="Freeform 1113"/>
          <p:cNvSpPr>
            <a:spLocks/>
          </p:cNvSpPr>
          <p:nvPr/>
        </p:nvSpPr>
        <p:spPr bwMode="auto">
          <a:xfrm>
            <a:off x="3504293" y="3770106"/>
            <a:ext cx="100334" cy="76420"/>
          </a:xfrm>
          <a:custGeom>
            <a:avLst/>
            <a:gdLst>
              <a:gd name="T0" fmla="*/ 2147483647 w 213"/>
              <a:gd name="T1" fmla="*/ 0 h 181"/>
              <a:gd name="T2" fmla="*/ 2147483647 w 213"/>
              <a:gd name="T3" fmla="*/ 0 h 181"/>
              <a:gd name="T4" fmla="*/ 2147483647 w 213"/>
              <a:gd name="T5" fmla="*/ 0 h 181"/>
              <a:gd name="T6" fmla="*/ 0 w 213"/>
              <a:gd name="T7" fmla="*/ 0 h 181"/>
              <a:gd name="T8" fmla="*/ 2147483647 w 213"/>
              <a:gd name="T9" fmla="*/ 2147483647 h 181"/>
              <a:gd name="T10" fmla="*/ 2147483647 w 213"/>
              <a:gd name="T11" fmla="*/ 2147483647 h 181"/>
              <a:gd name="T12" fmla="*/ 2147483647 w 213"/>
              <a:gd name="T13" fmla="*/ 2147483647 h 181"/>
              <a:gd name="T14" fmla="*/ 2147483647 w 213"/>
              <a:gd name="T15" fmla="*/ 2147483647 h 181"/>
              <a:gd name="T16" fmla="*/ 2147483647 w 213"/>
              <a:gd name="T17" fmla="*/ 2147483647 h 181"/>
              <a:gd name="T18" fmla="*/ 2147483647 w 213"/>
              <a:gd name="T19" fmla="*/ 2147483647 h 181"/>
              <a:gd name="T20" fmla="*/ 2147483647 w 213"/>
              <a:gd name="T21" fmla="*/ 2147483647 h 181"/>
              <a:gd name="T22" fmla="*/ 2147483647 w 213"/>
              <a:gd name="T23" fmla="*/ 2147483647 h 181"/>
              <a:gd name="T24" fmla="*/ 2147483647 w 213"/>
              <a:gd name="T25" fmla="*/ 2147483647 h 181"/>
              <a:gd name="T26" fmla="*/ 2147483647 w 213"/>
              <a:gd name="T27" fmla="*/ 2147483647 h 181"/>
              <a:gd name="T28" fmla="*/ 2147483647 w 213"/>
              <a:gd name="T29" fmla="*/ 2147483647 h 181"/>
              <a:gd name="T30" fmla="*/ 2147483647 w 213"/>
              <a:gd name="T31" fmla="*/ 2147483647 h 181"/>
              <a:gd name="T32" fmla="*/ 2147483647 w 213"/>
              <a:gd name="T33" fmla="*/ 2147483647 h 181"/>
              <a:gd name="T34" fmla="*/ 2147483647 w 213"/>
              <a:gd name="T35" fmla="*/ 2147483647 h 181"/>
              <a:gd name="T36" fmla="*/ 2147483647 w 213"/>
              <a:gd name="T37" fmla="*/ 2147483647 h 181"/>
              <a:gd name="T38" fmla="*/ 2147483647 w 213"/>
              <a:gd name="T39" fmla="*/ 2147483647 h 181"/>
              <a:gd name="T40" fmla="*/ 2147483647 w 213"/>
              <a:gd name="T41" fmla="*/ 2147483647 h 181"/>
              <a:gd name="T42" fmla="*/ 2147483647 w 213"/>
              <a:gd name="T43" fmla="*/ 2147483647 h 181"/>
              <a:gd name="T44" fmla="*/ 2147483647 w 213"/>
              <a:gd name="T45" fmla="*/ 2147483647 h 181"/>
              <a:gd name="T46" fmla="*/ 2147483647 w 213"/>
              <a:gd name="T47" fmla="*/ 2147483647 h 181"/>
              <a:gd name="T48" fmla="*/ 2147483647 w 213"/>
              <a:gd name="T49" fmla="*/ 2147483647 h 181"/>
              <a:gd name="T50" fmla="*/ 2147483647 w 213"/>
              <a:gd name="T51" fmla="*/ 2147483647 h 181"/>
              <a:gd name="T52" fmla="*/ 2147483647 w 213"/>
              <a:gd name="T53" fmla="*/ 2147483647 h 181"/>
              <a:gd name="T54" fmla="*/ 2147483647 w 213"/>
              <a:gd name="T55" fmla="*/ 2147483647 h 181"/>
              <a:gd name="T56" fmla="*/ 2147483647 w 213"/>
              <a:gd name="T57" fmla="*/ 2147483647 h 181"/>
              <a:gd name="T58" fmla="*/ 2147483647 w 213"/>
              <a:gd name="T59" fmla="*/ 2147483647 h 181"/>
              <a:gd name="T60" fmla="*/ 2147483647 w 213"/>
              <a:gd name="T61" fmla="*/ 2147483647 h 181"/>
              <a:gd name="T62" fmla="*/ 2147483647 w 213"/>
              <a:gd name="T63" fmla="*/ 2147483647 h 181"/>
              <a:gd name="T64" fmla="*/ 2147483647 w 213"/>
              <a:gd name="T65" fmla="*/ 2147483647 h 181"/>
              <a:gd name="T66" fmla="*/ 2147483647 w 213"/>
              <a:gd name="T67" fmla="*/ 2147483647 h 181"/>
              <a:gd name="T68" fmla="*/ 2147483647 w 213"/>
              <a:gd name="T69" fmla="*/ 2147483647 h 181"/>
              <a:gd name="T70" fmla="*/ 2147483647 w 213"/>
              <a:gd name="T71" fmla="*/ 0 h 181"/>
              <a:gd name="T72" fmla="*/ 2147483647 w 213"/>
              <a:gd name="T73" fmla="*/ 0 h 1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181"/>
              <a:gd name="T113" fmla="*/ 213 w 213"/>
              <a:gd name="T114" fmla="*/ 181 h 1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181">
                <a:moveTo>
                  <a:pt x="165" y="0"/>
                </a:moveTo>
                <a:lnTo>
                  <a:pt x="134" y="0"/>
                </a:lnTo>
                <a:lnTo>
                  <a:pt x="62" y="0"/>
                </a:lnTo>
                <a:lnTo>
                  <a:pt x="0" y="0"/>
                </a:lnTo>
                <a:lnTo>
                  <a:pt x="6" y="59"/>
                </a:lnTo>
                <a:lnTo>
                  <a:pt x="6" y="149"/>
                </a:lnTo>
                <a:lnTo>
                  <a:pt x="9" y="154"/>
                </a:lnTo>
                <a:lnTo>
                  <a:pt x="24" y="154"/>
                </a:lnTo>
                <a:lnTo>
                  <a:pt x="24" y="181"/>
                </a:lnTo>
                <a:lnTo>
                  <a:pt x="88" y="181"/>
                </a:lnTo>
                <a:lnTo>
                  <a:pt x="149" y="181"/>
                </a:lnTo>
                <a:lnTo>
                  <a:pt x="151" y="173"/>
                </a:lnTo>
                <a:lnTo>
                  <a:pt x="147" y="166"/>
                </a:lnTo>
                <a:lnTo>
                  <a:pt x="149" y="158"/>
                </a:lnTo>
                <a:lnTo>
                  <a:pt x="145" y="154"/>
                </a:lnTo>
                <a:lnTo>
                  <a:pt x="149" y="150"/>
                </a:lnTo>
                <a:lnTo>
                  <a:pt x="145" y="147"/>
                </a:lnTo>
                <a:lnTo>
                  <a:pt x="152" y="142"/>
                </a:lnTo>
                <a:lnTo>
                  <a:pt x="151" y="132"/>
                </a:lnTo>
                <a:lnTo>
                  <a:pt x="160" y="129"/>
                </a:lnTo>
                <a:lnTo>
                  <a:pt x="157" y="124"/>
                </a:lnTo>
                <a:lnTo>
                  <a:pt x="165" y="116"/>
                </a:lnTo>
                <a:lnTo>
                  <a:pt x="165" y="111"/>
                </a:lnTo>
                <a:lnTo>
                  <a:pt x="173" y="109"/>
                </a:lnTo>
                <a:lnTo>
                  <a:pt x="174" y="93"/>
                </a:lnTo>
                <a:lnTo>
                  <a:pt x="187" y="83"/>
                </a:lnTo>
                <a:lnTo>
                  <a:pt x="185" y="78"/>
                </a:lnTo>
                <a:lnTo>
                  <a:pt x="194" y="72"/>
                </a:lnTo>
                <a:lnTo>
                  <a:pt x="193" y="61"/>
                </a:lnTo>
                <a:lnTo>
                  <a:pt x="202" y="52"/>
                </a:lnTo>
                <a:lnTo>
                  <a:pt x="200" y="41"/>
                </a:lnTo>
                <a:lnTo>
                  <a:pt x="213" y="31"/>
                </a:lnTo>
                <a:lnTo>
                  <a:pt x="210" y="26"/>
                </a:lnTo>
                <a:lnTo>
                  <a:pt x="182" y="26"/>
                </a:lnTo>
                <a:lnTo>
                  <a:pt x="195" y="11"/>
                </a:lnTo>
                <a:lnTo>
                  <a:pt x="191" y="0"/>
                </a:lnTo>
                <a:lnTo>
                  <a:pt x="165" y="0"/>
                </a:lnTo>
                <a:close/>
              </a:path>
            </a:pathLst>
          </a:custGeom>
          <a:solidFill>
            <a:schemeClr val="accent1"/>
          </a:solidFill>
          <a:ln w="6350">
            <a:solidFill>
              <a:schemeClr val="tx2"/>
            </a:solidFill>
            <a:round/>
            <a:headEnd/>
            <a:tailEnd/>
          </a:ln>
        </p:spPr>
        <p:txBody>
          <a:bodyPr/>
          <a:lstStyle/>
          <a:p>
            <a:endParaRPr lang="en-US"/>
          </a:p>
        </p:txBody>
      </p:sp>
      <p:sp>
        <p:nvSpPr>
          <p:cNvPr id="214" name="Freeform 1114"/>
          <p:cNvSpPr>
            <a:spLocks/>
          </p:cNvSpPr>
          <p:nvPr/>
        </p:nvSpPr>
        <p:spPr bwMode="auto">
          <a:xfrm>
            <a:off x="3479926" y="3675855"/>
            <a:ext cx="134734" cy="105713"/>
          </a:xfrm>
          <a:custGeom>
            <a:avLst/>
            <a:gdLst>
              <a:gd name="T0" fmla="*/ 2147483647 w 94"/>
              <a:gd name="T1" fmla="*/ 0 h 83"/>
              <a:gd name="T2" fmla="*/ 2147483647 w 94"/>
              <a:gd name="T3" fmla="*/ 0 h 83"/>
              <a:gd name="T4" fmla="*/ 2147483647 w 94"/>
              <a:gd name="T5" fmla="*/ 0 h 83"/>
              <a:gd name="T6" fmla="*/ 0 w 94"/>
              <a:gd name="T7" fmla="*/ 0 h 83"/>
              <a:gd name="T8" fmla="*/ 2147483647 w 94"/>
              <a:gd name="T9" fmla="*/ 2147483647 h 83"/>
              <a:gd name="T10" fmla="*/ 2147483647 w 94"/>
              <a:gd name="T11" fmla="*/ 2147483647 h 83"/>
              <a:gd name="T12" fmla="*/ 2147483647 w 94"/>
              <a:gd name="T13" fmla="*/ 2147483647 h 83"/>
              <a:gd name="T14" fmla="*/ 2147483647 w 94"/>
              <a:gd name="T15" fmla="*/ 2147483647 h 83"/>
              <a:gd name="T16" fmla="*/ 2147483647 w 94"/>
              <a:gd name="T17" fmla="*/ 2147483647 h 83"/>
              <a:gd name="T18" fmla="*/ 2147483647 w 94"/>
              <a:gd name="T19" fmla="*/ 2147483647 h 83"/>
              <a:gd name="T20" fmla="*/ 2147483647 w 94"/>
              <a:gd name="T21" fmla="*/ 2147483647 h 83"/>
              <a:gd name="T22" fmla="*/ 2147483647 w 94"/>
              <a:gd name="T23" fmla="*/ 2147483647 h 83"/>
              <a:gd name="T24" fmla="*/ 2147483647 w 94"/>
              <a:gd name="T25" fmla="*/ 2147483647 h 83"/>
              <a:gd name="T26" fmla="*/ 2147483647 w 94"/>
              <a:gd name="T27" fmla="*/ 2147483647 h 83"/>
              <a:gd name="T28" fmla="*/ 2147483647 w 94"/>
              <a:gd name="T29" fmla="*/ 2147483647 h 83"/>
              <a:gd name="T30" fmla="*/ 2147483647 w 94"/>
              <a:gd name="T31" fmla="*/ 2147483647 h 83"/>
              <a:gd name="T32" fmla="*/ 2147483647 w 94"/>
              <a:gd name="T33" fmla="*/ 2147483647 h 83"/>
              <a:gd name="T34" fmla="*/ 2147483647 w 94"/>
              <a:gd name="T35" fmla="*/ 2147483647 h 83"/>
              <a:gd name="T36" fmla="*/ 2147483647 w 94"/>
              <a:gd name="T37" fmla="*/ 2147483647 h 83"/>
              <a:gd name="T38" fmla="*/ 2147483647 w 94"/>
              <a:gd name="T39" fmla="*/ 2147483647 h 83"/>
              <a:gd name="T40" fmla="*/ 2147483647 w 94"/>
              <a:gd name="T41" fmla="*/ 2147483647 h 83"/>
              <a:gd name="T42" fmla="*/ 2147483647 w 94"/>
              <a:gd name="T43" fmla="*/ 2147483647 h 83"/>
              <a:gd name="T44" fmla="*/ 2147483647 w 94"/>
              <a:gd name="T45" fmla="*/ 2147483647 h 83"/>
              <a:gd name="T46" fmla="*/ 2147483647 w 94"/>
              <a:gd name="T47" fmla="*/ 2147483647 h 83"/>
              <a:gd name="T48" fmla="*/ 2147483647 w 94"/>
              <a:gd name="T49" fmla="*/ 2147483647 h 83"/>
              <a:gd name="T50" fmla="*/ 2147483647 w 94"/>
              <a:gd name="T51" fmla="*/ 2147483647 h 83"/>
              <a:gd name="T52" fmla="*/ 2147483647 w 94"/>
              <a:gd name="T53" fmla="*/ 2147483647 h 83"/>
              <a:gd name="T54" fmla="*/ 2147483647 w 94"/>
              <a:gd name="T55" fmla="*/ 2147483647 h 83"/>
              <a:gd name="T56" fmla="*/ 2147483647 w 94"/>
              <a:gd name="T57" fmla="*/ 2147483647 h 83"/>
              <a:gd name="T58" fmla="*/ 2147483647 w 94"/>
              <a:gd name="T59" fmla="*/ 2147483647 h 83"/>
              <a:gd name="T60" fmla="*/ 2147483647 w 94"/>
              <a:gd name="T61" fmla="*/ 2147483647 h 83"/>
              <a:gd name="T62" fmla="*/ 2147483647 w 94"/>
              <a:gd name="T63" fmla="*/ 2147483647 h 83"/>
              <a:gd name="T64" fmla="*/ 2147483647 w 94"/>
              <a:gd name="T65" fmla="*/ 2147483647 h 83"/>
              <a:gd name="T66" fmla="*/ 2147483647 w 94"/>
              <a:gd name="T67" fmla="*/ 2147483647 h 83"/>
              <a:gd name="T68" fmla="*/ 2147483647 w 94"/>
              <a:gd name="T69" fmla="*/ 2147483647 h 83"/>
              <a:gd name="T70" fmla="*/ 2147483647 w 94"/>
              <a:gd name="T71" fmla="*/ 2147483647 h 83"/>
              <a:gd name="T72" fmla="*/ 2147483647 w 94"/>
              <a:gd name="T73" fmla="*/ 2147483647 h 83"/>
              <a:gd name="T74" fmla="*/ 2147483647 w 94"/>
              <a:gd name="T75" fmla="*/ 2147483647 h 83"/>
              <a:gd name="T76" fmla="*/ 2147483647 w 94"/>
              <a:gd name="T77" fmla="*/ 2147483647 h 83"/>
              <a:gd name="T78" fmla="*/ 2147483647 w 94"/>
              <a:gd name="T79" fmla="*/ 2147483647 h 83"/>
              <a:gd name="T80" fmla="*/ 2147483647 w 94"/>
              <a:gd name="T81" fmla="*/ 2147483647 h 83"/>
              <a:gd name="T82" fmla="*/ 2147483647 w 94"/>
              <a:gd name="T83" fmla="*/ 2147483647 h 83"/>
              <a:gd name="T84" fmla="*/ 2147483647 w 94"/>
              <a:gd name="T85" fmla="*/ 2147483647 h 83"/>
              <a:gd name="T86" fmla="*/ 2147483647 w 94"/>
              <a:gd name="T87" fmla="*/ 2147483647 h 83"/>
              <a:gd name="T88" fmla="*/ 2147483647 w 94"/>
              <a:gd name="T89" fmla="*/ 2147483647 h 83"/>
              <a:gd name="T90" fmla="*/ 2147483647 w 94"/>
              <a:gd name="T91" fmla="*/ 2147483647 h 83"/>
              <a:gd name="T92" fmla="*/ 2147483647 w 94"/>
              <a:gd name="T93" fmla="*/ 2147483647 h 83"/>
              <a:gd name="T94" fmla="*/ 2147483647 w 94"/>
              <a:gd name="T95" fmla="*/ 2147483647 h 83"/>
              <a:gd name="T96" fmla="*/ 2147483647 w 94"/>
              <a:gd name="T97" fmla="*/ 2147483647 h 83"/>
              <a:gd name="T98" fmla="*/ 2147483647 w 94"/>
              <a:gd name="T99" fmla="*/ 2147483647 h 83"/>
              <a:gd name="T100" fmla="*/ 2147483647 w 94"/>
              <a:gd name="T101" fmla="*/ 0 h 83"/>
              <a:gd name="T102" fmla="*/ 2147483647 w 94"/>
              <a:gd name="T103" fmla="*/ 0 h 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
              <a:gd name="T157" fmla="*/ 0 h 83"/>
              <a:gd name="T158" fmla="*/ 94 w 94"/>
              <a:gd name="T159" fmla="*/ 83 h 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 h="83">
                <a:moveTo>
                  <a:pt x="46" y="0"/>
                </a:moveTo>
                <a:lnTo>
                  <a:pt x="29" y="0"/>
                </a:lnTo>
                <a:lnTo>
                  <a:pt x="14" y="0"/>
                </a:lnTo>
                <a:lnTo>
                  <a:pt x="0" y="0"/>
                </a:lnTo>
                <a:lnTo>
                  <a:pt x="1" y="2"/>
                </a:lnTo>
                <a:lnTo>
                  <a:pt x="2" y="5"/>
                </a:lnTo>
                <a:lnTo>
                  <a:pt x="4" y="7"/>
                </a:lnTo>
                <a:lnTo>
                  <a:pt x="5" y="11"/>
                </a:lnTo>
                <a:lnTo>
                  <a:pt x="9" y="14"/>
                </a:lnTo>
                <a:lnTo>
                  <a:pt x="12" y="13"/>
                </a:lnTo>
                <a:lnTo>
                  <a:pt x="13" y="16"/>
                </a:lnTo>
                <a:lnTo>
                  <a:pt x="11" y="16"/>
                </a:lnTo>
                <a:lnTo>
                  <a:pt x="9" y="20"/>
                </a:lnTo>
                <a:lnTo>
                  <a:pt x="22" y="45"/>
                </a:lnTo>
                <a:lnTo>
                  <a:pt x="17" y="27"/>
                </a:lnTo>
                <a:lnTo>
                  <a:pt x="17" y="59"/>
                </a:lnTo>
                <a:lnTo>
                  <a:pt x="17" y="74"/>
                </a:lnTo>
                <a:lnTo>
                  <a:pt x="37" y="74"/>
                </a:lnTo>
                <a:lnTo>
                  <a:pt x="61" y="74"/>
                </a:lnTo>
                <a:lnTo>
                  <a:pt x="71" y="74"/>
                </a:lnTo>
                <a:lnTo>
                  <a:pt x="79" y="74"/>
                </a:lnTo>
                <a:lnTo>
                  <a:pt x="81" y="78"/>
                </a:lnTo>
                <a:lnTo>
                  <a:pt x="76" y="83"/>
                </a:lnTo>
                <a:lnTo>
                  <a:pt x="85" y="83"/>
                </a:lnTo>
                <a:lnTo>
                  <a:pt x="87" y="81"/>
                </a:lnTo>
                <a:lnTo>
                  <a:pt x="86" y="79"/>
                </a:lnTo>
                <a:lnTo>
                  <a:pt x="88" y="79"/>
                </a:lnTo>
                <a:lnTo>
                  <a:pt x="87" y="77"/>
                </a:lnTo>
                <a:lnTo>
                  <a:pt x="88" y="77"/>
                </a:lnTo>
                <a:lnTo>
                  <a:pt x="87" y="74"/>
                </a:lnTo>
                <a:lnTo>
                  <a:pt x="89" y="75"/>
                </a:lnTo>
                <a:lnTo>
                  <a:pt x="90" y="72"/>
                </a:lnTo>
                <a:lnTo>
                  <a:pt x="92" y="73"/>
                </a:lnTo>
                <a:lnTo>
                  <a:pt x="94" y="70"/>
                </a:lnTo>
                <a:lnTo>
                  <a:pt x="94" y="66"/>
                </a:lnTo>
                <a:lnTo>
                  <a:pt x="92" y="64"/>
                </a:lnTo>
                <a:lnTo>
                  <a:pt x="92" y="65"/>
                </a:lnTo>
                <a:lnTo>
                  <a:pt x="90" y="64"/>
                </a:lnTo>
                <a:lnTo>
                  <a:pt x="88" y="61"/>
                </a:lnTo>
                <a:lnTo>
                  <a:pt x="89" y="58"/>
                </a:lnTo>
                <a:lnTo>
                  <a:pt x="88" y="54"/>
                </a:lnTo>
                <a:lnTo>
                  <a:pt x="77" y="44"/>
                </a:lnTo>
                <a:lnTo>
                  <a:pt x="76" y="41"/>
                </a:lnTo>
                <a:lnTo>
                  <a:pt x="80" y="33"/>
                </a:lnTo>
                <a:lnTo>
                  <a:pt x="76" y="30"/>
                </a:lnTo>
                <a:lnTo>
                  <a:pt x="73" y="32"/>
                </a:lnTo>
                <a:lnTo>
                  <a:pt x="70" y="24"/>
                </a:lnTo>
                <a:lnTo>
                  <a:pt x="62" y="17"/>
                </a:lnTo>
                <a:lnTo>
                  <a:pt x="60" y="9"/>
                </a:lnTo>
                <a:lnTo>
                  <a:pt x="61" y="4"/>
                </a:lnTo>
                <a:lnTo>
                  <a:pt x="57" y="0"/>
                </a:lnTo>
                <a:lnTo>
                  <a:pt x="46" y="0"/>
                </a:lnTo>
                <a:close/>
              </a:path>
            </a:pathLst>
          </a:custGeom>
          <a:solidFill>
            <a:schemeClr val="accent1"/>
          </a:solidFill>
          <a:ln w="6350">
            <a:solidFill>
              <a:schemeClr val="tx2"/>
            </a:solidFill>
            <a:round/>
            <a:headEnd/>
            <a:tailEnd/>
          </a:ln>
        </p:spPr>
        <p:txBody>
          <a:bodyPr/>
          <a:lstStyle/>
          <a:p>
            <a:endParaRPr lang="en-US"/>
          </a:p>
        </p:txBody>
      </p:sp>
      <p:sp>
        <p:nvSpPr>
          <p:cNvPr id="215" name="Freeform 1115"/>
          <p:cNvSpPr>
            <a:spLocks/>
          </p:cNvSpPr>
          <p:nvPr/>
        </p:nvSpPr>
        <p:spPr bwMode="auto">
          <a:xfrm>
            <a:off x="3514326" y="3846525"/>
            <a:ext cx="97466" cy="82787"/>
          </a:xfrm>
          <a:custGeom>
            <a:avLst/>
            <a:gdLst>
              <a:gd name="T0" fmla="*/ 2147483647 w 210"/>
              <a:gd name="T1" fmla="*/ 2147483647 h 200"/>
              <a:gd name="T2" fmla="*/ 2147483647 w 210"/>
              <a:gd name="T3" fmla="*/ 2147483647 h 200"/>
              <a:gd name="T4" fmla="*/ 2147483647 w 210"/>
              <a:gd name="T5" fmla="*/ 2147483647 h 200"/>
              <a:gd name="T6" fmla="*/ 2147483647 w 210"/>
              <a:gd name="T7" fmla="*/ 2147483647 h 200"/>
              <a:gd name="T8" fmla="*/ 2147483647 w 210"/>
              <a:gd name="T9" fmla="*/ 2147483647 h 200"/>
              <a:gd name="T10" fmla="*/ 2147483647 w 210"/>
              <a:gd name="T11" fmla="*/ 2147483647 h 200"/>
              <a:gd name="T12" fmla="*/ 2147483647 w 210"/>
              <a:gd name="T13" fmla="*/ 2147483647 h 200"/>
              <a:gd name="T14" fmla="*/ 2147483647 w 210"/>
              <a:gd name="T15" fmla="*/ 2147483647 h 200"/>
              <a:gd name="T16" fmla="*/ 2147483647 w 210"/>
              <a:gd name="T17" fmla="*/ 2147483647 h 200"/>
              <a:gd name="T18" fmla="*/ 2147483647 w 210"/>
              <a:gd name="T19" fmla="*/ 2147483647 h 200"/>
              <a:gd name="T20" fmla="*/ 2147483647 w 210"/>
              <a:gd name="T21" fmla="*/ 2147483647 h 200"/>
              <a:gd name="T22" fmla="*/ 2147483647 w 210"/>
              <a:gd name="T23" fmla="*/ 2147483647 h 200"/>
              <a:gd name="T24" fmla="*/ 2147483647 w 210"/>
              <a:gd name="T25" fmla="*/ 2147483647 h 200"/>
              <a:gd name="T26" fmla="*/ 2147483647 w 210"/>
              <a:gd name="T27" fmla="*/ 2147483647 h 200"/>
              <a:gd name="T28" fmla="*/ 2147483647 w 210"/>
              <a:gd name="T29" fmla="*/ 2147483647 h 200"/>
              <a:gd name="T30" fmla="*/ 2147483647 w 210"/>
              <a:gd name="T31" fmla="*/ 2147483647 h 200"/>
              <a:gd name="T32" fmla="*/ 2147483647 w 210"/>
              <a:gd name="T33" fmla="*/ 2147483647 h 200"/>
              <a:gd name="T34" fmla="*/ 2147483647 w 210"/>
              <a:gd name="T35" fmla="*/ 2147483647 h 200"/>
              <a:gd name="T36" fmla="*/ 2147483647 w 210"/>
              <a:gd name="T37" fmla="*/ 2147483647 h 200"/>
              <a:gd name="T38" fmla="*/ 2147483647 w 210"/>
              <a:gd name="T39" fmla="*/ 2147483647 h 200"/>
              <a:gd name="T40" fmla="*/ 2147483647 w 210"/>
              <a:gd name="T41" fmla="*/ 2147483647 h 200"/>
              <a:gd name="T42" fmla="*/ 2147483647 w 210"/>
              <a:gd name="T43" fmla="*/ 2147483647 h 200"/>
              <a:gd name="T44" fmla="*/ 2147483647 w 210"/>
              <a:gd name="T45" fmla="*/ 2147483647 h 200"/>
              <a:gd name="T46" fmla="*/ 2147483647 w 210"/>
              <a:gd name="T47" fmla="*/ 2147483647 h 200"/>
              <a:gd name="T48" fmla="*/ 2147483647 w 210"/>
              <a:gd name="T49" fmla="*/ 2147483647 h 200"/>
              <a:gd name="T50" fmla="*/ 2147483647 w 210"/>
              <a:gd name="T51" fmla="*/ 2147483647 h 200"/>
              <a:gd name="T52" fmla="*/ 2147483647 w 210"/>
              <a:gd name="T53" fmla="*/ 2147483647 h 200"/>
              <a:gd name="T54" fmla="*/ 2147483647 w 210"/>
              <a:gd name="T55" fmla="*/ 2147483647 h 200"/>
              <a:gd name="T56" fmla="*/ 2147483647 w 210"/>
              <a:gd name="T57" fmla="*/ 2147483647 h 200"/>
              <a:gd name="T58" fmla="*/ 2147483647 w 210"/>
              <a:gd name="T59" fmla="*/ 2147483647 h 200"/>
              <a:gd name="T60" fmla="*/ 2147483647 w 210"/>
              <a:gd name="T61" fmla="*/ 2147483647 h 200"/>
              <a:gd name="T62" fmla="*/ 2147483647 w 210"/>
              <a:gd name="T63" fmla="*/ 2147483647 h 200"/>
              <a:gd name="T64" fmla="*/ 2147483647 w 210"/>
              <a:gd name="T65" fmla="*/ 2147483647 h 200"/>
              <a:gd name="T66" fmla="*/ 2147483647 w 210"/>
              <a:gd name="T67" fmla="*/ 2147483647 h 200"/>
              <a:gd name="T68" fmla="*/ 2147483647 w 210"/>
              <a:gd name="T69" fmla="*/ 2147483647 h 200"/>
              <a:gd name="T70" fmla="*/ 2147483647 w 210"/>
              <a:gd name="T71" fmla="*/ 2147483647 h 200"/>
              <a:gd name="T72" fmla="*/ 2147483647 w 210"/>
              <a:gd name="T73" fmla="*/ 2147483647 h 200"/>
              <a:gd name="T74" fmla="*/ 0 w 210"/>
              <a:gd name="T75" fmla="*/ 2147483647 h 200"/>
              <a:gd name="T76" fmla="*/ 0 w 210"/>
              <a:gd name="T77" fmla="*/ 0 h 200"/>
              <a:gd name="T78" fmla="*/ 2147483647 w 210"/>
              <a:gd name="T79" fmla="*/ 0 h 200"/>
              <a:gd name="T80" fmla="*/ 2147483647 w 210"/>
              <a:gd name="T81" fmla="*/ 0 h 200"/>
              <a:gd name="T82" fmla="*/ 2147483647 w 210"/>
              <a:gd name="T83" fmla="*/ 2147483647 h 200"/>
              <a:gd name="T84" fmla="*/ 2147483647 w 210"/>
              <a:gd name="T85" fmla="*/ 2147483647 h 200"/>
              <a:gd name="T86" fmla="*/ 2147483647 w 210"/>
              <a:gd name="T87" fmla="*/ 2147483647 h 200"/>
              <a:gd name="T88" fmla="*/ 2147483647 w 210"/>
              <a:gd name="T89" fmla="*/ 2147483647 h 200"/>
              <a:gd name="T90" fmla="*/ 2147483647 w 210"/>
              <a:gd name="T91" fmla="*/ 2147483647 h 200"/>
              <a:gd name="T92" fmla="*/ 2147483647 w 210"/>
              <a:gd name="T93" fmla="*/ 2147483647 h 200"/>
              <a:gd name="T94" fmla="*/ 2147483647 w 210"/>
              <a:gd name="T95" fmla="*/ 2147483647 h 200"/>
              <a:gd name="T96" fmla="*/ 2147483647 w 210"/>
              <a:gd name="T97" fmla="*/ 2147483647 h 200"/>
              <a:gd name="T98" fmla="*/ 2147483647 w 210"/>
              <a:gd name="T99" fmla="*/ 2147483647 h 200"/>
              <a:gd name="T100" fmla="*/ 2147483647 w 210"/>
              <a:gd name="T101" fmla="*/ 2147483647 h 200"/>
              <a:gd name="T102" fmla="*/ 2147483647 w 210"/>
              <a:gd name="T103" fmla="*/ 2147483647 h 200"/>
              <a:gd name="T104" fmla="*/ 2147483647 w 210"/>
              <a:gd name="T105" fmla="*/ 2147483647 h 200"/>
              <a:gd name="T106" fmla="*/ 2147483647 w 210"/>
              <a:gd name="T107" fmla="*/ 2147483647 h 200"/>
              <a:gd name="T108" fmla="*/ 2147483647 w 210"/>
              <a:gd name="T109" fmla="*/ 2147483647 h 200"/>
              <a:gd name="T110" fmla="*/ 2147483647 w 210"/>
              <a:gd name="T111" fmla="*/ 2147483647 h 200"/>
              <a:gd name="T112" fmla="*/ 2147483647 w 210"/>
              <a:gd name="T113" fmla="*/ 2147483647 h 200"/>
              <a:gd name="T114" fmla="*/ 2147483647 w 210"/>
              <a:gd name="T115" fmla="*/ 2147483647 h 200"/>
              <a:gd name="T116" fmla="*/ 2147483647 w 210"/>
              <a:gd name="T117" fmla="*/ 2147483647 h 200"/>
              <a:gd name="T118" fmla="*/ 2147483647 w 210"/>
              <a:gd name="T119" fmla="*/ 2147483647 h 2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0"/>
              <a:gd name="T181" fmla="*/ 0 h 200"/>
              <a:gd name="T182" fmla="*/ 210 w 210"/>
              <a:gd name="T183" fmla="*/ 200 h 2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0" h="200">
                <a:moveTo>
                  <a:pt x="191" y="140"/>
                </a:moveTo>
                <a:lnTo>
                  <a:pt x="168" y="131"/>
                </a:lnTo>
                <a:lnTo>
                  <a:pt x="158" y="134"/>
                </a:lnTo>
                <a:lnTo>
                  <a:pt x="156" y="144"/>
                </a:lnTo>
                <a:lnTo>
                  <a:pt x="162" y="150"/>
                </a:lnTo>
                <a:lnTo>
                  <a:pt x="181" y="144"/>
                </a:lnTo>
                <a:lnTo>
                  <a:pt x="183" y="154"/>
                </a:lnTo>
                <a:lnTo>
                  <a:pt x="186" y="154"/>
                </a:lnTo>
                <a:lnTo>
                  <a:pt x="200" y="146"/>
                </a:lnTo>
                <a:lnTo>
                  <a:pt x="203" y="149"/>
                </a:lnTo>
                <a:lnTo>
                  <a:pt x="201" y="160"/>
                </a:lnTo>
                <a:lnTo>
                  <a:pt x="189" y="174"/>
                </a:lnTo>
                <a:lnTo>
                  <a:pt x="210" y="193"/>
                </a:lnTo>
                <a:lnTo>
                  <a:pt x="207" y="197"/>
                </a:lnTo>
                <a:lnTo>
                  <a:pt x="205" y="199"/>
                </a:lnTo>
                <a:lnTo>
                  <a:pt x="200" y="200"/>
                </a:lnTo>
                <a:lnTo>
                  <a:pt x="192" y="189"/>
                </a:lnTo>
                <a:lnTo>
                  <a:pt x="178" y="180"/>
                </a:lnTo>
                <a:lnTo>
                  <a:pt x="173" y="181"/>
                </a:lnTo>
                <a:lnTo>
                  <a:pt x="167" y="193"/>
                </a:lnTo>
                <a:lnTo>
                  <a:pt x="146" y="190"/>
                </a:lnTo>
                <a:lnTo>
                  <a:pt x="140" y="193"/>
                </a:lnTo>
                <a:lnTo>
                  <a:pt x="122" y="189"/>
                </a:lnTo>
                <a:lnTo>
                  <a:pt x="114" y="176"/>
                </a:lnTo>
                <a:lnTo>
                  <a:pt x="92" y="163"/>
                </a:lnTo>
                <a:lnTo>
                  <a:pt x="83" y="163"/>
                </a:lnTo>
                <a:lnTo>
                  <a:pt x="83" y="170"/>
                </a:lnTo>
                <a:lnTo>
                  <a:pt x="77" y="174"/>
                </a:lnTo>
                <a:lnTo>
                  <a:pt x="60" y="173"/>
                </a:lnTo>
                <a:lnTo>
                  <a:pt x="33" y="164"/>
                </a:lnTo>
                <a:lnTo>
                  <a:pt x="8" y="167"/>
                </a:lnTo>
                <a:lnTo>
                  <a:pt x="4" y="162"/>
                </a:lnTo>
                <a:lnTo>
                  <a:pt x="14" y="150"/>
                </a:lnTo>
                <a:lnTo>
                  <a:pt x="13" y="124"/>
                </a:lnTo>
                <a:lnTo>
                  <a:pt x="23" y="100"/>
                </a:lnTo>
                <a:lnTo>
                  <a:pt x="9" y="72"/>
                </a:lnTo>
                <a:lnTo>
                  <a:pt x="9" y="62"/>
                </a:lnTo>
                <a:lnTo>
                  <a:pt x="0" y="52"/>
                </a:lnTo>
                <a:lnTo>
                  <a:pt x="0" y="0"/>
                </a:lnTo>
                <a:lnTo>
                  <a:pt x="64" y="0"/>
                </a:lnTo>
                <a:lnTo>
                  <a:pt x="125" y="0"/>
                </a:lnTo>
                <a:lnTo>
                  <a:pt x="124" y="2"/>
                </a:lnTo>
                <a:lnTo>
                  <a:pt x="128" y="5"/>
                </a:lnTo>
                <a:lnTo>
                  <a:pt x="124" y="14"/>
                </a:lnTo>
                <a:lnTo>
                  <a:pt x="128" y="17"/>
                </a:lnTo>
                <a:lnTo>
                  <a:pt x="124" y="19"/>
                </a:lnTo>
                <a:lnTo>
                  <a:pt x="127" y="29"/>
                </a:lnTo>
                <a:lnTo>
                  <a:pt x="135" y="36"/>
                </a:lnTo>
                <a:lnTo>
                  <a:pt x="127" y="45"/>
                </a:lnTo>
                <a:lnTo>
                  <a:pt x="127" y="51"/>
                </a:lnTo>
                <a:lnTo>
                  <a:pt x="116" y="60"/>
                </a:lnTo>
                <a:lnTo>
                  <a:pt x="109" y="76"/>
                </a:lnTo>
                <a:lnTo>
                  <a:pt x="109" y="88"/>
                </a:lnTo>
                <a:lnTo>
                  <a:pt x="103" y="89"/>
                </a:lnTo>
                <a:lnTo>
                  <a:pt x="107" y="99"/>
                </a:lnTo>
                <a:lnTo>
                  <a:pt x="103" y="102"/>
                </a:lnTo>
                <a:lnTo>
                  <a:pt x="144" y="102"/>
                </a:lnTo>
                <a:lnTo>
                  <a:pt x="186" y="102"/>
                </a:lnTo>
                <a:lnTo>
                  <a:pt x="181" y="118"/>
                </a:lnTo>
                <a:lnTo>
                  <a:pt x="191" y="140"/>
                </a:lnTo>
                <a:close/>
              </a:path>
            </a:pathLst>
          </a:custGeom>
          <a:solidFill>
            <a:schemeClr val="accent1"/>
          </a:solidFill>
          <a:ln w="6350">
            <a:solidFill>
              <a:schemeClr val="tx2"/>
            </a:solidFill>
            <a:round/>
            <a:headEnd/>
            <a:tailEnd/>
          </a:ln>
        </p:spPr>
        <p:txBody>
          <a:bodyPr/>
          <a:lstStyle/>
          <a:p>
            <a:endParaRPr lang="en-US"/>
          </a:p>
        </p:txBody>
      </p:sp>
      <p:sp>
        <p:nvSpPr>
          <p:cNvPr id="216" name="Freeform 1116"/>
          <p:cNvSpPr>
            <a:spLocks/>
          </p:cNvSpPr>
          <p:nvPr/>
        </p:nvSpPr>
        <p:spPr bwMode="auto">
          <a:xfrm>
            <a:off x="3628993" y="3801947"/>
            <a:ext cx="70233" cy="101892"/>
          </a:xfrm>
          <a:custGeom>
            <a:avLst/>
            <a:gdLst>
              <a:gd name="T0" fmla="*/ 2147483647 w 154"/>
              <a:gd name="T1" fmla="*/ 2147483647 h 243"/>
              <a:gd name="T2" fmla="*/ 2147483647 w 154"/>
              <a:gd name="T3" fmla="*/ 2147483647 h 243"/>
              <a:gd name="T4" fmla="*/ 2147483647 w 154"/>
              <a:gd name="T5" fmla="*/ 2147483647 h 243"/>
              <a:gd name="T6" fmla="*/ 2147483647 w 154"/>
              <a:gd name="T7" fmla="*/ 2147483647 h 243"/>
              <a:gd name="T8" fmla="*/ 2147483647 w 154"/>
              <a:gd name="T9" fmla="*/ 2147483647 h 243"/>
              <a:gd name="T10" fmla="*/ 2147483647 w 154"/>
              <a:gd name="T11" fmla="*/ 2147483647 h 243"/>
              <a:gd name="T12" fmla="*/ 2147483647 w 154"/>
              <a:gd name="T13" fmla="*/ 2147483647 h 243"/>
              <a:gd name="T14" fmla="*/ 2147483647 w 154"/>
              <a:gd name="T15" fmla="*/ 2147483647 h 243"/>
              <a:gd name="T16" fmla="*/ 2147483647 w 154"/>
              <a:gd name="T17" fmla="*/ 2147483647 h 243"/>
              <a:gd name="T18" fmla="*/ 2147483647 w 154"/>
              <a:gd name="T19" fmla="*/ 2147483647 h 243"/>
              <a:gd name="T20" fmla="*/ 2147483647 w 154"/>
              <a:gd name="T21" fmla="*/ 2147483647 h 243"/>
              <a:gd name="T22" fmla="*/ 2147483647 w 154"/>
              <a:gd name="T23" fmla="*/ 2147483647 h 243"/>
              <a:gd name="T24" fmla="*/ 2147483647 w 154"/>
              <a:gd name="T25" fmla="*/ 2147483647 h 243"/>
              <a:gd name="T26" fmla="*/ 2147483647 w 154"/>
              <a:gd name="T27" fmla="*/ 2147483647 h 243"/>
              <a:gd name="T28" fmla="*/ 2147483647 w 154"/>
              <a:gd name="T29" fmla="*/ 2147483647 h 243"/>
              <a:gd name="T30" fmla="*/ 2147483647 w 154"/>
              <a:gd name="T31" fmla="*/ 2147483647 h 243"/>
              <a:gd name="T32" fmla="*/ 2147483647 w 154"/>
              <a:gd name="T33" fmla="*/ 2147483647 h 243"/>
              <a:gd name="T34" fmla="*/ 2147483647 w 154"/>
              <a:gd name="T35" fmla="*/ 2147483647 h 243"/>
              <a:gd name="T36" fmla="*/ 2147483647 w 154"/>
              <a:gd name="T37" fmla="*/ 2147483647 h 243"/>
              <a:gd name="T38" fmla="*/ 2147483647 w 154"/>
              <a:gd name="T39" fmla="*/ 2147483647 h 243"/>
              <a:gd name="T40" fmla="*/ 2147483647 w 154"/>
              <a:gd name="T41" fmla="*/ 0 h 243"/>
              <a:gd name="T42" fmla="*/ 2147483647 w 154"/>
              <a:gd name="T43" fmla="*/ 0 h 243"/>
              <a:gd name="T44" fmla="*/ 2147483647 w 154"/>
              <a:gd name="T45" fmla="*/ 0 h 243"/>
              <a:gd name="T46" fmla="*/ 2147483647 w 154"/>
              <a:gd name="T47" fmla="*/ 2147483647 h 243"/>
              <a:gd name="T48" fmla="*/ 2147483647 w 154"/>
              <a:gd name="T49" fmla="*/ 2147483647 h 243"/>
              <a:gd name="T50" fmla="*/ 0 w 154"/>
              <a:gd name="T51" fmla="*/ 2147483647 h 243"/>
              <a:gd name="T52" fmla="*/ 2147483647 w 154"/>
              <a:gd name="T53" fmla="*/ 2147483647 h 24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4"/>
              <a:gd name="T82" fmla="*/ 0 h 243"/>
              <a:gd name="T83" fmla="*/ 154 w 154"/>
              <a:gd name="T84" fmla="*/ 243 h 24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4" h="243">
                <a:moveTo>
                  <a:pt x="4" y="235"/>
                </a:moveTo>
                <a:lnTo>
                  <a:pt x="13" y="234"/>
                </a:lnTo>
                <a:lnTo>
                  <a:pt x="20" y="209"/>
                </a:lnTo>
                <a:lnTo>
                  <a:pt x="22" y="243"/>
                </a:lnTo>
                <a:lnTo>
                  <a:pt x="46" y="236"/>
                </a:lnTo>
                <a:lnTo>
                  <a:pt x="47" y="222"/>
                </a:lnTo>
                <a:lnTo>
                  <a:pt x="37" y="212"/>
                </a:lnTo>
                <a:lnTo>
                  <a:pt x="38" y="205"/>
                </a:lnTo>
                <a:lnTo>
                  <a:pt x="92" y="205"/>
                </a:lnTo>
                <a:lnTo>
                  <a:pt x="150" y="205"/>
                </a:lnTo>
                <a:lnTo>
                  <a:pt x="146" y="197"/>
                </a:lnTo>
                <a:lnTo>
                  <a:pt x="149" y="167"/>
                </a:lnTo>
                <a:lnTo>
                  <a:pt x="146" y="159"/>
                </a:lnTo>
                <a:lnTo>
                  <a:pt x="148" y="148"/>
                </a:lnTo>
                <a:lnTo>
                  <a:pt x="154" y="141"/>
                </a:lnTo>
                <a:lnTo>
                  <a:pt x="150" y="138"/>
                </a:lnTo>
                <a:lnTo>
                  <a:pt x="151" y="134"/>
                </a:lnTo>
                <a:lnTo>
                  <a:pt x="146" y="123"/>
                </a:lnTo>
                <a:lnTo>
                  <a:pt x="142" y="104"/>
                </a:lnTo>
                <a:lnTo>
                  <a:pt x="134" y="62"/>
                </a:lnTo>
                <a:lnTo>
                  <a:pt x="123" y="0"/>
                </a:lnTo>
                <a:lnTo>
                  <a:pt x="66" y="0"/>
                </a:lnTo>
                <a:lnTo>
                  <a:pt x="13" y="0"/>
                </a:lnTo>
                <a:lnTo>
                  <a:pt x="17" y="6"/>
                </a:lnTo>
                <a:lnTo>
                  <a:pt x="10" y="77"/>
                </a:lnTo>
                <a:lnTo>
                  <a:pt x="0" y="160"/>
                </a:lnTo>
                <a:lnTo>
                  <a:pt x="4" y="235"/>
                </a:lnTo>
                <a:close/>
              </a:path>
            </a:pathLst>
          </a:custGeom>
          <a:solidFill>
            <a:schemeClr val="accent1"/>
          </a:solidFill>
          <a:ln w="6350">
            <a:solidFill>
              <a:schemeClr val="tx2"/>
            </a:solidFill>
            <a:round/>
            <a:headEnd/>
            <a:tailEnd/>
          </a:ln>
        </p:spPr>
        <p:txBody>
          <a:bodyPr/>
          <a:lstStyle/>
          <a:p>
            <a:endParaRPr lang="en-US"/>
          </a:p>
        </p:txBody>
      </p:sp>
      <p:sp>
        <p:nvSpPr>
          <p:cNvPr id="217" name="Freeform 1117"/>
          <p:cNvSpPr>
            <a:spLocks/>
          </p:cNvSpPr>
          <p:nvPr/>
        </p:nvSpPr>
        <p:spPr bwMode="auto">
          <a:xfrm>
            <a:off x="3644760" y="3888555"/>
            <a:ext cx="153368" cy="119723"/>
          </a:xfrm>
          <a:custGeom>
            <a:avLst/>
            <a:gdLst>
              <a:gd name="T0" fmla="*/ 2147483647 w 323"/>
              <a:gd name="T1" fmla="*/ 2147483647 h 285"/>
              <a:gd name="T2" fmla="*/ 2147483647 w 323"/>
              <a:gd name="T3" fmla="*/ 2147483647 h 285"/>
              <a:gd name="T4" fmla="*/ 2147483647 w 323"/>
              <a:gd name="T5" fmla="*/ 2147483647 h 285"/>
              <a:gd name="T6" fmla="*/ 2147483647 w 323"/>
              <a:gd name="T7" fmla="*/ 2147483647 h 285"/>
              <a:gd name="T8" fmla="*/ 2147483647 w 323"/>
              <a:gd name="T9" fmla="*/ 2147483647 h 285"/>
              <a:gd name="T10" fmla="*/ 2147483647 w 323"/>
              <a:gd name="T11" fmla="*/ 2147483647 h 285"/>
              <a:gd name="T12" fmla="*/ 2147483647 w 323"/>
              <a:gd name="T13" fmla="*/ 2147483647 h 285"/>
              <a:gd name="T14" fmla="*/ 2147483647 w 323"/>
              <a:gd name="T15" fmla="*/ 2147483647 h 285"/>
              <a:gd name="T16" fmla="*/ 2147483647 w 323"/>
              <a:gd name="T17" fmla="*/ 2147483647 h 285"/>
              <a:gd name="T18" fmla="*/ 2147483647 w 323"/>
              <a:gd name="T19" fmla="*/ 2147483647 h 285"/>
              <a:gd name="T20" fmla="*/ 2147483647 w 323"/>
              <a:gd name="T21" fmla="*/ 2147483647 h 285"/>
              <a:gd name="T22" fmla="*/ 2147483647 w 323"/>
              <a:gd name="T23" fmla="*/ 2147483647 h 285"/>
              <a:gd name="T24" fmla="*/ 2147483647 w 323"/>
              <a:gd name="T25" fmla="*/ 2147483647 h 285"/>
              <a:gd name="T26" fmla="*/ 2147483647 w 323"/>
              <a:gd name="T27" fmla="*/ 2147483647 h 285"/>
              <a:gd name="T28" fmla="*/ 2147483647 w 323"/>
              <a:gd name="T29" fmla="*/ 2147483647 h 285"/>
              <a:gd name="T30" fmla="*/ 2147483647 w 323"/>
              <a:gd name="T31" fmla="*/ 2147483647 h 285"/>
              <a:gd name="T32" fmla="*/ 2147483647 w 323"/>
              <a:gd name="T33" fmla="*/ 2147483647 h 285"/>
              <a:gd name="T34" fmla="*/ 2147483647 w 323"/>
              <a:gd name="T35" fmla="*/ 2147483647 h 285"/>
              <a:gd name="T36" fmla="*/ 2147483647 w 323"/>
              <a:gd name="T37" fmla="*/ 2147483647 h 285"/>
              <a:gd name="T38" fmla="*/ 2147483647 w 323"/>
              <a:gd name="T39" fmla="*/ 2147483647 h 285"/>
              <a:gd name="T40" fmla="*/ 2147483647 w 323"/>
              <a:gd name="T41" fmla="*/ 2147483647 h 285"/>
              <a:gd name="T42" fmla="*/ 2147483647 w 323"/>
              <a:gd name="T43" fmla="*/ 2147483647 h 285"/>
              <a:gd name="T44" fmla="*/ 2147483647 w 323"/>
              <a:gd name="T45" fmla="*/ 2147483647 h 285"/>
              <a:gd name="T46" fmla="*/ 2147483647 w 323"/>
              <a:gd name="T47" fmla="*/ 2147483647 h 285"/>
              <a:gd name="T48" fmla="*/ 2147483647 w 323"/>
              <a:gd name="T49" fmla="*/ 2147483647 h 285"/>
              <a:gd name="T50" fmla="*/ 2147483647 w 323"/>
              <a:gd name="T51" fmla="*/ 2147483647 h 285"/>
              <a:gd name="T52" fmla="*/ 2147483647 w 323"/>
              <a:gd name="T53" fmla="*/ 2147483647 h 285"/>
              <a:gd name="T54" fmla="*/ 2147483647 w 323"/>
              <a:gd name="T55" fmla="*/ 2147483647 h 285"/>
              <a:gd name="T56" fmla="*/ 2147483647 w 323"/>
              <a:gd name="T57" fmla="*/ 2147483647 h 285"/>
              <a:gd name="T58" fmla="*/ 2147483647 w 323"/>
              <a:gd name="T59" fmla="*/ 2147483647 h 285"/>
              <a:gd name="T60" fmla="*/ 2147483647 w 323"/>
              <a:gd name="T61" fmla="*/ 2147483647 h 285"/>
              <a:gd name="T62" fmla="*/ 2147483647 w 323"/>
              <a:gd name="T63" fmla="*/ 2147483647 h 285"/>
              <a:gd name="T64" fmla="*/ 2147483647 w 323"/>
              <a:gd name="T65" fmla="*/ 2147483647 h 285"/>
              <a:gd name="T66" fmla="*/ 2147483647 w 323"/>
              <a:gd name="T67" fmla="*/ 2147483647 h 285"/>
              <a:gd name="T68" fmla="*/ 2147483647 w 323"/>
              <a:gd name="T69" fmla="*/ 2147483647 h 285"/>
              <a:gd name="T70" fmla="*/ 2147483647 w 323"/>
              <a:gd name="T71" fmla="*/ 2147483647 h 285"/>
              <a:gd name="T72" fmla="*/ 2147483647 w 323"/>
              <a:gd name="T73" fmla="*/ 2147483647 h 285"/>
              <a:gd name="T74" fmla="*/ 2147483647 w 323"/>
              <a:gd name="T75" fmla="*/ 2147483647 h 285"/>
              <a:gd name="T76" fmla="*/ 2147483647 w 323"/>
              <a:gd name="T77" fmla="*/ 2147483647 h 285"/>
              <a:gd name="T78" fmla="*/ 2147483647 w 323"/>
              <a:gd name="T79" fmla="*/ 2147483647 h 285"/>
              <a:gd name="T80" fmla="*/ 2147483647 w 323"/>
              <a:gd name="T81" fmla="*/ 2147483647 h 285"/>
              <a:gd name="T82" fmla="*/ 2147483647 w 323"/>
              <a:gd name="T83" fmla="*/ 2147483647 h 285"/>
              <a:gd name="T84" fmla="*/ 2147483647 w 323"/>
              <a:gd name="T85" fmla="*/ 2147483647 h 285"/>
              <a:gd name="T86" fmla="*/ 2147483647 w 323"/>
              <a:gd name="T87" fmla="*/ 2147483647 h 285"/>
              <a:gd name="T88" fmla="*/ 2147483647 w 323"/>
              <a:gd name="T89" fmla="*/ 2147483647 h 285"/>
              <a:gd name="T90" fmla="*/ 2147483647 w 323"/>
              <a:gd name="T91" fmla="*/ 2147483647 h 285"/>
              <a:gd name="T92" fmla="*/ 2147483647 w 323"/>
              <a:gd name="T93" fmla="*/ 2147483647 h 285"/>
              <a:gd name="T94" fmla="*/ 2147483647 w 323"/>
              <a:gd name="T95" fmla="*/ 2147483647 h 285"/>
              <a:gd name="T96" fmla="*/ 2147483647 w 323"/>
              <a:gd name="T97" fmla="*/ 2147483647 h 285"/>
              <a:gd name="T98" fmla="*/ 2147483647 w 323"/>
              <a:gd name="T99" fmla="*/ 0 h 285"/>
              <a:gd name="T100" fmla="*/ 2147483647 w 323"/>
              <a:gd name="T101" fmla="*/ 0 h 285"/>
              <a:gd name="T102" fmla="*/ 2147483647 w 323"/>
              <a:gd name="T103" fmla="*/ 0 h 285"/>
              <a:gd name="T104" fmla="*/ 0 w 323"/>
              <a:gd name="T105" fmla="*/ 2147483647 h 285"/>
              <a:gd name="T106" fmla="*/ 2147483647 w 323"/>
              <a:gd name="T107" fmla="*/ 2147483647 h 285"/>
              <a:gd name="T108" fmla="*/ 2147483647 w 323"/>
              <a:gd name="T109" fmla="*/ 2147483647 h 2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3"/>
              <a:gd name="T166" fmla="*/ 0 h 285"/>
              <a:gd name="T167" fmla="*/ 323 w 323"/>
              <a:gd name="T168" fmla="*/ 285 h 2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3" h="285">
                <a:moveTo>
                  <a:pt x="9" y="31"/>
                </a:moveTo>
                <a:lnTo>
                  <a:pt x="24" y="21"/>
                </a:lnTo>
                <a:lnTo>
                  <a:pt x="23" y="29"/>
                </a:lnTo>
                <a:lnTo>
                  <a:pt x="54" y="24"/>
                </a:lnTo>
                <a:lnTo>
                  <a:pt x="58" y="26"/>
                </a:lnTo>
                <a:lnTo>
                  <a:pt x="55" y="31"/>
                </a:lnTo>
                <a:lnTo>
                  <a:pt x="89" y="50"/>
                </a:lnTo>
                <a:lnTo>
                  <a:pt x="100" y="64"/>
                </a:lnTo>
                <a:lnTo>
                  <a:pt x="111" y="62"/>
                </a:lnTo>
                <a:lnTo>
                  <a:pt x="139" y="54"/>
                </a:lnTo>
                <a:lnTo>
                  <a:pt x="144" y="46"/>
                </a:lnTo>
                <a:lnTo>
                  <a:pt x="162" y="49"/>
                </a:lnTo>
                <a:lnTo>
                  <a:pt x="179" y="66"/>
                </a:lnTo>
                <a:lnTo>
                  <a:pt x="180" y="73"/>
                </a:lnTo>
                <a:lnTo>
                  <a:pt x="209" y="95"/>
                </a:lnTo>
                <a:lnTo>
                  <a:pt x="211" y="115"/>
                </a:lnTo>
                <a:lnTo>
                  <a:pt x="207" y="147"/>
                </a:lnTo>
                <a:lnTo>
                  <a:pt x="209" y="156"/>
                </a:lnTo>
                <a:lnTo>
                  <a:pt x="212" y="156"/>
                </a:lnTo>
                <a:lnTo>
                  <a:pt x="213" y="149"/>
                </a:lnTo>
                <a:lnTo>
                  <a:pt x="219" y="153"/>
                </a:lnTo>
                <a:lnTo>
                  <a:pt x="216" y="178"/>
                </a:lnTo>
                <a:lnTo>
                  <a:pt x="230" y="202"/>
                </a:lnTo>
                <a:lnTo>
                  <a:pt x="238" y="201"/>
                </a:lnTo>
                <a:lnTo>
                  <a:pt x="241" y="214"/>
                </a:lnTo>
                <a:lnTo>
                  <a:pt x="245" y="214"/>
                </a:lnTo>
                <a:lnTo>
                  <a:pt x="242" y="220"/>
                </a:lnTo>
                <a:lnTo>
                  <a:pt x="254" y="245"/>
                </a:lnTo>
                <a:lnTo>
                  <a:pt x="270" y="254"/>
                </a:lnTo>
                <a:lnTo>
                  <a:pt x="277" y="272"/>
                </a:lnTo>
                <a:lnTo>
                  <a:pt x="278" y="283"/>
                </a:lnTo>
                <a:lnTo>
                  <a:pt x="291" y="285"/>
                </a:lnTo>
                <a:lnTo>
                  <a:pt x="308" y="279"/>
                </a:lnTo>
                <a:lnTo>
                  <a:pt x="314" y="282"/>
                </a:lnTo>
                <a:lnTo>
                  <a:pt x="323" y="241"/>
                </a:lnTo>
                <a:lnTo>
                  <a:pt x="323" y="200"/>
                </a:lnTo>
                <a:lnTo>
                  <a:pt x="303" y="151"/>
                </a:lnTo>
                <a:lnTo>
                  <a:pt x="301" y="121"/>
                </a:lnTo>
                <a:lnTo>
                  <a:pt x="281" y="88"/>
                </a:lnTo>
                <a:lnTo>
                  <a:pt x="271" y="57"/>
                </a:lnTo>
                <a:lnTo>
                  <a:pt x="262" y="19"/>
                </a:lnTo>
                <a:lnTo>
                  <a:pt x="263" y="14"/>
                </a:lnTo>
                <a:lnTo>
                  <a:pt x="244" y="9"/>
                </a:lnTo>
                <a:lnTo>
                  <a:pt x="241" y="13"/>
                </a:lnTo>
                <a:lnTo>
                  <a:pt x="241" y="31"/>
                </a:lnTo>
                <a:lnTo>
                  <a:pt x="235" y="31"/>
                </a:lnTo>
                <a:lnTo>
                  <a:pt x="232" y="21"/>
                </a:lnTo>
                <a:lnTo>
                  <a:pt x="176" y="18"/>
                </a:lnTo>
                <a:lnTo>
                  <a:pt x="118" y="14"/>
                </a:lnTo>
                <a:lnTo>
                  <a:pt x="113" y="0"/>
                </a:lnTo>
                <a:lnTo>
                  <a:pt x="55" y="0"/>
                </a:lnTo>
                <a:lnTo>
                  <a:pt x="1" y="0"/>
                </a:lnTo>
                <a:lnTo>
                  <a:pt x="0" y="7"/>
                </a:lnTo>
                <a:lnTo>
                  <a:pt x="10" y="17"/>
                </a:lnTo>
                <a:lnTo>
                  <a:pt x="9" y="31"/>
                </a:lnTo>
                <a:close/>
              </a:path>
            </a:pathLst>
          </a:custGeom>
          <a:solidFill>
            <a:schemeClr val="accent1"/>
          </a:solidFill>
          <a:ln w="6350">
            <a:solidFill>
              <a:schemeClr val="tx2"/>
            </a:solidFill>
            <a:round/>
            <a:headEnd/>
            <a:tailEnd/>
          </a:ln>
        </p:spPr>
        <p:txBody>
          <a:bodyPr/>
          <a:lstStyle/>
          <a:p>
            <a:endParaRPr lang="en-US"/>
          </a:p>
        </p:txBody>
      </p:sp>
      <p:sp>
        <p:nvSpPr>
          <p:cNvPr id="218" name="Freeform 1118"/>
          <p:cNvSpPr>
            <a:spLocks/>
          </p:cNvSpPr>
          <p:nvPr/>
        </p:nvSpPr>
        <p:spPr bwMode="auto">
          <a:xfrm>
            <a:off x="3591727" y="3766285"/>
            <a:ext cx="174867" cy="35662"/>
          </a:xfrm>
          <a:custGeom>
            <a:avLst/>
            <a:gdLst>
              <a:gd name="T0" fmla="*/ 2147483647 w 372"/>
              <a:gd name="T1" fmla="*/ 2147483647 h 88"/>
              <a:gd name="T2" fmla="*/ 2147483647 w 372"/>
              <a:gd name="T3" fmla="*/ 2147483647 h 88"/>
              <a:gd name="T4" fmla="*/ 2147483647 w 372"/>
              <a:gd name="T5" fmla="*/ 2147483647 h 88"/>
              <a:gd name="T6" fmla="*/ 2147483647 w 372"/>
              <a:gd name="T7" fmla="*/ 2147483647 h 88"/>
              <a:gd name="T8" fmla="*/ 2147483647 w 372"/>
              <a:gd name="T9" fmla="*/ 0 h 88"/>
              <a:gd name="T10" fmla="*/ 2147483647 w 372"/>
              <a:gd name="T11" fmla="*/ 0 h 88"/>
              <a:gd name="T12" fmla="*/ 2147483647 w 372"/>
              <a:gd name="T13" fmla="*/ 2147483647 h 88"/>
              <a:gd name="T14" fmla="*/ 2147483647 w 372"/>
              <a:gd name="T15" fmla="*/ 2147483647 h 88"/>
              <a:gd name="T16" fmla="*/ 2147483647 w 372"/>
              <a:gd name="T17" fmla="*/ 2147483647 h 88"/>
              <a:gd name="T18" fmla="*/ 2147483647 w 372"/>
              <a:gd name="T19" fmla="*/ 2147483647 h 88"/>
              <a:gd name="T20" fmla="*/ 2147483647 w 372"/>
              <a:gd name="T21" fmla="*/ 2147483647 h 88"/>
              <a:gd name="T22" fmla="*/ 2147483647 w 372"/>
              <a:gd name="T23" fmla="*/ 2147483647 h 88"/>
              <a:gd name="T24" fmla="*/ 2147483647 w 372"/>
              <a:gd name="T25" fmla="*/ 2147483647 h 88"/>
              <a:gd name="T26" fmla="*/ 2147483647 w 372"/>
              <a:gd name="T27" fmla="*/ 2147483647 h 88"/>
              <a:gd name="T28" fmla="*/ 2147483647 w 372"/>
              <a:gd name="T29" fmla="*/ 2147483647 h 88"/>
              <a:gd name="T30" fmla="*/ 2147483647 w 372"/>
              <a:gd name="T31" fmla="*/ 2147483647 h 88"/>
              <a:gd name="T32" fmla="*/ 2147483647 w 372"/>
              <a:gd name="T33" fmla="*/ 2147483647 h 88"/>
              <a:gd name="T34" fmla="*/ 2147483647 w 372"/>
              <a:gd name="T35" fmla="*/ 2147483647 h 88"/>
              <a:gd name="T36" fmla="*/ 2147483647 w 372"/>
              <a:gd name="T37" fmla="*/ 2147483647 h 88"/>
              <a:gd name="T38" fmla="*/ 2147483647 w 372"/>
              <a:gd name="T39" fmla="*/ 2147483647 h 88"/>
              <a:gd name="T40" fmla="*/ 0 w 372"/>
              <a:gd name="T41" fmla="*/ 2147483647 h 88"/>
              <a:gd name="T42" fmla="*/ 2147483647 w 372"/>
              <a:gd name="T43" fmla="*/ 2147483647 h 88"/>
              <a:gd name="T44" fmla="*/ 2147483647 w 372"/>
              <a:gd name="T45" fmla="*/ 2147483647 h 88"/>
              <a:gd name="T46" fmla="*/ 2147483647 w 372"/>
              <a:gd name="T47" fmla="*/ 2147483647 h 88"/>
              <a:gd name="T48" fmla="*/ 2147483647 w 372"/>
              <a:gd name="T49" fmla="*/ 2147483647 h 88"/>
              <a:gd name="T50" fmla="*/ 2147483647 w 372"/>
              <a:gd name="T51" fmla="*/ 2147483647 h 88"/>
              <a:gd name="T52" fmla="*/ 2147483647 w 372"/>
              <a:gd name="T53" fmla="*/ 2147483647 h 88"/>
              <a:gd name="T54" fmla="*/ 2147483647 w 372"/>
              <a:gd name="T55" fmla="*/ 2147483647 h 88"/>
              <a:gd name="T56" fmla="*/ 2147483647 w 372"/>
              <a:gd name="T57" fmla="*/ 2147483647 h 88"/>
              <a:gd name="T58" fmla="*/ 2147483647 w 372"/>
              <a:gd name="T59" fmla="*/ 2147483647 h 88"/>
              <a:gd name="T60" fmla="*/ 2147483647 w 372"/>
              <a:gd name="T61" fmla="*/ 2147483647 h 88"/>
              <a:gd name="T62" fmla="*/ 2147483647 w 372"/>
              <a:gd name="T63" fmla="*/ 2147483647 h 88"/>
              <a:gd name="T64" fmla="*/ 2147483647 w 372"/>
              <a:gd name="T65" fmla="*/ 2147483647 h 88"/>
              <a:gd name="T66" fmla="*/ 2147483647 w 372"/>
              <a:gd name="T67" fmla="*/ 2147483647 h 88"/>
              <a:gd name="T68" fmla="*/ 2147483647 w 372"/>
              <a:gd name="T69" fmla="*/ 2147483647 h 88"/>
              <a:gd name="T70" fmla="*/ 2147483647 w 372"/>
              <a:gd name="T71" fmla="*/ 2147483647 h 88"/>
              <a:gd name="T72" fmla="*/ 2147483647 w 372"/>
              <a:gd name="T73" fmla="*/ 2147483647 h 88"/>
              <a:gd name="T74" fmla="*/ 2147483647 w 372"/>
              <a:gd name="T75" fmla="*/ 2147483647 h 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2"/>
              <a:gd name="T115" fmla="*/ 0 h 88"/>
              <a:gd name="T116" fmla="*/ 372 w 372"/>
              <a:gd name="T117" fmla="*/ 88 h 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2" h="88">
                <a:moveTo>
                  <a:pt x="372" y="1"/>
                </a:moveTo>
                <a:lnTo>
                  <a:pt x="285" y="1"/>
                </a:lnTo>
                <a:lnTo>
                  <a:pt x="222" y="1"/>
                </a:lnTo>
                <a:lnTo>
                  <a:pt x="193" y="1"/>
                </a:lnTo>
                <a:lnTo>
                  <a:pt x="143" y="0"/>
                </a:lnTo>
                <a:lnTo>
                  <a:pt x="96" y="0"/>
                </a:lnTo>
                <a:lnTo>
                  <a:pt x="97" y="10"/>
                </a:lnTo>
                <a:lnTo>
                  <a:pt x="35" y="13"/>
                </a:lnTo>
                <a:lnTo>
                  <a:pt x="31" y="8"/>
                </a:lnTo>
                <a:lnTo>
                  <a:pt x="33" y="17"/>
                </a:lnTo>
                <a:lnTo>
                  <a:pt x="29" y="19"/>
                </a:lnTo>
                <a:lnTo>
                  <a:pt x="32" y="23"/>
                </a:lnTo>
                <a:lnTo>
                  <a:pt x="26" y="24"/>
                </a:lnTo>
                <a:lnTo>
                  <a:pt x="30" y="29"/>
                </a:lnTo>
                <a:lnTo>
                  <a:pt x="25" y="36"/>
                </a:lnTo>
                <a:lnTo>
                  <a:pt x="28" y="41"/>
                </a:lnTo>
                <a:lnTo>
                  <a:pt x="15" y="51"/>
                </a:lnTo>
                <a:lnTo>
                  <a:pt x="17" y="62"/>
                </a:lnTo>
                <a:lnTo>
                  <a:pt x="8" y="71"/>
                </a:lnTo>
                <a:lnTo>
                  <a:pt x="9" y="82"/>
                </a:lnTo>
                <a:lnTo>
                  <a:pt x="0" y="88"/>
                </a:lnTo>
                <a:lnTo>
                  <a:pt x="45" y="88"/>
                </a:lnTo>
                <a:lnTo>
                  <a:pt x="91" y="88"/>
                </a:lnTo>
                <a:lnTo>
                  <a:pt x="144" y="88"/>
                </a:lnTo>
                <a:lnTo>
                  <a:pt x="257" y="88"/>
                </a:lnTo>
                <a:lnTo>
                  <a:pt x="259" y="77"/>
                </a:lnTo>
                <a:lnTo>
                  <a:pt x="268" y="75"/>
                </a:lnTo>
                <a:lnTo>
                  <a:pt x="276" y="62"/>
                </a:lnTo>
                <a:lnTo>
                  <a:pt x="293" y="60"/>
                </a:lnTo>
                <a:lnTo>
                  <a:pt x="314" y="48"/>
                </a:lnTo>
                <a:lnTo>
                  <a:pt x="318" y="39"/>
                </a:lnTo>
                <a:lnTo>
                  <a:pt x="330" y="33"/>
                </a:lnTo>
                <a:lnTo>
                  <a:pt x="333" y="38"/>
                </a:lnTo>
                <a:lnTo>
                  <a:pt x="344" y="29"/>
                </a:lnTo>
                <a:lnTo>
                  <a:pt x="355" y="31"/>
                </a:lnTo>
                <a:lnTo>
                  <a:pt x="362" y="20"/>
                </a:lnTo>
                <a:lnTo>
                  <a:pt x="370" y="18"/>
                </a:lnTo>
                <a:lnTo>
                  <a:pt x="372" y="1"/>
                </a:lnTo>
                <a:close/>
              </a:path>
            </a:pathLst>
          </a:custGeom>
          <a:solidFill>
            <a:schemeClr val="accent1"/>
          </a:solidFill>
          <a:ln w="6350">
            <a:solidFill>
              <a:schemeClr val="tx2"/>
            </a:solidFill>
            <a:round/>
            <a:headEnd/>
            <a:tailEnd/>
          </a:ln>
        </p:spPr>
        <p:txBody>
          <a:bodyPr/>
          <a:lstStyle/>
          <a:p>
            <a:endParaRPr lang="en-US"/>
          </a:p>
        </p:txBody>
      </p:sp>
      <p:sp>
        <p:nvSpPr>
          <p:cNvPr id="219" name="Freeform 1119"/>
          <p:cNvSpPr>
            <a:spLocks/>
          </p:cNvSpPr>
          <p:nvPr/>
        </p:nvSpPr>
        <p:spPr bwMode="auto">
          <a:xfrm>
            <a:off x="3564492" y="3801947"/>
            <a:ext cx="71667" cy="101892"/>
          </a:xfrm>
          <a:custGeom>
            <a:avLst/>
            <a:gdLst>
              <a:gd name="T0" fmla="*/ 2147483647 w 153"/>
              <a:gd name="T1" fmla="*/ 2147483647 h 243"/>
              <a:gd name="T2" fmla="*/ 2147483647 w 153"/>
              <a:gd name="T3" fmla="*/ 2147483647 h 243"/>
              <a:gd name="T4" fmla="*/ 2147483647 w 153"/>
              <a:gd name="T5" fmla="*/ 2147483647 h 243"/>
              <a:gd name="T6" fmla="*/ 2147483647 w 153"/>
              <a:gd name="T7" fmla="*/ 2147483647 h 243"/>
              <a:gd name="T8" fmla="*/ 2147483647 w 153"/>
              <a:gd name="T9" fmla="*/ 2147483647 h 243"/>
              <a:gd name="T10" fmla="*/ 2147483647 w 153"/>
              <a:gd name="T11" fmla="*/ 2147483647 h 243"/>
              <a:gd name="T12" fmla="*/ 0 w 153"/>
              <a:gd name="T13" fmla="*/ 2147483647 h 243"/>
              <a:gd name="T14" fmla="*/ 2147483647 w 153"/>
              <a:gd name="T15" fmla="*/ 2147483647 h 243"/>
              <a:gd name="T16" fmla="*/ 0 w 153"/>
              <a:gd name="T17" fmla="*/ 2147483647 h 243"/>
              <a:gd name="T18" fmla="*/ 2147483647 w 153"/>
              <a:gd name="T19" fmla="*/ 2147483647 h 243"/>
              <a:gd name="T20" fmla="*/ 2147483647 w 153"/>
              <a:gd name="T21" fmla="*/ 2147483647 h 243"/>
              <a:gd name="T22" fmla="*/ 2147483647 w 153"/>
              <a:gd name="T23" fmla="*/ 2147483647 h 243"/>
              <a:gd name="T24" fmla="*/ 2147483647 w 153"/>
              <a:gd name="T25" fmla="*/ 2147483647 h 243"/>
              <a:gd name="T26" fmla="*/ 2147483647 w 153"/>
              <a:gd name="T27" fmla="*/ 2147483647 h 243"/>
              <a:gd name="T28" fmla="*/ 2147483647 w 153"/>
              <a:gd name="T29" fmla="*/ 2147483647 h 243"/>
              <a:gd name="T30" fmla="*/ 2147483647 w 153"/>
              <a:gd name="T31" fmla="*/ 2147483647 h 243"/>
              <a:gd name="T32" fmla="*/ 2147483647 w 153"/>
              <a:gd name="T33" fmla="*/ 2147483647 h 243"/>
              <a:gd name="T34" fmla="*/ 2147483647 w 153"/>
              <a:gd name="T35" fmla="*/ 2147483647 h 243"/>
              <a:gd name="T36" fmla="*/ 2147483647 w 153"/>
              <a:gd name="T37" fmla="*/ 2147483647 h 243"/>
              <a:gd name="T38" fmla="*/ 2147483647 w 153"/>
              <a:gd name="T39" fmla="*/ 2147483647 h 243"/>
              <a:gd name="T40" fmla="*/ 2147483647 w 153"/>
              <a:gd name="T41" fmla="*/ 2147483647 h 243"/>
              <a:gd name="T42" fmla="*/ 2147483647 w 153"/>
              <a:gd name="T43" fmla="*/ 2147483647 h 243"/>
              <a:gd name="T44" fmla="*/ 2147483647 w 153"/>
              <a:gd name="T45" fmla="*/ 2147483647 h 243"/>
              <a:gd name="T46" fmla="*/ 2147483647 w 153"/>
              <a:gd name="T47" fmla="*/ 2147483647 h 243"/>
              <a:gd name="T48" fmla="*/ 2147483647 w 153"/>
              <a:gd name="T49" fmla="*/ 2147483647 h 243"/>
              <a:gd name="T50" fmla="*/ 2147483647 w 153"/>
              <a:gd name="T51" fmla="*/ 2147483647 h 243"/>
              <a:gd name="T52" fmla="*/ 2147483647 w 153"/>
              <a:gd name="T53" fmla="*/ 2147483647 h 243"/>
              <a:gd name="T54" fmla="*/ 2147483647 w 153"/>
              <a:gd name="T55" fmla="*/ 2147483647 h 243"/>
              <a:gd name="T56" fmla="*/ 2147483647 w 153"/>
              <a:gd name="T57" fmla="*/ 2147483647 h 243"/>
              <a:gd name="T58" fmla="*/ 2147483647 w 153"/>
              <a:gd name="T59" fmla="*/ 2147483647 h 243"/>
              <a:gd name="T60" fmla="*/ 2147483647 w 153"/>
              <a:gd name="T61" fmla="*/ 2147483647 h 243"/>
              <a:gd name="T62" fmla="*/ 2147483647 w 153"/>
              <a:gd name="T63" fmla="*/ 2147483647 h 243"/>
              <a:gd name="T64" fmla="*/ 2147483647 w 153"/>
              <a:gd name="T65" fmla="*/ 2147483647 h 243"/>
              <a:gd name="T66" fmla="*/ 2147483647 w 153"/>
              <a:gd name="T67" fmla="*/ 2147483647 h 243"/>
              <a:gd name="T68" fmla="*/ 2147483647 w 153"/>
              <a:gd name="T69" fmla="*/ 2147483647 h 243"/>
              <a:gd name="T70" fmla="*/ 2147483647 w 153"/>
              <a:gd name="T71" fmla="*/ 2147483647 h 243"/>
              <a:gd name="T72" fmla="*/ 2147483647 w 153"/>
              <a:gd name="T73" fmla="*/ 2147483647 h 243"/>
              <a:gd name="T74" fmla="*/ 2147483647 w 153"/>
              <a:gd name="T75" fmla="*/ 0 h 243"/>
              <a:gd name="T76" fmla="*/ 2147483647 w 153"/>
              <a:gd name="T77" fmla="*/ 0 h 243"/>
              <a:gd name="T78" fmla="*/ 2147483647 w 153"/>
              <a:gd name="T79" fmla="*/ 0 h 243"/>
              <a:gd name="T80" fmla="*/ 2147483647 w 153"/>
              <a:gd name="T81" fmla="*/ 2147483647 h 243"/>
              <a:gd name="T82" fmla="*/ 2147483647 w 153"/>
              <a:gd name="T83" fmla="*/ 2147483647 h 243"/>
              <a:gd name="T84" fmla="*/ 2147483647 w 153"/>
              <a:gd name="T85" fmla="*/ 2147483647 h 243"/>
              <a:gd name="T86" fmla="*/ 2147483647 w 153"/>
              <a:gd name="T87" fmla="*/ 2147483647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3"/>
              <a:gd name="T133" fmla="*/ 0 h 243"/>
              <a:gd name="T134" fmla="*/ 153 w 153"/>
              <a:gd name="T135" fmla="*/ 243 h 2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3" h="243">
                <a:moveTo>
                  <a:pt x="140" y="235"/>
                </a:moveTo>
                <a:lnTo>
                  <a:pt x="113" y="234"/>
                </a:lnTo>
                <a:lnTo>
                  <a:pt x="88" y="243"/>
                </a:lnTo>
                <a:lnTo>
                  <a:pt x="78" y="221"/>
                </a:lnTo>
                <a:lnTo>
                  <a:pt x="83" y="205"/>
                </a:lnTo>
                <a:lnTo>
                  <a:pt x="41" y="205"/>
                </a:lnTo>
                <a:lnTo>
                  <a:pt x="0" y="205"/>
                </a:lnTo>
                <a:lnTo>
                  <a:pt x="4" y="202"/>
                </a:lnTo>
                <a:lnTo>
                  <a:pt x="0" y="192"/>
                </a:lnTo>
                <a:lnTo>
                  <a:pt x="6" y="191"/>
                </a:lnTo>
                <a:lnTo>
                  <a:pt x="6" y="179"/>
                </a:lnTo>
                <a:lnTo>
                  <a:pt x="13" y="163"/>
                </a:lnTo>
                <a:lnTo>
                  <a:pt x="24" y="154"/>
                </a:lnTo>
                <a:lnTo>
                  <a:pt x="24" y="148"/>
                </a:lnTo>
                <a:lnTo>
                  <a:pt x="32" y="139"/>
                </a:lnTo>
                <a:lnTo>
                  <a:pt x="24" y="132"/>
                </a:lnTo>
                <a:lnTo>
                  <a:pt x="21" y="122"/>
                </a:lnTo>
                <a:lnTo>
                  <a:pt x="25" y="120"/>
                </a:lnTo>
                <a:lnTo>
                  <a:pt x="21" y="117"/>
                </a:lnTo>
                <a:lnTo>
                  <a:pt x="25" y="108"/>
                </a:lnTo>
                <a:lnTo>
                  <a:pt x="21" y="105"/>
                </a:lnTo>
                <a:lnTo>
                  <a:pt x="22" y="103"/>
                </a:lnTo>
                <a:lnTo>
                  <a:pt x="24" y="95"/>
                </a:lnTo>
                <a:lnTo>
                  <a:pt x="20" y="88"/>
                </a:lnTo>
                <a:lnTo>
                  <a:pt x="22" y="80"/>
                </a:lnTo>
                <a:lnTo>
                  <a:pt x="18" y="76"/>
                </a:lnTo>
                <a:lnTo>
                  <a:pt x="22" y="72"/>
                </a:lnTo>
                <a:lnTo>
                  <a:pt x="18" y="69"/>
                </a:lnTo>
                <a:lnTo>
                  <a:pt x="25" y="64"/>
                </a:lnTo>
                <a:lnTo>
                  <a:pt x="24" y="54"/>
                </a:lnTo>
                <a:lnTo>
                  <a:pt x="33" y="51"/>
                </a:lnTo>
                <a:lnTo>
                  <a:pt x="30" y="46"/>
                </a:lnTo>
                <a:lnTo>
                  <a:pt x="38" y="38"/>
                </a:lnTo>
                <a:lnTo>
                  <a:pt x="38" y="33"/>
                </a:lnTo>
                <a:lnTo>
                  <a:pt x="46" y="31"/>
                </a:lnTo>
                <a:lnTo>
                  <a:pt x="47" y="15"/>
                </a:lnTo>
                <a:lnTo>
                  <a:pt x="60" y="5"/>
                </a:lnTo>
                <a:lnTo>
                  <a:pt x="58" y="0"/>
                </a:lnTo>
                <a:lnTo>
                  <a:pt x="103" y="0"/>
                </a:lnTo>
                <a:lnTo>
                  <a:pt x="149" y="0"/>
                </a:lnTo>
                <a:lnTo>
                  <a:pt x="153" y="6"/>
                </a:lnTo>
                <a:lnTo>
                  <a:pt x="146" y="77"/>
                </a:lnTo>
                <a:lnTo>
                  <a:pt x="136" y="160"/>
                </a:lnTo>
                <a:lnTo>
                  <a:pt x="140" y="235"/>
                </a:lnTo>
                <a:close/>
              </a:path>
            </a:pathLst>
          </a:custGeom>
          <a:solidFill>
            <a:schemeClr val="accent1"/>
          </a:solidFill>
          <a:ln w="6350">
            <a:solidFill>
              <a:schemeClr val="tx2"/>
            </a:solidFill>
            <a:round/>
            <a:headEnd/>
            <a:tailEnd/>
          </a:ln>
        </p:spPr>
        <p:txBody>
          <a:bodyPr/>
          <a:lstStyle/>
          <a:p>
            <a:endParaRPr lang="en-US"/>
          </a:p>
        </p:txBody>
      </p:sp>
      <p:sp>
        <p:nvSpPr>
          <p:cNvPr id="220" name="Freeform 1120"/>
          <p:cNvSpPr>
            <a:spLocks/>
          </p:cNvSpPr>
          <p:nvPr/>
        </p:nvSpPr>
        <p:spPr bwMode="auto">
          <a:xfrm>
            <a:off x="3540126" y="3520470"/>
            <a:ext cx="117533" cy="112082"/>
          </a:xfrm>
          <a:custGeom>
            <a:avLst/>
            <a:gdLst>
              <a:gd name="T0" fmla="*/ 2147483647 w 251"/>
              <a:gd name="T1" fmla="*/ 2147483647 h 269"/>
              <a:gd name="T2" fmla="*/ 2147483647 w 251"/>
              <a:gd name="T3" fmla="*/ 2147483647 h 269"/>
              <a:gd name="T4" fmla="*/ 2147483647 w 251"/>
              <a:gd name="T5" fmla="*/ 2147483647 h 269"/>
              <a:gd name="T6" fmla="*/ 2147483647 w 251"/>
              <a:gd name="T7" fmla="*/ 0 h 269"/>
              <a:gd name="T8" fmla="*/ 2147483647 w 251"/>
              <a:gd name="T9" fmla="*/ 2147483647 h 269"/>
              <a:gd name="T10" fmla="*/ 2147483647 w 251"/>
              <a:gd name="T11" fmla="*/ 2147483647 h 269"/>
              <a:gd name="T12" fmla="*/ 2147483647 w 251"/>
              <a:gd name="T13" fmla="*/ 2147483647 h 269"/>
              <a:gd name="T14" fmla="*/ 2147483647 w 251"/>
              <a:gd name="T15" fmla="*/ 2147483647 h 269"/>
              <a:gd name="T16" fmla="*/ 2147483647 w 251"/>
              <a:gd name="T17" fmla="*/ 2147483647 h 269"/>
              <a:gd name="T18" fmla="*/ 2147483647 w 251"/>
              <a:gd name="T19" fmla="*/ 2147483647 h 269"/>
              <a:gd name="T20" fmla="*/ 2147483647 w 251"/>
              <a:gd name="T21" fmla="*/ 2147483647 h 269"/>
              <a:gd name="T22" fmla="*/ 0 w 251"/>
              <a:gd name="T23" fmla="*/ 2147483647 h 269"/>
              <a:gd name="T24" fmla="*/ 0 w 251"/>
              <a:gd name="T25" fmla="*/ 2147483647 h 269"/>
              <a:gd name="T26" fmla="*/ 2147483647 w 251"/>
              <a:gd name="T27" fmla="*/ 2147483647 h 269"/>
              <a:gd name="T28" fmla="*/ 2147483647 w 251"/>
              <a:gd name="T29" fmla="*/ 2147483647 h 269"/>
              <a:gd name="T30" fmla="*/ 2147483647 w 251"/>
              <a:gd name="T31" fmla="*/ 2147483647 h 269"/>
              <a:gd name="T32" fmla="*/ 2147483647 w 251"/>
              <a:gd name="T33" fmla="*/ 2147483647 h 269"/>
              <a:gd name="T34" fmla="*/ 2147483647 w 251"/>
              <a:gd name="T35" fmla="*/ 2147483647 h 269"/>
              <a:gd name="T36" fmla="*/ 2147483647 w 251"/>
              <a:gd name="T37" fmla="*/ 2147483647 h 269"/>
              <a:gd name="T38" fmla="*/ 2147483647 w 251"/>
              <a:gd name="T39" fmla="*/ 2147483647 h 269"/>
              <a:gd name="T40" fmla="*/ 2147483647 w 251"/>
              <a:gd name="T41" fmla="*/ 2147483647 h 269"/>
              <a:gd name="T42" fmla="*/ 2147483647 w 251"/>
              <a:gd name="T43" fmla="*/ 2147483647 h 269"/>
              <a:gd name="T44" fmla="*/ 2147483647 w 251"/>
              <a:gd name="T45" fmla="*/ 2147483647 h 269"/>
              <a:gd name="T46" fmla="*/ 2147483647 w 251"/>
              <a:gd name="T47" fmla="*/ 2147483647 h 269"/>
              <a:gd name="T48" fmla="*/ 2147483647 w 251"/>
              <a:gd name="T49" fmla="*/ 2147483647 h 269"/>
              <a:gd name="T50" fmla="*/ 2147483647 w 251"/>
              <a:gd name="T51" fmla="*/ 2147483647 h 269"/>
              <a:gd name="T52" fmla="*/ 2147483647 w 251"/>
              <a:gd name="T53" fmla="*/ 2147483647 h 269"/>
              <a:gd name="T54" fmla="*/ 2147483647 w 251"/>
              <a:gd name="T55" fmla="*/ 2147483647 h 269"/>
              <a:gd name="T56" fmla="*/ 2147483647 w 251"/>
              <a:gd name="T57" fmla="*/ 2147483647 h 269"/>
              <a:gd name="T58" fmla="*/ 2147483647 w 251"/>
              <a:gd name="T59" fmla="*/ 2147483647 h 269"/>
              <a:gd name="T60" fmla="*/ 2147483647 w 251"/>
              <a:gd name="T61" fmla="*/ 2147483647 h 269"/>
              <a:gd name="T62" fmla="*/ 2147483647 w 251"/>
              <a:gd name="T63" fmla="*/ 2147483647 h 269"/>
              <a:gd name="T64" fmla="*/ 2147483647 w 251"/>
              <a:gd name="T65" fmla="*/ 2147483647 h 269"/>
              <a:gd name="T66" fmla="*/ 2147483647 w 251"/>
              <a:gd name="T67" fmla="*/ 2147483647 h 269"/>
              <a:gd name="T68" fmla="*/ 2147483647 w 251"/>
              <a:gd name="T69" fmla="*/ 2147483647 h 269"/>
              <a:gd name="T70" fmla="*/ 2147483647 w 251"/>
              <a:gd name="T71" fmla="*/ 2147483647 h 269"/>
              <a:gd name="T72" fmla="*/ 2147483647 w 251"/>
              <a:gd name="T73" fmla="*/ 2147483647 h 269"/>
              <a:gd name="T74" fmla="*/ 2147483647 w 251"/>
              <a:gd name="T75" fmla="*/ 2147483647 h 269"/>
              <a:gd name="T76" fmla="*/ 2147483647 w 251"/>
              <a:gd name="T77" fmla="*/ 2147483647 h 269"/>
              <a:gd name="T78" fmla="*/ 2147483647 w 251"/>
              <a:gd name="T79" fmla="*/ 2147483647 h 269"/>
              <a:gd name="T80" fmla="*/ 2147483647 w 251"/>
              <a:gd name="T81" fmla="*/ 2147483647 h 269"/>
              <a:gd name="T82" fmla="*/ 2147483647 w 251"/>
              <a:gd name="T83" fmla="*/ 2147483647 h 269"/>
              <a:gd name="T84" fmla="*/ 2147483647 w 251"/>
              <a:gd name="T85" fmla="*/ 2147483647 h 269"/>
              <a:gd name="T86" fmla="*/ 2147483647 w 251"/>
              <a:gd name="T87" fmla="*/ 2147483647 h 269"/>
              <a:gd name="T88" fmla="*/ 2147483647 w 251"/>
              <a:gd name="T89" fmla="*/ 2147483647 h 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1"/>
              <a:gd name="T136" fmla="*/ 0 h 269"/>
              <a:gd name="T137" fmla="*/ 251 w 251"/>
              <a:gd name="T138" fmla="*/ 269 h 26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1" h="269">
                <a:moveTo>
                  <a:pt x="107" y="22"/>
                </a:moveTo>
                <a:lnTo>
                  <a:pt x="87" y="24"/>
                </a:lnTo>
                <a:lnTo>
                  <a:pt x="88" y="5"/>
                </a:lnTo>
                <a:lnTo>
                  <a:pt x="83" y="0"/>
                </a:lnTo>
                <a:lnTo>
                  <a:pt x="55" y="19"/>
                </a:lnTo>
                <a:lnTo>
                  <a:pt x="38" y="21"/>
                </a:lnTo>
                <a:lnTo>
                  <a:pt x="34" y="16"/>
                </a:lnTo>
                <a:lnTo>
                  <a:pt x="31" y="11"/>
                </a:lnTo>
                <a:lnTo>
                  <a:pt x="25" y="17"/>
                </a:lnTo>
                <a:lnTo>
                  <a:pt x="25" y="53"/>
                </a:lnTo>
                <a:lnTo>
                  <a:pt x="8" y="63"/>
                </a:lnTo>
                <a:lnTo>
                  <a:pt x="0" y="76"/>
                </a:lnTo>
                <a:lnTo>
                  <a:pt x="0" y="83"/>
                </a:lnTo>
                <a:lnTo>
                  <a:pt x="10" y="94"/>
                </a:lnTo>
                <a:lnTo>
                  <a:pt x="6" y="102"/>
                </a:lnTo>
                <a:lnTo>
                  <a:pt x="3" y="134"/>
                </a:lnTo>
                <a:lnTo>
                  <a:pt x="21" y="149"/>
                </a:lnTo>
                <a:lnTo>
                  <a:pt x="34" y="152"/>
                </a:lnTo>
                <a:lnTo>
                  <a:pt x="47" y="170"/>
                </a:lnTo>
                <a:lnTo>
                  <a:pt x="66" y="184"/>
                </a:lnTo>
                <a:lnTo>
                  <a:pt x="72" y="208"/>
                </a:lnTo>
                <a:lnTo>
                  <a:pt x="79" y="254"/>
                </a:lnTo>
                <a:lnTo>
                  <a:pt x="94" y="259"/>
                </a:lnTo>
                <a:lnTo>
                  <a:pt x="96" y="269"/>
                </a:lnTo>
                <a:lnTo>
                  <a:pt x="163" y="269"/>
                </a:lnTo>
                <a:lnTo>
                  <a:pt x="218" y="269"/>
                </a:lnTo>
                <a:lnTo>
                  <a:pt x="215" y="225"/>
                </a:lnTo>
                <a:lnTo>
                  <a:pt x="224" y="199"/>
                </a:lnTo>
                <a:lnTo>
                  <a:pt x="232" y="147"/>
                </a:lnTo>
                <a:lnTo>
                  <a:pt x="251" y="111"/>
                </a:lnTo>
                <a:lnTo>
                  <a:pt x="249" y="104"/>
                </a:lnTo>
                <a:lnTo>
                  <a:pt x="238" y="116"/>
                </a:lnTo>
                <a:lnTo>
                  <a:pt x="236" y="129"/>
                </a:lnTo>
                <a:lnTo>
                  <a:pt x="211" y="147"/>
                </a:lnTo>
                <a:lnTo>
                  <a:pt x="219" y="127"/>
                </a:lnTo>
                <a:lnTo>
                  <a:pt x="227" y="113"/>
                </a:lnTo>
                <a:lnTo>
                  <a:pt x="221" y="108"/>
                </a:lnTo>
                <a:lnTo>
                  <a:pt x="224" y="96"/>
                </a:lnTo>
                <a:lnTo>
                  <a:pt x="215" y="97"/>
                </a:lnTo>
                <a:lnTo>
                  <a:pt x="218" y="77"/>
                </a:lnTo>
                <a:lnTo>
                  <a:pt x="205" y="70"/>
                </a:lnTo>
                <a:lnTo>
                  <a:pt x="205" y="62"/>
                </a:lnTo>
                <a:lnTo>
                  <a:pt x="119" y="37"/>
                </a:lnTo>
                <a:lnTo>
                  <a:pt x="115" y="27"/>
                </a:lnTo>
                <a:lnTo>
                  <a:pt x="107" y="22"/>
                </a:lnTo>
                <a:close/>
              </a:path>
            </a:pathLst>
          </a:custGeom>
          <a:solidFill>
            <a:schemeClr val="accent1"/>
          </a:solidFill>
          <a:ln w="6350">
            <a:solidFill>
              <a:schemeClr val="tx2"/>
            </a:solidFill>
            <a:round/>
            <a:headEnd/>
            <a:tailEnd/>
          </a:ln>
        </p:spPr>
        <p:txBody>
          <a:bodyPr/>
          <a:lstStyle/>
          <a:p>
            <a:endParaRPr lang="en-US"/>
          </a:p>
        </p:txBody>
      </p:sp>
      <p:sp>
        <p:nvSpPr>
          <p:cNvPr id="221" name="Freeform 1121"/>
          <p:cNvSpPr>
            <a:spLocks/>
          </p:cNvSpPr>
          <p:nvPr/>
        </p:nvSpPr>
        <p:spPr bwMode="auto">
          <a:xfrm>
            <a:off x="3568794" y="3632551"/>
            <a:ext cx="77400" cy="127365"/>
          </a:xfrm>
          <a:custGeom>
            <a:avLst/>
            <a:gdLst>
              <a:gd name="T0" fmla="*/ 2147483647 w 172"/>
              <a:gd name="T1" fmla="*/ 2147483647 h 307"/>
              <a:gd name="T2" fmla="*/ 0 w 172"/>
              <a:gd name="T3" fmla="*/ 2147483647 h 307"/>
              <a:gd name="T4" fmla="*/ 2147483647 w 172"/>
              <a:gd name="T5" fmla="*/ 2147483647 h 307"/>
              <a:gd name="T6" fmla="*/ 2147483647 w 172"/>
              <a:gd name="T7" fmla="*/ 2147483647 h 307"/>
              <a:gd name="T8" fmla="*/ 2147483647 w 172"/>
              <a:gd name="T9" fmla="*/ 2147483647 h 307"/>
              <a:gd name="T10" fmla="*/ 2147483647 w 172"/>
              <a:gd name="T11" fmla="*/ 2147483647 h 307"/>
              <a:gd name="T12" fmla="*/ 2147483647 w 172"/>
              <a:gd name="T13" fmla="*/ 2147483647 h 307"/>
              <a:gd name="T14" fmla="*/ 2147483647 w 172"/>
              <a:gd name="T15" fmla="*/ 2147483647 h 307"/>
              <a:gd name="T16" fmla="*/ 2147483647 w 172"/>
              <a:gd name="T17" fmla="*/ 2147483647 h 307"/>
              <a:gd name="T18" fmla="*/ 2147483647 w 172"/>
              <a:gd name="T19" fmla="*/ 2147483647 h 307"/>
              <a:gd name="T20" fmla="*/ 2147483647 w 172"/>
              <a:gd name="T21" fmla="*/ 2147483647 h 307"/>
              <a:gd name="T22" fmla="*/ 2147483647 w 172"/>
              <a:gd name="T23" fmla="*/ 2147483647 h 307"/>
              <a:gd name="T24" fmla="*/ 2147483647 w 172"/>
              <a:gd name="T25" fmla="*/ 2147483647 h 307"/>
              <a:gd name="T26" fmla="*/ 2147483647 w 172"/>
              <a:gd name="T27" fmla="*/ 2147483647 h 307"/>
              <a:gd name="T28" fmla="*/ 2147483647 w 172"/>
              <a:gd name="T29" fmla="*/ 2147483647 h 307"/>
              <a:gd name="T30" fmla="*/ 2147483647 w 172"/>
              <a:gd name="T31" fmla="*/ 2147483647 h 307"/>
              <a:gd name="T32" fmla="*/ 2147483647 w 172"/>
              <a:gd name="T33" fmla="*/ 2147483647 h 307"/>
              <a:gd name="T34" fmla="*/ 2147483647 w 172"/>
              <a:gd name="T35" fmla="*/ 2147483647 h 307"/>
              <a:gd name="T36" fmla="*/ 2147483647 w 172"/>
              <a:gd name="T37" fmla="*/ 2147483647 h 307"/>
              <a:gd name="T38" fmla="*/ 2147483647 w 172"/>
              <a:gd name="T39" fmla="*/ 2147483647 h 307"/>
              <a:gd name="T40" fmla="*/ 2147483647 w 172"/>
              <a:gd name="T41" fmla="*/ 2147483647 h 307"/>
              <a:gd name="T42" fmla="*/ 2147483647 w 172"/>
              <a:gd name="T43" fmla="*/ 2147483647 h 307"/>
              <a:gd name="T44" fmla="*/ 2147483647 w 172"/>
              <a:gd name="T45" fmla="*/ 2147483647 h 307"/>
              <a:gd name="T46" fmla="*/ 2147483647 w 172"/>
              <a:gd name="T47" fmla="*/ 2147483647 h 307"/>
              <a:gd name="T48" fmla="*/ 2147483647 w 172"/>
              <a:gd name="T49" fmla="*/ 2147483647 h 307"/>
              <a:gd name="T50" fmla="*/ 2147483647 w 172"/>
              <a:gd name="T51" fmla="*/ 2147483647 h 307"/>
              <a:gd name="T52" fmla="*/ 2147483647 w 172"/>
              <a:gd name="T53" fmla="*/ 2147483647 h 307"/>
              <a:gd name="T54" fmla="*/ 2147483647 w 172"/>
              <a:gd name="T55" fmla="*/ 2147483647 h 307"/>
              <a:gd name="T56" fmla="*/ 2147483647 w 172"/>
              <a:gd name="T57" fmla="*/ 2147483647 h 307"/>
              <a:gd name="T58" fmla="*/ 2147483647 w 172"/>
              <a:gd name="T59" fmla="*/ 2147483647 h 307"/>
              <a:gd name="T60" fmla="*/ 2147483647 w 172"/>
              <a:gd name="T61" fmla="*/ 2147483647 h 307"/>
              <a:gd name="T62" fmla="*/ 2147483647 w 172"/>
              <a:gd name="T63" fmla="*/ 2147483647 h 307"/>
              <a:gd name="T64" fmla="*/ 2147483647 w 172"/>
              <a:gd name="T65" fmla="*/ 2147483647 h 307"/>
              <a:gd name="T66" fmla="*/ 2147483647 w 172"/>
              <a:gd name="T67" fmla="*/ 2147483647 h 307"/>
              <a:gd name="T68" fmla="*/ 2147483647 w 172"/>
              <a:gd name="T69" fmla="*/ 2147483647 h 307"/>
              <a:gd name="T70" fmla="*/ 2147483647 w 172"/>
              <a:gd name="T71" fmla="*/ 2147483647 h 307"/>
              <a:gd name="T72" fmla="*/ 2147483647 w 172"/>
              <a:gd name="T73" fmla="*/ 2147483647 h 307"/>
              <a:gd name="T74" fmla="*/ 2147483647 w 172"/>
              <a:gd name="T75" fmla="*/ 2147483647 h 307"/>
              <a:gd name="T76" fmla="*/ 2147483647 w 172"/>
              <a:gd name="T77" fmla="*/ 0 h 307"/>
              <a:gd name="T78" fmla="*/ 2147483647 w 172"/>
              <a:gd name="T79" fmla="*/ 0 h 307"/>
              <a:gd name="T80" fmla="*/ 2147483647 w 172"/>
              <a:gd name="T81" fmla="*/ 0 h 307"/>
              <a:gd name="T82" fmla="*/ 2147483647 w 172"/>
              <a:gd name="T83" fmla="*/ 2147483647 h 307"/>
              <a:gd name="T84" fmla="*/ 2147483647 w 172"/>
              <a:gd name="T85" fmla="*/ 2147483647 h 307"/>
              <a:gd name="T86" fmla="*/ 2147483647 w 172"/>
              <a:gd name="T87" fmla="*/ 2147483647 h 307"/>
              <a:gd name="T88" fmla="*/ 2147483647 w 172"/>
              <a:gd name="T89" fmla="*/ 2147483647 h 307"/>
              <a:gd name="T90" fmla="*/ 2147483647 w 172"/>
              <a:gd name="T91" fmla="*/ 2147483647 h 307"/>
              <a:gd name="T92" fmla="*/ 2147483647 w 172"/>
              <a:gd name="T93" fmla="*/ 2147483647 h 307"/>
              <a:gd name="T94" fmla="*/ 2147483647 w 172"/>
              <a:gd name="T95" fmla="*/ 2147483647 h 307"/>
              <a:gd name="T96" fmla="*/ 2147483647 w 172"/>
              <a:gd name="T97" fmla="*/ 2147483647 h 307"/>
              <a:gd name="T98" fmla="*/ 2147483647 w 172"/>
              <a:gd name="T99" fmla="*/ 2147483647 h 307"/>
              <a:gd name="T100" fmla="*/ 2147483647 w 172"/>
              <a:gd name="T101" fmla="*/ 2147483647 h 307"/>
              <a:gd name="T102" fmla="*/ 2147483647 w 172"/>
              <a:gd name="T103" fmla="*/ 2147483647 h 307"/>
              <a:gd name="T104" fmla="*/ 2147483647 w 172"/>
              <a:gd name="T105" fmla="*/ 2147483647 h 30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2"/>
              <a:gd name="T160" fmla="*/ 0 h 307"/>
              <a:gd name="T161" fmla="*/ 172 w 172"/>
              <a:gd name="T162" fmla="*/ 307 h 30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2" h="307">
                <a:moveTo>
                  <a:pt x="2" y="120"/>
                </a:moveTo>
                <a:lnTo>
                  <a:pt x="0" y="135"/>
                </a:lnTo>
                <a:lnTo>
                  <a:pt x="6" y="157"/>
                </a:lnTo>
                <a:lnTo>
                  <a:pt x="31" y="181"/>
                </a:lnTo>
                <a:lnTo>
                  <a:pt x="38" y="203"/>
                </a:lnTo>
                <a:lnTo>
                  <a:pt x="47" y="199"/>
                </a:lnTo>
                <a:lnTo>
                  <a:pt x="60" y="206"/>
                </a:lnTo>
                <a:lnTo>
                  <a:pt x="49" y="232"/>
                </a:lnTo>
                <a:lnTo>
                  <a:pt x="50" y="240"/>
                </a:lnTo>
                <a:lnTo>
                  <a:pt x="85" y="269"/>
                </a:lnTo>
                <a:lnTo>
                  <a:pt x="89" y="283"/>
                </a:lnTo>
                <a:lnTo>
                  <a:pt x="86" y="291"/>
                </a:lnTo>
                <a:lnTo>
                  <a:pt x="91" y="302"/>
                </a:lnTo>
                <a:lnTo>
                  <a:pt x="96" y="305"/>
                </a:lnTo>
                <a:lnTo>
                  <a:pt x="96" y="300"/>
                </a:lnTo>
                <a:lnTo>
                  <a:pt x="103" y="307"/>
                </a:lnTo>
                <a:lnTo>
                  <a:pt x="100" y="301"/>
                </a:lnTo>
                <a:lnTo>
                  <a:pt x="108" y="293"/>
                </a:lnTo>
                <a:lnTo>
                  <a:pt x="128" y="302"/>
                </a:lnTo>
                <a:lnTo>
                  <a:pt x="133" y="297"/>
                </a:lnTo>
                <a:lnTo>
                  <a:pt x="130" y="284"/>
                </a:lnTo>
                <a:lnTo>
                  <a:pt x="147" y="279"/>
                </a:lnTo>
                <a:lnTo>
                  <a:pt x="144" y="270"/>
                </a:lnTo>
                <a:lnTo>
                  <a:pt x="149" y="261"/>
                </a:lnTo>
                <a:lnTo>
                  <a:pt x="146" y="258"/>
                </a:lnTo>
                <a:lnTo>
                  <a:pt x="149" y="257"/>
                </a:lnTo>
                <a:lnTo>
                  <a:pt x="150" y="247"/>
                </a:lnTo>
                <a:lnTo>
                  <a:pt x="154" y="244"/>
                </a:lnTo>
                <a:lnTo>
                  <a:pt x="151" y="239"/>
                </a:lnTo>
                <a:lnTo>
                  <a:pt x="166" y="224"/>
                </a:lnTo>
                <a:lnTo>
                  <a:pt x="172" y="211"/>
                </a:lnTo>
                <a:lnTo>
                  <a:pt x="171" y="200"/>
                </a:lnTo>
                <a:lnTo>
                  <a:pt x="165" y="191"/>
                </a:lnTo>
                <a:lnTo>
                  <a:pt x="171" y="177"/>
                </a:lnTo>
                <a:lnTo>
                  <a:pt x="171" y="116"/>
                </a:lnTo>
                <a:lnTo>
                  <a:pt x="171" y="43"/>
                </a:lnTo>
                <a:lnTo>
                  <a:pt x="168" y="39"/>
                </a:lnTo>
                <a:lnTo>
                  <a:pt x="159" y="11"/>
                </a:lnTo>
                <a:lnTo>
                  <a:pt x="159" y="0"/>
                </a:lnTo>
                <a:lnTo>
                  <a:pt x="104" y="0"/>
                </a:lnTo>
                <a:lnTo>
                  <a:pt x="37" y="0"/>
                </a:lnTo>
                <a:lnTo>
                  <a:pt x="58" y="20"/>
                </a:lnTo>
                <a:lnTo>
                  <a:pt x="59" y="28"/>
                </a:lnTo>
                <a:lnTo>
                  <a:pt x="57" y="38"/>
                </a:lnTo>
                <a:lnTo>
                  <a:pt x="50" y="51"/>
                </a:lnTo>
                <a:lnTo>
                  <a:pt x="20" y="61"/>
                </a:lnTo>
                <a:lnTo>
                  <a:pt x="18" y="71"/>
                </a:lnTo>
                <a:lnTo>
                  <a:pt x="24" y="78"/>
                </a:lnTo>
                <a:lnTo>
                  <a:pt x="24" y="86"/>
                </a:lnTo>
                <a:lnTo>
                  <a:pt x="16" y="103"/>
                </a:lnTo>
                <a:lnTo>
                  <a:pt x="5" y="109"/>
                </a:lnTo>
                <a:lnTo>
                  <a:pt x="6" y="118"/>
                </a:lnTo>
                <a:lnTo>
                  <a:pt x="2" y="120"/>
                </a:lnTo>
                <a:close/>
              </a:path>
            </a:pathLst>
          </a:custGeom>
          <a:solidFill>
            <a:schemeClr val="accent1"/>
          </a:solidFill>
          <a:ln w="6350">
            <a:solidFill>
              <a:schemeClr val="tx2"/>
            </a:solidFill>
            <a:round/>
            <a:headEnd/>
            <a:tailEnd/>
          </a:ln>
        </p:spPr>
        <p:txBody>
          <a:bodyPr/>
          <a:lstStyle/>
          <a:p>
            <a:endParaRPr lang="en-US"/>
          </a:p>
        </p:txBody>
      </p:sp>
      <p:sp>
        <p:nvSpPr>
          <p:cNvPr id="222" name="Freeform 1122"/>
          <p:cNvSpPr>
            <a:spLocks/>
          </p:cNvSpPr>
          <p:nvPr/>
        </p:nvSpPr>
        <p:spPr bwMode="auto">
          <a:xfrm>
            <a:off x="3713560" y="3766285"/>
            <a:ext cx="174867" cy="61135"/>
          </a:xfrm>
          <a:custGeom>
            <a:avLst/>
            <a:gdLst>
              <a:gd name="T0" fmla="*/ 2147483647 w 373"/>
              <a:gd name="T1" fmla="*/ 0 h 147"/>
              <a:gd name="T2" fmla="*/ 2147483647 w 373"/>
              <a:gd name="T3" fmla="*/ 0 h 147"/>
              <a:gd name="T4" fmla="*/ 2147483647 w 373"/>
              <a:gd name="T5" fmla="*/ 0 h 147"/>
              <a:gd name="T6" fmla="*/ 2147483647 w 373"/>
              <a:gd name="T7" fmla="*/ 0 h 147"/>
              <a:gd name="T8" fmla="*/ 2147483647 w 373"/>
              <a:gd name="T9" fmla="*/ 2147483647 h 147"/>
              <a:gd name="T10" fmla="*/ 2147483647 w 373"/>
              <a:gd name="T11" fmla="*/ 2147483647 h 147"/>
              <a:gd name="T12" fmla="*/ 2147483647 w 373"/>
              <a:gd name="T13" fmla="*/ 2147483647 h 147"/>
              <a:gd name="T14" fmla="*/ 2147483647 w 373"/>
              <a:gd name="T15" fmla="*/ 2147483647 h 147"/>
              <a:gd name="T16" fmla="*/ 2147483647 w 373"/>
              <a:gd name="T17" fmla="*/ 2147483647 h 147"/>
              <a:gd name="T18" fmla="*/ 2147483647 w 373"/>
              <a:gd name="T19" fmla="*/ 2147483647 h 147"/>
              <a:gd name="T20" fmla="*/ 2147483647 w 373"/>
              <a:gd name="T21" fmla="*/ 2147483647 h 147"/>
              <a:gd name="T22" fmla="*/ 2147483647 w 373"/>
              <a:gd name="T23" fmla="*/ 2147483647 h 147"/>
              <a:gd name="T24" fmla="*/ 2147483647 w 373"/>
              <a:gd name="T25" fmla="*/ 2147483647 h 147"/>
              <a:gd name="T26" fmla="*/ 2147483647 w 373"/>
              <a:gd name="T27" fmla="*/ 2147483647 h 147"/>
              <a:gd name="T28" fmla="*/ 2147483647 w 373"/>
              <a:gd name="T29" fmla="*/ 2147483647 h 147"/>
              <a:gd name="T30" fmla="*/ 2147483647 w 373"/>
              <a:gd name="T31" fmla="*/ 2147483647 h 147"/>
              <a:gd name="T32" fmla="*/ 0 w 373"/>
              <a:gd name="T33" fmla="*/ 2147483647 h 147"/>
              <a:gd name="T34" fmla="*/ 2147483647 w 373"/>
              <a:gd name="T35" fmla="*/ 2147483647 h 147"/>
              <a:gd name="T36" fmla="*/ 2147483647 w 373"/>
              <a:gd name="T37" fmla="*/ 2147483647 h 147"/>
              <a:gd name="T38" fmla="*/ 2147483647 w 373"/>
              <a:gd name="T39" fmla="*/ 2147483647 h 147"/>
              <a:gd name="T40" fmla="*/ 2147483647 w 373"/>
              <a:gd name="T41" fmla="*/ 2147483647 h 147"/>
              <a:gd name="T42" fmla="*/ 2147483647 w 373"/>
              <a:gd name="T43" fmla="*/ 2147483647 h 147"/>
              <a:gd name="T44" fmla="*/ 2147483647 w 373"/>
              <a:gd name="T45" fmla="*/ 2147483647 h 147"/>
              <a:gd name="T46" fmla="*/ 2147483647 w 373"/>
              <a:gd name="T47" fmla="*/ 2147483647 h 147"/>
              <a:gd name="T48" fmla="*/ 2147483647 w 373"/>
              <a:gd name="T49" fmla="*/ 2147483647 h 147"/>
              <a:gd name="T50" fmla="*/ 2147483647 w 373"/>
              <a:gd name="T51" fmla="*/ 2147483647 h 147"/>
              <a:gd name="T52" fmla="*/ 2147483647 w 373"/>
              <a:gd name="T53" fmla="*/ 2147483647 h 147"/>
              <a:gd name="T54" fmla="*/ 2147483647 w 373"/>
              <a:gd name="T55" fmla="*/ 2147483647 h 147"/>
              <a:gd name="T56" fmla="*/ 2147483647 w 373"/>
              <a:gd name="T57" fmla="*/ 2147483647 h 147"/>
              <a:gd name="T58" fmla="*/ 2147483647 w 373"/>
              <a:gd name="T59" fmla="*/ 2147483647 h 147"/>
              <a:gd name="T60" fmla="*/ 2147483647 w 373"/>
              <a:gd name="T61" fmla="*/ 2147483647 h 147"/>
              <a:gd name="T62" fmla="*/ 2147483647 w 373"/>
              <a:gd name="T63" fmla="*/ 2147483647 h 147"/>
              <a:gd name="T64" fmla="*/ 2147483647 w 373"/>
              <a:gd name="T65" fmla="*/ 2147483647 h 147"/>
              <a:gd name="T66" fmla="*/ 2147483647 w 373"/>
              <a:gd name="T67" fmla="*/ 2147483647 h 147"/>
              <a:gd name="T68" fmla="*/ 2147483647 w 373"/>
              <a:gd name="T69" fmla="*/ 2147483647 h 147"/>
              <a:gd name="T70" fmla="*/ 2147483647 w 373"/>
              <a:gd name="T71" fmla="*/ 2147483647 h 147"/>
              <a:gd name="T72" fmla="*/ 2147483647 w 373"/>
              <a:gd name="T73" fmla="*/ 2147483647 h 147"/>
              <a:gd name="T74" fmla="*/ 2147483647 w 373"/>
              <a:gd name="T75" fmla="*/ 2147483647 h 147"/>
              <a:gd name="T76" fmla="*/ 2147483647 w 373"/>
              <a:gd name="T77" fmla="*/ 2147483647 h 147"/>
              <a:gd name="T78" fmla="*/ 2147483647 w 373"/>
              <a:gd name="T79" fmla="*/ 2147483647 h 147"/>
              <a:gd name="T80" fmla="*/ 2147483647 w 373"/>
              <a:gd name="T81" fmla="*/ 2147483647 h 147"/>
              <a:gd name="T82" fmla="*/ 2147483647 w 373"/>
              <a:gd name="T83" fmla="*/ 2147483647 h 147"/>
              <a:gd name="T84" fmla="*/ 2147483647 w 373"/>
              <a:gd name="T85" fmla="*/ 2147483647 h 147"/>
              <a:gd name="T86" fmla="*/ 2147483647 w 373"/>
              <a:gd name="T87" fmla="*/ 2147483647 h 147"/>
              <a:gd name="T88" fmla="*/ 2147483647 w 373"/>
              <a:gd name="T89" fmla="*/ 2147483647 h 147"/>
              <a:gd name="T90" fmla="*/ 2147483647 w 373"/>
              <a:gd name="T91" fmla="*/ 2147483647 h 147"/>
              <a:gd name="T92" fmla="*/ 2147483647 w 373"/>
              <a:gd name="T93" fmla="*/ 2147483647 h 147"/>
              <a:gd name="T94" fmla="*/ 2147483647 w 373"/>
              <a:gd name="T95" fmla="*/ 2147483647 h 147"/>
              <a:gd name="T96" fmla="*/ 2147483647 w 373"/>
              <a:gd name="T97" fmla="*/ 2147483647 h 147"/>
              <a:gd name="T98" fmla="*/ 2147483647 w 373"/>
              <a:gd name="T99" fmla="*/ 2147483647 h 147"/>
              <a:gd name="T100" fmla="*/ 2147483647 w 373"/>
              <a:gd name="T101" fmla="*/ 2147483647 h 147"/>
              <a:gd name="T102" fmla="*/ 2147483647 w 373"/>
              <a:gd name="T103" fmla="*/ 2147483647 h 147"/>
              <a:gd name="T104" fmla="*/ 2147483647 w 373"/>
              <a:gd name="T105" fmla="*/ 0 h 147"/>
              <a:gd name="T106" fmla="*/ 2147483647 w 373"/>
              <a:gd name="T107" fmla="*/ 0 h 1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3"/>
              <a:gd name="T163" fmla="*/ 0 h 147"/>
              <a:gd name="T164" fmla="*/ 373 w 373"/>
              <a:gd name="T165" fmla="*/ 147 h 1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3" h="147">
                <a:moveTo>
                  <a:pt x="332" y="0"/>
                </a:moveTo>
                <a:lnTo>
                  <a:pt x="282" y="0"/>
                </a:lnTo>
                <a:lnTo>
                  <a:pt x="188" y="0"/>
                </a:lnTo>
                <a:lnTo>
                  <a:pt x="115" y="0"/>
                </a:lnTo>
                <a:lnTo>
                  <a:pt x="113" y="17"/>
                </a:lnTo>
                <a:lnTo>
                  <a:pt x="105" y="19"/>
                </a:lnTo>
                <a:lnTo>
                  <a:pt x="98" y="30"/>
                </a:lnTo>
                <a:lnTo>
                  <a:pt x="87" y="28"/>
                </a:lnTo>
                <a:lnTo>
                  <a:pt x="76" y="37"/>
                </a:lnTo>
                <a:lnTo>
                  <a:pt x="73" y="32"/>
                </a:lnTo>
                <a:lnTo>
                  <a:pt x="61" y="38"/>
                </a:lnTo>
                <a:lnTo>
                  <a:pt x="57" y="47"/>
                </a:lnTo>
                <a:lnTo>
                  <a:pt x="36" y="59"/>
                </a:lnTo>
                <a:lnTo>
                  <a:pt x="19" y="61"/>
                </a:lnTo>
                <a:lnTo>
                  <a:pt x="11" y="74"/>
                </a:lnTo>
                <a:lnTo>
                  <a:pt x="2" y="76"/>
                </a:lnTo>
                <a:lnTo>
                  <a:pt x="0" y="87"/>
                </a:lnTo>
                <a:lnTo>
                  <a:pt x="52" y="87"/>
                </a:lnTo>
                <a:lnTo>
                  <a:pt x="83" y="77"/>
                </a:lnTo>
                <a:lnTo>
                  <a:pt x="142" y="80"/>
                </a:lnTo>
                <a:lnTo>
                  <a:pt x="143" y="85"/>
                </a:lnTo>
                <a:lnTo>
                  <a:pt x="147" y="82"/>
                </a:lnTo>
                <a:lnTo>
                  <a:pt x="153" y="90"/>
                </a:lnTo>
                <a:lnTo>
                  <a:pt x="153" y="98"/>
                </a:lnTo>
                <a:lnTo>
                  <a:pt x="201" y="98"/>
                </a:lnTo>
                <a:lnTo>
                  <a:pt x="249" y="147"/>
                </a:lnTo>
                <a:lnTo>
                  <a:pt x="268" y="145"/>
                </a:lnTo>
                <a:lnTo>
                  <a:pt x="282" y="138"/>
                </a:lnTo>
                <a:lnTo>
                  <a:pt x="300" y="115"/>
                </a:lnTo>
                <a:lnTo>
                  <a:pt x="314" y="108"/>
                </a:lnTo>
                <a:lnTo>
                  <a:pt x="331" y="107"/>
                </a:lnTo>
                <a:lnTo>
                  <a:pt x="343" y="100"/>
                </a:lnTo>
                <a:lnTo>
                  <a:pt x="344" y="90"/>
                </a:lnTo>
                <a:lnTo>
                  <a:pt x="333" y="90"/>
                </a:lnTo>
                <a:lnTo>
                  <a:pt x="342" y="75"/>
                </a:lnTo>
                <a:lnTo>
                  <a:pt x="327" y="67"/>
                </a:lnTo>
                <a:lnTo>
                  <a:pt x="342" y="63"/>
                </a:lnTo>
                <a:lnTo>
                  <a:pt x="349" y="71"/>
                </a:lnTo>
                <a:lnTo>
                  <a:pt x="357" y="71"/>
                </a:lnTo>
                <a:lnTo>
                  <a:pt x="373" y="57"/>
                </a:lnTo>
                <a:lnTo>
                  <a:pt x="369" y="39"/>
                </a:lnTo>
                <a:lnTo>
                  <a:pt x="360" y="51"/>
                </a:lnTo>
                <a:lnTo>
                  <a:pt x="358" y="38"/>
                </a:lnTo>
                <a:lnTo>
                  <a:pt x="339" y="42"/>
                </a:lnTo>
                <a:lnTo>
                  <a:pt x="334" y="41"/>
                </a:lnTo>
                <a:lnTo>
                  <a:pt x="333" y="34"/>
                </a:lnTo>
                <a:lnTo>
                  <a:pt x="334" y="21"/>
                </a:lnTo>
                <a:lnTo>
                  <a:pt x="339" y="34"/>
                </a:lnTo>
                <a:lnTo>
                  <a:pt x="358" y="25"/>
                </a:lnTo>
                <a:lnTo>
                  <a:pt x="367" y="27"/>
                </a:lnTo>
                <a:lnTo>
                  <a:pt x="370" y="32"/>
                </a:lnTo>
                <a:lnTo>
                  <a:pt x="363" y="13"/>
                </a:lnTo>
                <a:lnTo>
                  <a:pt x="366" y="0"/>
                </a:lnTo>
                <a:lnTo>
                  <a:pt x="332" y="0"/>
                </a:lnTo>
                <a:close/>
              </a:path>
            </a:pathLst>
          </a:custGeom>
          <a:solidFill>
            <a:schemeClr val="accent1"/>
          </a:solidFill>
          <a:ln w="6350">
            <a:solidFill>
              <a:schemeClr val="tx2"/>
            </a:solidFill>
            <a:round/>
            <a:headEnd/>
            <a:tailEnd/>
          </a:ln>
        </p:spPr>
        <p:txBody>
          <a:bodyPr/>
          <a:lstStyle/>
          <a:p>
            <a:endParaRPr lang="en-US"/>
          </a:p>
        </p:txBody>
      </p:sp>
      <p:sp>
        <p:nvSpPr>
          <p:cNvPr id="223" name="Freeform 1123"/>
          <p:cNvSpPr>
            <a:spLocks/>
          </p:cNvSpPr>
          <p:nvPr/>
        </p:nvSpPr>
        <p:spPr bwMode="auto">
          <a:xfrm>
            <a:off x="3723594" y="3703875"/>
            <a:ext cx="160534" cy="62409"/>
          </a:xfrm>
          <a:custGeom>
            <a:avLst/>
            <a:gdLst>
              <a:gd name="T0" fmla="*/ 2147483647 w 338"/>
              <a:gd name="T1" fmla="*/ 2147483647 h 151"/>
              <a:gd name="T2" fmla="*/ 2147483647 w 338"/>
              <a:gd name="T3" fmla="*/ 2147483647 h 151"/>
              <a:gd name="T4" fmla="*/ 2147483647 w 338"/>
              <a:gd name="T5" fmla="*/ 2147483647 h 151"/>
              <a:gd name="T6" fmla="*/ 0 w 338"/>
              <a:gd name="T7" fmla="*/ 2147483647 h 151"/>
              <a:gd name="T8" fmla="*/ 2147483647 w 338"/>
              <a:gd name="T9" fmla="*/ 2147483647 h 151"/>
              <a:gd name="T10" fmla="*/ 2147483647 w 338"/>
              <a:gd name="T11" fmla="*/ 2147483647 h 151"/>
              <a:gd name="T12" fmla="*/ 2147483647 w 338"/>
              <a:gd name="T13" fmla="*/ 2147483647 h 151"/>
              <a:gd name="T14" fmla="*/ 2147483647 w 338"/>
              <a:gd name="T15" fmla="*/ 2147483647 h 151"/>
              <a:gd name="T16" fmla="*/ 2147483647 w 338"/>
              <a:gd name="T17" fmla="*/ 2147483647 h 151"/>
              <a:gd name="T18" fmla="*/ 2147483647 w 338"/>
              <a:gd name="T19" fmla="*/ 2147483647 h 151"/>
              <a:gd name="T20" fmla="*/ 2147483647 w 338"/>
              <a:gd name="T21" fmla="*/ 2147483647 h 151"/>
              <a:gd name="T22" fmla="*/ 2147483647 w 338"/>
              <a:gd name="T23" fmla="*/ 2147483647 h 151"/>
              <a:gd name="T24" fmla="*/ 2147483647 w 338"/>
              <a:gd name="T25" fmla="*/ 2147483647 h 151"/>
              <a:gd name="T26" fmla="*/ 2147483647 w 338"/>
              <a:gd name="T27" fmla="*/ 2147483647 h 151"/>
              <a:gd name="T28" fmla="*/ 2147483647 w 338"/>
              <a:gd name="T29" fmla="*/ 2147483647 h 151"/>
              <a:gd name="T30" fmla="*/ 2147483647 w 338"/>
              <a:gd name="T31" fmla="*/ 2147483647 h 151"/>
              <a:gd name="T32" fmla="*/ 2147483647 w 338"/>
              <a:gd name="T33" fmla="*/ 2147483647 h 151"/>
              <a:gd name="T34" fmla="*/ 2147483647 w 338"/>
              <a:gd name="T35" fmla="*/ 2147483647 h 151"/>
              <a:gd name="T36" fmla="*/ 2147483647 w 338"/>
              <a:gd name="T37" fmla="*/ 2147483647 h 151"/>
              <a:gd name="T38" fmla="*/ 2147483647 w 338"/>
              <a:gd name="T39" fmla="*/ 2147483647 h 151"/>
              <a:gd name="T40" fmla="*/ 2147483647 w 338"/>
              <a:gd name="T41" fmla="*/ 2147483647 h 151"/>
              <a:gd name="T42" fmla="*/ 2147483647 w 338"/>
              <a:gd name="T43" fmla="*/ 2147483647 h 151"/>
              <a:gd name="T44" fmla="*/ 2147483647 w 338"/>
              <a:gd name="T45" fmla="*/ 2147483647 h 151"/>
              <a:gd name="T46" fmla="*/ 2147483647 w 338"/>
              <a:gd name="T47" fmla="*/ 2147483647 h 151"/>
              <a:gd name="T48" fmla="*/ 2147483647 w 338"/>
              <a:gd name="T49" fmla="*/ 2147483647 h 151"/>
              <a:gd name="T50" fmla="*/ 2147483647 w 338"/>
              <a:gd name="T51" fmla="*/ 0 h 151"/>
              <a:gd name="T52" fmla="*/ 2147483647 w 338"/>
              <a:gd name="T53" fmla="*/ 2147483647 h 151"/>
              <a:gd name="T54" fmla="*/ 2147483647 w 338"/>
              <a:gd name="T55" fmla="*/ 2147483647 h 151"/>
              <a:gd name="T56" fmla="*/ 2147483647 w 338"/>
              <a:gd name="T57" fmla="*/ 2147483647 h 151"/>
              <a:gd name="T58" fmla="*/ 2147483647 w 338"/>
              <a:gd name="T59" fmla="*/ 2147483647 h 151"/>
              <a:gd name="T60" fmla="*/ 2147483647 w 338"/>
              <a:gd name="T61" fmla="*/ 2147483647 h 151"/>
              <a:gd name="T62" fmla="*/ 2147483647 w 338"/>
              <a:gd name="T63" fmla="*/ 2147483647 h 151"/>
              <a:gd name="T64" fmla="*/ 2147483647 w 338"/>
              <a:gd name="T65" fmla="*/ 2147483647 h 151"/>
              <a:gd name="T66" fmla="*/ 2147483647 w 338"/>
              <a:gd name="T67" fmla="*/ 2147483647 h 151"/>
              <a:gd name="T68" fmla="*/ 2147483647 w 338"/>
              <a:gd name="T69" fmla="*/ 2147483647 h 151"/>
              <a:gd name="T70" fmla="*/ 2147483647 w 338"/>
              <a:gd name="T71" fmla="*/ 2147483647 h 151"/>
              <a:gd name="T72" fmla="*/ 2147483647 w 338"/>
              <a:gd name="T73" fmla="*/ 2147483647 h 151"/>
              <a:gd name="T74" fmla="*/ 2147483647 w 338"/>
              <a:gd name="T75" fmla="*/ 2147483647 h 151"/>
              <a:gd name="T76" fmla="*/ 2147483647 w 338"/>
              <a:gd name="T77" fmla="*/ 2147483647 h 151"/>
              <a:gd name="T78" fmla="*/ 2147483647 w 338"/>
              <a:gd name="T79" fmla="*/ 2147483647 h 151"/>
              <a:gd name="T80" fmla="*/ 2147483647 w 338"/>
              <a:gd name="T81" fmla="*/ 2147483647 h 151"/>
              <a:gd name="T82" fmla="*/ 2147483647 w 338"/>
              <a:gd name="T83" fmla="*/ 2147483647 h 151"/>
              <a:gd name="T84" fmla="*/ 2147483647 w 338"/>
              <a:gd name="T85" fmla="*/ 2147483647 h 151"/>
              <a:gd name="T86" fmla="*/ 2147483647 w 338"/>
              <a:gd name="T87" fmla="*/ 2147483647 h 151"/>
              <a:gd name="T88" fmla="*/ 2147483647 w 338"/>
              <a:gd name="T89" fmla="*/ 2147483647 h 151"/>
              <a:gd name="T90" fmla="*/ 2147483647 w 338"/>
              <a:gd name="T91" fmla="*/ 2147483647 h 15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8"/>
              <a:gd name="T139" fmla="*/ 0 h 151"/>
              <a:gd name="T140" fmla="*/ 338 w 338"/>
              <a:gd name="T141" fmla="*/ 151 h 15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8" h="151">
                <a:moveTo>
                  <a:pt x="304" y="151"/>
                </a:moveTo>
                <a:lnTo>
                  <a:pt x="254" y="151"/>
                </a:lnTo>
                <a:lnTo>
                  <a:pt x="160" y="151"/>
                </a:lnTo>
                <a:lnTo>
                  <a:pt x="0" y="151"/>
                </a:lnTo>
                <a:lnTo>
                  <a:pt x="23" y="147"/>
                </a:lnTo>
                <a:lnTo>
                  <a:pt x="35" y="139"/>
                </a:lnTo>
                <a:lnTo>
                  <a:pt x="42" y="126"/>
                </a:lnTo>
                <a:lnTo>
                  <a:pt x="74" y="104"/>
                </a:lnTo>
                <a:lnTo>
                  <a:pt x="76" y="113"/>
                </a:lnTo>
                <a:lnTo>
                  <a:pt x="80" y="118"/>
                </a:lnTo>
                <a:lnTo>
                  <a:pt x="89" y="122"/>
                </a:lnTo>
                <a:lnTo>
                  <a:pt x="101" y="115"/>
                </a:lnTo>
                <a:lnTo>
                  <a:pt x="107" y="120"/>
                </a:lnTo>
                <a:lnTo>
                  <a:pt x="120" y="116"/>
                </a:lnTo>
                <a:lnTo>
                  <a:pt x="122" y="110"/>
                </a:lnTo>
                <a:lnTo>
                  <a:pt x="139" y="110"/>
                </a:lnTo>
                <a:lnTo>
                  <a:pt x="147" y="105"/>
                </a:lnTo>
                <a:lnTo>
                  <a:pt x="149" y="100"/>
                </a:lnTo>
                <a:lnTo>
                  <a:pt x="146" y="97"/>
                </a:lnTo>
                <a:lnTo>
                  <a:pt x="168" y="64"/>
                </a:lnTo>
                <a:lnTo>
                  <a:pt x="174" y="47"/>
                </a:lnTo>
                <a:lnTo>
                  <a:pt x="190" y="56"/>
                </a:lnTo>
                <a:lnTo>
                  <a:pt x="202" y="33"/>
                </a:lnTo>
                <a:lnTo>
                  <a:pt x="207" y="37"/>
                </a:lnTo>
                <a:lnTo>
                  <a:pt x="227" y="17"/>
                </a:lnTo>
                <a:lnTo>
                  <a:pt x="231" y="0"/>
                </a:lnTo>
                <a:lnTo>
                  <a:pt x="252" y="17"/>
                </a:lnTo>
                <a:lnTo>
                  <a:pt x="256" y="7"/>
                </a:lnTo>
                <a:lnTo>
                  <a:pt x="268" y="12"/>
                </a:lnTo>
                <a:lnTo>
                  <a:pt x="266" y="17"/>
                </a:lnTo>
                <a:lnTo>
                  <a:pt x="269" y="21"/>
                </a:lnTo>
                <a:lnTo>
                  <a:pt x="282" y="28"/>
                </a:lnTo>
                <a:lnTo>
                  <a:pt x="286" y="36"/>
                </a:lnTo>
                <a:lnTo>
                  <a:pt x="286" y="39"/>
                </a:lnTo>
                <a:lnTo>
                  <a:pt x="276" y="53"/>
                </a:lnTo>
                <a:lnTo>
                  <a:pt x="277" y="57"/>
                </a:lnTo>
                <a:lnTo>
                  <a:pt x="320" y="84"/>
                </a:lnTo>
                <a:lnTo>
                  <a:pt x="315" y="100"/>
                </a:lnTo>
                <a:lnTo>
                  <a:pt x="323" y="115"/>
                </a:lnTo>
                <a:lnTo>
                  <a:pt x="317" y="119"/>
                </a:lnTo>
                <a:lnTo>
                  <a:pt x="323" y="129"/>
                </a:lnTo>
                <a:lnTo>
                  <a:pt x="312" y="131"/>
                </a:lnTo>
                <a:lnTo>
                  <a:pt x="311" y="134"/>
                </a:lnTo>
                <a:lnTo>
                  <a:pt x="337" y="141"/>
                </a:lnTo>
                <a:lnTo>
                  <a:pt x="338" y="151"/>
                </a:lnTo>
                <a:lnTo>
                  <a:pt x="304" y="151"/>
                </a:lnTo>
                <a:close/>
              </a:path>
            </a:pathLst>
          </a:custGeom>
          <a:solidFill>
            <a:schemeClr val="accent1"/>
          </a:solidFill>
          <a:ln w="6350">
            <a:solidFill>
              <a:schemeClr val="tx2"/>
            </a:solidFill>
            <a:round/>
            <a:headEnd/>
            <a:tailEnd/>
          </a:ln>
        </p:spPr>
        <p:txBody>
          <a:bodyPr/>
          <a:lstStyle/>
          <a:p>
            <a:endParaRPr lang="en-US"/>
          </a:p>
        </p:txBody>
      </p:sp>
      <p:sp>
        <p:nvSpPr>
          <p:cNvPr id="224" name="Freeform 1124"/>
          <p:cNvSpPr>
            <a:spLocks/>
          </p:cNvSpPr>
          <p:nvPr/>
        </p:nvSpPr>
        <p:spPr bwMode="auto">
          <a:xfrm>
            <a:off x="3809594" y="3697508"/>
            <a:ext cx="88867" cy="39484"/>
          </a:xfrm>
          <a:custGeom>
            <a:avLst/>
            <a:gdLst>
              <a:gd name="T0" fmla="*/ 2147483647 w 191"/>
              <a:gd name="T1" fmla="*/ 0 h 96"/>
              <a:gd name="T2" fmla="*/ 2147483647 w 191"/>
              <a:gd name="T3" fmla="*/ 0 h 96"/>
              <a:gd name="T4" fmla="*/ 2147483647 w 191"/>
              <a:gd name="T5" fmla="*/ 0 h 96"/>
              <a:gd name="T6" fmla="*/ 0 w 191"/>
              <a:gd name="T7" fmla="*/ 2147483647 h 96"/>
              <a:gd name="T8" fmla="*/ 2147483647 w 191"/>
              <a:gd name="T9" fmla="*/ 2147483647 h 96"/>
              <a:gd name="T10" fmla="*/ 2147483647 w 191"/>
              <a:gd name="T11" fmla="*/ 2147483647 h 96"/>
              <a:gd name="T12" fmla="*/ 2147483647 w 191"/>
              <a:gd name="T13" fmla="*/ 2147483647 h 96"/>
              <a:gd name="T14" fmla="*/ 2147483647 w 191"/>
              <a:gd name="T15" fmla="*/ 2147483647 h 96"/>
              <a:gd name="T16" fmla="*/ 2147483647 w 191"/>
              <a:gd name="T17" fmla="*/ 2147483647 h 96"/>
              <a:gd name="T18" fmla="*/ 2147483647 w 191"/>
              <a:gd name="T19" fmla="*/ 2147483647 h 96"/>
              <a:gd name="T20" fmla="*/ 2147483647 w 191"/>
              <a:gd name="T21" fmla="*/ 2147483647 h 96"/>
              <a:gd name="T22" fmla="*/ 2147483647 w 191"/>
              <a:gd name="T23" fmla="*/ 2147483647 h 96"/>
              <a:gd name="T24" fmla="*/ 2147483647 w 191"/>
              <a:gd name="T25" fmla="*/ 2147483647 h 96"/>
              <a:gd name="T26" fmla="*/ 2147483647 w 191"/>
              <a:gd name="T27" fmla="*/ 2147483647 h 96"/>
              <a:gd name="T28" fmla="*/ 2147483647 w 191"/>
              <a:gd name="T29" fmla="*/ 2147483647 h 96"/>
              <a:gd name="T30" fmla="*/ 2147483647 w 191"/>
              <a:gd name="T31" fmla="*/ 2147483647 h 96"/>
              <a:gd name="T32" fmla="*/ 2147483647 w 191"/>
              <a:gd name="T33" fmla="*/ 2147483647 h 96"/>
              <a:gd name="T34" fmla="*/ 2147483647 w 191"/>
              <a:gd name="T35" fmla="*/ 2147483647 h 96"/>
              <a:gd name="T36" fmla="*/ 2147483647 w 191"/>
              <a:gd name="T37" fmla="*/ 2147483647 h 96"/>
              <a:gd name="T38" fmla="*/ 2147483647 w 191"/>
              <a:gd name="T39" fmla="*/ 2147483647 h 96"/>
              <a:gd name="T40" fmla="*/ 2147483647 w 191"/>
              <a:gd name="T41" fmla="*/ 2147483647 h 96"/>
              <a:gd name="T42" fmla="*/ 2147483647 w 191"/>
              <a:gd name="T43" fmla="*/ 2147483647 h 96"/>
              <a:gd name="T44" fmla="*/ 2147483647 w 191"/>
              <a:gd name="T45" fmla="*/ 2147483647 h 96"/>
              <a:gd name="T46" fmla="*/ 2147483647 w 191"/>
              <a:gd name="T47" fmla="*/ 2147483647 h 96"/>
              <a:gd name="T48" fmla="*/ 2147483647 w 191"/>
              <a:gd name="T49" fmla="*/ 2147483647 h 96"/>
              <a:gd name="T50" fmla="*/ 2147483647 w 191"/>
              <a:gd name="T51" fmla="*/ 2147483647 h 96"/>
              <a:gd name="T52" fmla="*/ 2147483647 w 191"/>
              <a:gd name="T53" fmla="*/ 2147483647 h 96"/>
              <a:gd name="T54" fmla="*/ 2147483647 w 191"/>
              <a:gd name="T55" fmla="*/ 2147483647 h 96"/>
              <a:gd name="T56" fmla="*/ 2147483647 w 191"/>
              <a:gd name="T57" fmla="*/ 2147483647 h 96"/>
              <a:gd name="T58" fmla="*/ 2147483647 w 191"/>
              <a:gd name="T59" fmla="*/ 2147483647 h 96"/>
              <a:gd name="T60" fmla="*/ 2147483647 w 191"/>
              <a:gd name="T61" fmla="*/ 2147483647 h 96"/>
              <a:gd name="T62" fmla="*/ 2147483647 w 191"/>
              <a:gd name="T63" fmla="*/ 2147483647 h 96"/>
              <a:gd name="T64" fmla="*/ 2147483647 w 191"/>
              <a:gd name="T65" fmla="*/ 2147483647 h 96"/>
              <a:gd name="T66" fmla="*/ 2147483647 w 191"/>
              <a:gd name="T67" fmla="*/ 2147483647 h 96"/>
              <a:gd name="T68" fmla="*/ 2147483647 w 191"/>
              <a:gd name="T69" fmla="*/ 2147483647 h 96"/>
              <a:gd name="T70" fmla="*/ 2147483647 w 191"/>
              <a:gd name="T71" fmla="*/ 2147483647 h 96"/>
              <a:gd name="T72" fmla="*/ 2147483647 w 191"/>
              <a:gd name="T73" fmla="*/ 2147483647 h 96"/>
              <a:gd name="T74" fmla="*/ 2147483647 w 191"/>
              <a:gd name="T75" fmla="*/ 2147483647 h 96"/>
              <a:gd name="T76" fmla="*/ 2147483647 w 191"/>
              <a:gd name="T77" fmla="*/ 2147483647 h 96"/>
              <a:gd name="T78" fmla="*/ 2147483647 w 191"/>
              <a:gd name="T79" fmla="*/ 2147483647 h 96"/>
              <a:gd name="T80" fmla="*/ 2147483647 w 191"/>
              <a:gd name="T81" fmla="*/ 2147483647 h 96"/>
              <a:gd name="T82" fmla="*/ 2147483647 w 191"/>
              <a:gd name="T83" fmla="*/ 2147483647 h 96"/>
              <a:gd name="T84" fmla="*/ 2147483647 w 191"/>
              <a:gd name="T85" fmla="*/ 2147483647 h 96"/>
              <a:gd name="T86" fmla="*/ 2147483647 w 191"/>
              <a:gd name="T87" fmla="*/ 0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1"/>
              <a:gd name="T133" fmla="*/ 0 h 96"/>
              <a:gd name="T134" fmla="*/ 191 w 191"/>
              <a:gd name="T135" fmla="*/ 96 h 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1" h="96">
                <a:moveTo>
                  <a:pt x="159" y="0"/>
                </a:moveTo>
                <a:lnTo>
                  <a:pt x="86" y="0"/>
                </a:lnTo>
                <a:lnTo>
                  <a:pt x="1" y="0"/>
                </a:lnTo>
                <a:lnTo>
                  <a:pt x="0" y="29"/>
                </a:lnTo>
                <a:lnTo>
                  <a:pt x="16" y="15"/>
                </a:lnTo>
                <a:lnTo>
                  <a:pt x="23" y="16"/>
                </a:lnTo>
                <a:lnTo>
                  <a:pt x="30" y="4"/>
                </a:lnTo>
                <a:lnTo>
                  <a:pt x="39" y="10"/>
                </a:lnTo>
                <a:lnTo>
                  <a:pt x="43" y="10"/>
                </a:lnTo>
                <a:lnTo>
                  <a:pt x="46" y="5"/>
                </a:lnTo>
                <a:lnTo>
                  <a:pt x="56" y="1"/>
                </a:lnTo>
                <a:lnTo>
                  <a:pt x="71" y="6"/>
                </a:lnTo>
                <a:lnTo>
                  <a:pt x="75" y="22"/>
                </a:lnTo>
                <a:lnTo>
                  <a:pt x="87" y="27"/>
                </a:lnTo>
                <a:lnTo>
                  <a:pt x="85" y="32"/>
                </a:lnTo>
                <a:lnTo>
                  <a:pt x="88" y="36"/>
                </a:lnTo>
                <a:lnTo>
                  <a:pt x="101" y="43"/>
                </a:lnTo>
                <a:lnTo>
                  <a:pt x="105" y="40"/>
                </a:lnTo>
                <a:lnTo>
                  <a:pt x="112" y="46"/>
                </a:lnTo>
                <a:lnTo>
                  <a:pt x="105" y="51"/>
                </a:lnTo>
                <a:lnTo>
                  <a:pt x="105" y="54"/>
                </a:lnTo>
                <a:lnTo>
                  <a:pt x="98" y="69"/>
                </a:lnTo>
                <a:lnTo>
                  <a:pt x="137" y="89"/>
                </a:lnTo>
                <a:lnTo>
                  <a:pt x="134" y="75"/>
                </a:lnTo>
                <a:lnTo>
                  <a:pt x="128" y="70"/>
                </a:lnTo>
                <a:lnTo>
                  <a:pt x="132" y="69"/>
                </a:lnTo>
                <a:lnTo>
                  <a:pt x="130" y="29"/>
                </a:lnTo>
                <a:lnTo>
                  <a:pt x="150" y="13"/>
                </a:lnTo>
                <a:lnTo>
                  <a:pt x="153" y="8"/>
                </a:lnTo>
                <a:lnTo>
                  <a:pt x="154" y="17"/>
                </a:lnTo>
                <a:lnTo>
                  <a:pt x="145" y="26"/>
                </a:lnTo>
                <a:lnTo>
                  <a:pt x="146" y="37"/>
                </a:lnTo>
                <a:lnTo>
                  <a:pt x="140" y="44"/>
                </a:lnTo>
                <a:lnTo>
                  <a:pt x="147" y="47"/>
                </a:lnTo>
                <a:lnTo>
                  <a:pt x="147" y="59"/>
                </a:lnTo>
                <a:lnTo>
                  <a:pt x="141" y="68"/>
                </a:lnTo>
                <a:lnTo>
                  <a:pt x="147" y="79"/>
                </a:lnTo>
                <a:lnTo>
                  <a:pt x="157" y="80"/>
                </a:lnTo>
                <a:lnTo>
                  <a:pt x="163" y="96"/>
                </a:lnTo>
                <a:lnTo>
                  <a:pt x="183" y="93"/>
                </a:lnTo>
                <a:lnTo>
                  <a:pt x="183" y="86"/>
                </a:lnTo>
                <a:lnTo>
                  <a:pt x="191" y="70"/>
                </a:lnTo>
                <a:lnTo>
                  <a:pt x="162" y="69"/>
                </a:lnTo>
                <a:lnTo>
                  <a:pt x="159" y="0"/>
                </a:lnTo>
                <a:close/>
              </a:path>
            </a:pathLst>
          </a:custGeom>
          <a:solidFill>
            <a:schemeClr val="accent1"/>
          </a:solidFill>
          <a:ln w="6350">
            <a:solidFill>
              <a:schemeClr val="tx2"/>
            </a:solidFill>
            <a:round/>
            <a:headEnd/>
            <a:tailEnd/>
          </a:ln>
        </p:spPr>
        <p:txBody>
          <a:bodyPr/>
          <a:lstStyle/>
          <a:p>
            <a:endParaRPr lang="en-US"/>
          </a:p>
        </p:txBody>
      </p:sp>
      <p:sp>
        <p:nvSpPr>
          <p:cNvPr id="225" name="Freeform 1125"/>
          <p:cNvSpPr>
            <a:spLocks/>
          </p:cNvSpPr>
          <p:nvPr/>
        </p:nvSpPr>
        <p:spPr bwMode="auto">
          <a:xfrm>
            <a:off x="3789528" y="3637646"/>
            <a:ext cx="117533" cy="59862"/>
          </a:xfrm>
          <a:custGeom>
            <a:avLst/>
            <a:gdLst>
              <a:gd name="T0" fmla="*/ 2147483647 w 250"/>
              <a:gd name="T1" fmla="*/ 2147483647 h 145"/>
              <a:gd name="T2" fmla="*/ 2147483647 w 250"/>
              <a:gd name="T3" fmla="*/ 2147483647 h 145"/>
              <a:gd name="T4" fmla="*/ 2147483647 w 250"/>
              <a:gd name="T5" fmla="*/ 2147483647 h 145"/>
              <a:gd name="T6" fmla="*/ 2147483647 w 250"/>
              <a:gd name="T7" fmla="*/ 2147483647 h 145"/>
              <a:gd name="T8" fmla="*/ 2147483647 w 250"/>
              <a:gd name="T9" fmla="*/ 0 h 145"/>
              <a:gd name="T10" fmla="*/ 0 w 250"/>
              <a:gd name="T11" fmla="*/ 2147483647 h 145"/>
              <a:gd name="T12" fmla="*/ 0 w 250"/>
              <a:gd name="T13" fmla="*/ 2147483647 h 145"/>
              <a:gd name="T14" fmla="*/ 2147483647 w 250"/>
              <a:gd name="T15" fmla="*/ 2147483647 h 145"/>
              <a:gd name="T16" fmla="*/ 2147483647 w 250"/>
              <a:gd name="T17" fmla="*/ 2147483647 h 145"/>
              <a:gd name="T18" fmla="*/ 2147483647 w 250"/>
              <a:gd name="T19" fmla="*/ 2147483647 h 145"/>
              <a:gd name="T20" fmla="*/ 2147483647 w 250"/>
              <a:gd name="T21" fmla="*/ 2147483647 h 145"/>
              <a:gd name="T22" fmla="*/ 2147483647 w 250"/>
              <a:gd name="T23" fmla="*/ 2147483647 h 145"/>
              <a:gd name="T24" fmla="*/ 2147483647 w 250"/>
              <a:gd name="T25" fmla="*/ 2147483647 h 145"/>
              <a:gd name="T26" fmla="*/ 2147483647 w 250"/>
              <a:gd name="T27" fmla="*/ 2147483647 h 145"/>
              <a:gd name="T28" fmla="*/ 2147483647 w 250"/>
              <a:gd name="T29" fmla="*/ 2147483647 h 145"/>
              <a:gd name="T30" fmla="*/ 2147483647 w 250"/>
              <a:gd name="T31" fmla="*/ 2147483647 h 145"/>
              <a:gd name="T32" fmla="*/ 2147483647 w 250"/>
              <a:gd name="T33" fmla="*/ 2147483647 h 145"/>
              <a:gd name="T34" fmla="*/ 2147483647 w 250"/>
              <a:gd name="T35" fmla="*/ 2147483647 h 145"/>
              <a:gd name="T36" fmla="*/ 2147483647 w 250"/>
              <a:gd name="T37" fmla="*/ 2147483647 h 145"/>
              <a:gd name="T38" fmla="*/ 2147483647 w 250"/>
              <a:gd name="T39" fmla="*/ 2147483647 h 145"/>
              <a:gd name="T40" fmla="*/ 2147483647 w 250"/>
              <a:gd name="T41" fmla="*/ 2147483647 h 145"/>
              <a:gd name="T42" fmla="*/ 2147483647 w 250"/>
              <a:gd name="T43" fmla="*/ 2147483647 h 145"/>
              <a:gd name="T44" fmla="*/ 2147483647 w 250"/>
              <a:gd name="T45" fmla="*/ 2147483647 h 145"/>
              <a:gd name="T46" fmla="*/ 2147483647 w 250"/>
              <a:gd name="T47" fmla="*/ 2147483647 h 145"/>
              <a:gd name="T48" fmla="*/ 2147483647 w 250"/>
              <a:gd name="T49" fmla="*/ 2147483647 h 1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0"/>
              <a:gd name="T76" fmla="*/ 0 h 145"/>
              <a:gd name="T77" fmla="*/ 250 w 250"/>
              <a:gd name="T78" fmla="*/ 145 h 1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0" h="145">
                <a:moveTo>
                  <a:pt x="187" y="16"/>
                </a:moveTo>
                <a:lnTo>
                  <a:pt x="167" y="16"/>
                </a:lnTo>
                <a:lnTo>
                  <a:pt x="100" y="16"/>
                </a:lnTo>
                <a:lnTo>
                  <a:pt x="32" y="16"/>
                </a:lnTo>
                <a:lnTo>
                  <a:pt x="32" y="0"/>
                </a:lnTo>
                <a:lnTo>
                  <a:pt x="0" y="17"/>
                </a:lnTo>
                <a:lnTo>
                  <a:pt x="0" y="145"/>
                </a:lnTo>
                <a:lnTo>
                  <a:pt x="130" y="145"/>
                </a:lnTo>
                <a:lnTo>
                  <a:pt x="203" y="145"/>
                </a:lnTo>
                <a:lnTo>
                  <a:pt x="209" y="138"/>
                </a:lnTo>
                <a:lnTo>
                  <a:pt x="220" y="141"/>
                </a:lnTo>
                <a:lnTo>
                  <a:pt x="232" y="136"/>
                </a:lnTo>
                <a:lnTo>
                  <a:pt x="249" y="120"/>
                </a:lnTo>
                <a:lnTo>
                  <a:pt x="235" y="105"/>
                </a:lnTo>
                <a:lnTo>
                  <a:pt x="234" y="98"/>
                </a:lnTo>
                <a:lnTo>
                  <a:pt x="229" y="97"/>
                </a:lnTo>
                <a:lnTo>
                  <a:pt x="229" y="85"/>
                </a:lnTo>
                <a:lnTo>
                  <a:pt x="235" y="79"/>
                </a:lnTo>
                <a:lnTo>
                  <a:pt x="232" y="72"/>
                </a:lnTo>
                <a:lnTo>
                  <a:pt x="244" y="57"/>
                </a:lnTo>
                <a:lnTo>
                  <a:pt x="250" y="51"/>
                </a:lnTo>
                <a:lnTo>
                  <a:pt x="238" y="44"/>
                </a:lnTo>
                <a:lnTo>
                  <a:pt x="234" y="25"/>
                </a:lnTo>
                <a:lnTo>
                  <a:pt x="220" y="16"/>
                </a:lnTo>
                <a:lnTo>
                  <a:pt x="187" y="16"/>
                </a:lnTo>
                <a:close/>
              </a:path>
            </a:pathLst>
          </a:custGeom>
          <a:solidFill>
            <a:schemeClr val="accent1"/>
          </a:solidFill>
          <a:ln w="6350">
            <a:solidFill>
              <a:schemeClr val="tx2"/>
            </a:solidFill>
            <a:round/>
            <a:headEnd/>
            <a:tailEnd/>
          </a:ln>
        </p:spPr>
        <p:txBody>
          <a:bodyPr/>
          <a:lstStyle/>
          <a:p>
            <a:endParaRPr lang="en-US"/>
          </a:p>
        </p:txBody>
      </p:sp>
      <p:sp>
        <p:nvSpPr>
          <p:cNvPr id="226" name="Freeform 1126"/>
          <p:cNvSpPr>
            <a:spLocks/>
          </p:cNvSpPr>
          <p:nvPr/>
        </p:nvSpPr>
        <p:spPr bwMode="auto">
          <a:xfrm>
            <a:off x="3803860" y="3570142"/>
            <a:ext cx="133300" cy="104440"/>
          </a:xfrm>
          <a:custGeom>
            <a:avLst/>
            <a:gdLst>
              <a:gd name="T0" fmla="*/ 2147483647 w 280"/>
              <a:gd name="T1" fmla="*/ 2147483647 h 250"/>
              <a:gd name="T2" fmla="*/ 2147483647 w 280"/>
              <a:gd name="T3" fmla="*/ 2147483647 h 250"/>
              <a:gd name="T4" fmla="*/ 2147483647 w 280"/>
              <a:gd name="T5" fmla="*/ 2147483647 h 250"/>
              <a:gd name="T6" fmla="*/ 0 w 280"/>
              <a:gd name="T7" fmla="*/ 2147483647 h 250"/>
              <a:gd name="T8" fmla="*/ 0 w 280"/>
              <a:gd name="T9" fmla="*/ 2147483647 h 250"/>
              <a:gd name="T10" fmla="*/ 2147483647 w 280"/>
              <a:gd name="T11" fmla="*/ 2147483647 h 250"/>
              <a:gd name="T12" fmla="*/ 2147483647 w 280"/>
              <a:gd name="T13" fmla="*/ 2147483647 h 250"/>
              <a:gd name="T14" fmla="*/ 2147483647 w 280"/>
              <a:gd name="T15" fmla="*/ 2147483647 h 250"/>
              <a:gd name="T16" fmla="*/ 2147483647 w 280"/>
              <a:gd name="T17" fmla="*/ 2147483647 h 250"/>
              <a:gd name="T18" fmla="*/ 2147483647 w 280"/>
              <a:gd name="T19" fmla="*/ 2147483647 h 250"/>
              <a:gd name="T20" fmla="*/ 2147483647 w 280"/>
              <a:gd name="T21" fmla="*/ 2147483647 h 250"/>
              <a:gd name="T22" fmla="*/ 2147483647 w 280"/>
              <a:gd name="T23" fmla="*/ 2147483647 h 250"/>
              <a:gd name="T24" fmla="*/ 2147483647 w 280"/>
              <a:gd name="T25" fmla="*/ 2147483647 h 250"/>
              <a:gd name="T26" fmla="*/ 2147483647 w 280"/>
              <a:gd name="T27" fmla="*/ 2147483647 h 250"/>
              <a:gd name="T28" fmla="*/ 2147483647 w 280"/>
              <a:gd name="T29" fmla="*/ 2147483647 h 250"/>
              <a:gd name="T30" fmla="*/ 2147483647 w 280"/>
              <a:gd name="T31" fmla="*/ 2147483647 h 250"/>
              <a:gd name="T32" fmla="*/ 2147483647 w 280"/>
              <a:gd name="T33" fmla="*/ 2147483647 h 250"/>
              <a:gd name="T34" fmla="*/ 2147483647 w 280"/>
              <a:gd name="T35" fmla="*/ 0 h 250"/>
              <a:gd name="T36" fmla="*/ 2147483647 w 280"/>
              <a:gd name="T37" fmla="*/ 0 h 250"/>
              <a:gd name="T38" fmla="*/ 2147483647 w 280"/>
              <a:gd name="T39" fmla="*/ 2147483647 h 250"/>
              <a:gd name="T40" fmla="*/ 2147483647 w 280"/>
              <a:gd name="T41" fmla="*/ 2147483647 h 250"/>
              <a:gd name="T42" fmla="*/ 2147483647 w 280"/>
              <a:gd name="T43" fmla="*/ 2147483647 h 250"/>
              <a:gd name="T44" fmla="*/ 2147483647 w 280"/>
              <a:gd name="T45" fmla="*/ 2147483647 h 250"/>
              <a:gd name="T46" fmla="*/ 2147483647 w 280"/>
              <a:gd name="T47" fmla="*/ 2147483647 h 250"/>
              <a:gd name="T48" fmla="*/ 2147483647 w 280"/>
              <a:gd name="T49" fmla="*/ 2147483647 h 250"/>
              <a:gd name="T50" fmla="*/ 2147483647 w 280"/>
              <a:gd name="T51" fmla="*/ 2147483647 h 250"/>
              <a:gd name="T52" fmla="*/ 2147483647 w 280"/>
              <a:gd name="T53" fmla="*/ 2147483647 h 250"/>
              <a:gd name="T54" fmla="*/ 2147483647 w 280"/>
              <a:gd name="T55" fmla="*/ 2147483647 h 250"/>
              <a:gd name="T56" fmla="*/ 2147483647 w 280"/>
              <a:gd name="T57" fmla="*/ 2147483647 h 250"/>
              <a:gd name="T58" fmla="*/ 2147483647 w 280"/>
              <a:gd name="T59" fmla="*/ 2147483647 h 250"/>
              <a:gd name="T60" fmla="*/ 2147483647 w 280"/>
              <a:gd name="T61" fmla="*/ 2147483647 h 250"/>
              <a:gd name="T62" fmla="*/ 2147483647 w 280"/>
              <a:gd name="T63" fmla="*/ 2147483647 h 250"/>
              <a:gd name="T64" fmla="*/ 2147483647 w 280"/>
              <a:gd name="T65" fmla="*/ 2147483647 h 250"/>
              <a:gd name="T66" fmla="*/ 2147483647 w 280"/>
              <a:gd name="T67" fmla="*/ 2147483647 h 250"/>
              <a:gd name="T68" fmla="*/ 2147483647 w 280"/>
              <a:gd name="T69" fmla="*/ 2147483647 h 250"/>
              <a:gd name="T70" fmla="*/ 2147483647 w 280"/>
              <a:gd name="T71" fmla="*/ 2147483647 h 250"/>
              <a:gd name="T72" fmla="*/ 2147483647 w 280"/>
              <a:gd name="T73" fmla="*/ 2147483647 h 2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0"/>
              <a:gd name="T112" fmla="*/ 0 h 250"/>
              <a:gd name="T113" fmla="*/ 280 w 280"/>
              <a:gd name="T114" fmla="*/ 250 h 2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0" h="250">
                <a:moveTo>
                  <a:pt x="188" y="176"/>
                </a:moveTo>
                <a:lnTo>
                  <a:pt x="135" y="176"/>
                </a:lnTo>
                <a:lnTo>
                  <a:pt x="68" y="176"/>
                </a:lnTo>
                <a:lnTo>
                  <a:pt x="0" y="176"/>
                </a:lnTo>
                <a:lnTo>
                  <a:pt x="0" y="160"/>
                </a:lnTo>
                <a:lnTo>
                  <a:pt x="40" y="128"/>
                </a:lnTo>
                <a:lnTo>
                  <a:pt x="32" y="103"/>
                </a:lnTo>
                <a:lnTo>
                  <a:pt x="73" y="94"/>
                </a:lnTo>
                <a:lnTo>
                  <a:pt x="96" y="101"/>
                </a:lnTo>
                <a:lnTo>
                  <a:pt x="123" y="99"/>
                </a:lnTo>
                <a:lnTo>
                  <a:pt x="156" y="85"/>
                </a:lnTo>
                <a:lnTo>
                  <a:pt x="156" y="72"/>
                </a:lnTo>
                <a:lnTo>
                  <a:pt x="152" y="65"/>
                </a:lnTo>
                <a:lnTo>
                  <a:pt x="159" y="59"/>
                </a:lnTo>
                <a:lnTo>
                  <a:pt x="150" y="52"/>
                </a:lnTo>
                <a:lnTo>
                  <a:pt x="168" y="38"/>
                </a:lnTo>
                <a:lnTo>
                  <a:pt x="177" y="19"/>
                </a:lnTo>
                <a:lnTo>
                  <a:pt x="205" y="0"/>
                </a:lnTo>
                <a:lnTo>
                  <a:pt x="276" y="0"/>
                </a:lnTo>
                <a:lnTo>
                  <a:pt x="275" y="21"/>
                </a:lnTo>
                <a:lnTo>
                  <a:pt x="278" y="31"/>
                </a:lnTo>
                <a:lnTo>
                  <a:pt x="272" y="55"/>
                </a:lnTo>
                <a:lnTo>
                  <a:pt x="275" y="73"/>
                </a:lnTo>
                <a:lnTo>
                  <a:pt x="273" y="79"/>
                </a:lnTo>
                <a:lnTo>
                  <a:pt x="280" y="85"/>
                </a:lnTo>
                <a:lnTo>
                  <a:pt x="280" y="133"/>
                </a:lnTo>
                <a:lnTo>
                  <a:pt x="270" y="173"/>
                </a:lnTo>
                <a:lnTo>
                  <a:pt x="267" y="215"/>
                </a:lnTo>
                <a:lnTo>
                  <a:pt x="270" y="220"/>
                </a:lnTo>
                <a:lnTo>
                  <a:pt x="260" y="226"/>
                </a:lnTo>
                <a:lnTo>
                  <a:pt x="263" y="231"/>
                </a:lnTo>
                <a:lnTo>
                  <a:pt x="246" y="250"/>
                </a:lnTo>
                <a:lnTo>
                  <a:pt x="253" y="233"/>
                </a:lnTo>
                <a:lnTo>
                  <a:pt x="218" y="211"/>
                </a:lnTo>
                <a:lnTo>
                  <a:pt x="206" y="204"/>
                </a:lnTo>
                <a:lnTo>
                  <a:pt x="202" y="185"/>
                </a:lnTo>
                <a:lnTo>
                  <a:pt x="188" y="176"/>
                </a:lnTo>
                <a:close/>
              </a:path>
            </a:pathLst>
          </a:custGeom>
          <a:solidFill>
            <a:schemeClr val="accent1"/>
          </a:solidFill>
          <a:ln w="6350">
            <a:solidFill>
              <a:schemeClr val="tx2"/>
            </a:solidFill>
            <a:round/>
            <a:headEnd/>
            <a:tailEnd/>
          </a:ln>
        </p:spPr>
        <p:txBody>
          <a:bodyPr/>
          <a:lstStyle/>
          <a:p>
            <a:endParaRPr lang="en-US"/>
          </a:p>
        </p:txBody>
      </p:sp>
      <p:sp>
        <p:nvSpPr>
          <p:cNvPr id="227" name="Freeform 1127"/>
          <p:cNvSpPr>
            <a:spLocks/>
          </p:cNvSpPr>
          <p:nvPr/>
        </p:nvSpPr>
        <p:spPr bwMode="auto">
          <a:xfrm>
            <a:off x="3803860" y="3025017"/>
            <a:ext cx="458668" cy="545125"/>
          </a:xfrm>
          <a:custGeom>
            <a:avLst/>
            <a:gdLst>
              <a:gd name="T0" fmla="*/ 2147483647 w 973"/>
              <a:gd name="T1" fmla="*/ 2147483647 h 1305"/>
              <a:gd name="T2" fmla="*/ 2147483647 w 973"/>
              <a:gd name="T3" fmla="*/ 2147483647 h 1305"/>
              <a:gd name="T4" fmla="*/ 2147483647 w 973"/>
              <a:gd name="T5" fmla="*/ 2147483647 h 1305"/>
              <a:gd name="T6" fmla="*/ 2147483647 w 973"/>
              <a:gd name="T7" fmla="*/ 2147483647 h 1305"/>
              <a:gd name="T8" fmla="*/ 2147483647 w 973"/>
              <a:gd name="T9" fmla="*/ 2147483647 h 1305"/>
              <a:gd name="T10" fmla="*/ 2147483647 w 973"/>
              <a:gd name="T11" fmla="*/ 2147483647 h 1305"/>
              <a:gd name="T12" fmla="*/ 2147483647 w 973"/>
              <a:gd name="T13" fmla="*/ 2147483647 h 1305"/>
              <a:gd name="T14" fmla="*/ 2147483647 w 973"/>
              <a:gd name="T15" fmla="*/ 2147483647 h 1305"/>
              <a:gd name="T16" fmla="*/ 2147483647 w 973"/>
              <a:gd name="T17" fmla="*/ 2147483647 h 1305"/>
              <a:gd name="T18" fmla="*/ 2147483647 w 973"/>
              <a:gd name="T19" fmla="*/ 2147483647 h 1305"/>
              <a:gd name="T20" fmla="*/ 2147483647 w 973"/>
              <a:gd name="T21" fmla="*/ 2147483647 h 1305"/>
              <a:gd name="T22" fmla="*/ 2147483647 w 973"/>
              <a:gd name="T23" fmla="*/ 2147483647 h 1305"/>
              <a:gd name="T24" fmla="*/ 2147483647 w 973"/>
              <a:gd name="T25" fmla="*/ 2147483647 h 1305"/>
              <a:gd name="T26" fmla="*/ 2147483647 w 973"/>
              <a:gd name="T27" fmla="*/ 2147483647 h 1305"/>
              <a:gd name="T28" fmla="*/ 2147483647 w 973"/>
              <a:gd name="T29" fmla="*/ 2147483647 h 1305"/>
              <a:gd name="T30" fmla="*/ 2147483647 w 973"/>
              <a:gd name="T31" fmla="*/ 2147483647 h 1305"/>
              <a:gd name="T32" fmla="*/ 2147483647 w 973"/>
              <a:gd name="T33" fmla="*/ 2147483647 h 1305"/>
              <a:gd name="T34" fmla="*/ 2147483647 w 973"/>
              <a:gd name="T35" fmla="*/ 2147483647 h 1305"/>
              <a:gd name="T36" fmla="*/ 2147483647 w 973"/>
              <a:gd name="T37" fmla="*/ 2147483647 h 1305"/>
              <a:gd name="T38" fmla="*/ 2147483647 w 973"/>
              <a:gd name="T39" fmla="*/ 2147483647 h 1305"/>
              <a:gd name="T40" fmla="*/ 2147483647 w 973"/>
              <a:gd name="T41" fmla="*/ 2147483647 h 1305"/>
              <a:gd name="T42" fmla="*/ 2147483647 w 973"/>
              <a:gd name="T43" fmla="*/ 2147483647 h 1305"/>
              <a:gd name="T44" fmla="*/ 2147483647 w 973"/>
              <a:gd name="T45" fmla="*/ 2147483647 h 1305"/>
              <a:gd name="T46" fmla="*/ 2147483647 w 973"/>
              <a:gd name="T47" fmla="*/ 2147483647 h 1305"/>
              <a:gd name="T48" fmla="*/ 2147483647 w 973"/>
              <a:gd name="T49" fmla="*/ 2147483647 h 1305"/>
              <a:gd name="T50" fmla="*/ 2147483647 w 973"/>
              <a:gd name="T51" fmla="*/ 2147483647 h 1305"/>
              <a:gd name="T52" fmla="*/ 2147483647 w 973"/>
              <a:gd name="T53" fmla="*/ 2147483647 h 1305"/>
              <a:gd name="T54" fmla="*/ 2147483647 w 973"/>
              <a:gd name="T55" fmla="*/ 2147483647 h 1305"/>
              <a:gd name="T56" fmla="*/ 2147483647 w 973"/>
              <a:gd name="T57" fmla="*/ 2147483647 h 1305"/>
              <a:gd name="T58" fmla="*/ 2147483647 w 973"/>
              <a:gd name="T59" fmla="*/ 2147483647 h 1305"/>
              <a:gd name="T60" fmla="*/ 2147483647 w 973"/>
              <a:gd name="T61" fmla="*/ 2147483647 h 1305"/>
              <a:gd name="T62" fmla="*/ 2147483647 w 973"/>
              <a:gd name="T63" fmla="*/ 2147483647 h 1305"/>
              <a:gd name="T64" fmla="*/ 2147483647 w 973"/>
              <a:gd name="T65" fmla="*/ 2147483647 h 1305"/>
              <a:gd name="T66" fmla="*/ 2147483647 w 973"/>
              <a:gd name="T67" fmla="*/ 2147483647 h 1305"/>
              <a:gd name="T68" fmla="*/ 2147483647 w 973"/>
              <a:gd name="T69" fmla="*/ 2147483647 h 1305"/>
              <a:gd name="T70" fmla="*/ 2147483647 w 973"/>
              <a:gd name="T71" fmla="*/ 2147483647 h 1305"/>
              <a:gd name="T72" fmla="*/ 2147483647 w 973"/>
              <a:gd name="T73" fmla="*/ 2147483647 h 1305"/>
              <a:gd name="T74" fmla="*/ 2147483647 w 973"/>
              <a:gd name="T75" fmla="*/ 2147483647 h 1305"/>
              <a:gd name="T76" fmla="*/ 2147483647 w 973"/>
              <a:gd name="T77" fmla="*/ 2147483647 h 1305"/>
              <a:gd name="T78" fmla="*/ 2147483647 w 973"/>
              <a:gd name="T79" fmla="*/ 2147483647 h 1305"/>
              <a:gd name="T80" fmla="*/ 2147483647 w 973"/>
              <a:gd name="T81" fmla="*/ 2147483647 h 1305"/>
              <a:gd name="T82" fmla="*/ 2147483647 w 973"/>
              <a:gd name="T83" fmla="*/ 2147483647 h 1305"/>
              <a:gd name="T84" fmla="*/ 2147483647 w 973"/>
              <a:gd name="T85" fmla="*/ 2147483647 h 1305"/>
              <a:gd name="T86" fmla="*/ 2147483647 w 973"/>
              <a:gd name="T87" fmla="*/ 2147483647 h 1305"/>
              <a:gd name="T88" fmla="*/ 2147483647 w 973"/>
              <a:gd name="T89" fmla="*/ 2147483647 h 1305"/>
              <a:gd name="T90" fmla="*/ 2147483647 w 973"/>
              <a:gd name="T91" fmla="*/ 2147483647 h 1305"/>
              <a:gd name="T92" fmla="*/ 2147483647 w 973"/>
              <a:gd name="T93" fmla="*/ 2147483647 h 1305"/>
              <a:gd name="T94" fmla="*/ 2147483647 w 973"/>
              <a:gd name="T95" fmla="*/ 2147483647 h 1305"/>
              <a:gd name="T96" fmla="*/ 2147483647 w 973"/>
              <a:gd name="T97" fmla="*/ 2147483647 h 1305"/>
              <a:gd name="T98" fmla="*/ 2147483647 w 973"/>
              <a:gd name="T99" fmla="*/ 2147483647 h 1305"/>
              <a:gd name="T100" fmla="*/ 2147483647 w 973"/>
              <a:gd name="T101" fmla="*/ 2147483647 h 1305"/>
              <a:gd name="T102" fmla="*/ 2147483647 w 973"/>
              <a:gd name="T103" fmla="*/ 2147483647 h 1305"/>
              <a:gd name="T104" fmla="*/ 2147483647 w 973"/>
              <a:gd name="T105" fmla="*/ 2147483647 h 1305"/>
              <a:gd name="T106" fmla="*/ 2147483647 w 973"/>
              <a:gd name="T107" fmla="*/ 2147483647 h 1305"/>
              <a:gd name="T108" fmla="*/ 2147483647 w 973"/>
              <a:gd name="T109" fmla="*/ 2147483647 h 1305"/>
              <a:gd name="T110" fmla="*/ 2147483647 w 973"/>
              <a:gd name="T111" fmla="*/ 2147483647 h 1305"/>
              <a:gd name="T112" fmla="*/ 2147483647 w 973"/>
              <a:gd name="T113" fmla="*/ 2147483647 h 1305"/>
              <a:gd name="T114" fmla="*/ 2147483647 w 973"/>
              <a:gd name="T115" fmla="*/ 2147483647 h 1305"/>
              <a:gd name="T116" fmla="*/ 2147483647 w 973"/>
              <a:gd name="T117" fmla="*/ 2147483647 h 1305"/>
              <a:gd name="T118" fmla="*/ 2147483647 w 973"/>
              <a:gd name="T119" fmla="*/ 2147483647 h 1305"/>
              <a:gd name="T120" fmla="*/ 2147483647 w 973"/>
              <a:gd name="T121" fmla="*/ 2147483647 h 1305"/>
              <a:gd name="T122" fmla="*/ 2147483647 w 973"/>
              <a:gd name="T123" fmla="*/ 2147483647 h 1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3"/>
              <a:gd name="T187" fmla="*/ 0 h 1305"/>
              <a:gd name="T188" fmla="*/ 973 w 973"/>
              <a:gd name="T189" fmla="*/ 1305 h 1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3" h="1305">
                <a:moveTo>
                  <a:pt x="962" y="849"/>
                </a:moveTo>
                <a:lnTo>
                  <a:pt x="922" y="849"/>
                </a:lnTo>
                <a:lnTo>
                  <a:pt x="880" y="849"/>
                </a:lnTo>
                <a:lnTo>
                  <a:pt x="842" y="849"/>
                </a:lnTo>
                <a:lnTo>
                  <a:pt x="805" y="849"/>
                </a:lnTo>
                <a:lnTo>
                  <a:pt x="768" y="849"/>
                </a:lnTo>
                <a:lnTo>
                  <a:pt x="726" y="849"/>
                </a:lnTo>
                <a:lnTo>
                  <a:pt x="686" y="849"/>
                </a:lnTo>
                <a:lnTo>
                  <a:pt x="683" y="843"/>
                </a:lnTo>
                <a:lnTo>
                  <a:pt x="691" y="846"/>
                </a:lnTo>
                <a:lnTo>
                  <a:pt x="686" y="826"/>
                </a:lnTo>
                <a:lnTo>
                  <a:pt x="672" y="816"/>
                </a:lnTo>
                <a:lnTo>
                  <a:pt x="682" y="806"/>
                </a:lnTo>
                <a:lnTo>
                  <a:pt x="703" y="804"/>
                </a:lnTo>
                <a:lnTo>
                  <a:pt x="693" y="795"/>
                </a:lnTo>
                <a:lnTo>
                  <a:pt x="695" y="781"/>
                </a:lnTo>
                <a:lnTo>
                  <a:pt x="685" y="770"/>
                </a:lnTo>
                <a:lnTo>
                  <a:pt x="679" y="773"/>
                </a:lnTo>
                <a:lnTo>
                  <a:pt x="677" y="789"/>
                </a:lnTo>
                <a:lnTo>
                  <a:pt x="668" y="790"/>
                </a:lnTo>
                <a:lnTo>
                  <a:pt x="667" y="811"/>
                </a:lnTo>
                <a:lnTo>
                  <a:pt x="672" y="823"/>
                </a:lnTo>
                <a:lnTo>
                  <a:pt x="671" y="838"/>
                </a:lnTo>
                <a:lnTo>
                  <a:pt x="665" y="839"/>
                </a:lnTo>
                <a:lnTo>
                  <a:pt x="662" y="852"/>
                </a:lnTo>
                <a:lnTo>
                  <a:pt x="660" y="860"/>
                </a:lnTo>
                <a:lnTo>
                  <a:pt x="664" y="867"/>
                </a:lnTo>
                <a:lnTo>
                  <a:pt x="651" y="879"/>
                </a:lnTo>
                <a:lnTo>
                  <a:pt x="645" y="866"/>
                </a:lnTo>
                <a:lnTo>
                  <a:pt x="651" y="861"/>
                </a:lnTo>
                <a:lnTo>
                  <a:pt x="628" y="837"/>
                </a:lnTo>
                <a:lnTo>
                  <a:pt x="613" y="834"/>
                </a:lnTo>
                <a:lnTo>
                  <a:pt x="608" y="845"/>
                </a:lnTo>
                <a:lnTo>
                  <a:pt x="600" y="841"/>
                </a:lnTo>
                <a:lnTo>
                  <a:pt x="598" y="845"/>
                </a:lnTo>
                <a:lnTo>
                  <a:pt x="587" y="840"/>
                </a:lnTo>
                <a:lnTo>
                  <a:pt x="587" y="834"/>
                </a:lnTo>
                <a:lnTo>
                  <a:pt x="578" y="827"/>
                </a:lnTo>
                <a:lnTo>
                  <a:pt x="576" y="839"/>
                </a:lnTo>
                <a:lnTo>
                  <a:pt x="570" y="835"/>
                </a:lnTo>
                <a:lnTo>
                  <a:pt x="568" y="827"/>
                </a:lnTo>
                <a:lnTo>
                  <a:pt x="575" y="820"/>
                </a:lnTo>
                <a:lnTo>
                  <a:pt x="571" y="800"/>
                </a:lnTo>
                <a:lnTo>
                  <a:pt x="576" y="799"/>
                </a:lnTo>
                <a:lnTo>
                  <a:pt x="574" y="791"/>
                </a:lnTo>
                <a:lnTo>
                  <a:pt x="578" y="788"/>
                </a:lnTo>
                <a:lnTo>
                  <a:pt x="575" y="781"/>
                </a:lnTo>
                <a:lnTo>
                  <a:pt x="569" y="776"/>
                </a:lnTo>
                <a:lnTo>
                  <a:pt x="567" y="783"/>
                </a:lnTo>
                <a:lnTo>
                  <a:pt x="561" y="784"/>
                </a:lnTo>
                <a:lnTo>
                  <a:pt x="560" y="799"/>
                </a:lnTo>
                <a:lnTo>
                  <a:pt x="554" y="803"/>
                </a:lnTo>
                <a:lnTo>
                  <a:pt x="552" y="797"/>
                </a:lnTo>
                <a:lnTo>
                  <a:pt x="551" y="802"/>
                </a:lnTo>
                <a:lnTo>
                  <a:pt x="543" y="800"/>
                </a:lnTo>
                <a:lnTo>
                  <a:pt x="543" y="783"/>
                </a:lnTo>
                <a:lnTo>
                  <a:pt x="551" y="756"/>
                </a:lnTo>
                <a:lnTo>
                  <a:pt x="544" y="752"/>
                </a:lnTo>
                <a:lnTo>
                  <a:pt x="541" y="740"/>
                </a:lnTo>
                <a:lnTo>
                  <a:pt x="526" y="736"/>
                </a:lnTo>
                <a:lnTo>
                  <a:pt x="528" y="724"/>
                </a:lnTo>
                <a:lnTo>
                  <a:pt x="514" y="703"/>
                </a:lnTo>
                <a:lnTo>
                  <a:pt x="526" y="690"/>
                </a:lnTo>
                <a:lnTo>
                  <a:pt x="521" y="681"/>
                </a:lnTo>
                <a:lnTo>
                  <a:pt x="521" y="667"/>
                </a:lnTo>
                <a:lnTo>
                  <a:pt x="534" y="671"/>
                </a:lnTo>
                <a:lnTo>
                  <a:pt x="545" y="661"/>
                </a:lnTo>
                <a:lnTo>
                  <a:pt x="538" y="659"/>
                </a:lnTo>
                <a:lnTo>
                  <a:pt x="528" y="628"/>
                </a:lnTo>
                <a:lnTo>
                  <a:pt x="535" y="629"/>
                </a:lnTo>
                <a:lnTo>
                  <a:pt x="534" y="633"/>
                </a:lnTo>
                <a:lnTo>
                  <a:pt x="549" y="649"/>
                </a:lnTo>
                <a:lnTo>
                  <a:pt x="559" y="654"/>
                </a:lnTo>
                <a:lnTo>
                  <a:pt x="563" y="649"/>
                </a:lnTo>
                <a:lnTo>
                  <a:pt x="558" y="639"/>
                </a:lnTo>
                <a:lnTo>
                  <a:pt x="561" y="635"/>
                </a:lnTo>
                <a:lnTo>
                  <a:pt x="556" y="626"/>
                </a:lnTo>
                <a:lnTo>
                  <a:pt x="560" y="619"/>
                </a:lnTo>
                <a:lnTo>
                  <a:pt x="553" y="610"/>
                </a:lnTo>
                <a:lnTo>
                  <a:pt x="556" y="609"/>
                </a:lnTo>
                <a:lnTo>
                  <a:pt x="580" y="634"/>
                </a:lnTo>
                <a:lnTo>
                  <a:pt x="596" y="642"/>
                </a:lnTo>
                <a:lnTo>
                  <a:pt x="603" y="656"/>
                </a:lnTo>
                <a:lnTo>
                  <a:pt x="661" y="653"/>
                </a:lnTo>
                <a:lnTo>
                  <a:pt x="688" y="664"/>
                </a:lnTo>
                <a:lnTo>
                  <a:pt x="699" y="637"/>
                </a:lnTo>
                <a:lnTo>
                  <a:pt x="694" y="629"/>
                </a:lnTo>
                <a:lnTo>
                  <a:pt x="696" y="620"/>
                </a:lnTo>
                <a:lnTo>
                  <a:pt x="715" y="609"/>
                </a:lnTo>
                <a:lnTo>
                  <a:pt x="711" y="604"/>
                </a:lnTo>
                <a:lnTo>
                  <a:pt x="713" y="595"/>
                </a:lnTo>
                <a:lnTo>
                  <a:pt x="699" y="590"/>
                </a:lnTo>
                <a:lnTo>
                  <a:pt x="688" y="570"/>
                </a:lnTo>
                <a:lnTo>
                  <a:pt x="688" y="563"/>
                </a:lnTo>
                <a:lnTo>
                  <a:pt x="699" y="557"/>
                </a:lnTo>
                <a:lnTo>
                  <a:pt x="683" y="556"/>
                </a:lnTo>
                <a:lnTo>
                  <a:pt x="682" y="550"/>
                </a:lnTo>
                <a:lnTo>
                  <a:pt x="675" y="553"/>
                </a:lnTo>
                <a:lnTo>
                  <a:pt x="681" y="541"/>
                </a:lnTo>
                <a:lnTo>
                  <a:pt x="672" y="538"/>
                </a:lnTo>
                <a:lnTo>
                  <a:pt x="668" y="526"/>
                </a:lnTo>
                <a:lnTo>
                  <a:pt x="681" y="525"/>
                </a:lnTo>
                <a:lnTo>
                  <a:pt x="670" y="504"/>
                </a:lnTo>
                <a:lnTo>
                  <a:pt x="681" y="490"/>
                </a:lnTo>
                <a:lnTo>
                  <a:pt x="681" y="476"/>
                </a:lnTo>
                <a:lnTo>
                  <a:pt x="687" y="463"/>
                </a:lnTo>
                <a:lnTo>
                  <a:pt x="681" y="462"/>
                </a:lnTo>
                <a:lnTo>
                  <a:pt x="688" y="452"/>
                </a:lnTo>
                <a:lnTo>
                  <a:pt x="685" y="436"/>
                </a:lnTo>
                <a:lnTo>
                  <a:pt x="693" y="423"/>
                </a:lnTo>
                <a:lnTo>
                  <a:pt x="688" y="429"/>
                </a:lnTo>
                <a:lnTo>
                  <a:pt x="679" y="418"/>
                </a:lnTo>
                <a:lnTo>
                  <a:pt x="673" y="420"/>
                </a:lnTo>
                <a:lnTo>
                  <a:pt x="667" y="399"/>
                </a:lnTo>
                <a:lnTo>
                  <a:pt x="657" y="395"/>
                </a:lnTo>
                <a:lnTo>
                  <a:pt x="669" y="374"/>
                </a:lnTo>
                <a:lnTo>
                  <a:pt x="683" y="364"/>
                </a:lnTo>
                <a:lnTo>
                  <a:pt x="680" y="357"/>
                </a:lnTo>
                <a:lnTo>
                  <a:pt x="672" y="358"/>
                </a:lnTo>
                <a:lnTo>
                  <a:pt x="673" y="347"/>
                </a:lnTo>
                <a:lnTo>
                  <a:pt x="698" y="340"/>
                </a:lnTo>
                <a:lnTo>
                  <a:pt x="688" y="330"/>
                </a:lnTo>
                <a:lnTo>
                  <a:pt x="669" y="341"/>
                </a:lnTo>
                <a:lnTo>
                  <a:pt x="663" y="330"/>
                </a:lnTo>
                <a:lnTo>
                  <a:pt x="638" y="326"/>
                </a:lnTo>
                <a:lnTo>
                  <a:pt x="645" y="315"/>
                </a:lnTo>
                <a:lnTo>
                  <a:pt x="663" y="320"/>
                </a:lnTo>
                <a:lnTo>
                  <a:pt x="653" y="304"/>
                </a:lnTo>
                <a:lnTo>
                  <a:pt x="654" y="286"/>
                </a:lnTo>
                <a:lnTo>
                  <a:pt x="661" y="278"/>
                </a:lnTo>
                <a:lnTo>
                  <a:pt x="646" y="283"/>
                </a:lnTo>
                <a:lnTo>
                  <a:pt x="640" y="275"/>
                </a:lnTo>
                <a:lnTo>
                  <a:pt x="641" y="252"/>
                </a:lnTo>
                <a:lnTo>
                  <a:pt x="648" y="243"/>
                </a:lnTo>
                <a:lnTo>
                  <a:pt x="636" y="233"/>
                </a:lnTo>
                <a:lnTo>
                  <a:pt x="650" y="227"/>
                </a:lnTo>
                <a:lnTo>
                  <a:pt x="640" y="213"/>
                </a:lnTo>
                <a:lnTo>
                  <a:pt x="655" y="206"/>
                </a:lnTo>
                <a:lnTo>
                  <a:pt x="641" y="205"/>
                </a:lnTo>
                <a:lnTo>
                  <a:pt x="609" y="254"/>
                </a:lnTo>
                <a:lnTo>
                  <a:pt x="625" y="276"/>
                </a:lnTo>
                <a:lnTo>
                  <a:pt x="608" y="298"/>
                </a:lnTo>
                <a:lnTo>
                  <a:pt x="604" y="293"/>
                </a:lnTo>
                <a:lnTo>
                  <a:pt x="608" y="303"/>
                </a:lnTo>
                <a:lnTo>
                  <a:pt x="606" y="314"/>
                </a:lnTo>
                <a:lnTo>
                  <a:pt x="599" y="314"/>
                </a:lnTo>
                <a:lnTo>
                  <a:pt x="598" y="321"/>
                </a:lnTo>
                <a:lnTo>
                  <a:pt x="601" y="323"/>
                </a:lnTo>
                <a:lnTo>
                  <a:pt x="593" y="329"/>
                </a:lnTo>
                <a:lnTo>
                  <a:pt x="585" y="323"/>
                </a:lnTo>
                <a:lnTo>
                  <a:pt x="598" y="341"/>
                </a:lnTo>
                <a:lnTo>
                  <a:pt x="589" y="364"/>
                </a:lnTo>
                <a:lnTo>
                  <a:pt x="592" y="348"/>
                </a:lnTo>
                <a:lnTo>
                  <a:pt x="589" y="340"/>
                </a:lnTo>
                <a:lnTo>
                  <a:pt x="573" y="329"/>
                </a:lnTo>
                <a:lnTo>
                  <a:pt x="562" y="358"/>
                </a:lnTo>
                <a:lnTo>
                  <a:pt x="522" y="377"/>
                </a:lnTo>
                <a:lnTo>
                  <a:pt x="517" y="390"/>
                </a:lnTo>
                <a:lnTo>
                  <a:pt x="514" y="362"/>
                </a:lnTo>
                <a:lnTo>
                  <a:pt x="506" y="371"/>
                </a:lnTo>
                <a:lnTo>
                  <a:pt x="508" y="348"/>
                </a:lnTo>
                <a:lnTo>
                  <a:pt x="491" y="390"/>
                </a:lnTo>
                <a:lnTo>
                  <a:pt x="491" y="386"/>
                </a:lnTo>
                <a:lnTo>
                  <a:pt x="495" y="363"/>
                </a:lnTo>
                <a:lnTo>
                  <a:pt x="485" y="327"/>
                </a:lnTo>
                <a:lnTo>
                  <a:pt x="448" y="328"/>
                </a:lnTo>
                <a:lnTo>
                  <a:pt x="427" y="345"/>
                </a:lnTo>
                <a:lnTo>
                  <a:pt x="407" y="336"/>
                </a:lnTo>
                <a:lnTo>
                  <a:pt x="422" y="332"/>
                </a:lnTo>
                <a:lnTo>
                  <a:pt x="417" y="317"/>
                </a:lnTo>
                <a:lnTo>
                  <a:pt x="425" y="316"/>
                </a:lnTo>
                <a:lnTo>
                  <a:pt x="431" y="329"/>
                </a:lnTo>
                <a:lnTo>
                  <a:pt x="453" y="315"/>
                </a:lnTo>
                <a:lnTo>
                  <a:pt x="450" y="306"/>
                </a:lnTo>
                <a:lnTo>
                  <a:pt x="440" y="302"/>
                </a:lnTo>
                <a:lnTo>
                  <a:pt x="453" y="291"/>
                </a:lnTo>
                <a:lnTo>
                  <a:pt x="432" y="288"/>
                </a:lnTo>
                <a:lnTo>
                  <a:pt x="444" y="264"/>
                </a:lnTo>
                <a:lnTo>
                  <a:pt x="441" y="250"/>
                </a:lnTo>
                <a:lnTo>
                  <a:pt x="422" y="238"/>
                </a:lnTo>
                <a:lnTo>
                  <a:pt x="428" y="232"/>
                </a:lnTo>
                <a:lnTo>
                  <a:pt x="444" y="225"/>
                </a:lnTo>
                <a:lnTo>
                  <a:pt x="430" y="198"/>
                </a:lnTo>
                <a:lnTo>
                  <a:pt x="431" y="173"/>
                </a:lnTo>
                <a:lnTo>
                  <a:pt x="442" y="159"/>
                </a:lnTo>
                <a:lnTo>
                  <a:pt x="433" y="139"/>
                </a:lnTo>
                <a:lnTo>
                  <a:pt x="428" y="143"/>
                </a:lnTo>
                <a:lnTo>
                  <a:pt x="429" y="149"/>
                </a:lnTo>
                <a:lnTo>
                  <a:pt x="413" y="157"/>
                </a:lnTo>
                <a:lnTo>
                  <a:pt x="404" y="138"/>
                </a:lnTo>
                <a:lnTo>
                  <a:pt x="377" y="146"/>
                </a:lnTo>
                <a:lnTo>
                  <a:pt x="370" y="130"/>
                </a:lnTo>
                <a:lnTo>
                  <a:pt x="348" y="132"/>
                </a:lnTo>
                <a:lnTo>
                  <a:pt x="350" y="123"/>
                </a:lnTo>
                <a:lnTo>
                  <a:pt x="339" y="116"/>
                </a:lnTo>
                <a:lnTo>
                  <a:pt x="337" y="105"/>
                </a:lnTo>
                <a:lnTo>
                  <a:pt x="349" y="93"/>
                </a:lnTo>
                <a:lnTo>
                  <a:pt x="338" y="87"/>
                </a:lnTo>
                <a:lnTo>
                  <a:pt x="322" y="97"/>
                </a:lnTo>
                <a:lnTo>
                  <a:pt x="321" y="90"/>
                </a:lnTo>
                <a:lnTo>
                  <a:pt x="327" y="86"/>
                </a:lnTo>
                <a:lnTo>
                  <a:pt x="320" y="75"/>
                </a:lnTo>
                <a:lnTo>
                  <a:pt x="320" y="62"/>
                </a:lnTo>
                <a:lnTo>
                  <a:pt x="307" y="60"/>
                </a:lnTo>
                <a:lnTo>
                  <a:pt x="305" y="71"/>
                </a:lnTo>
                <a:lnTo>
                  <a:pt x="296" y="72"/>
                </a:lnTo>
                <a:lnTo>
                  <a:pt x="306" y="52"/>
                </a:lnTo>
                <a:lnTo>
                  <a:pt x="303" y="41"/>
                </a:lnTo>
                <a:lnTo>
                  <a:pt x="252" y="11"/>
                </a:lnTo>
                <a:lnTo>
                  <a:pt x="216" y="31"/>
                </a:lnTo>
                <a:lnTo>
                  <a:pt x="213" y="39"/>
                </a:lnTo>
                <a:lnTo>
                  <a:pt x="198" y="40"/>
                </a:lnTo>
                <a:lnTo>
                  <a:pt x="200" y="34"/>
                </a:lnTo>
                <a:lnTo>
                  <a:pt x="197" y="29"/>
                </a:lnTo>
                <a:lnTo>
                  <a:pt x="175" y="35"/>
                </a:lnTo>
                <a:lnTo>
                  <a:pt x="176" y="27"/>
                </a:lnTo>
                <a:lnTo>
                  <a:pt x="146" y="13"/>
                </a:lnTo>
                <a:lnTo>
                  <a:pt x="94" y="7"/>
                </a:lnTo>
                <a:lnTo>
                  <a:pt x="93" y="0"/>
                </a:lnTo>
                <a:lnTo>
                  <a:pt x="63" y="36"/>
                </a:lnTo>
                <a:lnTo>
                  <a:pt x="64" y="57"/>
                </a:lnTo>
                <a:lnTo>
                  <a:pt x="69" y="75"/>
                </a:lnTo>
                <a:lnTo>
                  <a:pt x="87" y="88"/>
                </a:lnTo>
                <a:lnTo>
                  <a:pt x="97" y="80"/>
                </a:lnTo>
                <a:lnTo>
                  <a:pt x="96" y="94"/>
                </a:lnTo>
                <a:lnTo>
                  <a:pt x="83" y="110"/>
                </a:lnTo>
                <a:lnTo>
                  <a:pt x="83" y="120"/>
                </a:lnTo>
                <a:lnTo>
                  <a:pt x="66" y="152"/>
                </a:lnTo>
                <a:lnTo>
                  <a:pt x="66" y="161"/>
                </a:lnTo>
                <a:lnTo>
                  <a:pt x="72" y="167"/>
                </a:lnTo>
                <a:lnTo>
                  <a:pt x="95" y="169"/>
                </a:lnTo>
                <a:lnTo>
                  <a:pt x="81" y="174"/>
                </a:lnTo>
                <a:lnTo>
                  <a:pt x="86" y="182"/>
                </a:lnTo>
                <a:lnTo>
                  <a:pt x="83" y="197"/>
                </a:lnTo>
                <a:lnTo>
                  <a:pt x="96" y="219"/>
                </a:lnTo>
                <a:lnTo>
                  <a:pt x="94" y="226"/>
                </a:lnTo>
                <a:lnTo>
                  <a:pt x="85" y="227"/>
                </a:lnTo>
                <a:lnTo>
                  <a:pt x="85" y="234"/>
                </a:lnTo>
                <a:lnTo>
                  <a:pt x="108" y="234"/>
                </a:lnTo>
                <a:lnTo>
                  <a:pt x="100" y="245"/>
                </a:lnTo>
                <a:lnTo>
                  <a:pt x="98" y="258"/>
                </a:lnTo>
                <a:lnTo>
                  <a:pt x="114" y="267"/>
                </a:lnTo>
                <a:lnTo>
                  <a:pt x="98" y="270"/>
                </a:lnTo>
                <a:lnTo>
                  <a:pt x="85" y="264"/>
                </a:lnTo>
                <a:lnTo>
                  <a:pt x="81" y="273"/>
                </a:lnTo>
                <a:lnTo>
                  <a:pt x="85" y="295"/>
                </a:lnTo>
                <a:lnTo>
                  <a:pt x="40" y="310"/>
                </a:lnTo>
                <a:lnTo>
                  <a:pt x="41" y="330"/>
                </a:lnTo>
                <a:lnTo>
                  <a:pt x="39" y="333"/>
                </a:lnTo>
                <a:lnTo>
                  <a:pt x="72" y="368"/>
                </a:lnTo>
                <a:lnTo>
                  <a:pt x="94" y="376"/>
                </a:lnTo>
                <a:lnTo>
                  <a:pt x="123" y="481"/>
                </a:lnTo>
                <a:lnTo>
                  <a:pt x="128" y="533"/>
                </a:lnTo>
                <a:lnTo>
                  <a:pt x="140" y="513"/>
                </a:lnTo>
                <a:lnTo>
                  <a:pt x="147" y="536"/>
                </a:lnTo>
                <a:lnTo>
                  <a:pt x="151" y="537"/>
                </a:lnTo>
                <a:lnTo>
                  <a:pt x="141" y="548"/>
                </a:lnTo>
                <a:lnTo>
                  <a:pt x="124" y="546"/>
                </a:lnTo>
                <a:lnTo>
                  <a:pt x="90" y="602"/>
                </a:lnTo>
                <a:lnTo>
                  <a:pt x="78" y="617"/>
                </a:lnTo>
                <a:lnTo>
                  <a:pt x="0" y="666"/>
                </a:lnTo>
                <a:lnTo>
                  <a:pt x="14" y="675"/>
                </a:lnTo>
                <a:lnTo>
                  <a:pt x="32" y="711"/>
                </a:lnTo>
                <a:lnTo>
                  <a:pt x="39" y="790"/>
                </a:lnTo>
                <a:lnTo>
                  <a:pt x="42" y="793"/>
                </a:lnTo>
                <a:lnTo>
                  <a:pt x="39" y="800"/>
                </a:lnTo>
                <a:lnTo>
                  <a:pt x="43" y="814"/>
                </a:lnTo>
                <a:lnTo>
                  <a:pt x="59" y="831"/>
                </a:lnTo>
                <a:lnTo>
                  <a:pt x="77" y="830"/>
                </a:lnTo>
                <a:lnTo>
                  <a:pt x="72" y="835"/>
                </a:lnTo>
                <a:lnTo>
                  <a:pt x="58" y="834"/>
                </a:lnTo>
                <a:lnTo>
                  <a:pt x="39" y="860"/>
                </a:lnTo>
                <a:lnTo>
                  <a:pt x="29" y="861"/>
                </a:lnTo>
                <a:lnTo>
                  <a:pt x="46" y="882"/>
                </a:lnTo>
                <a:lnTo>
                  <a:pt x="42" y="895"/>
                </a:lnTo>
                <a:lnTo>
                  <a:pt x="36" y="899"/>
                </a:lnTo>
                <a:lnTo>
                  <a:pt x="32" y="901"/>
                </a:lnTo>
                <a:lnTo>
                  <a:pt x="29" y="886"/>
                </a:lnTo>
                <a:lnTo>
                  <a:pt x="19" y="875"/>
                </a:lnTo>
                <a:lnTo>
                  <a:pt x="8" y="877"/>
                </a:lnTo>
                <a:lnTo>
                  <a:pt x="6" y="886"/>
                </a:lnTo>
                <a:lnTo>
                  <a:pt x="6" y="895"/>
                </a:lnTo>
                <a:lnTo>
                  <a:pt x="6" y="927"/>
                </a:lnTo>
                <a:lnTo>
                  <a:pt x="6" y="989"/>
                </a:lnTo>
                <a:lnTo>
                  <a:pt x="6" y="1052"/>
                </a:lnTo>
                <a:lnTo>
                  <a:pt x="6" y="1110"/>
                </a:lnTo>
                <a:lnTo>
                  <a:pt x="6" y="1152"/>
                </a:lnTo>
                <a:lnTo>
                  <a:pt x="11" y="1163"/>
                </a:lnTo>
                <a:lnTo>
                  <a:pt x="11" y="1173"/>
                </a:lnTo>
                <a:lnTo>
                  <a:pt x="23" y="1191"/>
                </a:lnTo>
                <a:lnTo>
                  <a:pt x="32" y="1211"/>
                </a:lnTo>
                <a:lnTo>
                  <a:pt x="42" y="1221"/>
                </a:lnTo>
                <a:lnTo>
                  <a:pt x="92" y="1232"/>
                </a:lnTo>
                <a:lnTo>
                  <a:pt x="105" y="1246"/>
                </a:lnTo>
                <a:lnTo>
                  <a:pt x="125" y="1249"/>
                </a:lnTo>
                <a:lnTo>
                  <a:pt x="132" y="1268"/>
                </a:lnTo>
                <a:lnTo>
                  <a:pt x="144" y="1275"/>
                </a:lnTo>
                <a:lnTo>
                  <a:pt x="155" y="1272"/>
                </a:lnTo>
                <a:lnTo>
                  <a:pt x="166" y="1280"/>
                </a:lnTo>
                <a:lnTo>
                  <a:pt x="191" y="1267"/>
                </a:lnTo>
                <a:lnTo>
                  <a:pt x="217" y="1263"/>
                </a:lnTo>
                <a:lnTo>
                  <a:pt x="227" y="1270"/>
                </a:lnTo>
                <a:lnTo>
                  <a:pt x="224" y="1284"/>
                </a:lnTo>
                <a:lnTo>
                  <a:pt x="231" y="1291"/>
                </a:lnTo>
                <a:lnTo>
                  <a:pt x="214" y="1305"/>
                </a:lnTo>
                <a:lnTo>
                  <a:pt x="308" y="1305"/>
                </a:lnTo>
                <a:lnTo>
                  <a:pt x="351" y="1305"/>
                </a:lnTo>
                <a:lnTo>
                  <a:pt x="358" y="1289"/>
                </a:lnTo>
                <a:lnTo>
                  <a:pt x="370" y="1287"/>
                </a:lnTo>
                <a:lnTo>
                  <a:pt x="392" y="1285"/>
                </a:lnTo>
                <a:lnTo>
                  <a:pt x="392" y="1274"/>
                </a:lnTo>
                <a:lnTo>
                  <a:pt x="401" y="1264"/>
                </a:lnTo>
                <a:lnTo>
                  <a:pt x="403" y="1237"/>
                </a:lnTo>
                <a:lnTo>
                  <a:pt x="415" y="1210"/>
                </a:lnTo>
                <a:lnTo>
                  <a:pt x="418" y="1191"/>
                </a:lnTo>
                <a:lnTo>
                  <a:pt x="439" y="1156"/>
                </a:lnTo>
                <a:lnTo>
                  <a:pt x="449" y="1153"/>
                </a:lnTo>
                <a:lnTo>
                  <a:pt x="458" y="1163"/>
                </a:lnTo>
                <a:lnTo>
                  <a:pt x="479" y="1153"/>
                </a:lnTo>
                <a:lnTo>
                  <a:pt x="487" y="1145"/>
                </a:lnTo>
                <a:lnTo>
                  <a:pt x="488" y="1121"/>
                </a:lnTo>
                <a:lnTo>
                  <a:pt x="498" y="1121"/>
                </a:lnTo>
                <a:lnTo>
                  <a:pt x="498" y="1116"/>
                </a:lnTo>
                <a:lnTo>
                  <a:pt x="521" y="1116"/>
                </a:lnTo>
                <a:lnTo>
                  <a:pt x="531" y="1126"/>
                </a:lnTo>
                <a:lnTo>
                  <a:pt x="549" y="1123"/>
                </a:lnTo>
                <a:lnTo>
                  <a:pt x="553" y="1116"/>
                </a:lnTo>
                <a:lnTo>
                  <a:pt x="580" y="1113"/>
                </a:lnTo>
                <a:lnTo>
                  <a:pt x="601" y="1120"/>
                </a:lnTo>
                <a:lnTo>
                  <a:pt x="600" y="1104"/>
                </a:lnTo>
                <a:lnTo>
                  <a:pt x="626" y="1111"/>
                </a:lnTo>
                <a:lnTo>
                  <a:pt x="667" y="1081"/>
                </a:lnTo>
                <a:lnTo>
                  <a:pt x="667" y="1069"/>
                </a:lnTo>
                <a:lnTo>
                  <a:pt x="663" y="1062"/>
                </a:lnTo>
                <a:lnTo>
                  <a:pt x="669" y="1064"/>
                </a:lnTo>
                <a:lnTo>
                  <a:pt x="664" y="1050"/>
                </a:lnTo>
                <a:lnTo>
                  <a:pt x="633" y="1034"/>
                </a:lnTo>
                <a:lnTo>
                  <a:pt x="610" y="1031"/>
                </a:lnTo>
                <a:lnTo>
                  <a:pt x="567" y="1038"/>
                </a:lnTo>
                <a:lnTo>
                  <a:pt x="469" y="1090"/>
                </a:lnTo>
                <a:lnTo>
                  <a:pt x="438" y="1117"/>
                </a:lnTo>
                <a:lnTo>
                  <a:pt x="428" y="1137"/>
                </a:lnTo>
                <a:lnTo>
                  <a:pt x="390" y="1181"/>
                </a:lnTo>
                <a:lnTo>
                  <a:pt x="370" y="1188"/>
                </a:lnTo>
                <a:lnTo>
                  <a:pt x="412" y="1149"/>
                </a:lnTo>
                <a:lnTo>
                  <a:pt x="429" y="1116"/>
                </a:lnTo>
                <a:lnTo>
                  <a:pt x="428" y="1104"/>
                </a:lnTo>
                <a:lnTo>
                  <a:pt x="446" y="1096"/>
                </a:lnTo>
                <a:lnTo>
                  <a:pt x="469" y="1061"/>
                </a:lnTo>
                <a:lnTo>
                  <a:pt x="491" y="1038"/>
                </a:lnTo>
                <a:lnTo>
                  <a:pt x="504" y="1030"/>
                </a:lnTo>
                <a:lnTo>
                  <a:pt x="537" y="1026"/>
                </a:lnTo>
                <a:lnTo>
                  <a:pt x="547" y="997"/>
                </a:lnTo>
                <a:lnTo>
                  <a:pt x="559" y="980"/>
                </a:lnTo>
                <a:lnTo>
                  <a:pt x="565" y="978"/>
                </a:lnTo>
                <a:lnTo>
                  <a:pt x="575" y="976"/>
                </a:lnTo>
                <a:lnTo>
                  <a:pt x="580" y="968"/>
                </a:lnTo>
                <a:lnTo>
                  <a:pt x="659" y="962"/>
                </a:lnTo>
                <a:lnTo>
                  <a:pt x="770" y="967"/>
                </a:lnTo>
                <a:lnTo>
                  <a:pt x="783" y="977"/>
                </a:lnTo>
                <a:lnTo>
                  <a:pt x="835" y="966"/>
                </a:lnTo>
                <a:lnTo>
                  <a:pt x="845" y="955"/>
                </a:lnTo>
                <a:lnTo>
                  <a:pt x="841" y="964"/>
                </a:lnTo>
                <a:lnTo>
                  <a:pt x="850" y="968"/>
                </a:lnTo>
                <a:lnTo>
                  <a:pt x="867" y="953"/>
                </a:lnTo>
                <a:lnTo>
                  <a:pt x="875" y="948"/>
                </a:lnTo>
                <a:lnTo>
                  <a:pt x="898" y="913"/>
                </a:lnTo>
                <a:lnTo>
                  <a:pt x="902" y="914"/>
                </a:lnTo>
                <a:lnTo>
                  <a:pt x="920" y="895"/>
                </a:lnTo>
                <a:lnTo>
                  <a:pt x="973" y="886"/>
                </a:lnTo>
                <a:lnTo>
                  <a:pt x="973" y="849"/>
                </a:lnTo>
                <a:lnTo>
                  <a:pt x="962" y="849"/>
                </a:lnTo>
                <a:close/>
              </a:path>
            </a:pathLst>
          </a:custGeom>
          <a:solidFill>
            <a:schemeClr val="accent1"/>
          </a:solidFill>
          <a:ln w="6350">
            <a:solidFill>
              <a:schemeClr val="tx2"/>
            </a:solidFill>
            <a:round/>
            <a:headEnd/>
            <a:tailEnd/>
          </a:ln>
        </p:spPr>
        <p:txBody>
          <a:bodyPr/>
          <a:lstStyle/>
          <a:p>
            <a:endParaRPr lang="en-US"/>
          </a:p>
        </p:txBody>
      </p:sp>
      <p:sp>
        <p:nvSpPr>
          <p:cNvPr id="228" name="Freeform 1128"/>
          <p:cNvSpPr>
            <a:spLocks/>
          </p:cNvSpPr>
          <p:nvPr/>
        </p:nvSpPr>
        <p:spPr bwMode="auto">
          <a:xfrm>
            <a:off x="3950062" y="3562500"/>
            <a:ext cx="37267" cy="63683"/>
          </a:xfrm>
          <a:custGeom>
            <a:avLst/>
            <a:gdLst>
              <a:gd name="T0" fmla="*/ 2147483647 w 79"/>
              <a:gd name="T1" fmla="*/ 2147483647 h 151"/>
              <a:gd name="T2" fmla="*/ 2147483647 w 79"/>
              <a:gd name="T3" fmla="*/ 2147483647 h 151"/>
              <a:gd name="T4" fmla="*/ 2147483647 w 79"/>
              <a:gd name="T5" fmla="*/ 2147483647 h 151"/>
              <a:gd name="T6" fmla="*/ 2147483647 w 79"/>
              <a:gd name="T7" fmla="*/ 0 h 151"/>
              <a:gd name="T8" fmla="*/ 2147483647 w 79"/>
              <a:gd name="T9" fmla="*/ 2147483647 h 151"/>
              <a:gd name="T10" fmla="*/ 2147483647 w 79"/>
              <a:gd name="T11" fmla="*/ 2147483647 h 151"/>
              <a:gd name="T12" fmla="*/ 2147483647 w 79"/>
              <a:gd name="T13" fmla="*/ 2147483647 h 151"/>
              <a:gd name="T14" fmla="*/ 2147483647 w 79"/>
              <a:gd name="T15" fmla="*/ 2147483647 h 151"/>
              <a:gd name="T16" fmla="*/ 2147483647 w 79"/>
              <a:gd name="T17" fmla="*/ 2147483647 h 151"/>
              <a:gd name="T18" fmla="*/ 2147483647 w 79"/>
              <a:gd name="T19" fmla="*/ 2147483647 h 151"/>
              <a:gd name="T20" fmla="*/ 2147483647 w 79"/>
              <a:gd name="T21" fmla="*/ 2147483647 h 151"/>
              <a:gd name="T22" fmla="*/ 2147483647 w 79"/>
              <a:gd name="T23" fmla="*/ 2147483647 h 151"/>
              <a:gd name="T24" fmla="*/ 0 w 79"/>
              <a:gd name="T25" fmla="*/ 2147483647 h 151"/>
              <a:gd name="T26" fmla="*/ 2147483647 w 79"/>
              <a:gd name="T27" fmla="*/ 2147483647 h 151"/>
              <a:gd name="T28" fmla="*/ 2147483647 w 79"/>
              <a:gd name="T29" fmla="*/ 2147483647 h 151"/>
              <a:gd name="T30" fmla="*/ 2147483647 w 79"/>
              <a:gd name="T31" fmla="*/ 2147483647 h 151"/>
              <a:gd name="T32" fmla="*/ 2147483647 w 79"/>
              <a:gd name="T33" fmla="*/ 2147483647 h 151"/>
              <a:gd name="T34" fmla="*/ 2147483647 w 79"/>
              <a:gd name="T35" fmla="*/ 2147483647 h 1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9"/>
              <a:gd name="T55" fmla="*/ 0 h 151"/>
              <a:gd name="T56" fmla="*/ 79 w 79"/>
              <a:gd name="T57" fmla="*/ 151 h 1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9" h="151">
                <a:moveTo>
                  <a:pt x="79" y="131"/>
                </a:moveTo>
                <a:lnTo>
                  <a:pt x="68" y="111"/>
                </a:lnTo>
                <a:lnTo>
                  <a:pt x="66" y="58"/>
                </a:lnTo>
                <a:lnTo>
                  <a:pt x="64" y="0"/>
                </a:lnTo>
                <a:lnTo>
                  <a:pt x="52" y="2"/>
                </a:lnTo>
                <a:lnTo>
                  <a:pt x="45" y="18"/>
                </a:lnTo>
                <a:lnTo>
                  <a:pt x="46" y="22"/>
                </a:lnTo>
                <a:lnTo>
                  <a:pt x="40" y="31"/>
                </a:lnTo>
                <a:lnTo>
                  <a:pt x="42" y="45"/>
                </a:lnTo>
                <a:lnTo>
                  <a:pt x="24" y="58"/>
                </a:lnTo>
                <a:lnTo>
                  <a:pt x="21" y="78"/>
                </a:lnTo>
                <a:lnTo>
                  <a:pt x="8" y="103"/>
                </a:lnTo>
                <a:lnTo>
                  <a:pt x="0" y="143"/>
                </a:lnTo>
                <a:lnTo>
                  <a:pt x="4" y="151"/>
                </a:lnTo>
                <a:lnTo>
                  <a:pt x="55" y="151"/>
                </a:lnTo>
                <a:lnTo>
                  <a:pt x="71" y="142"/>
                </a:lnTo>
                <a:lnTo>
                  <a:pt x="76" y="142"/>
                </a:lnTo>
                <a:lnTo>
                  <a:pt x="79" y="131"/>
                </a:lnTo>
                <a:close/>
              </a:path>
            </a:pathLst>
          </a:custGeom>
          <a:solidFill>
            <a:schemeClr val="accent1"/>
          </a:solidFill>
          <a:ln w="6350">
            <a:solidFill>
              <a:schemeClr val="tx2"/>
            </a:solidFill>
            <a:round/>
            <a:headEnd/>
            <a:tailEnd/>
          </a:ln>
        </p:spPr>
        <p:txBody>
          <a:bodyPr/>
          <a:lstStyle/>
          <a:p>
            <a:endParaRPr lang="en-US"/>
          </a:p>
        </p:txBody>
      </p:sp>
      <p:sp>
        <p:nvSpPr>
          <p:cNvPr id="229" name="Freeform 1129"/>
          <p:cNvSpPr>
            <a:spLocks/>
          </p:cNvSpPr>
          <p:nvPr/>
        </p:nvSpPr>
        <p:spPr bwMode="auto">
          <a:xfrm>
            <a:off x="3980161" y="3507733"/>
            <a:ext cx="84567" cy="109535"/>
          </a:xfrm>
          <a:custGeom>
            <a:avLst/>
            <a:gdLst>
              <a:gd name="T0" fmla="*/ 2147483647 w 180"/>
              <a:gd name="T1" fmla="*/ 2147483647 h 265"/>
              <a:gd name="T2" fmla="*/ 0 w 180"/>
              <a:gd name="T3" fmla="*/ 2147483647 h 265"/>
              <a:gd name="T4" fmla="*/ 2147483647 w 180"/>
              <a:gd name="T5" fmla="*/ 2147483647 h 265"/>
              <a:gd name="T6" fmla="*/ 2147483647 w 180"/>
              <a:gd name="T7" fmla="*/ 2147483647 h 265"/>
              <a:gd name="T8" fmla="*/ 2147483647 w 180"/>
              <a:gd name="T9" fmla="*/ 2147483647 h 265"/>
              <a:gd name="T10" fmla="*/ 2147483647 w 180"/>
              <a:gd name="T11" fmla="*/ 2147483647 h 265"/>
              <a:gd name="T12" fmla="*/ 2147483647 w 180"/>
              <a:gd name="T13" fmla="*/ 2147483647 h 265"/>
              <a:gd name="T14" fmla="*/ 2147483647 w 180"/>
              <a:gd name="T15" fmla="*/ 2147483647 h 265"/>
              <a:gd name="T16" fmla="*/ 2147483647 w 180"/>
              <a:gd name="T17" fmla="*/ 2147483647 h 265"/>
              <a:gd name="T18" fmla="*/ 2147483647 w 180"/>
              <a:gd name="T19" fmla="*/ 0 h 265"/>
              <a:gd name="T20" fmla="*/ 2147483647 w 180"/>
              <a:gd name="T21" fmla="*/ 2147483647 h 265"/>
              <a:gd name="T22" fmla="*/ 2147483647 w 180"/>
              <a:gd name="T23" fmla="*/ 2147483647 h 265"/>
              <a:gd name="T24" fmla="*/ 2147483647 w 180"/>
              <a:gd name="T25" fmla="*/ 2147483647 h 265"/>
              <a:gd name="T26" fmla="*/ 2147483647 w 180"/>
              <a:gd name="T27" fmla="*/ 2147483647 h 265"/>
              <a:gd name="T28" fmla="*/ 2147483647 w 180"/>
              <a:gd name="T29" fmla="*/ 2147483647 h 265"/>
              <a:gd name="T30" fmla="*/ 2147483647 w 180"/>
              <a:gd name="T31" fmla="*/ 2147483647 h 265"/>
              <a:gd name="T32" fmla="*/ 2147483647 w 180"/>
              <a:gd name="T33" fmla="*/ 2147483647 h 265"/>
              <a:gd name="T34" fmla="*/ 2147483647 w 180"/>
              <a:gd name="T35" fmla="*/ 2147483647 h 265"/>
              <a:gd name="T36" fmla="*/ 2147483647 w 180"/>
              <a:gd name="T37" fmla="*/ 2147483647 h 265"/>
              <a:gd name="T38" fmla="*/ 2147483647 w 180"/>
              <a:gd name="T39" fmla="*/ 2147483647 h 265"/>
              <a:gd name="T40" fmla="*/ 2147483647 w 180"/>
              <a:gd name="T41" fmla="*/ 2147483647 h 265"/>
              <a:gd name="T42" fmla="*/ 2147483647 w 180"/>
              <a:gd name="T43" fmla="*/ 2147483647 h 265"/>
              <a:gd name="T44" fmla="*/ 2147483647 w 180"/>
              <a:gd name="T45" fmla="*/ 2147483647 h 265"/>
              <a:gd name="T46" fmla="*/ 2147483647 w 180"/>
              <a:gd name="T47" fmla="*/ 2147483647 h 265"/>
              <a:gd name="T48" fmla="*/ 2147483647 w 180"/>
              <a:gd name="T49" fmla="*/ 2147483647 h 265"/>
              <a:gd name="T50" fmla="*/ 2147483647 w 180"/>
              <a:gd name="T51" fmla="*/ 2147483647 h 265"/>
              <a:gd name="T52" fmla="*/ 2147483647 w 180"/>
              <a:gd name="T53" fmla="*/ 2147483647 h 265"/>
              <a:gd name="T54" fmla="*/ 2147483647 w 180"/>
              <a:gd name="T55" fmla="*/ 2147483647 h 265"/>
              <a:gd name="T56" fmla="*/ 2147483647 w 180"/>
              <a:gd name="T57" fmla="*/ 2147483647 h 265"/>
              <a:gd name="T58" fmla="*/ 2147483647 w 180"/>
              <a:gd name="T59" fmla="*/ 2147483647 h 265"/>
              <a:gd name="T60" fmla="*/ 2147483647 w 180"/>
              <a:gd name="T61" fmla="*/ 2147483647 h 265"/>
              <a:gd name="T62" fmla="*/ 2147483647 w 180"/>
              <a:gd name="T63" fmla="*/ 2147483647 h 265"/>
              <a:gd name="T64" fmla="*/ 2147483647 w 180"/>
              <a:gd name="T65" fmla="*/ 2147483647 h 265"/>
              <a:gd name="T66" fmla="*/ 2147483647 w 180"/>
              <a:gd name="T67" fmla="*/ 2147483647 h 265"/>
              <a:gd name="T68" fmla="*/ 2147483647 w 180"/>
              <a:gd name="T69" fmla="*/ 2147483647 h 265"/>
              <a:gd name="T70" fmla="*/ 2147483647 w 180"/>
              <a:gd name="T71" fmla="*/ 2147483647 h 265"/>
              <a:gd name="T72" fmla="*/ 2147483647 w 180"/>
              <a:gd name="T73" fmla="*/ 2147483647 h 265"/>
              <a:gd name="T74" fmla="*/ 2147483647 w 180"/>
              <a:gd name="T75" fmla="*/ 2147483647 h 265"/>
              <a:gd name="T76" fmla="*/ 2147483647 w 180"/>
              <a:gd name="T77" fmla="*/ 2147483647 h 265"/>
              <a:gd name="T78" fmla="*/ 2147483647 w 180"/>
              <a:gd name="T79" fmla="*/ 2147483647 h 265"/>
              <a:gd name="T80" fmla="*/ 2147483647 w 180"/>
              <a:gd name="T81" fmla="*/ 2147483647 h 265"/>
              <a:gd name="T82" fmla="*/ 2147483647 w 180"/>
              <a:gd name="T83" fmla="*/ 2147483647 h 2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0"/>
              <a:gd name="T127" fmla="*/ 0 h 265"/>
              <a:gd name="T128" fmla="*/ 180 w 180"/>
              <a:gd name="T129" fmla="*/ 265 h 2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0" h="265">
                <a:moveTo>
                  <a:pt x="2" y="192"/>
                </a:moveTo>
                <a:lnTo>
                  <a:pt x="0" y="134"/>
                </a:lnTo>
                <a:lnTo>
                  <a:pt x="22" y="132"/>
                </a:lnTo>
                <a:lnTo>
                  <a:pt x="22" y="121"/>
                </a:lnTo>
                <a:lnTo>
                  <a:pt x="31" y="111"/>
                </a:lnTo>
                <a:lnTo>
                  <a:pt x="33" y="84"/>
                </a:lnTo>
                <a:lnTo>
                  <a:pt x="45" y="57"/>
                </a:lnTo>
                <a:lnTo>
                  <a:pt x="48" y="38"/>
                </a:lnTo>
                <a:lnTo>
                  <a:pt x="69" y="3"/>
                </a:lnTo>
                <a:lnTo>
                  <a:pt x="79" y="0"/>
                </a:lnTo>
                <a:lnTo>
                  <a:pt x="88" y="10"/>
                </a:lnTo>
                <a:lnTo>
                  <a:pt x="89" y="14"/>
                </a:lnTo>
                <a:lnTo>
                  <a:pt x="99" y="17"/>
                </a:lnTo>
                <a:lnTo>
                  <a:pt x="123" y="6"/>
                </a:lnTo>
                <a:lnTo>
                  <a:pt x="145" y="25"/>
                </a:lnTo>
                <a:lnTo>
                  <a:pt x="145" y="68"/>
                </a:lnTo>
                <a:lnTo>
                  <a:pt x="145" y="110"/>
                </a:lnTo>
                <a:lnTo>
                  <a:pt x="156" y="115"/>
                </a:lnTo>
                <a:lnTo>
                  <a:pt x="157" y="132"/>
                </a:lnTo>
                <a:lnTo>
                  <a:pt x="166" y="140"/>
                </a:lnTo>
                <a:lnTo>
                  <a:pt x="172" y="142"/>
                </a:lnTo>
                <a:lnTo>
                  <a:pt x="177" y="139"/>
                </a:lnTo>
                <a:lnTo>
                  <a:pt x="178" y="151"/>
                </a:lnTo>
                <a:lnTo>
                  <a:pt x="175" y="158"/>
                </a:lnTo>
                <a:lnTo>
                  <a:pt x="180" y="158"/>
                </a:lnTo>
                <a:lnTo>
                  <a:pt x="180" y="166"/>
                </a:lnTo>
                <a:lnTo>
                  <a:pt x="146" y="178"/>
                </a:lnTo>
                <a:lnTo>
                  <a:pt x="123" y="196"/>
                </a:lnTo>
                <a:lnTo>
                  <a:pt x="108" y="191"/>
                </a:lnTo>
                <a:lnTo>
                  <a:pt x="106" y="180"/>
                </a:lnTo>
                <a:lnTo>
                  <a:pt x="102" y="180"/>
                </a:lnTo>
                <a:lnTo>
                  <a:pt x="89" y="210"/>
                </a:lnTo>
                <a:lnTo>
                  <a:pt x="81" y="209"/>
                </a:lnTo>
                <a:lnTo>
                  <a:pt x="71" y="219"/>
                </a:lnTo>
                <a:lnTo>
                  <a:pt x="65" y="215"/>
                </a:lnTo>
                <a:lnTo>
                  <a:pt x="60" y="226"/>
                </a:lnTo>
                <a:lnTo>
                  <a:pt x="56" y="220"/>
                </a:lnTo>
                <a:lnTo>
                  <a:pt x="47" y="222"/>
                </a:lnTo>
                <a:lnTo>
                  <a:pt x="27" y="254"/>
                </a:lnTo>
                <a:lnTo>
                  <a:pt x="15" y="265"/>
                </a:lnTo>
                <a:lnTo>
                  <a:pt x="4" y="245"/>
                </a:lnTo>
                <a:lnTo>
                  <a:pt x="2" y="192"/>
                </a:lnTo>
                <a:close/>
              </a:path>
            </a:pathLst>
          </a:custGeom>
          <a:solidFill>
            <a:schemeClr val="accent1"/>
          </a:solidFill>
          <a:ln w="6350">
            <a:solidFill>
              <a:schemeClr val="tx2"/>
            </a:solidFill>
            <a:round/>
            <a:headEnd/>
            <a:tailEnd/>
          </a:ln>
        </p:spPr>
        <p:txBody>
          <a:bodyPr/>
          <a:lstStyle/>
          <a:p>
            <a:endParaRPr lang="en-US"/>
          </a:p>
        </p:txBody>
      </p:sp>
      <p:sp>
        <p:nvSpPr>
          <p:cNvPr id="230" name="Freeform 1130"/>
          <p:cNvSpPr>
            <a:spLocks/>
          </p:cNvSpPr>
          <p:nvPr/>
        </p:nvSpPr>
        <p:spPr bwMode="auto">
          <a:xfrm>
            <a:off x="4021728" y="3489901"/>
            <a:ext cx="108933" cy="77692"/>
          </a:xfrm>
          <a:custGeom>
            <a:avLst/>
            <a:gdLst>
              <a:gd name="T0" fmla="*/ 2147483647 w 232"/>
              <a:gd name="T1" fmla="*/ 2147483647 h 184"/>
              <a:gd name="T2" fmla="*/ 2147483647 w 232"/>
              <a:gd name="T3" fmla="*/ 2147483647 h 184"/>
              <a:gd name="T4" fmla="*/ 2147483647 w 232"/>
              <a:gd name="T5" fmla="*/ 2147483647 h 184"/>
              <a:gd name="T6" fmla="*/ 2147483647 w 232"/>
              <a:gd name="T7" fmla="*/ 2147483647 h 184"/>
              <a:gd name="T8" fmla="*/ 2147483647 w 232"/>
              <a:gd name="T9" fmla="*/ 2147483647 h 184"/>
              <a:gd name="T10" fmla="*/ 2147483647 w 232"/>
              <a:gd name="T11" fmla="*/ 2147483647 h 184"/>
              <a:gd name="T12" fmla="*/ 2147483647 w 232"/>
              <a:gd name="T13" fmla="*/ 2147483647 h 184"/>
              <a:gd name="T14" fmla="*/ 2147483647 w 232"/>
              <a:gd name="T15" fmla="*/ 2147483647 h 184"/>
              <a:gd name="T16" fmla="*/ 2147483647 w 232"/>
              <a:gd name="T17" fmla="*/ 2147483647 h 184"/>
              <a:gd name="T18" fmla="*/ 2147483647 w 232"/>
              <a:gd name="T19" fmla="*/ 2147483647 h 184"/>
              <a:gd name="T20" fmla="*/ 2147483647 w 232"/>
              <a:gd name="T21" fmla="*/ 2147483647 h 184"/>
              <a:gd name="T22" fmla="*/ 2147483647 w 232"/>
              <a:gd name="T23" fmla="*/ 2147483647 h 184"/>
              <a:gd name="T24" fmla="*/ 2147483647 w 232"/>
              <a:gd name="T25" fmla="*/ 2147483647 h 184"/>
              <a:gd name="T26" fmla="*/ 2147483647 w 232"/>
              <a:gd name="T27" fmla="*/ 0 h 184"/>
              <a:gd name="T28" fmla="*/ 2147483647 w 232"/>
              <a:gd name="T29" fmla="*/ 2147483647 h 184"/>
              <a:gd name="T30" fmla="*/ 2147483647 w 232"/>
              <a:gd name="T31" fmla="*/ 2147483647 h 184"/>
              <a:gd name="T32" fmla="*/ 2147483647 w 232"/>
              <a:gd name="T33" fmla="*/ 2147483647 h 184"/>
              <a:gd name="T34" fmla="*/ 2147483647 w 232"/>
              <a:gd name="T35" fmla="*/ 2147483647 h 184"/>
              <a:gd name="T36" fmla="*/ 2147483647 w 232"/>
              <a:gd name="T37" fmla="*/ 2147483647 h 184"/>
              <a:gd name="T38" fmla="*/ 2147483647 w 232"/>
              <a:gd name="T39" fmla="*/ 2147483647 h 184"/>
              <a:gd name="T40" fmla="*/ 2147483647 w 232"/>
              <a:gd name="T41" fmla="*/ 2147483647 h 184"/>
              <a:gd name="T42" fmla="*/ 2147483647 w 232"/>
              <a:gd name="T43" fmla="*/ 2147483647 h 184"/>
              <a:gd name="T44" fmla="*/ 2147483647 w 232"/>
              <a:gd name="T45" fmla="*/ 2147483647 h 184"/>
              <a:gd name="T46" fmla="*/ 0 w 232"/>
              <a:gd name="T47" fmla="*/ 2147483647 h 184"/>
              <a:gd name="T48" fmla="*/ 2147483647 w 232"/>
              <a:gd name="T49" fmla="*/ 2147483647 h 184"/>
              <a:gd name="T50" fmla="*/ 2147483647 w 232"/>
              <a:gd name="T51" fmla="*/ 2147483647 h 184"/>
              <a:gd name="T52" fmla="*/ 2147483647 w 232"/>
              <a:gd name="T53" fmla="*/ 2147483647 h 184"/>
              <a:gd name="T54" fmla="*/ 2147483647 w 232"/>
              <a:gd name="T55" fmla="*/ 2147483647 h 184"/>
              <a:gd name="T56" fmla="*/ 2147483647 w 232"/>
              <a:gd name="T57" fmla="*/ 2147483647 h 184"/>
              <a:gd name="T58" fmla="*/ 2147483647 w 232"/>
              <a:gd name="T59" fmla="*/ 2147483647 h 184"/>
              <a:gd name="T60" fmla="*/ 2147483647 w 232"/>
              <a:gd name="T61" fmla="*/ 2147483647 h 184"/>
              <a:gd name="T62" fmla="*/ 2147483647 w 232"/>
              <a:gd name="T63" fmla="*/ 2147483647 h 184"/>
              <a:gd name="T64" fmla="*/ 2147483647 w 232"/>
              <a:gd name="T65" fmla="*/ 2147483647 h 184"/>
              <a:gd name="T66" fmla="*/ 2147483647 w 232"/>
              <a:gd name="T67" fmla="*/ 2147483647 h 184"/>
              <a:gd name="T68" fmla="*/ 2147483647 w 232"/>
              <a:gd name="T69" fmla="*/ 2147483647 h 184"/>
              <a:gd name="T70" fmla="*/ 2147483647 w 232"/>
              <a:gd name="T71" fmla="*/ 2147483647 h 184"/>
              <a:gd name="T72" fmla="*/ 2147483647 w 232"/>
              <a:gd name="T73" fmla="*/ 2147483647 h 184"/>
              <a:gd name="T74" fmla="*/ 2147483647 w 232"/>
              <a:gd name="T75" fmla="*/ 2147483647 h 184"/>
              <a:gd name="T76" fmla="*/ 2147483647 w 232"/>
              <a:gd name="T77" fmla="*/ 2147483647 h 184"/>
              <a:gd name="T78" fmla="*/ 2147483647 w 232"/>
              <a:gd name="T79" fmla="*/ 2147483647 h 184"/>
              <a:gd name="T80" fmla="*/ 2147483647 w 232"/>
              <a:gd name="T81" fmla="*/ 2147483647 h 184"/>
              <a:gd name="T82" fmla="*/ 2147483647 w 232"/>
              <a:gd name="T83" fmla="*/ 2147483647 h 184"/>
              <a:gd name="T84" fmla="*/ 2147483647 w 232"/>
              <a:gd name="T85" fmla="*/ 2147483647 h 184"/>
              <a:gd name="T86" fmla="*/ 2147483647 w 232"/>
              <a:gd name="T87" fmla="*/ 2147483647 h 184"/>
              <a:gd name="T88" fmla="*/ 2147483647 w 232"/>
              <a:gd name="T89" fmla="*/ 2147483647 h 184"/>
              <a:gd name="T90" fmla="*/ 2147483647 w 232"/>
              <a:gd name="T91" fmla="*/ 2147483647 h 1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2"/>
              <a:gd name="T139" fmla="*/ 0 h 184"/>
              <a:gd name="T140" fmla="*/ 232 w 232"/>
              <a:gd name="T141" fmla="*/ 184 h 1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2" h="184">
                <a:moveTo>
                  <a:pt x="225" y="127"/>
                </a:moveTo>
                <a:lnTo>
                  <a:pt x="232" y="122"/>
                </a:lnTo>
                <a:lnTo>
                  <a:pt x="228" y="120"/>
                </a:lnTo>
                <a:lnTo>
                  <a:pt x="199" y="111"/>
                </a:lnTo>
                <a:lnTo>
                  <a:pt x="185" y="83"/>
                </a:lnTo>
                <a:lnTo>
                  <a:pt x="185" y="61"/>
                </a:lnTo>
                <a:lnTo>
                  <a:pt x="166" y="60"/>
                </a:lnTo>
                <a:lnTo>
                  <a:pt x="180" y="46"/>
                </a:lnTo>
                <a:lnTo>
                  <a:pt x="187" y="27"/>
                </a:lnTo>
                <a:lnTo>
                  <a:pt x="187" y="19"/>
                </a:lnTo>
                <a:lnTo>
                  <a:pt x="173" y="8"/>
                </a:lnTo>
                <a:lnTo>
                  <a:pt x="150" y="22"/>
                </a:lnTo>
                <a:lnTo>
                  <a:pt x="143" y="7"/>
                </a:lnTo>
                <a:lnTo>
                  <a:pt x="122" y="0"/>
                </a:lnTo>
                <a:lnTo>
                  <a:pt x="95" y="3"/>
                </a:lnTo>
                <a:lnTo>
                  <a:pt x="91" y="10"/>
                </a:lnTo>
                <a:lnTo>
                  <a:pt x="73" y="13"/>
                </a:lnTo>
                <a:lnTo>
                  <a:pt x="63" y="3"/>
                </a:lnTo>
                <a:lnTo>
                  <a:pt x="40" y="3"/>
                </a:lnTo>
                <a:lnTo>
                  <a:pt x="40" y="8"/>
                </a:lnTo>
                <a:lnTo>
                  <a:pt x="30" y="8"/>
                </a:lnTo>
                <a:lnTo>
                  <a:pt x="29" y="32"/>
                </a:lnTo>
                <a:lnTo>
                  <a:pt x="21" y="40"/>
                </a:lnTo>
                <a:lnTo>
                  <a:pt x="0" y="50"/>
                </a:lnTo>
                <a:lnTo>
                  <a:pt x="1" y="54"/>
                </a:lnTo>
                <a:lnTo>
                  <a:pt x="11" y="57"/>
                </a:lnTo>
                <a:lnTo>
                  <a:pt x="35" y="46"/>
                </a:lnTo>
                <a:lnTo>
                  <a:pt x="57" y="65"/>
                </a:lnTo>
                <a:lnTo>
                  <a:pt x="57" y="108"/>
                </a:lnTo>
                <a:lnTo>
                  <a:pt x="57" y="150"/>
                </a:lnTo>
                <a:lnTo>
                  <a:pt x="68" y="155"/>
                </a:lnTo>
                <a:lnTo>
                  <a:pt x="69" y="172"/>
                </a:lnTo>
                <a:lnTo>
                  <a:pt x="78" y="180"/>
                </a:lnTo>
                <a:lnTo>
                  <a:pt x="84" y="182"/>
                </a:lnTo>
                <a:lnTo>
                  <a:pt x="89" y="179"/>
                </a:lnTo>
                <a:lnTo>
                  <a:pt x="105" y="184"/>
                </a:lnTo>
                <a:lnTo>
                  <a:pt x="123" y="182"/>
                </a:lnTo>
                <a:lnTo>
                  <a:pt x="131" y="179"/>
                </a:lnTo>
                <a:lnTo>
                  <a:pt x="135" y="173"/>
                </a:lnTo>
                <a:lnTo>
                  <a:pt x="149" y="173"/>
                </a:lnTo>
                <a:lnTo>
                  <a:pt x="191" y="147"/>
                </a:lnTo>
                <a:lnTo>
                  <a:pt x="198" y="134"/>
                </a:lnTo>
                <a:lnTo>
                  <a:pt x="200" y="140"/>
                </a:lnTo>
                <a:lnTo>
                  <a:pt x="206" y="139"/>
                </a:lnTo>
                <a:lnTo>
                  <a:pt x="211" y="131"/>
                </a:lnTo>
                <a:lnTo>
                  <a:pt x="225" y="127"/>
                </a:lnTo>
                <a:close/>
              </a:path>
            </a:pathLst>
          </a:custGeom>
          <a:solidFill>
            <a:schemeClr val="accent1"/>
          </a:solidFill>
          <a:ln w="6350">
            <a:solidFill>
              <a:schemeClr val="tx2"/>
            </a:solidFill>
            <a:round/>
            <a:headEnd/>
            <a:tailEnd/>
          </a:ln>
        </p:spPr>
        <p:txBody>
          <a:bodyPr/>
          <a:lstStyle/>
          <a:p>
            <a:endParaRPr lang="en-US"/>
          </a:p>
        </p:txBody>
      </p:sp>
      <p:sp>
        <p:nvSpPr>
          <p:cNvPr id="231" name="Freeform 1131"/>
          <p:cNvSpPr>
            <a:spLocks/>
          </p:cNvSpPr>
          <p:nvPr/>
        </p:nvSpPr>
        <p:spPr bwMode="auto">
          <a:xfrm>
            <a:off x="4081929" y="3543395"/>
            <a:ext cx="104633" cy="63683"/>
          </a:xfrm>
          <a:custGeom>
            <a:avLst/>
            <a:gdLst>
              <a:gd name="T0" fmla="*/ 2147483647 w 221"/>
              <a:gd name="T1" fmla="*/ 2147483647 h 153"/>
              <a:gd name="T2" fmla="*/ 2147483647 w 221"/>
              <a:gd name="T3" fmla="*/ 2147483647 h 153"/>
              <a:gd name="T4" fmla="*/ 2147483647 w 221"/>
              <a:gd name="T5" fmla="*/ 2147483647 h 153"/>
              <a:gd name="T6" fmla="*/ 2147483647 w 221"/>
              <a:gd name="T7" fmla="*/ 2147483647 h 153"/>
              <a:gd name="T8" fmla="*/ 2147483647 w 221"/>
              <a:gd name="T9" fmla="*/ 2147483647 h 153"/>
              <a:gd name="T10" fmla="*/ 2147483647 w 221"/>
              <a:gd name="T11" fmla="*/ 2147483647 h 153"/>
              <a:gd name="T12" fmla="*/ 2147483647 w 221"/>
              <a:gd name="T13" fmla="*/ 2147483647 h 153"/>
              <a:gd name="T14" fmla="*/ 2147483647 w 221"/>
              <a:gd name="T15" fmla="*/ 2147483647 h 153"/>
              <a:gd name="T16" fmla="*/ 2147483647 w 221"/>
              <a:gd name="T17" fmla="*/ 2147483647 h 153"/>
              <a:gd name="T18" fmla="*/ 2147483647 w 221"/>
              <a:gd name="T19" fmla="*/ 0 h 153"/>
              <a:gd name="T20" fmla="*/ 2147483647 w 221"/>
              <a:gd name="T21" fmla="*/ 2147483647 h 153"/>
              <a:gd name="T22" fmla="*/ 2147483647 w 221"/>
              <a:gd name="T23" fmla="*/ 2147483647 h 153"/>
              <a:gd name="T24" fmla="*/ 2147483647 w 221"/>
              <a:gd name="T25" fmla="*/ 2147483647 h 153"/>
              <a:gd name="T26" fmla="*/ 2147483647 w 221"/>
              <a:gd name="T27" fmla="*/ 2147483647 h 153"/>
              <a:gd name="T28" fmla="*/ 2147483647 w 221"/>
              <a:gd name="T29" fmla="*/ 2147483647 h 153"/>
              <a:gd name="T30" fmla="*/ 2147483647 w 221"/>
              <a:gd name="T31" fmla="*/ 2147483647 h 153"/>
              <a:gd name="T32" fmla="*/ 2147483647 w 221"/>
              <a:gd name="T33" fmla="*/ 2147483647 h 153"/>
              <a:gd name="T34" fmla="*/ 2147483647 w 221"/>
              <a:gd name="T35" fmla="*/ 2147483647 h 153"/>
              <a:gd name="T36" fmla="*/ 2147483647 w 221"/>
              <a:gd name="T37" fmla="*/ 2147483647 h 153"/>
              <a:gd name="T38" fmla="*/ 2147483647 w 221"/>
              <a:gd name="T39" fmla="*/ 2147483647 h 153"/>
              <a:gd name="T40" fmla="*/ 2147483647 w 221"/>
              <a:gd name="T41" fmla="*/ 2147483647 h 153"/>
              <a:gd name="T42" fmla="*/ 2147483647 w 221"/>
              <a:gd name="T43" fmla="*/ 2147483647 h 153"/>
              <a:gd name="T44" fmla="*/ 2147483647 w 221"/>
              <a:gd name="T45" fmla="*/ 2147483647 h 153"/>
              <a:gd name="T46" fmla="*/ 0 w 221"/>
              <a:gd name="T47" fmla="*/ 2147483647 h 153"/>
              <a:gd name="T48" fmla="*/ 2147483647 w 221"/>
              <a:gd name="T49" fmla="*/ 2147483647 h 153"/>
              <a:gd name="T50" fmla="*/ 2147483647 w 221"/>
              <a:gd name="T51" fmla="*/ 2147483647 h 153"/>
              <a:gd name="T52" fmla="*/ 2147483647 w 221"/>
              <a:gd name="T53" fmla="*/ 2147483647 h 153"/>
              <a:gd name="T54" fmla="*/ 2147483647 w 221"/>
              <a:gd name="T55" fmla="*/ 2147483647 h 153"/>
              <a:gd name="T56" fmla="*/ 2147483647 w 221"/>
              <a:gd name="T57" fmla="*/ 2147483647 h 153"/>
              <a:gd name="T58" fmla="*/ 2147483647 w 221"/>
              <a:gd name="T59" fmla="*/ 2147483647 h 153"/>
              <a:gd name="T60" fmla="*/ 2147483647 w 221"/>
              <a:gd name="T61" fmla="*/ 2147483647 h 153"/>
              <a:gd name="T62" fmla="*/ 2147483647 w 221"/>
              <a:gd name="T63" fmla="*/ 2147483647 h 153"/>
              <a:gd name="T64" fmla="*/ 2147483647 w 221"/>
              <a:gd name="T65" fmla="*/ 2147483647 h 153"/>
              <a:gd name="T66" fmla="*/ 2147483647 w 221"/>
              <a:gd name="T67" fmla="*/ 2147483647 h 153"/>
              <a:gd name="T68" fmla="*/ 2147483647 w 221"/>
              <a:gd name="T69" fmla="*/ 2147483647 h 153"/>
              <a:gd name="T70" fmla="*/ 2147483647 w 221"/>
              <a:gd name="T71" fmla="*/ 2147483647 h 153"/>
              <a:gd name="T72" fmla="*/ 2147483647 w 221"/>
              <a:gd name="T73" fmla="*/ 2147483647 h 153"/>
              <a:gd name="T74" fmla="*/ 2147483647 w 221"/>
              <a:gd name="T75" fmla="*/ 2147483647 h 153"/>
              <a:gd name="T76" fmla="*/ 2147483647 w 221"/>
              <a:gd name="T77" fmla="*/ 2147483647 h 153"/>
              <a:gd name="T78" fmla="*/ 2147483647 w 221"/>
              <a:gd name="T79" fmla="*/ 2147483647 h 153"/>
              <a:gd name="T80" fmla="*/ 2147483647 w 221"/>
              <a:gd name="T81" fmla="*/ 2147483647 h 153"/>
              <a:gd name="T82" fmla="*/ 2147483647 w 221"/>
              <a:gd name="T83" fmla="*/ 2147483647 h 153"/>
              <a:gd name="T84" fmla="*/ 2147483647 w 221"/>
              <a:gd name="T85" fmla="*/ 2147483647 h 153"/>
              <a:gd name="T86" fmla="*/ 2147483647 w 221"/>
              <a:gd name="T87" fmla="*/ 2147483647 h 153"/>
              <a:gd name="T88" fmla="*/ 2147483647 w 221"/>
              <a:gd name="T89" fmla="*/ 2147483647 h 153"/>
              <a:gd name="T90" fmla="*/ 2147483647 w 221"/>
              <a:gd name="T91" fmla="*/ 2147483647 h 153"/>
              <a:gd name="T92" fmla="*/ 2147483647 w 221"/>
              <a:gd name="T93" fmla="*/ 2147483647 h 153"/>
              <a:gd name="T94" fmla="*/ 2147483647 w 221"/>
              <a:gd name="T95" fmla="*/ 2147483647 h 153"/>
              <a:gd name="T96" fmla="*/ 2147483647 w 221"/>
              <a:gd name="T97" fmla="*/ 2147483647 h 1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1"/>
              <a:gd name="T148" fmla="*/ 0 h 153"/>
              <a:gd name="T149" fmla="*/ 221 w 221"/>
              <a:gd name="T150" fmla="*/ 153 h 1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1" h="153">
                <a:moveTo>
                  <a:pt x="208" y="28"/>
                </a:moveTo>
                <a:lnTo>
                  <a:pt x="203" y="21"/>
                </a:lnTo>
                <a:lnTo>
                  <a:pt x="183" y="22"/>
                </a:lnTo>
                <a:lnTo>
                  <a:pt x="184" y="15"/>
                </a:lnTo>
                <a:lnTo>
                  <a:pt x="181" y="8"/>
                </a:lnTo>
                <a:lnTo>
                  <a:pt x="164" y="19"/>
                </a:lnTo>
                <a:lnTo>
                  <a:pt x="148" y="21"/>
                </a:lnTo>
                <a:lnTo>
                  <a:pt x="145" y="15"/>
                </a:lnTo>
                <a:lnTo>
                  <a:pt x="95" y="4"/>
                </a:lnTo>
                <a:lnTo>
                  <a:pt x="96" y="0"/>
                </a:lnTo>
                <a:lnTo>
                  <a:pt x="82" y="4"/>
                </a:lnTo>
                <a:lnTo>
                  <a:pt x="77" y="12"/>
                </a:lnTo>
                <a:lnTo>
                  <a:pt x="57" y="33"/>
                </a:lnTo>
                <a:lnTo>
                  <a:pt x="59" y="42"/>
                </a:lnTo>
                <a:lnTo>
                  <a:pt x="77" y="36"/>
                </a:lnTo>
                <a:lnTo>
                  <a:pt x="120" y="38"/>
                </a:lnTo>
                <a:lnTo>
                  <a:pt x="119" y="42"/>
                </a:lnTo>
                <a:lnTo>
                  <a:pt x="100" y="45"/>
                </a:lnTo>
                <a:lnTo>
                  <a:pt x="85" y="57"/>
                </a:lnTo>
                <a:lnTo>
                  <a:pt x="74" y="44"/>
                </a:lnTo>
                <a:lnTo>
                  <a:pt x="26" y="74"/>
                </a:lnTo>
                <a:lnTo>
                  <a:pt x="26" y="78"/>
                </a:lnTo>
                <a:lnTo>
                  <a:pt x="13" y="81"/>
                </a:lnTo>
                <a:lnTo>
                  <a:pt x="0" y="97"/>
                </a:lnTo>
                <a:lnTo>
                  <a:pt x="12" y="87"/>
                </a:lnTo>
                <a:lnTo>
                  <a:pt x="3" y="102"/>
                </a:lnTo>
                <a:lnTo>
                  <a:pt x="2" y="123"/>
                </a:lnTo>
                <a:lnTo>
                  <a:pt x="5" y="134"/>
                </a:lnTo>
                <a:lnTo>
                  <a:pt x="12" y="134"/>
                </a:lnTo>
                <a:lnTo>
                  <a:pt x="20" y="150"/>
                </a:lnTo>
                <a:lnTo>
                  <a:pt x="31" y="153"/>
                </a:lnTo>
                <a:lnTo>
                  <a:pt x="37" y="141"/>
                </a:lnTo>
                <a:lnTo>
                  <a:pt x="47" y="141"/>
                </a:lnTo>
                <a:lnTo>
                  <a:pt x="81" y="106"/>
                </a:lnTo>
                <a:lnTo>
                  <a:pt x="87" y="86"/>
                </a:lnTo>
                <a:lnTo>
                  <a:pt x="90" y="93"/>
                </a:lnTo>
                <a:lnTo>
                  <a:pt x="96" y="83"/>
                </a:lnTo>
                <a:lnTo>
                  <a:pt x="102" y="93"/>
                </a:lnTo>
                <a:lnTo>
                  <a:pt x="111" y="93"/>
                </a:lnTo>
                <a:lnTo>
                  <a:pt x="110" y="79"/>
                </a:lnTo>
                <a:lnTo>
                  <a:pt x="120" y="83"/>
                </a:lnTo>
                <a:lnTo>
                  <a:pt x="141" y="77"/>
                </a:lnTo>
                <a:lnTo>
                  <a:pt x="196" y="49"/>
                </a:lnTo>
                <a:lnTo>
                  <a:pt x="216" y="47"/>
                </a:lnTo>
                <a:lnTo>
                  <a:pt x="221" y="43"/>
                </a:lnTo>
                <a:lnTo>
                  <a:pt x="218" y="41"/>
                </a:lnTo>
                <a:lnTo>
                  <a:pt x="205" y="40"/>
                </a:lnTo>
                <a:lnTo>
                  <a:pt x="211" y="32"/>
                </a:lnTo>
                <a:lnTo>
                  <a:pt x="208" y="28"/>
                </a:lnTo>
                <a:close/>
              </a:path>
            </a:pathLst>
          </a:custGeom>
          <a:solidFill>
            <a:schemeClr val="accent1"/>
          </a:solidFill>
          <a:ln w="6350">
            <a:solidFill>
              <a:schemeClr val="tx2"/>
            </a:solidFill>
            <a:round/>
            <a:headEnd/>
            <a:tailEnd/>
          </a:ln>
        </p:spPr>
        <p:txBody>
          <a:bodyPr/>
          <a:lstStyle/>
          <a:p>
            <a:endParaRPr lang="en-US"/>
          </a:p>
        </p:txBody>
      </p:sp>
      <p:sp>
        <p:nvSpPr>
          <p:cNvPr id="232" name="Freeform 1132"/>
          <p:cNvSpPr>
            <a:spLocks/>
          </p:cNvSpPr>
          <p:nvPr/>
        </p:nvSpPr>
        <p:spPr bwMode="auto">
          <a:xfrm>
            <a:off x="3932861" y="3570142"/>
            <a:ext cx="40133" cy="56041"/>
          </a:xfrm>
          <a:custGeom>
            <a:avLst/>
            <a:gdLst>
              <a:gd name="T0" fmla="*/ 2147483647 w 83"/>
              <a:gd name="T1" fmla="*/ 2147483647 h 133"/>
              <a:gd name="T2" fmla="*/ 2147483647 w 83"/>
              <a:gd name="T3" fmla="*/ 2147483647 h 133"/>
              <a:gd name="T4" fmla="*/ 2147483647 w 83"/>
              <a:gd name="T5" fmla="*/ 2147483647 h 133"/>
              <a:gd name="T6" fmla="*/ 2147483647 w 83"/>
              <a:gd name="T7" fmla="*/ 2147483647 h 133"/>
              <a:gd name="T8" fmla="*/ 2147483647 w 83"/>
              <a:gd name="T9" fmla="*/ 2147483647 h 133"/>
              <a:gd name="T10" fmla="*/ 2147483647 w 83"/>
              <a:gd name="T11" fmla="*/ 2147483647 h 133"/>
              <a:gd name="T12" fmla="*/ 2147483647 w 83"/>
              <a:gd name="T13" fmla="*/ 2147483647 h 133"/>
              <a:gd name="T14" fmla="*/ 2147483647 w 83"/>
              <a:gd name="T15" fmla="*/ 2147483647 h 133"/>
              <a:gd name="T16" fmla="*/ 2147483647 w 83"/>
              <a:gd name="T17" fmla="*/ 0 h 133"/>
              <a:gd name="T18" fmla="*/ 2147483647 w 83"/>
              <a:gd name="T19" fmla="*/ 0 h 133"/>
              <a:gd name="T20" fmla="*/ 2147483647 w 83"/>
              <a:gd name="T21" fmla="*/ 0 h 133"/>
              <a:gd name="T22" fmla="*/ 2147483647 w 83"/>
              <a:gd name="T23" fmla="*/ 2147483647 h 133"/>
              <a:gd name="T24" fmla="*/ 2147483647 w 83"/>
              <a:gd name="T25" fmla="*/ 2147483647 h 133"/>
              <a:gd name="T26" fmla="*/ 0 w 83"/>
              <a:gd name="T27" fmla="*/ 2147483647 h 133"/>
              <a:gd name="T28" fmla="*/ 2147483647 w 83"/>
              <a:gd name="T29" fmla="*/ 2147483647 h 133"/>
              <a:gd name="T30" fmla="*/ 2147483647 w 83"/>
              <a:gd name="T31" fmla="*/ 2147483647 h 133"/>
              <a:gd name="T32" fmla="*/ 2147483647 w 83"/>
              <a:gd name="T33" fmla="*/ 2147483647 h 133"/>
              <a:gd name="T34" fmla="*/ 2147483647 w 83"/>
              <a:gd name="T35" fmla="*/ 2147483647 h 133"/>
              <a:gd name="T36" fmla="*/ 2147483647 w 83"/>
              <a:gd name="T37" fmla="*/ 2147483647 h 1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133"/>
              <a:gd name="T59" fmla="*/ 83 w 83"/>
              <a:gd name="T60" fmla="*/ 133 h 1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133">
                <a:moveTo>
                  <a:pt x="41" y="133"/>
                </a:moveTo>
                <a:lnTo>
                  <a:pt x="37" y="125"/>
                </a:lnTo>
                <a:lnTo>
                  <a:pt x="45" y="85"/>
                </a:lnTo>
                <a:lnTo>
                  <a:pt x="58" y="60"/>
                </a:lnTo>
                <a:lnTo>
                  <a:pt x="61" y="40"/>
                </a:lnTo>
                <a:lnTo>
                  <a:pt x="79" y="27"/>
                </a:lnTo>
                <a:lnTo>
                  <a:pt x="77" y="13"/>
                </a:lnTo>
                <a:lnTo>
                  <a:pt x="83" y="4"/>
                </a:lnTo>
                <a:lnTo>
                  <a:pt x="82" y="0"/>
                </a:lnTo>
                <a:lnTo>
                  <a:pt x="39" y="0"/>
                </a:lnTo>
                <a:lnTo>
                  <a:pt x="4" y="0"/>
                </a:lnTo>
                <a:lnTo>
                  <a:pt x="3" y="21"/>
                </a:lnTo>
                <a:lnTo>
                  <a:pt x="6" y="31"/>
                </a:lnTo>
                <a:lnTo>
                  <a:pt x="0" y="55"/>
                </a:lnTo>
                <a:lnTo>
                  <a:pt x="3" y="73"/>
                </a:lnTo>
                <a:lnTo>
                  <a:pt x="1" y="79"/>
                </a:lnTo>
                <a:lnTo>
                  <a:pt x="8" y="85"/>
                </a:lnTo>
                <a:lnTo>
                  <a:pt x="8" y="133"/>
                </a:lnTo>
                <a:lnTo>
                  <a:pt x="41" y="133"/>
                </a:lnTo>
                <a:close/>
              </a:path>
            </a:pathLst>
          </a:custGeom>
          <a:solidFill>
            <a:schemeClr val="accent1"/>
          </a:solidFill>
          <a:ln w="6350">
            <a:solidFill>
              <a:schemeClr val="tx2"/>
            </a:solidFill>
            <a:round/>
            <a:headEnd/>
            <a:tailEnd/>
          </a:ln>
        </p:spPr>
        <p:txBody>
          <a:bodyPr/>
          <a:lstStyle/>
          <a:p>
            <a:endParaRPr lang="en-US"/>
          </a:p>
        </p:txBody>
      </p:sp>
      <p:sp>
        <p:nvSpPr>
          <p:cNvPr id="233" name="Freeform 1133"/>
          <p:cNvSpPr>
            <a:spLocks/>
          </p:cNvSpPr>
          <p:nvPr/>
        </p:nvSpPr>
        <p:spPr bwMode="auto">
          <a:xfrm>
            <a:off x="3886994" y="3659297"/>
            <a:ext cx="37267" cy="56041"/>
          </a:xfrm>
          <a:custGeom>
            <a:avLst/>
            <a:gdLst>
              <a:gd name="T0" fmla="*/ 2147483647 w 73"/>
              <a:gd name="T1" fmla="*/ 2147483647 h 135"/>
              <a:gd name="T2" fmla="*/ 2147483647 w 73"/>
              <a:gd name="T3" fmla="*/ 2147483647 h 135"/>
              <a:gd name="T4" fmla="*/ 2147483647 w 73"/>
              <a:gd name="T5" fmla="*/ 2147483647 h 135"/>
              <a:gd name="T6" fmla="*/ 2147483647 w 73"/>
              <a:gd name="T7" fmla="*/ 2147483647 h 135"/>
              <a:gd name="T8" fmla="*/ 2147483647 w 73"/>
              <a:gd name="T9" fmla="*/ 2147483647 h 135"/>
              <a:gd name="T10" fmla="*/ 2147483647 w 73"/>
              <a:gd name="T11" fmla="*/ 2147483647 h 135"/>
              <a:gd name="T12" fmla="*/ 2147483647 w 73"/>
              <a:gd name="T13" fmla="*/ 2147483647 h 135"/>
              <a:gd name="T14" fmla="*/ 2147483647 w 73"/>
              <a:gd name="T15" fmla="*/ 2147483647 h 135"/>
              <a:gd name="T16" fmla="*/ 2147483647 w 73"/>
              <a:gd name="T17" fmla="*/ 2147483647 h 135"/>
              <a:gd name="T18" fmla="*/ 2147483647 w 73"/>
              <a:gd name="T19" fmla="*/ 2147483647 h 135"/>
              <a:gd name="T20" fmla="*/ 2147483647 w 73"/>
              <a:gd name="T21" fmla="*/ 2147483647 h 135"/>
              <a:gd name="T22" fmla="*/ 2147483647 w 73"/>
              <a:gd name="T23" fmla="*/ 2147483647 h 135"/>
              <a:gd name="T24" fmla="*/ 2147483647 w 73"/>
              <a:gd name="T25" fmla="*/ 0 h 135"/>
              <a:gd name="T26" fmla="*/ 2147483647 w 73"/>
              <a:gd name="T27" fmla="*/ 2147483647 h 135"/>
              <a:gd name="T28" fmla="*/ 2147483647 w 73"/>
              <a:gd name="T29" fmla="*/ 2147483647 h 135"/>
              <a:gd name="T30" fmla="*/ 2147483647 w 73"/>
              <a:gd name="T31" fmla="*/ 2147483647 h 135"/>
              <a:gd name="T32" fmla="*/ 2147483647 w 73"/>
              <a:gd name="T33" fmla="*/ 2147483647 h 135"/>
              <a:gd name="T34" fmla="*/ 2147483647 w 73"/>
              <a:gd name="T35" fmla="*/ 2147483647 h 135"/>
              <a:gd name="T36" fmla="*/ 2147483647 w 73"/>
              <a:gd name="T37" fmla="*/ 2147483647 h 135"/>
              <a:gd name="T38" fmla="*/ 2147483647 w 73"/>
              <a:gd name="T39" fmla="*/ 2147483647 h 135"/>
              <a:gd name="T40" fmla="*/ 2147483647 w 73"/>
              <a:gd name="T41" fmla="*/ 2147483647 h 135"/>
              <a:gd name="T42" fmla="*/ 2147483647 w 73"/>
              <a:gd name="T43" fmla="*/ 2147483647 h 135"/>
              <a:gd name="T44" fmla="*/ 2147483647 w 73"/>
              <a:gd name="T45" fmla="*/ 2147483647 h 135"/>
              <a:gd name="T46" fmla="*/ 0 w 73"/>
              <a:gd name="T47" fmla="*/ 2147483647 h 135"/>
              <a:gd name="T48" fmla="*/ 2147483647 w 73"/>
              <a:gd name="T49" fmla="*/ 2147483647 h 1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135"/>
              <a:gd name="T77" fmla="*/ 73 w 73"/>
              <a:gd name="T78" fmla="*/ 135 h 1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135">
                <a:moveTo>
                  <a:pt x="2" y="103"/>
                </a:moveTo>
                <a:lnTo>
                  <a:pt x="14" y="116"/>
                </a:lnTo>
                <a:lnTo>
                  <a:pt x="33" y="123"/>
                </a:lnTo>
                <a:lnTo>
                  <a:pt x="33" y="135"/>
                </a:lnTo>
                <a:lnTo>
                  <a:pt x="39" y="129"/>
                </a:lnTo>
                <a:lnTo>
                  <a:pt x="61" y="97"/>
                </a:lnTo>
                <a:lnTo>
                  <a:pt x="64" y="82"/>
                </a:lnTo>
                <a:lnTo>
                  <a:pt x="69" y="80"/>
                </a:lnTo>
                <a:lnTo>
                  <a:pt x="73" y="64"/>
                </a:lnTo>
                <a:lnTo>
                  <a:pt x="61" y="47"/>
                </a:lnTo>
                <a:lnTo>
                  <a:pt x="66" y="39"/>
                </a:lnTo>
                <a:lnTo>
                  <a:pt x="73" y="22"/>
                </a:lnTo>
                <a:lnTo>
                  <a:pt x="38" y="0"/>
                </a:lnTo>
                <a:lnTo>
                  <a:pt x="32" y="6"/>
                </a:lnTo>
                <a:lnTo>
                  <a:pt x="20" y="21"/>
                </a:lnTo>
                <a:lnTo>
                  <a:pt x="23" y="28"/>
                </a:lnTo>
                <a:lnTo>
                  <a:pt x="17" y="34"/>
                </a:lnTo>
                <a:lnTo>
                  <a:pt x="17" y="46"/>
                </a:lnTo>
                <a:lnTo>
                  <a:pt x="22" y="47"/>
                </a:lnTo>
                <a:lnTo>
                  <a:pt x="23" y="54"/>
                </a:lnTo>
                <a:lnTo>
                  <a:pt x="37" y="69"/>
                </a:lnTo>
                <a:lnTo>
                  <a:pt x="20" y="85"/>
                </a:lnTo>
                <a:lnTo>
                  <a:pt x="8" y="90"/>
                </a:lnTo>
                <a:lnTo>
                  <a:pt x="0" y="99"/>
                </a:lnTo>
                <a:lnTo>
                  <a:pt x="2" y="103"/>
                </a:lnTo>
                <a:close/>
              </a:path>
            </a:pathLst>
          </a:custGeom>
          <a:solidFill>
            <a:schemeClr val="accent1"/>
          </a:solidFill>
          <a:ln w="6350">
            <a:solidFill>
              <a:schemeClr val="tx2"/>
            </a:solidFill>
            <a:round/>
            <a:headEnd/>
            <a:tailEnd/>
          </a:ln>
        </p:spPr>
        <p:txBody>
          <a:bodyPr/>
          <a:lstStyle/>
          <a:p>
            <a:endParaRPr lang="en-US"/>
          </a:p>
        </p:txBody>
      </p:sp>
      <p:sp>
        <p:nvSpPr>
          <p:cNvPr id="234" name="Freeform 1134"/>
          <p:cNvSpPr>
            <a:spLocks/>
          </p:cNvSpPr>
          <p:nvPr/>
        </p:nvSpPr>
        <p:spPr bwMode="auto">
          <a:xfrm>
            <a:off x="3929995" y="3622362"/>
            <a:ext cx="75967" cy="33115"/>
          </a:xfrm>
          <a:custGeom>
            <a:avLst/>
            <a:gdLst>
              <a:gd name="T0" fmla="*/ 0 w 157"/>
              <a:gd name="T1" fmla="*/ 2147483647 h 78"/>
              <a:gd name="T2" fmla="*/ 2147483647 w 157"/>
              <a:gd name="T3" fmla="*/ 2147483647 h 78"/>
              <a:gd name="T4" fmla="*/ 2147483647 w 157"/>
              <a:gd name="T5" fmla="*/ 2147483647 h 78"/>
              <a:gd name="T6" fmla="*/ 2147483647 w 157"/>
              <a:gd name="T7" fmla="*/ 0 h 78"/>
              <a:gd name="T8" fmla="*/ 2147483647 w 157"/>
              <a:gd name="T9" fmla="*/ 0 h 78"/>
              <a:gd name="T10" fmla="*/ 2147483647 w 157"/>
              <a:gd name="T11" fmla="*/ 2147483647 h 78"/>
              <a:gd name="T12" fmla="*/ 2147483647 w 157"/>
              <a:gd name="T13" fmla="*/ 2147483647 h 78"/>
              <a:gd name="T14" fmla="*/ 2147483647 w 157"/>
              <a:gd name="T15" fmla="*/ 2147483647 h 78"/>
              <a:gd name="T16" fmla="*/ 2147483647 w 157"/>
              <a:gd name="T17" fmla="*/ 2147483647 h 78"/>
              <a:gd name="T18" fmla="*/ 2147483647 w 157"/>
              <a:gd name="T19" fmla="*/ 2147483647 h 78"/>
              <a:gd name="T20" fmla="*/ 2147483647 w 157"/>
              <a:gd name="T21" fmla="*/ 2147483647 h 78"/>
              <a:gd name="T22" fmla="*/ 2147483647 w 157"/>
              <a:gd name="T23" fmla="*/ 2147483647 h 78"/>
              <a:gd name="T24" fmla="*/ 2147483647 w 157"/>
              <a:gd name="T25" fmla="*/ 2147483647 h 78"/>
              <a:gd name="T26" fmla="*/ 2147483647 w 157"/>
              <a:gd name="T27" fmla="*/ 2147483647 h 78"/>
              <a:gd name="T28" fmla="*/ 2147483647 w 157"/>
              <a:gd name="T29" fmla="*/ 2147483647 h 78"/>
              <a:gd name="T30" fmla="*/ 2147483647 w 157"/>
              <a:gd name="T31" fmla="*/ 2147483647 h 78"/>
              <a:gd name="T32" fmla="*/ 2147483647 w 157"/>
              <a:gd name="T33" fmla="*/ 2147483647 h 78"/>
              <a:gd name="T34" fmla="*/ 2147483647 w 157"/>
              <a:gd name="T35" fmla="*/ 2147483647 h 78"/>
              <a:gd name="T36" fmla="*/ 2147483647 w 157"/>
              <a:gd name="T37" fmla="*/ 2147483647 h 78"/>
              <a:gd name="T38" fmla="*/ 2147483647 w 157"/>
              <a:gd name="T39" fmla="*/ 2147483647 h 78"/>
              <a:gd name="T40" fmla="*/ 2147483647 w 157"/>
              <a:gd name="T41" fmla="*/ 2147483647 h 78"/>
              <a:gd name="T42" fmla="*/ 2147483647 w 157"/>
              <a:gd name="T43" fmla="*/ 2147483647 h 78"/>
              <a:gd name="T44" fmla="*/ 0 w 157"/>
              <a:gd name="T45" fmla="*/ 2147483647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78"/>
              <a:gd name="T71" fmla="*/ 157 w 157"/>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78">
                <a:moveTo>
                  <a:pt x="0" y="49"/>
                </a:moveTo>
                <a:lnTo>
                  <a:pt x="10" y="9"/>
                </a:lnTo>
                <a:lnTo>
                  <a:pt x="94" y="9"/>
                </a:lnTo>
                <a:lnTo>
                  <a:pt x="110" y="0"/>
                </a:lnTo>
                <a:lnTo>
                  <a:pt x="115" y="0"/>
                </a:lnTo>
                <a:lnTo>
                  <a:pt x="123" y="17"/>
                </a:lnTo>
                <a:lnTo>
                  <a:pt x="112" y="33"/>
                </a:lnTo>
                <a:lnTo>
                  <a:pt x="123" y="42"/>
                </a:lnTo>
                <a:lnTo>
                  <a:pt x="131" y="62"/>
                </a:lnTo>
                <a:lnTo>
                  <a:pt x="137" y="67"/>
                </a:lnTo>
                <a:lnTo>
                  <a:pt x="152" y="67"/>
                </a:lnTo>
                <a:lnTo>
                  <a:pt x="153" y="59"/>
                </a:lnTo>
                <a:lnTo>
                  <a:pt x="151" y="55"/>
                </a:lnTo>
                <a:lnTo>
                  <a:pt x="155" y="54"/>
                </a:lnTo>
                <a:lnTo>
                  <a:pt x="157" y="66"/>
                </a:lnTo>
                <a:lnTo>
                  <a:pt x="147" y="74"/>
                </a:lnTo>
                <a:lnTo>
                  <a:pt x="133" y="77"/>
                </a:lnTo>
                <a:lnTo>
                  <a:pt x="124" y="70"/>
                </a:lnTo>
                <a:lnTo>
                  <a:pt x="106" y="78"/>
                </a:lnTo>
                <a:lnTo>
                  <a:pt x="99" y="68"/>
                </a:lnTo>
                <a:lnTo>
                  <a:pt x="92" y="63"/>
                </a:lnTo>
                <a:lnTo>
                  <a:pt x="90" y="49"/>
                </a:lnTo>
                <a:lnTo>
                  <a:pt x="0" y="49"/>
                </a:lnTo>
                <a:close/>
              </a:path>
            </a:pathLst>
          </a:custGeom>
          <a:solidFill>
            <a:schemeClr val="accent1"/>
          </a:solidFill>
          <a:ln w="6350">
            <a:solidFill>
              <a:schemeClr val="tx2"/>
            </a:solidFill>
            <a:round/>
            <a:headEnd/>
            <a:tailEnd/>
          </a:ln>
        </p:spPr>
        <p:txBody>
          <a:bodyPr/>
          <a:lstStyle/>
          <a:p>
            <a:endParaRPr lang="en-US"/>
          </a:p>
        </p:txBody>
      </p:sp>
      <p:sp>
        <p:nvSpPr>
          <p:cNvPr id="235" name="Freeform 1135"/>
          <p:cNvSpPr>
            <a:spLocks/>
          </p:cNvSpPr>
          <p:nvPr/>
        </p:nvSpPr>
        <p:spPr bwMode="auto">
          <a:xfrm>
            <a:off x="3964394" y="3642740"/>
            <a:ext cx="11467" cy="17831"/>
          </a:xfrm>
          <a:custGeom>
            <a:avLst/>
            <a:gdLst>
              <a:gd name="T0" fmla="*/ 0 w 29"/>
              <a:gd name="T1" fmla="*/ 2147483647 h 41"/>
              <a:gd name="T2" fmla="*/ 2147483647 w 29"/>
              <a:gd name="T3" fmla="*/ 2147483647 h 41"/>
              <a:gd name="T4" fmla="*/ 2147483647 w 29"/>
              <a:gd name="T5" fmla="*/ 2147483647 h 41"/>
              <a:gd name="T6" fmla="*/ 2147483647 w 29"/>
              <a:gd name="T7" fmla="*/ 2147483647 h 41"/>
              <a:gd name="T8" fmla="*/ 2147483647 w 29"/>
              <a:gd name="T9" fmla="*/ 0 h 41"/>
              <a:gd name="T10" fmla="*/ 2147483647 w 29"/>
              <a:gd name="T11" fmla="*/ 0 h 41"/>
              <a:gd name="T12" fmla="*/ 0 w 29"/>
              <a:gd name="T13" fmla="*/ 2147483647 h 41"/>
              <a:gd name="T14" fmla="*/ 0 60000 65536"/>
              <a:gd name="T15" fmla="*/ 0 60000 65536"/>
              <a:gd name="T16" fmla="*/ 0 60000 65536"/>
              <a:gd name="T17" fmla="*/ 0 60000 65536"/>
              <a:gd name="T18" fmla="*/ 0 60000 65536"/>
              <a:gd name="T19" fmla="*/ 0 60000 65536"/>
              <a:gd name="T20" fmla="*/ 0 60000 65536"/>
              <a:gd name="T21" fmla="*/ 0 w 29"/>
              <a:gd name="T22" fmla="*/ 0 h 41"/>
              <a:gd name="T23" fmla="*/ 29 w 2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1">
                <a:moveTo>
                  <a:pt x="0" y="41"/>
                </a:moveTo>
                <a:lnTo>
                  <a:pt x="22" y="33"/>
                </a:lnTo>
                <a:lnTo>
                  <a:pt x="29" y="19"/>
                </a:lnTo>
                <a:lnTo>
                  <a:pt x="22" y="14"/>
                </a:lnTo>
                <a:lnTo>
                  <a:pt x="20" y="0"/>
                </a:lnTo>
                <a:lnTo>
                  <a:pt x="3" y="0"/>
                </a:lnTo>
                <a:lnTo>
                  <a:pt x="0" y="41"/>
                </a:lnTo>
                <a:close/>
              </a:path>
            </a:pathLst>
          </a:custGeom>
          <a:solidFill>
            <a:schemeClr val="accent1"/>
          </a:solidFill>
          <a:ln w="6350">
            <a:solidFill>
              <a:schemeClr val="tx2"/>
            </a:solidFill>
            <a:round/>
            <a:headEnd/>
            <a:tailEnd/>
          </a:ln>
        </p:spPr>
        <p:txBody>
          <a:bodyPr/>
          <a:lstStyle/>
          <a:p>
            <a:endParaRPr lang="en-US"/>
          </a:p>
        </p:txBody>
      </p:sp>
      <p:sp>
        <p:nvSpPr>
          <p:cNvPr id="236" name="Freeform 1136"/>
          <p:cNvSpPr>
            <a:spLocks/>
          </p:cNvSpPr>
          <p:nvPr/>
        </p:nvSpPr>
        <p:spPr bwMode="auto">
          <a:xfrm>
            <a:off x="3927127" y="3642740"/>
            <a:ext cx="40133" cy="22926"/>
          </a:xfrm>
          <a:custGeom>
            <a:avLst/>
            <a:gdLst>
              <a:gd name="T0" fmla="*/ 2147483647 w 83"/>
              <a:gd name="T1" fmla="*/ 2147483647 h 58"/>
              <a:gd name="T2" fmla="*/ 2147483647 w 83"/>
              <a:gd name="T3" fmla="*/ 2147483647 h 58"/>
              <a:gd name="T4" fmla="*/ 2147483647 w 83"/>
              <a:gd name="T5" fmla="*/ 2147483647 h 58"/>
              <a:gd name="T6" fmla="*/ 2147483647 w 83"/>
              <a:gd name="T7" fmla="*/ 2147483647 h 58"/>
              <a:gd name="T8" fmla="*/ 2147483647 w 83"/>
              <a:gd name="T9" fmla="*/ 2147483647 h 58"/>
              <a:gd name="T10" fmla="*/ 2147483647 w 83"/>
              <a:gd name="T11" fmla="*/ 0 h 58"/>
              <a:gd name="T12" fmla="*/ 2147483647 w 83"/>
              <a:gd name="T13" fmla="*/ 0 h 58"/>
              <a:gd name="T14" fmla="*/ 2147483647 w 83"/>
              <a:gd name="T15" fmla="*/ 2147483647 h 58"/>
              <a:gd name="T16" fmla="*/ 2147483647 w 83"/>
              <a:gd name="T17" fmla="*/ 2147483647 h 58"/>
              <a:gd name="T18" fmla="*/ 0 w 83"/>
              <a:gd name="T19" fmla="*/ 2147483647 h 58"/>
              <a:gd name="T20" fmla="*/ 2147483647 w 83"/>
              <a:gd name="T21" fmla="*/ 2147483647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3"/>
              <a:gd name="T34" fmla="*/ 0 h 58"/>
              <a:gd name="T35" fmla="*/ 83 w 83"/>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3" h="58">
                <a:moveTo>
                  <a:pt x="3" y="58"/>
                </a:moveTo>
                <a:lnTo>
                  <a:pt x="30" y="50"/>
                </a:lnTo>
                <a:lnTo>
                  <a:pt x="39" y="42"/>
                </a:lnTo>
                <a:lnTo>
                  <a:pt x="60" y="42"/>
                </a:lnTo>
                <a:lnTo>
                  <a:pt x="80" y="41"/>
                </a:lnTo>
                <a:lnTo>
                  <a:pt x="83" y="0"/>
                </a:lnTo>
                <a:lnTo>
                  <a:pt x="10" y="0"/>
                </a:lnTo>
                <a:lnTo>
                  <a:pt x="7" y="42"/>
                </a:lnTo>
                <a:lnTo>
                  <a:pt x="10" y="47"/>
                </a:lnTo>
                <a:lnTo>
                  <a:pt x="0" y="53"/>
                </a:lnTo>
                <a:lnTo>
                  <a:pt x="3" y="58"/>
                </a:lnTo>
                <a:close/>
              </a:path>
            </a:pathLst>
          </a:custGeom>
          <a:solidFill>
            <a:schemeClr val="accent1"/>
          </a:solidFill>
          <a:ln w="6350">
            <a:solidFill>
              <a:schemeClr val="tx2"/>
            </a:solidFill>
            <a:round/>
            <a:headEnd/>
            <a:tailEnd/>
          </a:ln>
        </p:spPr>
        <p:txBody>
          <a:bodyPr/>
          <a:lstStyle/>
          <a:p>
            <a:endParaRPr lang="en-US"/>
          </a:p>
        </p:txBody>
      </p:sp>
      <p:sp>
        <p:nvSpPr>
          <p:cNvPr id="237" name="Freeform 1137"/>
          <p:cNvSpPr>
            <a:spLocks/>
          </p:cNvSpPr>
          <p:nvPr/>
        </p:nvSpPr>
        <p:spPr bwMode="auto">
          <a:xfrm>
            <a:off x="3858327" y="3714066"/>
            <a:ext cx="5734" cy="5095"/>
          </a:xfrm>
          <a:custGeom>
            <a:avLst/>
            <a:gdLst>
              <a:gd name="T0" fmla="*/ 2147483647 w 11"/>
              <a:gd name="T1" fmla="*/ 2147483647 h 11"/>
              <a:gd name="T2" fmla="*/ 0 w 11"/>
              <a:gd name="T3" fmla="*/ 2147483647 h 11"/>
              <a:gd name="T4" fmla="*/ 2147483647 w 11"/>
              <a:gd name="T5" fmla="*/ 0 h 11"/>
              <a:gd name="T6" fmla="*/ 2147483647 w 11"/>
              <a:gd name="T7" fmla="*/ 2147483647 h 11"/>
              <a:gd name="T8" fmla="*/ 2147483647 w 11"/>
              <a:gd name="T9" fmla="*/ 2147483647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4" y="11"/>
                </a:moveTo>
                <a:lnTo>
                  <a:pt x="0" y="3"/>
                </a:lnTo>
                <a:lnTo>
                  <a:pt x="4" y="0"/>
                </a:lnTo>
                <a:lnTo>
                  <a:pt x="11" y="6"/>
                </a:lnTo>
                <a:lnTo>
                  <a:pt x="4" y="11"/>
                </a:lnTo>
                <a:close/>
              </a:path>
            </a:pathLst>
          </a:custGeom>
          <a:solidFill>
            <a:schemeClr val="accent1"/>
          </a:solidFill>
          <a:ln w="6350">
            <a:solidFill>
              <a:schemeClr val="tx2"/>
            </a:solidFill>
            <a:round/>
            <a:headEnd/>
            <a:tailEnd/>
          </a:ln>
        </p:spPr>
        <p:txBody>
          <a:bodyPr/>
          <a:lstStyle/>
          <a:p>
            <a:endParaRPr lang="en-US"/>
          </a:p>
        </p:txBody>
      </p:sp>
      <p:sp>
        <p:nvSpPr>
          <p:cNvPr id="238" name="Freeform 1138"/>
          <p:cNvSpPr>
            <a:spLocks/>
          </p:cNvSpPr>
          <p:nvPr/>
        </p:nvSpPr>
        <p:spPr bwMode="auto">
          <a:xfrm>
            <a:off x="3746527" y="3675855"/>
            <a:ext cx="98900" cy="78967"/>
          </a:xfrm>
          <a:custGeom>
            <a:avLst/>
            <a:gdLst>
              <a:gd name="T0" fmla="*/ 2147483647 w 211"/>
              <a:gd name="T1" fmla="*/ 2147483647 h 189"/>
              <a:gd name="T2" fmla="*/ 2147483647 w 211"/>
              <a:gd name="T3" fmla="*/ 2147483647 h 189"/>
              <a:gd name="T4" fmla="*/ 2147483647 w 211"/>
              <a:gd name="T5" fmla="*/ 2147483647 h 189"/>
              <a:gd name="T6" fmla="*/ 2147483647 w 211"/>
              <a:gd name="T7" fmla="*/ 2147483647 h 189"/>
              <a:gd name="T8" fmla="*/ 2147483647 w 211"/>
              <a:gd name="T9" fmla="*/ 2147483647 h 189"/>
              <a:gd name="T10" fmla="*/ 2147483647 w 211"/>
              <a:gd name="T11" fmla="*/ 2147483647 h 189"/>
              <a:gd name="T12" fmla="*/ 2147483647 w 211"/>
              <a:gd name="T13" fmla="*/ 2147483647 h 189"/>
              <a:gd name="T14" fmla="*/ 2147483647 w 211"/>
              <a:gd name="T15" fmla="*/ 2147483647 h 189"/>
              <a:gd name="T16" fmla="*/ 2147483647 w 211"/>
              <a:gd name="T17" fmla="*/ 2147483647 h 189"/>
              <a:gd name="T18" fmla="*/ 2147483647 w 211"/>
              <a:gd name="T19" fmla="*/ 2147483647 h 189"/>
              <a:gd name="T20" fmla="*/ 2147483647 w 211"/>
              <a:gd name="T21" fmla="*/ 2147483647 h 189"/>
              <a:gd name="T22" fmla="*/ 2147483647 w 211"/>
              <a:gd name="T23" fmla="*/ 2147483647 h 189"/>
              <a:gd name="T24" fmla="*/ 2147483647 w 211"/>
              <a:gd name="T25" fmla="*/ 2147483647 h 189"/>
              <a:gd name="T26" fmla="*/ 2147483647 w 211"/>
              <a:gd name="T27" fmla="*/ 2147483647 h 189"/>
              <a:gd name="T28" fmla="*/ 2147483647 w 211"/>
              <a:gd name="T29" fmla="*/ 0 h 189"/>
              <a:gd name="T30" fmla="*/ 2147483647 w 211"/>
              <a:gd name="T31" fmla="*/ 2147483647 h 189"/>
              <a:gd name="T32" fmla="*/ 2147483647 w 211"/>
              <a:gd name="T33" fmla="*/ 2147483647 h 189"/>
              <a:gd name="T34" fmla="*/ 2147483647 w 211"/>
              <a:gd name="T35" fmla="*/ 2147483647 h 189"/>
              <a:gd name="T36" fmla="*/ 2147483647 w 211"/>
              <a:gd name="T37" fmla="*/ 2147483647 h 189"/>
              <a:gd name="T38" fmla="*/ 2147483647 w 211"/>
              <a:gd name="T39" fmla="*/ 2147483647 h 189"/>
              <a:gd name="T40" fmla="*/ 2147483647 w 211"/>
              <a:gd name="T41" fmla="*/ 2147483647 h 189"/>
              <a:gd name="T42" fmla="*/ 2147483647 w 211"/>
              <a:gd name="T43" fmla="*/ 2147483647 h 189"/>
              <a:gd name="T44" fmla="*/ 2147483647 w 211"/>
              <a:gd name="T45" fmla="*/ 2147483647 h 189"/>
              <a:gd name="T46" fmla="*/ 2147483647 w 211"/>
              <a:gd name="T47" fmla="*/ 2147483647 h 189"/>
              <a:gd name="T48" fmla="*/ 2147483647 w 211"/>
              <a:gd name="T49" fmla="*/ 2147483647 h 189"/>
              <a:gd name="T50" fmla="*/ 2147483647 w 211"/>
              <a:gd name="T51" fmla="*/ 2147483647 h 189"/>
              <a:gd name="T52" fmla="*/ 2147483647 w 211"/>
              <a:gd name="T53" fmla="*/ 2147483647 h 189"/>
              <a:gd name="T54" fmla="*/ 2147483647 w 211"/>
              <a:gd name="T55" fmla="*/ 2147483647 h 189"/>
              <a:gd name="T56" fmla="*/ 2147483647 w 211"/>
              <a:gd name="T57" fmla="*/ 2147483647 h 189"/>
              <a:gd name="T58" fmla="*/ 2147483647 w 211"/>
              <a:gd name="T59" fmla="*/ 2147483647 h 189"/>
              <a:gd name="T60" fmla="*/ 2147483647 w 211"/>
              <a:gd name="T61" fmla="*/ 2147483647 h 189"/>
              <a:gd name="T62" fmla="*/ 2147483647 w 211"/>
              <a:gd name="T63" fmla="*/ 2147483647 h 189"/>
              <a:gd name="T64" fmla="*/ 2147483647 w 211"/>
              <a:gd name="T65" fmla="*/ 2147483647 h 189"/>
              <a:gd name="T66" fmla="*/ 2147483647 w 211"/>
              <a:gd name="T67" fmla="*/ 2147483647 h 189"/>
              <a:gd name="T68" fmla="*/ 2147483647 w 211"/>
              <a:gd name="T69" fmla="*/ 2147483647 h 189"/>
              <a:gd name="T70" fmla="*/ 2147483647 w 211"/>
              <a:gd name="T71" fmla="*/ 2147483647 h 189"/>
              <a:gd name="T72" fmla="*/ 2147483647 w 211"/>
              <a:gd name="T73" fmla="*/ 2147483647 h 189"/>
              <a:gd name="T74" fmla="*/ 2147483647 w 211"/>
              <a:gd name="T75" fmla="*/ 2147483647 h 189"/>
              <a:gd name="T76" fmla="*/ 2147483647 w 211"/>
              <a:gd name="T77" fmla="*/ 2147483647 h 189"/>
              <a:gd name="T78" fmla="*/ 2147483647 w 211"/>
              <a:gd name="T79" fmla="*/ 2147483647 h 189"/>
              <a:gd name="T80" fmla="*/ 2147483647 w 211"/>
              <a:gd name="T81" fmla="*/ 2147483647 h 189"/>
              <a:gd name="T82" fmla="*/ 2147483647 w 211"/>
              <a:gd name="T83" fmla="*/ 2147483647 h 189"/>
              <a:gd name="T84" fmla="*/ 2147483647 w 211"/>
              <a:gd name="T85" fmla="*/ 2147483647 h 189"/>
              <a:gd name="T86" fmla="*/ 2147483647 w 211"/>
              <a:gd name="T87" fmla="*/ 2147483647 h 189"/>
              <a:gd name="T88" fmla="*/ 2147483647 w 211"/>
              <a:gd name="T89" fmla="*/ 2147483647 h 189"/>
              <a:gd name="T90" fmla="*/ 2147483647 w 211"/>
              <a:gd name="T91" fmla="*/ 2147483647 h 189"/>
              <a:gd name="T92" fmla="*/ 2147483647 w 211"/>
              <a:gd name="T93" fmla="*/ 2147483647 h 189"/>
              <a:gd name="T94" fmla="*/ 2147483647 w 211"/>
              <a:gd name="T95" fmla="*/ 2147483647 h 189"/>
              <a:gd name="T96" fmla="*/ 0 w 211"/>
              <a:gd name="T97" fmla="*/ 2147483647 h 189"/>
              <a:gd name="T98" fmla="*/ 2147483647 w 211"/>
              <a:gd name="T99" fmla="*/ 2147483647 h 1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189"/>
              <a:gd name="T152" fmla="*/ 211 w 211"/>
              <a:gd name="T153" fmla="*/ 189 h 1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189">
                <a:moveTo>
                  <a:pt x="2" y="124"/>
                </a:moveTo>
                <a:lnTo>
                  <a:pt x="13" y="122"/>
                </a:lnTo>
                <a:lnTo>
                  <a:pt x="26" y="92"/>
                </a:lnTo>
                <a:lnTo>
                  <a:pt x="31" y="93"/>
                </a:lnTo>
                <a:lnTo>
                  <a:pt x="31" y="99"/>
                </a:lnTo>
                <a:lnTo>
                  <a:pt x="38" y="96"/>
                </a:lnTo>
                <a:lnTo>
                  <a:pt x="35" y="88"/>
                </a:lnTo>
                <a:lnTo>
                  <a:pt x="41" y="78"/>
                </a:lnTo>
                <a:lnTo>
                  <a:pt x="51" y="70"/>
                </a:lnTo>
                <a:lnTo>
                  <a:pt x="56" y="73"/>
                </a:lnTo>
                <a:lnTo>
                  <a:pt x="62" y="70"/>
                </a:lnTo>
                <a:lnTo>
                  <a:pt x="76" y="57"/>
                </a:lnTo>
                <a:lnTo>
                  <a:pt x="88" y="18"/>
                </a:lnTo>
                <a:lnTo>
                  <a:pt x="85" y="3"/>
                </a:lnTo>
                <a:lnTo>
                  <a:pt x="92" y="0"/>
                </a:lnTo>
                <a:lnTo>
                  <a:pt x="92" y="52"/>
                </a:lnTo>
                <a:lnTo>
                  <a:pt x="137" y="52"/>
                </a:lnTo>
                <a:lnTo>
                  <a:pt x="136" y="81"/>
                </a:lnTo>
                <a:lnTo>
                  <a:pt x="152" y="67"/>
                </a:lnTo>
                <a:lnTo>
                  <a:pt x="159" y="68"/>
                </a:lnTo>
                <a:lnTo>
                  <a:pt x="166" y="56"/>
                </a:lnTo>
                <a:lnTo>
                  <a:pt x="175" y="62"/>
                </a:lnTo>
                <a:lnTo>
                  <a:pt x="179" y="62"/>
                </a:lnTo>
                <a:lnTo>
                  <a:pt x="182" y="57"/>
                </a:lnTo>
                <a:lnTo>
                  <a:pt x="192" y="53"/>
                </a:lnTo>
                <a:lnTo>
                  <a:pt x="207" y="58"/>
                </a:lnTo>
                <a:lnTo>
                  <a:pt x="211" y="74"/>
                </a:lnTo>
                <a:lnTo>
                  <a:pt x="207" y="84"/>
                </a:lnTo>
                <a:lnTo>
                  <a:pt x="186" y="67"/>
                </a:lnTo>
                <a:lnTo>
                  <a:pt x="182" y="84"/>
                </a:lnTo>
                <a:lnTo>
                  <a:pt x="162" y="104"/>
                </a:lnTo>
                <a:lnTo>
                  <a:pt x="157" y="100"/>
                </a:lnTo>
                <a:lnTo>
                  <a:pt x="145" y="123"/>
                </a:lnTo>
                <a:lnTo>
                  <a:pt x="129" y="114"/>
                </a:lnTo>
                <a:lnTo>
                  <a:pt x="123" y="131"/>
                </a:lnTo>
                <a:lnTo>
                  <a:pt x="101" y="164"/>
                </a:lnTo>
                <a:lnTo>
                  <a:pt x="104" y="167"/>
                </a:lnTo>
                <a:lnTo>
                  <a:pt x="102" y="172"/>
                </a:lnTo>
                <a:lnTo>
                  <a:pt x="94" y="177"/>
                </a:lnTo>
                <a:lnTo>
                  <a:pt x="77" y="177"/>
                </a:lnTo>
                <a:lnTo>
                  <a:pt x="75" y="183"/>
                </a:lnTo>
                <a:lnTo>
                  <a:pt x="62" y="187"/>
                </a:lnTo>
                <a:lnTo>
                  <a:pt x="56" y="182"/>
                </a:lnTo>
                <a:lnTo>
                  <a:pt x="44" y="189"/>
                </a:lnTo>
                <a:lnTo>
                  <a:pt x="35" y="185"/>
                </a:lnTo>
                <a:lnTo>
                  <a:pt x="31" y="180"/>
                </a:lnTo>
                <a:lnTo>
                  <a:pt x="29" y="171"/>
                </a:lnTo>
                <a:lnTo>
                  <a:pt x="14" y="164"/>
                </a:lnTo>
                <a:lnTo>
                  <a:pt x="0" y="138"/>
                </a:lnTo>
                <a:lnTo>
                  <a:pt x="2" y="124"/>
                </a:lnTo>
                <a:close/>
              </a:path>
            </a:pathLst>
          </a:custGeom>
          <a:solidFill>
            <a:schemeClr val="accent1"/>
          </a:solidFill>
          <a:ln w="6350">
            <a:solidFill>
              <a:schemeClr val="tx2"/>
            </a:solidFill>
            <a:round/>
            <a:headEnd/>
            <a:tailEnd/>
          </a:ln>
        </p:spPr>
        <p:txBody>
          <a:bodyPr/>
          <a:lstStyle/>
          <a:p>
            <a:endParaRPr lang="en-US"/>
          </a:p>
        </p:txBody>
      </p:sp>
      <p:sp>
        <p:nvSpPr>
          <p:cNvPr id="239" name="Freeform 1139"/>
          <p:cNvSpPr>
            <a:spLocks/>
          </p:cNvSpPr>
          <p:nvPr/>
        </p:nvSpPr>
        <p:spPr bwMode="auto">
          <a:xfrm>
            <a:off x="3700661" y="3644013"/>
            <a:ext cx="88867" cy="84062"/>
          </a:xfrm>
          <a:custGeom>
            <a:avLst/>
            <a:gdLst>
              <a:gd name="T0" fmla="*/ 2147483647 w 186"/>
              <a:gd name="T1" fmla="*/ 2147483647 h 200"/>
              <a:gd name="T2" fmla="*/ 0 w 186"/>
              <a:gd name="T3" fmla="*/ 2147483647 h 200"/>
              <a:gd name="T4" fmla="*/ 0 w 186"/>
              <a:gd name="T5" fmla="*/ 2147483647 h 200"/>
              <a:gd name="T6" fmla="*/ 0 w 186"/>
              <a:gd name="T7" fmla="*/ 2147483647 h 200"/>
              <a:gd name="T8" fmla="*/ 2147483647 w 186"/>
              <a:gd name="T9" fmla="*/ 2147483647 h 200"/>
              <a:gd name="T10" fmla="*/ 2147483647 w 186"/>
              <a:gd name="T11" fmla="*/ 2147483647 h 200"/>
              <a:gd name="T12" fmla="*/ 2147483647 w 186"/>
              <a:gd name="T13" fmla="*/ 2147483647 h 200"/>
              <a:gd name="T14" fmla="*/ 2147483647 w 186"/>
              <a:gd name="T15" fmla="*/ 2147483647 h 200"/>
              <a:gd name="T16" fmla="*/ 2147483647 w 186"/>
              <a:gd name="T17" fmla="*/ 0 h 200"/>
              <a:gd name="T18" fmla="*/ 2147483647 w 186"/>
              <a:gd name="T19" fmla="*/ 2147483647 h 200"/>
              <a:gd name="T20" fmla="*/ 2147483647 w 186"/>
              <a:gd name="T21" fmla="*/ 2147483647 h 200"/>
              <a:gd name="T22" fmla="*/ 2147483647 w 186"/>
              <a:gd name="T23" fmla="*/ 2147483647 h 200"/>
              <a:gd name="T24" fmla="*/ 2147483647 w 186"/>
              <a:gd name="T25" fmla="*/ 2147483647 h 200"/>
              <a:gd name="T26" fmla="*/ 2147483647 w 186"/>
              <a:gd name="T27" fmla="*/ 2147483647 h 200"/>
              <a:gd name="T28" fmla="*/ 2147483647 w 186"/>
              <a:gd name="T29" fmla="*/ 2147483647 h 200"/>
              <a:gd name="T30" fmla="*/ 2147483647 w 186"/>
              <a:gd name="T31" fmla="*/ 2147483647 h 200"/>
              <a:gd name="T32" fmla="*/ 2147483647 w 186"/>
              <a:gd name="T33" fmla="*/ 2147483647 h 200"/>
              <a:gd name="T34" fmla="*/ 2147483647 w 186"/>
              <a:gd name="T35" fmla="*/ 2147483647 h 200"/>
              <a:gd name="T36" fmla="*/ 2147483647 w 186"/>
              <a:gd name="T37" fmla="*/ 2147483647 h 200"/>
              <a:gd name="T38" fmla="*/ 2147483647 w 186"/>
              <a:gd name="T39" fmla="*/ 2147483647 h 200"/>
              <a:gd name="T40" fmla="*/ 2147483647 w 186"/>
              <a:gd name="T41" fmla="*/ 2147483647 h 200"/>
              <a:gd name="T42" fmla="*/ 2147483647 w 186"/>
              <a:gd name="T43" fmla="*/ 2147483647 h 200"/>
              <a:gd name="T44" fmla="*/ 2147483647 w 186"/>
              <a:gd name="T45" fmla="*/ 2147483647 h 200"/>
              <a:gd name="T46" fmla="*/ 2147483647 w 186"/>
              <a:gd name="T47" fmla="*/ 2147483647 h 200"/>
              <a:gd name="T48" fmla="*/ 2147483647 w 186"/>
              <a:gd name="T49" fmla="*/ 2147483647 h 200"/>
              <a:gd name="T50" fmla="*/ 2147483647 w 186"/>
              <a:gd name="T51" fmla="*/ 2147483647 h 200"/>
              <a:gd name="T52" fmla="*/ 2147483647 w 186"/>
              <a:gd name="T53" fmla="*/ 2147483647 h 200"/>
              <a:gd name="T54" fmla="*/ 2147483647 w 186"/>
              <a:gd name="T55" fmla="*/ 2147483647 h 200"/>
              <a:gd name="T56" fmla="*/ 2147483647 w 186"/>
              <a:gd name="T57" fmla="*/ 2147483647 h 200"/>
              <a:gd name="T58" fmla="*/ 2147483647 w 186"/>
              <a:gd name="T59" fmla="*/ 2147483647 h 200"/>
              <a:gd name="T60" fmla="*/ 2147483647 w 186"/>
              <a:gd name="T61" fmla="*/ 2147483647 h 200"/>
              <a:gd name="T62" fmla="*/ 2147483647 w 186"/>
              <a:gd name="T63" fmla="*/ 2147483647 h 200"/>
              <a:gd name="T64" fmla="*/ 2147483647 w 186"/>
              <a:gd name="T65" fmla="*/ 2147483647 h 200"/>
              <a:gd name="T66" fmla="*/ 2147483647 w 186"/>
              <a:gd name="T67" fmla="*/ 2147483647 h 200"/>
              <a:gd name="T68" fmla="*/ 2147483647 w 186"/>
              <a:gd name="T69" fmla="*/ 2147483647 h 2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200"/>
              <a:gd name="T107" fmla="*/ 186 w 186"/>
              <a:gd name="T108" fmla="*/ 200 h 2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200">
                <a:moveTo>
                  <a:pt x="3" y="160"/>
                </a:moveTo>
                <a:lnTo>
                  <a:pt x="0" y="163"/>
                </a:lnTo>
                <a:lnTo>
                  <a:pt x="0" y="87"/>
                </a:lnTo>
                <a:lnTo>
                  <a:pt x="0" y="15"/>
                </a:lnTo>
                <a:lnTo>
                  <a:pt x="60" y="15"/>
                </a:lnTo>
                <a:lnTo>
                  <a:pt x="103" y="30"/>
                </a:lnTo>
                <a:lnTo>
                  <a:pt x="131" y="25"/>
                </a:lnTo>
                <a:lnTo>
                  <a:pt x="159" y="9"/>
                </a:lnTo>
                <a:lnTo>
                  <a:pt x="186" y="0"/>
                </a:lnTo>
                <a:lnTo>
                  <a:pt x="186" y="76"/>
                </a:lnTo>
                <a:lnTo>
                  <a:pt x="179" y="79"/>
                </a:lnTo>
                <a:lnTo>
                  <a:pt x="182" y="94"/>
                </a:lnTo>
                <a:lnTo>
                  <a:pt x="170" y="133"/>
                </a:lnTo>
                <a:lnTo>
                  <a:pt x="156" y="146"/>
                </a:lnTo>
                <a:lnTo>
                  <a:pt x="150" y="149"/>
                </a:lnTo>
                <a:lnTo>
                  <a:pt x="145" y="146"/>
                </a:lnTo>
                <a:lnTo>
                  <a:pt x="135" y="154"/>
                </a:lnTo>
                <a:lnTo>
                  <a:pt x="129" y="164"/>
                </a:lnTo>
                <a:lnTo>
                  <a:pt x="132" y="172"/>
                </a:lnTo>
                <a:lnTo>
                  <a:pt x="125" y="175"/>
                </a:lnTo>
                <a:lnTo>
                  <a:pt x="125" y="169"/>
                </a:lnTo>
                <a:lnTo>
                  <a:pt x="120" y="168"/>
                </a:lnTo>
                <a:lnTo>
                  <a:pt x="107" y="198"/>
                </a:lnTo>
                <a:lnTo>
                  <a:pt x="96" y="200"/>
                </a:lnTo>
                <a:lnTo>
                  <a:pt x="86" y="191"/>
                </a:lnTo>
                <a:lnTo>
                  <a:pt x="83" y="182"/>
                </a:lnTo>
                <a:lnTo>
                  <a:pt x="71" y="189"/>
                </a:lnTo>
                <a:lnTo>
                  <a:pt x="65" y="190"/>
                </a:lnTo>
                <a:lnTo>
                  <a:pt x="56" y="184"/>
                </a:lnTo>
                <a:lnTo>
                  <a:pt x="50" y="188"/>
                </a:lnTo>
                <a:lnTo>
                  <a:pt x="46" y="187"/>
                </a:lnTo>
                <a:lnTo>
                  <a:pt x="41" y="181"/>
                </a:lnTo>
                <a:lnTo>
                  <a:pt x="26" y="178"/>
                </a:lnTo>
                <a:lnTo>
                  <a:pt x="15" y="162"/>
                </a:lnTo>
                <a:lnTo>
                  <a:pt x="3" y="160"/>
                </a:lnTo>
                <a:close/>
              </a:path>
            </a:pathLst>
          </a:custGeom>
          <a:solidFill>
            <a:schemeClr val="accent1"/>
          </a:solidFill>
          <a:ln w="6350">
            <a:solidFill>
              <a:schemeClr val="tx2"/>
            </a:solidFill>
            <a:round/>
            <a:headEnd/>
            <a:tailEnd/>
          </a:ln>
        </p:spPr>
        <p:txBody>
          <a:bodyPr/>
          <a:lstStyle/>
          <a:p>
            <a:endParaRPr lang="en-US"/>
          </a:p>
        </p:txBody>
      </p:sp>
      <p:sp>
        <p:nvSpPr>
          <p:cNvPr id="240" name="Freeform 1140"/>
          <p:cNvSpPr>
            <a:spLocks/>
          </p:cNvSpPr>
          <p:nvPr/>
        </p:nvSpPr>
        <p:spPr bwMode="auto">
          <a:xfrm>
            <a:off x="3590293" y="3506458"/>
            <a:ext cx="129001" cy="61135"/>
          </a:xfrm>
          <a:custGeom>
            <a:avLst/>
            <a:gdLst>
              <a:gd name="T0" fmla="*/ 0 w 277"/>
              <a:gd name="T1" fmla="*/ 2147483647 h 147"/>
              <a:gd name="T2" fmla="*/ 2147483647 w 277"/>
              <a:gd name="T3" fmla="*/ 2147483647 h 147"/>
              <a:gd name="T4" fmla="*/ 2147483647 w 277"/>
              <a:gd name="T5" fmla="*/ 2147483647 h 147"/>
              <a:gd name="T6" fmla="*/ 2147483647 w 277"/>
              <a:gd name="T7" fmla="*/ 0 h 147"/>
              <a:gd name="T8" fmla="*/ 2147483647 w 277"/>
              <a:gd name="T9" fmla="*/ 2147483647 h 147"/>
              <a:gd name="T10" fmla="*/ 2147483647 w 277"/>
              <a:gd name="T11" fmla="*/ 2147483647 h 147"/>
              <a:gd name="T12" fmla="*/ 2147483647 w 277"/>
              <a:gd name="T13" fmla="*/ 2147483647 h 147"/>
              <a:gd name="T14" fmla="*/ 2147483647 w 277"/>
              <a:gd name="T15" fmla="*/ 2147483647 h 147"/>
              <a:gd name="T16" fmla="*/ 2147483647 w 277"/>
              <a:gd name="T17" fmla="*/ 2147483647 h 147"/>
              <a:gd name="T18" fmla="*/ 2147483647 w 277"/>
              <a:gd name="T19" fmla="*/ 2147483647 h 147"/>
              <a:gd name="T20" fmla="*/ 2147483647 w 277"/>
              <a:gd name="T21" fmla="*/ 2147483647 h 147"/>
              <a:gd name="T22" fmla="*/ 2147483647 w 277"/>
              <a:gd name="T23" fmla="*/ 2147483647 h 147"/>
              <a:gd name="T24" fmla="*/ 2147483647 w 277"/>
              <a:gd name="T25" fmla="*/ 2147483647 h 147"/>
              <a:gd name="T26" fmla="*/ 2147483647 w 277"/>
              <a:gd name="T27" fmla="*/ 2147483647 h 147"/>
              <a:gd name="T28" fmla="*/ 2147483647 w 277"/>
              <a:gd name="T29" fmla="*/ 2147483647 h 147"/>
              <a:gd name="T30" fmla="*/ 2147483647 w 277"/>
              <a:gd name="T31" fmla="*/ 2147483647 h 147"/>
              <a:gd name="T32" fmla="*/ 2147483647 w 277"/>
              <a:gd name="T33" fmla="*/ 2147483647 h 147"/>
              <a:gd name="T34" fmla="*/ 2147483647 w 277"/>
              <a:gd name="T35" fmla="*/ 2147483647 h 147"/>
              <a:gd name="T36" fmla="*/ 2147483647 w 277"/>
              <a:gd name="T37" fmla="*/ 2147483647 h 147"/>
              <a:gd name="T38" fmla="*/ 2147483647 w 277"/>
              <a:gd name="T39" fmla="*/ 2147483647 h 147"/>
              <a:gd name="T40" fmla="*/ 2147483647 w 277"/>
              <a:gd name="T41" fmla="*/ 2147483647 h 147"/>
              <a:gd name="T42" fmla="*/ 2147483647 w 277"/>
              <a:gd name="T43" fmla="*/ 2147483647 h 147"/>
              <a:gd name="T44" fmla="*/ 2147483647 w 277"/>
              <a:gd name="T45" fmla="*/ 2147483647 h 147"/>
              <a:gd name="T46" fmla="*/ 2147483647 w 277"/>
              <a:gd name="T47" fmla="*/ 2147483647 h 147"/>
              <a:gd name="T48" fmla="*/ 2147483647 w 277"/>
              <a:gd name="T49" fmla="*/ 2147483647 h 147"/>
              <a:gd name="T50" fmla="*/ 2147483647 w 277"/>
              <a:gd name="T51" fmla="*/ 2147483647 h 147"/>
              <a:gd name="T52" fmla="*/ 2147483647 w 277"/>
              <a:gd name="T53" fmla="*/ 2147483647 h 147"/>
              <a:gd name="T54" fmla="*/ 2147483647 w 277"/>
              <a:gd name="T55" fmla="*/ 2147483647 h 147"/>
              <a:gd name="T56" fmla="*/ 2147483647 w 277"/>
              <a:gd name="T57" fmla="*/ 2147483647 h 147"/>
              <a:gd name="T58" fmla="*/ 2147483647 w 277"/>
              <a:gd name="T59" fmla="*/ 2147483647 h 147"/>
              <a:gd name="T60" fmla="*/ 2147483647 w 277"/>
              <a:gd name="T61" fmla="*/ 2147483647 h 147"/>
              <a:gd name="T62" fmla="*/ 2147483647 w 277"/>
              <a:gd name="T63" fmla="*/ 2147483647 h 147"/>
              <a:gd name="T64" fmla="*/ 2147483647 w 277"/>
              <a:gd name="T65" fmla="*/ 2147483647 h 147"/>
              <a:gd name="T66" fmla="*/ 2147483647 w 277"/>
              <a:gd name="T67" fmla="*/ 2147483647 h 147"/>
              <a:gd name="T68" fmla="*/ 2147483647 w 277"/>
              <a:gd name="T69" fmla="*/ 2147483647 h 147"/>
              <a:gd name="T70" fmla="*/ 2147483647 w 277"/>
              <a:gd name="T71" fmla="*/ 2147483647 h 147"/>
              <a:gd name="T72" fmla="*/ 2147483647 w 277"/>
              <a:gd name="T73" fmla="*/ 2147483647 h 147"/>
              <a:gd name="T74" fmla="*/ 2147483647 w 277"/>
              <a:gd name="T75" fmla="*/ 2147483647 h 147"/>
              <a:gd name="T76" fmla="*/ 0 w 277"/>
              <a:gd name="T77" fmla="*/ 2147483647 h 1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7"/>
              <a:gd name="T118" fmla="*/ 0 h 147"/>
              <a:gd name="T119" fmla="*/ 277 w 277"/>
              <a:gd name="T120" fmla="*/ 147 h 1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7" h="147">
                <a:moveTo>
                  <a:pt x="0" y="56"/>
                </a:moveTo>
                <a:lnTo>
                  <a:pt x="46" y="38"/>
                </a:lnTo>
                <a:lnTo>
                  <a:pt x="84" y="8"/>
                </a:lnTo>
                <a:lnTo>
                  <a:pt x="110" y="0"/>
                </a:lnTo>
                <a:lnTo>
                  <a:pt x="112" y="5"/>
                </a:lnTo>
                <a:lnTo>
                  <a:pt x="83" y="33"/>
                </a:lnTo>
                <a:lnTo>
                  <a:pt x="83" y="45"/>
                </a:lnTo>
                <a:lnTo>
                  <a:pt x="89" y="39"/>
                </a:lnTo>
                <a:lnTo>
                  <a:pt x="104" y="38"/>
                </a:lnTo>
                <a:lnTo>
                  <a:pt x="118" y="46"/>
                </a:lnTo>
                <a:lnTo>
                  <a:pt x="133" y="63"/>
                </a:lnTo>
                <a:lnTo>
                  <a:pt x="159" y="65"/>
                </a:lnTo>
                <a:lnTo>
                  <a:pt x="182" y="51"/>
                </a:lnTo>
                <a:lnTo>
                  <a:pt x="228" y="45"/>
                </a:lnTo>
                <a:lnTo>
                  <a:pt x="230" y="59"/>
                </a:lnTo>
                <a:lnTo>
                  <a:pt x="237" y="63"/>
                </a:lnTo>
                <a:lnTo>
                  <a:pt x="253" y="63"/>
                </a:lnTo>
                <a:lnTo>
                  <a:pt x="260" y="63"/>
                </a:lnTo>
                <a:lnTo>
                  <a:pt x="265" y="82"/>
                </a:lnTo>
                <a:lnTo>
                  <a:pt x="277" y="93"/>
                </a:lnTo>
                <a:lnTo>
                  <a:pt x="258" y="98"/>
                </a:lnTo>
                <a:lnTo>
                  <a:pt x="250" y="91"/>
                </a:lnTo>
                <a:lnTo>
                  <a:pt x="247" y="100"/>
                </a:lnTo>
                <a:lnTo>
                  <a:pt x="241" y="100"/>
                </a:lnTo>
                <a:lnTo>
                  <a:pt x="218" y="88"/>
                </a:lnTo>
                <a:lnTo>
                  <a:pt x="180" y="101"/>
                </a:lnTo>
                <a:lnTo>
                  <a:pt x="162" y="116"/>
                </a:lnTo>
                <a:lnTo>
                  <a:pt x="162" y="101"/>
                </a:lnTo>
                <a:lnTo>
                  <a:pt x="148" y="108"/>
                </a:lnTo>
                <a:lnTo>
                  <a:pt x="120" y="147"/>
                </a:lnTo>
                <a:lnTo>
                  <a:pt x="114" y="142"/>
                </a:lnTo>
                <a:lnTo>
                  <a:pt x="117" y="130"/>
                </a:lnTo>
                <a:lnTo>
                  <a:pt x="108" y="131"/>
                </a:lnTo>
                <a:lnTo>
                  <a:pt x="111" y="111"/>
                </a:lnTo>
                <a:lnTo>
                  <a:pt x="98" y="104"/>
                </a:lnTo>
                <a:lnTo>
                  <a:pt x="98" y="96"/>
                </a:lnTo>
                <a:lnTo>
                  <a:pt x="12" y="71"/>
                </a:lnTo>
                <a:lnTo>
                  <a:pt x="8" y="61"/>
                </a:lnTo>
                <a:lnTo>
                  <a:pt x="0" y="56"/>
                </a:lnTo>
                <a:close/>
              </a:path>
            </a:pathLst>
          </a:custGeom>
          <a:solidFill>
            <a:schemeClr val="accent1"/>
          </a:solidFill>
          <a:ln w="6350">
            <a:solidFill>
              <a:schemeClr val="tx2"/>
            </a:solidFill>
            <a:round/>
            <a:headEnd/>
            <a:tailEnd/>
          </a:ln>
        </p:spPr>
        <p:txBody>
          <a:bodyPr/>
          <a:lstStyle/>
          <a:p>
            <a:endParaRPr lang="en-US"/>
          </a:p>
        </p:txBody>
      </p:sp>
      <p:sp>
        <p:nvSpPr>
          <p:cNvPr id="241" name="Freeform 1141"/>
          <p:cNvSpPr>
            <a:spLocks/>
          </p:cNvSpPr>
          <p:nvPr/>
        </p:nvSpPr>
        <p:spPr bwMode="auto">
          <a:xfrm>
            <a:off x="3657660" y="3552310"/>
            <a:ext cx="91734" cy="98073"/>
          </a:xfrm>
          <a:custGeom>
            <a:avLst/>
            <a:gdLst>
              <a:gd name="T0" fmla="*/ 2147483647 w 195"/>
              <a:gd name="T1" fmla="*/ 2147483647 h 236"/>
              <a:gd name="T2" fmla="*/ 2147483647 w 195"/>
              <a:gd name="T3" fmla="*/ 2147483647 h 236"/>
              <a:gd name="T4" fmla="*/ 2147483647 w 195"/>
              <a:gd name="T5" fmla="*/ 2147483647 h 236"/>
              <a:gd name="T6" fmla="*/ 2147483647 w 195"/>
              <a:gd name="T7" fmla="*/ 2147483647 h 236"/>
              <a:gd name="T8" fmla="*/ 2147483647 w 195"/>
              <a:gd name="T9" fmla="*/ 2147483647 h 236"/>
              <a:gd name="T10" fmla="*/ 2147483647 w 195"/>
              <a:gd name="T11" fmla="*/ 2147483647 h 236"/>
              <a:gd name="T12" fmla="*/ 2147483647 w 195"/>
              <a:gd name="T13" fmla="*/ 2147483647 h 236"/>
              <a:gd name="T14" fmla="*/ 2147483647 w 195"/>
              <a:gd name="T15" fmla="*/ 2147483647 h 236"/>
              <a:gd name="T16" fmla="*/ 2147483647 w 195"/>
              <a:gd name="T17" fmla="*/ 2147483647 h 236"/>
              <a:gd name="T18" fmla="*/ 2147483647 w 195"/>
              <a:gd name="T19" fmla="*/ 2147483647 h 236"/>
              <a:gd name="T20" fmla="*/ 2147483647 w 195"/>
              <a:gd name="T21" fmla="*/ 2147483647 h 236"/>
              <a:gd name="T22" fmla="*/ 2147483647 w 195"/>
              <a:gd name="T23" fmla="*/ 2147483647 h 236"/>
              <a:gd name="T24" fmla="*/ 2147483647 w 195"/>
              <a:gd name="T25" fmla="*/ 2147483647 h 236"/>
              <a:gd name="T26" fmla="*/ 2147483647 w 195"/>
              <a:gd name="T27" fmla="*/ 2147483647 h 236"/>
              <a:gd name="T28" fmla="*/ 2147483647 w 195"/>
              <a:gd name="T29" fmla="*/ 2147483647 h 236"/>
              <a:gd name="T30" fmla="*/ 2147483647 w 195"/>
              <a:gd name="T31" fmla="*/ 0 h 236"/>
              <a:gd name="T32" fmla="*/ 2147483647 w 195"/>
              <a:gd name="T33" fmla="*/ 2147483647 h 236"/>
              <a:gd name="T34" fmla="*/ 2147483647 w 195"/>
              <a:gd name="T35" fmla="*/ 2147483647 h 236"/>
              <a:gd name="T36" fmla="*/ 2147483647 w 195"/>
              <a:gd name="T37" fmla="*/ 2147483647 h 236"/>
              <a:gd name="T38" fmla="*/ 2147483647 w 195"/>
              <a:gd name="T39" fmla="*/ 2147483647 h 236"/>
              <a:gd name="T40" fmla="*/ 2147483647 w 195"/>
              <a:gd name="T41" fmla="*/ 2147483647 h 236"/>
              <a:gd name="T42" fmla="*/ 2147483647 w 195"/>
              <a:gd name="T43" fmla="*/ 2147483647 h 236"/>
              <a:gd name="T44" fmla="*/ 2147483647 w 195"/>
              <a:gd name="T45" fmla="*/ 2147483647 h 236"/>
              <a:gd name="T46" fmla="*/ 2147483647 w 195"/>
              <a:gd name="T47" fmla="*/ 2147483647 h 236"/>
              <a:gd name="T48" fmla="*/ 2147483647 w 195"/>
              <a:gd name="T49" fmla="*/ 2147483647 h 236"/>
              <a:gd name="T50" fmla="*/ 2147483647 w 195"/>
              <a:gd name="T51" fmla="*/ 2147483647 h 236"/>
              <a:gd name="T52" fmla="*/ 2147483647 w 195"/>
              <a:gd name="T53" fmla="*/ 2147483647 h 236"/>
              <a:gd name="T54" fmla="*/ 2147483647 w 195"/>
              <a:gd name="T55" fmla="*/ 2147483647 h 236"/>
              <a:gd name="T56" fmla="*/ 2147483647 w 195"/>
              <a:gd name="T57" fmla="*/ 2147483647 h 236"/>
              <a:gd name="T58" fmla="*/ 2147483647 w 195"/>
              <a:gd name="T59" fmla="*/ 2147483647 h 236"/>
              <a:gd name="T60" fmla="*/ 2147483647 w 195"/>
              <a:gd name="T61" fmla="*/ 2147483647 h 236"/>
              <a:gd name="T62" fmla="*/ 0 w 195"/>
              <a:gd name="T63" fmla="*/ 2147483647 h 236"/>
              <a:gd name="T64" fmla="*/ 2147483647 w 195"/>
              <a:gd name="T65" fmla="*/ 2147483647 h 236"/>
              <a:gd name="T66" fmla="*/ 2147483647 w 195"/>
              <a:gd name="T67" fmla="*/ 2147483647 h 236"/>
              <a:gd name="T68" fmla="*/ 2147483647 w 195"/>
              <a:gd name="T69" fmla="*/ 2147483647 h 236"/>
              <a:gd name="T70" fmla="*/ 2147483647 w 195"/>
              <a:gd name="T71" fmla="*/ 2147483647 h 236"/>
              <a:gd name="T72" fmla="*/ 2147483647 w 195"/>
              <a:gd name="T73" fmla="*/ 2147483647 h 236"/>
              <a:gd name="T74" fmla="*/ 2147483647 w 195"/>
              <a:gd name="T75" fmla="*/ 2147483647 h 236"/>
              <a:gd name="T76" fmla="*/ 2147483647 w 195"/>
              <a:gd name="T77" fmla="*/ 2147483647 h 236"/>
              <a:gd name="T78" fmla="*/ 2147483647 w 195"/>
              <a:gd name="T79" fmla="*/ 2147483647 h 236"/>
              <a:gd name="T80" fmla="*/ 2147483647 w 195"/>
              <a:gd name="T81" fmla="*/ 2147483647 h 2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5"/>
              <a:gd name="T124" fmla="*/ 0 h 236"/>
              <a:gd name="T125" fmla="*/ 195 w 195"/>
              <a:gd name="T126" fmla="*/ 236 h 2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5" h="236">
                <a:moveTo>
                  <a:pt x="195" y="157"/>
                </a:moveTo>
                <a:lnTo>
                  <a:pt x="189" y="147"/>
                </a:lnTo>
                <a:lnTo>
                  <a:pt x="183" y="113"/>
                </a:lnTo>
                <a:lnTo>
                  <a:pt x="174" y="98"/>
                </a:lnTo>
                <a:lnTo>
                  <a:pt x="153" y="104"/>
                </a:lnTo>
                <a:lnTo>
                  <a:pt x="141" y="121"/>
                </a:lnTo>
                <a:lnTo>
                  <a:pt x="133" y="122"/>
                </a:lnTo>
                <a:lnTo>
                  <a:pt x="130" y="118"/>
                </a:lnTo>
                <a:lnTo>
                  <a:pt x="135" y="103"/>
                </a:lnTo>
                <a:lnTo>
                  <a:pt x="146" y="95"/>
                </a:lnTo>
                <a:lnTo>
                  <a:pt x="156" y="76"/>
                </a:lnTo>
                <a:lnTo>
                  <a:pt x="150" y="41"/>
                </a:lnTo>
                <a:lnTo>
                  <a:pt x="153" y="37"/>
                </a:lnTo>
                <a:lnTo>
                  <a:pt x="148" y="27"/>
                </a:lnTo>
                <a:lnTo>
                  <a:pt x="113" y="4"/>
                </a:lnTo>
                <a:lnTo>
                  <a:pt x="84" y="0"/>
                </a:lnTo>
                <a:lnTo>
                  <a:pt x="80" y="10"/>
                </a:lnTo>
                <a:lnTo>
                  <a:pt x="84" y="19"/>
                </a:lnTo>
                <a:lnTo>
                  <a:pt x="66" y="27"/>
                </a:lnTo>
                <a:lnTo>
                  <a:pt x="64" y="46"/>
                </a:lnTo>
                <a:lnTo>
                  <a:pt x="57" y="52"/>
                </a:lnTo>
                <a:lnTo>
                  <a:pt x="53" y="36"/>
                </a:lnTo>
                <a:lnTo>
                  <a:pt x="34" y="49"/>
                </a:lnTo>
                <a:lnTo>
                  <a:pt x="29" y="61"/>
                </a:lnTo>
                <a:lnTo>
                  <a:pt x="27" y="88"/>
                </a:lnTo>
                <a:lnTo>
                  <a:pt x="23" y="91"/>
                </a:lnTo>
                <a:lnTo>
                  <a:pt x="17" y="122"/>
                </a:lnTo>
                <a:lnTo>
                  <a:pt x="28" y="147"/>
                </a:lnTo>
                <a:lnTo>
                  <a:pt x="30" y="156"/>
                </a:lnTo>
                <a:lnTo>
                  <a:pt x="28" y="182"/>
                </a:lnTo>
                <a:lnTo>
                  <a:pt x="11" y="226"/>
                </a:lnTo>
                <a:lnTo>
                  <a:pt x="0" y="233"/>
                </a:lnTo>
                <a:lnTo>
                  <a:pt x="91" y="233"/>
                </a:lnTo>
                <a:lnTo>
                  <a:pt x="91" y="236"/>
                </a:lnTo>
                <a:lnTo>
                  <a:pt x="151" y="236"/>
                </a:lnTo>
                <a:lnTo>
                  <a:pt x="164" y="220"/>
                </a:lnTo>
                <a:lnTo>
                  <a:pt x="165" y="210"/>
                </a:lnTo>
                <a:lnTo>
                  <a:pt x="174" y="197"/>
                </a:lnTo>
                <a:lnTo>
                  <a:pt x="175" y="188"/>
                </a:lnTo>
                <a:lnTo>
                  <a:pt x="189" y="183"/>
                </a:lnTo>
                <a:lnTo>
                  <a:pt x="195" y="157"/>
                </a:lnTo>
                <a:close/>
              </a:path>
            </a:pathLst>
          </a:custGeom>
          <a:solidFill>
            <a:schemeClr val="accent1"/>
          </a:solidFill>
          <a:ln w="6350">
            <a:solidFill>
              <a:schemeClr val="tx2"/>
            </a:solidFill>
            <a:round/>
            <a:headEnd/>
            <a:tailEnd/>
          </a:ln>
        </p:spPr>
        <p:txBody>
          <a:bodyPr/>
          <a:lstStyle/>
          <a:p>
            <a:endParaRPr lang="en-US"/>
          </a:p>
        </p:txBody>
      </p:sp>
      <p:sp>
        <p:nvSpPr>
          <p:cNvPr id="242" name="Freeform 1142"/>
          <p:cNvSpPr>
            <a:spLocks/>
          </p:cNvSpPr>
          <p:nvPr/>
        </p:nvSpPr>
        <p:spPr bwMode="auto">
          <a:xfrm>
            <a:off x="3732194" y="3799400"/>
            <a:ext cx="100334" cy="67505"/>
          </a:xfrm>
          <a:custGeom>
            <a:avLst/>
            <a:gdLst>
              <a:gd name="T0" fmla="*/ 2147483647 w 208"/>
              <a:gd name="T1" fmla="*/ 2147483647 h 163"/>
              <a:gd name="T2" fmla="*/ 2147483647 w 208"/>
              <a:gd name="T3" fmla="*/ 2147483647 h 163"/>
              <a:gd name="T4" fmla="*/ 2147483647 w 208"/>
              <a:gd name="T5" fmla="*/ 2147483647 h 163"/>
              <a:gd name="T6" fmla="*/ 2147483647 w 208"/>
              <a:gd name="T7" fmla="*/ 2147483647 h 163"/>
              <a:gd name="T8" fmla="*/ 2147483647 w 208"/>
              <a:gd name="T9" fmla="*/ 2147483647 h 163"/>
              <a:gd name="T10" fmla="*/ 2147483647 w 208"/>
              <a:gd name="T11" fmla="*/ 2147483647 h 163"/>
              <a:gd name="T12" fmla="*/ 2147483647 w 208"/>
              <a:gd name="T13" fmla="*/ 2147483647 h 163"/>
              <a:gd name="T14" fmla="*/ 2147483647 w 208"/>
              <a:gd name="T15" fmla="*/ 2147483647 h 163"/>
              <a:gd name="T16" fmla="*/ 2147483647 w 208"/>
              <a:gd name="T17" fmla="*/ 2147483647 h 163"/>
              <a:gd name="T18" fmla="*/ 2147483647 w 208"/>
              <a:gd name="T19" fmla="*/ 2147483647 h 163"/>
              <a:gd name="T20" fmla="*/ 2147483647 w 208"/>
              <a:gd name="T21" fmla="*/ 2147483647 h 163"/>
              <a:gd name="T22" fmla="*/ 2147483647 w 208"/>
              <a:gd name="T23" fmla="*/ 2147483647 h 163"/>
              <a:gd name="T24" fmla="*/ 2147483647 w 208"/>
              <a:gd name="T25" fmla="*/ 2147483647 h 163"/>
              <a:gd name="T26" fmla="*/ 2147483647 w 208"/>
              <a:gd name="T27" fmla="*/ 2147483647 h 163"/>
              <a:gd name="T28" fmla="*/ 2147483647 w 208"/>
              <a:gd name="T29" fmla="*/ 0 h 163"/>
              <a:gd name="T30" fmla="*/ 2147483647 w 208"/>
              <a:gd name="T31" fmla="*/ 2147483647 h 163"/>
              <a:gd name="T32" fmla="*/ 0 w 208"/>
              <a:gd name="T33" fmla="*/ 2147483647 h 163"/>
              <a:gd name="T34" fmla="*/ 2147483647 w 208"/>
              <a:gd name="T35" fmla="*/ 2147483647 h 163"/>
              <a:gd name="T36" fmla="*/ 2147483647 w 208"/>
              <a:gd name="T37" fmla="*/ 2147483647 h 163"/>
              <a:gd name="T38" fmla="*/ 2147483647 w 208"/>
              <a:gd name="T39" fmla="*/ 2147483647 h 163"/>
              <a:gd name="T40" fmla="*/ 2147483647 w 208"/>
              <a:gd name="T41" fmla="*/ 2147483647 h 163"/>
              <a:gd name="T42" fmla="*/ 2147483647 w 208"/>
              <a:gd name="T43" fmla="*/ 2147483647 h 163"/>
              <a:gd name="T44" fmla="*/ 2147483647 w 208"/>
              <a:gd name="T45" fmla="*/ 2147483647 h 163"/>
              <a:gd name="T46" fmla="*/ 2147483647 w 208"/>
              <a:gd name="T47" fmla="*/ 2147483647 h 163"/>
              <a:gd name="T48" fmla="*/ 2147483647 w 208"/>
              <a:gd name="T49" fmla="*/ 2147483647 h 163"/>
              <a:gd name="T50" fmla="*/ 2147483647 w 208"/>
              <a:gd name="T51" fmla="*/ 2147483647 h 163"/>
              <a:gd name="T52" fmla="*/ 2147483647 w 208"/>
              <a:gd name="T53" fmla="*/ 2147483647 h 163"/>
              <a:gd name="T54" fmla="*/ 2147483647 w 208"/>
              <a:gd name="T55" fmla="*/ 2147483647 h 163"/>
              <a:gd name="T56" fmla="*/ 2147483647 w 208"/>
              <a:gd name="T57" fmla="*/ 2147483647 h 1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8"/>
              <a:gd name="T88" fmla="*/ 0 h 163"/>
              <a:gd name="T89" fmla="*/ 208 w 208"/>
              <a:gd name="T90" fmla="*/ 163 h 16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8" h="163">
                <a:moveTo>
                  <a:pt x="108" y="163"/>
                </a:moveTo>
                <a:lnTo>
                  <a:pt x="108" y="158"/>
                </a:lnTo>
                <a:lnTo>
                  <a:pt x="121" y="150"/>
                </a:lnTo>
                <a:lnTo>
                  <a:pt x="116" y="137"/>
                </a:lnTo>
                <a:lnTo>
                  <a:pt x="144" y="136"/>
                </a:lnTo>
                <a:lnTo>
                  <a:pt x="181" y="107"/>
                </a:lnTo>
                <a:lnTo>
                  <a:pt x="181" y="97"/>
                </a:lnTo>
                <a:lnTo>
                  <a:pt x="208" y="70"/>
                </a:lnTo>
                <a:lnTo>
                  <a:pt x="160" y="21"/>
                </a:lnTo>
                <a:lnTo>
                  <a:pt x="112" y="21"/>
                </a:lnTo>
                <a:lnTo>
                  <a:pt x="112" y="13"/>
                </a:lnTo>
                <a:lnTo>
                  <a:pt x="106" y="5"/>
                </a:lnTo>
                <a:lnTo>
                  <a:pt x="102" y="8"/>
                </a:lnTo>
                <a:lnTo>
                  <a:pt x="101" y="3"/>
                </a:lnTo>
                <a:lnTo>
                  <a:pt x="42" y="0"/>
                </a:lnTo>
                <a:lnTo>
                  <a:pt x="11" y="10"/>
                </a:lnTo>
                <a:lnTo>
                  <a:pt x="0" y="26"/>
                </a:lnTo>
                <a:lnTo>
                  <a:pt x="14" y="38"/>
                </a:lnTo>
                <a:lnTo>
                  <a:pt x="22" y="38"/>
                </a:lnTo>
                <a:lnTo>
                  <a:pt x="35" y="66"/>
                </a:lnTo>
                <a:lnTo>
                  <a:pt x="63" y="90"/>
                </a:lnTo>
                <a:lnTo>
                  <a:pt x="62" y="96"/>
                </a:lnTo>
                <a:lnTo>
                  <a:pt x="70" y="106"/>
                </a:lnTo>
                <a:lnTo>
                  <a:pt x="81" y="113"/>
                </a:lnTo>
                <a:lnTo>
                  <a:pt x="86" y="134"/>
                </a:lnTo>
                <a:lnTo>
                  <a:pt x="93" y="138"/>
                </a:lnTo>
                <a:lnTo>
                  <a:pt x="98" y="149"/>
                </a:lnTo>
                <a:lnTo>
                  <a:pt x="97" y="158"/>
                </a:lnTo>
                <a:lnTo>
                  <a:pt x="108" y="163"/>
                </a:lnTo>
                <a:close/>
              </a:path>
            </a:pathLst>
          </a:custGeom>
          <a:solidFill>
            <a:schemeClr val="accent1"/>
          </a:solidFill>
          <a:ln w="6350">
            <a:solidFill>
              <a:schemeClr val="tx2"/>
            </a:solidFill>
            <a:round/>
            <a:headEnd/>
            <a:tailEnd/>
          </a:ln>
        </p:spPr>
        <p:txBody>
          <a:bodyPr/>
          <a:lstStyle/>
          <a:p>
            <a:endParaRPr lang="en-US"/>
          </a:p>
        </p:txBody>
      </p:sp>
      <p:sp>
        <p:nvSpPr>
          <p:cNvPr id="243" name="Freeform 1143"/>
          <p:cNvSpPr>
            <a:spLocks/>
          </p:cNvSpPr>
          <p:nvPr/>
        </p:nvSpPr>
        <p:spPr bwMode="auto">
          <a:xfrm>
            <a:off x="3885561" y="3694960"/>
            <a:ext cx="15767" cy="31842"/>
          </a:xfrm>
          <a:custGeom>
            <a:avLst/>
            <a:gdLst>
              <a:gd name="T0" fmla="*/ 0 w 35"/>
              <a:gd name="T1" fmla="*/ 2147483647 h 77"/>
              <a:gd name="T2" fmla="*/ 2147483647 w 35"/>
              <a:gd name="T3" fmla="*/ 0 h 77"/>
              <a:gd name="T4" fmla="*/ 2147483647 w 35"/>
              <a:gd name="T5" fmla="*/ 2147483647 h 77"/>
              <a:gd name="T6" fmla="*/ 2147483647 w 35"/>
              <a:gd name="T7" fmla="*/ 2147483647 h 77"/>
              <a:gd name="T8" fmla="*/ 2147483647 w 35"/>
              <a:gd name="T9" fmla="*/ 2147483647 h 77"/>
              <a:gd name="T10" fmla="*/ 2147483647 w 35"/>
              <a:gd name="T11" fmla="*/ 2147483647 h 77"/>
              <a:gd name="T12" fmla="*/ 2147483647 w 35"/>
              <a:gd name="T13" fmla="*/ 2147483647 h 77"/>
              <a:gd name="T14" fmla="*/ 2147483647 w 35"/>
              <a:gd name="T15" fmla="*/ 2147483647 h 77"/>
              <a:gd name="T16" fmla="*/ 2147483647 w 35"/>
              <a:gd name="T17" fmla="*/ 2147483647 h 77"/>
              <a:gd name="T18" fmla="*/ 0 w 35"/>
              <a:gd name="T19" fmla="*/ 2147483647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77"/>
              <a:gd name="T32" fmla="*/ 35 w 35"/>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77">
                <a:moveTo>
                  <a:pt x="0" y="7"/>
                </a:moveTo>
                <a:lnTo>
                  <a:pt x="6" y="0"/>
                </a:lnTo>
                <a:lnTo>
                  <a:pt x="17" y="3"/>
                </a:lnTo>
                <a:lnTo>
                  <a:pt x="9" y="12"/>
                </a:lnTo>
                <a:lnTo>
                  <a:pt x="10" y="22"/>
                </a:lnTo>
                <a:lnTo>
                  <a:pt x="31" y="59"/>
                </a:lnTo>
                <a:lnTo>
                  <a:pt x="35" y="72"/>
                </a:lnTo>
                <a:lnTo>
                  <a:pt x="32" y="77"/>
                </a:lnTo>
                <a:lnTo>
                  <a:pt x="3" y="76"/>
                </a:lnTo>
                <a:lnTo>
                  <a:pt x="0" y="7"/>
                </a:lnTo>
                <a:close/>
              </a:path>
            </a:pathLst>
          </a:custGeom>
          <a:solidFill>
            <a:schemeClr val="accent1"/>
          </a:solidFill>
          <a:ln w="6350">
            <a:solidFill>
              <a:schemeClr val="tx2"/>
            </a:solidFill>
            <a:round/>
            <a:headEnd/>
            <a:tailEnd/>
          </a:ln>
        </p:spPr>
        <p:txBody>
          <a:bodyPr/>
          <a:lstStyle/>
          <a:p>
            <a:endParaRPr lang="en-US"/>
          </a:p>
        </p:txBody>
      </p:sp>
      <p:sp>
        <p:nvSpPr>
          <p:cNvPr id="244" name="Freeform 1144"/>
          <p:cNvSpPr>
            <a:spLocks/>
          </p:cNvSpPr>
          <p:nvPr/>
        </p:nvSpPr>
        <p:spPr bwMode="auto">
          <a:xfrm>
            <a:off x="3881262" y="3735717"/>
            <a:ext cx="14334" cy="20378"/>
          </a:xfrm>
          <a:custGeom>
            <a:avLst/>
            <a:gdLst>
              <a:gd name="T0" fmla="*/ 2147483647 w 31"/>
              <a:gd name="T1" fmla="*/ 2147483647 h 47"/>
              <a:gd name="T2" fmla="*/ 2147483647 w 31"/>
              <a:gd name="T3" fmla="*/ 2147483647 h 47"/>
              <a:gd name="T4" fmla="*/ 2147483647 w 31"/>
              <a:gd name="T5" fmla="*/ 2147483647 h 47"/>
              <a:gd name="T6" fmla="*/ 0 w 31"/>
              <a:gd name="T7" fmla="*/ 2147483647 h 47"/>
              <a:gd name="T8" fmla="*/ 2147483647 w 31"/>
              <a:gd name="T9" fmla="*/ 2147483647 h 47"/>
              <a:gd name="T10" fmla="*/ 2147483647 w 31"/>
              <a:gd name="T11" fmla="*/ 2147483647 h 47"/>
              <a:gd name="T12" fmla="*/ 2147483647 w 31"/>
              <a:gd name="T13" fmla="*/ 2147483647 h 47"/>
              <a:gd name="T14" fmla="*/ 2147483647 w 31"/>
              <a:gd name="T15" fmla="*/ 0 h 47"/>
              <a:gd name="T16" fmla="*/ 2147483647 w 31"/>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47"/>
              <a:gd name="T29" fmla="*/ 31 w 31"/>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47">
                <a:moveTo>
                  <a:pt x="11" y="3"/>
                </a:moveTo>
                <a:lnTo>
                  <a:pt x="14" y="5"/>
                </a:lnTo>
                <a:lnTo>
                  <a:pt x="13" y="9"/>
                </a:lnTo>
                <a:lnTo>
                  <a:pt x="0" y="31"/>
                </a:lnTo>
                <a:lnTo>
                  <a:pt x="4" y="47"/>
                </a:lnTo>
                <a:lnTo>
                  <a:pt x="12" y="41"/>
                </a:lnTo>
                <a:lnTo>
                  <a:pt x="18" y="22"/>
                </a:lnTo>
                <a:lnTo>
                  <a:pt x="31" y="0"/>
                </a:lnTo>
                <a:lnTo>
                  <a:pt x="11" y="3"/>
                </a:lnTo>
                <a:close/>
              </a:path>
            </a:pathLst>
          </a:custGeom>
          <a:solidFill>
            <a:schemeClr val="accent1"/>
          </a:solidFill>
          <a:ln w="6350">
            <a:solidFill>
              <a:schemeClr val="tx2"/>
            </a:solidFill>
            <a:round/>
            <a:headEnd/>
            <a:tailEnd/>
          </a:ln>
        </p:spPr>
        <p:txBody>
          <a:bodyPr/>
          <a:lstStyle/>
          <a:p>
            <a:endParaRPr lang="en-US"/>
          </a:p>
        </p:txBody>
      </p:sp>
      <p:sp>
        <p:nvSpPr>
          <p:cNvPr id="245" name="Freeform 1145"/>
          <p:cNvSpPr>
            <a:spLocks/>
          </p:cNvSpPr>
          <p:nvPr/>
        </p:nvSpPr>
        <p:spPr bwMode="auto">
          <a:xfrm>
            <a:off x="2017921" y="2619993"/>
            <a:ext cx="603436" cy="673764"/>
          </a:xfrm>
          <a:custGeom>
            <a:avLst/>
            <a:gdLst>
              <a:gd name="T0" fmla="*/ 2147483647 w 1287"/>
              <a:gd name="T1" fmla="*/ 2147483647 h 1612"/>
              <a:gd name="T2" fmla="*/ 2147483647 w 1287"/>
              <a:gd name="T3" fmla="*/ 2147483647 h 1612"/>
              <a:gd name="T4" fmla="*/ 2147483647 w 1287"/>
              <a:gd name="T5" fmla="*/ 2147483647 h 1612"/>
              <a:gd name="T6" fmla="*/ 2147483647 w 1287"/>
              <a:gd name="T7" fmla="*/ 2147483647 h 1612"/>
              <a:gd name="T8" fmla="*/ 2147483647 w 1287"/>
              <a:gd name="T9" fmla="*/ 2147483647 h 1612"/>
              <a:gd name="T10" fmla="*/ 2147483647 w 1287"/>
              <a:gd name="T11" fmla="*/ 2147483647 h 1612"/>
              <a:gd name="T12" fmla="*/ 2147483647 w 1287"/>
              <a:gd name="T13" fmla="*/ 2147483647 h 1612"/>
              <a:gd name="T14" fmla="*/ 2147483647 w 1287"/>
              <a:gd name="T15" fmla="*/ 2147483647 h 1612"/>
              <a:gd name="T16" fmla="*/ 2147483647 w 1287"/>
              <a:gd name="T17" fmla="*/ 2147483647 h 1612"/>
              <a:gd name="T18" fmla="*/ 2147483647 w 1287"/>
              <a:gd name="T19" fmla="*/ 2147483647 h 1612"/>
              <a:gd name="T20" fmla="*/ 2147483647 w 1287"/>
              <a:gd name="T21" fmla="*/ 2147483647 h 1612"/>
              <a:gd name="T22" fmla="*/ 2147483647 w 1287"/>
              <a:gd name="T23" fmla="*/ 2147483647 h 1612"/>
              <a:gd name="T24" fmla="*/ 2147483647 w 1287"/>
              <a:gd name="T25" fmla="*/ 2147483647 h 1612"/>
              <a:gd name="T26" fmla="*/ 2147483647 w 1287"/>
              <a:gd name="T27" fmla="*/ 2147483647 h 1612"/>
              <a:gd name="T28" fmla="*/ 2147483647 w 1287"/>
              <a:gd name="T29" fmla="*/ 2147483647 h 1612"/>
              <a:gd name="T30" fmla="*/ 2147483647 w 1287"/>
              <a:gd name="T31" fmla="*/ 2147483647 h 1612"/>
              <a:gd name="T32" fmla="*/ 2147483647 w 1287"/>
              <a:gd name="T33" fmla="*/ 2147483647 h 1612"/>
              <a:gd name="T34" fmla="*/ 2147483647 w 1287"/>
              <a:gd name="T35" fmla="*/ 2147483647 h 1612"/>
              <a:gd name="T36" fmla="*/ 2147483647 w 1287"/>
              <a:gd name="T37" fmla="*/ 2147483647 h 1612"/>
              <a:gd name="T38" fmla="*/ 2147483647 w 1287"/>
              <a:gd name="T39" fmla="*/ 2147483647 h 1612"/>
              <a:gd name="T40" fmla="*/ 2147483647 w 1287"/>
              <a:gd name="T41" fmla="*/ 2147483647 h 1612"/>
              <a:gd name="T42" fmla="*/ 2147483647 w 1287"/>
              <a:gd name="T43" fmla="*/ 2147483647 h 1612"/>
              <a:gd name="T44" fmla="*/ 2147483647 w 1287"/>
              <a:gd name="T45" fmla="*/ 2147483647 h 1612"/>
              <a:gd name="T46" fmla="*/ 2147483647 w 1287"/>
              <a:gd name="T47" fmla="*/ 2147483647 h 1612"/>
              <a:gd name="T48" fmla="*/ 2147483647 w 1287"/>
              <a:gd name="T49" fmla="*/ 2147483647 h 1612"/>
              <a:gd name="T50" fmla="*/ 2147483647 w 1287"/>
              <a:gd name="T51" fmla="*/ 2147483647 h 1612"/>
              <a:gd name="T52" fmla="*/ 2147483647 w 1287"/>
              <a:gd name="T53" fmla="*/ 2147483647 h 1612"/>
              <a:gd name="T54" fmla="*/ 2147483647 w 1287"/>
              <a:gd name="T55" fmla="*/ 2147483647 h 1612"/>
              <a:gd name="T56" fmla="*/ 2147483647 w 1287"/>
              <a:gd name="T57" fmla="*/ 2147483647 h 1612"/>
              <a:gd name="T58" fmla="*/ 2147483647 w 1287"/>
              <a:gd name="T59" fmla="*/ 2147483647 h 1612"/>
              <a:gd name="T60" fmla="*/ 2147483647 w 1287"/>
              <a:gd name="T61" fmla="*/ 2147483647 h 1612"/>
              <a:gd name="T62" fmla="*/ 2147483647 w 1287"/>
              <a:gd name="T63" fmla="*/ 2147483647 h 1612"/>
              <a:gd name="T64" fmla="*/ 2147483647 w 1287"/>
              <a:gd name="T65" fmla="*/ 2147483647 h 1612"/>
              <a:gd name="T66" fmla="*/ 2147483647 w 1287"/>
              <a:gd name="T67" fmla="*/ 2147483647 h 1612"/>
              <a:gd name="T68" fmla="*/ 2147483647 w 1287"/>
              <a:gd name="T69" fmla="*/ 2147483647 h 1612"/>
              <a:gd name="T70" fmla="*/ 2147483647 w 1287"/>
              <a:gd name="T71" fmla="*/ 2147483647 h 1612"/>
              <a:gd name="T72" fmla="*/ 2147483647 w 1287"/>
              <a:gd name="T73" fmla="*/ 2147483647 h 1612"/>
              <a:gd name="T74" fmla="*/ 2147483647 w 1287"/>
              <a:gd name="T75" fmla="*/ 2147483647 h 1612"/>
              <a:gd name="T76" fmla="*/ 2147483647 w 1287"/>
              <a:gd name="T77" fmla="*/ 2147483647 h 1612"/>
              <a:gd name="T78" fmla="*/ 2147483647 w 1287"/>
              <a:gd name="T79" fmla="*/ 2147483647 h 1612"/>
              <a:gd name="T80" fmla="*/ 2147483647 w 1287"/>
              <a:gd name="T81" fmla="*/ 2147483647 h 1612"/>
              <a:gd name="T82" fmla="*/ 2147483647 w 1287"/>
              <a:gd name="T83" fmla="*/ 2147483647 h 1612"/>
              <a:gd name="T84" fmla="*/ 2147483647 w 1287"/>
              <a:gd name="T85" fmla="*/ 2147483647 h 1612"/>
              <a:gd name="T86" fmla="*/ 2147483647 w 1287"/>
              <a:gd name="T87" fmla="*/ 2147483647 h 1612"/>
              <a:gd name="T88" fmla="*/ 2147483647 w 1287"/>
              <a:gd name="T89" fmla="*/ 2147483647 h 1612"/>
              <a:gd name="T90" fmla="*/ 2147483647 w 1287"/>
              <a:gd name="T91" fmla="*/ 2147483647 h 1612"/>
              <a:gd name="T92" fmla="*/ 2147483647 w 1287"/>
              <a:gd name="T93" fmla="*/ 2147483647 h 1612"/>
              <a:gd name="T94" fmla="*/ 2147483647 w 1287"/>
              <a:gd name="T95" fmla="*/ 2147483647 h 1612"/>
              <a:gd name="T96" fmla="*/ 2147483647 w 1287"/>
              <a:gd name="T97" fmla="*/ 2147483647 h 1612"/>
              <a:gd name="T98" fmla="*/ 2147483647 w 1287"/>
              <a:gd name="T99" fmla="*/ 2147483647 h 1612"/>
              <a:gd name="T100" fmla="*/ 2147483647 w 1287"/>
              <a:gd name="T101" fmla="*/ 2147483647 h 1612"/>
              <a:gd name="T102" fmla="*/ 2147483647 w 1287"/>
              <a:gd name="T103" fmla="*/ 2147483647 h 1612"/>
              <a:gd name="T104" fmla="*/ 2147483647 w 1287"/>
              <a:gd name="T105" fmla="*/ 2147483647 h 1612"/>
              <a:gd name="T106" fmla="*/ 2147483647 w 1287"/>
              <a:gd name="T107" fmla="*/ 2147483647 h 1612"/>
              <a:gd name="T108" fmla="*/ 2147483647 w 1287"/>
              <a:gd name="T109" fmla="*/ 2147483647 h 1612"/>
              <a:gd name="T110" fmla="*/ 2147483647 w 1287"/>
              <a:gd name="T111" fmla="*/ 2147483647 h 1612"/>
              <a:gd name="T112" fmla="*/ 2147483647 w 1287"/>
              <a:gd name="T113" fmla="*/ 2147483647 h 1612"/>
              <a:gd name="T114" fmla="*/ 2147483647 w 1287"/>
              <a:gd name="T115" fmla="*/ 2147483647 h 161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87"/>
              <a:gd name="T175" fmla="*/ 0 h 1612"/>
              <a:gd name="T176" fmla="*/ 1287 w 1287"/>
              <a:gd name="T177" fmla="*/ 1612 h 161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87" h="1612">
                <a:moveTo>
                  <a:pt x="1287" y="1251"/>
                </a:moveTo>
                <a:lnTo>
                  <a:pt x="1248" y="1204"/>
                </a:lnTo>
                <a:lnTo>
                  <a:pt x="1244" y="1200"/>
                </a:lnTo>
                <a:lnTo>
                  <a:pt x="1247" y="1177"/>
                </a:lnTo>
                <a:lnTo>
                  <a:pt x="1220" y="1177"/>
                </a:lnTo>
                <a:lnTo>
                  <a:pt x="1211" y="1190"/>
                </a:lnTo>
                <a:lnTo>
                  <a:pt x="1194" y="1179"/>
                </a:lnTo>
                <a:lnTo>
                  <a:pt x="1183" y="1189"/>
                </a:lnTo>
                <a:lnTo>
                  <a:pt x="1168" y="1178"/>
                </a:lnTo>
                <a:lnTo>
                  <a:pt x="1168" y="1127"/>
                </a:lnTo>
                <a:lnTo>
                  <a:pt x="1168" y="1075"/>
                </a:lnTo>
                <a:lnTo>
                  <a:pt x="1168" y="1021"/>
                </a:lnTo>
                <a:lnTo>
                  <a:pt x="1168" y="965"/>
                </a:lnTo>
                <a:lnTo>
                  <a:pt x="1168" y="911"/>
                </a:lnTo>
                <a:lnTo>
                  <a:pt x="1168" y="854"/>
                </a:lnTo>
                <a:lnTo>
                  <a:pt x="1168" y="796"/>
                </a:lnTo>
                <a:lnTo>
                  <a:pt x="1168" y="736"/>
                </a:lnTo>
                <a:lnTo>
                  <a:pt x="1168" y="676"/>
                </a:lnTo>
                <a:lnTo>
                  <a:pt x="1168" y="614"/>
                </a:lnTo>
                <a:lnTo>
                  <a:pt x="1168" y="550"/>
                </a:lnTo>
                <a:lnTo>
                  <a:pt x="1168" y="486"/>
                </a:lnTo>
                <a:lnTo>
                  <a:pt x="1168" y="419"/>
                </a:lnTo>
                <a:lnTo>
                  <a:pt x="1168" y="351"/>
                </a:lnTo>
                <a:lnTo>
                  <a:pt x="1168" y="281"/>
                </a:lnTo>
                <a:lnTo>
                  <a:pt x="1168" y="209"/>
                </a:lnTo>
                <a:lnTo>
                  <a:pt x="1160" y="207"/>
                </a:lnTo>
                <a:lnTo>
                  <a:pt x="1155" y="219"/>
                </a:lnTo>
                <a:lnTo>
                  <a:pt x="1072" y="158"/>
                </a:lnTo>
                <a:lnTo>
                  <a:pt x="1061" y="159"/>
                </a:lnTo>
                <a:lnTo>
                  <a:pt x="1059" y="172"/>
                </a:lnTo>
                <a:lnTo>
                  <a:pt x="1049" y="161"/>
                </a:lnTo>
                <a:lnTo>
                  <a:pt x="983" y="175"/>
                </a:lnTo>
                <a:lnTo>
                  <a:pt x="952" y="153"/>
                </a:lnTo>
                <a:lnTo>
                  <a:pt x="910" y="156"/>
                </a:lnTo>
                <a:lnTo>
                  <a:pt x="810" y="111"/>
                </a:lnTo>
                <a:lnTo>
                  <a:pt x="766" y="123"/>
                </a:lnTo>
                <a:lnTo>
                  <a:pt x="773" y="118"/>
                </a:lnTo>
                <a:lnTo>
                  <a:pt x="767" y="111"/>
                </a:lnTo>
                <a:lnTo>
                  <a:pt x="706" y="116"/>
                </a:lnTo>
                <a:lnTo>
                  <a:pt x="714" y="104"/>
                </a:lnTo>
                <a:lnTo>
                  <a:pt x="697" y="100"/>
                </a:lnTo>
                <a:lnTo>
                  <a:pt x="683" y="90"/>
                </a:lnTo>
                <a:lnTo>
                  <a:pt x="690" y="69"/>
                </a:lnTo>
                <a:lnTo>
                  <a:pt x="662" y="63"/>
                </a:lnTo>
                <a:lnTo>
                  <a:pt x="664" y="75"/>
                </a:lnTo>
                <a:lnTo>
                  <a:pt x="656" y="75"/>
                </a:lnTo>
                <a:lnTo>
                  <a:pt x="642" y="53"/>
                </a:lnTo>
                <a:lnTo>
                  <a:pt x="599" y="71"/>
                </a:lnTo>
                <a:lnTo>
                  <a:pt x="581" y="62"/>
                </a:lnTo>
                <a:lnTo>
                  <a:pt x="585" y="55"/>
                </a:lnTo>
                <a:lnTo>
                  <a:pt x="577" y="36"/>
                </a:lnTo>
                <a:lnTo>
                  <a:pt x="563" y="30"/>
                </a:lnTo>
                <a:lnTo>
                  <a:pt x="547" y="45"/>
                </a:lnTo>
                <a:lnTo>
                  <a:pt x="546" y="56"/>
                </a:lnTo>
                <a:lnTo>
                  <a:pt x="554" y="81"/>
                </a:lnTo>
                <a:lnTo>
                  <a:pt x="546" y="81"/>
                </a:lnTo>
                <a:lnTo>
                  <a:pt x="541" y="68"/>
                </a:lnTo>
                <a:lnTo>
                  <a:pt x="508" y="67"/>
                </a:lnTo>
                <a:lnTo>
                  <a:pt x="514" y="51"/>
                </a:lnTo>
                <a:lnTo>
                  <a:pt x="541" y="38"/>
                </a:lnTo>
                <a:lnTo>
                  <a:pt x="541" y="26"/>
                </a:lnTo>
                <a:lnTo>
                  <a:pt x="492" y="0"/>
                </a:lnTo>
                <a:lnTo>
                  <a:pt x="478" y="18"/>
                </a:lnTo>
                <a:lnTo>
                  <a:pt x="480" y="26"/>
                </a:lnTo>
                <a:lnTo>
                  <a:pt x="439" y="67"/>
                </a:lnTo>
                <a:lnTo>
                  <a:pt x="386" y="72"/>
                </a:lnTo>
                <a:lnTo>
                  <a:pt x="390" y="75"/>
                </a:lnTo>
                <a:lnTo>
                  <a:pt x="383" y="79"/>
                </a:lnTo>
                <a:lnTo>
                  <a:pt x="385" y="89"/>
                </a:lnTo>
                <a:lnTo>
                  <a:pt x="371" y="80"/>
                </a:lnTo>
                <a:lnTo>
                  <a:pt x="393" y="57"/>
                </a:lnTo>
                <a:lnTo>
                  <a:pt x="355" y="79"/>
                </a:lnTo>
                <a:lnTo>
                  <a:pt x="345" y="91"/>
                </a:lnTo>
                <a:lnTo>
                  <a:pt x="372" y="109"/>
                </a:lnTo>
                <a:lnTo>
                  <a:pt x="355" y="113"/>
                </a:lnTo>
                <a:lnTo>
                  <a:pt x="351" y="143"/>
                </a:lnTo>
                <a:lnTo>
                  <a:pt x="347" y="127"/>
                </a:lnTo>
                <a:lnTo>
                  <a:pt x="340" y="132"/>
                </a:lnTo>
                <a:lnTo>
                  <a:pt x="348" y="109"/>
                </a:lnTo>
                <a:lnTo>
                  <a:pt x="340" y="99"/>
                </a:lnTo>
                <a:lnTo>
                  <a:pt x="265" y="157"/>
                </a:lnTo>
                <a:lnTo>
                  <a:pt x="272" y="139"/>
                </a:lnTo>
                <a:lnTo>
                  <a:pt x="264" y="138"/>
                </a:lnTo>
                <a:lnTo>
                  <a:pt x="254" y="166"/>
                </a:lnTo>
                <a:lnTo>
                  <a:pt x="245" y="170"/>
                </a:lnTo>
                <a:lnTo>
                  <a:pt x="224" y="198"/>
                </a:lnTo>
                <a:lnTo>
                  <a:pt x="220" y="208"/>
                </a:lnTo>
                <a:lnTo>
                  <a:pt x="214" y="249"/>
                </a:lnTo>
                <a:lnTo>
                  <a:pt x="211" y="240"/>
                </a:lnTo>
                <a:lnTo>
                  <a:pt x="197" y="279"/>
                </a:lnTo>
                <a:lnTo>
                  <a:pt x="177" y="297"/>
                </a:lnTo>
                <a:lnTo>
                  <a:pt x="80" y="311"/>
                </a:lnTo>
                <a:lnTo>
                  <a:pt x="78" y="355"/>
                </a:lnTo>
                <a:lnTo>
                  <a:pt x="85" y="355"/>
                </a:lnTo>
                <a:lnTo>
                  <a:pt x="54" y="371"/>
                </a:lnTo>
                <a:lnTo>
                  <a:pt x="162" y="448"/>
                </a:lnTo>
                <a:lnTo>
                  <a:pt x="181" y="469"/>
                </a:lnTo>
                <a:lnTo>
                  <a:pt x="192" y="515"/>
                </a:lnTo>
                <a:lnTo>
                  <a:pt x="228" y="530"/>
                </a:lnTo>
                <a:lnTo>
                  <a:pt x="230" y="516"/>
                </a:lnTo>
                <a:lnTo>
                  <a:pt x="243" y="511"/>
                </a:lnTo>
                <a:lnTo>
                  <a:pt x="240" y="527"/>
                </a:lnTo>
                <a:lnTo>
                  <a:pt x="243" y="531"/>
                </a:lnTo>
                <a:lnTo>
                  <a:pt x="278" y="525"/>
                </a:lnTo>
                <a:lnTo>
                  <a:pt x="284" y="531"/>
                </a:lnTo>
                <a:lnTo>
                  <a:pt x="269" y="552"/>
                </a:lnTo>
                <a:lnTo>
                  <a:pt x="291" y="577"/>
                </a:lnTo>
                <a:lnTo>
                  <a:pt x="296" y="561"/>
                </a:lnTo>
                <a:lnTo>
                  <a:pt x="298" y="570"/>
                </a:lnTo>
                <a:lnTo>
                  <a:pt x="326" y="573"/>
                </a:lnTo>
                <a:lnTo>
                  <a:pt x="368" y="562"/>
                </a:lnTo>
                <a:lnTo>
                  <a:pt x="371" y="574"/>
                </a:lnTo>
                <a:lnTo>
                  <a:pt x="322" y="595"/>
                </a:lnTo>
                <a:lnTo>
                  <a:pt x="298" y="578"/>
                </a:lnTo>
                <a:lnTo>
                  <a:pt x="276" y="583"/>
                </a:lnTo>
                <a:lnTo>
                  <a:pt x="261" y="562"/>
                </a:lnTo>
                <a:lnTo>
                  <a:pt x="270" y="584"/>
                </a:lnTo>
                <a:lnTo>
                  <a:pt x="266" y="601"/>
                </a:lnTo>
                <a:lnTo>
                  <a:pt x="272" y="603"/>
                </a:lnTo>
                <a:lnTo>
                  <a:pt x="274" y="591"/>
                </a:lnTo>
                <a:lnTo>
                  <a:pt x="310" y="605"/>
                </a:lnTo>
                <a:lnTo>
                  <a:pt x="302" y="620"/>
                </a:lnTo>
                <a:lnTo>
                  <a:pt x="301" y="610"/>
                </a:lnTo>
                <a:lnTo>
                  <a:pt x="285" y="604"/>
                </a:lnTo>
                <a:lnTo>
                  <a:pt x="271" y="638"/>
                </a:lnTo>
                <a:lnTo>
                  <a:pt x="260" y="627"/>
                </a:lnTo>
                <a:lnTo>
                  <a:pt x="193" y="627"/>
                </a:lnTo>
                <a:lnTo>
                  <a:pt x="174" y="612"/>
                </a:lnTo>
                <a:lnTo>
                  <a:pt x="187" y="602"/>
                </a:lnTo>
                <a:lnTo>
                  <a:pt x="186" y="577"/>
                </a:lnTo>
                <a:lnTo>
                  <a:pt x="193" y="569"/>
                </a:lnTo>
                <a:lnTo>
                  <a:pt x="148" y="571"/>
                </a:lnTo>
                <a:lnTo>
                  <a:pt x="99" y="606"/>
                </a:lnTo>
                <a:lnTo>
                  <a:pt x="112" y="619"/>
                </a:lnTo>
                <a:lnTo>
                  <a:pt x="79" y="616"/>
                </a:lnTo>
                <a:lnTo>
                  <a:pt x="49" y="645"/>
                </a:lnTo>
                <a:lnTo>
                  <a:pt x="28" y="650"/>
                </a:lnTo>
                <a:lnTo>
                  <a:pt x="27" y="660"/>
                </a:lnTo>
                <a:lnTo>
                  <a:pt x="0" y="666"/>
                </a:lnTo>
                <a:lnTo>
                  <a:pt x="33" y="698"/>
                </a:lnTo>
                <a:lnTo>
                  <a:pt x="84" y="708"/>
                </a:lnTo>
                <a:lnTo>
                  <a:pt x="64" y="723"/>
                </a:lnTo>
                <a:lnTo>
                  <a:pt x="56" y="711"/>
                </a:lnTo>
                <a:lnTo>
                  <a:pt x="53" y="718"/>
                </a:lnTo>
                <a:lnTo>
                  <a:pt x="72" y="746"/>
                </a:lnTo>
                <a:lnTo>
                  <a:pt x="70" y="765"/>
                </a:lnTo>
                <a:lnTo>
                  <a:pt x="85" y="781"/>
                </a:lnTo>
                <a:lnTo>
                  <a:pt x="141" y="794"/>
                </a:lnTo>
                <a:lnTo>
                  <a:pt x="194" y="781"/>
                </a:lnTo>
                <a:lnTo>
                  <a:pt x="216" y="798"/>
                </a:lnTo>
                <a:lnTo>
                  <a:pt x="219" y="787"/>
                </a:lnTo>
                <a:lnTo>
                  <a:pt x="204" y="776"/>
                </a:lnTo>
                <a:lnTo>
                  <a:pt x="215" y="775"/>
                </a:lnTo>
                <a:lnTo>
                  <a:pt x="227" y="787"/>
                </a:lnTo>
                <a:lnTo>
                  <a:pt x="233" y="809"/>
                </a:lnTo>
                <a:lnTo>
                  <a:pt x="245" y="786"/>
                </a:lnTo>
                <a:lnTo>
                  <a:pt x="274" y="756"/>
                </a:lnTo>
                <a:lnTo>
                  <a:pt x="291" y="760"/>
                </a:lnTo>
                <a:lnTo>
                  <a:pt x="306" y="748"/>
                </a:lnTo>
                <a:lnTo>
                  <a:pt x="318" y="760"/>
                </a:lnTo>
                <a:lnTo>
                  <a:pt x="310" y="787"/>
                </a:lnTo>
                <a:lnTo>
                  <a:pt x="286" y="786"/>
                </a:lnTo>
                <a:lnTo>
                  <a:pt x="288" y="800"/>
                </a:lnTo>
                <a:lnTo>
                  <a:pt x="299" y="799"/>
                </a:lnTo>
                <a:lnTo>
                  <a:pt x="316" y="845"/>
                </a:lnTo>
                <a:lnTo>
                  <a:pt x="316" y="861"/>
                </a:lnTo>
                <a:lnTo>
                  <a:pt x="304" y="882"/>
                </a:lnTo>
                <a:lnTo>
                  <a:pt x="256" y="896"/>
                </a:lnTo>
                <a:lnTo>
                  <a:pt x="261" y="888"/>
                </a:lnTo>
                <a:lnTo>
                  <a:pt x="252" y="886"/>
                </a:lnTo>
                <a:lnTo>
                  <a:pt x="220" y="928"/>
                </a:lnTo>
                <a:lnTo>
                  <a:pt x="200" y="924"/>
                </a:lnTo>
                <a:lnTo>
                  <a:pt x="189" y="933"/>
                </a:lnTo>
                <a:lnTo>
                  <a:pt x="172" y="943"/>
                </a:lnTo>
                <a:lnTo>
                  <a:pt x="172" y="959"/>
                </a:lnTo>
                <a:lnTo>
                  <a:pt x="149" y="959"/>
                </a:lnTo>
                <a:lnTo>
                  <a:pt x="112" y="993"/>
                </a:lnTo>
                <a:lnTo>
                  <a:pt x="100" y="1019"/>
                </a:lnTo>
                <a:lnTo>
                  <a:pt x="100" y="1037"/>
                </a:lnTo>
                <a:lnTo>
                  <a:pt x="84" y="1044"/>
                </a:lnTo>
                <a:lnTo>
                  <a:pt x="92" y="1055"/>
                </a:lnTo>
                <a:lnTo>
                  <a:pt x="82" y="1060"/>
                </a:lnTo>
                <a:lnTo>
                  <a:pt x="79" y="1072"/>
                </a:lnTo>
                <a:lnTo>
                  <a:pt x="119" y="1063"/>
                </a:lnTo>
                <a:lnTo>
                  <a:pt x="122" y="1066"/>
                </a:lnTo>
                <a:lnTo>
                  <a:pt x="98" y="1071"/>
                </a:lnTo>
                <a:lnTo>
                  <a:pt x="93" y="1081"/>
                </a:lnTo>
                <a:lnTo>
                  <a:pt x="104" y="1088"/>
                </a:lnTo>
                <a:lnTo>
                  <a:pt x="119" y="1082"/>
                </a:lnTo>
                <a:lnTo>
                  <a:pt x="114" y="1093"/>
                </a:lnTo>
                <a:lnTo>
                  <a:pt x="123" y="1117"/>
                </a:lnTo>
                <a:lnTo>
                  <a:pt x="137" y="1107"/>
                </a:lnTo>
                <a:lnTo>
                  <a:pt x="141" y="1115"/>
                </a:lnTo>
                <a:lnTo>
                  <a:pt x="152" y="1114"/>
                </a:lnTo>
                <a:lnTo>
                  <a:pt x="145" y="1126"/>
                </a:lnTo>
                <a:lnTo>
                  <a:pt x="154" y="1130"/>
                </a:lnTo>
                <a:lnTo>
                  <a:pt x="188" y="1129"/>
                </a:lnTo>
                <a:lnTo>
                  <a:pt x="190" y="1138"/>
                </a:lnTo>
                <a:lnTo>
                  <a:pt x="173" y="1148"/>
                </a:lnTo>
                <a:lnTo>
                  <a:pt x="153" y="1180"/>
                </a:lnTo>
                <a:lnTo>
                  <a:pt x="160" y="1202"/>
                </a:lnTo>
                <a:lnTo>
                  <a:pt x="176" y="1198"/>
                </a:lnTo>
                <a:lnTo>
                  <a:pt x="176" y="1206"/>
                </a:lnTo>
                <a:lnTo>
                  <a:pt x="169" y="1213"/>
                </a:lnTo>
                <a:lnTo>
                  <a:pt x="183" y="1227"/>
                </a:lnTo>
                <a:lnTo>
                  <a:pt x="216" y="1232"/>
                </a:lnTo>
                <a:lnTo>
                  <a:pt x="246" y="1191"/>
                </a:lnTo>
                <a:lnTo>
                  <a:pt x="235" y="1173"/>
                </a:lnTo>
                <a:lnTo>
                  <a:pt x="250" y="1151"/>
                </a:lnTo>
                <a:lnTo>
                  <a:pt x="283" y="1130"/>
                </a:lnTo>
                <a:lnTo>
                  <a:pt x="244" y="1177"/>
                </a:lnTo>
                <a:lnTo>
                  <a:pt x="273" y="1242"/>
                </a:lnTo>
                <a:lnTo>
                  <a:pt x="261" y="1269"/>
                </a:lnTo>
                <a:lnTo>
                  <a:pt x="265" y="1280"/>
                </a:lnTo>
                <a:lnTo>
                  <a:pt x="279" y="1279"/>
                </a:lnTo>
                <a:lnTo>
                  <a:pt x="271" y="1287"/>
                </a:lnTo>
                <a:lnTo>
                  <a:pt x="272" y="1300"/>
                </a:lnTo>
                <a:lnTo>
                  <a:pt x="279" y="1303"/>
                </a:lnTo>
                <a:lnTo>
                  <a:pt x="256" y="1317"/>
                </a:lnTo>
                <a:lnTo>
                  <a:pt x="271" y="1319"/>
                </a:lnTo>
                <a:lnTo>
                  <a:pt x="314" y="1294"/>
                </a:lnTo>
                <a:lnTo>
                  <a:pt x="335" y="1264"/>
                </a:lnTo>
                <a:lnTo>
                  <a:pt x="334" y="1292"/>
                </a:lnTo>
                <a:lnTo>
                  <a:pt x="350" y="1303"/>
                </a:lnTo>
                <a:lnTo>
                  <a:pt x="366" y="1296"/>
                </a:lnTo>
                <a:lnTo>
                  <a:pt x="391" y="1337"/>
                </a:lnTo>
                <a:lnTo>
                  <a:pt x="400" y="1329"/>
                </a:lnTo>
                <a:lnTo>
                  <a:pt x="396" y="1308"/>
                </a:lnTo>
                <a:lnTo>
                  <a:pt x="410" y="1287"/>
                </a:lnTo>
                <a:lnTo>
                  <a:pt x="414" y="1291"/>
                </a:lnTo>
                <a:lnTo>
                  <a:pt x="410" y="1302"/>
                </a:lnTo>
                <a:lnTo>
                  <a:pt x="431" y="1316"/>
                </a:lnTo>
                <a:lnTo>
                  <a:pt x="488" y="1281"/>
                </a:lnTo>
                <a:lnTo>
                  <a:pt x="471" y="1304"/>
                </a:lnTo>
                <a:lnTo>
                  <a:pt x="474" y="1307"/>
                </a:lnTo>
                <a:lnTo>
                  <a:pt x="459" y="1322"/>
                </a:lnTo>
                <a:lnTo>
                  <a:pt x="455" y="1344"/>
                </a:lnTo>
                <a:lnTo>
                  <a:pt x="463" y="1345"/>
                </a:lnTo>
                <a:lnTo>
                  <a:pt x="453" y="1357"/>
                </a:lnTo>
                <a:lnTo>
                  <a:pt x="446" y="1399"/>
                </a:lnTo>
                <a:lnTo>
                  <a:pt x="432" y="1423"/>
                </a:lnTo>
                <a:lnTo>
                  <a:pt x="424" y="1421"/>
                </a:lnTo>
                <a:lnTo>
                  <a:pt x="410" y="1440"/>
                </a:lnTo>
                <a:lnTo>
                  <a:pt x="403" y="1462"/>
                </a:lnTo>
                <a:lnTo>
                  <a:pt x="392" y="1460"/>
                </a:lnTo>
                <a:lnTo>
                  <a:pt x="338" y="1498"/>
                </a:lnTo>
                <a:lnTo>
                  <a:pt x="322" y="1532"/>
                </a:lnTo>
                <a:lnTo>
                  <a:pt x="317" y="1533"/>
                </a:lnTo>
                <a:lnTo>
                  <a:pt x="314" y="1541"/>
                </a:lnTo>
                <a:lnTo>
                  <a:pt x="306" y="1532"/>
                </a:lnTo>
                <a:lnTo>
                  <a:pt x="309" y="1524"/>
                </a:lnTo>
                <a:lnTo>
                  <a:pt x="290" y="1524"/>
                </a:lnTo>
                <a:lnTo>
                  <a:pt x="256" y="1544"/>
                </a:lnTo>
                <a:lnTo>
                  <a:pt x="221" y="1586"/>
                </a:lnTo>
                <a:lnTo>
                  <a:pt x="202" y="1590"/>
                </a:lnTo>
                <a:lnTo>
                  <a:pt x="198" y="1593"/>
                </a:lnTo>
                <a:lnTo>
                  <a:pt x="206" y="1612"/>
                </a:lnTo>
                <a:lnTo>
                  <a:pt x="213" y="1603"/>
                </a:lnTo>
                <a:lnTo>
                  <a:pt x="211" y="1593"/>
                </a:lnTo>
                <a:lnTo>
                  <a:pt x="222" y="1604"/>
                </a:lnTo>
                <a:lnTo>
                  <a:pt x="235" y="1598"/>
                </a:lnTo>
                <a:lnTo>
                  <a:pt x="234" y="1582"/>
                </a:lnTo>
                <a:lnTo>
                  <a:pt x="241" y="1595"/>
                </a:lnTo>
                <a:lnTo>
                  <a:pt x="257" y="1593"/>
                </a:lnTo>
                <a:lnTo>
                  <a:pt x="279" y="1555"/>
                </a:lnTo>
                <a:lnTo>
                  <a:pt x="285" y="1555"/>
                </a:lnTo>
                <a:lnTo>
                  <a:pt x="282" y="1574"/>
                </a:lnTo>
                <a:lnTo>
                  <a:pt x="316" y="1566"/>
                </a:lnTo>
                <a:lnTo>
                  <a:pt x="319" y="1557"/>
                </a:lnTo>
                <a:lnTo>
                  <a:pt x="324" y="1562"/>
                </a:lnTo>
                <a:lnTo>
                  <a:pt x="353" y="1539"/>
                </a:lnTo>
                <a:lnTo>
                  <a:pt x="360" y="1544"/>
                </a:lnTo>
                <a:lnTo>
                  <a:pt x="360" y="1560"/>
                </a:lnTo>
                <a:lnTo>
                  <a:pt x="370" y="1533"/>
                </a:lnTo>
                <a:lnTo>
                  <a:pt x="389" y="1533"/>
                </a:lnTo>
                <a:lnTo>
                  <a:pt x="405" y="1522"/>
                </a:lnTo>
                <a:lnTo>
                  <a:pt x="405" y="1509"/>
                </a:lnTo>
                <a:lnTo>
                  <a:pt x="404" y="1503"/>
                </a:lnTo>
                <a:lnTo>
                  <a:pt x="415" y="1492"/>
                </a:lnTo>
                <a:lnTo>
                  <a:pt x="438" y="1489"/>
                </a:lnTo>
                <a:lnTo>
                  <a:pt x="440" y="1483"/>
                </a:lnTo>
                <a:lnTo>
                  <a:pt x="431" y="1483"/>
                </a:lnTo>
                <a:lnTo>
                  <a:pt x="444" y="1474"/>
                </a:lnTo>
                <a:lnTo>
                  <a:pt x="454" y="1478"/>
                </a:lnTo>
                <a:lnTo>
                  <a:pt x="454" y="1462"/>
                </a:lnTo>
                <a:lnTo>
                  <a:pt x="468" y="1463"/>
                </a:lnTo>
                <a:lnTo>
                  <a:pt x="498" y="1442"/>
                </a:lnTo>
                <a:lnTo>
                  <a:pt x="503" y="1425"/>
                </a:lnTo>
                <a:lnTo>
                  <a:pt x="515" y="1412"/>
                </a:lnTo>
                <a:lnTo>
                  <a:pt x="518" y="1402"/>
                </a:lnTo>
                <a:lnTo>
                  <a:pt x="528" y="1403"/>
                </a:lnTo>
                <a:lnTo>
                  <a:pt x="532" y="1387"/>
                </a:lnTo>
                <a:lnTo>
                  <a:pt x="544" y="1391"/>
                </a:lnTo>
                <a:lnTo>
                  <a:pt x="562" y="1369"/>
                </a:lnTo>
                <a:lnTo>
                  <a:pt x="599" y="1354"/>
                </a:lnTo>
                <a:lnTo>
                  <a:pt x="595" y="1343"/>
                </a:lnTo>
                <a:lnTo>
                  <a:pt x="602" y="1339"/>
                </a:lnTo>
                <a:lnTo>
                  <a:pt x="602" y="1328"/>
                </a:lnTo>
                <a:lnTo>
                  <a:pt x="626" y="1314"/>
                </a:lnTo>
                <a:lnTo>
                  <a:pt x="632" y="1302"/>
                </a:lnTo>
                <a:lnTo>
                  <a:pt x="616" y="1284"/>
                </a:lnTo>
                <a:lnTo>
                  <a:pt x="594" y="1284"/>
                </a:lnTo>
                <a:lnTo>
                  <a:pt x="601" y="1255"/>
                </a:lnTo>
                <a:lnTo>
                  <a:pt x="616" y="1248"/>
                </a:lnTo>
                <a:lnTo>
                  <a:pt x="621" y="1241"/>
                </a:lnTo>
                <a:lnTo>
                  <a:pt x="620" y="1228"/>
                </a:lnTo>
                <a:lnTo>
                  <a:pt x="641" y="1228"/>
                </a:lnTo>
                <a:lnTo>
                  <a:pt x="645" y="1218"/>
                </a:lnTo>
                <a:lnTo>
                  <a:pt x="638" y="1216"/>
                </a:lnTo>
                <a:lnTo>
                  <a:pt x="662" y="1203"/>
                </a:lnTo>
                <a:lnTo>
                  <a:pt x="660" y="1192"/>
                </a:lnTo>
                <a:lnTo>
                  <a:pt x="644" y="1178"/>
                </a:lnTo>
                <a:lnTo>
                  <a:pt x="664" y="1183"/>
                </a:lnTo>
                <a:lnTo>
                  <a:pt x="678" y="1169"/>
                </a:lnTo>
                <a:lnTo>
                  <a:pt x="700" y="1124"/>
                </a:lnTo>
                <a:lnTo>
                  <a:pt x="745" y="1091"/>
                </a:lnTo>
                <a:lnTo>
                  <a:pt x="745" y="1069"/>
                </a:lnTo>
                <a:lnTo>
                  <a:pt x="764" y="1024"/>
                </a:lnTo>
                <a:lnTo>
                  <a:pt x="767" y="1001"/>
                </a:lnTo>
                <a:lnTo>
                  <a:pt x="772" y="1010"/>
                </a:lnTo>
                <a:lnTo>
                  <a:pt x="768" y="1042"/>
                </a:lnTo>
                <a:lnTo>
                  <a:pt x="755" y="1071"/>
                </a:lnTo>
                <a:lnTo>
                  <a:pt x="751" y="1090"/>
                </a:lnTo>
                <a:lnTo>
                  <a:pt x="772" y="1094"/>
                </a:lnTo>
                <a:lnTo>
                  <a:pt x="806" y="1071"/>
                </a:lnTo>
                <a:lnTo>
                  <a:pt x="802" y="1081"/>
                </a:lnTo>
                <a:lnTo>
                  <a:pt x="775" y="1099"/>
                </a:lnTo>
                <a:lnTo>
                  <a:pt x="776" y="1107"/>
                </a:lnTo>
                <a:lnTo>
                  <a:pt x="819" y="1127"/>
                </a:lnTo>
                <a:lnTo>
                  <a:pt x="811" y="1136"/>
                </a:lnTo>
                <a:lnTo>
                  <a:pt x="772" y="1127"/>
                </a:lnTo>
                <a:lnTo>
                  <a:pt x="761" y="1115"/>
                </a:lnTo>
                <a:lnTo>
                  <a:pt x="721" y="1138"/>
                </a:lnTo>
                <a:lnTo>
                  <a:pt x="717" y="1144"/>
                </a:lnTo>
                <a:lnTo>
                  <a:pt x="718" y="1179"/>
                </a:lnTo>
                <a:lnTo>
                  <a:pt x="698" y="1224"/>
                </a:lnTo>
                <a:lnTo>
                  <a:pt x="711" y="1234"/>
                </a:lnTo>
                <a:lnTo>
                  <a:pt x="735" y="1223"/>
                </a:lnTo>
                <a:lnTo>
                  <a:pt x="727" y="1238"/>
                </a:lnTo>
                <a:lnTo>
                  <a:pt x="717" y="1243"/>
                </a:lnTo>
                <a:lnTo>
                  <a:pt x="720" y="1249"/>
                </a:lnTo>
                <a:lnTo>
                  <a:pt x="701" y="1248"/>
                </a:lnTo>
                <a:lnTo>
                  <a:pt x="694" y="1267"/>
                </a:lnTo>
                <a:lnTo>
                  <a:pt x="704" y="1273"/>
                </a:lnTo>
                <a:lnTo>
                  <a:pt x="725" y="1269"/>
                </a:lnTo>
                <a:lnTo>
                  <a:pt x="726" y="1260"/>
                </a:lnTo>
                <a:lnTo>
                  <a:pt x="736" y="1266"/>
                </a:lnTo>
                <a:lnTo>
                  <a:pt x="751" y="1242"/>
                </a:lnTo>
                <a:lnTo>
                  <a:pt x="763" y="1239"/>
                </a:lnTo>
                <a:lnTo>
                  <a:pt x="760" y="1258"/>
                </a:lnTo>
                <a:lnTo>
                  <a:pt x="770" y="1233"/>
                </a:lnTo>
                <a:lnTo>
                  <a:pt x="784" y="1230"/>
                </a:lnTo>
                <a:lnTo>
                  <a:pt x="789" y="1208"/>
                </a:lnTo>
                <a:lnTo>
                  <a:pt x="794" y="1228"/>
                </a:lnTo>
                <a:lnTo>
                  <a:pt x="800" y="1196"/>
                </a:lnTo>
                <a:lnTo>
                  <a:pt x="803" y="1206"/>
                </a:lnTo>
                <a:lnTo>
                  <a:pt x="839" y="1203"/>
                </a:lnTo>
                <a:lnTo>
                  <a:pt x="843" y="1192"/>
                </a:lnTo>
                <a:lnTo>
                  <a:pt x="854" y="1183"/>
                </a:lnTo>
                <a:lnTo>
                  <a:pt x="845" y="1181"/>
                </a:lnTo>
                <a:lnTo>
                  <a:pt x="860" y="1157"/>
                </a:lnTo>
                <a:lnTo>
                  <a:pt x="857" y="1152"/>
                </a:lnTo>
                <a:lnTo>
                  <a:pt x="836" y="1162"/>
                </a:lnTo>
                <a:lnTo>
                  <a:pt x="835" y="1156"/>
                </a:lnTo>
                <a:lnTo>
                  <a:pt x="850" y="1148"/>
                </a:lnTo>
                <a:lnTo>
                  <a:pt x="851" y="1140"/>
                </a:lnTo>
                <a:lnTo>
                  <a:pt x="834" y="1135"/>
                </a:lnTo>
                <a:lnTo>
                  <a:pt x="846" y="1127"/>
                </a:lnTo>
                <a:lnTo>
                  <a:pt x="851" y="1118"/>
                </a:lnTo>
                <a:lnTo>
                  <a:pt x="843" y="1117"/>
                </a:lnTo>
                <a:lnTo>
                  <a:pt x="850" y="1107"/>
                </a:lnTo>
                <a:lnTo>
                  <a:pt x="858" y="1111"/>
                </a:lnTo>
                <a:lnTo>
                  <a:pt x="870" y="1093"/>
                </a:lnTo>
                <a:lnTo>
                  <a:pt x="860" y="1123"/>
                </a:lnTo>
                <a:lnTo>
                  <a:pt x="865" y="1127"/>
                </a:lnTo>
                <a:lnTo>
                  <a:pt x="874" y="1123"/>
                </a:lnTo>
                <a:lnTo>
                  <a:pt x="875" y="1102"/>
                </a:lnTo>
                <a:lnTo>
                  <a:pt x="879" y="1119"/>
                </a:lnTo>
                <a:lnTo>
                  <a:pt x="886" y="1120"/>
                </a:lnTo>
                <a:lnTo>
                  <a:pt x="921" y="1110"/>
                </a:lnTo>
                <a:lnTo>
                  <a:pt x="919" y="1129"/>
                </a:lnTo>
                <a:lnTo>
                  <a:pt x="917" y="1141"/>
                </a:lnTo>
                <a:lnTo>
                  <a:pt x="946" y="1134"/>
                </a:lnTo>
                <a:lnTo>
                  <a:pt x="935" y="1147"/>
                </a:lnTo>
                <a:lnTo>
                  <a:pt x="960" y="1146"/>
                </a:lnTo>
                <a:lnTo>
                  <a:pt x="956" y="1157"/>
                </a:lnTo>
                <a:lnTo>
                  <a:pt x="978" y="1175"/>
                </a:lnTo>
                <a:lnTo>
                  <a:pt x="992" y="1162"/>
                </a:lnTo>
                <a:lnTo>
                  <a:pt x="997" y="1176"/>
                </a:lnTo>
                <a:lnTo>
                  <a:pt x="1027" y="1190"/>
                </a:lnTo>
                <a:lnTo>
                  <a:pt x="1034" y="1203"/>
                </a:lnTo>
                <a:lnTo>
                  <a:pt x="1079" y="1195"/>
                </a:lnTo>
                <a:lnTo>
                  <a:pt x="1128" y="1206"/>
                </a:lnTo>
                <a:lnTo>
                  <a:pt x="1147" y="1202"/>
                </a:lnTo>
                <a:lnTo>
                  <a:pt x="1152" y="1207"/>
                </a:lnTo>
                <a:lnTo>
                  <a:pt x="1146" y="1212"/>
                </a:lnTo>
                <a:lnTo>
                  <a:pt x="1149" y="1214"/>
                </a:lnTo>
                <a:lnTo>
                  <a:pt x="1181" y="1225"/>
                </a:lnTo>
                <a:lnTo>
                  <a:pt x="1210" y="1220"/>
                </a:lnTo>
                <a:lnTo>
                  <a:pt x="1228" y="1197"/>
                </a:lnTo>
                <a:lnTo>
                  <a:pt x="1249" y="1216"/>
                </a:lnTo>
                <a:lnTo>
                  <a:pt x="1240" y="1221"/>
                </a:lnTo>
                <a:lnTo>
                  <a:pt x="1240" y="1241"/>
                </a:lnTo>
                <a:lnTo>
                  <a:pt x="1231" y="1206"/>
                </a:lnTo>
                <a:lnTo>
                  <a:pt x="1226" y="1213"/>
                </a:lnTo>
                <a:lnTo>
                  <a:pt x="1227" y="1235"/>
                </a:lnTo>
                <a:lnTo>
                  <a:pt x="1216" y="1244"/>
                </a:lnTo>
                <a:lnTo>
                  <a:pt x="1266" y="1277"/>
                </a:lnTo>
                <a:lnTo>
                  <a:pt x="1280" y="1271"/>
                </a:lnTo>
                <a:lnTo>
                  <a:pt x="1279" y="1254"/>
                </a:lnTo>
                <a:lnTo>
                  <a:pt x="1287" y="1251"/>
                </a:lnTo>
                <a:close/>
              </a:path>
            </a:pathLst>
          </a:custGeom>
          <a:solidFill>
            <a:schemeClr val="accent1"/>
          </a:solidFill>
          <a:ln w="6350">
            <a:solidFill>
              <a:schemeClr val="tx2"/>
            </a:solidFill>
            <a:round/>
            <a:headEnd/>
            <a:tailEnd/>
          </a:ln>
        </p:spPr>
        <p:txBody>
          <a:bodyPr/>
          <a:lstStyle/>
          <a:p>
            <a:endParaRPr lang="en-US"/>
          </a:p>
        </p:txBody>
      </p:sp>
      <p:sp>
        <p:nvSpPr>
          <p:cNvPr id="246" name="Freeform 1146"/>
          <p:cNvSpPr>
            <a:spLocks/>
          </p:cNvSpPr>
          <p:nvPr/>
        </p:nvSpPr>
        <p:spPr bwMode="auto">
          <a:xfrm>
            <a:off x="2619923" y="3130731"/>
            <a:ext cx="169135" cy="165576"/>
          </a:xfrm>
          <a:custGeom>
            <a:avLst/>
            <a:gdLst>
              <a:gd name="T0" fmla="*/ 2147483647 w 356"/>
              <a:gd name="T1" fmla="*/ 2147483647 h 397"/>
              <a:gd name="T2" fmla="*/ 2147483647 w 356"/>
              <a:gd name="T3" fmla="*/ 2147483647 h 397"/>
              <a:gd name="T4" fmla="*/ 2147483647 w 356"/>
              <a:gd name="T5" fmla="*/ 2147483647 h 397"/>
              <a:gd name="T6" fmla="*/ 2147483647 w 356"/>
              <a:gd name="T7" fmla="*/ 2147483647 h 397"/>
              <a:gd name="T8" fmla="*/ 2147483647 w 356"/>
              <a:gd name="T9" fmla="*/ 2147483647 h 397"/>
              <a:gd name="T10" fmla="*/ 2147483647 w 356"/>
              <a:gd name="T11" fmla="*/ 2147483647 h 397"/>
              <a:gd name="T12" fmla="*/ 2147483647 w 356"/>
              <a:gd name="T13" fmla="*/ 2147483647 h 397"/>
              <a:gd name="T14" fmla="*/ 2147483647 w 356"/>
              <a:gd name="T15" fmla="*/ 2147483647 h 397"/>
              <a:gd name="T16" fmla="*/ 2147483647 w 356"/>
              <a:gd name="T17" fmla="*/ 2147483647 h 397"/>
              <a:gd name="T18" fmla="*/ 2147483647 w 356"/>
              <a:gd name="T19" fmla="*/ 2147483647 h 397"/>
              <a:gd name="T20" fmla="*/ 2147483647 w 356"/>
              <a:gd name="T21" fmla="*/ 2147483647 h 397"/>
              <a:gd name="T22" fmla="*/ 2147483647 w 356"/>
              <a:gd name="T23" fmla="*/ 2147483647 h 397"/>
              <a:gd name="T24" fmla="*/ 2147483647 w 356"/>
              <a:gd name="T25" fmla="*/ 2147483647 h 397"/>
              <a:gd name="T26" fmla="*/ 2147483647 w 356"/>
              <a:gd name="T27" fmla="*/ 2147483647 h 397"/>
              <a:gd name="T28" fmla="*/ 2147483647 w 356"/>
              <a:gd name="T29" fmla="*/ 2147483647 h 397"/>
              <a:gd name="T30" fmla="*/ 2147483647 w 356"/>
              <a:gd name="T31" fmla="*/ 2147483647 h 397"/>
              <a:gd name="T32" fmla="*/ 2147483647 w 356"/>
              <a:gd name="T33" fmla="*/ 2147483647 h 397"/>
              <a:gd name="T34" fmla="*/ 2147483647 w 356"/>
              <a:gd name="T35" fmla="*/ 2147483647 h 397"/>
              <a:gd name="T36" fmla="*/ 2147483647 w 356"/>
              <a:gd name="T37" fmla="*/ 2147483647 h 397"/>
              <a:gd name="T38" fmla="*/ 2147483647 w 356"/>
              <a:gd name="T39" fmla="*/ 2147483647 h 397"/>
              <a:gd name="T40" fmla="*/ 2147483647 w 356"/>
              <a:gd name="T41" fmla="*/ 2147483647 h 397"/>
              <a:gd name="T42" fmla="*/ 2147483647 w 356"/>
              <a:gd name="T43" fmla="*/ 2147483647 h 397"/>
              <a:gd name="T44" fmla="*/ 2147483647 w 356"/>
              <a:gd name="T45" fmla="*/ 2147483647 h 397"/>
              <a:gd name="T46" fmla="*/ 2147483647 w 356"/>
              <a:gd name="T47" fmla="*/ 2147483647 h 397"/>
              <a:gd name="T48" fmla="*/ 2147483647 w 356"/>
              <a:gd name="T49" fmla="*/ 2147483647 h 397"/>
              <a:gd name="T50" fmla="*/ 2147483647 w 356"/>
              <a:gd name="T51" fmla="*/ 2147483647 h 397"/>
              <a:gd name="T52" fmla="*/ 2147483647 w 356"/>
              <a:gd name="T53" fmla="*/ 2147483647 h 397"/>
              <a:gd name="T54" fmla="*/ 2147483647 w 356"/>
              <a:gd name="T55" fmla="*/ 2147483647 h 397"/>
              <a:gd name="T56" fmla="*/ 2147483647 w 356"/>
              <a:gd name="T57" fmla="*/ 2147483647 h 397"/>
              <a:gd name="T58" fmla="*/ 2147483647 w 356"/>
              <a:gd name="T59" fmla="*/ 2147483647 h 397"/>
              <a:gd name="T60" fmla="*/ 2147483647 w 356"/>
              <a:gd name="T61" fmla="*/ 2147483647 h 397"/>
              <a:gd name="T62" fmla="*/ 2147483647 w 356"/>
              <a:gd name="T63" fmla="*/ 2147483647 h 397"/>
              <a:gd name="T64" fmla="*/ 2147483647 w 356"/>
              <a:gd name="T65" fmla="*/ 2147483647 h 397"/>
              <a:gd name="T66" fmla="*/ 2147483647 w 356"/>
              <a:gd name="T67" fmla="*/ 2147483647 h 397"/>
              <a:gd name="T68" fmla="*/ 2147483647 w 356"/>
              <a:gd name="T69" fmla="*/ 2147483647 h 397"/>
              <a:gd name="T70" fmla="*/ 2147483647 w 356"/>
              <a:gd name="T71" fmla="*/ 2147483647 h 397"/>
              <a:gd name="T72" fmla="*/ 2147483647 w 356"/>
              <a:gd name="T73" fmla="*/ 2147483647 h 397"/>
              <a:gd name="T74" fmla="*/ 2147483647 w 356"/>
              <a:gd name="T75" fmla="*/ 2147483647 h 397"/>
              <a:gd name="T76" fmla="*/ 2147483647 w 356"/>
              <a:gd name="T77" fmla="*/ 2147483647 h 397"/>
              <a:gd name="T78" fmla="*/ 2147483647 w 356"/>
              <a:gd name="T79" fmla="*/ 2147483647 h 397"/>
              <a:gd name="T80" fmla="*/ 2147483647 w 356"/>
              <a:gd name="T81" fmla="*/ 2147483647 h 397"/>
              <a:gd name="T82" fmla="*/ 2147483647 w 356"/>
              <a:gd name="T83" fmla="*/ 2147483647 h 397"/>
              <a:gd name="T84" fmla="*/ 2147483647 w 356"/>
              <a:gd name="T85" fmla="*/ 2147483647 h 397"/>
              <a:gd name="T86" fmla="*/ 2147483647 w 356"/>
              <a:gd name="T87" fmla="*/ 2147483647 h 397"/>
              <a:gd name="T88" fmla="*/ 2147483647 w 356"/>
              <a:gd name="T89" fmla="*/ 2147483647 h 397"/>
              <a:gd name="T90" fmla="*/ 2147483647 w 356"/>
              <a:gd name="T91" fmla="*/ 2147483647 h 397"/>
              <a:gd name="T92" fmla="*/ 2147483647 w 356"/>
              <a:gd name="T93" fmla="*/ 2147483647 h 397"/>
              <a:gd name="T94" fmla="*/ 2147483647 w 356"/>
              <a:gd name="T95" fmla="*/ 2147483647 h 3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6"/>
              <a:gd name="T145" fmla="*/ 0 h 397"/>
              <a:gd name="T146" fmla="*/ 356 w 356"/>
              <a:gd name="T147" fmla="*/ 397 h 3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6" h="397">
                <a:moveTo>
                  <a:pt x="6" y="35"/>
                </a:moveTo>
                <a:lnTo>
                  <a:pt x="2" y="38"/>
                </a:lnTo>
                <a:lnTo>
                  <a:pt x="0" y="64"/>
                </a:lnTo>
                <a:lnTo>
                  <a:pt x="20" y="91"/>
                </a:lnTo>
                <a:lnTo>
                  <a:pt x="28" y="89"/>
                </a:lnTo>
                <a:lnTo>
                  <a:pt x="24" y="99"/>
                </a:lnTo>
                <a:lnTo>
                  <a:pt x="66" y="127"/>
                </a:lnTo>
                <a:lnTo>
                  <a:pt x="74" y="124"/>
                </a:lnTo>
                <a:lnTo>
                  <a:pt x="73" y="116"/>
                </a:lnTo>
                <a:lnTo>
                  <a:pt x="88" y="116"/>
                </a:lnTo>
                <a:lnTo>
                  <a:pt x="89" y="106"/>
                </a:lnTo>
                <a:lnTo>
                  <a:pt x="66" y="79"/>
                </a:lnTo>
                <a:lnTo>
                  <a:pt x="51" y="74"/>
                </a:lnTo>
                <a:lnTo>
                  <a:pt x="57" y="68"/>
                </a:lnTo>
                <a:lnTo>
                  <a:pt x="55" y="64"/>
                </a:lnTo>
                <a:lnTo>
                  <a:pt x="65" y="72"/>
                </a:lnTo>
                <a:lnTo>
                  <a:pt x="69" y="67"/>
                </a:lnTo>
                <a:lnTo>
                  <a:pt x="81" y="83"/>
                </a:lnTo>
                <a:lnTo>
                  <a:pt x="89" y="71"/>
                </a:lnTo>
                <a:lnTo>
                  <a:pt x="102" y="99"/>
                </a:lnTo>
                <a:lnTo>
                  <a:pt x="99" y="114"/>
                </a:lnTo>
                <a:lnTo>
                  <a:pt x="113" y="115"/>
                </a:lnTo>
                <a:lnTo>
                  <a:pt x="113" y="107"/>
                </a:lnTo>
                <a:lnTo>
                  <a:pt x="122" y="128"/>
                </a:lnTo>
                <a:lnTo>
                  <a:pt x="130" y="126"/>
                </a:lnTo>
                <a:lnTo>
                  <a:pt x="133" y="111"/>
                </a:lnTo>
                <a:lnTo>
                  <a:pt x="116" y="50"/>
                </a:lnTo>
                <a:lnTo>
                  <a:pt x="119" y="53"/>
                </a:lnTo>
                <a:lnTo>
                  <a:pt x="116" y="39"/>
                </a:lnTo>
                <a:lnTo>
                  <a:pt x="119" y="31"/>
                </a:lnTo>
                <a:lnTo>
                  <a:pt x="147" y="114"/>
                </a:lnTo>
                <a:lnTo>
                  <a:pt x="175" y="126"/>
                </a:lnTo>
                <a:lnTo>
                  <a:pt x="186" y="145"/>
                </a:lnTo>
                <a:lnTo>
                  <a:pt x="199" y="132"/>
                </a:lnTo>
                <a:lnTo>
                  <a:pt x="195" y="143"/>
                </a:lnTo>
                <a:lnTo>
                  <a:pt x="190" y="149"/>
                </a:lnTo>
                <a:lnTo>
                  <a:pt x="194" y="162"/>
                </a:lnTo>
                <a:lnTo>
                  <a:pt x="198" y="153"/>
                </a:lnTo>
                <a:lnTo>
                  <a:pt x="204" y="158"/>
                </a:lnTo>
                <a:lnTo>
                  <a:pt x="226" y="188"/>
                </a:lnTo>
                <a:lnTo>
                  <a:pt x="199" y="171"/>
                </a:lnTo>
                <a:lnTo>
                  <a:pt x="199" y="182"/>
                </a:lnTo>
                <a:lnTo>
                  <a:pt x="204" y="185"/>
                </a:lnTo>
                <a:lnTo>
                  <a:pt x="207" y="198"/>
                </a:lnTo>
                <a:lnTo>
                  <a:pt x="220" y="199"/>
                </a:lnTo>
                <a:lnTo>
                  <a:pt x="206" y="205"/>
                </a:lnTo>
                <a:lnTo>
                  <a:pt x="206" y="212"/>
                </a:lnTo>
                <a:lnTo>
                  <a:pt x="224" y="221"/>
                </a:lnTo>
                <a:lnTo>
                  <a:pt x="234" y="218"/>
                </a:lnTo>
                <a:lnTo>
                  <a:pt x="237" y="234"/>
                </a:lnTo>
                <a:lnTo>
                  <a:pt x="225" y="222"/>
                </a:lnTo>
                <a:lnTo>
                  <a:pt x="232" y="235"/>
                </a:lnTo>
                <a:lnTo>
                  <a:pt x="257" y="251"/>
                </a:lnTo>
                <a:lnTo>
                  <a:pt x="262" y="273"/>
                </a:lnTo>
                <a:lnTo>
                  <a:pt x="288" y="286"/>
                </a:lnTo>
                <a:lnTo>
                  <a:pt x="271" y="294"/>
                </a:lnTo>
                <a:lnTo>
                  <a:pt x="267" y="319"/>
                </a:lnTo>
                <a:lnTo>
                  <a:pt x="258" y="327"/>
                </a:lnTo>
                <a:lnTo>
                  <a:pt x="264" y="338"/>
                </a:lnTo>
                <a:lnTo>
                  <a:pt x="267" y="341"/>
                </a:lnTo>
                <a:lnTo>
                  <a:pt x="276" y="329"/>
                </a:lnTo>
                <a:lnTo>
                  <a:pt x="278" y="313"/>
                </a:lnTo>
                <a:lnTo>
                  <a:pt x="292" y="310"/>
                </a:lnTo>
                <a:lnTo>
                  <a:pt x="307" y="296"/>
                </a:lnTo>
                <a:lnTo>
                  <a:pt x="306" y="310"/>
                </a:lnTo>
                <a:lnTo>
                  <a:pt x="317" y="327"/>
                </a:lnTo>
                <a:lnTo>
                  <a:pt x="319" y="356"/>
                </a:lnTo>
                <a:lnTo>
                  <a:pt x="329" y="356"/>
                </a:lnTo>
                <a:lnTo>
                  <a:pt x="333" y="371"/>
                </a:lnTo>
                <a:lnTo>
                  <a:pt x="315" y="379"/>
                </a:lnTo>
                <a:lnTo>
                  <a:pt x="317" y="397"/>
                </a:lnTo>
                <a:lnTo>
                  <a:pt x="321" y="389"/>
                </a:lnTo>
                <a:lnTo>
                  <a:pt x="325" y="396"/>
                </a:lnTo>
                <a:lnTo>
                  <a:pt x="335" y="390"/>
                </a:lnTo>
                <a:lnTo>
                  <a:pt x="346" y="375"/>
                </a:lnTo>
                <a:lnTo>
                  <a:pt x="351" y="377"/>
                </a:lnTo>
                <a:lnTo>
                  <a:pt x="355" y="369"/>
                </a:lnTo>
                <a:lnTo>
                  <a:pt x="356" y="364"/>
                </a:lnTo>
                <a:lnTo>
                  <a:pt x="352" y="327"/>
                </a:lnTo>
                <a:lnTo>
                  <a:pt x="356" y="309"/>
                </a:lnTo>
                <a:lnTo>
                  <a:pt x="354" y="304"/>
                </a:lnTo>
                <a:lnTo>
                  <a:pt x="313" y="276"/>
                </a:lnTo>
                <a:lnTo>
                  <a:pt x="285" y="268"/>
                </a:lnTo>
                <a:lnTo>
                  <a:pt x="272" y="258"/>
                </a:lnTo>
                <a:lnTo>
                  <a:pt x="262" y="229"/>
                </a:lnTo>
                <a:lnTo>
                  <a:pt x="254" y="222"/>
                </a:lnTo>
                <a:lnTo>
                  <a:pt x="254" y="212"/>
                </a:lnTo>
                <a:lnTo>
                  <a:pt x="191" y="94"/>
                </a:lnTo>
                <a:lnTo>
                  <a:pt x="165" y="78"/>
                </a:lnTo>
                <a:lnTo>
                  <a:pt x="159" y="58"/>
                </a:lnTo>
                <a:lnTo>
                  <a:pt x="121" y="0"/>
                </a:lnTo>
                <a:lnTo>
                  <a:pt x="83" y="18"/>
                </a:lnTo>
                <a:lnTo>
                  <a:pt x="67" y="54"/>
                </a:lnTo>
                <a:lnTo>
                  <a:pt x="31" y="72"/>
                </a:lnTo>
                <a:lnTo>
                  <a:pt x="19" y="45"/>
                </a:lnTo>
                <a:lnTo>
                  <a:pt x="6" y="35"/>
                </a:lnTo>
                <a:close/>
              </a:path>
            </a:pathLst>
          </a:custGeom>
          <a:solidFill>
            <a:schemeClr val="accent1"/>
          </a:solidFill>
          <a:ln w="6350">
            <a:solidFill>
              <a:schemeClr val="tx2"/>
            </a:solidFill>
            <a:round/>
            <a:headEnd/>
            <a:tailEnd/>
          </a:ln>
        </p:spPr>
        <p:txBody>
          <a:bodyPr/>
          <a:lstStyle/>
          <a:p>
            <a:endParaRPr lang="en-US"/>
          </a:p>
        </p:txBody>
      </p:sp>
      <p:sp>
        <p:nvSpPr>
          <p:cNvPr id="247" name="Freeform 1147"/>
          <p:cNvSpPr>
            <a:spLocks/>
          </p:cNvSpPr>
          <p:nvPr/>
        </p:nvSpPr>
        <p:spPr bwMode="auto">
          <a:xfrm>
            <a:off x="2565456" y="2707876"/>
            <a:ext cx="346868" cy="415212"/>
          </a:xfrm>
          <a:custGeom>
            <a:avLst/>
            <a:gdLst>
              <a:gd name="T0" fmla="*/ 2147483647 w 738"/>
              <a:gd name="T1" fmla="*/ 2147483647 h 995"/>
              <a:gd name="T2" fmla="*/ 2147483647 w 738"/>
              <a:gd name="T3" fmla="*/ 2147483647 h 995"/>
              <a:gd name="T4" fmla="*/ 2147483647 w 738"/>
              <a:gd name="T5" fmla="*/ 2147483647 h 995"/>
              <a:gd name="T6" fmla="*/ 2147483647 w 738"/>
              <a:gd name="T7" fmla="*/ 2147483647 h 995"/>
              <a:gd name="T8" fmla="*/ 2147483647 w 738"/>
              <a:gd name="T9" fmla="*/ 2147483647 h 995"/>
              <a:gd name="T10" fmla="*/ 2147483647 w 738"/>
              <a:gd name="T11" fmla="*/ 2147483647 h 995"/>
              <a:gd name="T12" fmla="*/ 2147483647 w 738"/>
              <a:gd name="T13" fmla="*/ 2147483647 h 995"/>
              <a:gd name="T14" fmla="*/ 2147483647 w 738"/>
              <a:gd name="T15" fmla="*/ 2147483647 h 995"/>
              <a:gd name="T16" fmla="*/ 2147483647 w 738"/>
              <a:gd name="T17" fmla="*/ 2147483647 h 995"/>
              <a:gd name="T18" fmla="*/ 2147483647 w 738"/>
              <a:gd name="T19" fmla="*/ 2147483647 h 995"/>
              <a:gd name="T20" fmla="*/ 2147483647 w 738"/>
              <a:gd name="T21" fmla="*/ 2147483647 h 995"/>
              <a:gd name="T22" fmla="*/ 2147483647 w 738"/>
              <a:gd name="T23" fmla="*/ 2147483647 h 995"/>
              <a:gd name="T24" fmla="*/ 2147483647 w 738"/>
              <a:gd name="T25" fmla="*/ 2147483647 h 995"/>
              <a:gd name="T26" fmla="*/ 2147483647 w 738"/>
              <a:gd name="T27" fmla="*/ 2147483647 h 995"/>
              <a:gd name="T28" fmla="*/ 2147483647 w 738"/>
              <a:gd name="T29" fmla="*/ 2147483647 h 995"/>
              <a:gd name="T30" fmla="*/ 2147483647 w 738"/>
              <a:gd name="T31" fmla="*/ 2147483647 h 995"/>
              <a:gd name="T32" fmla="*/ 2147483647 w 738"/>
              <a:gd name="T33" fmla="*/ 2147483647 h 995"/>
              <a:gd name="T34" fmla="*/ 2147483647 w 738"/>
              <a:gd name="T35" fmla="*/ 2147483647 h 995"/>
              <a:gd name="T36" fmla="*/ 2147483647 w 738"/>
              <a:gd name="T37" fmla="*/ 2147483647 h 995"/>
              <a:gd name="T38" fmla="*/ 2147483647 w 738"/>
              <a:gd name="T39" fmla="*/ 2147483647 h 995"/>
              <a:gd name="T40" fmla="*/ 2147483647 w 738"/>
              <a:gd name="T41" fmla="*/ 2147483647 h 995"/>
              <a:gd name="T42" fmla="*/ 2147483647 w 738"/>
              <a:gd name="T43" fmla="*/ 2147483647 h 995"/>
              <a:gd name="T44" fmla="*/ 2147483647 w 738"/>
              <a:gd name="T45" fmla="*/ 2147483647 h 995"/>
              <a:gd name="T46" fmla="*/ 2147483647 w 738"/>
              <a:gd name="T47" fmla="*/ 2147483647 h 995"/>
              <a:gd name="T48" fmla="*/ 2147483647 w 738"/>
              <a:gd name="T49" fmla="*/ 2147483647 h 995"/>
              <a:gd name="T50" fmla="*/ 2147483647 w 738"/>
              <a:gd name="T51" fmla="*/ 2147483647 h 995"/>
              <a:gd name="T52" fmla="*/ 2147483647 w 738"/>
              <a:gd name="T53" fmla="*/ 2147483647 h 995"/>
              <a:gd name="T54" fmla="*/ 2147483647 w 738"/>
              <a:gd name="T55" fmla="*/ 2147483647 h 995"/>
              <a:gd name="T56" fmla="*/ 2147483647 w 738"/>
              <a:gd name="T57" fmla="*/ 2147483647 h 995"/>
              <a:gd name="T58" fmla="*/ 2147483647 w 738"/>
              <a:gd name="T59" fmla="*/ 2147483647 h 995"/>
              <a:gd name="T60" fmla="*/ 2147483647 w 738"/>
              <a:gd name="T61" fmla="*/ 2147483647 h 995"/>
              <a:gd name="T62" fmla="*/ 2147483647 w 738"/>
              <a:gd name="T63" fmla="*/ 2147483647 h 995"/>
              <a:gd name="T64" fmla="*/ 2147483647 w 738"/>
              <a:gd name="T65" fmla="*/ 2147483647 h 995"/>
              <a:gd name="T66" fmla="*/ 2147483647 w 738"/>
              <a:gd name="T67" fmla="*/ 2147483647 h 995"/>
              <a:gd name="T68" fmla="*/ 0 w 738"/>
              <a:gd name="T69" fmla="*/ 2147483647 h 995"/>
              <a:gd name="T70" fmla="*/ 0 w 738"/>
              <a:gd name="T71" fmla="*/ 2147483647 h 995"/>
              <a:gd name="T72" fmla="*/ 0 w 738"/>
              <a:gd name="T73" fmla="*/ 2147483647 h 995"/>
              <a:gd name="T74" fmla="*/ 0 w 738"/>
              <a:gd name="T75" fmla="*/ 2147483647 h 995"/>
              <a:gd name="T76" fmla="*/ 0 w 738"/>
              <a:gd name="T77" fmla="*/ 2147483647 h 995"/>
              <a:gd name="T78" fmla="*/ 0 w 738"/>
              <a:gd name="T79" fmla="*/ 2147483647 h 995"/>
              <a:gd name="T80" fmla="*/ 2147483647 w 738"/>
              <a:gd name="T81" fmla="*/ 2147483647 h 995"/>
              <a:gd name="T82" fmla="*/ 2147483647 w 738"/>
              <a:gd name="T83" fmla="*/ 2147483647 h 9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995"/>
              <a:gd name="T128" fmla="*/ 738 w 738"/>
              <a:gd name="T129" fmla="*/ 995 h 9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995">
                <a:moveTo>
                  <a:pt x="81" y="995"/>
                </a:moveTo>
                <a:lnTo>
                  <a:pt x="121" y="995"/>
                </a:lnTo>
                <a:lnTo>
                  <a:pt x="162" y="995"/>
                </a:lnTo>
                <a:lnTo>
                  <a:pt x="200" y="995"/>
                </a:lnTo>
                <a:lnTo>
                  <a:pt x="237" y="995"/>
                </a:lnTo>
                <a:lnTo>
                  <a:pt x="275" y="995"/>
                </a:lnTo>
                <a:lnTo>
                  <a:pt x="317" y="995"/>
                </a:lnTo>
                <a:lnTo>
                  <a:pt x="357" y="995"/>
                </a:lnTo>
                <a:lnTo>
                  <a:pt x="399" y="995"/>
                </a:lnTo>
                <a:lnTo>
                  <a:pt x="438" y="995"/>
                </a:lnTo>
                <a:lnTo>
                  <a:pt x="473" y="995"/>
                </a:lnTo>
                <a:lnTo>
                  <a:pt x="513" y="995"/>
                </a:lnTo>
                <a:lnTo>
                  <a:pt x="556" y="995"/>
                </a:lnTo>
                <a:lnTo>
                  <a:pt x="595" y="995"/>
                </a:lnTo>
                <a:lnTo>
                  <a:pt x="637" y="995"/>
                </a:lnTo>
                <a:lnTo>
                  <a:pt x="675" y="995"/>
                </a:lnTo>
                <a:lnTo>
                  <a:pt x="711" y="995"/>
                </a:lnTo>
                <a:lnTo>
                  <a:pt x="738" y="995"/>
                </a:lnTo>
                <a:lnTo>
                  <a:pt x="731" y="987"/>
                </a:lnTo>
                <a:lnTo>
                  <a:pt x="722" y="966"/>
                </a:lnTo>
                <a:lnTo>
                  <a:pt x="722" y="955"/>
                </a:lnTo>
                <a:lnTo>
                  <a:pt x="713" y="954"/>
                </a:lnTo>
                <a:lnTo>
                  <a:pt x="704" y="937"/>
                </a:lnTo>
                <a:lnTo>
                  <a:pt x="710" y="927"/>
                </a:lnTo>
                <a:lnTo>
                  <a:pt x="705" y="912"/>
                </a:lnTo>
                <a:lnTo>
                  <a:pt x="696" y="911"/>
                </a:lnTo>
                <a:lnTo>
                  <a:pt x="693" y="921"/>
                </a:lnTo>
                <a:lnTo>
                  <a:pt x="672" y="927"/>
                </a:lnTo>
                <a:lnTo>
                  <a:pt x="650" y="918"/>
                </a:lnTo>
                <a:lnTo>
                  <a:pt x="644" y="926"/>
                </a:lnTo>
                <a:lnTo>
                  <a:pt x="638" y="920"/>
                </a:lnTo>
                <a:lnTo>
                  <a:pt x="633" y="927"/>
                </a:lnTo>
                <a:lnTo>
                  <a:pt x="608" y="930"/>
                </a:lnTo>
                <a:lnTo>
                  <a:pt x="604" y="902"/>
                </a:lnTo>
                <a:lnTo>
                  <a:pt x="597" y="901"/>
                </a:lnTo>
                <a:lnTo>
                  <a:pt x="601" y="891"/>
                </a:lnTo>
                <a:lnTo>
                  <a:pt x="595" y="867"/>
                </a:lnTo>
                <a:lnTo>
                  <a:pt x="579" y="863"/>
                </a:lnTo>
                <a:lnTo>
                  <a:pt x="560" y="846"/>
                </a:lnTo>
                <a:lnTo>
                  <a:pt x="555" y="831"/>
                </a:lnTo>
                <a:lnTo>
                  <a:pt x="550" y="832"/>
                </a:lnTo>
                <a:lnTo>
                  <a:pt x="535" y="807"/>
                </a:lnTo>
                <a:lnTo>
                  <a:pt x="526" y="813"/>
                </a:lnTo>
                <a:lnTo>
                  <a:pt x="503" y="804"/>
                </a:lnTo>
                <a:lnTo>
                  <a:pt x="507" y="798"/>
                </a:lnTo>
                <a:lnTo>
                  <a:pt x="503" y="789"/>
                </a:lnTo>
                <a:lnTo>
                  <a:pt x="507" y="783"/>
                </a:lnTo>
                <a:lnTo>
                  <a:pt x="503" y="779"/>
                </a:lnTo>
                <a:lnTo>
                  <a:pt x="508" y="773"/>
                </a:lnTo>
                <a:lnTo>
                  <a:pt x="491" y="764"/>
                </a:lnTo>
                <a:lnTo>
                  <a:pt x="494" y="755"/>
                </a:lnTo>
                <a:lnTo>
                  <a:pt x="482" y="737"/>
                </a:lnTo>
                <a:lnTo>
                  <a:pt x="489" y="720"/>
                </a:lnTo>
                <a:lnTo>
                  <a:pt x="479" y="716"/>
                </a:lnTo>
                <a:lnTo>
                  <a:pt x="477" y="706"/>
                </a:lnTo>
                <a:lnTo>
                  <a:pt x="466" y="699"/>
                </a:lnTo>
                <a:lnTo>
                  <a:pt x="480" y="679"/>
                </a:lnTo>
                <a:lnTo>
                  <a:pt x="468" y="657"/>
                </a:lnTo>
                <a:lnTo>
                  <a:pt x="459" y="658"/>
                </a:lnTo>
                <a:lnTo>
                  <a:pt x="468" y="648"/>
                </a:lnTo>
                <a:lnTo>
                  <a:pt x="436" y="623"/>
                </a:lnTo>
                <a:lnTo>
                  <a:pt x="432" y="614"/>
                </a:lnTo>
                <a:lnTo>
                  <a:pt x="436" y="609"/>
                </a:lnTo>
                <a:lnTo>
                  <a:pt x="428" y="601"/>
                </a:lnTo>
                <a:lnTo>
                  <a:pt x="430" y="596"/>
                </a:lnTo>
                <a:lnTo>
                  <a:pt x="423" y="586"/>
                </a:lnTo>
                <a:lnTo>
                  <a:pt x="413" y="582"/>
                </a:lnTo>
                <a:lnTo>
                  <a:pt x="395" y="591"/>
                </a:lnTo>
                <a:lnTo>
                  <a:pt x="399" y="575"/>
                </a:lnTo>
                <a:lnTo>
                  <a:pt x="359" y="545"/>
                </a:lnTo>
                <a:lnTo>
                  <a:pt x="372" y="522"/>
                </a:lnTo>
                <a:lnTo>
                  <a:pt x="353" y="505"/>
                </a:lnTo>
                <a:lnTo>
                  <a:pt x="363" y="500"/>
                </a:lnTo>
                <a:lnTo>
                  <a:pt x="379" y="467"/>
                </a:lnTo>
                <a:lnTo>
                  <a:pt x="361" y="441"/>
                </a:lnTo>
                <a:lnTo>
                  <a:pt x="372" y="427"/>
                </a:lnTo>
                <a:lnTo>
                  <a:pt x="360" y="422"/>
                </a:lnTo>
                <a:lnTo>
                  <a:pt x="348" y="435"/>
                </a:lnTo>
                <a:lnTo>
                  <a:pt x="344" y="433"/>
                </a:lnTo>
                <a:lnTo>
                  <a:pt x="346" y="422"/>
                </a:lnTo>
                <a:lnTo>
                  <a:pt x="316" y="428"/>
                </a:lnTo>
                <a:lnTo>
                  <a:pt x="317" y="420"/>
                </a:lnTo>
                <a:lnTo>
                  <a:pt x="313" y="418"/>
                </a:lnTo>
                <a:lnTo>
                  <a:pt x="320" y="408"/>
                </a:lnTo>
                <a:lnTo>
                  <a:pt x="319" y="395"/>
                </a:lnTo>
                <a:lnTo>
                  <a:pt x="308" y="391"/>
                </a:lnTo>
                <a:lnTo>
                  <a:pt x="319" y="365"/>
                </a:lnTo>
                <a:lnTo>
                  <a:pt x="307" y="347"/>
                </a:lnTo>
                <a:lnTo>
                  <a:pt x="310" y="338"/>
                </a:lnTo>
                <a:lnTo>
                  <a:pt x="295" y="322"/>
                </a:lnTo>
                <a:lnTo>
                  <a:pt x="307" y="317"/>
                </a:lnTo>
                <a:lnTo>
                  <a:pt x="207" y="317"/>
                </a:lnTo>
                <a:lnTo>
                  <a:pt x="204" y="298"/>
                </a:lnTo>
                <a:lnTo>
                  <a:pt x="210" y="284"/>
                </a:lnTo>
                <a:lnTo>
                  <a:pt x="205" y="272"/>
                </a:lnTo>
                <a:lnTo>
                  <a:pt x="207" y="260"/>
                </a:lnTo>
                <a:lnTo>
                  <a:pt x="195" y="237"/>
                </a:lnTo>
                <a:lnTo>
                  <a:pt x="195" y="102"/>
                </a:lnTo>
                <a:lnTo>
                  <a:pt x="199" y="97"/>
                </a:lnTo>
                <a:lnTo>
                  <a:pt x="149" y="93"/>
                </a:lnTo>
                <a:lnTo>
                  <a:pt x="114" y="55"/>
                </a:lnTo>
                <a:lnTo>
                  <a:pt x="102" y="57"/>
                </a:lnTo>
                <a:lnTo>
                  <a:pt x="71" y="16"/>
                </a:lnTo>
                <a:lnTo>
                  <a:pt x="0" y="0"/>
                </a:lnTo>
                <a:lnTo>
                  <a:pt x="0" y="72"/>
                </a:lnTo>
                <a:lnTo>
                  <a:pt x="0" y="142"/>
                </a:lnTo>
                <a:lnTo>
                  <a:pt x="0" y="210"/>
                </a:lnTo>
                <a:lnTo>
                  <a:pt x="0" y="277"/>
                </a:lnTo>
                <a:lnTo>
                  <a:pt x="0" y="341"/>
                </a:lnTo>
                <a:lnTo>
                  <a:pt x="0" y="405"/>
                </a:lnTo>
                <a:lnTo>
                  <a:pt x="0" y="467"/>
                </a:lnTo>
                <a:lnTo>
                  <a:pt x="0" y="527"/>
                </a:lnTo>
                <a:lnTo>
                  <a:pt x="0" y="587"/>
                </a:lnTo>
                <a:lnTo>
                  <a:pt x="0" y="645"/>
                </a:lnTo>
                <a:lnTo>
                  <a:pt x="0" y="702"/>
                </a:lnTo>
                <a:lnTo>
                  <a:pt x="0" y="756"/>
                </a:lnTo>
                <a:lnTo>
                  <a:pt x="0" y="812"/>
                </a:lnTo>
                <a:lnTo>
                  <a:pt x="0" y="866"/>
                </a:lnTo>
                <a:lnTo>
                  <a:pt x="0" y="918"/>
                </a:lnTo>
                <a:lnTo>
                  <a:pt x="0" y="969"/>
                </a:lnTo>
                <a:lnTo>
                  <a:pt x="15" y="980"/>
                </a:lnTo>
                <a:lnTo>
                  <a:pt x="26" y="970"/>
                </a:lnTo>
                <a:lnTo>
                  <a:pt x="43" y="981"/>
                </a:lnTo>
                <a:lnTo>
                  <a:pt x="52" y="968"/>
                </a:lnTo>
                <a:lnTo>
                  <a:pt x="79" y="968"/>
                </a:lnTo>
                <a:lnTo>
                  <a:pt x="76" y="991"/>
                </a:lnTo>
                <a:lnTo>
                  <a:pt x="80" y="995"/>
                </a:lnTo>
                <a:lnTo>
                  <a:pt x="81" y="995"/>
                </a:lnTo>
                <a:close/>
              </a:path>
            </a:pathLst>
          </a:custGeom>
          <a:solidFill>
            <a:schemeClr val="accent1"/>
          </a:solidFill>
          <a:ln w="6350">
            <a:solidFill>
              <a:schemeClr val="tx2"/>
            </a:solidFill>
            <a:round/>
            <a:headEnd/>
            <a:tailEnd/>
          </a:ln>
        </p:spPr>
        <p:txBody>
          <a:bodyPr/>
          <a:lstStyle/>
          <a:p>
            <a:endParaRPr lang="en-US"/>
          </a:p>
        </p:txBody>
      </p:sp>
      <p:sp>
        <p:nvSpPr>
          <p:cNvPr id="248" name="Freeform 1148"/>
          <p:cNvSpPr>
            <a:spLocks/>
          </p:cNvSpPr>
          <p:nvPr/>
        </p:nvSpPr>
        <p:spPr bwMode="auto">
          <a:xfrm>
            <a:off x="2658623" y="2586879"/>
            <a:ext cx="1116571" cy="536210"/>
          </a:xfrm>
          <a:custGeom>
            <a:avLst/>
            <a:gdLst>
              <a:gd name="T0" fmla="*/ 2147483647 w 2377"/>
              <a:gd name="T1" fmla="*/ 2147483647 h 1287"/>
              <a:gd name="T2" fmla="*/ 2147483647 w 2377"/>
              <a:gd name="T3" fmla="*/ 2147483647 h 1287"/>
              <a:gd name="T4" fmla="*/ 2147483647 w 2377"/>
              <a:gd name="T5" fmla="*/ 2147483647 h 1287"/>
              <a:gd name="T6" fmla="*/ 2147483647 w 2377"/>
              <a:gd name="T7" fmla="*/ 2147483647 h 1287"/>
              <a:gd name="T8" fmla="*/ 2147483647 w 2377"/>
              <a:gd name="T9" fmla="*/ 2147483647 h 1287"/>
              <a:gd name="T10" fmla="*/ 2147483647 w 2377"/>
              <a:gd name="T11" fmla="*/ 2147483647 h 1287"/>
              <a:gd name="T12" fmla="*/ 2147483647 w 2377"/>
              <a:gd name="T13" fmla="*/ 2147483647 h 1287"/>
              <a:gd name="T14" fmla="*/ 2147483647 w 2377"/>
              <a:gd name="T15" fmla="*/ 2147483647 h 1287"/>
              <a:gd name="T16" fmla="*/ 2147483647 w 2377"/>
              <a:gd name="T17" fmla="*/ 2147483647 h 1287"/>
              <a:gd name="T18" fmla="*/ 2147483647 w 2377"/>
              <a:gd name="T19" fmla="*/ 2147483647 h 1287"/>
              <a:gd name="T20" fmla="*/ 2147483647 w 2377"/>
              <a:gd name="T21" fmla="*/ 2147483647 h 1287"/>
              <a:gd name="T22" fmla="*/ 2147483647 w 2377"/>
              <a:gd name="T23" fmla="*/ 2147483647 h 1287"/>
              <a:gd name="T24" fmla="*/ 2147483647 w 2377"/>
              <a:gd name="T25" fmla="*/ 2147483647 h 1287"/>
              <a:gd name="T26" fmla="*/ 2147483647 w 2377"/>
              <a:gd name="T27" fmla="*/ 2147483647 h 1287"/>
              <a:gd name="T28" fmla="*/ 2147483647 w 2377"/>
              <a:gd name="T29" fmla="*/ 2147483647 h 1287"/>
              <a:gd name="T30" fmla="*/ 2147483647 w 2377"/>
              <a:gd name="T31" fmla="*/ 2147483647 h 1287"/>
              <a:gd name="T32" fmla="*/ 2147483647 w 2377"/>
              <a:gd name="T33" fmla="*/ 2147483647 h 1287"/>
              <a:gd name="T34" fmla="*/ 2147483647 w 2377"/>
              <a:gd name="T35" fmla="*/ 2147483647 h 1287"/>
              <a:gd name="T36" fmla="*/ 2147483647 w 2377"/>
              <a:gd name="T37" fmla="*/ 2147483647 h 1287"/>
              <a:gd name="T38" fmla="*/ 2147483647 w 2377"/>
              <a:gd name="T39" fmla="*/ 2147483647 h 1287"/>
              <a:gd name="T40" fmla="*/ 2147483647 w 2377"/>
              <a:gd name="T41" fmla="*/ 2147483647 h 1287"/>
              <a:gd name="T42" fmla="*/ 2147483647 w 2377"/>
              <a:gd name="T43" fmla="*/ 2147483647 h 1287"/>
              <a:gd name="T44" fmla="*/ 2147483647 w 2377"/>
              <a:gd name="T45" fmla="*/ 2147483647 h 1287"/>
              <a:gd name="T46" fmla="*/ 2147483647 w 2377"/>
              <a:gd name="T47" fmla="*/ 2147483647 h 1287"/>
              <a:gd name="T48" fmla="*/ 2147483647 w 2377"/>
              <a:gd name="T49" fmla="*/ 2147483647 h 1287"/>
              <a:gd name="T50" fmla="*/ 2147483647 w 2377"/>
              <a:gd name="T51" fmla="*/ 2147483647 h 1287"/>
              <a:gd name="T52" fmla="*/ 2147483647 w 2377"/>
              <a:gd name="T53" fmla="*/ 2147483647 h 1287"/>
              <a:gd name="T54" fmla="*/ 2147483647 w 2377"/>
              <a:gd name="T55" fmla="*/ 2147483647 h 1287"/>
              <a:gd name="T56" fmla="*/ 2147483647 w 2377"/>
              <a:gd name="T57" fmla="*/ 2147483647 h 1287"/>
              <a:gd name="T58" fmla="*/ 2147483647 w 2377"/>
              <a:gd name="T59" fmla="*/ 2147483647 h 1287"/>
              <a:gd name="T60" fmla="*/ 2147483647 w 2377"/>
              <a:gd name="T61" fmla="*/ 2147483647 h 1287"/>
              <a:gd name="T62" fmla="*/ 2147483647 w 2377"/>
              <a:gd name="T63" fmla="*/ 2147483647 h 1287"/>
              <a:gd name="T64" fmla="*/ 2147483647 w 2377"/>
              <a:gd name="T65" fmla="*/ 2147483647 h 1287"/>
              <a:gd name="T66" fmla="*/ 2147483647 w 2377"/>
              <a:gd name="T67" fmla="*/ 2147483647 h 1287"/>
              <a:gd name="T68" fmla="*/ 2147483647 w 2377"/>
              <a:gd name="T69" fmla="*/ 2147483647 h 1287"/>
              <a:gd name="T70" fmla="*/ 2147483647 w 2377"/>
              <a:gd name="T71" fmla="*/ 2147483647 h 1287"/>
              <a:gd name="T72" fmla="*/ 2147483647 w 2377"/>
              <a:gd name="T73" fmla="*/ 2147483647 h 1287"/>
              <a:gd name="T74" fmla="*/ 2147483647 w 2377"/>
              <a:gd name="T75" fmla="*/ 2147483647 h 1287"/>
              <a:gd name="T76" fmla="*/ 2147483647 w 2377"/>
              <a:gd name="T77" fmla="*/ 2147483647 h 1287"/>
              <a:gd name="T78" fmla="*/ 2147483647 w 2377"/>
              <a:gd name="T79" fmla="*/ 2147483647 h 1287"/>
              <a:gd name="T80" fmla="*/ 2147483647 w 2377"/>
              <a:gd name="T81" fmla="*/ 2147483647 h 1287"/>
              <a:gd name="T82" fmla="*/ 2147483647 w 2377"/>
              <a:gd name="T83" fmla="*/ 2147483647 h 1287"/>
              <a:gd name="T84" fmla="*/ 2147483647 w 2377"/>
              <a:gd name="T85" fmla="*/ 2147483647 h 1287"/>
              <a:gd name="T86" fmla="*/ 2147483647 w 2377"/>
              <a:gd name="T87" fmla="*/ 2147483647 h 1287"/>
              <a:gd name="T88" fmla="*/ 2147483647 w 2377"/>
              <a:gd name="T89" fmla="*/ 2147483647 h 1287"/>
              <a:gd name="T90" fmla="*/ 2147483647 w 2377"/>
              <a:gd name="T91" fmla="*/ 2147483647 h 1287"/>
              <a:gd name="T92" fmla="*/ 2147483647 w 2377"/>
              <a:gd name="T93" fmla="*/ 2147483647 h 1287"/>
              <a:gd name="T94" fmla="*/ 2147483647 w 2377"/>
              <a:gd name="T95" fmla="*/ 2147483647 h 1287"/>
              <a:gd name="T96" fmla="*/ 2147483647 w 2377"/>
              <a:gd name="T97" fmla="*/ 2147483647 h 1287"/>
              <a:gd name="T98" fmla="*/ 2147483647 w 2377"/>
              <a:gd name="T99" fmla="*/ 2147483647 h 1287"/>
              <a:gd name="T100" fmla="*/ 2147483647 w 2377"/>
              <a:gd name="T101" fmla="*/ 2147483647 h 1287"/>
              <a:gd name="T102" fmla="*/ 0 w 2377"/>
              <a:gd name="T103" fmla="*/ 2147483647 h 1287"/>
              <a:gd name="T104" fmla="*/ 2147483647 w 2377"/>
              <a:gd name="T105" fmla="*/ 2147483647 h 1287"/>
              <a:gd name="T106" fmla="*/ 2147483647 w 2377"/>
              <a:gd name="T107" fmla="*/ 2147483647 h 1287"/>
              <a:gd name="T108" fmla="*/ 2147483647 w 2377"/>
              <a:gd name="T109" fmla="*/ 2147483647 h 1287"/>
              <a:gd name="T110" fmla="*/ 2147483647 w 2377"/>
              <a:gd name="T111" fmla="*/ 2147483647 h 1287"/>
              <a:gd name="T112" fmla="*/ 2147483647 w 2377"/>
              <a:gd name="T113" fmla="*/ 2147483647 h 1287"/>
              <a:gd name="T114" fmla="*/ 2147483647 w 2377"/>
              <a:gd name="T115" fmla="*/ 2147483647 h 1287"/>
              <a:gd name="T116" fmla="*/ 2147483647 w 2377"/>
              <a:gd name="T117" fmla="*/ 2147483647 h 1287"/>
              <a:gd name="T118" fmla="*/ 2147483647 w 2377"/>
              <a:gd name="T119" fmla="*/ 2147483647 h 1287"/>
              <a:gd name="T120" fmla="*/ 2147483647 w 2377"/>
              <a:gd name="T121" fmla="*/ 2147483647 h 1287"/>
              <a:gd name="T122" fmla="*/ 2147483647 w 2377"/>
              <a:gd name="T123" fmla="*/ 2147483647 h 1287"/>
              <a:gd name="T124" fmla="*/ 2147483647 w 2377"/>
              <a:gd name="T125" fmla="*/ 2147483647 h 12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77"/>
              <a:gd name="T190" fmla="*/ 0 h 1287"/>
              <a:gd name="T191" fmla="*/ 2377 w 2377"/>
              <a:gd name="T192" fmla="*/ 1287 h 12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77" h="1287">
                <a:moveTo>
                  <a:pt x="1483" y="1287"/>
                </a:moveTo>
                <a:lnTo>
                  <a:pt x="1522" y="1287"/>
                </a:lnTo>
                <a:lnTo>
                  <a:pt x="1564" y="1287"/>
                </a:lnTo>
                <a:lnTo>
                  <a:pt x="1603" y="1287"/>
                </a:lnTo>
                <a:lnTo>
                  <a:pt x="1638" y="1287"/>
                </a:lnTo>
                <a:lnTo>
                  <a:pt x="1678" y="1287"/>
                </a:lnTo>
                <a:lnTo>
                  <a:pt x="1719" y="1287"/>
                </a:lnTo>
                <a:lnTo>
                  <a:pt x="1759" y="1287"/>
                </a:lnTo>
                <a:lnTo>
                  <a:pt x="1797" y="1287"/>
                </a:lnTo>
                <a:lnTo>
                  <a:pt x="1797" y="1246"/>
                </a:lnTo>
                <a:lnTo>
                  <a:pt x="1805" y="1241"/>
                </a:lnTo>
                <a:lnTo>
                  <a:pt x="1807" y="1214"/>
                </a:lnTo>
                <a:lnTo>
                  <a:pt x="1815" y="1211"/>
                </a:lnTo>
                <a:lnTo>
                  <a:pt x="1821" y="1185"/>
                </a:lnTo>
                <a:lnTo>
                  <a:pt x="1804" y="1167"/>
                </a:lnTo>
                <a:lnTo>
                  <a:pt x="1827" y="1163"/>
                </a:lnTo>
                <a:lnTo>
                  <a:pt x="1848" y="1145"/>
                </a:lnTo>
                <a:lnTo>
                  <a:pt x="1857" y="1130"/>
                </a:lnTo>
                <a:lnTo>
                  <a:pt x="1850" y="1118"/>
                </a:lnTo>
                <a:lnTo>
                  <a:pt x="1863" y="1118"/>
                </a:lnTo>
                <a:lnTo>
                  <a:pt x="1872" y="1092"/>
                </a:lnTo>
                <a:lnTo>
                  <a:pt x="1877" y="1090"/>
                </a:lnTo>
                <a:lnTo>
                  <a:pt x="1890" y="1105"/>
                </a:lnTo>
                <a:lnTo>
                  <a:pt x="1886" y="1082"/>
                </a:lnTo>
                <a:lnTo>
                  <a:pt x="1889" y="1056"/>
                </a:lnTo>
                <a:lnTo>
                  <a:pt x="1916" y="1055"/>
                </a:lnTo>
                <a:lnTo>
                  <a:pt x="1901" y="1051"/>
                </a:lnTo>
                <a:lnTo>
                  <a:pt x="1894" y="1039"/>
                </a:lnTo>
                <a:lnTo>
                  <a:pt x="1897" y="1033"/>
                </a:lnTo>
                <a:lnTo>
                  <a:pt x="1940" y="1035"/>
                </a:lnTo>
                <a:lnTo>
                  <a:pt x="1968" y="1026"/>
                </a:lnTo>
                <a:lnTo>
                  <a:pt x="1974" y="1017"/>
                </a:lnTo>
                <a:lnTo>
                  <a:pt x="1971" y="991"/>
                </a:lnTo>
                <a:lnTo>
                  <a:pt x="1962" y="970"/>
                </a:lnTo>
                <a:lnTo>
                  <a:pt x="1955" y="972"/>
                </a:lnTo>
                <a:lnTo>
                  <a:pt x="1925" y="949"/>
                </a:lnTo>
                <a:lnTo>
                  <a:pt x="1903" y="961"/>
                </a:lnTo>
                <a:lnTo>
                  <a:pt x="1910" y="947"/>
                </a:lnTo>
                <a:lnTo>
                  <a:pt x="1895" y="942"/>
                </a:lnTo>
                <a:lnTo>
                  <a:pt x="1890" y="948"/>
                </a:lnTo>
                <a:lnTo>
                  <a:pt x="1888" y="940"/>
                </a:lnTo>
                <a:lnTo>
                  <a:pt x="1860" y="925"/>
                </a:lnTo>
                <a:lnTo>
                  <a:pt x="1861" y="933"/>
                </a:lnTo>
                <a:lnTo>
                  <a:pt x="1855" y="936"/>
                </a:lnTo>
                <a:lnTo>
                  <a:pt x="1846" y="926"/>
                </a:lnTo>
                <a:lnTo>
                  <a:pt x="1853" y="916"/>
                </a:lnTo>
                <a:lnTo>
                  <a:pt x="1908" y="943"/>
                </a:lnTo>
                <a:lnTo>
                  <a:pt x="1936" y="936"/>
                </a:lnTo>
                <a:lnTo>
                  <a:pt x="1938" y="947"/>
                </a:lnTo>
                <a:lnTo>
                  <a:pt x="1974" y="969"/>
                </a:lnTo>
                <a:lnTo>
                  <a:pt x="1997" y="951"/>
                </a:lnTo>
                <a:lnTo>
                  <a:pt x="2003" y="937"/>
                </a:lnTo>
                <a:lnTo>
                  <a:pt x="1999" y="932"/>
                </a:lnTo>
                <a:lnTo>
                  <a:pt x="2000" y="923"/>
                </a:lnTo>
                <a:lnTo>
                  <a:pt x="2010" y="926"/>
                </a:lnTo>
                <a:lnTo>
                  <a:pt x="2007" y="904"/>
                </a:lnTo>
                <a:lnTo>
                  <a:pt x="2039" y="922"/>
                </a:lnTo>
                <a:lnTo>
                  <a:pt x="2042" y="915"/>
                </a:lnTo>
                <a:lnTo>
                  <a:pt x="2059" y="920"/>
                </a:lnTo>
                <a:lnTo>
                  <a:pt x="2083" y="903"/>
                </a:lnTo>
                <a:lnTo>
                  <a:pt x="2095" y="881"/>
                </a:lnTo>
                <a:lnTo>
                  <a:pt x="2095" y="870"/>
                </a:lnTo>
                <a:lnTo>
                  <a:pt x="2105" y="865"/>
                </a:lnTo>
                <a:lnTo>
                  <a:pt x="2129" y="822"/>
                </a:lnTo>
                <a:lnTo>
                  <a:pt x="2135" y="799"/>
                </a:lnTo>
                <a:lnTo>
                  <a:pt x="2042" y="785"/>
                </a:lnTo>
                <a:lnTo>
                  <a:pt x="2009" y="745"/>
                </a:lnTo>
                <a:lnTo>
                  <a:pt x="1994" y="736"/>
                </a:lnTo>
                <a:lnTo>
                  <a:pt x="1998" y="727"/>
                </a:lnTo>
                <a:lnTo>
                  <a:pt x="2023" y="729"/>
                </a:lnTo>
                <a:lnTo>
                  <a:pt x="2057" y="748"/>
                </a:lnTo>
                <a:lnTo>
                  <a:pt x="2088" y="785"/>
                </a:lnTo>
                <a:lnTo>
                  <a:pt x="2125" y="781"/>
                </a:lnTo>
                <a:lnTo>
                  <a:pt x="2171" y="710"/>
                </a:lnTo>
                <a:lnTo>
                  <a:pt x="2173" y="694"/>
                </a:lnTo>
                <a:lnTo>
                  <a:pt x="2169" y="687"/>
                </a:lnTo>
                <a:lnTo>
                  <a:pt x="2144" y="677"/>
                </a:lnTo>
                <a:lnTo>
                  <a:pt x="2142" y="670"/>
                </a:lnTo>
                <a:lnTo>
                  <a:pt x="2152" y="656"/>
                </a:lnTo>
                <a:lnTo>
                  <a:pt x="2181" y="665"/>
                </a:lnTo>
                <a:lnTo>
                  <a:pt x="2202" y="656"/>
                </a:lnTo>
                <a:lnTo>
                  <a:pt x="2209" y="688"/>
                </a:lnTo>
                <a:lnTo>
                  <a:pt x="2237" y="694"/>
                </a:lnTo>
                <a:lnTo>
                  <a:pt x="2237" y="676"/>
                </a:lnTo>
                <a:lnTo>
                  <a:pt x="2242" y="676"/>
                </a:lnTo>
                <a:lnTo>
                  <a:pt x="2270" y="698"/>
                </a:lnTo>
                <a:lnTo>
                  <a:pt x="2264" y="669"/>
                </a:lnTo>
                <a:lnTo>
                  <a:pt x="2254" y="656"/>
                </a:lnTo>
                <a:lnTo>
                  <a:pt x="2253" y="648"/>
                </a:lnTo>
                <a:lnTo>
                  <a:pt x="2259" y="642"/>
                </a:lnTo>
                <a:lnTo>
                  <a:pt x="2292" y="676"/>
                </a:lnTo>
                <a:lnTo>
                  <a:pt x="2303" y="658"/>
                </a:lnTo>
                <a:lnTo>
                  <a:pt x="2318" y="655"/>
                </a:lnTo>
                <a:lnTo>
                  <a:pt x="2355" y="608"/>
                </a:lnTo>
                <a:lnTo>
                  <a:pt x="2372" y="598"/>
                </a:lnTo>
                <a:lnTo>
                  <a:pt x="2376" y="586"/>
                </a:lnTo>
                <a:lnTo>
                  <a:pt x="2373" y="567"/>
                </a:lnTo>
                <a:lnTo>
                  <a:pt x="2377" y="555"/>
                </a:lnTo>
                <a:lnTo>
                  <a:pt x="2342" y="509"/>
                </a:lnTo>
                <a:lnTo>
                  <a:pt x="2347" y="472"/>
                </a:lnTo>
                <a:lnTo>
                  <a:pt x="2332" y="479"/>
                </a:lnTo>
                <a:lnTo>
                  <a:pt x="2333" y="466"/>
                </a:lnTo>
                <a:lnTo>
                  <a:pt x="2328" y="466"/>
                </a:lnTo>
                <a:lnTo>
                  <a:pt x="2332" y="460"/>
                </a:lnTo>
                <a:lnTo>
                  <a:pt x="2322" y="445"/>
                </a:lnTo>
                <a:lnTo>
                  <a:pt x="2323" y="437"/>
                </a:lnTo>
                <a:lnTo>
                  <a:pt x="2343" y="436"/>
                </a:lnTo>
                <a:lnTo>
                  <a:pt x="2351" y="451"/>
                </a:lnTo>
                <a:lnTo>
                  <a:pt x="2377" y="422"/>
                </a:lnTo>
                <a:lnTo>
                  <a:pt x="2374" y="401"/>
                </a:lnTo>
                <a:lnTo>
                  <a:pt x="2348" y="397"/>
                </a:lnTo>
                <a:lnTo>
                  <a:pt x="2374" y="368"/>
                </a:lnTo>
                <a:lnTo>
                  <a:pt x="2357" y="352"/>
                </a:lnTo>
                <a:lnTo>
                  <a:pt x="2332" y="352"/>
                </a:lnTo>
                <a:lnTo>
                  <a:pt x="2335" y="347"/>
                </a:lnTo>
                <a:lnTo>
                  <a:pt x="2329" y="337"/>
                </a:lnTo>
                <a:lnTo>
                  <a:pt x="2315" y="324"/>
                </a:lnTo>
                <a:lnTo>
                  <a:pt x="2322" y="321"/>
                </a:lnTo>
                <a:lnTo>
                  <a:pt x="2317" y="295"/>
                </a:lnTo>
                <a:lnTo>
                  <a:pt x="2277" y="300"/>
                </a:lnTo>
                <a:lnTo>
                  <a:pt x="2235" y="277"/>
                </a:lnTo>
                <a:lnTo>
                  <a:pt x="2197" y="281"/>
                </a:lnTo>
                <a:lnTo>
                  <a:pt x="2194" y="302"/>
                </a:lnTo>
                <a:lnTo>
                  <a:pt x="2199" y="333"/>
                </a:lnTo>
                <a:lnTo>
                  <a:pt x="2197" y="345"/>
                </a:lnTo>
                <a:lnTo>
                  <a:pt x="2206" y="364"/>
                </a:lnTo>
                <a:lnTo>
                  <a:pt x="2228" y="375"/>
                </a:lnTo>
                <a:lnTo>
                  <a:pt x="2230" y="382"/>
                </a:lnTo>
                <a:lnTo>
                  <a:pt x="2217" y="382"/>
                </a:lnTo>
                <a:lnTo>
                  <a:pt x="2210" y="397"/>
                </a:lnTo>
                <a:lnTo>
                  <a:pt x="2228" y="407"/>
                </a:lnTo>
                <a:lnTo>
                  <a:pt x="2199" y="408"/>
                </a:lnTo>
                <a:lnTo>
                  <a:pt x="2183" y="420"/>
                </a:lnTo>
                <a:lnTo>
                  <a:pt x="2181" y="458"/>
                </a:lnTo>
                <a:lnTo>
                  <a:pt x="2166" y="500"/>
                </a:lnTo>
                <a:lnTo>
                  <a:pt x="2150" y="526"/>
                </a:lnTo>
                <a:lnTo>
                  <a:pt x="2146" y="564"/>
                </a:lnTo>
                <a:lnTo>
                  <a:pt x="2127" y="564"/>
                </a:lnTo>
                <a:lnTo>
                  <a:pt x="2124" y="580"/>
                </a:lnTo>
                <a:lnTo>
                  <a:pt x="2116" y="585"/>
                </a:lnTo>
                <a:lnTo>
                  <a:pt x="2069" y="502"/>
                </a:lnTo>
                <a:lnTo>
                  <a:pt x="2071" y="481"/>
                </a:lnTo>
                <a:lnTo>
                  <a:pt x="2069" y="467"/>
                </a:lnTo>
                <a:lnTo>
                  <a:pt x="2076" y="449"/>
                </a:lnTo>
                <a:lnTo>
                  <a:pt x="2079" y="466"/>
                </a:lnTo>
                <a:lnTo>
                  <a:pt x="2093" y="463"/>
                </a:lnTo>
                <a:lnTo>
                  <a:pt x="2078" y="395"/>
                </a:lnTo>
                <a:lnTo>
                  <a:pt x="2056" y="375"/>
                </a:lnTo>
                <a:lnTo>
                  <a:pt x="2042" y="346"/>
                </a:lnTo>
                <a:lnTo>
                  <a:pt x="2023" y="349"/>
                </a:lnTo>
                <a:lnTo>
                  <a:pt x="2008" y="375"/>
                </a:lnTo>
                <a:lnTo>
                  <a:pt x="2008" y="415"/>
                </a:lnTo>
                <a:lnTo>
                  <a:pt x="2003" y="415"/>
                </a:lnTo>
                <a:lnTo>
                  <a:pt x="2001" y="437"/>
                </a:lnTo>
                <a:lnTo>
                  <a:pt x="1994" y="455"/>
                </a:lnTo>
                <a:lnTo>
                  <a:pt x="1987" y="461"/>
                </a:lnTo>
                <a:lnTo>
                  <a:pt x="1976" y="436"/>
                </a:lnTo>
                <a:lnTo>
                  <a:pt x="1982" y="402"/>
                </a:lnTo>
                <a:lnTo>
                  <a:pt x="1967" y="367"/>
                </a:lnTo>
                <a:lnTo>
                  <a:pt x="1941" y="337"/>
                </a:lnTo>
                <a:lnTo>
                  <a:pt x="1959" y="343"/>
                </a:lnTo>
                <a:lnTo>
                  <a:pt x="1964" y="329"/>
                </a:lnTo>
                <a:lnTo>
                  <a:pt x="1962" y="317"/>
                </a:lnTo>
                <a:lnTo>
                  <a:pt x="1959" y="324"/>
                </a:lnTo>
                <a:lnTo>
                  <a:pt x="1939" y="316"/>
                </a:lnTo>
                <a:lnTo>
                  <a:pt x="1943" y="304"/>
                </a:lnTo>
                <a:lnTo>
                  <a:pt x="1919" y="319"/>
                </a:lnTo>
                <a:lnTo>
                  <a:pt x="1899" y="297"/>
                </a:lnTo>
                <a:lnTo>
                  <a:pt x="1884" y="298"/>
                </a:lnTo>
                <a:lnTo>
                  <a:pt x="1883" y="290"/>
                </a:lnTo>
                <a:lnTo>
                  <a:pt x="1891" y="279"/>
                </a:lnTo>
                <a:lnTo>
                  <a:pt x="1916" y="261"/>
                </a:lnTo>
                <a:lnTo>
                  <a:pt x="1894" y="248"/>
                </a:lnTo>
                <a:lnTo>
                  <a:pt x="1896" y="236"/>
                </a:lnTo>
                <a:lnTo>
                  <a:pt x="1935" y="240"/>
                </a:lnTo>
                <a:lnTo>
                  <a:pt x="1920" y="213"/>
                </a:lnTo>
                <a:lnTo>
                  <a:pt x="1912" y="222"/>
                </a:lnTo>
                <a:lnTo>
                  <a:pt x="1901" y="179"/>
                </a:lnTo>
                <a:lnTo>
                  <a:pt x="1884" y="173"/>
                </a:lnTo>
                <a:lnTo>
                  <a:pt x="1882" y="157"/>
                </a:lnTo>
                <a:lnTo>
                  <a:pt x="1873" y="155"/>
                </a:lnTo>
                <a:lnTo>
                  <a:pt x="1875" y="114"/>
                </a:lnTo>
                <a:lnTo>
                  <a:pt x="1871" y="90"/>
                </a:lnTo>
                <a:lnTo>
                  <a:pt x="1842" y="57"/>
                </a:lnTo>
                <a:lnTo>
                  <a:pt x="1838" y="48"/>
                </a:lnTo>
                <a:lnTo>
                  <a:pt x="1841" y="27"/>
                </a:lnTo>
                <a:lnTo>
                  <a:pt x="1828" y="33"/>
                </a:lnTo>
                <a:lnTo>
                  <a:pt x="1820" y="23"/>
                </a:lnTo>
                <a:lnTo>
                  <a:pt x="1811" y="37"/>
                </a:lnTo>
                <a:lnTo>
                  <a:pt x="1811" y="23"/>
                </a:lnTo>
                <a:lnTo>
                  <a:pt x="1803" y="23"/>
                </a:lnTo>
                <a:lnTo>
                  <a:pt x="1808" y="7"/>
                </a:lnTo>
                <a:lnTo>
                  <a:pt x="1777" y="0"/>
                </a:lnTo>
                <a:lnTo>
                  <a:pt x="1750" y="52"/>
                </a:lnTo>
                <a:lnTo>
                  <a:pt x="1761" y="66"/>
                </a:lnTo>
                <a:lnTo>
                  <a:pt x="1760" y="96"/>
                </a:lnTo>
                <a:lnTo>
                  <a:pt x="1743" y="78"/>
                </a:lnTo>
                <a:lnTo>
                  <a:pt x="1729" y="95"/>
                </a:lnTo>
                <a:lnTo>
                  <a:pt x="1729" y="121"/>
                </a:lnTo>
                <a:lnTo>
                  <a:pt x="1723" y="151"/>
                </a:lnTo>
                <a:lnTo>
                  <a:pt x="1737" y="177"/>
                </a:lnTo>
                <a:lnTo>
                  <a:pt x="1740" y="173"/>
                </a:lnTo>
                <a:lnTo>
                  <a:pt x="1736" y="188"/>
                </a:lnTo>
                <a:lnTo>
                  <a:pt x="1732" y="184"/>
                </a:lnTo>
                <a:lnTo>
                  <a:pt x="1716" y="207"/>
                </a:lnTo>
                <a:lnTo>
                  <a:pt x="1716" y="248"/>
                </a:lnTo>
                <a:lnTo>
                  <a:pt x="1740" y="269"/>
                </a:lnTo>
                <a:lnTo>
                  <a:pt x="1737" y="275"/>
                </a:lnTo>
                <a:lnTo>
                  <a:pt x="1740" y="280"/>
                </a:lnTo>
                <a:lnTo>
                  <a:pt x="1771" y="287"/>
                </a:lnTo>
                <a:lnTo>
                  <a:pt x="1773" y="297"/>
                </a:lnTo>
                <a:lnTo>
                  <a:pt x="1793" y="312"/>
                </a:lnTo>
                <a:lnTo>
                  <a:pt x="1797" y="301"/>
                </a:lnTo>
                <a:lnTo>
                  <a:pt x="1811" y="326"/>
                </a:lnTo>
                <a:lnTo>
                  <a:pt x="1841" y="318"/>
                </a:lnTo>
                <a:lnTo>
                  <a:pt x="1845" y="334"/>
                </a:lnTo>
                <a:lnTo>
                  <a:pt x="1842" y="347"/>
                </a:lnTo>
                <a:lnTo>
                  <a:pt x="1832" y="352"/>
                </a:lnTo>
                <a:lnTo>
                  <a:pt x="1837" y="329"/>
                </a:lnTo>
                <a:lnTo>
                  <a:pt x="1820" y="338"/>
                </a:lnTo>
                <a:lnTo>
                  <a:pt x="1812" y="362"/>
                </a:lnTo>
                <a:lnTo>
                  <a:pt x="1817" y="368"/>
                </a:lnTo>
                <a:lnTo>
                  <a:pt x="1811" y="385"/>
                </a:lnTo>
                <a:lnTo>
                  <a:pt x="1802" y="386"/>
                </a:lnTo>
                <a:lnTo>
                  <a:pt x="1798" y="410"/>
                </a:lnTo>
                <a:lnTo>
                  <a:pt x="1823" y="408"/>
                </a:lnTo>
                <a:lnTo>
                  <a:pt x="1833" y="389"/>
                </a:lnTo>
                <a:lnTo>
                  <a:pt x="1824" y="397"/>
                </a:lnTo>
                <a:lnTo>
                  <a:pt x="1827" y="378"/>
                </a:lnTo>
                <a:lnTo>
                  <a:pt x="1837" y="384"/>
                </a:lnTo>
                <a:lnTo>
                  <a:pt x="1839" y="422"/>
                </a:lnTo>
                <a:lnTo>
                  <a:pt x="1847" y="426"/>
                </a:lnTo>
                <a:lnTo>
                  <a:pt x="1822" y="449"/>
                </a:lnTo>
                <a:lnTo>
                  <a:pt x="1817" y="468"/>
                </a:lnTo>
                <a:lnTo>
                  <a:pt x="1799" y="488"/>
                </a:lnTo>
                <a:lnTo>
                  <a:pt x="1758" y="484"/>
                </a:lnTo>
                <a:lnTo>
                  <a:pt x="1763" y="497"/>
                </a:lnTo>
                <a:lnTo>
                  <a:pt x="1757" y="526"/>
                </a:lnTo>
                <a:lnTo>
                  <a:pt x="1771" y="543"/>
                </a:lnTo>
                <a:lnTo>
                  <a:pt x="1774" y="570"/>
                </a:lnTo>
                <a:lnTo>
                  <a:pt x="1770" y="583"/>
                </a:lnTo>
                <a:lnTo>
                  <a:pt x="1758" y="575"/>
                </a:lnTo>
                <a:lnTo>
                  <a:pt x="1763" y="562"/>
                </a:lnTo>
                <a:lnTo>
                  <a:pt x="1740" y="576"/>
                </a:lnTo>
                <a:lnTo>
                  <a:pt x="1740" y="555"/>
                </a:lnTo>
                <a:lnTo>
                  <a:pt x="1729" y="556"/>
                </a:lnTo>
                <a:lnTo>
                  <a:pt x="1725" y="543"/>
                </a:lnTo>
                <a:lnTo>
                  <a:pt x="1740" y="534"/>
                </a:lnTo>
                <a:lnTo>
                  <a:pt x="1734" y="522"/>
                </a:lnTo>
                <a:lnTo>
                  <a:pt x="1740" y="497"/>
                </a:lnTo>
                <a:lnTo>
                  <a:pt x="1742" y="467"/>
                </a:lnTo>
                <a:lnTo>
                  <a:pt x="1723" y="478"/>
                </a:lnTo>
                <a:lnTo>
                  <a:pt x="1723" y="493"/>
                </a:lnTo>
                <a:lnTo>
                  <a:pt x="1712" y="491"/>
                </a:lnTo>
                <a:lnTo>
                  <a:pt x="1709" y="486"/>
                </a:lnTo>
                <a:lnTo>
                  <a:pt x="1718" y="458"/>
                </a:lnTo>
                <a:lnTo>
                  <a:pt x="1699" y="461"/>
                </a:lnTo>
                <a:lnTo>
                  <a:pt x="1704" y="455"/>
                </a:lnTo>
                <a:lnTo>
                  <a:pt x="1687" y="438"/>
                </a:lnTo>
                <a:lnTo>
                  <a:pt x="1677" y="437"/>
                </a:lnTo>
                <a:lnTo>
                  <a:pt x="1680" y="449"/>
                </a:lnTo>
                <a:lnTo>
                  <a:pt x="1661" y="431"/>
                </a:lnTo>
                <a:lnTo>
                  <a:pt x="1655" y="434"/>
                </a:lnTo>
                <a:lnTo>
                  <a:pt x="1669" y="451"/>
                </a:lnTo>
                <a:lnTo>
                  <a:pt x="1640" y="449"/>
                </a:lnTo>
                <a:lnTo>
                  <a:pt x="1637" y="456"/>
                </a:lnTo>
                <a:lnTo>
                  <a:pt x="1626" y="449"/>
                </a:lnTo>
                <a:lnTo>
                  <a:pt x="1643" y="472"/>
                </a:lnTo>
                <a:lnTo>
                  <a:pt x="1643" y="483"/>
                </a:lnTo>
                <a:lnTo>
                  <a:pt x="1637" y="480"/>
                </a:lnTo>
                <a:lnTo>
                  <a:pt x="1652" y="513"/>
                </a:lnTo>
                <a:lnTo>
                  <a:pt x="1659" y="515"/>
                </a:lnTo>
                <a:lnTo>
                  <a:pt x="1656" y="506"/>
                </a:lnTo>
                <a:lnTo>
                  <a:pt x="1660" y="499"/>
                </a:lnTo>
                <a:lnTo>
                  <a:pt x="1677" y="497"/>
                </a:lnTo>
                <a:lnTo>
                  <a:pt x="1680" y="508"/>
                </a:lnTo>
                <a:lnTo>
                  <a:pt x="1691" y="502"/>
                </a:lnTo>
                <a:lnTo>
                  <a:pt x="1692" y="529"/>
                </a:lnTo>
                <a:lnTo>
                  <a:pt x="1685" y="537"/>
                </a:lnTo>
                <a:lnTo>
                  <a:pt x="1649" y="521"/>
                </a:lnTo>
                <a:lnTo>
                  <a:pt x="1632" y="486"/>
                </a:lnTo>
                <a:lnTo>
                  <a:pt x="1624" y="492"/>
                </a:lnTo>
                <a:lnTo>
                  <a:pt x="1639" y="521"/>
                </a:lnTo>
                <a:lnTo>
                  <a:pt x="1611" y="526"/>
                </a:lnTo>
                <a:lnTo>
                  <a:pt x="1591" y="514"/>
                </a:lnTo>
                <a:lnTo>
                  <a:pt x="1555" y="512"/>
                </a:lnTo>
                <a:lnTo>
                  <a:pt x="1535" y="526"/>
                </a:lnTo>
                <a:lnTo>
                  <a:pt x="1518" y="521"/>
                </a:lnTo>
                <a:lnTo>
                  <a:pt x="1503" y="529"/>
                </a:lnTo>
                <a:lnTo>
                  <a:pt x="1485" y="521"/>
                </a:lnTo>
                <a:lnTo>
                  <a:pt x="1470" y="530"/>
                </a:lnTo>
                <a:lnTo>
                  <a:pt x="1452" y="521"/>
                </a:lnTo>
                <a:lnTo>
                  <a:pt x="1428" y="492"/>
                </a:lnTo>
                <a:lnTo>
                  <a:pt x="1428" y="479"/>
                </a:lnTo>
                <a:lnTo>
                  <a:pt x="1415" y="472"/>
                </a:lnTo>
                <a:lnTo>
                  <a:pt x="1415" y="481"/>
                </a:lnTo>
                <a:lnTo>
                  <a:pt x="1405" y="483"/>
                </a:lnTo>
                <a:lnTo>
                  <a:pt x="1405" y="491"/>
                </a:lnTo>
                <a:lnTo>
                  <a:pt x="1400" y="488"/>
                </a:lnTo>
                <a:lnTo>
                  <a:pt x="1367" y="482"/>
                </a:lnTo>
                <a:lnTo>
                  <a:pt x="1367" y="467"/>
                </a:lnTo>
                <a:lnTo>
                  <a:pt x="1327" y="442"/>
                </a:lnTo>
                <a:lnTo>
                  <a:pt x="1339" y="436"/>
                </a:lnTo>
                <a:lnTo>
                  <a:pt x="1324" y="412"/>
                </a:lnTo>
                <a:lnTo>
                  <a:pt x="1330" y="408"/>
                </a:lnTo>
                <a:lnTo>
                  <a:pt x="1302" y="380"/>
                </a:lnTo>
                <a:lnTo>
                  <a:pt x="1236" y="416"/>
                </a:lnTo>
                <a:lnTo>
                  <a:pt x="1210" y="419"/>
                </a:lnTo>
                <a:lnTo>
                  <a:pt x="1189" y="452"/>
                </a:lnTo>
                <a:lnTo>
                  <a:pt x="1190" y="465"/>
                </a:lnTo>
                <a:lnTo>
                  <a:pt x="1198" y="467"/>
                </a:lnTo>
                <a:lnTo>
                  <a:pt x="1204" y="472"/>
                </a:lnTo>
                <a:lnTo>
                  <a:pt x="1224" y="478"/>
                </a:lnTo>
                <a:lnTo>
                  <a:pt x="1239" y="471"/>
                </a:lnTo>
                <a:lnTo>
                  <a:pt x="1226" y="458"/>
                </a:lnTo>
                <a:lnTo>
                  <a:pt x="1243" y="450"/>
                </a:lnTo>
                <a:lnTo>
                  <a:pt x="1258" y="460"/>
                </a:lnTo>
                <a:lnTo>
                  <a:pt x="1276" y="449"/>
                </a:lnTo>
                <a:lnTo>
                  <a:pt x="1282" y="461"/>
                </a:lnTo>
                <a:lnTo>
                  <a:pt x="1283" y="449"/>
                </a:lnTo>
                <a:lnTo>
                  <a:pt x="1277" y="436"/>
                </a:lnTo>
                <a:lnTo>
                  <a:pt x="1290" y="435"/>
                </a:lnTo>
                <a:lnTo>
                  <a:pt x="1284" y="427"/>
                </a:lnTo>
                <a:lnTo>
                  <a:pt x="1316" y="416"/>
                </a:lnTo>
                <a:lnTo>
                  <a:pt x="1310" y="430"/>
                </a:lnTo>
                <a:lnTo>
                  <a:pt x="1315" y="432"/>
                </a:lnTo>
                <a:lnTo>
                  <a:pt x="1304" y="437"/>
                </a:lnTo>
                <a:lnTo>
                  <a:pt x="1305" y="444"/>
                </a:lnTo>
                <a:lnTo>
                  <a:pt x="1297" y="462"/>
                </a:lnTo>
                <a:lnTo>
                  <a:pt x="1291" y="455"/>
                </a:lnTo>
                <a:lnTo>
                  <a:pt x="1292" y="468"/>
                </a:lnTo>
                <a:lnTo>
                  <a:pt x="1238" y="486"/>
                </a:lnTo>
                <a:lnTo>
                  <a:pt x="1234" y="499"/>
                </a:lnTo>
                <a:lnTo>
                  <a:pt x="1239" y="501"/>
                </a:lnTo>
                <a:lnTo>
                  <a:pt x="1221" y="521"/>
                </a:lnTo>
                <a:lnTo>
                  <a:pt x="1236" y="534"/>
                </a:lnTo>
                <a:lnTo>
                  <a:pt x="1239" y="543"/>
                </a:lnTo>
                <a:lnTo>
                  <a:pt x="1236" y="561"/>
                </a:lnTo>
                <a:lnTo>
                  <a:pt x="1250" y="591"/>
                </a:lnTo>
                <a:lnTo>
                  <a:pt x="1257" y="594"/>
                </a:lnTo>
                <a:lnTo>
                  <a:pt x="1250" y="600"/>
                </a:lnTo>
                <a:lnTo>
                  <a:pt x="1258" y="614"/>
                </a:lnTo>
                <a:lnTo>
                  <a:pt x="1235" y="618"/>
                </a:lnTo>
                <a:lnTo>
                  <a:pt x="1234" y="633"/>
                </a:lnTo>
                <a:lnTo>
                  <a:pt x="1220" y="620"/>
                </a:lnTo>
                <a:lnTo>
                  <a:pt x="1208" y="599"/>
                </a:lnTo>
                <a:lnTo>
                  <a:pt x="1230" y="591"/>
                </a:lnTo>
                <a:lnTo>
                  <a:pt x="1222" y="570"/>
                </a:lnTo>
                <a:lnTo>
                  <a:pt x="1215" y="570"/>
                </a:lnTo>
                <a:lnTo>
                  <a:pt x="1209" y="555"/>
                </a:lnTo>
                <a:lnTo>
                  <a:pt x="1198" y="560"/>
                </a:lnTo>
                <a:lnTo>
                  <a:pt x="1201" y="543"/>
                </a:lnTo>
                <a:lnTo>
                  <a:pt x="1194" y="534"/>
                </a:lnTo>
                <a:lnTo>
                  <a:pt x="1188" y="560"/>
                </a:lnTo>
                <a:lnTo>
                  <a:pt x="1183" y="553"/>
                </a:lnTo>
                <a:lnTo>
                  <a:pt x="1185" y="543"/>
                </a:lnTo>
                <a:lnTo>
                  <a:pt x="1182" y="536"/>
                </a:lnTo>
                <a:lnTo>
                  <a:pt x="1183" y="521"/>
                </a:lnTo>
                <a:lnTo>
                  <a:pt x="1149" y="521"/>
                </a:lnTo>
                <a:lnTo>
                  <a:pt x="1151" y="515"/>
                </a:lnTo>
                <a:lnTo>
                  <a:pt x="1146" y="504"/>
                </a:lnTo>
                <a:lnTo>
                  <a:pt x="1138" y="506"/>
                </a:lnTo>
                <a:lnTo>
                  <a:pt x="1142" y="500"/>
                </a:lnTo>
                <a:lnTo>
                  <a:pt x="1135" y="489"/>
                </a:lnTo>
                <a:lnTo>
                  <a:pt x="1098" y="521"/>
                </a:lnTo>
                <a:lnTo>
                  <a:pt x="1090" y="521"/>
                </a:lnTo>
                <a:lnTo>
                  <a:pt x="1091" y="507"/>
                </a:lnTo>
                <a:lnTo>
                  <a:pt x="1083" y="509"/>
                </a:lnTo>
                <a:lnTo>
                  <a:pt x="1079" y="522"/>
                </a:lnTo>
                <a:lnTo>
                  <a:pt x="1060" y="518"/>
                </a:lnTo>
                <a:lnTo>
                  <a:pt x="1059" y="527"/>
                </a:lnTo>
                <a:lnTo>
                  <a:pt x="935" y="521"/>
                </a:lnTo>
                <a:lnTo>
                  <a:pt x="921" y="513"/>
                </a:lnTo>
                <a:lnTo>
                  <a:pt x="899" y="500"/>
                </a:lnTo>
                <a:lnTo>
                  <a:pt x="911" y="492"/>
                </a:lnTo>
                <a:lnTo>
                  <a:pt x="911" y="471"/>
                </a:lnTo>
                <a:lnTo>
                  <a:pt x="922" y="462"/>
                </a:lnTo>
                <a:lnTo>
                  <a:pt x="966" y="462"/>
                </a:lnTo>
                <a:lnTo>
                  <a:pt x="965" y="441"/>
                </a:lnTo>
                <a:lnTo>
                  <a:pt x="959" y="449"/>
                </a:lnTo>
                <a:lnTo>
                  <a:pt x="959" y="432"/>
                </a:lnTo>
                <a:lnTo>
                  <a:pt x="930" y="397"/>
                </a:lnTo>
                <a:lnTo>
                  <a:pt x="922" y="401"/>
                </a:lnTo>
                <a:lnTo>
                  <a:pt x="914" y="384"/>
                </a:lnTo>
                <a:lnTo>
                  <a:pt x="869" y="382"/>
                </a:lnTo>
                <a:lnTo>
                  <a:pt x="883" y="394"/>
                </a:lnTo>
                <a:lnTo>
                  <a:pt x="881" y="401"/>
                </a:lnTo>
                <a:lnTo>
                  <a:pt x="872" y="391"/>
                </a:lnTo>
                <a:lnTo>
                  <a:pt x="811" y="384"/>
                </a:lnTo>
                <a:lnTo>
                  <a:pt x="766" y="351"/>
                </a:lnTo>
                <a:lnTo>
                  <a:pt x="690" y="327"/>
                </a:lnTo>
                <a:lnTo>
                  <a:pt x="673" y="306"/>
                </a:lnTo>
                <a:lnTo>
                  <a:pt x="632" y="281"/>
                </a:lnTo>
                <a:lnTo>
                  <a:pt x="576" y="281"/>
                </a:lnTo>
                <a:lnTo>
                  <a:pt x="569" y="317"/>
                </a:lnTo>
                <a:lnTo>
                  <a:pt x="560" y="331"/>
                </a:lnTo>
                <a:lnTo>
                  <a:pt x="542" y="336"/>
                </a:lnTo>
                <a:lnTo>
                  <a:pt x="514" y="335"/>
                </a:lnTo>
                <a:lnTo>
                  <a:pt x="515" y="323"/>
                </a:lnTo>
                <a:lnTo>
                  <a:pt x="534" y="293"/>
                </a:lnTo>
                <a:lnTo>
                  <a:pt x="516" y="292"/>
                </a:lnTo>
                <a:lnTo>
                  <a:pt x="520" y="250"/>
                </a:lnTo>
                <a:lnTo>
                  <a:pt x="517" y="241"/>
                </a:lnTo>
                <a:lnTo>
                  <a:pt x="506" y="242"/>
                </a:lnTo>
                <a:lnTo>
                  <a:pt x="516" y="253"/>
                </a:lnTo>
                <a:lnTo>
                  <a:pt x="507" y="261"/>
                </a:lnTo>
                <a:lnTo>
                  <a:pt x="501" y="251"/>
                </a:lnTo>
                <a:lnTo>
                  <a:pt x="485" y="256"/>
                </a:lnTo>
                <a:lnTo>
                  <a:pt x="489" y="266"/>
                </a:lnTo>
                <a:lnTo>
                  <a:pt x="484" y="283"/>
                </a:lnTo>
                <a:lnTo>
                  <a:pt x="488" y="294"/>
                </a:lnTo>
                <a:lnTo>
                  <a:pt x="473" y="303"/>
                </a:lnTo>
                <a:lnTo>
                  <a:pt x="485" y="315"/>
                </a:lnTo>
                <a:lnTo>
                  <a:pt x="464" y="328"/>
                </a:lnTo>
                <a:lnTo>
                  <a:pt x="457" y="335"/>
                </a:lnTo>
                <a:lnTo>
                  <a:pt x="422" y="304"/>
                </a:lnTo>
                <a:lnTo>
                  <a:pt x="394" y="220"/>
                </a:lnTo>
                <a:lnTo>
                  <a:pt x="361" y="188"/>
                </a:lnTo>
                <a:lnTo>
                  <a:pt x="353" y="206"/>
                </a:lnTo>
                <a:lnTo>
                  <a:pt x="361" y="220"/>
                </a:lnTo>
                <a:lnTo>
                  <a:pt x="378" y="228"/>
                </a:lnTo>
                <a:lnTo>
                  <a:pt x="352" y="242"/>
                </a:lnTo>
                <a:lnTo>
                  <a:pt x="347" y="263"/>
                </a:lnTo>
                <a:lnTo>
                  <a:pt x="314" y="294"/>
                </a:lnTo>
                <a:lnTo>
                  <a:pt x="323" y="275"/>
                </a:lnTo>
                <a:lnTo>
                  <a:pt x="325" y="261"/>
                </a:lnTo>
                <a:lnTo>
                  <a:pt x="262" y="296"/>
                </a:lnTo>
                <a:lnTo>
                  <a:pt x="233" y="356"/>
                </a:lnTo>
                <a:lnTo>
                  <a:pt x="236" y="326"/>
                </a:lnTo>
                <a:lnTo>
                  <a:pt x="231" y="321"/>
                </a:lnTo>
                <a:lnTo>
                  <a:pt x="217" y="337"/>
                </a:lnTo>
                <a:lnTo>
                  <a:pt x="216" y="329"/>
                </a:lnTo>
                <a:lnTo>
                  <a:pt x="210" y="339"/>
                </a:lnTo>
                <a:lnTo>
                  <a:pt x="211" y="328"/>
                </a:lnTo>
                <a:lnTo>
                  <a:pt x="201" y="330"/>
                </a:lnTo>
                <a:lnTo>
                  <a:pt x="200" y="339"/>
                </a:lnTo>
                <a:lnTo>
                  <a:pt x="185" y="358"/>
                </a:lnTo>
                <a:lnTo>
                  <a:pt x="157" y="372"/>
                </a:lnTo>
                <a:lnTo>
                  <a:pt x="151" y="373"/>
                </a:lnTo>
                <a:lnTo>
                  <a:pt x="151" y="366"/>
                </a:lnTo>
                <a:lnTo>
                  <a:pt x="161" y="351"/>
                </a:lnTo>
                <a:lnTo>
                  <a:pt x="165" y="360"/>
                </a:lnTo>
                <a:lnTo>
                  <a:pt x="197" y="316"/>
                </a:lnTo>
                <a:lnTo>
                  <a:pt x="235" y="311"/>
                </a:lnTo>
                <a:lnTo>
                  <a:pt x="292" y="259"/>
                </a:lnTo>
                <a:lnTo>
                  <a:pt x="302" y="248"/>
                </a:lnTo>
                <a:lnTo>
                  <a:pt x="291" y="227"/>
                </a:lnTo>
                <a:lnTo>
                  <a:pt x="273" y="248"/>
                </a:lnTo>
                <a:lnTo>
                  <a:pt x="256" y="237"/>
                </a:lnTo>
                <a:lnTo>
                  <a:pt x="241" y="246"/>
                </a:lnTo>
                <a:lnTo>
                  <a:pt x="229" y="268"/>
                </a:lnTo>
                <a:lnTo>
                  <a:pt x="215" y="263"/>
                </a:lnTo>
                <a:lnTo>
                  <a:pt x="185" y="294"/>
                </a:lnTo>
                <a:lnTo>
                  <a:pt x="169" y="290"/>
                </a:lnTo>
                <a:lnTo>
                  <a:pt x="150" y="305"/>
                </a:lnTo>
                <a:lnTo>
                  <a:pt x="149" y="322"/>
                </a:lnTo>
                <a:lnTo>
                  <a:pt x="143" y="328"/>
                </a:lnTo>
                <a:lnTo>
                  <a:pt x="111" y="339"/>
                </a:lnTo>
                <a:lnTo>
                  <a:pt x="78" y="372"/>
                </a:lnTo>
                <a:lnTo>
                  <a:pt x="98" y="412"/>
                </a:lnTo>
                <a:lnTo>
                  <a:pt x="101" y="424"/>
                </a:lnTo>
                <a:lnTo>
                  <a:pt x="96" y="432"/>
                </a:lnTo>
                <a:lnTo>
                  <a:pt x="71" y="394"/>
                </a:lnTo>
                <a:lnTo>
                  <a:pt x="40" y="392"/>
                </a:lnTo>
                <a:lnTo>
                  <a:pt x="57" y="419"/>
                </a:lnTo>
                <a:lnTo>
                  <a:pt x="47" y="419"/>
                </a:lnTo>
                <a:lnTo>
                  <a:pt x="21" y="396"/>
                </a:lnTo>
                <a:lnTo>
                  <a:pt x="0" y="394"/>
                </a:lnTo>
                <a:lnTo>
                  <a:pt x="0" y="529"/>
                </a:lnTo>
                <a:lnTo>
                  <a:pt x="12" y="552"/>
                </a:lnTo>
                <a:lnTo>
                  <a:pt x="10" y="564"/>
                </a:lnTo>
                <a:lnTo>
                  <a:pt x="15" y="576"/>
                </a:lnTo>
                <a:lnTo>
                  <a:pt x="9" y="590"/>
                </a:lnTo>
                <a:lnTo>
                  <a:pt x="12" y="609"/>
                </a:lnTo>
                <a:lnTo>
                  <a:pt x="112" y="609"/>
                </a:lnTo>
                <a:lnTo>
                  <a:pt x="100" y="614"/>
                </a:lnTo>
                <a:lnTo>
                  <a:pt x="115" y="630"/>
                </a:lnTo>
                <a:lnTo>
                  <a:pt x="112" y="639"/>
                </a:lnTo>
                <a:lnTo>
                  <a:pt x="124" y="657"/>
                </a:lnTo>
                <a:lnTo>
                  <a:pt x="113" y="683"/>
                </a:lnTo>
                <a:lnTo>
                  <a:pt x="124" y="687"/>
                </a:lnTo>
                <a:lnTo>
                  <a:pt x="125" y="700"/>
                </a:lnTo>
                <a:lnTo>
                  <a:pt x="118" y="710"/>
                </a:lnTo>
                <a:lnTo>
                  <a:pt x="122" y="712"/>
                </a:lnTo>
                <a:lnTo>
                  <a:pt x="121" y="720"/>
                </a:lnTo>
                <a:lnTo>
                  <a:pt x="151" y="714"/>
                </a:lnTo>
                <a:lnTo>
                  <a:pt x="149" y="725"/>
                </a:lnTo>
                <a:lnTo>
                  <a:pt x="153" y="727"/>
                </a:lnTo>
                <a:lnTo>
                  <a:pt x="165" y="714"/>
                </a:lnTo>
                <a:lnTo>
                  <a:pt x="177" y="719"/>
                </a:lnTo>
                <a:lnTo>
                  <a:pt x="166" y="733"/>
                </a:lnTo>
                <a:lnTo>
                  <a:pt x="184" y="759"/>
                </a:lnTo>
                <a:lnTo>
                  <a:pt x="168" y="792"/>
                </a:lnTo>
                <a:lnTo>
                  <a:pt x="158" y="797"/>
                </a:lnTo>
                <a:lnTo>
                  <a:pt x="177" y="814"/>
                </a:lnTo>
                <a:lnTo>
                  <a:pt x="164" y="837"/>
                </a:lnTo>
                <a:lnTo>
                  <a:pt x="204" y="867"/>
                </a:lnTo>
                <a:lnTo>
                  <a:pt x="200" y="883"/>
                </a:lnTo>
                <a:lnTo>
                  <a:pt x="218" y="874"/>
                </a:lnTo>
                <a:lnTo>
                  <a:pt x="228" y="878"/>
                </a:lnTo>
                <a:lnTo>
                  <a:pt x="235" y="888"/>
                </a:lnTo>
                <a:lnTo>
                  <a:pt x="233" y="893"/>
                </a:lnTo>
                <a:lnTo>
                  <a:pt x="241" y="901"/>
                </a:lnTo>
                <a:lnTo>
                  <a:pt x="237" y="906"/>
                </a:lnTo>
                <a:lnTo>
                  <a:pt x="241" y="915"/>
                </a:lnTo>
                <a:lnTo>
                  <a:pt x="273" y="940"/>
                </a:lnTo>
                <a:lnTo>
                  <a:pt x="264" y="950"/>
                </a:lnTo>
                <a:lnTo>
                  <a:pt x="273" y="949"/>
                </a:lnTo>
                <a:lnTo>
                  <a:pt x="285" y="971"/>
                </a:lnTo>
                <a:lnTo>
                  <a:pt x="271" y="991"/>
                </a:lnTo>
                <a:lnTo>
                  <a:pt x="282" y="998"/>
                </a:lnTo>
                <a:lnTo>
                  <a:pt x="284" y="1008"/>
                </a:lnTo>
                <a:lnTo>
                  <a:pt x="294" y="1012"/>
                </a:lnTo>
                <a:lnTo>
                  <a:pt x="287" y="1029"/>
                </a:lnTo>
                <a:lnTo>
                  <a:pt x="299" y="1047"/>
                </a:lnTo>
                <a:lnTo>
                  <a:pt x="296" y="1056"/>
                </a:lnTo>
                <a:lnTo>
                  <a:pt x="313" y="1065"/>
                </a:lnTo>
                <a:lnTo>
                  <a:pt x="308" y="1071"/>
                </a:lnTo>
                <a:lnTo>
                  <a:pt x="312" y="1075"/>
                </a:lnTo>
                <a:lnTo>
                  <a:pt x="308" y="1081"/>
                </a:lnTo>
                <a:lnTo>
                  <a:pt x="312" y="1090"/>
                </a:lnTo>
                <a:lnTo>
                  <a:pt x="308" y="1096"/>
                </a:lnTo>
                <a:lnTo>
                  <a:pt x="331" y="1105"/>
                </a:lnTo>
                <a:lnTo>
                  <a:pt x="340" y="1099"/>
                </a:lnTo>
                <a:lnTo>
                  <a:pt x="355" y="1124"/>
                </a:lnTo>
                <a:lnTo>
                  <a:pt x="360" y="1123"/>
                </a:lnTo>
                <a:lnTo>
                  <a:pt x="365" y="1138"/>
                </a:lnTo>
                <a:lnTo>
                  <a:pt x="384" y="1155"/>
                </a:lnTo>
                <a:lnTo>
                  <a:pt x="400" y="1159"/>
                </a:lnTo>
                <a:lnTo>
                  <a:pt x="406" y="1183"/>
                </a:lnTo>
                <a:lnTo>
                  <a:pt x="402" y="1193"/>
                </a:lnTo>
                <a:lnTo>
                  <a:pt x="409" y="1194"/>
                </a:lnTo>
                <a:lnTo>
                  <a:pt x="413" y="1222"/>
                </a:lnTo>
                <a:lnTo>
                  <a:pt x="438" y="1219"/>
                </a:lnTo>
                <a:lnTo>
                  <a:pt x="443" y="1212"/>
                </a:lnTo>
                <a:lnTo>
                  <a:pt x="449" y="1218"/>
                </a:lnTo>
                <a:lnTo>
                  <a:pt x="455" y="1210"/>
                </a:lnTo>
                <a:lnTo>
                  <a:pt x="477" y="1219"/>
                </a:lnTo>
                <a:lnTo>
                  <a:pt x="498" y="1213"/>
                </a:lnTo>
                <a:lnTo>
                  <a:pt x="501" y="1203"/>
                </a:lnTo>
                <a:lnTo>
                  <a:pt x="510" y="1204"/>
                </a:lnTo>
                <a:lnTo>
                  <a:pt x="515" y="1219"/>
                </a:lnTo>
                <a:lnTo>
                  <a:pt x="509" y="1229"/>
                </a:lnTo>
                <a:lnTo>
                  <a:pt x="518" y="1246"/>
                </a:lnTo>
                <a:lnTo>
                  <a:pt x="527" y="1247"/>
                </a:lnTo>
                <a:lnTo>
                  <a:pt x="527" y="1258"/>
                </a:lnTo>
                <a:lnTo>
                  <a:pt x="536" y="1279"/>
                </a:lnTo>
                <a:lnTo>
                  <a:pt x="543" y="1287"/>
                </a:lnTo>
                <a:lnTo>
                  <a:pt x="585" y="1287"/>
                </a:lnTo>
                <a:lnTo>
                  <a:pt x="622" y="1287"/>
                </a:lnTo>
                <a:lnTo>
                  <a:pt x="660" y="1287"/>
                </a:lnTo>
                <a:lnTo>
                  <a:pt x="709" y="1287"/>
                </a:lnTo>
                <a:lnTo>
                  <a:pt x="747" y="1287"/>
                </a:lnTo>
                <a:lnTo>
                  <a:pt x="789" y="1287"/>
                </a:lnTo>
                <a:lnTo>
                  <a:pt x="828" y="1287"/>
                </a:lnTo>
                <a:lnTo>
                  <a:pt x="863" y="1287"/>
                </a:lnTo>
                <a:lnTo>
                  <a:pt x="903" y="1287"/>
                </a:lnTo>
                <a:lnTo>
                  <a:pt x="945" y="1287"/>
                </a:lnTo>
                <a:lnTo>
                  <a:pt x="984" y="1287"/>
                </a:lnTo>
                <a:lnTo>
                  <a:pt x="1026" y="1287"/>
                </a:lnTo>
                <a:lnTo>
                  <a:pt x="1063" y="1287"/>
                </a:lnTo>
                <a:lnTo>
                  <a:pt x="1099" y="1287"/>
                </a:lnTo>
                <a:lnTo>
                  <a:pt x="1137" y="1287"/>
                </a:lnTo>
                <a:lnTo>
                  <a:pt x="1138" y="1287"/>
                </a:lnTo>
                <a:lnTo>
                  <a:pt x="1137" y="1287"/>
                </a:lnTo>
                <a:lnTo>
                  <a:pt x="1177" y="1287"/>
                </a:lnTo>
                <a:lnTo>
                  <a:pt x="1219" y="1287"/>
                </a:lnTo>
                <a:lnTo>
                  <a:pt x="1258" y="1287"/>
                </a:lnTo>
                <a:lnTo>
                  <a:pt x="1294" y="1287"/>
                </a:lnTo>
                <a:lnTo>
                  <a:pt x="1334" y="1287"/>
                </a:lnTo>
                <a:lnTo>
                  <a:pt x="1375" y="1287"/>
                </a:lnTo>
                <a:lnTo>
                  <a:pt x="1415" y="1287"/>
                </a:lnTo>
                <a:lnTo>
                  <a:pt x="1456" y="1287"/>
                </a:lnTo>
                <a:lnTo>
                  <a:pt x="1483" y="1287"/>
                </a:lnTo>
                <a:close/>
              </a:path>
            </a:pathLst>
          </a:custGeom>
          <a:solidFill>
            <a:schemeClr val="accent1"/>
          </a:solidFill>
          <a:ln w="6350">
            <a:solidFill>
              <a:schemeClr val="tx2"/>
            </a:solidFill>
            <a:round/>
            <a:headEnd/>
            <a:tailEnd/>
          </a:ln>
        </p:spPr>
        <p:txBody>
          <a:bodyPr/>
          <a:lstStyle/>
          <a:p>
            <a:endParaRPr lang="en-US"/>
          </a:p>
        </p:txBody>
      </p:sp>
      <p:sp>
        <p:nvSpPr>
          <p:cNvPr id="249" name="Freeform 1149"/>
          <p:cNvSpPr>
            <a:spLocks/>
          </p:cNvSpPr>
          <p:nvPr/>
        </p:nvSpPr>
        <p:spPr bwMode="auto">
          <a:xfrm>
            <a:off x="3492826" y="3233896"/>
            <a:ext cx="421401" cy="411392"/>
          </a:xfrm>
          <a:custGeom>
            <a:avLst/>
            <a:gdLst>
              <a:gd name="T0" fmla="*/ 2147483647 w 897"/>
              <a:gd name="T1" fmla="*/ 2147483647 h 985"/>
              <a:gd name="T2" fmla="*/ 2147483647 w 897"/>
              <a:gd name="T3" fmla="*/ 2147483647 h 985"/>
              <a:gd name="T4" fmla="*/ 2147483647 w 897"/>
              <a:gd name="T5" fmla="*/ 2147483647 h 985"/>
              <a:gd name="T6" fmla="*/ 2147483647 w 897"/>
              <a:gd name="T7" fmla="*/ 2147483647 h 985"/>
              <a:gd name="T8" fmla="*/ 2147483647 w 897"/>
              <a:gd name="T9" fmla="*/ 2147483647 h 985"/>
              <a:gd name="T10" fmla="*/ 2147483647 w 897"/>
              <a:gd name="T11" fmla="*/ 2147483647 h 985"/>
              <a:gd name="T12" fmla="*/ 2147483647 w 897"/>
              <a:gd name="T13" fmla="*/ 2147483647 h 985"/>
              <a:gd name="T14" fmla="*/ 2147483647 w 897"/>
              <a:gd name="T15" fmla="*/ 2147483647 h 985"/>
              <a:gd name="T16" fmla="*/ 2147483647 w 897"/>
              <a:gd name="T17" fmla="*/ 2147483647 h 985"/>
              <a:gd name="T18" fmla="*/ 2147483647 w 897"/>
              <a:gd name="T19" fmla="*/ 2147483647 h 985"/>
              <a:gd name="T20" fmla="*/ 2147483647 w 897"/>
              <a:gd name="T21" fmla="*/ 2147483647 h 985"/>
              <a:gd name="T22" fmla="*/ 2147483647 w 897"/>
              <a:gd name="T23" fmla="*/ 2147483647 h 985"/>
              <a:gd name="T24" fmla="*/ 2147483647 w 897"/>
              <a:gd name="T25" fmla="*/ 2147483647 h 985"/>
              <a:gd name="T26" fmla="*/ 2147483647 w 897"/>
              <a:gd name="T27" fmla="*/ 2147483647 h 985"/>
              <a:gd name="T28" fmla="*/ 2147483647 w 897"/>
              <a:gd name="T29" fmla="*/ 2147483647 h 985"/>
              <a:gd name="T30" fmla="*/ 2147483647 w 897"/>
              <a:gd name="T31" fmla="*/ 2147483647 h 985"/>
              <a:gd name="T32" fmla="*/ 2147483647 w 897"/>
              <a:gd name="T33" fmla="*/ 2147483647 h 985"/>
              <a:gd name="T34" fmla="*/ 2147483647 w 897"/>
              <a:gd name="T35" fmla="*/ 2147483647 h 985"/>
              <a:gd name="T36" fmla="*/ 2147483647 w 897"/>
              <a:gd name="T37" fmla="*/ 2147483647 h 985"/>
              <a:gd name="T38" fmla="*/ 2147483647 w 897"/>
              <a:gd name="T39" fmla="*/ 2147483647 h 985"/>
              <a:gd name="T40" fmla="*/ 2147483647 w 897"/>
              <a:gd name="T41" fmla="*/ 2147483647 h 985"/>
              <a:gd name="T42" fmla="*/ 2147483647 w 897"/>
              <a:gd name="T43" fmla="*/ 2147483647 h 985"/>
              <a:gd name="T44" fmla="*/ 2147483647 w 897"/>
              <a:gd name="T45" fmla="*/ 2147483647 h 985"/>
              <a:gd name="T46" fmla="*/ 2147483647 w 897"/>
              <a:gd name="T47" fmla="*/ 2147483647 h 985"/>
              <a:gd name="T48" fmla="*/ 2147483647 w 897"/>
              <a:gd name="T49" fmla="*/ 2147483647 h 985"/>
              <a:gd name="T50" fmla="*/ 2147483647 w 897"/>
              <a:gd name="T51" fmla="*/ 2147483647 h 985"/>
              <a:gd name="T52" fmla="*/ 2147483647 w 897"/>
              <a:gd name="T53" fmla="*/ 2147483647 h 985"/>
              <a:gd name="T54" fmla="*/ 2147483647 w 897"/>
              <a:gd name="T55" fmla="*/ 2147483647 h 985"/>
              <a:gd name="T56" fmla="*/ 2147483647 w 897"/>
              <a:gd name="T57" fmla="*/ 2147483647 h 985"/>
              <a:gd name="T58" fmla="*/ 2147483647 w 897"/>
              <a:gd name="T59" fmla="*/ 2147483647 h 985"/>
              <a:gd name="T60" fmla="*/ 2147483647 w 897"/>
              <a:gd name="T61" fmla="*/ 2147483647 h 985"/>
              <a:gd name="T62" fmla="*/ 2147483647 w 897"/>
              <a:gd name="T63" fmla="*/ 2147483647 h 985"/>
              <a:gd name="T64" fmla="*/ 2147483647 w 897"/>
              <a:gd name="T65" fmla="*/ 2147483647 h 985"/>
              <a:gd name="T66" fmla="*/ 2147483647 w 897"/>
              <a:gd name="T67" fmla="*/ 2147483647 h 985"/>
              <a:gd name="T68" fmla="*/ 2147483647 w 897"/>
              <a:gd name="T69" fmla="*/ 2147483647 h 985"/>
              <a:gd name="T70" fmla="*/ 2147483647 w 897"/>
              <a:gd name="T71" fmla="*/ 2147483647 h 985"/>
              <a:gd name="T72" fmla="*/ 2147483647 w 897"/>
              <a:gd name="T73" fmla="*/ 2147483647 h 985"/>
              <a:gd name="T74" fmla="*/ 2147483647 w 897"/>
              <a:gd name="T75" fmla="*/ 2147483647 h 985"/>
              <a:gd name="T76" fmla="*/ 2147483647 w 897"/>
              <a:gd name="T77" fmla="*/ 2147483647 h 985"/>
              <a:gd name="T78" fmla="*/ 2147483647 w 897"/>
              <a:gd name="T79" fmla="*/ 2147483647 h 985"/>
              <a:gd name="T80" fmla="*/ 2147483647 w 897"/>
              <a:gd name="T81" fmla="*/ 2147483647 h 985"/>
              <a:gd name="T82" fmla="*/ 0 w 897"/>
              <a:gd name="T83" fmla="*/ 2147483647 h 985"/>
              <a:gd name="T84" fmla="*/ 2147483647 w 897"/>
              <a:gd name="T85" fmla="*/ 2147483647 h 985"/>
              <a:gd name="T86" fmla="*/ 2147483647 w 897"/>
              <a:gd name="T87" fmla="*/ 2147483647 h 985"/>
              <a:gd name="T88" fmla="*/ 2147483647 w 897"/>
              <a:gd name="T89" fmla="*/ 2147483647 h 985"/>
              <a:gd name="T90" fmla="*/ 2147483647 w 897"/>
              <a:gd name="T91" fmla="*/ 2147483647 h 985"/>
              <a:gd name="T92" fmla="*/ 2147483647 w 897"/>
              <a:gd name="T93" fmla="*/ 2147483647 h 985"/>
              <a:gd name="T94" fmla="*/ 2147483647 w 897"/>
              <a:gd name="T95" fmla="*/ 2147483647 h 985"/>
              <a:gd name="T96" fmla="*/ 2147483647 w 897"/>
              <a:gd name="T97" fmla="*/ 2147483647 h 985"/>
              <a:gd name="T98" fmla="*/ 2147483647 w 897"/>
              <a:gd name="T99" fmla="*/ 2147483647 h 985"/>
              <a:gd name="T100" fmla="*/ 2147483647 w 897"/>
              <a:gd name="T101" fmla="*/ 2147483647 h 985"/>
              <a:gd name="T102" fmla="*/ 2147483647 w 897"/>
              <a:gd name="T103" fmla="*/ 2147483647 h 985"/>
              <a:gd name="T104" fmla="*/ 2147483647 w 897"/>
              <a:gd name="T105" fmla="*/ 2147483647 h 985"/>
              <a:gd name="T106" fmla="*/ 2147483647 w 897"/>
              <a:gd name="T107" fmla="*/ 2147483647 h 985"/>
              <a:gd name="T108" fmla="*/ 2147483647 w 897"/>
              <a:gd name="T109" fmla="*/ 2147483647 h 9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97"/>
              <a:gd name="T166" fmla="*/ 0 h 985"/>
              <a:gd name="T167" fmla="*/ 897 w 897"/>
              <a:gd name="T168" fmla="*/ 985 h 9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97" h="985">
                <a:moveTo>
                  <a:pt x="672" y="397"/>
                </a:moveTo>
                <a:lnTo>
                  <a:pt x="672" y="429"/>
                </a:lnTo>
                <a:lnTo>
                  <a:pt x="672" y="491"/>
                </a:lnTo>
                <a:lnTo>
                  <a:pt x="672" y="554"/>
                </a:lnTo>
                <a:lnTo>
                  <a:pt x="672" y="612"/>
                </a:lnTo>
                <a:lnTo>
                  <a:pt x="672" y="654"/>
                </a:lnTo>
                <a:lnTo>
                  <a:pt x="677" y="665"/>
                </a:lnTo>
                <a:lnTo>
                  <a:pt x="677" y="675"/>
                </a:lnTo>
                <a:lnTo>
                  <a:pt x="689" y="693"/>
                </a:lnTo>
                <a:lnTo>
                  <a:pt x="698" y="713"/>
                </a:lnTo>
                <a:lnTo>
                  <a:pt x="708" y="723"/>
                </a:lnTo>
                <a:lnTo>
                  <a:pt x="758" y="734"/>
                </a:lnTo>
                <a:lnTo>
                  <a:pt x="771" y="748"/>
                </a:lnTo>
                <a:lnTo>
                  <a:pt x="791" y="751"/>
                </a:lnTo>
                <a:lnTo>
                  <a:pt x="798" y="770"/>
                </a:lnTo>
                <a:lnTo>
                  <a:pt x="810" y="777"/>
                </a:lnTo>
                <a:lnTo>
                  <a:pt x="821" y="774"/>
                </a:lnTo>
                <a:lnTo>
                  <a:pt x="832" y="782"/>
                </a:lnTo>
                <a:lnTo>
                  <a:pt x="857" y="769"/>
                </a:lnTo>
                <a:lnTo>
                  <a:pt x="883" y="765"/>
                </a:lnTo>
                <a:lnTo>
                  <a:pt x="893" y="772"/>
                </a:lnTo>
                <a:lnTo>
                  <a:pt x="890" y="786"/>
                </a:lnTo>
                <a:lnTo>
                  <a:pt x="897" y="793"/>
                </a:lnTo>
                <a:lnTo>
                  <a:pt x="880" y="807"/>
                </a:lnTo>
                <a:lnTo>
                  <a:pt x="868" y="807"/>
                </a:lnTo>
                <a:lnTo>
                  <a:pt x="840" y="826"/>
                </a:lnTo>
                <a:lnTo>
                  <a:pt x="827" y="844"/>
                </a:lnTo>
                <a:lnTo>
                  <a:pt x="786" y="861"/>
                </a:lnTo>
                <a:lnTo>
                  <a:pt x="783" y="855"/>
                </a:lnTo>
                <a:lnTo>
                  <a:pt x="774" y="856"/>
                </a:lnTo>
                <a:lnTo>
                  <a:pt x="782" y="871"/>
                </a:lnTo>
                <a:lnTo>
                  <a:pt x="760" y="867"/>
                </a:lnTo>
                <a:lnTo>
                  <a:pt x="735" y="866"/>
                </a:lnTo>
                <a:lnTo>
                  <a:pt x="690" y="880"/>
                </a:lnTo>
                <a:lnTo>
                  <a:pt x="663" y="907"/>
                </a:lnTo>
                <a:lnTo>
                  <a:pt x="681" y="914"/>
                </a:lnTo>
                <a:lnTo>
                  <a:pt x="689" y="913"/>
                </a:lnTo>
                <a:lnTo>
                  <a:pt x="695" y="910"/>
                </a:lnTo>
                <a:lnTo>
                  <a:pt x="703" y="935"/>
                </a:lnTo>
                <a:lnTo>
                  <a:pt x="686" y="932"/>
                </a:lnTo>
                <a:lnTo>
                  <a:pt x="667" y="932"/>
                </a:lnTo>
                <a:lnTo>
                  <a:pt x="643" y="938"/>
                </a:lnTo>
                <a:lnTo>
                  <a:pt x="631" y="949"/>
                </a:lnTo>
                <a:lnTo>
                  <a:pt x="606" y="944"/>
                </a:lnTo>
                <a:lnTo>
                  <a:pt x="587" y="951"/>
                </a:lnTo>
                <a:lnTo>
                  <a:pt x="577" y="965"/>
                </a:lnTo>
                <a:lnTo>
                  <a:pt x="566" y="967"/>
                </a:lnTo>
                <a:lnTo>
                  <a:pt x="548" y="985"/>
                </a:lnTo>
                <a:lnTo>
                  <a:pt x="518" y="983"/>
                </a:lnTo>
                <a:lnTo>
                  <a:pt x="519" y="973"/>
                </a:lnTo>
                <a:lnTo>
                  <a:pt x="528" y="960"/>
                </a:lnTo>
                <a:lnTo>
                  <a:pt x="537" y="965"/>
                </a:lnTo>
                <a:lnTo>
                  <a:pt x="547" y="963"/>
                </a:lnTo>
                <a:lnTo>
                  <a:pt x="549" y="957"/>
                </a:lnTo>
                <a:lnTo>
                  <a:pt x="543" y="946"/>
                </a:lnTo>
                <a:lnTo>
                  <a:pt x="549" y="920"/>
                </a:lnTo>
                <a:lnTo>
                  <a:pt x="556" y="920"/>
                </a:lnTo>
                <a:lnTo>
                  <a:pt x="576" y="903"/>
                </a:lnTo>
                <a:lnTo>
                  <a:pt x="579" y="890"/>
                </a:lnTo>
                <a:lnTo>
                  <a:pt x="577" y="856"/>
                </a:lnTo>
                <a:lnTo>
                  <a:pt x="595" y="821"/>
                </a:lnTo>
                <a:lnTo>
                  <a:pt x="592" y="806"/>
                </a:lnTo>
                <a:lnTo>
                  <a:pt x="582" y="790"/>
                </a:lnTo>
                <a:lnTo>
                  <a:pt x="597" y="791"/>
                </a:lnTo>
                <a:lnTo>
                  <a:pt x="603" y="811"/>
                </a:lnTo>
                <a:lnTo>
                  <a:pt x="610" y="806"/>
                </a:lnTo>
                <a:lnTo>
                  <a:pt x="609" y="818"/>
                </a:lnTo>
                <a:lnTo>
                  <a:pt x="612" y="818"/>
                </a:lnTo>
                <a:lnTo>
                  <a:pt x="614" y="828"/>
                </a:lnTo>
                <a:lnTo>
                  <a:pt x="621" y="821"/>
                </a:lnTo>
                <a:lnTo>
                  <a:pt x="629" y="830"/>
                </a:lnTo>
                <a:lnTo>
                  <a:pt x="650" y="833"/>
                </a:lnTo>
                <a:lnTo>
                  <a:pt x="653" y="828"/>
                </a:lnTo>
                <a:lnTo>
                  <a:pt x="650" y="814"/>
                </a:lnTo>
                <a:lnTo>
                  <a:pt x="667" y="816"/>
                </a:lnTo>
                <a:lnTo>
                  <a:pt x="667" y="813"/>
                </a:lnTo>
                <a:lnTo>
                  <a:pt x="651" y="798"/>
                </a:lnTo>
                <a:lnTo>
                  <a:pt x="651" y="783"/>
                </a:lnTo>
                <a:lnTo>
                  <a:pt x="642" y="780"/>
                </a:lnTo>
                <a:lnTo>
                  <a:pt x="630" y="768"/>
                </a:lnTo>
                <a:lnTo>
                  <a:pt x="626" y="753"/>
                </a:lnTo>
                <a:lnTo>
                  <a:pt x="619" y="749"/>
                </a:lnTo>
                <a:lnTo>
                  <a:pt x="586" y="747"/>
                </a:lnTo>
                <a:lnTo>
                  <a:pt x="585" y="739"/>
                </a:lnTo>
                <a:lnTo>
                  <a:pt x="534" y="731"/>
                </a:lnTo>
                <a:lnTo>
                  <a:pt x="520" y="735"/>
                </a:lnTo>
                <a:lnTo>
                  <a:pt x="490" y="724"/>
                </a:lnTo>
                <a:lnTo>
                  <a:pt x="476" y="727"/>
                </a:lnTo>
                <a:lnTo>
                  <a:pt x="467" y="707"/>
                </a:lnTo>
                <a:lnTo>
                  <a:pt x="465" y="715"/>
                </a:lnTo>
                <a:lnTo>
                  <a:pt x="458" y="715"/>
                </a:lnTo>
                <a:lnTo>
                  <a:pt x="460" y="699"/>
                </a:lnTo>
                <a:lnTo>
                  <a:pt x="457" y="696"/>
                </a:lnTo>
                <a:lnTo>
                  <a:pt x="462" y="690"/>
                </a:lnTo>
                <a:lnTo>
                  <a:pt x="451" y="684"/>
                </a:lnTo>
                <a:lnTo>
                  <a:pt x="448" y="674"/>
                </a:lnTo>
                <a:lnTo>
                  <a:pt x="452" y="661"/>
                </a:lnTo>
                <a:lnTo>
                  <a:pt x="438" y="642"/>
                </a:lnTo>
                <a:lnTo>
                  <a:pt x="442" y="619"/>
                </a:lnTo>
                <a:lnTo>
                  <a:pt x="406" y="623"/>
                </a:lnTo>
                <a:lnTo>
                  <a:pt x="398" y="616"/>
                </a:lnTo>
                <a:lnTo>
                  <a:pt x="377" y="572"/>
                </a:lnTo>
                <a:lnTo>
                  <a:pt x="349" y="568"/>
                </a:lnTo>
                <a:lnTo>
                  <a:pt x="349" y="599"/>
                </a:lnTo>
                <a:lnTo>
                  <a:pt x="334" y="563"/>
                </a:lnTo>
                <a:lnTo>
                  <a:pt x="306" y="553"/>
                </a:lnTo>
                <a:lnTo>
                  <a:pt x="301" y="558"/>
                </a:lnTo>
                <a:lnTo>
                  <a:pt x="302" y="575"/>
                </a:lnTo>
                <a:lnTo>
                  <a:pt x="290" y="589"/>
                </a:lnTo>
                <a:lnTo>
                  <a:pt x="286" y="585"/>
                </a:lnTo>
                <a:lnTo>
                  <a:pt x="291" y="567"/>
                </a:lnTo>
                <a:lnTo>
                  <a:pt x="278" y="595"/>
                </a:lnTo>
                <a:lnTo>
                  <a:pt x="273" y="597"/>
                </a:lnTo>
                <a:lnTo>
                  <a:pt x="272" y="582"/>
                </a:lnTo>
                <a:lnTo>
                  <a:pt x="251" y="612"/>
                </a:lnTo>
                <a:lnTo>
                  <a:pt x="234" y="620"/>
                </a:lnTo>
                <a:lnTo>
                  <a:pt x="186" y="609"/>
                </a:lnTo>
                <a:lnTo>
                  <a:pt x="163" y="615"/>
                </a:lnTo>
                <a:lnTo>
                  <a:pt x="102" y="579"/>
                </a:lnTo>
                <a:lnTo>
                  <a:pt x="67" y="582"/>
                </a:lnTo>
                <a:lnTo>
                  <a:pt x="46" y="572"/>
                </a:lnTo>
                <a:lnTo>
                  <a:pt x="28" y="573"/>
                </a:lnTo>
                <a:lnTo>
                  <a:pt x="11" y="528"/>
                </a:lnTo>
                <a:lnTo>
                  <a:pt x="0" y="527"/>
                </a:lnTo>
                <a:lnTo>
                  <a:pt x="0" y="483"/>
                </a:lnTo>
                <a:lnTo>
                  <a:pt x="0" y="424"/>
                </a:lnTo>
                <a:lnTo>
                  <a:pt x="0" y="357"/>
                </a:lnTo>
                <a:lnTo>
                  <a:pt x="0" y="293"/>
                </a:lnTo>
                <a:lnTo>
                  <a:pt x="25" y="267"/>
                </a:lnTo>
                <a:lnTo>
                  <a:pt x="56" y="233"/>
                </a:lnTo>
                <a:lnTo>
                  <a:pt x="92" y="194"/>
                </a:lnTo>
                <a:lnTo>
                  <a:pt x="124" y="158"/>
                </a:lnTo>
                <a:lnTo>
                  <a:pt x="149" y="131"/>
                </a:lnTo>
                <a:lnTo>
                  <a:pt x="180" y="95"/>
                </a:lnTo>
                <a:lnTo>
                  <a:pt x="215" y="55"/>
                </a:lnTo>
                <a:lnTo>
                  <a:pt x="248" y="16"/>
                </a:lnTo>
                <a:lnTo>
                  <a:pt x="261" y="0"/>
                </a:lnTo>
                <a:lnTo>
                  <a:pt x="302" y="24"/>
                </a:lnTo>
                <a:lnTo>
                  <a:pt x="323" y="60"/>
                </a:lnTo>
                <a:lnTo>
                  <a:pt x="325" y="63"/>
                </a:lnTo>
                <a:lnTo>
                  <a:pt x="355" y="67"/>
                </a:lnTo>
                <a:lnTo>
                  <a:pt x="398" y="86"/>
                </a:lnTo>
                <a:lnTo>
                  <a:pt x="422" y="106"/>
                </a:lnTo>
                <a:lnTo>
                  <a:pt x="408" y="148"/>
                </a:lnTo>
                <a:lnTo>
                  <a:pt x="425" y="115"/>
                </a:lnTo>
                <a:lnTo>
                  <a:pt x="516" y="115"/>
                </a:lnTo>
                <a:lnTo>
                  <a:pt x="546" y="129"/>
                </a:lnTo>
                <a:lnTo>
                  <a:pt x="551" y="125"/>
                </a:lnTo>
                <a:lnTo>
                  <a:pt x="555" y="145"/>
                </a:lnTo>
                <a:lnTo>
                  <a:pt x="549" y="200"/>
                </a:lnTo>
                <a:lnTo>
                  <a:pt x="556" y="218"/>
                </a:lnTo>
                <a:lnTo>
                  <a:pt x="558" y="261"/>
                </a:lnTo>
                <a:lnTo>
                  <a:pt x="554" y="268"/>
                </a:lnTo>
                <a:lnTo>
                  <a:pt x="553" y="284"/>
                </a:lnTo>
                <a:lnTo>
                  <a:pt x="593" y="331"/>
                </a:lnTo>
                <a:lnTo>
                  <a:pt x="561" y="347"/>
                </a:lnTo>
                <a:lnTo>
                  <a:pt x="596" y="342"/>
                </a:lnTo>
                <a:lnTo>
                  <a:pt x="624" y="368"/>
                </a:lnTo>
                <a:lnTo>
                  <a:pt x="631" y="390"/>
                </a:lnTo>
                <a:lnTo>
                  <a:pt x="610" y="417"/>
                </a:lnTo>
                <a:lnTo>
                  <a:pt x="636" y="398"/>
                </a:lnTo>
                <a:lnTo>
                  <a:pt x="665" y="416"/>
                </a:lnTo>
                <a:lnTo>
                  <a:pt x="667" y="414"/>
                </a:lnTo>
                <a:lnTo>
                  <a:pt x="665" y="393"/>
                </a:lnTo>
                <a:lnTo>
                  <a:pt x="672" y="388"/>
                </a:lnTo>
                <a:lnTo>
                  <a:pt x="672" y="397"/>
                </a:lnTo>
                <a:close/>
              </a:path>
            </a:pathLst>
          </a:custGeom>
          <a:solidFill>
            <a:schemeClr val="accent1"/>
          </a:solidFill>
          <a:ln w="6350">
            <a:solidFill>
              <a:schemeClr val="tx2"/>
            </a:solidFill>
            <a:round/>
            <a:headEnd/>
            <a:tailEnd/>
          </a:ln>
        </p:spPr>
        <p:txBody>
          <a:bodyPr/>
          <a:lstStyle/>
          <a:p>
            <a:endParaRPr lang="en-US"/>
          </a:p>
        </p:txBody>
      </p:sp>
      <p:sp>
        <p:nvSpPr>
          <p:cNvPr id="250" name="Freeform 1150"/>
          <p:cNvSpPr>
            <a:spLocks/>
          </p:cNvSpPr>
          <p:nvPr/>
        </p:nvSpPr>
        <p:spPr bwMode="auto">
          <a:xfrm>
            <a:off x="4048961" y="3111625"/>
            <a:ext cx="245101" cy="284025"/>
          </a:xfrm>
          <a:custGeom>
            <a:avLst/>
            <a:gdLst>
              <a:gd name="T0" fmla="*/ 2147483647 w 526"/>
              <a:gd name="T1" fmla="*/ 2147483647 h 680"/>
              <a:gd name="T2" fmla="*/ 2147483647 w 526"/>
              <a:gd name="T3" fmla="*/ 2147483647 h 680"/>
              <a:gd name="T4" fmla="*/ 2147483647 w 526"/>
              <a:gd name="T5" fmla="*/ 2147483647 h 680"/>
              <a:gd name="T6" fmla="*/ 2147483647 w 526"/>
              <a:gd name="T7" fmla="*/ 2147483647 h 680"/>
              <a:gd name="T8" fmla="*/ 2147483647 w 526"/>
              <a:gd name="T9" fmla="*/ 2147483647 h 680"/>
              <a:gd name="T10" fmla="*/ 2147483647 w 526"/>
              <a:gd name="T11" fmla="*/ 2147483647 h 680"/>
              <a:gd name="T12" fmla="*/ 2147483647 w 526"/>
              <a:gd name="T13" fmla="*/ 2147483647 h 680"/>
              <a:gd name="T14" fmla="*/ 2147483647 w 526"/>
              <a:gd name="T15" fmla="*/ 2147483647 h 680"/>
              <a:gd name="T16" fmla="*/ 2147483647 w 526"/>
              <a:gd name="T17" fmla="*/ 2147483647 h 680"/>
              <a:gd name="T18" fmla="*/ 2147483647 w 526"/>
              <a:gd name="T19" fmla="*/ 2147483647 h 680"/>
              <a:gd name="T20" fmla="*/ 2147483647 w 526"/>
              <a:gd name="T21" fmla="*/ 2147483647 h 680"/>
              <a:gd name="T22" fmla="*/ 2147483647 w 526"/>
              <a:gd name="T23" fmla="*/ 2147483647 h 680"/>
              <a:gd name="T24" fmla="*/ 2147483647 w 526"/>
              <a:gd name="T25" fmla="*/ 2147483647 h 680"/>
              <a:gd name="T26" fmla="*/ 2147483647 w 526"/>
              <a:gd name="T27" fmla="*/ 2147483647 h 680"/>
              <a:gd name="T28" fmla="*/ 2147483647 w 526"/>
              <a:gd name="T29" fmla="*/ 2147483647 h 680"/>
              <a:gd name="T30" fmla="*/ 2147483647 w 526"/>
              <a:gd name="T31" fmla="*/ 2147483647 h 680"/>
              <a:gd name="T32" fmla="*/ 2147483647 w 526"/>
              <a:gd name="T33" fmla="*/ 2147483647 h 680"/>
              <a:gd name="T34" fmla="*/ 2147483647 w 526"/>
              <a:gd name="T35" fmla="*/ 2147483647 h 680"/>
              <a:gd name="T36" fmla="*/ 2147483647 w 526"/>
              <a:gd name="T37" fmla="*/ 2147483647 h 680"/>
              <a:gd name="T38" fmla="*/ 2147483647 w 526"/>
              <a:gd name="T39" fmla="*/ 2147483647 h 680"/>
              <a:gd name="T40" fmla="*/ 2147483647 w 526"/>
              <a:gd name="T41" fmla="*/ 2147483647 h 680"/>
              <a:gd name="T42" fmla="*/ 2147483647 w 526"/>
              <a:gd name="T43" fmla="*/ 2147483647 h 680"/>
              <a:gd name="T44" fmla="*/ 2147483647 w 526"/>
              <a:gd name="T45" fmla="*/ 2147483647 h 680"/>
              <a:gd name="T46" fmla="*/ 2147483647 w 526"/>
              <a:gd name="T47" fmla="*/ 2147483647 h 680"/>
              <a:gd name="T48" fmla="*/ 2147483647 w 526"/>
              <a:gd name="T49" fmla="*/ 2147483647 h 680"/>
              <a:gd name="T50" fmla="*/ 2147483647 w 526"/>
              <a:gd name="T51" fmla="*/ 2147483647 h 680"/>
              <a:gd name="T52" fmla="*/ 2147483647 w 526"/>
              <a:gd name="T53" fmla="*/ 2147483647 h 680"/>
              <a:gd name="T54" fmla="*/ 2147483647 w 526"/>
              <a:gd name="T55" fmla="*/ 2147483647 h 680"/>
              <a:gd name="T56" fmla="*/ 2147483647 w 526"/>
              <a:gd name="T57" fmla="*/ 2147483647 h 680"/>
              <a:gd name="T58" fmla="*/ 2147483647 w 526"/>
              <a:gd name="T59" fmla="*/ 2147483647 h 680"/>
              <a:gd name="T60" fmla="*/ 2147483647 w 526"/>
              <a:gd name="T61" fmla="*/ 2147483647 h 680"/>
              <a:gd name="T62" fmla="*/ 2147483647 w 526"/>
              <a:gd name="T63" fmla="*/ 2147483647 h 680"/>
              <a:gd name="T64" fmla="*/ 2147483647 w 526"/>
              <a:gd name="T65" fmla="*/ 2147483647 h 680"/>
              <a:gd name="T66" fmla="*/ 2147483647 w 526"/>
              <a:gd name="T67" fmla="*/ 2147483647 h 680"/>
              <a:gd name="T68" fmla="*/ 2147483647 w 526"/>
              <a:gd name="T69" fmla="*/ 2147483647 h 680"/>
              <a:gd name="T70" fmla="*/ 2147483647 w 526"/>
              <a:gd name="T71" fmla="*/ 2147483647 h 680"/>
              <a:gd name="T72" fmla="*/ 2147483647 w 526"/>
              <a:gd name="T73" fmla="*/ 2147483647 h 680"/>
              <a:gd name="T74" fmla="*/ 2147483647 w 526"/>
              <a:gd name="T75" fmla="*/ 2147483647 h 680"/>
              <a:gd name="T76" fmla="*/ 2147483647 w 526"/>
              <a:gd name="T77" fmla="*/ 2147483647 h 680"/>
              <a:gd name="T78" fmla="*/ 2147483647 w 526"/>
              <a:gd name="T79" fmla="*/ 2147483647 h 680"/>
              <a:gd name="T80" fmla="*/ 2147483647 w 526"/>
              <a:gd name="T81" fmla="*/ 2147483647 h 680"/>
              <a:gd name="T82" fmla="*/ 2147483647 w 526"/>
              <a:gd name="T83" fmla="*/ 2147483647 h 680"/>
              <a:gd name="T84" fmla="*/ 2147483647 w 526"/>
              <a:gd name="T85" fmla="*/ 2147483647 h 680"/>
              <a:gd name="T86" fmla="*/ 2147483647 w 526"/>
              <a:gd name="T87" fmla="*/ 2147483647 h 680"/>
              <a:gd name="T88" fmla="*/ 2147483647 w 526"/>
              <a:gd name="T89" fmla="*/ 2147483647 h 680"/>
              <a:gd name="T90" fmla="*/ 2147483647 w 526"/>
              <a:gd name="T91" fmla="*/ 2147483647 h 680"/>
              <a:gd name="T92" fmla="*/ 2147483647 w 526"/>
              <a:gd name="T93" fmla="*/ 2147483647 h 680"/>
              <a:gd name="T94" fmla="*/ 2147483647 w 526"/>
              <a:gd name="T95" fmla="*/ 2147483647 h 680"/>
              <a:gd name="T96" fmla="*/ 2147483647 w 526"/>
              <a:gd name="T97" fmla="*/ 2147483647 h 680"/>
              <a:gd name="T98" fmla="*/ 2147483647 w 526"/>
              <a:gd name="T99" fmla="*/ 2147483647 h 680"/>
              <a:gd name="T100" fmla="*/ 2147483647 w 526"/>
              <a:gd name="T101" fmla="*/ 2147483647 h 68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6"/>
              <a:gd name="T154" fmla="*/ 0 h 680"/>
              <a:gd name="T155" fmla="*/ 526 w 526"/>
              <a:gd name="T156" fmla="*/ 680 h 68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6" h="680">
                <a:moveTo>
                  <a:pt x="448" y="643"/>
                </a:moveTo>
                <a:lnTo>
                  <a:pt x="408" y="643"/>
                </a:lnTo>
                <a:lnTo>
                  <a:pt x="366" y="643"/>
                </a:lnTo>
                <a:lnTo>
                  <a:pt x="328" y="643"/>
                </a:lnTo>
                <a:lnTo>
                  <a:pt x="291" y="643"/>
                </a:lnTo>
                <a:lnTo>
                  <a:pt x="254" y="643"/>
                </a:lnTo>
                <a:lnTo>
                  <a:pt x="212" y="643"/>
                </a:lnTo>
                <a:lnTo>
                  <a:pt x="172" y="643"/>
                </a:lnTo>
                <a:lnTo>
                  <a:pt x="169" y="637"/>
                </a:lnTo>
                <a:lnTo>
                  <a:pt x="177" y="640"/>
                </a:lnTo>
                <a:lnTo>
                  <a:pt x="172" y="620"/>
                </a:lnTo>
                <a:lnTo>
                  <a:pt x="158" y="610"/>
                </a:lnTo>
                <a:lnTo>
                  <a:pt x="168" y="600"/>
                </a:lnTo>
                <a:lnTo>
                  <a:pt x="189" y="598"/>
                </a:lnTo>
                <a:lnTo>
                  <a:pt x="179" y="589"/>
                </a:lnTo>
                <a:lnTo>
                  <a:pt x="181" y="575"/>
                </a:lnTo>
                <a:lnTo>
                  <a:pt x="171" y="564"/>
                </a:lnTo>
                <a:lnTo>
                  <a:pt x="165" y="567"/>
                </a:lnTo>
                <a:lnTo>
                  <a:pt x="163" y="583"/>
                </a:lnTo>
                <a:lnTo>
                  <a:pt x="154" y="584"/>
                </a:lnTo>
                <a:lnTo>
                  <a:pt x="153" y="605"/>
                </a:lnTo>
                <a:lnTo>
                  <a:pt x="158" y="617"/>
                </a:lnTo>
                <a:lnTo>
                  <a:pt x="157" y="632"/>
                </a:lnTo>
                <a:lnTo>
                  <a:pt x="151" y="633"/>
                </a:lnTo>
                <a:lnTo>
                  <a:pt x="148" y="646"/>
                </a:lnTo>
                <a:lnTo>
                  <a:pt x="146" y="654"/>
                </a:lnTo>
                <a:lnTo>
                  <a:pt x="150" y="661"/>
                </a:lnTo>
                <a:lnTo>
                  <a:pt x="137" y="673"/>
                </a:lnTo>
                <a:lnTo>
                  <a:pt x="131" y="660"/>
                </a:lnTo>
                <a:lnTo>
                  <a:pt x="137" y="655"/>
                </a:lnTo>
                <a:lnTo>
                  <a:pt x="114" y="631"/>
                </a:lnTo>
                <a:lnTo>
                  <a:pt x="99" y="628"/>
                </a:lnTo>
                <a:lnTo>
                  <a:pt x="94" y="639"/>
                </a:lnTo>
                <a:lnTo>
                  <a:pt x="86" y="635"/>
                </a:lnTo>
                <a:lnTo>
                  <a:pt x="84" y="639"/>
                </a:lnTo>
                <a:lnTo>
                  <a:pt x="73" y="634"/>
                </a:lnTo>
                <a:lnTo>
                  <a:pt x="73" y="628"/>
                </a:lnTo>
                <a:lnTo>
                  <a:pt x="64" y="621"/>
                </a:lnTo>
                <a:lnTo>
                  <a:pt x="62" y="633"/>
                </a:lnTo>
                <a:lnTo>
                  <a:pt x="56" y="629"/>
                </a:lnTo>
                <a:lnTo>
                  <a:pt x="54" y="621"/>
                </a:lnTo>
                <a:lnTo>
                  <a:pt x="61" y="614"/>
                </a:lnTo>
                <a:lnTo>
                  <a:pt x="57" y="594"/>
                </a:lnTo>
                <a:lnTo>
                  <a:pt x="62" y="593"/>
                </a:lnTo>
                <a:lnTo>
                  <a:pt x="60" y="585"/>
                </a:lnTo>
                <a:lnTo>
                  <a:pt x="64" y="582"/>
                </a:lnTo>
                <a:lnTo>
                  <a:pt x="61" y="575"/>
                </a:lnTo>
                <a:lnTo>
                  <a:pt x="55" y="570"/>
                </a:lnTo>
                <a:lnTo>
                  <a:pt x="53" y="577"/>
                </a:lnTo>
                <a:lnTo>
                  <a:pt x="47" y="578"/>
                </a:lnTo>
                <a:lnTo>
                  <a:pt x="46" y="593"/>
                </a:lnTo>
                <a:lnTo>
                  <a:pt x="40" y="597"/>
                </a:lnTo>
                <a:lnTo>
                  <a:pt x="38" y="591"/>
                </a:lnTo>
                <a:lnTo>
                  <a:pt x="37" y="596"/>
                </a:lnTo>
                <a:lnTo>
                  <a:pt x="29" y="594"/>
                </a:lnTo>
                <a:lnTo>
                  <a:pt x="29" y="577"/>
                </a:lnTo>
                <a:lnTo>
                  <a:pt x="37" y="550"/>
                </a:lnTo>
                <a:lnTo>
                  <a:pt x="30" y="546"/>
                </a:lnTo>
                <a:lnTo>
                  <a:pt x="27" y="534"/>
                </a:lnTo>
                <a:lnTo>
                  <a:pt x="12" y="530"/>
                </a:lnTo>
                <a:lnTo>
                  <a:pt x="14" y="518"/>
                </a:lnTo>
                <a:lnTo>
                  <a:pt x="0" y="497"/>
                </a:lnTo>
                <a:lnTo>
                  <a:pt x="12" y="484"/>
                </a:lnTo>
                <a:lnTo>
                  <a:pt x="7" y="475"/>
                </a:lnTo>
                <a:lnTo>
                  <a:pt x="7" y="461"/>
                </a:lnTo>
                <a:lnTo>
                  <a:pt x="20" y="465"/>
                </a:lnTo>
                <a:lnTo>
                  <a:pt x="31" y="455"/>
                </a:lnTo>
                <a:lnTo>
                  <a:pt x="24" y="453"/>
                </a:lnTo>
                <a:lnTo>
                  <a:pt x="14" y="422"/>
                </a:lnTo>
                <a:lnTo>
                  <a:pt x="21" y="423"/>
                </a:lnTo>
                <a:lnTo>
                  <a:pt x="20" y="427"/>
                </a:lnTo>
                <a:lnTo>
                  <a:pt x="35" y="443"/>
                </a:lnTo>
                <a:lnTo>
                  <a:pt x="45" y="448"/>
                </a:lnTo>
                <a:lnTo>
                  <a:pt x="49" y="443"/>
                </a:lnTo>
                <a:lnTo>
                  <a:pt x="44" y="433"/>
                </a:lnTo>
                <a:lnTo>
                  <a:pt x="47" y="429"/>
                </a:lnTo>
                <a:lnTo>
                  <a:pt x="42" y="420"/>
                </a:lnTo>
                <a:lnTo>
                  <a:pt x="46" y="413"/>
                </a:lnTo>
                <a:lnTo>
                  <a:pt x="39" y="404"/>
                </a:lnTo>
                <a:lnTo>
                  <a:pt x="42" y="403"/>
                </a:lnTo>
                <a:lnTo>
                  <a:pt x="66" y="428"/>
                </a:lnTo>
                <a:lnTo>
                  <a:pt x="82" y="436"/>
                </a:lnTo>
                <a:lnTo>
                  <a:pt x="89" y="450"/>
                </a:lnTo>
                <a:lnTo>
                  <a:pt x="147" y="447"/>
                </a:lnTo>
                <a:lnTo>
                  <a:pt x="174" y="458"/>
                </a:lnTo>
                <a:lnTo>
                  <a:pt x="185" y="431"/>
                </a:lnTo>
                <a:lnTo>
                  <a:pt x="180" y="423"/>
                </a:lnTo>
                <a:lnTo>
                  <a:pt x="182" y="414"/>
                </a:lnTo>
                <a:lnTo>
                  <a:pt x="201" y="403"/>
                </a:lnTo>
                <a:lnTo>
                  <a:pt x="197" y="398"/>
                </a:lnTo>
                <a:lnTo>
                  <a:pt x="199" y="389"/>
                </a:lnTo>
                <a:lnTo>
                  <a:pt x="185" y="384"/>
                </a:lnTo>
                <a:lnTo>
                  <a:pt x="174" y="364"/>
                </a:lnTo>
                <a:lnTo>
                  <a:pt x="174" y="357"/>
                </a:lnTo>
                <a:lnTo>
                  <a:pt x="185" y="351"/>
                </a:lnTo>
                <a:lnTo>
                  <a:pt x="169" y="350"/>
                </a:lnTo>
                <a:lnTo>
                  <a:pt x="168" y="344"/>
                </a:lnTo>
                <a:lnTo>
                  <a:pt x="161" y="347"/>
                </a:lnTo>
                <a:lnTo>
                  <a:pt x="167" y="335"/>
                </a:lnTo>
                <a:lnTo>
                  <a:pt x="158" y="332"/>
                </a:lnTo>
                <a:lnTo>
                  <a:pt x="154" y="320"/>
                </a:lnTo>
                <a:lnTo>
                  <a:pt x="167" y="319"/>
                </a:lnTo>
                <a:lnTo>
                  <a:pt x="156" y="298"/>
                </a:lnTo>
                <a:lnTo>
                  <a:pt x="167" y="284"/>
                </a:lnTo>
                <a:lnTo>
                  <a:pt x="167" y="270"/>
                </a:lnTo>
                <a:lnTo>
                  <a:pt x="173" y="257"/>
                </a:lnTo>
                <a:lnTo>
                  <a:pt x="167" y="256"/>
                </a:lnTo>
                <a:lnTo>
                  <a:pt x="174" y="246"/>
                </a:lnTo>
                <a:lnTo>
                  <a:pt x="171" y="230"/>
                </a:lnTo>
                <a:lnTo>
                  <a:pt x="179" y="217"/>
                </a:lnTo>
                <a:lnTo>
                  <a:pt x="174" y="223"/>
                </a:lnTo>
                <a:lnTo>
                  <a:pt x="165" y="212"/>
                </a:lnTo>
                <a:lnTo>
                  <a:pt x="159" y="214"/>
                </a:lnTo>
                <a:lnTo>
                  <a:pt x="153" y="193"/>
                </a:lnTo>
                <a:lnTo>
                  <a:pt x="143" y="189"/>
                </a:lnTo>
                <a:lnTo>
                  <a:pt x="155" y="168"/>
                </a:lnTo>
                <a:lnTo>
                  <a:pt x="169" y="158"/>
                </a:lnTo>
                <a:lnTo>
                  <a:pt x="166" y="151"/>
                </a:lnTo>
                <a:lnTo>
                  <a:pt x="158" y="152"/>
                </a:lnTo>
                <a:lnTo>
                  <a:pt x="159" y="141"/>
                </a:lnTo>
                <a:lnTo>
                  <a:pt x="184" y="134"/>
                </a:lnTo>
                <a:lnTo>
                  <a:pt x="174" y="124"/>
                </a:lnTo>
                <a:lnTo>
                  <a:pt x="155" y="135"/>
                </a:lnTo>
                <a:lnTo>
                  <a:pt x="149" y="124"/>
                </a:lnTo>
                <a:lnTo>
                  <a:pt x="124" y="120"/>
                </a:lnTo>
                <a:lnTo>
                  <a:pt x="131" y="109"/>
                </a:lnTo>
                <a:lnTo>
                  <a:pt x="149" y="114"/>
                </a:lnTo>
                <a:lnTo>
                  <a:pt x="139" y="98"/>
                </a:lnTo>
                <a:lnTo>
                  <a:pt x="140" y="80"/>
                </a:lnTo>
                <a:lnTo>
                  <a:pt x="147" y="72"/>
                </a:lnTo>
                <a:lnTo>
                  <a:pt x="132" y="77"/>
                </a:lnTo>
                <a:lnTo>
                  <a:pt x="126" y="69"/>
                </a:lnTo>
                <a:lnTo>
                  <a:pt x="127" y="46"/>
                </a:lnTo>
                <a:lnTo>
                  <a:pt x="134" y="37"/>
                </a:lnTo>
                <a:lnTo>
                  <a:pt x="122" y="27"/>
                </a:lnTo>
                <a:lnTo>
                  <a:pt x="136" y="21"/>
                </a:lnTo>
                <a:lnTo>
                  <a:pt x="126" y="7"/>
                </a:lnTo>
                <a:lnTo>
                  <a:pt x="141" y="0"/>
                </a:lnTo>
                <a:lnTo>
                  <a:pt x="143" y="5"/>
                </a:lnTo>
                <a:lnTo>
                  <a:pt x="140" y="10"/>
                </a:lnTo>
                <a:lnTo>
                  <a:pt x="146" y="11"/>
                </a:lnTo>
                <a:lnTo>
                  <a:pt x="147" y="23"/>
                </a:lnTo>
                <a:lnTo>
                  <a:pt x="143" y="37"/>
                </a:lnTo>
                <a:lnTo>
                  <a:pt x="154" y="37"/>
                </a:lnTo>
                <a:lnTo>
                  <a:pt x="153" y="55"/>
                </a:lnTo>
                <a:lnTo>
                  <a:pt x="162" y="56"/>
                </a:lnTo>
                <a:lnTo>
                  <a:pt x="159" y="64"/>
                </a:lnTo>
                <a:lnTo>
                  <a:pt x="174" y="66"/>
                </a:lnTo>
                <a:lnTo>
                  <a:pt x="164" y="78"/>
                </a:lnTo>
                <a:lnTo>
                  <a:pt x="175" y="87"/>
                </a:lnTo>
                <a:lnTo>
                  <a:pt x="182" y="81"/>
                </a:lnTo>
                <a:lnTo>
                  <a:pt x="182" y="91"/>
                </a:lnTo>
                <a:lnTo>
                  <a:pt x="191" y="91"/>
                </a:lnTo>
                <a:lnTo>
                  <a:pt x="191" y="99"/>
                </a:lnTo>
                <a:lnTo>
                  <a:pt x="181" y="104"/>
                </a:lnTo>
                <a:lnTo>
                  <a:pt x="165" y="103"/>
                </a:lnTo>
                <a:lnTo>
                  <a:pt x="153" y="113"/>
                </a:lnTo>
                <a:lnTo>
                  <a:pt x="198" y="105"/>
                </a:lnTo>
                <a:lnTo>
                  <a:pt x="196" y="127"/>
                </a:lnTo>
                <a:lnTo>
                  <a:pt x="209" y="126"/>
                </a:lnTo>
                <a:lnTo>
                  <a:pt x="207" y="134"/>
                </a:lnTo>
                <a:lnTo>
                  <a:pt x="214" y="139"/>
                </a:lnTo>
                <a:lnTo>
                  <a:pt x="184" y="152"/>
                </a:lnTo>
                <a:lnTo>
                  <a:pt x="224" y="153"/>
                </a:lnTo>
                <a:lnTo>
                  <a:pt x="226" y="162"/>
                </a:lnTo>
                <a:lnTo>
                  <a:pt x="218" y="170"/>
                </a:lnTo>
                <a:lnTo>
                  <a:pt x="222" y="171"/>
                </a:lnTo>
                <a:lnTo>
                  <a:pt x="198" y="189"/>
                </a:lnTo>
                <a:lnTo>
                  <a:pt x="226" y="179"/>
                </a:lnTo>
                <a:lnTo>
                  <a:pt x="234" y="190"/>
                </a:lnTo>
                <a:lnTo>
                  <a:pt x="225" y="201"/>
                </a:lnTo>
                <a:lnTo>
                  <a:pt x="240" y="200"/>
                </a:lnTo>
                <a:lnTo>
                  <a:pt x="256" y="223"/>
                </a:lnTo>
                <a:lnTo>
                  <a:pt x="232" y="239"/>
                </a:lnTo>
                <a:lnTo>
                  <a:pt x="254" y="239"/>
                </a:lnTo>
                <a:lnTo>
                  <a:pt x="259" y="246"/>
                </a:lnTo>
                <a:lnTo>
                  <a:pt x="256" y="253"/>
                </a:lnTo>
                <a:lnTo>
                  <a:pt x="273" y="259"/>
                </a:lnTo>
                <a:lnTo>
                  <a:pt x="276" y="270"/>
                </a:lnTo>
                <a:lnTo>
                  <a:pt x="260" y="286"/>
                </a:lnTo>
                <a:lnTo>
                  <a:pt x="262" y="297"/>
                </a:lnTo>
                <a:lnTo>
                  <a:pt x="234" y="285"/>
                </a:lnTo>
                <a:lnTo>
                  <a:pt x="232" y="291"/>
                </a:lnTo>
                <a:lnTo>
                  <a:pt x="243" y="296"/>
                </a:lnTo>
                <a:lnTo>
                  <a:pt x="260" y="305"/>
                </a:lnTo>
                <a:lnTo>
                  <a:pt x="262" y="308"/>
                </a:lnTo>
                <a:lnTo>
                  <a:pt x="249" y="314"/>
                </a:lnTo>
                <a:lnTo>
                  <a:pt x="263" y="329"/>
                </a:lnTo>
                <a:lnTo>
                  <a:pt x="256" y="327"/>
                </a:lnTo>
                <a:lnTo>
                  <a:pt x="253" y="335"/>
                </a:lnTo>
                <a:lnTo>
                  <a:pt x="278" y="333"/>
                </a:lnTo>
                <a:lnTo>
                  <a:pt x="284" y="354"/>
                </a:lnTo>
                <a:lnTo>
                  <a:pt x="280" y="358"/>
                </a:lnTo>
                <a:lnTo>
                  <a:pt x="304" y="361"/>
                </a:lnTo>
                <a:lnTo>
                  <a:pt x="310" y="374"/>
                </a:lnTo>
                <a:lnTo>
                  <a:pt x="323" y="370"/>
                </a:lnTo>
                <a:lnTo>
                  <a:pt x="320" y="383"/>
                </a:lnTo>
                <a:lnTo>
                  <a:pt x="326" y="394"/>
                </a:lnTo>
                <a:lnTo>
                  <a:pt x="318" y="406"/>
                </a:lnTo>
                <a:lnTo>
                  <a:pt x="327" y="401"/>
                </a:lnTo>
                <a:lnTo>
                  <a:pt x="338" y="409"/>
                </a:lnTo>
                <a:lnTo>
                  <a:pt x="349" y="402"/>
                </a:lnTo>
                <a:lnTo>
                  <a:pt x="350" y="408"/>
                </a:lnTo>
                <a:lnTo>
                  <a:pt x="358" y="411"/>
                </a:lnTo>
                <a:lnTo>
                  <a:pt x="349" y="435"/>
                </a:lnTo>
                <a:lnTo>
                  <a:pt x="372" y="410"/>
                </a:lnTo>
                <a:lnTo>
                  <a:pt x="371" y="420"/>
                </a:lnTo>
                <a:lnTo>
                  <a:pt x="378" y="415"/>
                </a:lnTo>
                <a:lnTo>
                  <a:pt x="383" y="432"/>
                </a:lnTo>
                <a:lnTo>
                  <a:pt x="388" y="436"/>
                </a:lnTo>
                <a:lnTo>
                  <a:pt x="408" y="444"/>
                </a:lnTo>
                <a:lnTo>
                  <a:pt x="420" y="429"/>
                </a:lnTo>
                <a:lnTo>
                  <a:pt x="426" y="438"/>
                </a:lnTo>
                <a:lnTo>
                  <a:pt x="424" y="444"/>
                </a:lnTo>
                <a:lnTo>
                  <a:pt x="443" y="451"/>
                </a:lnTo>
                <a:lnTo>
                  <a:pt x="448" y="458"/>
                </a:lnTo>
                <a:lnTo>
                  <a:pt x="442" y="469"/>
                </a:lnTo>
                <a:lnTo>
                  <a:pt x="424" y="470"/>
                </a:lnTo>
                <a:lnTo>
                  <a:pt x="398" y="485"/>
                </a:lnTo>
                <a:lnTo>
                  <a:pt x="362" y="494"/>
                </a:lnTo>
                <a:lnTo>
                  <a:pt x="355" y="500"/>
                </a:lnTo>
                <a:lnTo>
                  <a:pt x="342" y="509"/>
                </a:lnTo>
                <a:lnTo>
                  <a:pt x="330" y="527"/>
                </a:lnTo>
                <a:lnTo>
                  <a:pt x="301" y="515"/>
                </a:lnTo>
                <a:lnTo>
                  <a:pt x="290" y="515"/>
                </a:lnTo>
                <a:lnTo>
                  <a:pt x="291" y="522"/>
                </a:lnTo>
                <a:lnTo>
                  <a:pt x="325" y="534"/>
                </a:lnTo>
                <a:lnTo>
                  <a:pt x="322" y="553"/>
                </a:lnTo>
                <a:lnTo>
                  <a:pt x="394" y="498"/>
                </a:lnTo>
                <a:lnTo>
                  <a:pt x="403" y="491"/>
                </a:lnTo>
                <a:lnTo>
                  <a:pt x="423" y="484"/>
                </a:lnTo>
                <a:lnTo>
                  <a:pt x="453" y="485"/>
                </a:lnTo>
                <a:lnTo>
                  <a:pt x="457" y="515"/>
                </a:lnTo>
                <a:lnTo>
                  <a:pt x="451" y="523"/>
                </a:lnTo>
                <a:lnTo>
                  <a:pt x="453" y="543"/>
                </a:lnTo>
                <a:lnTo>
                  <a:pt x="470" y="517"/>
                </a:lnTo>
                <a:lnTo>
                  <a:pt x="486" y="518"/>
                </a:lnTo>
                <a:lnTo>
                  <a:pt x="484" y="522"/>
                </a:lnTo>
                <a:lnTo>
                  <a:pt x="514" y="532"/>
                </a:lnTo>
                <a:lnTo>
                  <a:pt x="507" y="538"/>
                </a:lnTo>
                <a:lnTo>
                  <a:pt x="522" y="554"/>
                </a:lnTo>
                <a:lnTo>
                  <a:pt x="522" y="560"/>
                </a:lnTo>
                <a:lnTo>
                  <a:pt x="514" y="566"/>
                </a:lnTo>
                <a:lnTo>
                  <a:pt x="496" y="559"/>
                </a:lnTo>
                <a:lnTo>
                  <a:pt x="502" y="568"/>
                </a:lnTo>
                <a:lnTo>
                  <a:pt x="513" y="570"/>
                </a:lnTo>
                <a:lnTo>
                  <a:pt x="516" y="581"/>
                </a:lnTo>
                <a:lnTo>
                  <a:pt x="513" y="587"/>
                </a:lnTo>
                <a:lnTo>
                  <a:pt x="520" y="600"/>
                </a:lnTo>
                <a:lnTo>
                  <a:pt x="509" y="603"/>
                </a:lnTo>
                <a:lnTo>
                  <a:pt x="522" y="608"/>
                </a:lnTo>
                <a:lnTo>
                  <a:pt x="526" y="617"/>
                </a:lnTo>
                <a:lnTo>
                  <a:pt x="508" y="614"/>
                </a:lnTo>
                <a:lnTo>
                  <a:pt x="525" y="630"/>
                </a:lnTo>
                <a:lnTo>
                  <a:pt x="482" y="675"/>
                </a:lnTo>
                <a:lnTo>
                  <a:pt x="470" y="680"/>
                </a:lnTo>
                <a:lnTo>
                  <a:pt x="459" y="680"/>
                </a:lnTo>
                <a:lnTo>
                  <a:pt x="459" y="643"/>
                </a:lnTo>
                <a:lnTo>
                  <a:pt x="448" y="643"/>
                </a:lnTo>
                <a:close/>
              </a:path>
            </a:pathLst>
          </a:custGeom>
          <a:solidFill>
            <a:schemeClr val="accent1"/>
          </a:solidFill>
          <a:ln w="6350">
            <a:solidFill>
              <a:schemeClr val="tx2"/>
            </a:solidFill>
            <a:round/>
            <a:headEnd/>
            <a:tailEnd/>
          </a:ln>
        </p:spPr>
        <p:txBody>
          <a:bodyPr/>
          <a:lstStyle/>
          <a:p>
            <a:endParaRPr lang="en-US"/>
          </a:p>
        </p:txBody>
      </p:sp>
      <p:sp>
        <p:nvSpPr>
          <p:cNvPr id="251" name="Freeform 1207"/>
          <p:cNvSpPr>
            <a:spLocks/>
          </p:cNvSpPr>
          <p:nvPr/>
        </p:nvSpPr>
        <p:spPr bwMode="auto">
          <a:xfrm>
            <a:off x="3021258" y="3846525"/>
            <a:ext cx="5734" cy="5095"/>
          </a:xfrm>
          <a:custGeom>
            <a:avLst/>
            <a:gdLst>
              <a:gd name="T0" fmla="*/ 0 w 11"/>
              <a:gd name="T1" fmla="*/ 0 h 14"/>
              <a:gd name="T2" fmla="*/ 2147483647 w 11"/>
              <a:gd name="T3" fmla="*/ 2147483647 h 14"/>
              <a:gd name="T4" fmla="*/ 2147483647 w 11"/>
              <a:gd name="T5" fmla="*/ 2147483647 h 14"/>
              <a:gd name="T6" fmla="*/ 0 w 11"/>
              <a:gd name="T7" fmla="*/ 0 h 14"/>
              <a:gd name="T8" fmla="*/ 0 60000 65536"/>
              <a:gd name="T9" fmla="*/ 0 60000 65536"/>
              <a:gd name="T10" fmla="*/ 0 60000 65536"/>
              <a:gd name="T11" fmla="*/ 0 60000 65536"/>
              <a:gd name="T12" fmla="*/ 0 w 11"/>
              <a:gd name="T13" fmla="*/ 0 h 14"/>
              <a:gd name="T14" fmla="*/ 11 w 11"/>
              <a:gd name="T15" fmla="*/ 14 h 14"/>
            </a:gdLst>
            <a:ahLst/>
            <a:cxnLst>
              <a:cxn ang="T8">
                <a:pos x="T0" y="T1"/>
              </a:cxn>
              <a:cxn ang="T9">
                <a:pos x="T2" y="T3"/>
              </a:cxn>
              <a:cxn ang="T10">
                <a:pos x="T4" y="T5"/>
              </a:cxn>
              <a:cxn ang="T11">
                <a:pos x="T6" y="T7"/>
              </a:cxn>
            </a:cxnLst>
            <a:rect l="T12" t="T13" r="T14" b="T15"/>
            <a:pathLst>
              <a:path w="11" h="14">
                <a:moveTo>
                  <a:pt x="0" y="0"/>
                </a:moveTo>
                <a:lnTo>
                  <a:pt x="11" y="13"/>
                </a:lnTo>
                <a:lnTo>
                  <a:pt x="6" y="14"/>
                </a:lnTo>
                <a:lnTo>
                  <a:pt x="0" y="0"/>
                </a:lnTo>
                <a:close/>
              </a:path>
            </a:pathLst>
          </a:custGeom>
          <a:solidFill>
            <a:schemeClr val="accent1"/>
          </a:solidFill>
          <a:ln w="6350">
            <a:solidFill>
              <a:schemeClr val="tx2"/>
            </a:solidFill>
            <a:round/>
            <a:headEnd/>
            <a:tailEnd/>
          </a:ln>
        </p:spPr>
        <p:txBody>
          <a:bodyPr/>
          <a:lstStyle/>
          <a:p>
            <a:endParaRPr lang="en-US"/>
          </a:p>
        </p:txBody>
      </p:sp>
      <p:sp>
        <p:nvSpPr>
          <p:cNvPr id="252" name="Freeform 1208"/>
          <p:cNvSpPr>
            <a:spLocks/>
          </p:cNvSpPr>
          <p:nvPr/>
        </p:nvSpPr>
        <p:spPr bwMode="auto">
          <a:xfrm>
            <a:off x="2188488" y="4066867"/>
            <a:ext cx="8600" cy="7642"/>
          </a:xfrm>
          <a:custGeom>
            <a:avLst/>
            <a:gdLst>
              <a:gd name="T0" fmla="*/ 2147483647 w 21"/>
              <a:gd name="T1" fmla="*/ 0 h 17"/>
              <a:gd name="T2" fmla="*/ 2147483647 w 21"/>
              <a:gd name="T3" fmla="*/ 0 h 17"/>
              <a:gd name="T4" fmla="*/ 2147483647 w 21"/>
              <a:gd name="T5" fmla="*/ 2147483647 h 17"/>
              <a:gd name="T6" fmla="*/ 2147483647 w 21"/>
              <a:gd name="T7" fmla="*/ 2147483647 h 17"/>
              <a:gd name="T8" fmla="*/ 0 w 21"/>
              <a:gd name="T9" fmla="*/ 2147483647 h 17"/>
              <a:gd name="T10" fmla="*/ 2147483647 w 21"/>
              <a:gd name="T11" fmla="*/ 0 h 17"/>
              <a:gd name="T12" fmla="*/ 0 60000 65536"/>
              <a:gd name="T13" fmla="*/ 0 60000 65536"/>
              <a:gd name="T14" fmla="*/ 0 60000 65536"/>
              <a:gd name="T15" fmla="*/ 0 60000 65536"/>
              <a:gd name="T16" fmla="*/ 0 60000 65536"/>
              <a:gd name="T17" fmla="*/ 0 60000 65536"/>
              <a:gd name="T18" fmla="*/ 0 w 21"/>
              <a:gd name="T19" fmla="*/ 0 h 17"/>
              <a:gd name="T20" fmla="*/ 21 w 2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1" h="17">
                <a:moveTo>
                  <a:pt x="6" y="0"/>
                </a:moveTo>
                <a:lnTo>
                  <a:pt x="18" y="0"/>
                </a:lnTo>
                <a:lnTo>
                  <a:pt x="21" y="6"/>
                </a:lnTo>
                <a:lnTo>
                  <a:pt x="12" y="17"/>
                </a:lnTo>
                <a:lnTo>
                  <a:pt x="0" y="9"/>
                </a:lnTo>
                <a:lnTo>
                  <a:pt x="6" y="0"/>
                </a:lnTo>
                <a:close/>
              </a:path>
            </a:pathLst>
          </a:custGeom>
          <a:solidFill>
            <a:schemeClr val="accent1"/>
          </a:solidFill>
          <a:ln w="6350">
            <a:solidFill>
              <a:schemeClr val="tx2"/>
            </a:solidFill>
            <a:round/>
            <a:headEnd/>
            <a:tailEnd/>
          </a:ln>
        </p:spPr>
        <p:txBody>
          <a:bodyPr/>
          <a:lstStyle/>
          <a:p>
            <a:endParaRPr lang="en-US"/>
          </a:p>
        </p:txBody>
      </p:sp>
      <p:sp>
        <p:nvSpPr>
          <p:cNvPr id="253" name="Freeform 1209"/>
          <p:cNvSpPr>
            <a:spLocks/>
          </p:cNvSpPr>
          <p:nvPr/>
        </p:nvSpPr>
        <p:spPr bwMode="auto">
          <a:xfrm>
            <a:off x="2220021" y="4078331"/>
            <a:ext cx="8600" cy="6368"/>
          </a:xfrm>
          <a:custGeom>
            <a:avLst/>
            <a:gdLst>
              <a:gd name="T0" fmla="*/ 0 w 18"/>
              <a:gd name="T1" fmla="*/ 2147483647 h 16"/>
              <a:gd name="T2" fmla="*/ 2147483647 w 18"/>
              <a:gd name="T3" fmla="*/ 0 h 16"/>
              <a:gd name="T4" fmla="*/ 2147483647 w 18"/>
              <a:gd name="T5" fmla="*/ 2147483647 h 16"/>
              <a:gd name="T6" fmla="*/ 2147483647 w 18"/>
              <a:gd name="T7" fmla="*/ 2147483647 h 16"/>
              <a:gd name="T8" fmla="*/ 0 w 18"/>
              <a:gd name="T9" fmla="*/ 2147483647 h 16"/>
              <a:gd name="T10" fmla="*/ 0 60000 65536"/>
              <a:gd name="T11" fmla="*/ 0 60000 65536"/>
              <a:gd name="T12" fmla="*/ 0 60000 65536"/>
              <a:gd name="T13" fmla="*/ 0 60000 65536"/>
              <a:gd name="T14" fmla="*/ 0 60000 65536"/>
              <a:gd name="T15" fmla="*/ 0 w 18"/>
              <a:gd name="T16" fmla="*/ 0 h 16"/>
              <a:gd name="T17" fmla="*/ 18 w 18"/>
              <a:gd name="T18" fmla="*/ 16 h 16"/>
            </a:gdLst>
            <a:ahLst/>
            <a:cxnLst>
              <a:cxn ang="T10">
                <a:pos x="T0" y="T1"/>
              </a:cxn>
              <a:cxn ang="T11">
                <a:pos x="T2" y="T3"/>
              </a:cxn>
              <a:cxn ang="T12">
                <a:pos x="T4" y="T5"/>
              </a:cxn>
              <a:cxn ang="T13">
                <a:pos x="T6" y="T7"/>
              </a:cxn>
              <a:cxn ang="T14">
                <a:pos x="T8" y="T9"/>
              </a:cxn>
            </a:cxnLst>
            <a:rect l="T15" t="T16" r="T17" b="T18"/>
            <a:pathLst>
              <a:path w="18" h="16">
                <a:moveTo>
                  <a:pt x="0" y="5"/>
                </a:moveTo>
                <a:lnTo>
                  <a:pt x="4" y="0"/>
                </a:lnTo>
                <a:lnTo>
                  <a:pt x="18" y="14"/>
                </a:lnTo>
                <a:lnTo>
                  <a:pt x="7" y="16"/>
                </a:lnTo>
                <a:lnTo>
                  <a:pt x="0" y="5"/>
                </a:lnTo>
                <a:close/>
              </a:path>
            </a:pathLst>
          </a:custGeom>
          <a:solidFill>
            <a:schemeClr val="accent1"/>
          </a:solidFill>
          <a:ln w="6350">
            <a:solidFill>
              <a:schemeClr val="tx2"/>
            </a:solidFill>
            <a:round/>
            <a:headEnd/>
            <a:tailEnd/>
          </a:ln>
        </p:spPr>
        <p:txBody>
          <a:bodyPr/>
          <a:lstStyle/>
          <a:p>
            <a:endParaRPr lang="en-US"/>
          </a:p>
        </p:txBody>
      </p:sp>
      <p:sp>
        <p:nvSpPr>
          <p:cNvPr id="254" name="Freeform 1210"/>
          <p:cNvSpPr>
            <a:spLocks/>
          </p:cNvSpPr>
          <p:nvPr/>
        </p:nvSpPr>
        <p:spPr bwMode="auto">
          <a:xfrm>
            <a:off x="2235788" y="4085972"/>
            <a:ext cx="11467" cy="2547"/>
          </a:xfrm>
          <a:custGeom>
            <a:avLst/>
            <a:gdLst>
              <a:gd name="T0" fmla="*/ 2147483647 w 23"/>
              <a:gd name="T1" fmla="*/ 0 h 7"/>
              <a:gd name="T2" fmla="*/ 0 w 23"/>
              <a:gd name="T3" fmla="*/ 2147483647 h 7"/>
              <a:gd name="T4" fmla="*/ 2147483647 w 23"/>
              <a:gd name="T5" fmla="*/ 2147483647 h 7"/>
              <a:gd name="T6" fmla="*/ 2147483647 w 23"/>
              <a:gd name="T7" fmla="*/ 2147483647 h 7"/>
              <a:gd name="T8" fmla="*/ 2147483647 w 23"/>
              <a:gd name="T9" fmla="*/ 2147483647 h 7"/>
              <a:gd name="T10" fmla="*/ 2147483647 w 23"/>
              <a:gd name="T11" fmla="*/ 0 h 7"/>
              <a:gd name="T12" fmla="*/ 0 60000 65536"/>
              <a:gd name="T13" fmla="*/ 0 60000 65536"/>
              <a:gd name="T14" fmla="*/ 0 60000 65536"/>
              <a:gd name="T15" fmla="*/ 0 60000 65536"/>
              <a:gd name="T16" fmla="*/ 0 60000 65536"/>
              <a:gd name="T17" fmla="*/ 0 60000 65536"/>
              <a:gd name="T18" fmla="*/ 0 w 23"/>
              <a:gd name="T19" fmla="*/ 0 h 7"/>
              <a:gd name="T20" fmla="*/ 23 w 23"/>
              <a:gd name="T21" fmla="*/ 7 h 7"/>
            </a:gdLst>
            <a:ahLst/>
            <a:cxnLst>
              <a:cxn ang="T12">
                <a:pos x="T0" y="T1"/>
              </a:cxn>
              <a:cxn ang="T13">
                <a:pos x="T2" y="T3"/>
              </a:cxn>
              <a:cxn ang="T14">
                <a:pos x="T4" y="T5"/>
              </a:cxn>
              <a:cxn ang="T15">
                <a:pos x="T6" y="T7"/>
              </a:cxn>
              <a:cxn ang="T16">
                <a:pos x="T8" y="T9"/>
              </a:cxn>
              <a:cxn ang="T17">
                <a:pos x="T10" y="T11"/>
              </a:cxn>
            </a:cxnLst>
            <a:rect l="T18" t="T19" r="T20" b="T21"/>
            <a:pathLst>
              <a:path w="23" h="7">
                <a:moveTo>
                  <a:pt x="1" y="0"/>
                </a:moveTo>
                <a:lnTo>
                  <a:pt x="0" y="4"/>
                </a:lnTo>
                <a:lnTo>
                  <a:pt x="22" y="1"/>
                </a:lnTo>
                <a:lnTo>
                  <a:pt x="23" y="6"/>
                </a:lnTo>
                <a:lnTo>
                  <a:pt x="2" y="7"/>
                </a:lnTo>
                <a:lnTo>
                  <a:pt x="1" y="0"/>
                </a:lnTo>
                <a:close/>
              </a:path>
            </a:pathLst>
          </a:custGeom>
          <a:solidFill>
            <a:schemeClr val="accent1"/>
          </a:solidFill>
          <a:ln w="6350">
            <a:solidFill>
              <a:schemeClr val="tx2"/>
            </a:solidFill>
            <a:round/>
            <a:headEnd/>
            <a:tailEnd/>
          </a:ln>
        </p:spPr>
        <p:txBody>
          <a:bodyPr/>
          <a:lstStyle/>
          <a:p>
            <a:endParaRPr lang="en-US"/>
          </a:p>
        </p:txBody>
      </p:sp>
      <p:sp>
        <p:nvSpPr>
          <p:cNvPr id="255" name="Freeform 1211"/>
          <p:cNvSpPr>
            <a:spLocks/>
          </p:cNvSpPr>
          <p:nvPr/>
        </p:nvSpPr>
        <p:spPr bwMode="auto">
          <a:xfrm>
            <a:off x="2250122" y="4091067"/>
            <a:ext cx="11467" cy="6368"/>
          </a:xfrm>
          <a:custGeom>
            <a:avLst/>
            <a:gdLst>
              <a:gd name="T0" fmla="*/ 2147483647 w 27"/>
              <a:gd name="T1" fmla="*/ 2147483647 h 16"/>
              <a:gd name="T2" fmla="*/ 2147483647 w 27"/>
              <a:gd name="T3" fmla="*/ 0 h 16"/>
              <a:gd name="T4" fmla="*/ 2147483647 w 27"/>
              <a:gd name="T5" fmla="*/ 2147483647 h 16"/>
              <a:gd name="T6" fmla="*/ 2147483647 w 27"/>
              <a:gd name="T7" fmla="*/ 2147483647 h 16"/>
              <a:gd name="T8" fmla="*/ 0 w 27"/>
              <a:gd name="T9" fmla="*/ 0 h 16"/>
              <a:gd name="T10" fmla="*/ 2147483647 w 27"/>
              <a:gd name="T11" fmla="*/ 2147483647 h 16"/>
              <a:gd name="T12" fmla="*/ 0 60000 65536"/>
              <a:gd name="T13" fmla="*/ 0 60000 65536"/>
              <a:gd name="T14" fmla="*/ 0 60000 65536"/>
              <a:gd name="T15" fmla="*/ 0 60000 65536"/>
              <a:gd name="T16" fmla="*/ 0 60000 65536"/>
              <a:gd name="T17" fmla="*/ 0 60000 65536"/>
              <a:gd name="T18" fmla="*/ 0 w 27"/>
              <a:gd name="T19" fmla="*/ 0 h 16"/>
              <a:gd name="T20" fmla="*/ 27 w 27"/>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7" h="16">
                <a:moveTo>
                  <a:pt x="11" y="1"/>
                </a:moveTo>
                <a:lnTo>
                  <a:pt x="14" y="0"/>
                </a:lnTo>
                <a:lnTo>
                  <a:pt x="27" y="12"/>
                </a:lnTo>
                <a:lnTo>
                  <a:pt x="13" y="16"/>
                </a:lnTo>
                <a:lnTo>
                  <a:pt x="0" y="0"/>
                </a:lnTo>
                <a:lnTo>
                  <a:pt x="11" y="1"/>
                </a:lnTo>
                <a:close/>
              </a:path>
            </a:pathLst>
          </a:custGeom>
          <a:solidFill>
            <a:schemeClr val="accent1"/>
          </a:solidFill>
          <a:ln w="6350">
            <a:solidFill>
              <a:schemeClr val="tx2"/>
            </a:solidFill>
            <a:round/>
            <a:headEnd/>
            <a:tailEnd/>
          </a:ln>
        </p:spPr>
        <p:txBody>
          <a:bodyPr/>
          <a:lstStyle/>
          <a:p>
            <a:endParaRPr lang="en-US"/>
          </a:p>
        </p:txBody>
      </p:sp>
      <p:sp>
        <p:nvSpPr>
          <p:cNvPr id="256" name="Freeform 1212"/>
          <p:cNvSpPr>
            <a:spLocks/>
          </p:cNvSpPr>
          <p:nvPr/>
        </p:nvSpPr>
        <p:spPr bwMode="auto">
          <a:xfrm>
            <a:off x="2261588" y="4105077"/>
            <a:ext cx="25800" cy="25473"/>
          </a:xfrm>
          <a:custGeom>
            <a:avLst/>
            <a:gdLst>
              <a:gd name="T0" fmla="*/ 2147483647 w 49"/>
              <a:gd name="T1" fmla="*/ 0 h 58"/>
              <a:gd name="T2" fmla="*/ 2147483647 w 49"/>
              <a:gd name="T3" fmla="*/ 2147483647 h 58"/>
              <a:gd name="T4" fmla="*/ 2147483647 w 49"/>
              <a:gd name="T5" fmla="*/ 2147483647 h 58"/>
              <a:gd name="T6" fmla="*/ 2147483647 w 49"/>
              <a:gd name="T7" fmla="*/ 2147483647 h 58"/>
              <a:gd name="T8" fmla="*/ 2147483647 w 49"/>
              <a:gd name="T9" fmla="*/ 2147483647 h 58"/>
              <a:gd name="T10" fmla="*/ 2147483647 w 49"/>
              <a:gd name="T11" fmla="*/ 2147483647 h 58"/>
              <a:gd name="T12" fmla="*/ 2147483647 w 49"/>
              <a:gd name="T13" fmla="*/ 2147483647 h 58"/>
              <a:gd name="T14" fmla="*/ 0 w 49"/>
              <a:gd name="T15" fmla="*/ 2147483647 h 58"/>
              <a:gd name="T16" fmla="*/ 2147483647 w 49"/>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8"/>
              <a:gd name="T29" fmla="*/ 49 w 4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8">
                <a:moveTo>
                  <a:pt x="3" y="0"/>
                </a:moveTo>
                <a:lnTo>
                  <a:pt x="32" y="9"/>
                </a:lnTo>
                <a:lnTo>
                  <a:pt x="49" y="28"/>
                </a:lnTo>
                <a:lnTo>
                  <a:pt x="47" y="42"/>
                </a:lnTo>
                <a:lnTo>
                  <a:pt x="29" y="42"/>
                </a:lnTo>
                <a:lnTo>
                  <a:pt x="14" y="58"/>
                </a:lnTo>
                <a:lnTo>
                  <a:pt x="9" y="55"/>
                </a:lnTo>
                <a:lnTo>
                  <a:pt x="0" y="25"/>
                </a:lnTo>
                <a:lnTo>
                  <a:pt x="3" y="0"/>
                </a:lnTo>
                <a:close/>
              </a:path>
            </a:pathLst>
          </a:custGeom>
          <a:solidFill>
            <a:schemeClr val="accent1"/>
          </a:solidFill>
          <a:ln w="6350">
            <a:solidFill>
              <a:schemeClr val="tx2"/>
            </a:solidFill>
            <a:round/>
            <a:headEnd/>
            <a:tailEnd/>
          </a:ln>
        </p:spPr>
        <p:txBody>
          <a:bodyPr/>
          <a:lstStyle/>
          <a:p>
            <a:endParaRPr lang="en-US"/>
          </a:p>
        </p:txBody>
      </p:sp>
      <p:sp>
        <p:nvSpPr>
          <p:cNvPr id="257" name="Freeform 1213"/>
          <p:cNvSpPr>
            <a:spLocks/>
          </p:cNvSpPr>
          <p:nvPr/>
        </p:nvSpPr>
        <p:spPr bwMode="auto">
          <a:xfrm>
            <a:off x="2242954" y="4092340"/>
            <a:ext cx="4300" cy="2547"/>
          </a:xfrm>
          <a:custGeom>
            <a:avLst/>
            <a:gdLst>
              <a:gd name="T0" fmla="*/ 0 w 8"/>
              <a:gd name="T1" fmla="*/ 0 h 6"/>
              <a:gd name="T2" fmla="*/ 2147483647 w 8"/>
              <a:gd name="T3" fmla="*/ 2147483647 h 6"/>
              <a:gd name="T4" fmla="*/ 2147483647 w 8"/>
              <a:gd name="T5" fmla="*/ 2147483647 h 6"/>
              <a:gd name="T6" fmla="*/ 0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0"/>
                </a:moveTo>
                <a:lnTo>
                  <a:pt x="8" y="3"/>
                </a:lnTo>
                <a:lnTo>
                  <a:pt x="4" y="6"/>
                </a:lnTo>
                <a:lnTo>
                  <a:pt x="0" y="0"/>
                </a:lnTo>
                <a:close/>
              </a:path>
            </a:pathLst>
          </a:custGeom>
          <a:solidFill>
            <a:schemeClr val="accent1"/>
          </a:solidFill>
          <a:ln w="6350">
            <a:solidFill>
              <a:schemeClr val="tx2"/>
            </a:solidFill>
            <a:round/>
            <a:headEnd/>
            <a:tailEnd/>
          </a:ln>
        </p:spPr>
        <p:txBody>
          <a:bodyPr/>
          <a:lstStyle/>
          <a:p>
            <a:endParaRPr lang="en-US"/>
          </a:p>
        </p:txBody>
      </p:sp>
      <p:sp>
        <p:nvSpPr>
          <p:cNvPr id="258" name="Freeform 1214"/>
          <p:cNvSpPr>
            <a:spLocks/>
          </p:cNvSpPr>
          <p:nvPr/>
        </p:nvSpPr>
        <p:spPr bwMode="auto">
          <a:xfrm>
            <a:off x="3026992" y="3928040"/>
            <a:ext cx="2866" cy="6368"/>
          </a:xfrm>
          <a:custGeom>
            <a:avLst/>
            <a:gdLst>
              <a:gd name="T0" fmla="*/ 0 w 4"/>
              <a:gd name="T1" fmla="*/ 2147483647 h 14"/>
              <a:gd name="T2" fmla="*/ 2147483647 w 4"/>
              <a:gd name="T3" fmla="*/ 0 h 14"/>
              <a:gd name="T4" fmla="*/ 2147483647 w 4"/>
              <a:gd name="T5" fmla="*/ 2147483647 h 14"/>
              <a:gd name="T6" fmla="*/ 0 w 4"/>
              <a:gd name="T7" fmla="*/ 2147483647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7"/>
                </a:moveTo>
                <a:lnTo>
                  <a:pt x="2" y="0"/>
                </a:lnTo>
                <a:lnTo>
                  <a:pt x="4" y="14"/>
                </a:lnTo>
                <a:lnTo>
                  <a:pt x="0" y="7"/>
                </a:lnTo>
                <a:close/>
              </a:path>
            </a:pathLst>
          </a:custGeom>
          <a:solidFill>
            <a:schemeClr val="accent1"/>
          </a:solidFill>
          <a:ln w="6350">
            <a:solidFill>
              <a:schemeClr val="tx2"/>
            </a:solidFill>
            <a:round/>
            <a:headEnd/>
            <a:tailEnd/>
          </a:ln>
        </p:spPr>
        <p:txBody>
          <a:bodyPr/>
          <a:lstStyle/>
          <a:p>
            <a:endParaRPr lang="en-US"/>
          </a:p>
        </p:txBody>
      </p:sp>
      <p:sp>
        <p:nvSpPr>
          <p:cNvPr id="259" name="Freeform 1215"/>
          <p:cNvSpPr>
            <a:spLocks/>
          </p:cNvSpPr>
          <p:nvPr/>
        </p:nvSpPr>
        <p:spPr bwMode="auto">
          <a:xfrm>
            <a:off x="4110596" y="3860535"/>
            <a:ext cx="1432" cy="2547"/>
          </a:xfrm>
          <a:custGeom>
            <a:avLst/>
            <a:gdLst>
              <a:gd name="T0" fmla="*/ 2147483647 w 5"/>
              <a:gd name="T1" fmla="*/ 0 h 6"/>
              <a:gd name="T2" fmla="*/ 0 w 5"/>
              <a:gd name="T3" fmla="*/ 2147483647 h 6"/>
              <a:gd name="T4" fmla="*/ 2147483647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5" y="0"/>
                </a:moveTo>
                <a:lnTo>
                  <a:pt x="0" y="6"/>
                </a:lnTo>
                <a:lnTo>
                  <a:pt x="5" y="0"/>
                </a:lnTo>
                <a:close/>
              </a:path>
            </a:pathLst>
          </a:custGeom>
          <a:solidFill>
            <a:schemeClr val="accent1"/>
          </a:solidFill>
          <a:ln w="6350">
            <a:solidFill>
              <a:schemeClr val="tx2"/>
            </a:solidFill>
            <a:round/>
            <a:headEnd/>
            <a:tailEnd/>
          </a:ln>
        </p:spPr>
        <p:txBody>
          <a:bodyPr/>
          <a:lstStyle/>
          <a:p>
            <a:endParaRPr lang="en-US"/>
          </a:p>
        </p:txBody>
      </p:sp>
      <p:sp>
        <p:nvSpPr>
          <p:cNvPr id="260" name="Freeform 1216"/>
          <p:cNvSpPr>
            <a:spLocks/>
          </p:cNvSpPr>
          <p:nvPr/>
        </p:nvSpPr>
        <p:spPr bwMode="auto">
          <a:xfrm>
            <a:off x="3088624" y="3943323"/>
            <a:ext cx="2866" cy="7642"/>
          </a:xfrm>
          <a:custGeom>
            <a:avLst/>
            <a:gdLst>
              <a:gd name="T0" fmla="*/ 2147483647 w 6"/>
              <a:gd name="T1" fmla="*/ 2147483647 h 16"/>
              <a:gd name="T2" fmla="*/ 0 w 6"/>
              <a:gd name="T3" fmla="*/ 2147483647 h 16"/>
              <a:gd name="T4" fmla="*/ 2147483647 w 6"/>
              <a:gd name="T5" fmla="*/ 0 h 16"/>
              <a:gd name="T6" fmla="*/ 2147483647 w 6"/>
              <a:gd name="T7" fmla="*/ 2147483647 h 16"/>
              <a:gd name="T8" fmla="*/ 0 60000 65536"/>
              <a:gd name="T9" fmla="*/ 0 60000 65536"/>
              <a:gd name="T10" fmla="*/ 0 60000 65536"/>
              <a:gd name="T11" fmla="*/ 0 60000 65536"/>
              <a:gd name="T12" fmla="*/ 0 w 6"/>
              <a:gd name="T13" fmla="*/ 0 h 16"/>
              <a:gd name="T14" fmla="*/ 6 w 6"/>
              <a:gd name="T15" fmla="*/ 16 h 16"/>
            </a:gdLst>
            <a:ahLst/>
            <a:cxnLst>
              <a:cxn ang="T8">
                <a:pos x="T0" y="T1"/>
              </a:cxn>
              <a:cxn ang="T9">
                <a:pos x="T2" y="T3"/>
              </a:cxn>
              <a:cxn ang="T10">
                <a:pos x="T4" y="T5"/>
              </a:cxn>
              <a:cxn ang="T11">
                <a:pos x="T6" y="T7"/>
              </a:cxn>
            </a:cxnLst>
            <a:rect l="T12" t="T13" r="T14" b="T15"/>
            <a:pathLst>
              <a:path w="6" h="16">
                <a:moveTo>
                  <a:pt x="5" y="16"/>
                </a:moveTo>
                <a:lnTo>
                  <a:pt x="0" y="11"/>
                </a:lnTo>
                <a:lnTo>
                  <a:pt x="6" y="0"/>
                </a:lnTo>
                <a:lnTo>
                  <a:pt x="5" y="16"/>
                </a:lnTo>
                <a:close/>
              </a:path>
            </a:pathLst>
          </a:custGeom>
          <a:solidFill>
            <a:schemeClr val="accent1"/>
          </a:solidFill>
          <a:ln w="6350">
            <a:solidFill>
              <a:schemeClr val="tx2"/>
            </a:solidFill>
            <a:round/>
            <a:headEnd/>
            <a:tailEnd/>
          </a:ln>
        </p:spPr>
        <p:txBody>
          <a:bodyPr/>
          <a:lstStyle/>
          <a:p>
            <a:endParaRPr lang="en-US"/>
          </a:p>
        </p:txBody>
      </p:sp>
      <p:sp>
        <p:nvSpPr>
          <p:cNvPr id="261" name="Freeform 1217"/>
          <p:cNvSpPr>
            <a:spLocks/>
          </p:cNvSpPr>
          <p:nvPr/>
        </p:nvSpPr>
        <p:spPr bwMode="auto">
          <a:xfrm>
            <a:off x="3147391" y="3928040"/>
            <a:ext cx="2866" cy="7642"/>
          </a:xfrm>
          <a:custGeom>
            <a:avLst/>
            <a:gdLst>
              <a:gd name="T0" fmla="*/ 0 w 10"/>
              <a:gd name="T1" fmla="*/ 2147483647 h 19"/>
              <a:gd name="T2" fmla="*/ 2147483647 w 10"/>
              <a:gd name="T3" fmla="*/ 0 h 19"/>
              <a:gd name="T4" fmla="*/ 2147483647 w 10"/>
              <a:gd name="T5" fmla="*/ 2147483647 h 19"/>
              <a:gd name="T6" fmla="*/ 2147483647 w 10"/>
              <a:gd name="T7" fmla="*/ 2147483647 h 19"/>
              <a:gd name="T8" fmla="*/ 0 w 10"/>
              <a:gd name="T9" fmla="*/ 2147483647 h 19"/>
              <a:gd name="T10" fmla="*/ 0 w 10"/>
              <a:gd name="T11" fmla="*/ 2147483647 h 19"/>
              <a:gd name="T12" fmla="*/ 0 60000 65536"/>
              <a:gd name="T13" fmla="*/ 0 60000 65536"/>
              <a:gd name="T14" fmla="*/ 0 60000 65536"/>
              <a:gd name="T15" fmla="*/ 0 60000 65536"/>
              <a:gd name="T16" fmla="*/ 0 60000 65536"/>
              <a:gd name="T17" fmla="*/ 0 60000 65536"/>
              <a:gd name="T18" fmla="*/ 0 w 10"/>
              <a:gd name="T19" fmla="*/ 0 h 19"/>
              <a:gd name="T20" fmla="*/ 10 w 1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0" h="19">
                <a:moveTo>
                  <a:pt x="0" y="8"/>
                </a:moveTo>
                <a:lnTo>
                  <a:pt x="1" y="0"/>
                </a:lnTo>
                <a:lnTo>
                  <a:pt x="6" y="1"/>
                </a:lnTo>
                <a:lnTo>
                  <a:pt x="10" y="19"/>
                </a:lnTo>
                <a:lnTo>
                  <a:pt x="0" y="18"/>
                </a:lnTo>
                <a:lnTo>
                  <a:pt x="0" y="8"/>
                </a:lnTo>
                <a:close/>
              </a:path>
            </a:pathLst>
          </a:custGeom>
          <a:solidFill>
            <a:schemeClr val="accent1"/>
          </a:solidFill>
          <a:ln w="6350">
            <a:solidFill>
              <a:schemeClr val="tx2"/>
            </a:solidFill>
            <a:round/>
            <a:headEnd/>
            <a:tailEnd/>
          </a:ln>
        </p:spPr>
        <p:txBody>
          <a:bodyPr/>
          <a:lstStyle/>
          <a:p>
            <a:endParaRPr lang="en-US"/>
          </a:p>
        </p:txBody>
      </p:sp>
      <p:sp>
        <p:nvSpPr>
          <p:cNvPr id="262" name="Freeform 1218"/>
          <p:cNvSpPr>
            <a:spLocks/>
          </p:cNvSpPr>
          <p:nvPr/>
        </p:nvSpPr>
        <p:spPr bwMode="auto">
          <a:xfrm>
            <a:off x="3446959" y="4005732"/>
            <a:ext cx="2866" cy="5095"/>
          </a:xfrm>
          <a:custGeom>
            <a:avLst/>
            <a:gdLst>
              <a:gd name="T0" fmla="*/ 2147483647 w 6"/>
              <a:gd name="T1" fmla="*/ 0 h 12"/>
              <a:gd name="T2" fmla="*/ 2147483647 w 6"/>
              <a:gd name="T3" fmla="*/ 2147483647 h 12"/>
              <a:gd name="T4" fmla="*/ 2147483647 w 6"/>
              <a:gd name="T5" fmla="*/ 2147483647 h 12"/>
              <a:gd name="T6" fmla="*/ 0 w 6"/>
              <a:gd name="T7" fmla="*/ 2147483647 h 12"/>
              <a:gd name="T8" fmla="*/ 2147483647 w 6"/>
              <a:gd name="T9" fmla="*/ 0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4" y="0"/>
                </a:moveTo>
                <a:lnTo>
                  <a:pt x="6" y="7"/>
                </a:lnTo>
                <a:lnTo>
                  <a:pt x="3" y="12"/>
                </a:lnTo>
                <a:lnTo>
                  <a:pt x="0" y="6"/>
                </a:lnTo>
                <a:lnTo>
                  <a:pt x="4" y="0"/>
                </a:lnTo>
                <a:close/>
              </a:path>
            </a:pathLst>
          </a:custGeom>
          <a:solidFill>
            <a:schemeClr val="accent1"/>
          </a:solidFill>
          <a:ln w="6350">
            <a:solidFill>
              <a:schemeClr val="tx2"/>
            </a:solidFill>
            <a:round/>
            <a:headEnd/>
            <a:tailEnd/>
          </a:ln>
        </p:spPr>
        <p:txBody>
          <a:bodyPr/>
          <a:lstStyle/>
          <a:p>
            <a:endParaRPr lang="en-US"/>
          </a:p>
        </p:txBody>
      </p:sp>
      <p:sp>
        <p:nvSpPr>
          <p:cNvPr id="263" name="Freeform 1219"/>
          <p:cNvSpPr>
            <a:spLocks/>
          </p:cNvSpPr>
          <p:nvPr/>
        </p:nvSpPr>
        <p:spPr bwMode="auto">
          <a:xfrm>
            <a:off x="3657660" y="4094888"/>
            <a:ext cx="5734" cy="5095"/>
          </a:xfrm>
          <a:custGeom>
            <a:avLst/>
            <a:gdLst>
              <a:gd name="T0" fmla="*/ 2147483647 w 10"/>
              <a:gd name="T1" fmla="*/ 0 h 13"/>
              <a:gd name="T2" fmla="*/ 2147483647 w 10"/>
              <a:gd name="T3" fmla="*/ 2147483647 h 13"/>
              <a:gd name="T4" fmla="*/ 0 w 10"/>
              <a:gd name="T5" fmla="*/ 2147483647 h 13"/>
              <a:gd name="T6" fmla="*/ 2147483647 w 10"/>
              <a:gd name="T7" fmla="*/ 0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10" y="0"/>
                </a:moveTo>
                <a:lnTo>
                  <a:pt x="5" y="1"/>
                </a:lnTo>
                <a:lnTo>
                  <a:pt x="0" y="13"/>
                </a:lnTo>
                <a:lnTo>
                  <a:pt x="10" y="0"/>
                </a:lnTo>
                <a:close/>
              </a:path>
            </a:pathLst>
          </a:custGeom>
          <a:solidFill>
            <a:schemeClr val="accent1"/>
          </a:solidFill>
          <a:ln w="6350">
            <a:solidFill>
              <a:schemeClr val="tx2"/>
            </a:solidFill>
            <a:round/>
            <a:headEnd/>
            <a:tailEnd/>
          </a:ln>
        </p:spPr>
        <p:txBody>
          <a:bodyPr/>
          <a:lstStyle/>
          <a:p>
            <a:endParaRPr lang="en-US"/>
          </a:p>
        </p:txBody>
      </p:sp>
      <p:sp>
        <p:nvSpPr>
          <p:cNvPr id="264" name="Freeform 1250"/>
          <p:cNvSpPr>
            <a:spLocks/>
          </p:cNvSpPr>
          <p:nvPr/>
        </p:nvSpPr>
        <p:spPr bwMode="auto">
          <a:xfrm>
            <a:off x="3921394" y="3661844"/>
            <a:ext cx="43001" cy="15284"/>
          </a:xfrm>
          <a:custGeom>
            <a:avLst/>
            <a:gdLst>
              <a:gd name="T0" fmla="*/ 2147483647 w 86"/>
              <a:gd name="T1" fmla="*/ 2147483647 h 35"/>
              <a:gd name="T2" fmla="*/ 2147483647 w 86"/>
              <a:gd name="T3" fmla="*/ 0 h 35"/>
              <a:gd name="T4" fmla="*/ 2147483647 w 86"/>
              <a:gd name="T5" fmla="*/ 2147483647 h 35"/>
              <a:gd name="T6" fmla="*/ 2147483647 w 86"/>
              <a:gd name="T7" fmla="*/ 2147483647 h 35"/>
              <a:gd name="T8" fmla="*/ 2147483647 w 86"/>
              <a:gd name="T9" fmla="*/ 2147483647 h 35"/>
              <a:gd name="T10" fmla="*/ 0 w 86"/>
              <a:gd name="T11" fmla="*/ 2147483647 h 35"/>
              <a:gd name="T12" fmla="*/ 2147483647 w 86"/>
              <a:gd name="T13" fmla="*/ 2147483647 h 35"/>
              <a:gd name="T14" fmla="*/ 2147483647 w 86"/>
              <a:gd name="T15" fmla="*/ 2147483647 h 35"/>
              <a:gd name="T16" fmla="*/ 2147483647 w 86"/>
              <a:gd name="T17" fmla="*/ 2147483647 h 35"/>
              <a:gd name="T18" fmla="*/ 2147483647 w 86"/>
              <a:gd name="T19" fmla="*/ 2147483647 h 35"/>
              <a:gd name="T20" fmla="*/ 2147483647 w 86"/>
              <a:gd name="T21" fmla="*/ 2147483647 h 35"/>
              <a:gd name="T22" fmla="*/ 2147483647 w 86"/>
              <a:gd name="T23" fmla="*/ 2147483647 h 35"/>
              <a:gd name="T24" fmla="*/ 2147483647 w 86"/>
              <a:gd name="T25" fmla="*/ 214748364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35"/>
              <a:gd name="T41" fmla="*/ 86 w 86"/>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35">
                <a:moveTo>
                  <a:pt x="75" y="3"/>
                </a:moveTo>
                <a:lnTo>
                  <a:pt x="75" y="0"/>
                </a:lnTo>
                <a:lnTo>
                  <a:pt x="58" y="12"/>
                </a:lnTo>
                <a:lnTo>
                  <a:pt x="12" y="20"/>
                </a:lnTo>
                <a:lnTo>
                  <a:pt x="1" y="28"/>
                </a:lnTo>
                <a:lnTo>
                  <a:pt x="0" y="34"/>
                </a:lnTo>
                <a:lnTo>
                  <a:pt x="8" y="35"/>
                </a:lnTo>
                <a:lnTo>
                  <a:pt x="76" y="14"/>
                </a:lnTo>
                <a:lnTo>
                  <a:pt x="86" y="9"/>
                </a:lnTo>
                <a:lnTo>
                  <a:pt x="85" y="6"/>
                </a:lnTo>
                <a:lnTo>
                  <a:pt x="77" y="8"/>
                </a:lnTo>
                <a:lnTo>
                  <a:pt x="66" y="12"/>
                </a:lnTo>
                <a:lnTo>
                  <a:pt x="75" y="3"/>
                </a:lnTo>
                <a:close/>
              </a:path>
            </a:pathLst>
          </a:custGeom>
          <a:solidFill>
            <a:schemeClr val="accent1"/>
          </a:solidFill>
          <a:ln w="6350">
            <a:solidFill>
              <a:schemeClr val="tx2"/>
            </a:solidFill>
            <a:round/>
            <a:headEnd/>
            <a:tailEnd/>
          </a:ln>
        </p:spPr>
        <p:txBody>
          <a:bodyPr/>
          <a:lstStyle/>
          <a:p>
            <a:endParaRPr lang="en-US"/>
          </a:p>
        </p:txBody>
      </p:sp>
      <p:sp>
        <p:nvSpPr>
          <p:cNvPr id="265" name="Freeform 1251"/>
          <p:cNvSpPr>
            <a:spLocks/>
          </p:cNvSpPr>
          <p:nvPr/>
        </p:nvSpPr>
        <p:spPr bwMode="auto">
          <a:xfrm>
            <a:off x="3766593" y="3340883"/>
            <a:ext cx="25800" cy="14011"/>
          </a:xfrm>
          <a:custGeom>
            <a:avLst/>
            <a:gdLst>
              <a:gd name="T0" fmla="*/ 2147483647 w 59"/>
              <a:gd name="T1" fmla="*/ 2147483647 h 35"/>
              <a:gd name="T2" fmla="*/ 2147483647 w 59"/>
              <a:gd name="T3" fmla="*/ 0 h 35"/>
              <a:gd name="T4" fmla="*/ 2147483647 w 59"/>
              <a:gd name="T5" fmla="*/ 2147483647 h 35"/>
              <a:gd name="T6" fmla="*/ 2147483647 w 59"/>
              <a:gd name="T7" fmla="*/ 2147483647 h 35"/>
              <a:gd name="T8" fmla="*/ 2147483647 w 59"/>
              <a:gd name="T9" fmla="*/ 2147483647 h 35"/>
              <a:gd name="T10" fmla="*/ 2147483647 w 59"/>
              <a:gd name="T11" fmla="*/ 2147483647 h 35"/>
              <a:gd name="T12" fmla="*/ 0 w 59"/>
              <a:gd name="T13" fmla="*/ 2147483647 h 35"/>
              <a:gd name="T14" fmla="*/ 2147483647 w 59"/>
              <a:gd name="T15" fmla="*/ 2147483647 h 35"/>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5"/>
              <a:gd name="T26" fmla="*/ 59 w 5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5">
                <a:moveTo>
                  <a:pt x="5" y="5"/>
                </a:moveTo>
                <a:lnTo>
                  <a:pt x="26" y="0"/>
                </a:lnTo>
                <a:lnTo>
                  <a:pt x="45" y="5"/>
                </a:lnTo>
                <a:lnTo>
                  <a:pt x="59" y="35"/>
                </a:lnTo>
                <a:lnTo>
                  <a:pt x="44" y="33"/>
                </a:lnTo>
                <a:lnTo>
                  <a:pt x="26" y="21"/>
                </a:lnTo>
                <a:lnTo>
                  <a:pt x="0" y="14"/>
                </a:lnTo>
                <a:lnTo>
                  <a:pt x="5" y="5"/>
                </a:lnTo>
                <a:close/>
              </a:path>
            </a:pathLst>
          </a:custGeom>
          <a:solidFill>
            <a:schemeClr val="accent1"/>
          </a:solidFill>
          <a:ln w="6350">
            <a:solidFill>
              <a:schemeClr val="tx2"/>
            </a:solidFill>
            <a:round/>
            <a:headEnd/>
            <a:tailEnd/>
          </a:ln>
        </p:spPr>
        <p:txBody>
          <a:bodyPr/>
          <a:lstStyle/>
          <a:p>
            <a:endParaRPr lang="en-US"/>
          </a:p>
        </p:txBody>
      </p:sp>
      <p:sp>
        <p:nvSpPr>
          <p:cNvPr id="266" name="Freeform 1252"/>
          <p:cNvSpPr>
            <a:spLocks/>
          </p:cNvSpPr>
          <p:nvPr/>
        </p:nvSpPr>
        <p:spPr bwMode="auto">
          <a:xfrm>
            <a:off x="4123495" y="3432587"/>
            <a:ext cx="55901" cy="22926"/>
          </a:xfrm>
          <a:custGeom>
            <a:avLst/>
            <a:gdLst>
              <a:gd name="T0" fmla="*/ 2147483647 w 117"/>
              <a:gd name="T1" fmla="*/ 0 h 57"/>
              <a:gd name="T2" fmla="*/ 2147483647 w 117"/>
              <a:gd name="T3" fmla="*/ 2147483647 h 57"/>
              <a:gd name="T4" fmla="*/ 2147483647 w 117"/>
              <a:gd name="T5" fmla="*/ 2147483647 h 57"/>
              <a:gd name="T6" fmla="*/ 2147483647 w 117"/>
              <a:gd name="T7" fmla="*/ 2147483647 h 57"/>
              <a:gd name="T8" fmla="*/ 2147483647 w 117"/>
              <a:gd name="T9" fmla="*/ 2147483647 h 57"/>
              <a:gd name="T10" fmla="*/ 2147483647 w 117"/>
              <a:gd name="T11" fmla="*/ 2147483647 h 57"/>
              <a:gd name="T12" fmla="*/ 2147483647 w 117"/>
              <a:gd name="T13" fmla="*/ 2147483647 h 57"/>
              <a:gd name="T14" fmla="*/ 2147483647 w 117"/>
              <a:gd name="T15" fmla="*/ 2147483647 h 57"/>
              <a:gd name="T16" fmla="*/ 0 w 117"/>
              <a:gd name="T17" fmla="*/ 2147483647 h 57"/>
              <a:gd name="T18" fmla="*/ 0 w 117"/>
              <a:gd name="T19" fmla="*/ 2147483647 h 57"/>
              <a:gd name="T20" fmla="*/ 2147483647 w 117"/>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7"/>
              <a:gd name="T34" fmla="*/ 0 h 57"/>
              <a:gd name="T35" fmla="*/ 117 w 117"/>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7" h="57">
                <a:moveTo>
                  <a:pt x="19" y="0"/>
                </a:moveTo>
                <a:lnTo>
                  <a:pt x="80" y="23"/>
                </a:lnTo>
                <a:lnTo>
                  <a:pt x="94" y="35"/>
                </a:lnTo>
                <a:lnTo>
                  <a:pt x="110" y="38"/>
                </a:lnTo>
                <a:lnTo>
                  <a:pt x="117" y="53"/>
                </a:lnTo>
                <a:lnTo>
                  <a:pt x="92" y="57"/>
                </a:lnTo>
                <a:lnTo>
                  <a:pt x="45" y="41"/>
                </a:lnTo>
                <a:lnTo>
                  <a:pt x="34" y="25"/>
                </a:lnTo>
                <a:lnTo>
                  <a:pt x="0" y="7"/>
                </a:lnTo>
                <a:lnTo>
                  <a:pt x="0" y="2"/>
                </a:lnTo>
                <a:lnTo>
                  <a:pt x="19" y="0"/>
                </a:lnTo>
                <a:close/>
              </a:path>
            </a:pathLst>
          </a:custGeom>
          <a:solidFill>
            <a:schemeClr val="accent1"/>
          </a:solidFill>
          <a:ln w="6350">
            <a:solidFill>
              <a:schemeClr val="tx2"/>
            </a:solidFill>
            <a:round/>
            <a:headEnd/>
            <a:tailEnd/>
          </a:ln>
        </p:spPr>
        <p:txBody>
          <a:bodyPr/>
          <a:lstStyle/>
          <a:p>
            <a:endParaRPr lang="en-US"/>
          </a:p>
        </p:txBody>
      </p:sp>
      <p:sp>
        <p:nvSpPr>
          <p:cNvPr id="267" name="Freeform 1253"/>
          <p:cNvSpPr>
            <a:spLocks/>
          </p:cNvSpPr>
          <p:nvPr/>
        </p:nvSpPr>
        <p:spPr bwMode="auto">
          <a:xfrm>
            <a:off x="4124928" y="3511553"/>
            <a:ext cx="45867" cy="26747"/>
          </a:xfrm>
          <a:custGeom>
            <a:avLst/>
            <a:gdLst>
              <a:gd name="T0" fmla="*/ 2147483647 w 98"/>
              <a:gd name="T1" fmla="*/ 2147483647 h 68"/>
              <a:gd name="T2" fmla="*/ 2147483647 w 98"/>
              <a:gd name="T3" fmla="*/ 2147483647 h 68"/>
              <a:gd name="T4" fmla="*/ 2147483647 w 98"/>
              <a:gd name="T5" fmla="*/ 2147483647 h 68"/>
              <a:gd name="T6" fmla="*/ 2147483647 w 98"/>
              <a:gd name="T7" fmla="*/ 2147483647 h 68"/>
              <a:gd name="T8" fmla="*/ 2147483647 w 98"/>
              <a:gd name="T9" fmla="*/ 2147483647 h 68"/>
              <a:gd name="T10" fmla="*/ 2147483647 w 98"/>
              <a:gd name="T11" fmla="*/ 2147483647 h 68"/>
              <a:gd name="T12" fmla="*/ 2147483647 w 98"/>
              <a:gd name="T13" fmla="*/ 2147483647 h 68"/>
              <a:gd name="T14" fmla="*/ 2147483647 w 98"/>
              <a:gd name="T15" fmla="*/ 2147483647 h 68"/>
              <a:gd name="T16" fmla="*/ 2147483647 w 98"/>
              <a:gd name="T17" fmla="*/ 2147483647 h 68"/>
              <a:gd name="T18" fmla="*/ 2147483647 w 98"/>
              <a:gd name="T19" fmla="*/ 2147483647 h 68"/>
              <a:gd name="T20" fmla="*/ 2147483647 w 98"/>
              <a:gd name="T21" fmla="*/ 2147483647 h 68"/>
              <a:gd name="T22" fmla="*/ 2147483647 w 98"/>
              <a:gd name="T23" fmla="*/ 2147483647 h 68"/>
              <a:gd name="T24" fmla="*/ 2147483647 w 98"/>
              <a:gd name="T25" fmla="*/ 2147483647 h 68"/>
              <a:gd name="T26" fmla="*/ 2147483647 w 98"/>
              <a:gd name="T27" fmla="*/ 2147483647 h 68"/>
              <a:gd name="T28" fmla="*/ 2147483647 w 98"/>
              <a:gd name="T29" fmla="*/ 2147483647 h 68"/>
              <a:gd name="T30" fmla="*/ 2147483647 w 98"/>
              <a:gd name="T31" fmla="*/ 2147483647 h 68"/>
              <a:gd name="T32" fmla="*/ 2147483647 w 98"/>
              <a:gd name="T33" fmla="*/ 2147483647 h 68"/>
              <a:gd name="T34" fmla="*/ 0 w 98"/>
              <a:gd name="T35" fmla="*/ 2147483647 h 68"/>
              <a:gd name="T36" fmla="*/ 2147483647 w 98"/>
              <a:gd name="T37" fmla="*/ 0 h 68"/>
              <a:gd name="T38" fmla="*/ 2147483647 w 98"/>
              <a:gd name="T39" fmla="*/ 2147483647 h 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8"/>
              <a:gd name="T61" fmla="*/ 0 h 68"/>
              <a:gd name="T62" fmla="*/ 98 w 98"/>
              <a:gd name="T63" fmla="*/ 68 h 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8" h="68">
                <a:moveTo>
                  <a:pt x="16" y="10"/>
                </a:moveTo>
                <a:lnTo>
                  <a:pt x="12" y="18"/>
                </a:lnTo>
                <a:lnTo>
                  <a:pt x="25" y="36"/>
                </a:lnTo>
                <a:lnTo>
                  <a:pt x="39" y="35"/>
                </a:lnTo>
                <a:lnTo>
                  <a:pt x="60" y="43"/>
                </a:lnTo>
                <a:lnTo>
                  <a:pt x="98" y="39"/>
                </a:lnTo>
                <a:lnTo>
                  <a:pt x="98" y="43"/>
                </a:lnTo>
                <a:lnTo>
                  <a:pt x="81" y="53"/>
                </a:lnTo>
                <a:lnTo>
                  <a:pt x="82" y="66"/>
                </a:lnTo>
                <a:lnTo>
                  <a:pt x="73" y="68"/>
                </a:lnTo>
                <a:lnTo>
                  <a:pt x="64" y="64"/>
                </a:lnTo>
                <a:lnTo>
                  <a:pt x="56" y="51"/>
                </a:lnTo>
                <a:lnTo>
                  <a:pt x="45" y="56"/>
                </a:lnTo>
                <a:lnTo>
                  <a:pt x="16" y="42"/>
                </a:lnTo>
                <a:lnTo>
                  <a:pt x="11" y="35"/>
                </a:lnTo>
                <a:lnTo>
                  <a:pt x="12" y="31"/>
                </a:lnTo>
                <a:lnTo>
                  <a:pt x="1" y="26"/>
                </a:lnTo>
                <a:lnTo>
                  <a:pt x="0" y="17"/>
                </a:lnTo>
                <a:lnTo>
                  <a:pt x="16" y="0"/>
                </a:lnTo>
                <a:lnTo>
                  <a:pt x="16" y="10"/>
                </a:lnTo>
                <a:close/>
              </a:path>
            </a:pathLst>
          </a:custGeom>
          <a:solidFill>
            <a:schemeClr val="accent1"/>
          </a:solidFill>
          <a:ln w="6350">
            <a:solidFill>
              <a:schemeClr val="tx2"/>
            </a:solidFill>
            <a:round/>
            <a:headEnd/>
            <a:tailEnd/>
          </a:ln>
        </p:spPr>
        <p:txBody>
          <a:bodyPr/>
          <a:lstStyle/>
          <a:p>
            <a:endParaRPr lang="en-US"/>
          </a:p>
        </p:txBody>
      </p:sp>
      <p:sp>
        <p:nvSpPr>
          <p:cNvPr id="268" name="Freeform 1254"/>
          <p:cNvSpPr>
            <a:spLocks/>
          </p:cNvSpPr>
          <p:nvPr/>
        </p:nvSpPr>
        <p:spPr bwMode="auto">
          <a:xfrm>
            <a:off x="4185129" y="3512828"/>
            <a:ext cx="34400" cy="35662"/>
          </a:xfrm>
          <a:custGeom>
            <a:avLst/>
            <a:gdLst>
              <a:gd name="T0" fmla="*/ 2147483647 w 70"/>
              <a:gd name="T1" fmla="*/ 2147483647 h 86"/>
              <a:gd name="T2" fmla="*/ 2147483647 w 70"/>
              <a:gd name="T3" fmla="*/ 0 h 86"/>
              <a:gd name="T4" fmla="*/ 2147483647 w 70"/>
              <a:gd name="T5" fmla="*/ 2147483647 h 86"/>
              <a:gd name="T6" fmla="*/ 2147483647 w 70"/>
              <a:gd name="T7" fmla="*/ 2147483647 h 86"/>
              <a:gd name="T8" fmla="*/ 0 w 70"/>
              <a:gd name="T9" fmla="*/ 2147483647 h 86"/>
              <a:gd name="T10" fmla="*/ 2147483647 w 70"/>
              <a:gd name="T11" fmla="*/ 2147483647 h 86"/>
              <a:gd name="T12" fmla="*/ 2147483647 w 70"/>
              <a:gd name="T13" fmla="*/ 2147483647 h 86"/>
              <a:gd name="T14" fmla="*/ 2147483647 w 70"/>
              <a:gd name="T15" fmla="*/ 2147483647 h 86"/>
              <a:gd name="T16" fmla="*/ 2147483647 w 70"/>
              <a:gd name="T17" fmla="*/ 2147483647 h 86"/>
              <a:gd name="T18" fmla="*/ 2147483647 w 70"/>
              <a:gd name="T19" fmla="*/ 2147483647 h 86"/>
              <a:gd name="T20" fmla="*/ 2147483647 w 70"/>
              <a:gd name="T21" fmla="*/ 2147483647 h 86"/>
              <a:gd name="T22" fmla="*/ 2147483647 w 70"/>
              <a:gd name="T23" fmla="*/ 2147483647 h 86"/>
              <a:gd name="T24" fmla="*/ 2147483647 w 70"/>
              <a:gd name="T25" fmla="*/ 2147483647 h 86"/>
              <a:gd name="T26" fmla="*/ 2147483647 w 70"/>
              <a:gd name="T27" fmla="*/ 2147483647 h 86"/>
              <a:gd name="T28" fmla="*/ 2147483647 w 70"/>
              <a:gd name="T29" fmla="*/ 2147483647 h 86"/>
              <a:gd name="T30" fmla="*/ 2147483647 w 70"/>
              <a:gd name="T31" fmla="*/ 2147483647 h 86"/>
              <a:gd name="T32" fmla="*/ 2147483647 w 70"/>
              <a:gd name="T33" fmla="*/ 2147483647 h 86"/>
              <a:gd name="T34" fmla="*/ 2147483647 w 70"/>
              <a:gd name="T35" fmla="*/ 2147483647 h 86"/>
              <a:gd name="T36" fmla="*/ 2147483647 w 70"/>
              <a:gd name="T37" fmla="*/ 2147483647 h 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0"/>
              <a:gd name="T58" fmla="*/ 0 h 86"/>
              <a:gd name="T59" fmla="*/ 70 w 70"/>
              <a:gd name="T60" fmla="*/ 86 h 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0" h="86">
                <a:moveTo>
                  <a:pt x="36" y="2"/>
                </a:moveTo>
                <a:lnTo>
                  <a:pt x="34" y="0"/>
                </a:lnTo>
                <a:lnTo>
                  <a:pt x="33" y="7"/>
                </a:lnTo>
                <a:lnTo>
                  <a:pt x="3" y="54"/>
                </a:lnTo>
                <a:lnTo>
                  <a:pt x="0" y="76"/>
                </a:lnTo>
                <a:lnTo>
                  <a:pt x="6" y="86"/>
                </a:lnTo>
                <a:lnTo>
                  <a:pt x="39" y="85"/>
                </a:lnTo>
                <a:lnTo>
                  <a:pt x="70" y="64"/>
                </a:lnTo>
                <a:lnTo>
                  <a:pt x="66" y="60"/>
                </a:lnTo>
                <a:lnTo>
                  <a:pt x="67" y="51"/>
                </a:lnTo>
                <a:lnTo>
                  <a:pt x="60" y="46"/>
                </a:lnTo>
                <a:lnTo>
                  <a:pt x="54" y="56"/>
                </a:lnTo>
                <a:lnTo>
                  <a:pt x="53" y="49"/>
                </a:lnTo>
                <a:lnTo>
                  <a:pt x="34" y="55"/>
                </a:lnTo>
                <a:lnTo>
                  <a:pt x="43" y="44"/>
                </a:lnTo>
                <a:lnTo>
                  <a:pt x="37" y="43"/>
                </a:lnTo>
                <a:lnTo>
                  <a:pt x="47" y="11"/>
                </a:lnTo>
                <a:lnTo>
                  <a:pt x="43" y="1"/>
                </a:lnTo>
                <a:lnTo>
                  <a:pt x="36" y="2"/>
                </a:lnTo>
                <a:close/>
              </a:path>
            </a:pathLst>
          </a:custGeom>
          <a:solidFill>
            <a:schemeClr val="accent1"/>
          </a:solidFill>
          <a:ln w="6350">
            <a:solidFill>
              <a:schemeClr val="tx2"/>
            </a:solidFill>
            <a:round/>
            <a:headEnd/>
            <a:tailEnd/>
          </a:ln>
        </p:spPr>
        <p:txBody>
          <a:bodyPr/>
          <a:lstStyle/>
          <a:p>
            <a:endParaRPr lang="en-US"/>
          </a:p>
        </p:txBody>
      </p:sp>
      <p:sp>
        <p:nvSpPr>
          <p:cNvPr id="269" name="Freeform 1255"/>
          <p:cNvSpPr>
            <a:spLocks/>
          </p:cNvSpPr>
          <p:nvPr/>
        </p:nvSpPr>
        <p:spPr bwMode="auto">
          <a:xfrm>
            <a:off x="4226695" y="3385462"/>
            <a:ext cx="134734" cy="137555"/>
          </a:xfrm>
          <a:custGeom>
            <a:avLst/>
            <a:gdLst>
              <a:gd name="T0" fmla="*/ 2147483647 w 286"/>
              <a:gd name="T1" fmla="*/ 2147483647 h 331"/>
              <a:gd name="T2" fmla="*/ 2147483647 w 286"/>
              <a:gd name="T3" fmla="*/ 2147483647 h 331"/>
              <a:gd name="T4" fmla="*/ 2147483647 w 286"/>
              <a:gd name="T5" fmla="*/ 2147483647 h 331"/>
              <a:gd name="T6" fmla="*/ 2147483647 w 286"/>
              <a:gd name="T7" fmla="*/ 2147483647 h 331"/>
              <a:gd name="T8" fmla="*/ 2147483647 w 286"/>
              <a:gd name="T9" fmla="*/ 2147483647 h 331"/>
              <a:gd name="T10" fmla="*/ 2147483647 w 286"/>
              <a:gd name="T11" fmla="*/ 2147483647 h 331"/>
              <a:gd name="T12" fmla="*/ 2147483647 w 286"/>
              <a:gd name="T13" fmla="*/ 2147483647 h 331"/>
              <a:gd name="T14" fmla="*/ 2147483647 w 286"/>
              <a:gd name="T15" fmla="*/ 2147483647 h 331"/>
              <a:gd name="T16" fmla="*/ 2147483647 w 286"/>
              <a:gd name="T17" fmla="*/ 2147483647 h 331"/>
              <a:gd name="T18" fmla="*/ 2147483647 w 286"/>
              <a:gd name="T19" fmla="*/ 2147483647 h 331"/>
              <a:gd name="T20" fmla="*/ 2147483647 w 286"/>
              <a:gd name="T21" fmla="*/ 2147483647 h 331"/>
              <a:gd name="T22" fmla="*/ 2147483647 w 286"/>
              <a:gd name="T23" fmla="*/ 2147483647 h 331"/>
              <a:gd name="T24" fmla="*/ 2147483647 w 286"/>
              <a:gd name="T25" fmla="*/ 2147483647 h 331"/>
              <a:gd name="T26" fmla="*/ 2147483647 w 286"/>
              <a:gd name="T27" fmla="*/ 0 h 331"/>
              <a:gd name="T28" fmla="*/ 2147483647 w 286"/>
              <a:gd name="T29" fmla="*/ 2147483647 h 331"/>
              <a:gd name="T30" fmla="*/ 2147483647 w 286"/>
              <a:gd name="T31" fmla="*/ 2147483647 h 331"/>
              <a:gd name="T32" fmla="*/ 2147483647 w 286"/>
              <a:gd name="T33" fmla="*/ 2147483647 h 331"/>
              <a:gd name="T34" fmla="*/ 2147483647 w 286"/>
              <a:gd name="T35" fmla="*/ 2147483647 h 331"/>
              <a:gd name="T36" fmla="*/ 2147483647 w 286"/>
              <a:gd name="T37" fmla="*/ 2147483647 h 331"/>
              <a:gd name="T38" fmla="*/ 2147483647 w 286"/>
              <a:gd name="T39" fmla="*/ 2147483647 h 331"/>
              <a:gd name="T40" fmla="*/ 2147483647 w 286"/>
              <a:gd name="T41" fmla="*/ 2147483647 h 331"/>
              <a:gd name="T42" fmla="*/ 2147483647 w 286"/>
              <a:gd name="T43" fmla="*/ 2147483647 h 331"/>
              <a:gd name="T44" fmla="*/ 2147483647 w 286"/>
              <a:gd name="T45" fmla="*/ 2147483647 h 331"/>
              <a:gd name="T46" fmla="*/ 2147483647 w 286"/>
              <a:gd name="T47" fmla="*/ 2147483647 h 331"/>
              <a:gd name="T48" fmla="*/ 2147483647 w 286"/>
              <a:gd name="T49" fmla="*/ 2147483647 h 331"/>
              <a:gd name="T50" fmla="*/ 2147483647 w 286"/>
              <a:gd name="T51" fmla="*/ 2147483647 h 331"/>
              <a:gd name="T52" fmla="*/ 2147483647 w 286"/>
              <a:gd name="T53" fmla="*/ 2147483647 h 331"/>
              <a:gd name="T54" fmla="*/ 2147483647 w 286"/>
              <a:gd name="T55" fmla="*/ 2147483647 h 331"/>
              <a:gd name="T56" fmla="*/ 2147483647 w 286"/>
              <a:gd name="T57" fmla="*/ 2147483647 h 331"/>
              <a:gd name="T58" fmla="*/ 2147483647 w 286"/>
              <a:gd name="T59" fmla="*/ 2147483647 h 331"/>
              <a:gd name="T60" fmla="*/ 2147483647 w 286"/>
              <a:gd name="T61" fmla="*/ 2147483647 h 331"/>
              <a:gd name="T62" fmla="*/ 2147483647 w 286"/>
              <a:gd name="T63" fmla="*/ 2147483647 h 331"/>
              <a:gd name="T64" fmla="*/ 2147483647 w 286"/>
              <a:gd name="T65" fmla="*/ 2147483647 h 331"/>
              <a:gd name="T66" fmla="*/ 2147483647 w 286"/>
              <a:gd name="T67" fmla="*/ 2147483647 h 331"/>
              <a:gd name="T68" fmla="*/ 2147483647 w 286"/>
              <a:gd name="T69" fmla="*/ 2147483647 h 331"/>
              <a:gd name="T70" fmla="*/ 2147483647 w 286"/>
              <a:gd name="T71" fmla="*/ 2147483647 h 331"/>
              <a:gd name="T72" fmla="*/ 2147483647 w 286"/>
              <a:gd name="T73" fmla="*/ 2147483647 h 331"/>
              <a:gd name="T74" fmla="*/ 2147483647 w 286"/>
              <a:gd name="T75" fmla="*/ 2147483647 h 331"/>
              <a:gd name="T76" fmla="*/ 2147483647 w 286"/>
              <a:gd name="T77" fmla="*/ 2147483647 h 331"/>
              <a:gd name="T78" fmla="*/ 2147483647 w 286"/>
              <a:gd name="T79" fmla="*/ 2147483647 h 331"/>
              <a:gd name="T80" fmla="*/ 2147483647 w 286"/>
              <a:gd name="T81" fmla="*/ 2147483647 h 331"/>
              <a:gd name="T82" fmla="*/ 2147483647 w 286"/>
              <a:gd name="T83" fmla="*/ 2147483647 h 331"/>
              <a:gd name="T84" fmla="*/ 2147483647 w 286"/>
              <a:gd name="T85" fmla="*/ 2147483647 h 331"/>
              <a:gd name="T86" fmla="*/ 2147483647 w 286"/>
              <a:gd name="T87" fmla="*/ 2147483647 h 331"/>
              <a:gd name="T88" fmla="*/ 2147483647 w 286"/>
              <a:gd name="T89" fmla="*/ 2147483647 h 331"/>
              <a:gd name="T90" fmla="*/ 2147483647 w 286"/>
              <a:gd name="T91" fmla="*/ 2147483647 h 331"/>
              <a:gd name="T92" fmla="*/ 2147483647 w 286"/>
              <a:gd name="T93" fmla="*/ 2147483647 h 331"/>
              <a:gd name="T94" fmla="*/ 2147483647 w 286"/>
              <a:gd name="T95" fmla="*/ 2147483647 h 331"/>
              <a:gd name="T96" fmla="*/ 2147483647 w 286"/>
              <a:gd name="T97" fmla="*/ 2147483647 h 331"/>
              <a:gd name="T98" fmla="*/ 2147483647 w 286"/>
              <a:gd name="T99" fmla="*/ 2147483647 h 331"/>
              <a:gd name="T100" fmla="*/ 2147483647 w 286"/>
              <a:gd name="T101" fmla="*/ 2147483647 h 3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86"/>
              <a:gd name="T154" fmla="*/ 0 h 331"/>
              <a:gd name="T155" fmla="*/ 286 w 286"/>
              <a:gd name="T156" fmla="*/ 331 h 3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86" h="331">
                <a:moveTo>
                  <a:pt x="254" y="159"/>
                </a:moveTo>
                <a:lnTo>
                  <a:pt x="251" y="154"/>
                </a:lnTo>
                <a:lnTo>
                  <a:pt x="231" y="149"/>
                </a:lnTo>
                <a:lnTo>
                  <a:pt x="217" y="150"/>
                </a:lnTo>
                <a:lnTo>
                  <a:pt x="210" y="144"/>
                </a:lnTo>
                <a:lnTo>
                  <a:pt x="173" y="159"/>
                </a:lnTo>
                <a:lnTo>
                  <a:pt x="181" y="140"/>
                </a:lnTo>
                <a:lnTo>
                  <a:pt x="171" y="149"/>
                </a:lnTo>
                <a:lnTo>
                  <a:pt x="150" y="144"/>
                </a:lnTo>
                <a:lnTo>
                  <a:pt x="151" y="135"/>
                </a:lnTo>
                <a:lnTo>
                  <a:pt x="142" y="132"/>
                </a:lnTo>
                <a:lnTo>
                  <a:pt x="166" y="117"/>
                </a:lnTo>
                <a:lnTo>
                  <a:pt x="140" y="112"/>
                </a:lnTo>
                <a:lnTo>
                  <a:pt x="142" y="103"/>
                </a:lnTo>
                <a:lnTo>
                  <a:pt x="136" y="102"/>
                </a:lnTo>
                <a:lnTo>
                  <a:pt x="112" y="136"/>
                </a:lnTo>
                <a:lnTo>
                  <a:pt x="109" y="126"/>
                </a:lnTo>
                <a:lnTo>
                  <a:pt x="112" y="107"/>
                </a:lnTo>
                <a:lnTo>
                  <a:pt x="135" y="71"/>
                </a:lnTo>
                <a:lnTo>
                  <a:pt x="136" y="50"/>
                </a:lnTo>
                <a:lnTo>
                  <a:pt x="139" y="56"/>
                </a:lnTo>
                <a:lnTo>
                  <a:pt x="149" y="51"/>
                </a:lnTo>
                <a:lnTo>
                  <a:pt x="155" y="32"/>
                </a:lnTo>
                <a:lnTo>
                  <a:pt x="148" y="26"/>
                </a:lnTo>
                <a:lnTo>
                  <a:pt x="148" y="20"/>
                </a:lnTo>
                <a:lnTo>
                  <a:pt x="158" y="19"/>
                </a:lnTo>
                <a:lnTo>
                  <a:pt x="165" y="6"/>
                </a:lnTo>
                <a:lnTo>
                  <a:pt x="164" y="0"/>
                </a:lnTo>
                <a:lnTo>
                  <a:pt x="135" y="9"/>
                </a:lnTo>
                <a:lnTo>
                  <a:pt x="116" y="19"/>
                </a:lnTo>
                <a:lnTo>
                  <a:pt x="109" y="34"/>
                </a:lnTo>
                <a:lnTo>
                  <a:pt x="101" y="40"/>
                </a:lnTo>
                <a:lnTo>
                  <a:pt x="99" y="53"/>
                </a:lnTo>
                <a:lnTo>
                  <a:pt x="85" y="64"/>
                </a:lnTo>
                <a:lnTo>
                  <a:pt x="91" y="69"/>
                </a:lnTo>
                <a:lnTo>
                  <a:pt x="81" y="93"/>
                </a:lnTo>
                <a:lnTo>
                  <a:pt x="88" y="100"/>
                </a:lnTo>
                <a:lnTo>
                  <a:pt x="73" y="104"/>
                </a:lnTo>
                <a:lnTo>
                  <a:pt x="63" y="128"/>
                </a:lnTo>
                <a:lnTo>
                  <a:pt x="64" y="143"/>
                </a:lnTo>
                <a:lnTo>
                  <a:pt x="51" y="151"/>
                </a:lnTo>
                <a:lnTo>
                  <a:pt x="48" y="158"/>
                </a:lnTo>
                <a:lnTo>
                  <a:pt x="56" y="162"/>
                </a:lnTo>
                <a:lnTo>
                  <a:pt x="56" y="173"/>
                </a:lnTo>
                <a:lnTo>
                  <a:pt x="42" y="171"/>
                </a:lnTo>
                <a:lnTo>
                  <a:pt x="31" y="200"/>
                </a:lnTo>
                <a:lnTo>
                  <a:pt x="26" y="204"/>
                </a:lnTo>
                <a:lnTo>
                  <a:pt x="22" y="199"/>
                </a:lnTo>
                <a:lnTo>
                  <a:pt x="8" y="207"/>
                </a:lnTo>
                <a:lnTo>
                  <a:pt x="35" y="210"/>
                </a:lnTo>
                <a:lnTo>
                  <a:pt x="38" y="215"/>
                </a:lnTo>
                <a:lnTo>
                  <a:pt x="1" y="249"/>
                </a:lnTo>
                <a:lnTo>
                  <a:pt x="0" y="262"/>
                </a:lnTo>
                <a:lnTo>
                  <a:pt x="4" y="269"/>
                </a:lnTo>
                <a:lnTo>
                  <a:pt x="14" y="271"/>
                </a:lnTo>
                <a:lnTo>
                  <a:pt x="54" y="263"/>
                </a:lnTo>
                <a:lnTo>
                  <a:pt x="111" y="270"/>
                </a:lnTo>
                <a:lnTo>
                  <a:pt x="137" y="265"/>
                </a:lnTo>
                <a:lnTo>
                  <a:pt x="155" y="252"/>
                </a:lnTo>
                <a:lnTo>
                  <a:pt x="154" y="267"/>
                </a:lnTo>
                <a:lnTo>
                  <a:pt x="139" y="275"/>
                </a:lnTo>
                <a:lnTo>
                  <a:pt x="167" y="276"/>
                </a:lnTo>
                <a:lnTo>
                  <a:pt x="175" y="264"/>
                </a:lnTo>
                <a:lnTo>
                  <a:pt x="196" y="270"/>
                </a:lnTo>
                <a:lnTo>
                  <a:pt x="178" y="284"/>
                </a:lnTo>
                <a:lnTo>
                  <a:pt x="168" y="298"/>
                </a:lnTo>
                <a:lnTo>
                  <a:pt x="152" y="304"/>
                </a:lnTo>
                <a:lnTo>
                  <a:pt x="150" y="311"/>
                </a:lnTo>
                <a:lnTo>
                  <a:pt x="159" y="313"/>
                </a:lnTo>
                <a:lnTo>
                  <a:pt x="177" y="308"/>
                </a:lnTo>
                <a:lnTo>
                  <a:pt x="196" y="283"/>
                </a:lnTo>
                <a:lnTo>
                  <a:pt x="210" y="280"/>
                </a:lnTo>
                <a:lnTo>
                  <a:pt x="222" y="247"/>
                </a:lnTo>
                <a:lnTo>
                  <a:pt x="229" y="247"/>
                </a:lnTo>
                <a:lnTo>
                  <a:pt x="235" y="284"/>
                </a:lnTo>
                <a:lnTo>
                  <a:pt x="226" y="314"/>
                </a:lnTo>
                <a:lnTo>
                  <a:pt x="232" y="316"/>
                </a:lnTo>
                <a:lnTo>
                  <a:pt x="247" y="295"/>
                </a:lnTo>
                <a:lnTo>
                  <a:pt x="251" y="298"/>
                </a:lnTo>
                <a:lnTo>
                  <a:pt x="248" y="323"/>
                </a:lnTo>
                <a:lnTo>
                  <a:pt x="252" y="331"/>
                </a:lnTo>
                <a:lnTo>
                  <a:pt x="260" y="323"/>
                </a:lnTo>
                <a:lnTo>
                  <a:pt x="270" y="326"/>
                </a:lnTo>
                <a:lnTo>
                  <a:pt x="286" y="278"/>
                </a:lnTo>
                <a:lnTo>
                  <a:pt x="286" y="262"/>
                </a:lnTo>
                <a:lnTo>
                  <a:pt x="282" y="259"/>
                </a:lnTo>
                <a:lnTo>
                  <a:pt x="271" y="277"/>
                </a:lnTo>
                <a:lnTo>
                  <a:pt x="267" y="273"/>
                </a:lnTo>
                <a:lnTo>
                  <a:pt x="267" y="261"/>
                </a:lnTo>
                <a:lnTo>
                  <a:pt x="279" y="230"/>
                </a:lnTo>
                <a:lnTo>
                  <a:pt x="262" y="241"/>
                </a:lnTo>
                <a:lnTo>
                  <a:pt x="251" y="265"/>
                </a:lnTo>
                <a:lnTo>
                  <a:pt x="246" y="265"/>
                </a:lnTo>
                <a:lnTo>
                  <a:pt x="240" y="257"/>
                </a:lnTo>
                <a:lnTo>
                  <a:pt x="245" y="240"/>
                </a:lnTo>
                <a:lnTo>
                  <a:pt x="236" y="229"/>
                </a:lnTo>
                <a:lnTo>
                  <a:pt x="265" y="213"/>
                </a:lnTo>
                <a:lnTo>
                  <a:pt x="268" y="200"/>
                </a:lnTo>
                <a:lnTo>
                  <a:pt x="247" y="210"/>
                </a:lnTo>
                <a:lnTo>
                  <a:pt x="230" y="211"/>
                </a:lnTo>
                <a:lnTo>
                  <a:pt x="240" y="195"/>
                </a:lnTo>
                <a:lnTo>
                  <a:pt x="232" y="190"/>
                </a:lnTo>
                <a:lnTo>
                  <a:pt x="254" y="159"/>
                </a:lnTo>
                <a:close/>
              </a:path>
            </a:pathLst>
          </a:custGeom>
          <a:solidFill>
            <a:schemeClr val="accent1"/>
          </a:solidFill>
          <a:ln w="6350">
            <a:solidFill>
              <a:schemeClr val="tx2"/>
            </a:solidFill>
            <a:round/>
            <a:headEnd/>
            <a:tailEnd/>
          </a:ln>
        </p:spPr>
        <p:txBody>
          <a:bodyPr/>
          <a:lstStyle/>
          <a:p>
            <a:endParaRPr lang="en-US"/>
          </a:p>
        </p:txBody>
      </p:sp>
      <p:sp>
        <p:nvSpPr>
          <p:cNvPr id="270" name="Freeform 1256"/>
          <p:cNvSpPr>
            <a:spLocks/>
          </p:cNvSpPr>
          <p:nvPr/>
        </p:nvSpPr>
        <p:spPr bwMode="auto">
          <a:xfrm>
            <a:off x="3892728" y="3775201"/>
            <a:ext cx="5734" cy="19104"/>
          </a:xfrm>
          <a:custGeom>
            <a:avLst/>
            <a:gdLst>
              <a:gd name="T0" fmla="*/ 0 w 13"/>
              <a:gd name="T1" fmla="*/ 2147483647 h 45"/>
              <a:gd name="T2" fmla="*/ 2147483647 w 13"/>
              <a:gd name="T3" fmla="*/ 2147483647 h 45"/>
              <a:gd name="T4" fmla="*/ 2147483647 w 13"/>
              <a:gd name="T5" fmla="*/ 2147483647 h 45"/>
              <a:gd name="T6" fmla="*/ 2147483647 w 13"/>
              <a:gd name="T7" fmla="*/ 0 h 45"/>
              <a:gd name="T8" fmla="*/ 2147483647 w 13"/>
              <a:gd name="T9" fmla="*/ 2147483647 h 45"/>
              <a:gd name="T10" fmla="*/ 2147483647 w 13"/>
              <a:gd name="T11" fmla="*/ 2147483647 h 45"/>
              <a:gd name="T12" fmla="*/ 0 w 13"/>
              <a:gd name="T13" fmla="*/ 2147483647 h 45"/>
              <a:gd name="T14" fmla="*/ 0 60000 65536"/>
              <a:gd name="T15" fmla="*/ 0 60000 65536"/>
              <a:gd name="T16" fmla="*/ 0 60000 65536"/>
              <a:gd name="T17" fmla="*/ 0 60000 65536"/>
              <a:gd name="T18" fmla="*/ 0 60000 65536"/>
              <a:gd name="T19" fmla="*/ 0 60000 65536"/>
              <a:gd name="T20" fmla="*/ 0 60000 65536"/>
              <a:gd name="T21" fmla="*/ 0 w 13"/>
              <a:gd name="T22" fmla="*/ 0 h 45"/>
              <a:gd name="T23" fmla="*/ 13 w 13"/>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45">
                <a:moveTo>
                  <a:pt x="0" y="45"/>
                </a:moveTo>
                <a:lnTo>
                  <a:pt x="9" y="44"/>
                </a:lnTo>
                <a:lnTo>
                  <a:pt x="13" y="22"/>
                </a:lnTo>
                <a:lnTo>
                  <a:pt x="2" y="0"/>
                </a:lnTo>
                <a:lnTo>
                  <a:pt x="10" y="22"/>
                </a:lnTo>
                <a:lnTo>
                  <a:pt x="8" y="41"/>
                </a:lnTo>
                <a:lnTo>
                  <a:pt x="0" y="45"/>
                </a:lnTo>
                <a:close/>
              </a:path>
            </a:pathLst>
          </a:custGeom>
          <a:solidFill>
            <a:schemeClr val="accent1"/>
          </a:solidFill>
          <a:ln w="6350">
            <a:solidFill>
              <a:schemeClr val="tx2"/>
            </a:solidFill>
            <a:round/>
            <a:headEnd/>
            <a:tailEnd/>
          </a:ln>
        </p:spPr>
        <p:txBody>
          <a:bodyPr/>
          <a:lstStyle/>
          <a:p>
            <a:endParaRPr lang="en-US"/>
          </a:p>
        </p:txBody>
      </p:sp>
      <p:sp>
        <p:nvSpPr>
          <p:cNvPr id="271" name="Freeform 1257"/>
          <p:cNvSpPr>
            <a:spLocks/>
          </p:cNvSpPr>
          <p:nvPr/>
        </p:nvSpPr>
        <p:spPr bwMode="auto">
          <a:xfrm>
            <a:off x="3798128" y="4001912"/>
            <a:ext cx="2866" cy="5095"/>
          </a:xfrm>
          <a:custGeom>
            <a:avLst/>
            <a:gdLst>
              <a:gd name="T0" fmla="*/ 2147483647 w 9"/>
              <a:gd name="T1" fmla="*/ 0 h 12"/>
              <a:gd name="T2" fmla="*/ 0 w 9"/>
              <a:gd name="T3" fmla="*/ 2147483647 h 12"/>
              <a:gd name="T4" fmla="*/ 2147483647 w 9"/>
              <a:gd name="T5" fmla="*/ 0 h 12"/>
              <a:gd name="T6" fmla="*/ 0 60000 65536"/>
              <a:gd name="T7" fmla="*/ 0 60000 65536"/>
              <a:gd name="T8" fmla="*/ 0 60000 65536"/>
              <a:gd name="T9" fmla="*/ 0 w 9"/>
              <a:gd name="T10" fmla="*/ 0 h 12"/>
              <a:gd name="T11" fmla="*/ 9 w 9"/>
              <a:gd name="T12" fmla="*/ 12 h 12"/>
            </a:gdLst>
            <a:ahLst/>
            <a:cxnLst>
              <a:cxn ang="T6">
                <a:pos x="T0" y="T1"/>
              </a:cxn>
              <a:cxn ang="T7">
                <a:pos x="T2" y="T3"/>
              </a:cxn>
              <a:cxn ang="T8">
                <a:pos x="T4" y="T5"/>
              </a:cxn>
            </a:cxnLst>
            <a:rect l="T9" t="T10" r="T11" b="T12"/>
            <a:pathLst>
              <a:path w="9" h="12">
                <a:moveTo>
                  <a:pt x="9" y="0"/>
                </a:moveTo>
                <a:lnTo>
                  <a:pt x="0" y="12"/>
                </a:lnTo>
                <a:lnTo>
                  <a:pt x="9" y="0"/>
                </a:lnTo>
                <a:close/>
              </a:path>
            </a:pathLst>
          </a:custGeom>
          <a:solidFill>
            <a:schemeClr val="accent1"/>
          </a:solidFill>
          <a:ln w="6350">
            <a:solidFill>
              <a:schemeClr val="tx2"/>
            </a:solidFill>
            <a:round/>
            <a:headEnd/>
            <a:tailEnd/>
          </a:ln>
        </p:spPr>
        <p:txBody>
          <a:bodyPr/>
          <a:lstStyle/>
          <a:p>
            <a:endParaRPr lang="en-US"/>
          </a:p>
        </p:txBody>
      </p:sp>
      <p:sp>
        <p:nvSpPr>
          <p:cNvPr id="272" name="Freeform 1258"/>
          <p:cNvSpPr>
            <a:spLocks/>
          </p:cNvSpPr>
          <p:nvPr/>
        </p:nvSpPr>
        <p:spPr bwMode="auto">
          <a:xfrm>
            <a:off x="3792394" y="4008279"/>
            <a:ext cx="2866" cy="1274"/>
          </a:xfrm>
          <a:custGeom>
            <a:avLst/>
            <a:gdLst>
              <a:gd name="T0" fmla="*/ 2147483647 w 7"/>
              <a:gd name="T1" fmla="*/ 0 h 5"/>
              <a:gd name="T2" fmla="*/ 0 w 7"/>
              <a:gd name="T3" fmla="*/ 2147483647 h 5"/>
              <a:gd name="T4" fmla="*/ 2147483647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7" y="0"/>
                </a:moveTo>
                <a:lnTo>
                  <a:pt x="0" y="5"/>
                </a:lnTo>
                <a:lnTo>
                  <a:pt x="7" y="0"/>
                </a:lnTo>
                <a:close/>
              </a:path>
            </a:pathLst>
          </a:custGeom>
          <a:solidFill>
            <a:schemeClr val="accent1"/>
          </a:solidFill>
          <a:ln w="6350">
            <a:solidFill>
              <a:schemeClr val="tx2"/>
            </a:solidFill>
            <a:round/>
            <a:headEnd/>
            <a:tailEnd/>
          </a:ln>
        </p:spPr>
        <p:txBody>
          <a:bodyPr/>
          <a:lstStyle/>
          <a:p>
            <a:endParaRPr lang="en-US"/>
          </a:p>
        </p:txBody>
      </p:sp>
      <p:sp>
        <p:nvSpPr>
          <p:cNvPr id="273" name="Freeform 1259"/>
          <p:cNvSpPr>
            <a:spLocks/>
          </p:cNvSpPr>
          <p:nvPr/>
        </p:nvSpPr>
        <p:spPr bwMode="auto">
          <a:xfrm>
            <a:off x="3772327" y="4009553"/>
            <a:ext cx="8600" cy="5095"/>
          </a:xfrm>
          <a:custGeom>
            <a:avLst/>
            <a:gdLst>
              <a:gd name="T0" fmla="*/ 2147483647 w 22"/>
              <a:gd name="T1" fmla="*/ 2147483647 h 10"/>
              <a:gd name="T2" fmla="*/ 0 w 22"/>
              <a:gd name="T3" fmla="*/ 2147483647 h 10"/>
              <a:gd name="T4" fmla="*/ 2147483647 w 22"/>
              <a:gd name="T5" fmla="*/ 0 h 10"/>
              <a:gd name="T6" fmla="*/ 2147483647 w 22"/>
              <a:gd name="T7" fmla="*/ 2147483647 h 10"/>
              <a:gd name="T8" fmla="*/ 2147483647 w 22"/>
              <a:gd name="T9" fmla="*/ 2147483647 h 10"/>
              <a:gd name="T10" fmla="*/ 0 60000 65536"/>
              <a:gd name="T11" fmla="*/ 0 60000 65536"/>
              <a:gd name="T12" fmla="*/ 0 60000 65536"/>
              <a:gd name="T13" fmla="*/ 0 60000 65536"/>
              <a:gd name="T14" fmla="*/ 0 60000 65536"/>
              <a:gd name="T15" fmla="*/ 0 w 22"/>
              <a:gd name="T16" fmla="*/ 0 h 10"/>
              <a:gd name="T17" fmla="*/ 22 w 22"/>
              <a:gd name="T18" fmla="*/ 10 h 10"/>
            </a:gdLst>
            <a:ahLst/>
            <a:cxnLst>
              <a:cxn ang="T10">
                <a:pos x="T0" y="T1"/>
              </a:cxn>
              <a:cxn ang="T11">
                <a:pos x="T2" y="T3"/>
              </a:cxn>
              <a:cxn ang="T12">
                <a:pos x="T4" y="T5"/>
              </a:cxn>
              <a:cxn ang="T13">
                <a:pos x="T6" y="T7"/>
              </a:cxn>
              <a:cxn ang="T14">
                <a:pos x="T8" y="T9"/>
              </a:cxn>
            </a:cxnLst>
            <a:rect l="T15" t="T16" r="T17" b="T18"/>
            <a:pathLst>
              <a:path w="22" h="10">
                <a:moveTo>
                  <a:pt x="21" y="6"/>
                </a:moveTo>
                <a:lnTo>
                  <a:pt x="0" y="10"/>
                </a:lnTo>
                <a:lnTo>
                  <a:pt x="17" y="0"/>
                </a:lnTo>
                <a:lnTo>
                  <a:pt x="22" y="2"/>
                </a:lnTo>
                <a:lnTo>
                  <a:pt x="21" y="6"/>
                </a:lnTo>
                <a:close/>
              </a:path>
            </a:pathLst>
          </a:custGeom>
          <a:solidFill>
            <a:schemeClr val="accent1"/>
          </a:solidFill>
          <a:ln w="6350">
            <a:solidFill>
              <a:schemeClr val="tx2"/>
            </a:solidFill>
            <a:round/>
            <a:headEnd/>
            <a:tailEnd/>
          </a:ln>
        </p:spPr>
        <p:txBody>
          <a:bodyPr/>
          <a:lstStyle/>
          <a:p>
            <a:endParaRPr lang="en-US"/>
          </a:p>
        </p:txBody>
      </p:sp>
      <p:sp>
        <p:nvSpPr>
          <p:cNvPr id="274" name="Freeform 1260"/>
          <p:cNvSpPr>
            <a:spLocks/>
          </p:cNvSpPr>
          <p:nvPr/>
        </p:nvSpPr>
        <p:spPr bwMode="auto">
          <a:xfrm>
            <a:off x="3004057" y="3818505"/>
            <a:ext cx="7166" cy="3820"/>
          </a:xfrm>
          <a:custGeom>
            <a:avLst/>
            <a:gdLst>
              <a:gd name="T0" fmla="*/ 0 w 15"/>
              <a:gd name="T1" fmla="*/ 0 h 8"/>
              <a:gd name="T2" fmla="*/ 2147483647 w 15"/>
              <a:gd name="T3" fmla="*/ 2147483647 h 8"/>
              <a:gd name="T4" fmla="*/ 2147483647 w 15"/>
              <a:gd name="T5" fmla="*/ 2147483647 h 8"/>
              <a:gd name="T6" fmla="*/ 0 w 15"/>
              <a:gd name="T7" fmla="*/ 0 h 8"/>
              <a:gd name="T8" fmla="*/ 0 60000 65536"/>
              <a:gd name="T9" fmla="*/ 0 60000 65536"/>
              <a:gd name="T10" fmla="*/ 0 60000 65536"/>
              <a:gd name="T11" fmla="*/ 0 60000 65536"/>
              <a:gd name="T12" fmla="*/ 0 w 15"/>
              <a:gd name="T13" fmla="*/ 0 h 8"/>
              <a:gd name="T14" fmla="*/ 15 w 15"/>
              <a:gd name="T15" fmla="*/ 8 h 8"/>
            </a:gdLst>
            <a:ahLst/>
            <a:cxnLst>
              <a:cxn ang="T8">
                <a:pos x="T0" y="T1"/>
              </a:cxn>
              <a:cxn ang="T9">
                <a:pos x="T2" y="T3"/>
              </a:cxn>
              <a:cxn ang="T10">
                <a:pos x="T4" y="T5"/>
              </a:cxn>
              <a:cxn ang="T11">
                <a:pos x="T6" y="T7"/>
              </a:cxn>
            </a:cxnLst>
            <a:rect l="T12" t="T13" r="T14" b="T15"/>
            <a:pathLst>
              <a:path w="15" h="8">
                <a:moveTo>
                  <a:pt x="0" y="0"/>
                </a:moveTo>
                <a:lnTo>
                  <a:pt x="15" y="5"/>
                </a:lnTo>
                <a:lnTo>
                  <a:pt x="6" y="8"/>
                </a:lnTo>
                <a:lnTo>
                  <a:pt x="0" y="0"/>
                </a:lnTo>
                <a:close/>
              </a:path>
            </a:pathLst>
          </a:custGeom>
          <a:solidFill>
            <a:schemeClr val="accent1"/>
          </a:solidFill>
          <a:ln w="6350">
            <a:solidFill>
              <a:schemeClr val="tx2"/>
            </a:solidFill>
            <a:round/>
            <a:headEnd/>
            <a:tailEnd/>
          </a:ln>
        </p:spPr>
        <p:txBody>
          <a:bodyPr/>
          <a:lstStyle/>
          <a:p>
            <a:endParaRPr lang="en-US"/>
          </a:p>
        </p:txBody>
      </p:sp>
      <p:sp>
        <p:nvSpPr>
          <p:cNvPr id="275" name="Freeform 1261"/>
          <p:cNvSpPr>
            <a:spLocks/>
          </p:cNvSpPr>
          <p:nvPr/>
        </p:nvSpPr>
        <p:spPr bwMode="auto">
          <a:xfrm>
            <a:off x="3993062" y="3651655"/>
            <a:ext cx="8600" cy="3821"/>
          </a:xfrm>
          <a:custGeom>
            <a:avLst/>
            <a:gdLst>
              <a:gd name="T0" fmla="*/ 0 w 16"/>
              <a:gd name="T1" fmla="*/ 2147483647 h 9"/>
              <a:gd name="T2" fmla="*/ 2147483647 w 16"/>
              <a:gd name="T3" fmla="*/ 2147483647 h 9"/>
              <a:gd name="T4" fmla="*/ 2147483647 w 16"/>
              <a:gd name="T5" fmla="*/ 2147483647 h 9"/>
              <a:gd name="T6" fmla="*/ 2147483647 w 16"/>
              <a:gd name="T7" fmla="*/ 0 h 9"/>
              <a:gd name="T8" fmla="*/ 0 w 16"/>
              <a:gd name="T9" fmla="*/ 2147483647 h 9"/>
              <a:gd name="T10" fmla="*/ 0 60000 65536"/>
              <a:gd name="T11" fmla="*/ 0 60000 65536"/>
              <a:gd name="T12" fmla="*/ 0 60000 65536"/>
              <a:gd name="T13" fmla="*/ 0 60000 65536"/>
              <a:gd name="T14" fmla="*/ 0 60000 65536"/>
              <a:gd name="T15" fmla="*/ 0 w 16"/>
              <a:gd name="T16" fmla="*/ 0 h 9"/>
              <a:gd name="T17" fmla="*/ 16 w 16"/>
              <a:gd name="T18" fmla="*/ 9 h 9"/>
            </a:gdLst>
            <a:ahLst/>
            <a:cxnLst>
              <a:cxn ang="T10">
                <a:pos x="T0" y="T1"/>
              </a:cxn>
              <a:cxn ang="T11">
                <a:pos x="T2" y="T3"/>
              </a:cxn>
              <a:cxn ang="T12">
                <a:pos x="T4" y="T5"/>
              </a:cxn>
              <a:cxn ang="T13">
                <a:pos x="T6" y="T7"/>
              </a:cxn>
              <a:cxn ang="T14">
                <a:pos x="T8" y="T9"/>
              </a:cxn>
            </a:cxnLst>
            <a:rect l="T15" t="T16" r="T17" b="T18"/>
            <a:pathLst>
              <a:path w="16" h="9">
                <a:moveTo>
                  <a:pt x="0" y="7"/>
                </a:moveTo>
                <a:lnTo>
                  <a:pt x="16" y="9"/>
                </a:lnTo>
                <a:lnTo>
                  <a:pt x="16" y="3"/>
                </a:lnTo>
                <a:lnTo>
                  <a:pt x="11" y="0"/>
                </a:lnTo>
                <a:lnTo>
                  <a:pt x="0" y="7"/>
                </a:lnTo>
                <a:close/>
              </a:path>
            </a:pathLst>
          </a:custGeom>
          <a:solidFill>
            <a:schemeClr val="accent1"/>
          </a:solidFill>
          <a:ln w="6350">
            <a:solidFill>
              <a:schemeClr val="tx2"/>
            </a:solidFill>
            <a:round/>
            <a:headEnd/>
            <a:tailEnd/>
          </a:ln>
        </p:spPr>
        <p:txBody>
          <a:bodyPr/>
          <a:lstStyle/>
          <a:p>
            <a:endParaRPr lang="en-US"/>
          </a:p>
        </p:txBody>
      </p:sp>
      <p:sp>
        <p:nvSpPr>
          <p:cNvPr id="276" name="Freeform 1262"/>
          <p:cNvSpPr>
            <a:spLocks/>
          </p:cNvSpPr>
          <p:nvPr/>
        </p:nvSpPr>
        <p:spPr bwMode="auto">
          <a:xfrm>
            <a:off x="4004527" y="3652930"/>
            <a:ext cx="5734" cy="3820"/>
          </a:xfrm>
          <a:custGeom>
            <a:avLst/>
            <a:gdLst>
              <a:gd name="T0" fmla="*/ 0 w 12"/>
              <a:gd name="T1" fmla="*/ 2147483647 h 10"/>
              <a:gd name="T2" fmla="*/ 2147483647 w 12"/>
              <a:gd name="T3" fmla="*/ 2147483647 h 10"/>
              <a:gd name="T4" fmla="*/ 2147483647 w 12"/>
              <a:gd name="T5" fmla="*/ 2147483647 h 10"/>
              <a:gd name="T6" fmla="*/ 2147483647 w 12"/>
              <a:gd name="T7" fmla="*/ 0 h 10"/>
              <a:gd name="T8" fmla="*/ 2147483647 w 12"/>
              <a:gd name="T9" fmla="*/ 2147483647 h 10"/>
              <a:gd name="T10" fmla="*/ 0 w 12"/>
              <a:gd name="T11" fmla="*/ 2147483647 h 10"/>
              <a:gd name="T12" fmla="*/ 0 60000 65536"/>
              <a:gd name="T13" fmla="*/ 0 60000 65536"/>
              <a:gd name="T14" fmla="*/ 0 60000 65536"/>
              <a:gd name="T15" fmla="*/ 0 60000 65536"/>
              <a:gd name="T16" fmla="*/ 0 60000 65536"/>
              <a:gd name="T17" fmla="*/ 0 60000 65536"/>
              <a:gd name="T18" fmla="*/ 0 w 12"/>
              <a:gd name="T19" fmla="*/ 0 h 10"/>
              <a:gd name="T20" fmla="*/ 12 w 1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2" h="10">
                <a:moveTo>
                  <a:pt x="0" y="7"/>
                </a:moveTo>
                <a:lnTo>
                  <a:pt x="11" y="10"/>
                </a:lnTo>
                <a:lnTo>
                  <a:pt x="12" y="6"/>
                </a:lnTo>
                <a:lnTo>
                  <a:pt x="9" y="0"/>
                </a:lnTo>
                <a:lnTo>
                  <a:pt x="7" y="6"/>
                </a:lnTo>
                <a:lnTo>
                  <a:pt x="0" y="7"/>
                </a:lnTo>
                <a:close/>
              </a:path>
            </a:pathLst>
          </a:custGeom>
          <a:solidFill>
            <a:schemeClr val="accent1"/>
          </a:solidFill>
          <a:ln w="6350">
            <a:solidFill>
              <a:schemeClr val="tx2"/>
            </a:solidFill>
            <a:round/>
            <a:headEnd/>
            <a:tailEnd/>
          </a:ln>
        </p:spPr>
        <p:txBody>
          <a:bodyPr/>
          <a:lstStyle/>
          <a:p>
            <a:endParaRPr lang="en-US"/>
          </a:p>
        </p:txBody>
      </p:sp>
      <p:sp>
        <p:nvSpPr>
          <p:cNvPr id="277" name="Freeform 1263"/>
          <p:cNvSpPr>
            <a:spLocks/>
          </p:cNvSpPr>
          <p:nvPr/>
        </p:nvSpPr>
        <p:spPr bwMode="auto">
          <a:xfrm>
            <a:off x="4033196" y="3585425"/>
            <a:ext cx="2866" cy="3821"/>
          </a:xfrm>
          <a:custGeom>
            <a:avLst/>
            <a:gdLst>
              <a:gd name="T0" fmla="*/ 0 w 7"/>
              <a:gd name="T1" fmla="*/ 2147483647 h 9"/>
              <a:gd name="T2" fmla="*/ 2147483647 w 7"/>
              <a:gd name="T3" fmla="*/ 2147483647 h 9"/>
              <a:gd name="T4" fmla="*/ 2147483647 w 7"/>
              <a:gd name="T5" fmla="*/ 2147483647 h 9"/>
              <a:gd name="T6" fmla="*/ 2147483647 w 7"/>
              <a:gd name="T7" fmla="*/ 0 h 9"/>
              <a:gd name="T8" fmla="*/ 0 w 7"/>
              <a:gd name="T9" fmla="*/ 214748364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0" y="5"/>
                </a:moveTo>
                <a:lnTo>
                  <a:pt x="2" y="9"/>
                </a:lnTo>
                <a:lnTo>
                  <a:pt x="7" y="7"/>
                </a:lnTo>
                <a:lnTo>
                  <a:pt x="5" y="0"/>
                </a:lnTo>
                <a:lnTo>
                  <a:pt x="0" y="5"/>
                </a:lnTo>
                <a:close/>
              </a:path>
            </a:pathLst>
          </a:custGeom>
          <a:solidFill>
            <a:schemeClr val="accent1"/>
          </a:solidFill>
          <a:ln w="6350">
            <a:solidFill>
              <a:schemeClr val="tx2"/>
            </a:solidFill>
            <a:round/>
            <a:headEnd/>
            <a:tailEnd/>
          </a:ln>
        </p:spPr>
        <p:txBody>
          <a:bodyPr/>
          <a:lstStyle/>
          <a:p>
            <a:endParaRPr lang="en-US"/>
          </a:p>
        </p:txBody>
      </p:sp>
      <p:sp>
        <p:nvSpPr>
          <p:cNvPr id="278" name="Freeform 1264"/>
          <p:cNvSpPr>
            <a:spLocks/>
          </p:cNvSpPr>
          <p:nvPr/>
        </p:nvSpPr>
        <p:spPr bwMode="auto">
          <a:xfrm>
            <a:off x="4036062" y="3582878"/>
            <a:ext cx="1432" cy="2547"/>
          </a:xfrm>
          <a:custGeom>
            <a:avLst/>
            <a:gdLst>
              <a:gd name="T0" fmla="*/ 0 w 4"/>
              <a:gd name="T1" fmla="*/ 2147483647 h 6"/>
              <a:gd name="T2" fmla="*/ 2147483647 w 4"/>
              <a:gd name="T3" fmla="*/ 2147483647 h 6"/>
              <a:gd name="T4" fmla="*/ 2147483647 w 4"/>
              <a:gd name="T5" fmla="*/ 0 h 6"/>
              <a:gd name="T6" fmla="*/ 0 w 4"/>
              <a:gd name="T7" fmla="*/ 2147483647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0" y="5"/>
                </a:moveTo>
                <a:lnTo>
                  <a:pt x="3" y="6"/>
                </a:lnTo>
                <a:lnTo>
                  <a:pt x="4" y="0"/>
                </a:lnTo>
                <a:lnTo>
                  <a:pt x="0" y="5"/>
                </a:lnTo>
                <a:close/>
              </a:path>
            </a:pathLst>
          </a:custGeom>
          <a:solidFill>
            <a:schemeClr val="accent1"/>
          </a:solidFill>
          <a:ln w="6350">
            <a:solidFill>
              <a:schemeClr val="tx2"/>
            </a:solidFill>
            <a:round/>
            <a:headEnd/>
            <a:tailEnd/>
          </a:ln>
        </p:spPr>
        <p:txBody>
          <a:bodyPr/>
          <a:lstStyle/>
          <a:p>
            <a:endParaRPr lang="en-US"/>
          </a:p>
        </p:txBody>
      </p:sp>
      <p:sp>
        <p:nvSpPr>
          <p:cNvPr id="279" name="Freeform 1265"/>
          <p:cNvSpPr>
            <a:spLocks/>
          </p:cNvSpPr>
          <p:nvPr/>
        </p:nvSpPr>
        <p:spPr bwMode="auto">
          <a:xfrm>
            <a:off x="4036062" y="3587973"/>
            <a:ext cx="2866" cy="2547"/>
          </a:xfrm>
          <a:custGeom>
            <a:avLst/>
            <a:gdLst>
              <a:gd name="T0" fmla="*/ 0 w 3"/>
              <a:gd name="T1" fmla="*/ 0 h 4"/>
              <a:gd name="T2" fmla="*/ 2147483647 w 3"/>
              <a:gd name="T3" fmla="*/ 2147483647 h 4"/>
              <a:gd name="T4" fmla="*/ 2147483647 w 3"/>
              <a:gd name="T5" fmla="*/ 0 h 4"/>
              <a:gd name="T6" fmla="*/ 0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0"/>
                </a:moveTo>
                <a:lnTo>
                  <a:pt x="2" y="4"/>
                </a:lnTo>
                <a:lnTo>
                  <a:pt x="3" y="0"/>
                </a:lnTo>
                <a:lnTo>
                  <a:pt x="0" y="0"/>
                </a:lnTo>
                <a:close/>
              </a:path>
            </a:pathLst>
          </a:custGeom>
          <a:solidFill>
            <a:schemeClr val="accent1"/>
          </a:solidFill>
          <a:ln w="6350">
            <a:solidFill>
              <a:schemeClr val="tx2"/>
            </a:solidFill>
            <a:round/>
            <a:headEnd/>
            <a:tailEnd/>
          </a:ln>
        </p:spPr>
        <p:txBody>
          <a:bodyPr/>
          <a:lstStyle/>
          <a:p>
            <a:endParaRPr lang="en-US"/>
          </a:p>
        </p:txBody>
      </p:sp>
      <p:sp>
        <p:nvSpPr>
          <p:cNvPr id="280" name="Freeform 1266"/>
          <p:cNvSpPr>
            <a:spLocks/>
          </p:cNvSpPr>
          <p:nvPr/>
        </p:nvSpPr>
        <p:spPr bwMode="auto">
          <a:xfrm>
            <a:off x="4074761" y="3570142"/>
            <a:ext cx="2866" cy="5095"/>
          </a:xfrm>
          <a:custGeom>
            <a:avLst/>
            <a:gdLst>
              <a:gd name="T0" fmla="*/ 2147483647 w 7"/>
              <a:gd name="T1" fmla="*/ 0 h 12"/>
              <a:gd name="T2" fmla="*/ 0 w 7"/>
              <a:gd name="T3" fmla="*/ 2147483647 h 12"/>
              <a:gd name="T4" fmla="*/ 2147483647 w 7"/>
              <a:gd name="T5" fmla="*/ 2147483647 h 12"/>
              <a:gd name="T6" fmla="*/ 2147483647 w 7"/>
              <a:gd name="T7" fmla="*/ 2147483647 h 12"/>
              <a:gd name="T8" fmla="*/ 2147483647 w 7"/>
              <a:gd name="T9" fmla="*/ 0 h 12"/>
              <a:gd name="T10" fmla="*/ 0 60000 65536"/>
              <a:gd name="T11" fmla="*/ 0 60000 65536"/>
              <a:gd name="T12" fmla="*/ 0 60000 65536"/>
              <a:gd name="T13" fmla="*/ 0 60000 65536"/>
              <a:gd name="T14" fmla="*/ 0 60000 65536"/>
              <a:gd name="T15" fmla="*/ 0 w 7"/>
              <a:gd name="T16" fmla="*/ 0 h 12"/>
              <a:gd name="T17" fmla="*/ 7 w 7"/>
              <a:gd name="T18" fmla="*/ 12 h 12"/>
            </a:gdLst>
            <a:ahLst/>
            <a:cxnLst>
              <a:cxn ang="T10">
                <a:pos x="T0" y="T1"/>
              </a:cxn>
              <a:cxn ang="T11">
                <a:pos x="T2" y="T3"/>
              </a:cxn>
              <a:cxn ang="T12">
                <a:pos x="T4" y="T5"/>
              </a:cxn>
              <a:cxn ang="T13">
                <a:pos x="T6" y="T7"/>
              </a:cxn>
              <a:cxn ang="T14">
                <a:pos x="T8" y="T9"/>
              </a:cxn>
            </a:cxnLst>
            <a:rect l="T15" t="T16" r="T17" b="T18"/>
            <a:pathLst>
              <a:path w="7" h="12">
                <a:moveTo>
                  <a:pt x="4" y="0"/>
                </a:moveTo>
                <a:lnTo>
                  <a:pt x="0" y="12"/>
                </a:lnTo>
                <a:lnTo>
                  <a:pt x="6" y="8"/>
                </a:lnTo>
                <a:lnTo>
                  <a:pt x="7" y="1"/>
                </a:lnTo>
                <a:lnTo>
                  <a:pt x="4" y="0"/>
                </a:lnTo>
                <a:close/>
              </a:path>
            </a:pathLst>
          </a:custGeom>
          <a:solidFill>
            <a:schemeClr val="accent1"/>
          </a:solidFill>
          <a:ln w="6350">
            <a:solidFill>
              <a:schemeClr val="tx2"/>
            </a:solidFill>
            <a:round/>
            <a:headEnd/>
            <a:tailEnd/>
          </a:ln>
        </p:spPr>
        <p:txBody>
          <a:bodyPr/>
          <a:lstStyle/>
          <a:p>
            <a:endParaRPr lang="en-US"/>
          </a:p>
        </p:txBody>
      </p:sp>
      <p:sp>
        <p:nvSpPr>
          <p:cNvPr id="281" name="Freeform 1267"/>
          <p:cNvSpPr>
            <a:spLocks/>
          </p:cNvSpPr>
          <p:nvPr/>
        </p:nvSpPr>
        <p:spPr bwMode="auto">
          <a:xfrm>
            <a:off x="3465593" y="3940775"/>
            <a:ext cx="11467" cy="10189"/>
          </a:xfrm>
          <a:custGeom>
            <a:avLst/>
            <a:gdLst>
              <a:gd name="T0" fmla="*/ 2147483647 w 27"/>
              <a:gd name="T1" fmla="*/ 2147483647 h 27"/>
              <a:gd name="T2" fmla="*/ 2147483647 w 27"/>
              <a:gd name="T3" fmla="*/ 0 h 27"/>
              <a:gd name="T4" fmla="*/ 2147483647 w 27"/>
              <a:gd name="T5" fmla="*/ 2147483647 h 27"/>
              <a:gd name="T6" fmla="*/ 0 w 27"/>
              <a:gd name="T7" fmla="*/ 2147483647 h 27"/>
              <a:gd name="T8" fmla="*/ 2147483647 w 27"/>
              <a:gd name="T9" fmla="*/ 2147483647 h 27"/>
              <a:gd name="T10" fmla="*/ 0 60000 65536"/>
              <a:gd name="T11" fmla="*/ 0 60000 65536"/>
              <a:gd name="T12" fmla="*/ 0 60000 65536"/>
              <a:gd name="T13" fmla="*/ 0 60000 65536"/>
              <a:gd name="T14" fmla="*/ 0 60000 65536"/>
              <a:gd name="T15" fmla="*/ 0 w 27"/>
              <a:gd name="T16" fmla="*/ 0 h 27"/>
              <a:gd name="T17" fmla="*/ 27 w 27"/>
              <a:gd name="T18" fmla="*/ 27 h 27"/>
            </a:gdLst>
            <a:ahLst/>
            <a:cxnLst>
              <a:cxn ang="T10">
                <a:pos x="T0" y="T1"/>
              </a:cxn>
              <a:cxn ang="T11">
                <a:pos x="T2" y="T3"/>
              </a:cxn>
              <a:cxn ang="T12">
                <a:pos x="T4" y="T5"/>
              </a:cxn>
              <a:cxn ang="T13">
                <a:pos x="T6" y="T7"/>
              </a:cxn>
              <a:cxn ang="T14">
                <a:pos x="T8" y="T9"/>
              </a:cxn>
            </a:cxnLst>
            <a:rect l="T15" t="T16" r="T17" b="T18"/>
            <a:pathLst>
              <a:path w="27" h="27">
                <a:moveTo>
                  <a:pt x="6" y="15"/>
                </a:moveTo>
                <a:lnTo>
                  <a:pt x="27" y="0"/>
                </a:lnTo>
                <a:lnTo>
                  <a:pt x="3" y="27"/>
                </a:lnTo>
                <a:lnTo>
                  <a:pt x="0" y="26"/>
                </a:lnTo>
                <a:lnTo>
                  <a:pt x="6" y="15"/>
                </a:lnTo>
                <a:close/>
              </a:path>
            </a:pathLst>
          </a:custGeom>
          <a:solidFill>
            <a:schemeClr val="accent1"/>
          </a:solidFill>
          <a:ln w="6350">
            <a:solidFill>
              <a:schemeClr val="tx2"/>
            </a:solidFill>
            <a:round/>
            <a:headEnd/>
            <a:tailEnd/>
          </a:ln>
        </p:spPr>
        <p:txBody>
          <a:bodyPr/>
          <a:lstStyle/>
          <a:p>
            <a:endParaRPr lang="en-US"/>
          </a:p>
        </p:txBody>
      </p:sp>
      <p:sp>
        <p:nvSpPr>
          <p:cNvPr id="282" name="Freeform 1270"/>
          <p:cNvSpPr>
            <a:spLocks/>
          </p:cNvSpPr>
          <p:nvPr/>
        </p:nvSpPr>
        <p:spPr bwMode="auto">
          <a:xfrm>
            <a:off x="2998324" y="3819778"/>
            <a:ext cx="2866" cy="2547"/>
          </a:xfrm>
          <a:custGeom>
            <a:avLst/>
            <a:gdLst>
              <a:gd name="T0" fmla="*/ 0 w 10"/>
              <a:gd name="T1" fmla="*/ 2147483647 h 5"/>
              <a:gd name="T2" fmla="*/ 2147483647 w 10"/>
              <a:gd name="T3" fmla="*/ 0 h 5"/>
              <a:gd name="T4" fmla="*/ 2147483647 w 10"/>
              <a:gd name="T5" fmla="*/ 2147483647 h 5"/>
              <a:gd name="T6" fmla="*/ 0 w 10"/>
              <a:gd name="T7" fmla="*/ 2147483647 h 5"/>
              <a:gd name="T8" fmla="*/ 0 60000 65536"/>
              <a:gd name="T9" fmla="*/ 0 60000 65536"/>
              <a:gd name="T10" fmla="*/ 0 60000 65536"/>
              <a:gd name="T11" fmla="*/ 0 60000 65536"/>
              <a:gd name="T12" fmla="*/ 0 w 10"/>
              <a:gd name="T13" fmla="*/ 0 h 5"/>
              <a:gd name="T14" fmla="*/ 10 w 10"/>
              <a:gd name="T15" fmla="*/ 5 h 5"/>
            </a:gdLst>
            <a:ahLst/>
            <a:cxnLst>
              <a:cxn ang="T8">
                <a:pos x="T0" y="T1"/>
              </a:cxn>
              <a:cxn ang="T9">
                <a:pos x="T2" y="T3"/>
              </a:cxn>
              <a:cxn ang="T10">
                <a:pos x="T4" y="T5"/>
              </a:cxn>
              <a:cxn ang="T11">
                <a:pos x="T6" y="T7"/>
              </a:cxn>
            </a:cxnLst>
            <a:rect l="T12" t="T13" r="T14" b="T15"/>
            <a:pathLst>
              <a:path w="10" h="5">
                <a:moveTo>
                  <a:pt x="0" y="2"/>
                </a:moveTo>
                <a:lnTo>
                  <a:pt x="5" y="0"/>
                </a:lnTo>
                <a:lnTo>
                  <a:pt x="10" y="5"/>
                </a:lnTo>
                <a:lnTo>
                  <a:pt x="0" y="2"/>
                </a:lnTo>
                <a:close/>
              </a:path>
            </a:pathLst>
          </a:custGeom>
          <a:solidFill>
            <a:schemeClr val="accent1"/>
          </a:solidFill>
          <a:ln w="6350">
            <a:solidFill>
              <a:schemeClr val="tx2"/>
            </a:solidFill>
            <a:round/>
            <a:headEnd/>
            <a:tailEnd/>
          </a:ln>
        </p:spPr>
        <p:txBody>
          <a:bodyPr/>
          <a:lstStyle/>
          <a:p>
            <a:endParaRPr lang="en-US"/>
          </a:p>
        </p:txBody>
      </p:sp>
      <p:sp>
        <p:nvSpPr>
          <p:cNvPr id="283" name="Freeform 1271"/>
          <p:cNvSpPr>
            <a:spLocks/>
          </p:cNvSpPr>
          <p:nvPr/>
        </p:nvSpPr>
        <p:spPr bwMode="auto">
          <a:xfrm>
            <a:off x="3032724" y="3832515"/>
            <a:ext cx="2866" cy="2547"/>
          </a:xfrm>
          <a:custGeom>
            <a:avLst/>
            <a:gdLst>
              <a:gd name="T0" fmla="*/ 0 w 6"/>
              <a:gd name="T1" fmla="*/ 0 h 7"/>
              <a:gd name="T2" fmla="*/ 2147483647 w 6"/>
              <a:gd name="T3" fmla="*/ 2147483647 h 7"/>
              <a:gd name="T4" fmla="*/ 0 w 6"/>
              <a:gd name="T5" fmla="*/ 0 h 7"/>
              <a:gd name="T6" fmla="*/ 0 60000 65536"/>
              <a:gd name="T7" fmla="*/ 0 60000 65536"/>
              <a:gd name="T8" fmla="*/ 0 60000 65536"/>
              <a:gd name="T9" fmla="*/ 0 w 6"/>
              <a:gd name="T10" fmla="*/ 0 h 7"/>
              <a:gd name="T11" fmla="*/ 6 w 6"/>
              <a:gd name="T12" fmla="*/ 7 h 7"/>
            </a:gdLst>
            <a:ahLst/>
            <a:cxnLst>
              <a:cxn ang="T6">
                <a:pos x="T0" y="T1"/>
              </a:cxn>
              <a:cxn ang="T7">
                <a:pos x="T2" y="T3"/>
              </a:cxn>
              <a:cxn ang="T8">
                <a:pos x="T4" y="T5"/>
              </a:cxn>
            </a:cxnLst>
            <a:rect l="T9" t="T10" r="T11" b="T12"/>
            <a:pathLst>
              <a:path w="6" h="7">
                <a:moveTo>
                  <a:pt x="0" y="0"/>
                </a:moveTo>
                <a:lnTo>
                  <a:pt x="6" y="7"/>
                </a:lnTo>
                <a:lnTo>
                  <a:pt x="0" y="0"/>
                </a:lnTo>
                <a:close/>
              </a:path>
            </a:pathLst>
          </a:custGeom>
          <a:solidFill>
            <a:schemeClr val="accent1"/>
          </a:solidFill>
          <a:ln w="6350">
            <a:solidFill>
              <a:schemeClr val="tx2"/>
            </a:solidFill>
            <a:round/>
            <a:headEnd/>
            <a:tailEnd/>
          </a:ln>
        </p:spPr>
        <p:txBody>
          <a:bodyPr/>
          <a:lstStyle/>
          <a:p>
            <a:endParaRPr lang="en-US"/>
          </a:p>
        </p:txBody>
      </p:sp>
      <p:sp>
        <p:nvSpPr>
          <p:cNvPr id="284" name="Freeform 1272"/>
          <p:cNvSpPr>
            <a:spLocks/>
          </p:cNvSpPr>
          <p:nvPr/>
        </p:nvSpPr>
        <p:spPr bwMode="auto">
          <a:xfrm>
            <a:off x="3456992" y="4000637"/>
            <a:ext cx="2866" cy="5095"/>
          </a:xfrm>
          <a:custGeom>
            <a:avLst/>
            <a:gdLst>
              <a:gd name="T0" fmla="*/ 2147483647 w 6"/>
              <a:gd name="T1" fmla="*/ 0 h 12"/>
              <a:gd name="T2" fmla="*/ 2147483647 w 6"/>
              <a:gd name="T3" fmla="*/ 2147483647 h 12"/>
              <a:gd name="T4" fmla="*/ 2147483647 w 6"/>
              <a:gd name="T5" fmla="*/ 2147483647 h 12"/>
              <a:gd name="T6" fmla="*/ 0 w 6"/>
              <a:gd name="T7" fmla="*/ 2147483647 h 12"/>
              <a:gd name="T8" fmla="*/ 2147483647 w 6"/>
              <a:gd name="T9" fmla="*/ 0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4" y="0"/>
                </a:moveTo>
                <a:lnTo>
                  <a:pt x="6" y="7"/>
                </a:lnTo>
                <a:lnTo>
                  <a:pt x="3" y="12"/>
                </a:lnTo>
                <a:lnTo>
                  <a:pt x="0" y="6"/>
                </a:lnTo>
                <a:lnTo>
                  <a:pt x="4" y="0"/>
                </a:lnTo>
                <a:close/>
              </a:path>
            </a:pathLst>
          </a:custGeom>
          <a:solidFill>
            <a:schemeClr val="accent1"/>
          </a:solidFill>
          <a:ln w="6350">
            <a:solidFill>
              <a:schemeClr val="tx2"/>
            </a:solidFill>
            <a:round/>
            <a:headEnd/>
            <a:tailEnd/>
          </a:ln>
        </p:spPr>
        <p:txBody>
          <a:bodyPr/>
          <a:lstStyle/>
          <a:p>
            <a:endParaRPr lang="en-US"/>
          </a:p>
        </p:txBody>
      </p:sp>
      <p:sp>
        <p:nvSpPr>
          <p:cNvPr id="285" name="Freeform 1273"/>
          <p:cNvSpPr>
            <a:spLocks/>
          </p:cNvSpPr>
          <p:nvPr/>
        </p:nvSpPr>
        <p:spPr bwMode="auto">
          <a:xfrm>
            <a:off x="2783324" y="3311590"/>
            <a:ext cx="8600" cy="7642"/>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solidFill>
            <a:schemeClr val="accent1"/>
          </a:solidFill>
          <a:ln w="6350">
            <a:solidFill>
              <a:schemeClr val="tx2"/>
            </a:solidFill>
            <a:round/>
            <a:headEnd/>
            <a:tailEnd/>
          </a:ln>
        </p:spPr>
        <p:txBody>
          <a:bodyPr/>
          <a:lstStyle/>
          <a:p>
            <a:endParaRPr lang="en-US"/>
          </a:p>
        </p:txBody>
      </p:sp>
      <p:sp>
        <p:nvSpPr>
          <p:cNvPr id="286" name="Freeform 1274"/>
          <p:cNvSpPr>
            <a:spLocks/>
          </p:cNvSpPr>
          <p:nvPr/>
        </p:nvSpPr>
        <p:spPr bwMode="auto">
          <a:xfrm>
            <a:off x="2786190" y="3325600"/>
            <a:ext cx="14334" cy="14011"/>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solidFill>
            <a:schemeClr val="accent1"/>
          </a:solidFill>
          <a:ln w="6350">
            <a:solidFill>
              <a:schemeClr val="tx2"/>
            </a:solidFill>
            <a:round/>
            <a:headEnd/>
            <a:tailEnd/>
          </a:ln>
        </p:spPr>
        <p:txBody>
          <a:bodyPr/>
          <a:lstStyle/>
          <a:p>
            <a:endParaRPr lang="en-US"/>
          </a:p>
        </p:txBody>
      </p:sp>
      <p:sp>
        <p:nvSpPr>
          <p:cNvPr id="287" name="Freeform 1275"/>
          <p:cNvSpPr>
            <a:spLocks/>
          </p:cNvSpPr>
          <p:nvPr/>
        </p:nvSpPr>
        <p:spPr bwMode="auto">
          <a:xfrm>
            <a:off x="2791924" y="3317958"/>
            <a:ext cx="17201" cy="21653"/>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solidFill>
            <a:schemeClr val="accent1"/>
          </a:solidFill>
          <a:ln w="6350">
            <a:solidFill>
              <a:schemeClr val="tx2"/>
            </a:solidFill>
            <a:round/>
            <a:headEnd/>
            <a:tailEnd/>
          </a:ln>
        </p:spPr>
        <p:txBody>
          <a:bodyPr/>
          <a:lstStyle/>
          <a:p>
            <a:endParaRPr lang="en-US"/>
          </a:p>
        </p:txBody>
      </p:sp>
      <p:sp>
        <p:nvSpPr>
          <p:cNvPr id="288" name="Freeform 1276"/>
          <p:cNvSpPr>
            <a:spLocks/>
          </p:cNvSpPr>
          <p:nvPr/>
        </p:nvSpPr>
        <p:spPr bwMode="auto">
          <a:xfrm>
            <a:off x="2813423" y="3349800"/>
            <a:ext cx="4300" cy="8915"/>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solidFill>
            <a:schemeClr val="accent1"/>
          </a:solidFill>
          <a:ln w="6350">
            <a:solidFill>
              <a:schemeClr val="tx2"/>
            </a:solidFill>
            <a:round/>
            <a:headEnd/>
            <a:tailEnd/>
          </a:ln>
        </p:spPr>
        <p:txBody>
          <a:bodyPr/>
          <a:lstStyle/>
          <a:p>
            <a:endParaRPr lang="en-US"/>
          </a:p>
        </p:txBody>
      </p:sp>
      <p:sp>
        <p:nvSpPr>
          <p:cNvPr id="289" name="Freeform 1277"/>
          <p:cNvSpPr>
            <a:spLocks/>
          </p:cNvSpPr>
          <p:nvPr/>
        </p:nvSpPr>
        <p:spPr bwMode="auto">
          <a:xfrm>
            <a:off x="2832057" y="3407113"/>
            <a:ext cx="100334" cy="70051"/>
          </a:xfrm>
          <a:custGeom>
            <a:avLst/>
            <a:gdLst>
              <a:gd name="T0" fmla="*/ 2147483647 w 216"/>
              <a:gd name="T1" fmla="*/ 2147483647 h 167"/>
              <a:gd name="T2" fmla="*/ 2147483647 w 216"/>
              <a:gd name="T3" fmla="*/ 2147483647 h 167"/>
              <a:gd name="T4" fmla="*/ 2147483647 w 216"/>
              <a:gd name="T5" fmla="*/ 2147483647 h 167"/>
              <a:gd name="T6" fmla="*/ 2147483647 w 216"/>
              <a:gd name="T7" fmla="*/ 2147483647 h 167"/>
              <a:gd name="T8" fmla="*/ 0 w 216"/>
              <a:gd name="T9" fmla="*/ 2147483647 h 167"/>
              <a:gd name="T10" fmla="*/ 2147483647 w 216"/>
              <a:gd name="T11" fmla="*/ 2147483647 h 167"/>
              <a:gd name="T12" fmla="*/ 2147483647 w 216"/>
              <a:gd name="T13" fmla="*/ 0 h 167"/>
              <a:gd name="T14" fmla="*/ 2147483647 w 216"/>
              <a:gd name="T15" fmla="*/ 2147483647 h 167"/>
              <a:gd name="T16" fmla="*/ 2147483647 w 216"/>
              <a:gd name="T17" fmla="*/ 2147483647 h 167"/>
              <a:gd name="T18" fmla="*/ 2147483647 w 216"/>
              <a:gd name="T19" fmla="*/ 2147483647 h 167"/>
              <a:gd name="T20" fmla="*/ 2147483647 w 216"/>
              <a:gd name="T21" fmla="*/ 2147483647 h 167"/>
              <a:gd name="T22" fmla="*/ 2147483647 w 216"/>
              <a:gd name="T23" fmla="*/ 2147483647 h 167"/>
              <a:gd name="T24" fmla="*/ 2147483647 w 216"/>
              <a:gd name="T25" fmla="*/ 2147483647 h 167"/>
              <a:gd name="T26" fmla="*/ 2147483647 w 216"/>
              <a:gd name="T27" fmla="*/ 2147483647 h 167"/>
              <a:gd name="T28" fmla="*/ 2147483647 w 216"/>
              <a:gd name="T29" fmla="*/ 2147483647 h 167"/>
              <a:gd name="T30" fmla="*/ 2147483647 w 216"/>
              <a:gd name="T31" fmla="*/ 2147483647 h 167"/>
              <a:gd name="T32" fmla="*/ 2147483647 w 216"/>
              <a:gd name="T33" fmla="*/ 2147483647 h 167"/>
              <a:gd name="T34" fmla="*/ 2147483647 w 216"/>
              <a:gd name="T35" fmla="*/ 2147483647 h 167"/>
              <a:gd name="T36" fmla="*/ 2147483647 w 216"/>
              <a:gd name="T37" fmla="*/ 2147483647 h 167"/>
              <a:gd name="T38" fmla="*/ 2147483647 w 216"/>
              <a:gd name="T39" fmla="*/ 2147483647 h 167"/>
              <a:gd name="T40" fmla="*/ 2147483647 w 216"/>
              <a:gd name="T41" fmla="*/ 2147483647 h 167"/>
              <a:gd name="T42" fmla="*/ 2147483647 w 216"/>
              <a:gd name="T43" fmla="*/ 2147483647 h 167"/>
              <a:gd name="T44" fmla="*/ 2147483647 w 216"/>
              <a:gd name="T45" fmla="*/ 2147483647 h 167"/>
              <a:gd name="T46" fmla="*/ 2147483647 w 216"/>
              <a:gd name="T47" fmla="*/ 2147483647 h 167"/>
              <a:gd name="T48" fmla="*/ 2147483647 w 216"/>
              <a:gd name="T49" fmla="*/ 2147483647 h 167"/>
              <a:gd name="T50" fmla="*/ 2147483647 w 216"/>
              <a:gd name="T51" fmla="*/ 2147483647 h 167"/>
              <a:gd name="T52" fmla="*/ 2147483647 w 216"/>
              <a:gd name="T53" fmla="*/ 2147483647 h 167"/>
              <a:gd name="T54" fmla="*/ 2147483647 w 216"/>
              <a:gd name="T55" fmla="*/ 2147483647 h 167"/>
              <a:gd name="T56" fmla="*/ 2147483647 w 216"/>
              <a:gd name="T57" fmla="*/ 2147483647 h 167"/>
              <a:gd name="T58" fmla="*/ 2147483647 w 216"/>
              <a:gd name="T59" fmla="*/ 2147483647 h 167"/>
              <a:gd name="T60" fmla="*/ 2147483647 w 216"/>
              <a:gd name="T61" fmla="*/ 2147483647 h 167"/>
              <a:gd name="T62" fmla="*/ 2147483647 w 216"/>
              <a:gd name="T63" fmla="*/ 2147483647 h 167"/>
              <a:gd name="T64" fmla="*/ 2147483647 w 216"/>
              <a:gd name="T65" fmla="*/ 2147483647 h 167"/>
              <a:gd name="T66" fmla="*/ 2147483647 w 216"/>
              <a:gd name="T67" fmla="*/ 2147483647 h 167"/>
              <a:gd name="T68" fmla="*/ 2147483647 w 216"/>
              <a:gd name="T69" fmla="*/ 2147483647 h 167"/>
              <a:gd name="T70" fmla="*/ 2147483647 w 216"/>
              <a:gd name="T71" fmla="*/ 2147483647 h 167"/>
              <a:gd name="T72" fmla="*/ 2147483647 w 216"/>
              <a:gd name="T73" fmla="*/ 2147483647 h 167"/>
              <a:gd name="T74" fmla="*/ 2147483647 w 216"/>
              <a:gd name="T75" fmla="*/ 2147483647 h 167"/>
              <a:gd name="T76" fmla="*/ 2147483647 w 216"/>
              <a:gd name="T77" fmla="*/ 2147483647 h 167"/>
              <a:gd name="T78" fmla="*/ 2147483647 w 216"/>
              <a:gd name="T79" fmla="*/ 2147483647 h 167"/>
              <a:gd name="T80" fmla="*/ 2147483647 w 216"/>
              <a:gd name="T81" fmla="*/ 2147483647 h 1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
              <a:gd name="T124" fmla="*/ 0 h 167"/>
              <a:gd name="T125" fmla="*/ 216 w 216"/>
              <a:gd name="T126" fmla="*/ 167 h 1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 h="167">
                <a:moveTo>
                  <a:pt x="36" y="31"/>
                </a:moveTo>
                <a:lnTo>
                  <a:pt x="36" y="16"/>
                </a:lnTo>
                <a:lnTo>
                  <a:pt x="15" y="10"/>
                </a:lnTo>
                <a:lnTo>
                  <a:pt x="10" y="20"/>
                </a:lnTo>
                <a:lnTo>
                  <a:pt x="0" y="13"/>
                </a:lnTo>
                <a:lnTo>
                  <a:pt x="1" y="4"/>
                </a:lnTo>
                <a:lnTo>
                  <a:pt x="14" y="0"/>
                </a:lnTo>
                <a:lnTo>
                  <a:pt x="116" y="35"/>
                </a:lnTo>
                <a:lnTo>
                  <a:pt x="148" y="76"/>
                </a:lnTo>
                <a:lnTo>
                  <a:pt x="152" y="89"/>
                </a:lnTo>
                <a:lnTo>
                  <a:pt x="195" y="117"/>
                </a:lnTo>
                <a:lnTo>
                  <a:pt x="207" y="148"/>
                </a:lnTo>
                <a:lnTo>
                  <a:pt x="211" y="147"/>
                </a:lnTo>
                <a:lnTo>
                  <a:pt x="216" y="157"/>
                </a:lnTo>
                <a:lnTo>
                  <a:pt x="201" y="167"/>
                </a:lnTo>
                <a:lnTo>
                  <a:pt x="154" y="148"/>
                </a:lnTo>
                <a:lnTo>
                  <a:pt x="159" y="136"/>
                </a:lnTo>
                <a:lnTo>
                  <a:pt x="150" y="144"/>
                </a:lnTo>
                <a:lnTo>
                  <a:pt x="141" y="134"/>
                </a:lnTo>
                <a:lnTo>
                  <a:pt x="149" y="123"/>
                </a:lnTo>
                <a:lnTo>
                  <a:pt x="120" y="125"/>
                </a:lnTo>
                <a:lnTo>
                  <a:pt x="112" y="119"/>
                </a:lnTo>
                <a:lnTo>
                  <a:pt x="123" y="118"/>
                </a:lnTo>
                <a:lnTo>
                  <a:pt x="112" y="105"/>
                </a:lnTo>
                <a:lnTo>
                  <a:pt x="82" y="96"/>
                </a:lnTo>
                <a:lnTo>
                  <a:pt x="79" y="87"/>
                </a:lnTo>
                <a:lnTo>
                  <a:pt x="101" y="81"/>
                </a:lnTo>
                <a:lnTo>
                  <a:pt x="86" y="79"/>
                </a:lnTo>
                <a:lnTo>
                  <a:pt x="83" y="72"/>
                </a:lnTo>
                <a:lnTo>
                  <a:pt x="78" y="76"/>
                </a:lnTo>
                <a:lnTo>
                  <a:pt x="62" y="61"/>
                </a:lnTo>
                <a:lnTo>
                  <a:pt x="56" y="66"/>
                </a:lnTo>
                <a:lnTo>
                  <a:pt x="51" y="61"/>
                </a:lnTo>
                <a:lnTo>
                  <a:pt x="54" y="49"/>
                </a:lnTo>
                <a:lnTo>
                  <a:pt x="46" y="46"/>
                </a:lnTo>
                <a:lnTo>
                  <a:pt x="44" y="54"/>
                </a:lnTo>
                <a:lnTo>
                  <a:pt x="38" y="45"/>
                </a:lnTo>
                <a:lnTo>
                  <a:pt x="23" y="49"/>
                </a:lnTo>
                <a:lnTo>
                  <a:pt x="24" y="36"/>
                </a:lnTo>
                <a:lnTo>
                  <a:pt x="19" y="28"/>
                </a:lnTo>
                <a:lnTo>
                  <a:pt x="36" y="31"/>
                </a:lnTo>
                <a:close/>
              </a:path>
            </a:pathLst>
          </a:custGeom>
          <a:solidFill>
            <a:schemeClr val="accent1"/>
          </a:solidFill>
          <a:ln w="6350">
            <a:solidFill>
              <a:schemeClr val="tx2"/>
            </a:solidFill>
            <a:round/>
            <a:headEnd/>
            <a:tailEnd/>
          </a:ln>
        </p:spPr>
        <p:txBody>
          <a:bodyPr/>
          <a:lstStyle/>
          <a:p>
            <a:endParaRPr lang="en-US"/>
          </a:p>
        </p:txBody>
      </p:sp>
      <p:sp>
        <p:nvSpPr>
          <p:cNvPr id="290" name="Freeform 1278"/>
          <p:cNvSpPr>
            <a:spLocks/>
          </p:cNvSpPr>
          <p:nvPr/>
        </p:nvSpPr>
        <p:spPr bwMode="auto">
          <a:xfrm>
            <a:off x="2139753" y="2836515"/>
            <a:ext cx="10034" cy="10189"/>
          </a:xfrm>
          <a:custGeom>
            <a:avLst/>
            <a:gdLst>
              <a:gd name="T0" fmla="*/ 2147483647 w 22"/>
              <a:gd name="T1" fmla="*/ 2147483647 h 24"/>
              <a:gd name="T2" fmla="*/ 2147483647 w 22"/>
              <a:gd name="T3" fmla="*/ 0 h 24"/>
              <a:gd name="T4" fmla="*/ 2147483647 w 22"/>
              <a:gd name="T5" fmla="*/ 2147483647 h 24"/>
              <a:gd name="T6" fmla="*/ 2147483647 w 22"/>
              <a:gd name="T7" fmla="*/ 2147483647 h 24"/>
              <a:gd name="T8" fmla="*/ 0 w 22"/>
              <a:gd name="T9" fmla="*/ 2147483647 h 24"/>
              <a:gd name="T10" fmla="*/ 2147483647 w 22"/>
              <a:gd name="T11" fmla="*/ 2147483647 h 24"/>
              <a:gd name="T12" fmla="*/ 0 60000 65536"/>
              <a:gd name="T13" fmla="*/ 0 60000 65536"/>
              <a:gd name="T14" fmla="*/ 0 60000 65536"/>
              <a:gd name="T15" fmla="*/ 0 60000 65536"/>
              <a:gd name="T16" fmla="*/ 0 60000 65536"/>
              <a:gd name="T17" fmla="*/ 0 60000 65536"/>
              <a:gd name="T18" fmla="*/ 0 w 22"/>
              <a:gd name="T19" fmla="*/ 0 h 24"/>
              <a:gd name="T20" fmla="*/ 22 w 2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2" h="24">
                <a:moveTo>
                  <a:pt x="2" y="3"/>
                </a:moveTo>
                <a:lnTo>
                  <a:pt x="11" y="0"/>
                </a:lnTo>
                <a:lnTo>
                  <a:pt x="22" y="23"/>
                </a:lnTo>
                <a:lnTo>
                  <a:pt x="8" y="24"/>
                </a:lnTo>
                <a:lnTo>
                  <a:pt x="0" y="10"/>
                </a:lnTo>
                <a:lnTo>
                  <a:pt x="2" y="3"/>
                </a:lnTo>
                <a:close/>
              </a:path>
            </a:pathLst>
          </a:custGeom>
          <a:solidFill>
            <a:schemeClr val="accent1"/>
          </a:solidFill>
          <a:ln w="6350">
            <a:solidFill>
              <a:schemeClr val="tx2"/>
            </a:solidFill>
            <a:round/>
            <a:headEnd/>
            <a:tailEnd/>
          </a:ln>
        </p:spPr>
        <p:txBody>
          <a:bodyPr/>
          <a:lstStyle/>
          <a:p>
            <a:endParaRPr lang="en-US"/>
          </a:p>
        </p:txBody>
      </p:sp>
      <p:sp>
        <p:nvSpPr>
          <p:cNvPr id="291" name="Freeform 1279"/>
          <p:cNvSpPr>
            <a:spLocks/>
          </p:cNvSpPr>
          <p:nvPr/>
        </p:nvSpPr>
        <p:spPr bwMode="auto">
          <a:xfrm>
            <a:off x="1949120" y="2974070"/>
            <a:ext cx="63067" cy="29294"/>
          </a:xfrm>
          <a:custGeom>
            <a:avLst/>
            <a:gdLst>
              <a:gd name="T0" fmla="*/ 2147483647 w 135"/>
              <a:gd name="T1" fmla="*/ 2147483647 h 71"/>
              <a:gd name="T2" fmla="*/ 2147483647 w 135"/>
              <a:gd name="T3" fmla="*/ 2147483647 h 71"/>
              <a:gd name="T4" fmla="*/ 2147483647 w 135"/>
              <a:gd name="T5" fmla="*/ 2147483647 h 71"/>
              <a:gd name="T6" fmla="*/ 0 w 135"/>
              <a:gd name="T7" fmla="*/ 2147483647 h 71"/>
              <a:gd name="T8" fmla="*/ 2147483647 w 135"/>
              <a:gd name="T9" fmla="*/ 0 h 71"/>
              <a:gd name="T10" fmla="*/ 2147483647 w 135"/>
              <a:gd name="T11" fmla="*/ 2147483647 h 71"/>
              <a:gd name="T12" fmla="*/ 2147483647 w 135"/>
              <a:gd name="T13" fmla="*/ 2147483647 h 71"/>
              <a:gd name="T14" fmla="*/ 2147483647 w 135"/>
              <a:gd name="T15" fmla="*/ 2147483647 h 71"/>
              <a:gd name="T16" fmla="*/ 2147483647 w 135"/>
              <a:gd name="T17" fmla="*/ 2147483647 h 71"/>
              <a:gd name="T18" fmla="*/ 2147483647 w 135"/>
              <a:gd name="T19" fmla="*/ 2147483647 h 71"/>
              <a:gd name="T20" fmla="*/ 2147483647 w 135"/>
              <a:gd name="T21" fmla="*/ 2147483647 h 71"/>
              <a:gd name="T22" fmla="*/ 2147483647 w 135"/>
              <a:gd name="T23" fmla="*/ 2147483647 h 71"/>
              <a:gd name="T24" fmla="*/ 2147483647 w 135"/>
              <a:gd name="T25" fmla="*/ 2147483647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5"/>
              <a:gd name="T40" fmla="*/ 0 h 71"/>
              <a:gd name="T41" fmla="*/ 135 w 135"/>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5" h="71">
                <a:moveTo>
                  <a:pt x="91" y="71"/>
                </a:moveTo>
                <a:lnTo>
                  <a:pt x="48" y="40"/>
                </a:lnTo>
                <a:lnTo>
                  <a:pt x="12" y="42"/>
                </a:lnTo>
                <a:lnTo>
                  <a:pt x="0" y="26"/>
                </a:lnTo>
                <a:lnTo>
                  <a:pt x="4" y="0"/>
                </a:lnTo>
                <a:lnTo>
                  <a:pt x="40" y="18"/>
                </a:lnTo>
                <a:lnTo>
                  <a:pt x="69" y="10"/>
                </a:lnTo>
                <a:lnTo>
                  <a:pt x="102" y="41"/>
                </a:lnTo>
                <a:lnTo>
                  <a:pt x="135" y="45"/>
                </a:lnTo>
                <a:lnTo>
                  <a:pt x="133" y="58"/>
                </a:lnTo>
                <a:lnTo>
                  <a:pt x="110" y="57"/>
                </a:lnTo>
                <a:lnTo>
                  <a:pt x="102" y="70"/>
                </a:lnTo>
                <a:lnTo>
                  <a:pt x="91" y="71"/>
                </a:lnTo>
                <a:close/>
              </a:path>
            </a:pathLst>
          </a:custGeom>
          <a:solidFill>
            <a:schemeClr val="accent1"/>
          </a:solidFill>
          <a:ln w="6350">
            <a:solidFill>
              <a:schemeClr val="tx2"/>
            </a:solidFill>
            <a:round/>
            <a:headEnd/>
            <a:tailEnd/>
          </a:ln>
        </p:spPr>
        <p:txBody>
          <a:bodyPr/>
          <a:lstStyle/>
          <a:p>
            <a:endParaRPr lang="en-US"/>
          </a:p>
        </p:txBody>
      </p:sp>
      <p:sp>
        <p:nvSpPr>
          <p:cNvPr id="292" name="Freeform 1280"/>
          <p:cNvSpPr>
            <a:spLocks/>
          </p:cNvSpPr>
          <p:nvPr/>
        </p:nvSpPr>
        <p:spPr bwMode="auto">
          <a:xfrm>
            <a:off x="2682991" y="3203328"/>
            <a:ext cx="20066" cy="42031"/>
          </a:xfrm>
          <a:custGeom>
            <a:avLst/>
            <a:gdLst>
              <a:gd name="T0" fmla="*/ 2147483647 w 41"/>
              <a:gd name="T1" fmla="*/ 2147483647 h 103"/>
              <a:gd name="T2" fmla="*/ 2147483647 w 41"/>
              <a:gd name="T3" fmla="*/ 2147483647 h 103"/>
              <a:gd name="T4" fmla="*/ 2147483647 w 41"/>
              <a:gd name="T5" fmla="*/ 2147483647 h 103"/>
              <a:gd name="T6" fmla="*/ 2147483647 w 41"/>
              <a:gd name="T7" fmla="*/ 2147483647 h 103"/>
              <a:gd name="T8" fmla="*/ 2147483647 w 41"/>
              <a:gd name="T9" fmla="*/ 2147483647 h 103"/>
              <a:gd name="T10" fmla="*/ 2147483647 w 41"/>
              <a:gd name="T11" fmla="*/ 2147483647 h 103"/>
              <a:gd name="T12" fmla="*/ 2147483647 w 41"/>
              <a:gd name="T13" fmla="*/ 2147483647 h 103"/>
              <a:gd name="T14" fmla="*/ 2147483647 w 41"/>
              <a:gd name="T15" fmla="*/ 2147483647 h 103"/>
              <a:gd name="T16" fmla="*/ 2147483647 w 41"/>
              <a:gd name="T17" fmla="*/ 2147483647 h 103"/>
              <a:gd name="T18" fmla="*/ 0 w 41"/>
              <a:gd name="T19" fmla="*/ 2147483647 h 103"/>
              <a:gd name="T20" fmla="*/ 2147483647 w 41"/>
              <a:gd name="T21" fmla="*/ 0 h 103"/>
              <a:gd name="T22" fmla="*/ 2147483647 w 41"/>
              <a:gd name="T23" fmla="*/ 2147483647 h 10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103"/>
              <a:gd name="T38" fmla="*/ 41 w 41"/>
              <a:gd name="T39" fmla="*/ 103 h 10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103">
                <a:moveTo>
                  <a:pt x="31" y="20"/>
                </a:moveTo>
                <a:lnTo>
                  <a:pt x="41" y="74"/>
                </a:lnTo>
                <a:lnTo>
                  <a:pt x="38" y="103"/>
                </a:lnTo>
                <a:lnTo>
                  <a:pt x="34" y="103"/>
                </a:lnTo>
                <a:lnTo>
                  <a:pt x="26" y="75"/>
                </a:lnTo>
                <a:lnTo>
                  <a:pt x="32" y="54"/>
                </a:lnTo>
                <a:lnTo>
                  <a:pt x="24" y="65"/>
                </a:lnTo>
                <a:lnTo>
                  <a:pt x="12" y="50"/>
                </a:lnTo>
                <a:lnTo>
                  <a:pt x="17" y="35"/>
                </a:lnTo>
                <a:lnTo>
                  <a:pt x="0" y="14"/>
                </a:lnTo>
                <a:lnTo>
                  <a:pt x="7" y="0"/>
                </a:lnTo>
                <a:lnTo>
                  <a:pt x="31" y="20"/>
                </a:lnTo>
                <a:close/>
              </a:path>
            </a:pathLst>
          </a:custGeom>
          <a:solidFill>
            <a:schemeClr val="accent1"/>
          </a:solidFill>
          <a:ln w="6350">
            <a:solidFill>
              <a:schemeClr val="tx2"/>
            </a:solidFill>
            <a:round/>
            <a:headEnd/>
            <a:tailEnd/>
          </a:ln>
        </p:spPr>
        <p:txBody>
          <a:bodyPr/>
          <a:lstStyle/>
          <a:p>
            <a:endParaRPr lang="en-US"/>
          </a:p>
        </p:txBody>
      </p:sp>
      <p:sp>
        <p:nvSpPr>
          <p:cNvPr id="293" name="Freeform 1281"/>
          <p:cNvSpPr>
            <a:spLocks/>
          </p:cNvSpPr>
          <p:nvPr/>
        </p:nvSpPr>
        <p:spPr bwMode="auto">
          <a:xfrm>
            <a:off x="2700189" y="3180403"/>
            <a:ext cx="18633" cy="38210"/>
          </a:xfrm>
          <a:custGeom>
            <a:avLst/>
            <a:gdLst>
              <a:gd name="T0" fmla="*/ 2147483647 w 42"/>
              <a:gd name="T1" fmla="*/ 2147483647 h 88"/>
              <a:gd name="T2" fmla="*/ 0 w 42"/>
              <a:gd name="T3" fmla="*/ 2147483647 h 88"/>
              <a:gd name="T4" fmla="*/ 2147483647 w 42"/>
              <a:gd name="T5" fmla="*/ 2147483647 h 88"/>
              <a:gd name="T6" fmla="*/ 2147483647 w 42"/>
              <a:gd name="T7" fmla="*/ 0 h 88"/>
              <a:gd name="T8" fmla="*/ 2147483647 w 42"/>
              <a:gd name="T9" fmla="*/ 2147483647 h 88"/>
              <a:gd name="T10" fmla="*/ 2147483647 w 42"/>
              <a:gd name="T11" fmla="*/ 2147483647 h 88"/>
              <a:gd name="T12" fmla="*/ 2147483647 w 42"/>
              <a:gd name="T13" fmla="*/ 2147483647 h 88"/>
              <a:gd name="T14" fmla="*/ 2147483647 w 42"/>
              <a:gd name="T15" fmla="*/ 2147483647 h 88"/>
              <a:gd name="T16" fmla="*/ 2147483647 w 42"/>
              <a:gd name="T17" fmla="*/ 2147483647 h 88"/>
              <a:gd name="T18" fmla="*/ 2147483647 w 42"/>
              <a:gd name="T19" fmla="*/ 2147483647 h 88"/>
              <a:gd name="T20" fmla="*/ 2147483647 w 42"/>
              <a:gd name="T21" fmla="*/ 2147483647 h 88"/>
              <a:gd name="T22" fmla="*/ 2147483647 w 42"/>
              <a:gd name="T23" fmla="*/ 2147483647 h 88"/>
              <a:gd name="T24" fmla="*/ 2147483647 w 42"/>
              <a:gd name="T25" fmla="*/ 2147483647 h 88"/>
              <a:gd name="T26" fmla="*/ 2147483647 w 42"/>
              <a:gd name="T27" fmla="*/ 2147483647 h 88"/>
              <a:gd name="T28" fmla="*/ 2147483647 w 42"/>
              <a:gd name="T29" fmla="*/ 2147483647 h 88"/>
              <a:gd name="T30" fmla="*/ 2147483647 w 42"/>
              <a:gd name="T31" fmla="*/ 2147483647 h 88"/>
              <a:gd name="T32" fmla="*/ 2147483647 w 42"/>
              <a:gd name="T33" fmla="*/ 2147483647 h 88"/>
              <a:gd name="T34" fmla="*/ 2147483647 w 42"/>
              <a:gd name="T35" fmla="*/ 2147483647 h 88"/>
              <a:gd name="T36" fmla="*/ 2147483647 w 42"/>
              <a:gd name="T37" fmla="*/ 2147483647 h 88"/>
              <a:gd name="T38" fmla="*/ 2147483647 w 42"/>
              <a:gd name="T39" fmla="*/ 2147483647 h 88"/>
              <a:gd name="T40" fmla="*/ 2147483647 w 42"/>
              <a:gd name="T41" fmla="*/ 2147483647 h 88"/>
              <a:gd name="T42" fmla="*/ 2147483647 w 42"/>
              <a:gd name="T43" fmla="*/ 2147483647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88"/>
              <a:gd name="T68" fmla="*/ 42 w 42"/>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88">
                <a:moveTo>
                  <a:pt x="8" y="46"/>
                </a:moveTo>
                <a:lnTo>
                  <a:pt x="0" y="10"/>
                </a:lnTo>
                <a:lnTo>
                  <a:pt x="3" y="1"/>
                </a:lnTo>
                <a:lnTo>
                  <a:pt x="17" y="0"/>
                </a:lnTo>
                <a:lnTo>
                  <a:pt x="23" y="2"/>
                </a:lnTo>
                <a:lnTo>
                  <a:pt x="36" y="23"/>
                </a:lnTo>
                <a:lnTo>
                  <a:pt x="42" y="48"/>
                </a:lnTo>
                <a:lnTo>
                  <a:pt x="22" y="9"/>
                </a:lnTo>
                <a:lnTo>
                  <a:pt x="22" y="26"/>
                </a:lnTo>
                <a:lnTo>
                  <a:pt x="38" y="53"/>
                </a:lnTo>
                <a:lnTo>
                  <a:pt x="31" y="56"/>
                </a:lnTo>
                <a:lnTo>
                  <a:pt x="37" y="66"/>
                </a:lnTo>
                <a:lnTo>
                  <a:pt x="27" y="63"/>
                </a:lnTo>
                <a:lnTo>
                  <a:pt x="26" y="77"/>
                </a:lnTo>
                <a:lnTo>
                  <a:pt x="22" y="72"/>
                </a:lnTo>
                <a:lnTo>
                  <a:pt x="11" y="88"/>
                </a:lnTo>
                <a:lnTo>
                  <a:pt x="7" y="84"/>
                </a:lnTo>
                <a:lnTo>
                  <a:pt x="9" y="66"/>
                </a:lnTo>
                <a:lnTo>
                  <a:pt x="18" y="62"/>
                </a:lnTo>
                <a:lnTo>
                  <a:pt x="11" y="55"/>
                </a:lnTo>
                <a:lnTo>
                  <a:pt x="19" y="48"/>
                </a:lnTo>
                <a:lnTo>
                  <a:pt x="8" y="46"/>
                </a:lnTo>
                <a:close/>
              </a:path>
            </a:pathLst>
          </a:custGeom>
          <a:solidFill>
            <a:schemeClr val="accent1"/>
          </a:solidFill>
          <a:ln w="6350">
            <a:solidFill>
              <a:schemeClr val="tx2"/>
            </a:solidFill>
            <a:round/>
            <a:headEnd/>
            <a:tailEnd/>
          </a:ln>
        </p:spPr>
        <p:txBody>
          <a:bodyPr/>
          <a:lstStyle/>
          <a:p>
            <a:endParaRPr lang="en-US"/>
          </a:p>
        </p:txBody>
      </p:sp>
      <p:sp>
        <p:nvSpPr>
          <p:cNvPr id="294" name="Freeform 1282"/>
          <p:cNvSpPr>
            <a:spLocks/>
          </p:cNvSpPr>
          <p:nvPr/>
        </p:nvSpPr>
        <p:spPr bwMode="auto">
          <a:xfrm>
            <a:off x="2707356" y="3223707"/>
            <a:ext cx="14334" cy="24200"/>
          </a:xfrm>
          <a:custGeom>
            <a:avLst/>
            <a:gdLst>
              <a:gd name="T0" fmla="*/ 2147483647 w 27"/>
              <a:gd name="T1" fmla="*/ 2147483647 h 62"/>
              <a:gd name="T2" fmla="*/ 0 w 27"/>
              <a:gd name="T3" fmla="*/ 2147483647 h 62"/>
              <a:gd name="T4" fmla="*/ 2147483647 w 27"/>
              <a:gd name="T5" fmla="*/ 2147483647 h 62"/>
              <a:gd name="T6" fmla="*/ 2147483647 w 27"/>
              <a:gd name="T7" fmla="*/ 0 h 62"/>
              <a:gd name="T8" fmla="*/ 2147483647 w 27"/>
              <a:gd name="T9" fmla="*/ 2147483647 h 62"/>
              <a:gd name="T10" fmla="*/ 2147483647 w 27"/>
              <a:gd name="T11" fmla="*/ 2147483647 h 62"/>
              <a:gd name="T12" fmla="*/ 2147483647 w 27"/>
              <a:gd name="T13" fmla="*/ 2147483647 h 62"/>
              <a:gd name="T14" fmla="*/ 2147483647 w 27"/>
              <a:gd name="T15" fmla="*/ 2147483647 h 62"/>
              <a:gd name="T16" fmla="*/ 2147483647 w 27"/>
              <a:gd name="T17" fmla="*/ 2147483647 h 62"/>
              <a:gd name="T18" fmla="*/ 2147483647 w 27"/>
              <a:gd name="T19" fmla="*/ 2147483647 h 62"/>
              <a:gd name="T20" fmla="*/ 2147483647 w 27"/>
              <a:gd name="T21" fmla="*/ 2147483647 h 62"/>
              <a:gd name="T22" fmla="*/ 2147483647 w 27"/>
              <a:gd name="T23" fmla="*/ 2147483647 h 62"/>
              <a:gd name="T24" fmla="*/ 2147483647 w 27"/>
              <a:gd name="T25" fmla="*/ 2147483647 h 62"/>
              <a:gd name="T26" fmla="*/ 2147483647 w 27"/>
              <a:gd name="T27" fmla="*/ 2147483647 h 62"/>
              <a:gd name="T28" fmla="*/ 2147483647 w 27"/>
              <a:gd name="T29" fmla="*/ 2147483647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62"/>
              <a:gd name="T47" fmla="*/ 27 w 27"/>
              <a:gd name="T48" fmla="*/ 62 h 6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62">
                <a:moveTo>
                  <a:pt x="10" y="22"/>
                </a:moveTo>
                <a:lnTo>
                  <a:pt x="0" y="14"/>
                </a:lnTo>
                <a:lnTo>
                  <a:pt x="1" y="4"/>
                </a:lnTo>
                <a:lnTo>
                  <a:pt x="9" y="0"/>
                </a:lnTo>
                <a:lnTo>
                  <a:pt x="18" y="11"/>
                </a:lnTo>
                <a:lnTo>
                  <a:pt x="25" y="9"/>
                </a:lnTo>
                <a:lnTo>
                  <a:pt x="27" y="22"/>
                </a:lnTo>
                <a:lnTo>
                  <a:pt x="19" y="22"/>
                </a:lnTo>
                <a:lnTo>
                  <a:pt x="20" y="62"/>
                </a:lnTo>
                <a:lnTo>
                  <a:pt x="17" y="51"/>
                </a:lnTo>
                <a:lnTo>
                  <a:pt x="9" y="50"/>
                </a:lnTo>
                <a:lnTo>
                  <a:pt x="7" y="37"/>
                </a:lnTo>
                <a:lnTo>
                  <a:pt x="17" y="30"/>
                </a:lnTo>
                <a:lnTo>
                  <a:pt x="7" y="25"/>
                </a:lnTo>
                <a:lnTo>
                  <a:pt x="10" y="22"/>
                </a:lnTo>
                <a:close/>
              </a:path>
            </a:pathLst>
          </a:custGeom>
          <a:solidFill>
            <a:schemeClr val="accent1"/>
          </a:solidFill>
          <a:ln w="6350">
            <a:solidFill>
              <a:schemeClr val="tx2"/>
            </a:solidFill>
            <a:round/>
            <a:headEnd/>
            <a:tailEnd/>
          </a:ln>
        </p:spPr>
        <p:txBody>
          <a:bodyPr/>
          <a:lstStyle/>
          <a:p>
            <a:endParaRPr lang="en-US"/>
          </a:p>
        </p:txBody>
      </p:sp>
      <p:sp>
        <p:nvSpPr>
          <p:cNvPr id="295" name="Freeform 1283"/>
          <p:cNvSpPr>
            <a:spLocks/>
          </p:cNvSpPr>
          <p:nvPr/>
        </p:nvSpPr>
        <p:spPr bwMode="auto">
          <a:xfrm>
            <a:off x="2715956" y="3217339"/>
            <a:ext cx="20066" cy="20378"/>
          </a:xfrm>
          <a:custGeom>
            <a:avLst/>
            <a:gdLst>
              <a:gd name="T0" fmla="*/ 0 w 42"/>
              <a:gd name="T1" fmla="*/ 2147483647 h 51"/>
              <a:gd name="T2" fmla="*/ 2147483647 w 42"/>
              <a:gd name="T3" fmla="*/ 0 h 51"/>
              <a:gd name="T4" fmla="*/ 2147483647 w 42"/>
              <a:gd name="T5" fmla="*/ 2147483647 h 51"/>
              <a:gd name="T6" fmla="*/ 2147483647 w 42"/>
              <a:gd name="T7" fmla="*/ 2147483647 h 51"/>
              <a:gd name="T8" fmla="*/ 2147483647 w 42"/>
              <a:gd name="T9" fmla="*/ 2147483647 h 51"/>
              <a:gd name="T10" fmla="*/ 2147483647 w 42"/>
              <a:gd name="T11" fmla="*/ 2147483647 h 51"/>
              <a:gd name="T12" fmla="*/ 2147483647 w 42"/>
              <a:gd name="T13" fmla="*/ 2147483647 h 51"/>
              <a:gd name="T14" fmla="*/ 2147483647 w 42"/>
              <a:gd name="T15" fmla="*/ 2147483647 h 51"/>
              <a:gd name="T16" fmla="*/ 2147483647 w 42"/>
              <a:gd name="T17" fmla="*/ 2147483647 h 51"/>
              <a:gd name="T18" fmla="*/ 0 w 42"/>
              <a:gd name="T19" fmla="*/ 2147483647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51"/>
              <a:gd name="T32" fmla="*/ 42 w 42"/>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51">
                <a:moveTo>
                  <a:pt x="0" y="4"/>
                </a:moveTo>
                <a:lnTo>
                  <a:pt x="3" y="0"/>
                </a:lnTo>
                <a:lnTo>
                  <a:pt x="38" y="9"/>
                </a:lnTo>
                <a:lnTo>
                  <a:pt x="42" y="36"/>
                </a:lnTo>
                <a:lnTo>
                  <a:pt x="28" y="21"/>
                </a:lnTo>
                <a:lnTo>
                  <a:pt x="36" y="49"/>
                </a:lnTo>
                <a:lnTo>
                  <a:pt x="19" y="51"/>
                </a:lnTo>
                <a:lnTo>
                  <a:pt x="13" y="18"/>
                </a:lnTo>
                <a:lnTo>
                  <a:pt x="6" y="16"/>
                </a:lnTo>
                <a:lnTo>
                  <a:pt x="0" y="4"/>
                </a:lnTo>
                <a:close/>
              </a:path>
            </a:pathLst>
          </a:custGeom>
          <a:solidFill>
            <a:schemeClr val="accent1"/>
          </a:solidFill>
          <a:ln w="6350">
            <a:solidFill>
              <a:schemeClr val="tx2"/>
            </a:solidFill>
            <a:round/>
            <a:headEnd/>
            <a:tailEnd/>
          </a:ln>
        </p:spPr>
        <p:txBody>
          <a:bodyPr/>
          <a:lstStyle/>
          <a:p>
            <a:endParaRPr lang="en-US"/>
          </a:p>
        </p:txBody>
      </p:sp>
      <p:sp>
        <p:nvSpPr>
          <p:cNvPr id="296" name="Freeform 1284"/>
          <p:cNvSpPr>
            <a:spLocks/>
          </p:cNvSpPr>
          <p:nvPr/>
        </p:nvSpPr>
        <p:spPr bwMode="auto">
          <a:xfrm>
            <a:off x="2737456" y="3226255"/>
            <a:ext cx="5734" cy="8916"/>
          </a:xfrm>
          <a:custGeom>
            <a:avLst/>
            <a:gdLst>
              <a:gd name="T0" fmla="*/ 2147483647 w 12"/>
              <a:gd name="T1" fmla="*/ 2147483647 h 20"/>
              <a:gd name="T2" fmla="*/ 2147483647 w 12"/>
              <a:gd name="T3" fmla="*/ 2147483647 h 20"/>
              <a:gd name="T4" fmla="*/ 2147483647 w 12"/>
              <a:gd name="T5" fmla="*/ 2147483647 h 20"/>
              <a:gd name="T6" fmla="*/ 0 w 12"/>
              <a:gd name="T7" fmla="*/ 0 h 20"/>
              <a:gd name="T8" fmla="*/ 2147483647 w 12"/>
              <a:gd name="T9" fmla="*/ 2147483647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3" y="2"/>
                </a:moveTo>
                <a:lnTo>
                  <a:pt x="12" y="20"/>
                </a:lnTo>
                <a:lnTo>
                  <a:pt x="1" y="19"/>
                </a:lnTo>
                <a:lnTo>
                  <a:pt x="0" y="0"/>
                </a:lnTo>
                <a:lnTo>
                  <a:pt x="3" y="2"/>
                </a:lnTo>
                <a:close/>
              </a:path>
            </a:pathLst>
          </a:custGeom>
          <a:solidFill>
            <a:schemeClr val="accent1"/>
          </a:solidFill>
          <a:ln w="6350">
            <a:solidFill>
              <a:schemeClr val="tx2"/>
            </a:solidFill>
            <a:round/>
            <a:headEnd/>
            <a:tailEnd/>
          </a:ln>
        </p:spPr>
        <p:txBody>
          <a:bodyPr/>
          <a:lstStyle/>
          <a:p>
            <a:endParaRPr lang="en-US"/>
          </a:p>
        </p:txBody>
      </p:sp>
      <p:sp>
        <p:nvSpPr>
          <p:cNvPr id="297" name="Freeform 1285"/>
          <p:cNvSpPr>
            <a:spLocks/>
          </p:cNvSpPr>
          <p:nvPr/>
        </p:nvSpPr>
        <p:spPr bwMode="auto">
          <a:xfrm>
            <a:off x="2734590" y="3238990"/>
            <a:ext cx="8600" cy="3821"/>
          </a:xfrm>
          <a:custGeom>
            <a:avLst/>
            <a:gdLst>
              <a:gd name="T0" fmla="*/ 2147483647 w 15"/>
              <a:gd name="T1" fmla="*/ 0 h 11"/>
              <a:gd name="T2" fmla="*/ 2147483647 w 15"/>
              <a:gd name="T3" fmla="*/ 2147483647 h 11"/>
              <a:gd name="T4" fmla="*/ 2147483647 w 15"/>
              <a:gd name="T5" fmla="*/ 2147483647 h 11"/>
              <a:gd name="T6" fmla="*/ 0 w 15"/>
              <a:gd name="T7" fmla="*/ 2147483647 h 11"/>
              <a:gd name="T8" fmla="*/ 2147483647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13" y="0"/>
                </a:moveTo>
                <a:lnTo>
                  <a:pt x="15" y="9"/>
                </a:lnTo>
                <a:lnTo>
                  <a:pt x="12" y="11"/>
                </a:lnTo>
                <a:lnTo>
                  <a:pt x="0" y="3"/>
                </a:lnTo>
                <a:lnTo>
                  <a:pt x="13" y="0"/>
                </a:lnTo>
                <a:close/>
              </a:path>
            </a:pathLst>
          </a:custGeom>
          <a:solidFill>
            <a:schemeClr val="accent1"/>
          </a:solidFill>
          <a:ln w="6350">
            <a:solidFill>
              <a:schemeClr val="tx2"/>
            </a:solidFill>
            <a:round/>
            <a:headEnd/>
            <a:tailEnd/>
          </a:ln>
        </p:spPr>
        <p:txBody>
          <a:bodyPr/>
          <a:lstStyle/>
          <a:p>
            <a:endParaRPr lang="en-US"/>
          </a:p>
        </p:txBody>
      </p:sp>
      <p:sp>
        <p:nvSpPr>
          <p:cNvPr id="298" name="Freeform 1287"/>
          <p:cNvSpPr>
            <a:spLocks/>
          </p:cNvSpPr>
          <p:nvPr/>
        </p:nvSpPr>
        <p:spPr bwMode="auto">
          <a:xfrm>
            <a:off x="2720256" y="3240265"/>
            <a:ext cx="37267" cy="53493"/>
          </a:xfrm>
          <a:custGeom>
            <a:avLst/>
            <a:gdLst>
              <a:gd name="T0" fmla="*/ 2147483647 w 76"/>
              <a:gd name="T1" fmla="*/ 2147483647 h 125"/>
              <a:gd name="T2" fmla="*/ 2147483647 w 76"/>
              <a:gd name="T3" fmla="*/ 2147483647 h 125"/>
              <a:gd name="T4" fmla="*/ 2147483647 w 76"/>
              <a:gd name="T5" fmla="*/ 2147483647 h 125"/>
              <a:gd name="T6" fmla="*/ 2147483647 w 76"/>
              <a:gd name="T7" fmla="*/ 2147483647 h 125"/>
              <a:gd name="T8" fmla="*/ 2147483647 w 76"/>
              <a:gd name="T9" fmla="*/ 2147483647 h 125"/>
              <a:gd name="T10" fmla="*/ 2147483647 w 76"/>
              <a:gd name="T11" fmla="*/ 2147483647 h 125"/>
              <a:gd name="T12" fmla="*/ 2147483647 w 76"/>
              <a:gd name="T13" fmla="*/ 2147483647 h 125"/>
              <a:gd name="T14" fmla="*/ 2147483647 w 76"/>
              <a:gd name="T15" fmla="*/ 2147483647 h 125"/>
              <a:gd name="T16" fmla="*/ 2147483647 w 76"/>
              <a:gd name="T17" fmla="*/ 2147483647 h 125"/>
              <a:gd name="T18" fmla="*/ 2147483647 w 76"/>
              <a:gd name="T19" fmla="*/ 2147483647 h 125"/>
              <a:gd name="T20" fmla="*/ 2147483647 w 76"/>
              <a:gd name="T21" fmla="*/ 2147483647 h 125"/>
              <a:gd name="T22" fmla="*/ 2147483647 w 76"/>
              <a:gd name="T23" fmla="*/ 2147483647 h 125"/>
              <a:gd name="T24" fmla="*/ 2147483647 w 76"/>
              <a:gd name="T25" fmla="*/ 2147483647 h 125"/>
              <a:gd name="T26" fmla="*/ 2147483647 w 76"/>
              <a:gd name="T27" fmla="*/ 2147483647 h 125"/>
              <a:gd name="T28" fmla="*/ 2147483647 w 76"/>
              <a:gd name="T29" fmla="*/ 2147483647 h 125"/>
              <a:gd name="T30" fmla="*/ 2147483647 w 76"/>
              <a:gd name="T31" fmla="*/ 2147483647 h 125"/>
              <a:gd name="T32" fmla="*/ 2147483647 w 76"/>
              <a:gd name="T33" fmla="*/ 2147483647 h 125"/>
              <a:gd name="T34" fmla="*/ 2147483647 w 76"/>
              <a:gd name="T35" fmla="*/ 2147483647 h 125"/>
              <a:gd name="T36" fmla="*/ 2147483647 w 76"/>
              <a:gd name="T37" fmla="*/ 2147483647 h 125"/>
              <a:gd name="T38" fmla="*/ 2147483647 w 76"/>
              <a:gd name="T39" fmla="*/ 2147483647 h 125"/>
              <a:gd name="T40" fmla="*/ 2147483647 w 76"/>
              <a:gd name="T41" fmla="*/ 2147483647 h 125"/>
              <a:gd name="T42" fmla="*/ 0 w 76"/>
              <a:gd name="T43" fmla="*/ 2147483647 h 125"/>
              <a:gd name="T44" fmla="*/ 2147483647 w 76"/>
              <a:gd name="T45" fmla="*/ 2147483647 h 125"/>
              <a:gd name="T46" fmla="*/ 2147483647 w 76"/>
              <a:gd name="T47" fmla="*/ 0 h 125"/>
              <a:gd name="T48" fmla="*/ 2147483647 w 76"/>
              <a:gd name="T49" fmla="*/ 2147483647 h 125"/>
              <a:gd name="T50" fmla="*/ 2147483647 w 76"/>
              <a:gd name="T51" fmla="*/ 2147483647 h 125"/>
              <a:gd name="T52" fmla="*/ 2147483647 w 76"/>
              <a:gd name="T53" fmla="*/ 2147483647 h 125"/>
              <a:gd name="T54" fmla="*/ 2147483647 w 76"/>
              <a:gd name="T55" fmla="*/ 2147483647 h 1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6"/>
              <a:gd name="T85" fmla="*/ 0 h 125"/>
              <a:gd name="T86" fmla="*/ 76 w 76"/>
              <a:gd name="T87" fmla="*/ 125 h 1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6" h="125">
                <a:moveTo>
                  <a:pt x="42" y="26"/>
                </a:moveTo>
                <a:lnTo>
                  <a:pt x="56" y="45"/>
                </a:lnTo>
                <a:lnTo>
                  <a:pt x="53" y="53"/>
                </a:lnTo>
                <a:lnTo>
                  <a:pt x="68" y="69"/>
                </a:lnTo>
                <a:lnTo>
                  <a:pt x="54" y="59"/>
                </a:lnTo>
                <a:lnTo>
                  <a:pt x="59" y="74"/>
                </a:lnTo>
                <a:lnTo>
                  <a:pt x="76" y="88"/>
                </a:lnTo>
                <a:lnTo>
                  <a:pt x="70" y="105"/>
                </a:lnTo>
                <a:lnTo>
                  <a:pt x="76" y="105"/>
                </a:lnTo>
                <a:lnTo>
                  <a:pt x="75" y="124"/>
                </a:lnTo>
                <a:lnTo>
                  <a:pt x="65" y="125"/>
                </a:lnTo>
                <a:lnTo>
                  <a:pt x="61" y="103"/>
                </a:lnTo>
                <a:lnTo>
                  <a:pt x="55" y="104"/>
                </a:lnTo>
                <a:lnTo>
                  <a:pt x="48" y="89"/>
                </a:lnTo>
                <a:lnTo>
                  <a:pt x="24" y="77"/>
                </a:lnTo>
                <a:lnTo>
                  <a:pt x="34" y="74"/>
                </a:lnTo>
                <a:lnTo>
                  <a:pt x="32" y="64"/>
                </a:lnTo>
                <a:lnTo>
                  <a:pt x="35" y="61"/>
                </a:lnTo>
                <a:lnTo>
                  <a:pt x="17" y="54"/>
                </a:lnTo>
                <a:lnTo>
                  <a:pt x="23" y="42"/>
                </a:lnTo>
                <a:lnTo>
                  <a:pt x="23" y="17"/>
                </a:lnTo>
                <a:lnTo>
                  <a:pt x="0" y="32"/>
                </a:lnTo>
                <a:lnTo>
                  <a:pt x="11" y="11"/>
                </a:lnTo>
                <a:lnTo>
                  <a:pt x="6" y="0"/>
                </a:lnTo>
                <a:lnTo>
                  <a:pt x="24" y="2"/>
                </a:lnTo>
                <a:lnTo>
                  <a:pt x="30" y="7"/>
                </a:lnTo>
                <a:lnTo>
                  <a:pt x="29" y="22"/>
                </a:lnTo>
                <a:lnTo>
                  <a:pt x="42" y="26"/>
                </a:lnTo>
                <a:close/>
              </a:path>
            </a:pathLst>
          </a:custGeom>
          <a:solidFill>
            <a:schemeClr val="accent1"/>
          </a:solidFill>
          <a:ln w="6350">
            <a:solidFill>
              <a:schemeClr val="tx2"/>
            </a:solidFill>
            <a:round/>
            <a:headEnd/>
            <a:tailEnd/>
          </a:ln>
        </p:spPr>
        <p:txBody>
          <a:bodyPr/>
          <a:lstStyle/>
          <a:p>
            <a:endParaRPr lang="en-US"/>
          </a:p>
        </p:txBody>
      </p:sp>
      <p:sp>
        <p:nvSpPr>
          <p:cNvPr id="299" name="Freeform 1288"/>
          <p:cNvSpPr>
            <a:spLocks/>
          </p:cNvSpPr>
          <p:nvPr/>
        </p:nvSpPr>
        <p:spPr bwMode="auto">
          <a:xfrm>
            <a:off x="2760391" y="3254275"/>
            <a:ext cx="17201" cy="25473"/>
          </a:xfrm>
          <a:custGeom>
            <a:avLst/>
            <a:gdLst>
              <a:gd name="T0" fmla="*/ 2147483647 w 37"/>
              <a:gd name="T1" fmla="*/ 2147483647 h 58"/>
              <a:gd name="T2" fmla="*/ 2147483647 w 37"/>
              <a:gd name="T3" fmla="*/ 2147483647 h 58"/>
              <a:gd name="T4" fmla="*/ 2147483647 w 37"/>
              <a:gd name="T5" fmla="*/ 2147483647 h 58"/>
              <a:gd name="T6" fmla="*/ 2147483647 w 37"/>
              <a:gd name="T7" fmla="*/ 2147483647 h 58"/>
              <a:gd name="T8" fmla="*/ 2147483647 w 37"/>
              <a:gd name="T9" fmla="*/ 2147483647 h 58"/>
              <a:gd name="T10" fmla="*/ 2147483647 w 37"/>
              <a:gd name="T11" fmla="*/ 2147483647 h 58"/>
              <a:gd name="T12" fmla="*/ 2147483647 w 37"/>
              <a:gd name="T13" fmla="*/ 0 h 58"/>
              <a:gd name="T14" fmla="*/ 2147483647 w 37"/>
              <a:gd name="T15" fmla="*/ 2147483647 h 58"/>
              <a:gd name="T16" fmla="*/ 2147483647 w 37"/>
              <a:gd name="T17" fmla="*/ 2147483647 h 58"/>
              <a:gd name="T18" fmla="*/ 0 w 37"/>
              <a:gd name="T19" fmla="*/ 2147483647 h 58"/>
              <a:gd name="T20" fmla="*/ 2147483647 w 37"/>
              <a:gd name="T21" fmla="*/ 2147483647 h 58"/>
              <a:gd name="T22" fmla="*/ 2147483647 w 37"/>
              <a:gd name="T23" fmla="*/ 2147483647 h 58"/>
              <a:gd name="T24" fmla="*/ 2147483647 w 37"/>
              <a:gd name="T25" fmla="*/ 2147483647 h 58"/>
              <a:gd name="T26" fmla="*/ 2147483647 w 37"/>
              <a:gd name="T27" fmla="*/ 2147483647 h 58"/>
              <a:gd name="T28" fmla="*/ 2147483647 w 37"/>
              <a:gd name="T29" fmla="*/ 2147483647 h 58"/>
              <a:gd name="T30" fmla="*/ 2147483647 w 37"/>
              <a:gd name="T31" fmla="*/ 2147483647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58"/>
              <a:gd name="T50" fmla="*/ 37 w 37"/>
              <a:gd name="T51" fmla="*/ 58 h 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58">
                <a:moveTo>
                  <a:pt x="16" y="48"/>
                </a:moveTo>
                <a:lnTo>
                  <a:pt x="21" y="42"/>
                </a:lnTo>
                <a:lnTo>
                  <a:pt x="25" y="55"/>
                </a:lnTo>
                <a:lnTo>
                  <a:pt x="37" y="58"/>
                </a:lnTo>
                <a:lnTo>
                  <a:pt x="33" y="42"/>
                </a:lnTo>
                <a:lnTo>
                  <a:pt x="35" y="25"/>
                </a:lnTo>
                <a:lnTo>
                  <a:pt x="25" y="0"/>
                </a:lnTo>
                <a:lnTo>
                  <a:pt x="5" y="9"/>
                </a:lnTo>
                <a:lnTo>
                  <a:pt x="8" y="16"/>
                </a:lnTo>
                <a:lnTo>
                  <a:pt x="0" y="37"/>
                </a:lnTo>
                <a:lnTo>
                  <a:pt x="8" y="46"/>
                </a:lnTo>
                <a:lnTo>
                  <a:pt x="11" y="33"/>
                </a:lnTo>
                <a:lnTo>
                  <a:pt x="17" y="37"/>
                </a:lnTo>
                <a:lnTo>
                  <a:pt x="18" y="24"/>
                </a:lnTo>
                <a:lnTo>
                  <a:pt x="20" y="37"/>
                </a:lnTo>
                <a:lnTo>
                  <a:pt x="16" y="48"/>
                </a:lnTo>
                <a:close/>
              </a:path>
            </a:pathLst>
          </a:custGeom>
          <a:solidFill>
            <a:schemeClr val="accent1"/>
          </a:solidFill>
          <a:ln w="6350">
            <a:solidFill>
              <a:schemeClr val="tx2"/>
            </a:solidFill>
            <a:round/>
            <a:headEnd/>
            <a:tailEnd/>
          </a:ln>
        </p:spPr>
        <p:txBody>
          <a:bodyPr/>
          <a:lstStyle/>
          <a:p>
            <a:endParaRPr lang="en-US"/>
          </a:p>
        </p:txBody>
      </p:sp>
      <p:sp>
        <p:nvSpPr>
          <p:cNvPr id="300" name="Freeform 1289"/>
          <p:cNvSpPr>
            <a:spLocks/>
          </p:cNvSpPr>
          <p:nvPr/>
        </p:nvSpPr>
        <p:spPr bwMode="auto">
          <a:xfrm>
            <a:off x="2731723" y="3277200"/>
            <a:ext cx="8600" cy="15284"/>
          </a:xfrm>
          <a:custGeom>
            <a:avLst/>
            <a:gdLst>
              <a:gd name="T0" fmla="*/ 2147483647 w 19"/>
              <a:gd name="T1" fmla="*/ 2147483647 h 37"/>
              <a:gd name="T2" fmla="*/ 2147483647 w 19"/>
              <a:gd name="T3" fmla="*/ 2147483647 h 37"/>
              <a:gd name="T4" fmla="*/ 2147483647 w 19"/>
              <a:gd name="T5" fmla="*/ 2147483647 h 37"/>
              <a:gd name="T6" fmla="*/ 2147483647 w 19"/>
              <a:gd name="T7" fmla="*/ 2147483647 h 37"/>
              <a:gd name="T8" fmla="*/ 0 w 19"/>
              <a:gd name="T9" fmla="*/ 0 h 37"/>
              <a:gd name="T10" fmla="*/ 2147483647 w 19"/>
              <a:gd name="T11" fmla="*/ 2147483647 h 37"/>
              <a:gd name="T12" fmla="*/ 0 60000 65536"/>
              <a:gd name="T13" fmla="*/ 0 60000 65536"/>
              <a:gd name="T14" fmla="*/ 0 60000 65536"/>
              <a:gd name="T15" fmla="*/ 0 60000 65536"/>
              <a:gd name="T16" fmla="*/ 0 60000 65536"/>
              <a:gd name="T17" fmla="*/ 0 60000 65536"/>
              <a:gd name="T18" fmla="*/ 0 w 19"/>
              <a:gd name="T19" fmla="*/ 0 h 37"/>
              <a:gd name="T20" fmla="*/ 19 w 19"/>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9" h="37">
                <a:moveTo>
                  <a:pt x="8" y="17"/>
                </a:moveTo>
                <a:lnTo>
                  <a:pt x="19" y="37"/>
                </a:lnTo>
                <a:lnTo>
                  <a:pt x="11" y="35"/>
                </a:lnTo>
                <a:lnTo>
                  <a:pt x="1" y="18"/>
                </a:lnTo>
                <a:lnTo>
                  <a:pt x="0" y="0"/>
                </a:lnTo>
                <a:lnTo>
                  <a:pt x="8" y="17"/>
                </a:lnTo>
                <a:close/>
              </a:path>
            </a:pathLst>
          </a:custGeom>
          <a:solidFill>
            <a:schemeClr val="accent1"/>
          </a:solidFill>
          <a:ln w="6350">
            <a:solidFill>
              <a:schemeClr val="tx2"/>
            </a:solidFill>
            <a:round/>
            <a:headEnd/>
            <a:tailEnd/>
          </a:ln>
        </p:spPr>
        <p:txBody>
          <a:bodyPr/>
          <a:lstStyle/>
          <a:p>
            <a:endParaRPr lang="en-US"/>
          </a:p>
        </p:txBody>
      </p:sp>
      <p:sp>
        <p:nvSpPr>
          <p:cNvPr id="301" name="Freeform 1290"/>
          <p:cNvSpPr>
            <a:spLocks/>
          </p:cNvSpPr>
          <p:nvPr/>
        </p:nvSpPr>
        <p:spPr bwMode="auto">
          <a:xfrm>
            <a:off x="2764690" y="3274653"/>
            <a:ext cx="4300" cy="8916"/>
          </a:xfrm>
          <a:custGeom>
            <a:avLst/>
            <a:gdLst>
              <a:gd name="T0" fmla="*/ 0 w 10"/>
              <a:gd name="T1" fmla="*/ 0 h 19"/>
              <a:gd name="T2" fmla="*/ 2147483647 w 10"/>
              <a:gd name="T3" fmla="*/ 2147483647 h 19"/>
              <a:gd name="T4" fmla="*/ 2147483647 w 10"/>
              <a:gd name="T5" fmla="*/ 2147483647 h 19"/>
              <a:gd name="T6" fmla="*/ 0 w 10"/>
              <a:gd name="T7" fmla="*/ 0 h 19"/>
              <a:gd name="T8" fmla="*/ 0 60000 65536"/>
              <a:gd name="T9" fmla="*/ 0 60000 65536"/>
              <a:gd name="T10" fmla="*/ 0 60000 65536"/>
              <a:gd name="T11" fmla="*/ 0 60000 65536"/>
              <a:gd name="T12" fmla="*/ 0 w 10"/>
              <a:gd name="T13" fmla="*/ 0 h 19"/>
              <a:gd name="T14" fmla="*/ 10 w 10"/>
              <a:gd name="T15" fmla="*/ 19 h 19"/>
            </a:gdLst>
            <a:ahLst/>
            <a:cxnLst>
              <a:cxn ang="T8">
                <a:pos x="T0" y="T1"/>
              </a:cxn>
              <a:cxn ang="T9">
                <a:pos x="T2" y="T3"/>
              </a:cxn>
              <a:cxn ang="T10">
                <a:pos x="T4" y="T5"/>
              </a:cxn>
              <a:cxn ang="T11">
                <a:pos x="T6" y="T7"/>
              </a:cxn>
            </a:cxnLst>
            <a:rect l="T12" t="T13" r="T14" b="T15"/>
            <a:pathLst>
              <a:path w="10" h="19">
                <a:moveTo>
                  <a:pt x="0" y="0"/>
                </a:moveTo>
                <a:lnTo>
                  <a:pt x="10" y="19"/>
                </a:lnTo>
                <a:lnTo>
                  <a:pt x="2" y="12"/>
                </a:lnTo>
                <a:lnTo>
                  <a:pt x="0" y="0"/>
                </a:lnTo>
                <a:close/>
              </a:path>
            </a:pathLst>
          </a:custGeom>
          <a:solidFill>
            <a:schemeClr val="accent1"/>
          </a:solidFill>
          <a:ln w="6350">
            <a:solidFill>
              <a:schemeClr val="tx2"/>
            </a:solidFill>
            <a:round/>
            <a:headEnd/>
            <a:tailEnd/>
          </a:ln>
        </p:spPr>
        <p:txBody>
          <a:bodyPr/>
          <a:lstStyle/>
          <a:p>
            <a:endParaRPr lang="en-US"/>
          </a:p>
        </p:txBody>
      </p:sp>
      <p:sp>
        <p:nvSpPr>
          <p:cNvPr id="302" name="Freeform 1291"/>
          <p:cNvSpPr>
            <a:spLocks/>
          </p:cNvSpPr>
          <p:nvPr/>
        </p:nvSpPr>
        <p:spPr bwMode="auto">
          <a:xfrm>
            <a:off x="2734590" y="3309043"/>
            <a:ext cx="28667" cy="31842"/>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0 w 60"/>
              <a:gd name="T23" fmla="*/ 2147483647 h 74"/>
              <a:gd name="T24" fmla="*/ 2147483647 w 60"/>
              <a:gd name="T25" fmla="*/ 0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4"/>
              <a:gd name="T62" fmla="*/ 60 w 60"/>
              <a:gd name="T63" fmla="*/ 74 h 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4">
                <a:moveTo>
                  <a:pt x="46" y="9"/>
                </a:moveTo>
                <a:lnTo>
                  <a:pt x="56" y="2"/>
                </a:lnTo>
                <a:lnTo>
                  <a:pt x="60" y="13"/>
                </a:lnTo>
                <a:lnTo>
                  <a:pt x="51" y="58"/>
                </a:lnTo>
                <a:lnTo>
                  <a:pt x="46" y="69"/>
                </a:lnTo>
                <a:lnTo>
                  <a:pt x="37" y="64"/>
                </a:lnTo>
                <a:lnTo>
                  <a:pt x="32" y="74"/>
                </a:lnTo>
                <a:lnTo>
                  <a:pt x="25" y="57"/>
                </a:lnTo>
                <a:lnTo>
                  <a:pt x="31" y="56"/>
                </a:lnTo>
                <a:lnTo>
                  <a:pt x="30" y="50"/>
                </a:lnTo>
                <a:lnTo>
                  <a:pt x="11" y="41"/>
                </a:lnTo>
                <a:lnTo>
                  <a:pt x="0" y="16"/>
                </a:lnTo>
                <a:lnTo>
                  <a:pt x="1" y="0"/>
                </a:lnTo>
                <a:lnTo>
                  <a:pt x="21" y="2"/>
                </a:lnTo>
                <a:lnTo>
                  <a:pt x="19" y="16"/>
                </a:lnTo>
                <a:lnTo>
                  <a:pt x="33" y="3"/>
                </a:lnTo>
                <a:lnTo>
                  <a:pt x="38" y="25"/>
                </a:lnTo>
                <a:lnTo>
                  <a:pt x="20" y="36"/>
                </a:lnTo>
                <a:lnTo>
                  <a:pt x="33" y="41"/>
                </a:lnTo>
                <a:lnTo>
                  <a:pt x="46" y="9"/>
                </a:lnTo>
                <a:close/>
              </a:path>
            </a:pathLst>
          </a:custGeom>
          <a:solidFill>
            <a:schemeClr val="accent1"/>
          </a:solidFill>
          <a:ln w="6350">
            <a:solidFill>
              <a:schemeClr val="tx2"/>
            </a:solidFill>
            <a:round/>
            <a:headEnd/>
            <a:tailEnd/>
          </a:ln>
        </p:spPr>
        <p:txBody>
          <a:bodyPr/>
          <a:lstStyle/>
          <a:p>
            <a:endParaRPr lang="en-US"/>
          </a:p>
        </p:txBody>
      </p:sp>
      <p:sp>
        <p:nvSpPr>
          <p:cNvPr id="303" name="Freeform 1292"/>
          <p:cNvSpPr>
            <a:spLocks/>
          </p:cNvSpPr>
          <p:nvPr/>
        </p:nvSpPr>
        <p:spPr bwMode="auto">
          <a:xfrm>
            <a:off x="2748923" y="3337063"/>
            <a:ext cx="22933" cy="33115"/>
          </a:xfrm>
          <a:custGeom>
            <a:avLst/>
            <a:gdLst>
              <a:gd name="T0" fmla="*/ 2147483647 w 49"/>
              <a:gd name="T1" fmla="*/ 2147483647 h 78"/>
              <a:gd name="T2" fmla="*/ 2147483647 w 49"/>
              <a:gd name="T3" fmla="*/ 2147483647 h 78"/>
              <a:gd name="T4" fmla="*/ 2147483647 w 49"/>
              <a:gd name="T5" fmla="*/ 2147483647 h 78"/>
              <a:gd name="T6" fmla="*/ 2147483647 w 49"/>
              <a:gd name="T7" fmla="*/ 2147483647 h 78"/>
              <a:gd name="T8" fmla="*/ 2147483647 w 49"/>
              <a:gd name="T9" fmla="*/ 2147483647 h 78"/>
              <a:gd name="T10" fmla="*/ 0 w 49"/>
              <a:gd name="T11" fmla="*/ 2147483647 h 78"/>
              <a:gd name="T12" fmla="*/ 2147483647 w 49"/>
              <a:gd name="T13" fmla="*/ 0 h 78"/>
              <a:gd name="T14" fmla="*/ 2147483647 w 49"/>
              <a:gd name="T15" fmla="*/ 2147483647 h 78"/>
              <a:gd name="T16" fmla="*/ 2147483647 w 49"/>
              <a:gd name="T17" fmla="*/ 2147483647 h 78"/>
              <a:gd name="T18" fmla="*/ 2147483647 w 49"/>
              <a:gd name="T19" fmla="*/ 2147483647 h 78"/>
              <a:gd name="T20" fmla="*/ 2147483647 w 49"/>
              <a:gd name="T21" fmla="*/ 2147483647 h 78"/>
              <a:gd name="T22" fmla="*/ 2147483647 w 49"/>
              <a:gd name="T23" fmla="*/ 2147483647 h 78"/>
              <a:gd name="T24" fmla="*/ 2147483647 w 49"/>
              <a:gd name="T25" fmla="*/ 2147483647 h 78"/>
              <a:gd name="T26" fmla="*/ 2147483647 w 49"/>
              <a:gd name="T27" fmla="*/ 2147483647 h 78"/>
              <a:gd name="T28" fmla="*/ 2147483647 w 49"/>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78"/>
              <a:gd name="T47" fmla="*/ 49 w 49"/>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78">
                <a:moveTo>
                  <a:pt x="11" y="38"/>
                </a:moveTo>
                <a:lnTo>
                  <a:pt x="11" y="22"/>
                </a:lnTo>
                <a:lnTo>
                  <a:pt x="7" y="27"/>
                </a:lnTo>
                <a:lnTo>
                  <a:pt x="4" y="25"/>
                </a:lnTo>
                <a:lnTo>
                  <a:pt x="8" y="15"/>
                </a:lnTo>
                <a:lnTo>
                  <a:pt x="0" y="13"/>
                </a:lnTo>
                <a:lnTo>
                  <a:pt x="24" y="0"/>
                </a:lnTo>
                <a:lnTo>
                  <a:pt x="30" y="11"/>
                </a:lnTo>
                <a:lnTo>
                  <a:pt x="20" y="14"/>
                </a:lnTo>
                <a:lnTo>
                  <a:pt x="31" y="23"/>
                </a:lnTo>
                <a:lnTo>
                  <a:pt x="21" y="27"/>
                </a:lnTo>
                <a:lnTo>
                  <a:pt x="20" y="40"/>
                </a:lnTo>
                <a:lnTo>
                  <a:pt x="39" y="56"/>
                </a:lnTo>
                <a:lnTo>
                  <a:pt x="49" y="78"/>
                </a:lnTo>
                <a:lnTo>
                  <a:pt x="11" y="38"/>
                </a:lnTo>
                <a:close/>
              </a:path>
            </a:pathLst>
          </a:custGeom>
          <a:solidFill>
            <a:schemeClr val="accent1"/>
          </a:solidFill>
          <a:ln w="6350">
            <a:solidFill>
              <a:schemeClr val="tx2"/>
            </a:solidFill>
            <a:round/>
            <a:headEnd/>
            <a:tailEnd/>
          </a:ln>
        </p:spPr>
        <p:txBody>
          <a:bodyPr/>
          <a:lstStyle/>
          <a:p>
            <a:endParaRPr lang="en-US"/>
          </a:p>
        </p:txBody>
      </p:sp>
      <p:sp>
        <p:nvSpPr>
          <p:cNvPr id="304" name="Freeform 1293"/>
          <p:cNvSpPr>
            <a:spLocks/>
          </p:cNvSpPr>
          <p:nvPr/>
        </p:nvSpPr>
        <p:spPr bwMode="auto">
          <a:xfrm>
            <a:off x="2783324" y="3311590"/>
            <a:ext cx="8600" cy="7642"/>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solidFill>
            <a:schemeClr val="accent1"/>
          </a:solidFill>
          <a:ln w="6350">
            <a:solidFill>
              <a:schemeClr val="tx2"/>
            </a:solidFill>
            <a:round/>
            <a:headEnd/>
            <a:tailEnd/>
          </a:ln>
        </p:spPr>
        <p:txBody>
          <a:bodyPr/>
          <a:lstStyle/>
          <a:p>
            <a:endParaRPr lang="en-US"/>
          </a:p>
        </p:txBody>
      </p:sp>
      <p:sp>
        <p:nvSpPr>
          <p:cNvPr id="305" name="Freeform 1294"/>
          <p:cNvSpPr>
            <a:spLocks/>
          </p:cNvSpPr>
          <p:nvPr/>
        </p:nvSpPr>
        <p:spPr bwMode="auto">
          <a:xfrm>
            <a:off x="2786190" y="3325600"/>
            <a:ext cx="14334" cy="14011"/>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solidFill>
            <a:schemeClr val="accent1"/>
          </a:solidFill>
          <a:ln w="6350">
            <a:solidFill>
              <a:schemeClr val="tx2"/>
            </a:solidFill>
            <a:round/>
            <a:headEnd/>
            <a:tailEnd/>
          </a:ln>
        </p:spPr>
        <p:txBody>
          <a:bodyPr/>
          <a:lstStyle/>
          <a:p>
            <a:endParaRPr lang="en-US"/>
          </a:p>
        </p:txBody>
      </p:sp>
      <p:sp>
        <p:nvSpPr>
          <p:cNvPr id="306" name="Freeform 1295"/>
          <p:cNvSpPr>
            <a:spLocks/>
          </p:cNvSpPr>
          <p:nvPr/>
        </p:nvSpPr>
        <p:spPr bwMode="auto">
          <a:xfrm>
            <a:off x="2791924" y="3317958"/>
            <a:ext cx="17201" cy="21653"/>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solidFill>
            <a:schemeClr val="accent1"/>
          </a:solidFill>
          <a:ln w="6350">
            <a:solidFill>
              <a:schemeClr val="tx2"/>
            </a:solidFill>
            <a:round/>
            <a:headEnd/>
            <a:tailEnd/>
          </a:ln>
        </p:spPr>
        <p:txBody>
          <a:bodyPr/>
          <a:lstStyle/>
          <a:p>
            <a:endParaRPr lang="en-US"/>
          </a:p>
        </p:txBody>
      </p:sp>
      <p:sp>
        <p:nvSpPr>
          <p:cNvPr id="307" name="Freeform 1296"/>
          <p:cNvSpPr>
            <a:spLocks/>
          </p:cNvSpPr>
          <p:nvPr/>
        </p:nvSpPr>
        <p:spPr bwMode="auto">
          <a:xfrm>
            <a:off x="2813423" y="3349800"/>
            <a:ext cx="4300" cy="8915"/>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solidFill>
            <a:schemeClr val="accent1"/>
          </a:solidFill>
          <a:ln w="6350">
            <a:solidFill>
              <a:schemeClr val="tx2"/>
            </a:solidFill>
            <a:round/>
            <a:headEnd/>
            <a:tailEnd/>
          </a:ln>
        </p:spPr>
        <p:txBody>
          <a:bodyPr/>
          <a:lstStyle/>
          <a:p>
            <a:endParaRPr lang="en-US"/>
          </a:p>
        </p:txBody>
      </p:sp>
      <p:sp>
        <p:nvSpPr>
          <p:cNvPr id="308" name="Freeform 1297"/>
          <p:cNvSpPr>
            <a:spLocks/>
          </p:cNvSpPr>
          <p:nvPr/>
        </p:nvSpPr>
        <p:spPr bwMode="auto">
          <a:xfrm>
            <a:off x="1888920" y="3363809"/>
            <a:ext cx="14334" cy="8916"/>
          </a:xfrm>
          <a:custGeom>
            <a:avLst/>
            <a:gdLst>
              <a:gd name="T0" fmla="*/ 2147483647 w 27"/>
              <a:gd name="T1" fmla="*/ 0 h 20"/>
              <a:gd name="T2" fmla="*/ 2147483647 w 27"/>
              <a:gd name="T3" fmla="*/ 0 h 20"/>
              <a:gd name="T4" fmla="*/ 2147483647 w 27"/>
              <a:gd name="T5" fmla="*/ 2147483647 h 20"/>
              <a:gd name="T6" fmla="*/ 2147483647 w 27"/>
              <a:gd name="T7" fmla="*/ 2147483647 h 20"/>
              <a:gd name="T8" fmla="*/ 0 w 27"/>
              <a:gd name="T9" fmla="*/ 2147483647 h 20"/>
              <a:gd name="T10" fmla="*/ 2147483647 w 27"/>
              <a:gd name="T11" fmla="*/ 2147483647 h 20"/>
              <a:gd name="T12" fmla="*/ 2147483647 w 27"/>
              <a:gd name="T13" fmla="*/ 0 h 20"/>
              <a:gd name="T14" fmla="*/ 0 60000 65536"/>
              <a:gd name="T15" fmla="*/ 0 60000 65536"/>
              <a:gd name="T16" fmla="*/ 0 60000 65536"/>
              <a:gd name="T17" fmla="*/ 0 60000 65536"/>
              <a:gd name="T18" fmla="*/ 0 60000 65536"/>
              <a:gd name="T19" fmla="*/ 0 60000 65536"/>
              <a:gd name="T20" fmla="*/ 0 60000 65536"/>
              <a:gd name="T21" fmla="*/ 0 w 27"/>
              <a:gd name="T22" fmla="*/ 0 h 20"/>
              <a:gd name="T23" fmla="*/ 27 w 27"/>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20">
                <a:moveTo>
                  <a:pt x="16" y="0"/>
                </a:moveTo>
                <a:lnTo>
                  <a:pt x="25" y="0"/>
                </a:lnTo>
                <a:lnTo>
                  <a:pt x="27" y="8"/>
                </a:lnTo>
                <a:lnTo>
                  <a:pt x="17" y="20"/>
                </a:lnTo>
                <a:lnTo>
                  <a:pt x="0" y="20"/>
                </a:lnTo>
                <a:lnTo>
                  <a:pt x="15" y="9"/>
                </a:lnTo>
                <a:lnTo>
                  <a:pt x="16" y="0"/>
                </a:lnTo>
                <a:close/>
              </a:path>
            </a:pathLst>
          </a:custGeom>
          <a:solidFill>
            <a:schemeClr val="accent1"/>
          </a:solidFill>
          <a:ln w="6350">
            <a:solidFill>
              <a:schemeClr val="tx2"/>
            </a:solidFill>
            <a:round/>
            <a:headEnd/>
            <a:tailEnd/>
          </a:ln>
        </p:spPr>
        <p:txBody>
          <a:bodyPr/>
          <a:lstStyle/>
          <a:p>
            <a:endParaRPr lang="en-US"/>
          </a:p>
        </p:txBody>
      </p:sp>
      <p:sp>
        <p:nvSpPr>
          <p:cNvPr id="309" name="Freeform 1298"/>
          <p:cNvSpPr>
            <a:spLocks/>
          </p:cNvSpPr>
          <p:nvPr/>
        </p:nvSpPr>
        <p:spPr bwMode="auto">
          <a:xfrm>
            <a:off x="1903254" y="3371451"/>
            <a:ext cx="20066" cy="2547"/>
          </a:xfrm>
          <a:custGeom>
            <a:avLst/>
            <a:gdLst>
              <a:gd name="T0" fmla="*/ 0 w 39"/>
              <a:gd name="T1" fmla="*/ 0 h 7"/>
              <a:gd name="T2" fmla="*/ 2147483647 w 39"/>
              <a:gd name="T3" fmla="*/ 2147483647 h 7"/>
              <a:gd name="T4" fmla="*/ 2147483647 w 39"/>
              <a:gd name="T5" fmla="*/ 2147483647 h 7"/>
              <a:gd name="T6" fmla="*/ 0 w 39"/>
              <a:gd name="T7" fmla="*/ 0 h 7"/>
              <a:gd name="T8" fmla="*/ 0 60000 65536"/>
              <a:gd name="T9" fmla="*/ 0 60000 65536"/>
              <a:gd name="T10" fmla="*/ 0 60000 65536"/>
              <a:gd name="T11" fmla="*/ 0 60000 65536"/>
              <a:gd name="T12" fmla="*/ 0 w 39"/>
              <a:gd name="T13" fmla="*/ 0 h 7"/>
              <a:gd name="T14" fmla="*/ 39 w 39"/>
              <a:gd name="T15" fmla="*/ 7 h 7"/>
            </a:gdLst>
            <a:ahLst/>
            <a:cxnLst>
              <a:cxn ang="T8">
                <a:pos x="T0" y="T1"/>
              </a:cxn>
              <a:cxn ang="T9">
                <a:pos x="T2" y="T3"/>
              </a:cxn>
              <a:cxn ang="T10">
                <a:pos x="T4" y="T5"/>
              </a:cxn>
              <a:cxn ang="T11">
                <a:pos x="T6" y="T7"/>
              </a:cxn>
            </a:cxnLst>
            <a:rect l="T12" t="T13" r="T14" b="T15"/>
            <a:pathLst>
              <a:path w="39" h="7">
                <a:moveTo>
                  <a:pt x="0" y="0"/>
                </a:moveTo>
                <a:lnTo>
                  <a:pt x="39" y="5"/>
                </a:lnTo>
                <a:lnTo>
                  <a:pt x="16" y="7"/>
                </a:lnTo>
                <a:lnTo>
                  <a:pt x="0" y="0"/>
                </a:lnTo>
                <a:close/>
              </a:path>
            </a:pathLst>
          </a:custGeom>
          <a:solidFill>
            <a:schemeClr val="accent1"/>
          </a:solidFill>
          <a:ln w="6350">
            <a:solidFill>
              <a:schemeClr val="tx2"/>
            </a:solidFill>
            <a:round/>
            <a:headEnd/>
            <a:tailEnd/>
          </a:ln>
        </p:spPr>
        <p:txBody>
          <a:bodyPr/>
          <a:lstStyle/>
          <a:p>
            <a:endParaRPr lang="en-US"/>
          </a:p>
        </p:txBody>
      </p:sp>
      <p:sp>
        <p:nvSpPr>
          <p:cNvPr id="310" name="Freeform 1299"/>
          <p:cNvSpPr>
            <a:spLocks/>
          </p:cNvSpPr>
          <p:nvPr/>
        </p:nvSpPr>
        <p:spPr bwMode="auto">
          <a:xfrm>
            <a:off x="1931921" y="3363809"/>
            <a:ext cx="5734" cy="3821"/>
          </a:xfrm>
          <a:custGeom>
            <a:avLst/>
            <a:gdLst>
              <a:gd name="T0" fmla="*/ 2147483647 w 12"/>
              <a:gd name="T1" fmla="*/ 0 h 9"/>
              <a:gd name="T2" fmla="*/ 2147483647 w 12"/>
              <a:gd name="T3" fmla="*/ 2147483647 h 9"/>
              <a:gd name="T4" fmla="*/ 0 w 12"/>
              <a:gd name="T5" fmla="*/ 2147483647 h 9"/>
              <a:gd name="T6" fmla="*/ 2147483647 w 12"/>
              <a:gd name="T7" fmla="*/ 0 h 9"/>
              <a:gd name="T8" fmla="*/ 0 60000 65536"/>
              <a:gd name="T9" fmla="*/ 0 60000 65536"/>
              <a:gd name="T10" fmla="*/ 0 60000 65536"/>
              <a:gd name="T11" fmla="*/ 0 60000 65536"/>
              <a:gd name="T12" fmla="*/ 0 w 12"/>
              <a:gd name="T13" fmla="*/ 0 h 9"/>
              <a:gd name="T14" fmla="*/ 12 w 12"/>
              <a:gd name="T15" fmla="*/ 9 h 9"/>
            </a:gdLst>
            <a:ahLst/>
            <a:cxnLst>
              <a:cxn ang="T8">
                <a:pos x="T0" y="T1"/>
              </a:cxn>
              <a:cxn ang="T9">
                <a:pos x="T2" y="T3"/>
              </a:cxn>
              <a:cxn ang="T10">
                <a:pos x="T4" y="T5"/>
              </a:cxn>
              <a:cxn ang="T11">
                <a:pos x="T6" y="T7"/>
              </a:cxn>
            </a:cxnLst>
            <a:rect l="T12" t="T13" r="T14" b="T15"/>
            <a:pathLst>
              <a:path w="12" h="9">
                <a:moveTo>
                  <a:pt x="2" y="0"/>
                </a:moveTo>
                <a:lnTo>
                  <a:pt x="12" y="5"/>
                </a:lnTo>
                <a:lnTo>
                  <a:pt x="0" y="9"/>
                </a:lnTo>
                <a:lnTo>
                  <a:pt x="2" y="0"/>
                </a:lnTo>
                <a:close/>
              </a:path>
            </a:pathLst>
          </a:custGeom>
          <a:solidFill>
            <a:schemeClr val="accent1"/>
          </a:solidFill>
          <a:ln w="6350">
            <a:solidFill>
              <a:schemeClr val="tx2"/>
            </a:solidFill>
            <a:round/>
            <a:headEnd/>
            <a:tailEnd/>
          </a:ln>
        </p:spPr>
        <p:txBody>
          <a:bodyPr/>
          <a:lstStyle/>
          <a:p>
            <a:endParaRPr lang="en-US"/>
          </a:p>
        </p:txBody>
      </p:sp>
      <p:sp>
        <p:nvSpPr>
          <p:cNvPr id="311" name="Freeform 1300"/>
          <p:cNvSpPr>
            <a:spLocks/>
          </p:cNvSpPr>
          <p:nvPr/>
        </p:nvSpPr>
        <p:spPr bwMode="auto">
          <a:xfrm>
            <a:off x="2002154" y="3329421"/>
            <a:ext cx="25800" cy="22926"/>
          </a:xfrm>
          <a:custGeom>
            <a:avLst/>
            <a:gdLst>
              <a:gd name="T0" fmla="*/ 0 w 53"/>
              <a:gd name="T1" fmla="*/ 2147483647 h 53"/>
              <a:gd name="T2" fmla="*/ 2147483647 w 53"/>
              <a:gd name="T3" fmla="*/ 2147483647 h 53"/>
              <a:gd name="T4" fmla="*/ 2147483647 w 53"/>
              <a:gd name="T5" fmla="*/ 2147483647 h 53"/>
              <a:gd name="T6" fmla="*/ 2147483647 w 53"/>
              <a:gd name="T7" fmla="*/ 2147483647 h 53"/>
              <a:gd name="T8" fmla="*/ 2147483647 w 53"/>
              <a:gd name="T9" fmla="*/ 0 h 53"/>
              <a:gd name="T10" fmla="*/ 2147483647 w 53"/>
              <a:gd name="T11" fmla="*/ 2147483647 h 53"/>
              <a:gd name="T12" fmla="*/ 0 w 53"/>
              <a:gd name="T13" fmla="*/ 2147483647 h 53"/>
              <a:gd name="T14" fmla="*/ 0 60000 65536"/>
              <a:gd name="T15" fmla="*/ 0 60000 65536"/>
              <a:gd name="T16" fmla="*/ 0 60000 65536"/>
              <a:gd name="T17" fmla="*/ 0 60000 65536"/>
              <a:gd name="T18" fmla="*/ 0 60000 65536"/>
              <a:gd name="T19" fmla="*/ 0 60000 65536"/>
              <a:gd name="T20" fmla="*/ 0 60000 65536"/>
              <a:gd name="T21" fmla="*/ 0 w 53"/>
              <a:gd name="T22" fmla="*/ 0 h 53"/>
              <a:gd name="T23" fmla="*/ 53 w 53"/>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3">
                <a:moveTo>
                  <a:pt x="0" y="53"/>
                </a:moveTo>
                <a:lnTo>
                  <a:pt x="18" y="18"/>
                </a:lnTo>
                <a:lnTo>
                  <a:pt x="32" y="14"/>
                </a:lnTo>
                <a:lnTo>
                  <a:pt x="34" y="4"/>
                </a:lnTo>
                <a:lnTo>
                  <a:pt x="53" y="0"/>
                </a:lnTo>
                <a:lnTo>
                  <a:pt x="52" y="11"/>
                </a:lnTo>
                <a:lnTo>
                  <a:pt x="0" y="53"/>
                </a:lnTo>
                <a:close/>
              </a:path>
            </a:pathLst>
          </a:custGeom>
          <a:solidFill>
            <a:schemeClr val="accent1"/>
          </a:solidFill>
          <a:ln w="6350">
            <a:solidFill>
              <a:schemeClr val="tx2"/>
            </a:solidFill>
            <a:round/>
            <a:headEnd/>
            <a:tailEnd/>
          </a:ln>
        </p:spPr>
        <p:txBody>
          <a:bodyPr/>
          <a:lstStyle/>
          <a:p>
            <a:endParaRPr lang="en-US"/>
          </a:p>
        </p:txBody>
      </p:sp>
      <p:sp>
        <p:nvSpPr>
          <p:cNvPr id="312" name="Freeform 1301"/>
          <p:cNvSpPr>
            <a:spLocks/>
          </p:cNvSpPr>
          <p:nvPr/>
        </p:nvSpPr>
        <p:spPr bwMode="auto">
          <a:xfrm>
            <a:off x="2029387" y="3314137"/>
            <a:ext cx="28667" cy="21652"/>
          </a:xfrm>
          <a:custGeom>
            <a:avLst/>
            <a:gdLst>
              <a:gd name="T0" fmla="*/ 2147483647 w 61"/>
              <a:gd name="T1" fmla="*/ 2147483647 h 52"/>
              <a:gd name="T2" fmla="*/ 0 w 61"/>
              <a:gd name="T3" fmla="*/ 2147483647 h 52"/>
              <a:gd name="T4" fmla="*/ 2147483647 w 61"/>
              <a:gd name="T5" fmla="*/ 2147483647 h 52"/>
              <a:gd name="T6" fmla="*/ 2147483647 w 61"/>
              <a:gd name="T7" fmla="*/ 2147483647 h 52"/>
              <a:gd name="T8" fmla="*/ 2147483647 w 61"/>
              <a:gd name="T9" fmla="*/ 2147483647 h 52"/>
              <a:gd name="T10" fmla="*/ 2147483647 w 61"/>
              <a:gd name="T11" fmla="*/ 2147483647 h 52"/>
              <a:gd name="T12" fmla="*/ 2147483647 w 61"/>
              <a:gd name="T13" fmla="*/ 2147483647 h 52"/>
              <a:gd name="T14" fmla="*/ 2147483647 w 61"/>
              <a:gd name="T15" fmla="*/ 2147483647 h 52"/>
              <a:gd name="T16" fmla="*/ 2147483647 w 61"/>
              <a:gd name="T17" fmla="*/ 2147483647 h 52"/>
              <a:gd name="T18" fmla="*/ 2147483647 w 61"/>
              <a:gd name="T19" fmla="*/ 0 h 52"/>
              <a:gd name="T20" fmla="*/ 2147483647 w 61"/>
              <a:gd name="T21" fmla="*/ 2147483647 h 52"/>
              <a:gd name="T22" fmla="*/ 2147483647 w 61"/>
              <a:gd name="T23" fmla="*/ 2147483647 h 52"/>
              <a:gd name="T24" fmla="*/ 2147483647 w 61"/>
              <a:gd name="T25" fmla="*/ 2147483647 h 52"/>
              <a:gd name="T26" fmla="*/ 2147483647 w 61"/>
              <a:gd name="T27" fmla="*/ 2147483647 h 52"/>
              <a:gd name="T28" fmla="*/ 2147483647 w 61"/>
              <a:gd name="T29" fmla="*/ 21474836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1"/>
              <a:gd name="T46" fmla="*/ 0 h 52"/>
              <a:gd name="T47" fmla="*/ 61 w 61"/>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1" h="52">
                <a:moveTo>
                  <a:pt x="3" y="52"/>
                </a:moveTo>
                <a:lnTo>
                  <a:pt x="0" y="47"/>
                </a:lnTo>
                <a:lnTo>
                  <a:pt x="18" y="42"/>
                </a:lnTo>
                <a:lnTo>
                  <a:pt x="29" y="22"/>
                </a:lnTo>
                <a:lnTo>
                  <a:pt x="39" y="22"/>
                </a:lnTo>
                <a:lnTo>
                  <a:pt x="32" y="19"/>
                </a:lnTo>
                <a:lnTo>
                  <a:pt x="28" y="7"/>
                </a:lnTo>
                <a:lnTo>
                  <a:pt x="41" y="2"/>
                </a:lnTo>
                <a:lnTo>
                  <a:pt x="48" y="11"/>
                </a:lnTo>
                <a:lnTo>
                  <a:pt x="56" y="0"/>
                </a:lnTo>
                <a:lnTo>
                  <a:pt x="61" y="5"/>
                </a:lnTo>
                <a:lnTo>
                  <a:pt x="52" y="22"/>
                </a:lnTo>
                <a:lnTo>
                  <a:pt x="57" y="25"/>
                </a:lnTo>
                <a:lnTo>
                  <a:pt x="40" y="40"/>
                </a:lnTo>
                <a:lnTo>
                  <a:pt x="3" y="52"/>
                </a:lnTo>
                <a:close/>
              </a:path>
            </a:pathLst>
          </a:custGeom>
          <a:solidFill>
            <a:schemeClr val="accent1"/>
          </a:solidFill>
          <a:ln w="6350">
            <a:solidFill>
              <a:schemeClr val="tx2"/>
            </a:solidFill>
            <a:round/>
            <a:headEnd/>
            <a:tailEnd/>
          </a:ln>
        </p:spPr>
        <p:txBody>
          <a:bodyPr/>
          <a:lstStyle/>
          <a:p>
            <a:endParaRPr lang="en-US"/>
          </a:p>
        </p:txBody>
      </p:sp>
      <p:sp>
        <p:nvSpPr>
          <p:cNvPr id="313" name="Freeform 1302"/>
          <p:cNvSpPr>
            <a:spLocks/>
          </p:cNvSpPr>
          <p:nvPr/>
        </p:nvSpPr>
        <p:spPr bwMode="auto">
          <a:xfrm>
            <a:off x="2063787" y="3307768"/>
            <a:ext cx="5734" cy="5095"/>
          </a:xfrm>
          <a:custGeom>
            <a:avLst/>
            <a:gdLst>
              <a:gd name="T0" fmla="*/ 2147483647 w 14"/>
              <a:gd name="T1" fmla="*/ 0 h 14"/>
              <a:gd name="T2" fmla="*/ 2147483647 w 14"/>
              <a:gd name="T3" fmla="*/ 2147483647 h 14"/>
              <a:gd name="T4" fmla="*/ 2147483647 w 14"/>
              <a:gd name="T5" fmla="*/ 2147483647 h 14"/>
              <a:gd name="T6" fmla="*/ 0 w 14"/>
              <a:gd name="T7" fmla="*/ 2147483647 h 14"/>
              <a:gd name="T8" fmla="*/ 2147483647 w 14"/>
              <a:gd name="T9" fmla="*/ 0 h 14"/>
              <a:gd name="T10" fmla="*/ 0 60000 65536"/>
              <a:gd name="T11" fmla="*/ 0 60000 65536"/>
              <a:gd name="T12" fmla="*/ 0 60000 65536"/>
              <a:gd name="T13" fmla="*/ 0 60000 65536"/>
              <a:gd name="T14" fmla="*/ 0 60000 65536"/>
              <a:gd name="T15" fmla="*/ 0 w 14"/>
              <a:gd name="T16" fmla="*/ 0 h 14"/>
              <a:gd name="T17" fmla="*/ 14 w 14"/>
              <a:gd name="T18" fmla="*/ 14 h 14"/>
            </a:gdLst>
            <a:ahLst/>
            <a:cxnLst>
              <a:cxn ang="T10">
                <a:pos x="T0" y="T1"/>
              </a:cxn>
              <a:cxn ang="T11">
                <a:pos x="T2" y="T3"/>
              </a:cxn>
              <a:cxn ang="T12">
                <a:pos x="T4" y="T5"/>
              </a:cxn>
              <a:cxn ang="T13">
                <a:pos x="T6" y="T7"/>
              </a:cxn>
              <a:cxn ang="T14">
                <a:pos x="T8" y="T9"/>
              </a:cxn>
            </a:cxnLst>
            <a:rect l="T15" t="T16" r="T17" b="T18"/>
            <a:pathLst>
              <a:path w="14" h="14">
                <a:moveTo>
                  <a:pt x="4" y="0"/>
                </a:moveTo>
                <a:lnTo>
                  <a:pt x="14" y="10"/>
                </a:lnTo>
                <a:lnTo>
                  <a:pt x="1" y="14"/>
                </a:lnTo>
                <a:lnTo>
                  <a:pt x="0" y="3"/>
                </a:lnTo>
                <a:lnTo>
                  <a:pt x="4" y="0"/>
                </a:lnTo>
                <a:close/>
              </a:path>
            </a:pathLst>
          </a:custGeom>
          <a:solidFill>
            <a:schemeClr val="accent1"/>
          </a:solidFill>
          <a:ln w="6350">
            <a:solidFill>
              <a:schemeClr val="tx2"/>
            </a:solidFill>
            <a:round/>
            <a:headEnd/>
            <a:tailEnd/>
          </a:ln>
        </p:spPr>
        <p:txBody>
          <a:bodyPr/>
          <a:lstStyle/>
          <a:p>
            <a:endParaRPr lang="en-US"/>
          </a:p>
        </p:txBody>
      </p:sp>
      <p:sp>
        <p:nvSpPr>
          <p:cNvPr id="314" name="Freeform 1303"/>
          <p:cNvSpPr>
            <a:spLocks/>
          </p:cNvSpPr>
          <p:nvPr/>
        </p:nvSpPr>
        <p:spPr bwMode="auto">
          <a:xfrm>
            <a:off x="2132588" y="3301401"/>
            <a:ext cx="2866" cy="1273"/>
          </a:xfrm>
          <a:custGeom>
            <a:avLst/>
            <a:gdLst>
              <a:gd name="T0" fmla="*/ 0 w 9"/>
              <a:gd name="T1" fmla="*/ 0 h 3"/>
              <a:gd name="T2" fmla="*/ 2147483647 w 9"/>
              <a:gd name="T3" fmla="*/ 2147483647 h 3"/>
              <a:gd name="T4" fmla="*/ 0 w 9"/>
              <a:gd name="T5" fmla="*/ 0 h 3"/>
              <a:gd name="T6" fmla="*/ 0 60000 65536"/>
              <a:gd name="T7" fmla="*/ 0 60000 65536"/>
              <a:gd name="T8" fmla="*/ 0 60000 65536"/>
              <a:gd name="T9" fmla="*/ 0 w 9"/>
              <a:gd name="T10" fmla="*/ 0 h 3"/>
              <a:gd name="T11" fmla="*/ 9 w 9"/>
              <a:gd name="T12" fmla="*/ 3 h 3"/>
            </a:gdLst>
            <a:ahLst/>
            <a:cxnLst>
              <a:cxn ang="T6">
                <a:pos x="T0" y="T1"/>
              </a:cxn>
              <a:cxn ang="T7">
                <a:pos x="T2" y="T3"/>
              </a:cxn>
              <a:cxn ang="T8">
                <a:pos x="T4" y="T5"/>
              </a:cxn>
            </a:cxnLst>
            <a:rect l="T9" t="T10" r="T11" b="T12"/>
            <a:pathLst>
              <a:path w="9" h="3">
                <a:moveTo>
                  <a:pt x="0" y="0"/>
                </a:moveTo>
                <a:lnTo>
                  <a:pt x="9" y="3"/>
                </a:lnTo>
                <a:lnTo>
                  <a:pt x="0" y="0"/>
                </a:lnTo>
                <a:close/>
              </a:path>
            </a:pathLst>
          </a:custGeom>
          <a:solidFill>
            <a:schemeClr val="accent1"/>
          </a:solidFill>
          <a:ln w="6350">
            <a:solidFill>
              <a:schemeClr val="tx2"/>
            </a:solidFill>
            <a:round/>
            <a:headEnd/>
            <a:tailEnd/>
          </a:ln>
        </p:spPr>
        <p:txBody>
          <a:bodyPr/>
          <a:lstStyle/>
          <a:p>
            <a:endParaRPr lang="en-US"/>
          </a:p>
        </p:txBody>
      </p:sp>
      <p:sp>
        <p:nvSpPr>
          <p:cNvPr id="315" name="Freeform 1304"/>
          <p:cNvSpPr>
            <a:spLocks/>
          </p:cNvSpPr>
          <p:nvPr/>
        </p:nvSpPr>
        <p:spPr bwMode="auto">
          <a:xfrm>
            <a:off x="2172722" y="3270833"/>
            <a:ext cx="2866" cy="7642"/>
          </a:xfrm>
          <a:custGeom>
            <a:avLst/>
            <a:gdLst>
              <a:gd name="T0" fmla="*/ 2147483647 w 12"/>
              <a:gd name="T1" fmla="*/ 2147483647 h 17"/>
              <a:gd name="T2" fmla="*/ 2147483647 w 12"/>
              <a:gd name="T3" fmla="*/ 0 h 17"/>
              <a:gd name="T4" fmla="*/ 2147483647 w 12"/>
              <a:gd name="T5" fmla="*/ 2147483647 h 17"/>
              <a:gd name="T6" fmla="*/ 2147483647 w 12"/>
              <a:gd name="T7" fmla="*/ 2147483647 h 17"/>
              <a:gd name="T8" fmla="*/ 2147483647 w 12"/>
              <a:gd name="T9" fmla="*/ 2147483647 h 17"/>
              <a:gd name="T10" fmla="*/ 0 w 12"/>
              <a:gd name="T11" fmla="*/ 2147483647 h 17"/>
              <a:gd name="T12" fmla="*/ 2147483647 w 12"/>
              <a:gd name="T13" fmla="*/ 2147483647 h 17"/>
              <a:gd name="T14" fmla="*/ 0 60000 65536"/>
              <a:gd name="T15" fmla="*/ 0 60000 65536"/>
              <a:gd name="T16" fmla="*/ 0 60000 65536"/>
              <a:gd name="T17" fmla="*/ 0 60000 65536"/>
              <a:gd name="T18" fmla="*/ 0 60000 65536"/>
              <a:gd name="T19" fmla="*/ 0 60000 65536"/>
              <a:gd name="T20" fmla="*/ 0 60000 65536"/>
              <a:gd name="T21" fmla="*/ 0 w 12"/>
              <a:gd name="T22" fmla="*/ 0 h 17"/>
              <a:gd name="T23" fmla="*/ 12 w 1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7">
                <a:moveTo>
                  <a:pt x="8" y="5"/>
                </a:moveTo>
                <a:lnTo>
                  <a:pt x="4" y="0"/>
                </a:lnTo>
                <a:lnTo>
                  <a:pt x="11" y="3"/>
                </a:lnTo>
                <a:lnTo>
                  <a:pt x="12" y="17"/>
                </a:lnTo>
                <a:lnTo>
                  <a:pt x="2" y="17"/>
                </a:lnTo>
                <a:lnTo>
                  <a:pt x="0" y="2"/>
                </a:lnTo>
                <a:lnTo>
                  <a:pt x="8" y="5"/>
                </a:lnTo>
                <a:close/>
              </a:path>
            </a:pathLst>
          </a:custGeom>
          <a:solidFill>
            <a:schemeClr val="accent1"/>
          </a:solidFill>
          <a:ln w="6350">
            <a:solidFill>
              <a:schemeClr val="tx2"/>
            </a:solidFill>
            <a:round/>
            <a:headEnd/>
            <a:tailEnd/>
          </a:ln>
        </p:spPr>
        <p:txBody>
          <a:bodyPr/>
          <a:lstStyle/>
          <a:p>
            <a:endParaRPr lang="en-US"/>
          </a:p>
        </p:txBody>
      </p:sp>
      <p:sp>
        <p:nvSpPr>
          <p:cNvPr id="316" name="Freeform 1305"/>
          <p:cNvSpPr>
            <a:spLocks/>
          </p:cNvSpPr>
          <p:nvPr/>
        </p:nvSpPr>
        <p:spPr bwMode="auto">
          <a:xfrm>
            <a:off x="2297421" y="3233896"/>
            <a:ext cx="4300" cy="5095"/>
          </a:xfrm>
          <a:custGeom>
            <a:avLst/>
            <a:gdLst>
              <a:gd name="T0" fmla="*/ 0 w 7"/>
              <a:gd name="T1" fmla="*/ 2147483647 h 14"/>
              <a:gd name="T2" fmla="*/ 2147483647 w 7"/>
              <a:gd name="T3" fmla="*/ 0 h 14"/>
              <a:gd name="T4" fmla="*/ 2147483647 w 7"/>
              <a:gd name="T5" fmla="*/ 2147483647 h 14"/>
              <a:gd name="T6" fmla="*/ 0 w 7"/>
              <a:gd name="T7" fmla="*/ 2147483647 h 14"/>
              <a:gd name="T8" fmla="*/ 0 w 7"/>
              <a:gd name="T9" fmla="*/ 2147483647 h 14"/>
              <a:gd name="T10" fmla="*/ 0 60000 65536"/>
              <a:gd name="T11" fmla="*/ 0 60000 65536"/>
              <a:gd name="T12" fmla="*/ 0 60000 65536"/>
              <a:gd name="T13" fmla="*/ 0 60000 65536"/>
              <a:gd name="T14" fmla="*/ 0 60000 65536"/>
              <a:gd name="T15" fmla="*/ 0 w 7"/>
              <a:gd name="T16" fmla="*/ 0 h 14"/>
              <a:gd name="T17" fmla="*/ 7 w 7"/>
              <a:gd name="T18" fmla="*/ 14 h 14"/>
            </a:gdLst>
            <a:ahLst/>
            <a:cxnLst>
              <a:cxn ang="T10">
                <a:pos x="T0" y="T1"/>
              </a:cxn>
              <a:cxn ang="T11">
                <a:pos x="T2" y="T3"/>
              </a:cxn>
              <a:cxn ang="T12">
                <a:pos x="T4" y="T5"/>
              </a:cxn>
              <a:cxn ang="T13">
                <a:pos x="T6" y="T7"/>
              </a:cxn>
              <a:cxn ang="T14">
                <a:pos x="T8" y="T9"/>
              </a:cxn>
            </a:cxnLst>
            <a:rect l="T15" t="T16" r="T17" b="T18"/>
            <a:pathLst>
              <a:path w="7" h="14">
                <a:moveTo>
                  <a:pt x="0" y="4"/>
                </a:moveTo>
                <a:lnTo>
                  <a:pt x="6" y="0"/>
                </a:lnTo>
                <a:lnTo>
                  <a:pt x="7" y="6"/>
                </a:lnTo>
                <a:lnTo>
                  <a:pt x="0" y="14"/>
                </a:lnTo>
                <a:lnTo>
                  <a:pt x="0" y="4"/>
                </a:lnTo>
                <a:close/>
              </a:path>
            </a:pathLst>
          </a:custGeom>
          <a:solidFill>
            <a:schemeClr val="accent1"/>
          </a:solidFill>
          <a:ln w="6350">
            <a:solidFill>
              <a:schemeClr val="tx2"/>
            </a:solidFill>
            <a:round/>
            <a:headEnd/>
            <a:tailEnd/>
          </a:ln>
        </p:spPr>
        <p:txBody>
          <a:bodyPr/>
          <a:lstStyle/>
          <a:p>
            <a:endParaRPr lang="en-US"/>
          </a:p>
        </p:txBody>
      </p:sp>
      <p:sp>
        <p:nvSpPr>
          <p:cNvPr id="317" name="Freeform 1306"/>
          <p:cNvSpPr>
            <a:spLocks/>
          </p:cNvSpPr>
          <p:nvPr/>
        </p:nvSpPr>
        <p:spPr bwMode="auto">
          <a:xfrm>
            <a:off x="2304588" y="3233896"/>
            <a:ext cx="2866" cy="2547"/>
          </a:xfrm>
          <a:custGeom>
            <a:avLst/>
            <a:gdLst>
              <a:gd name="T0" fmla="*/ 2147483647 w 5"/>
              <a:gd name="T1" fmla="*/ 2147483647 h 6"/>
              <a:gd name="T2" fmla="*/ 0 w 5"/>
              <a:gd name="T3" fmla="*/ 2147483647 h 6"/>
              <a:gd name="T4" fmla="*/ 2147483647 w 5"/>
              <a:gd name="T5" fmla="*/ 0 h 6"/>
              <a:gd name="T6" fmla="*/ 2147483647 w 5"/>
              <a:gd name="T7" fmla="*/ 2147483647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5" y="6"/>
                </a:moveTo>
                <a:lnTo>
                  <a:pt x="0" y="6"/>
                </a:lnTo>
                <a:lnTo>
                  <a:pt x="5" y="0"/>
                </a:lnTo>
                <a:lnTo>
                  <a:pt x="5" y="6"/>
                </a:lnTo>
                <a:close/>
              </a:path>
            </a:pathLst>
          </a:custGeom>
          <a:solidFill>
            <a:schemeClr val="accent1"/>
          </a:solidFill>
          <a:ln w="6350">
            <a:solidFill>
              <a:schemeClr val="tx2"/>
            </a:solidFill>
            <a:round/>
            <a:headEnd/>
            <a:tailEnd/>
          </a:ln>
        </p:spPr>
        <p:txBody>
          <a:bodyPr/>
          <a:lstStyle/>
          <a:p>
            <a:endParaRPr lang="en-US"/>
          </a:p>
        </p:txBody>
      </p:sp>
      <p:sp>
        <p:nvSpPr>
          <p:cNvPr id="318" name="Freeform 1307"/>
          <p:cNvSpPr>
            <a:spLocks/>
          </p:cNvSpPr>
          <p:nvPr/>
        </p:nvSpPr>
        <p:spPr bwMode="auto">
          <a:xfrm>
            <a:off x="2293122" y="3188044"/>
            <a:ext cx="51600" cy="39484"/>
          </a:xfrm>
          <a:custGeom>
            <a:avLst/>
            <a:gdLst>
              <a:gd name="T0" fmla="*/ 0 w 111"/>
              <a:gd name="T1" fmla="*/ 2147483647 h 92"/>
              <a:gd name="T2" fmla="*/ 2147483647 w 111"/>
              <a:gd name="T3" fmla="*/ 2147483647 h 92"/>
              <a:gd name="T4" fmla="*/ 2147483647 w 111"/>
              <a:gd name="T5" fmla="*/ 2147483647 h 92"/>
              <a:gd name="T6" fmla="*/ 2147483647 w 111"/>
              <a:gd name="T7" fmla="*/ 2147483647 h 92"/>
              <a:gd name="T8" fmla="*/ 2147483647 w 111"/>
              <a:gd name="T9" fmla="*/ 2147483647 h 92"/>
              <a:gd name="T10" fmla="*/ 2147483647 w 111"/>
              <a:gd name="T11" fmla="*/ 2147483647 h 92"/>
              <a:gd name="T12" fmla="*/ 2147483647 w 111"/>
              <a:gd name="T13" fmla="*/ 2147483647 h 92"/>
              <a:gd name="T14" fmla="*/ 2147483647 w 111"/>
              <a:gd name="T15" fmla="*/ 2147483647 h 92"/>
              <a:gd name="T16" fmla="*/ 2147483647 w 111"/>
              <a:gd name="T17" fmla="*/ 2147483647 h 92"/>
              <a:gd name="T18" fmla="*/ 2147483647 w 111"/>
              <a:gd name="T19" fmla="*/ 2147483647 h 92"/>
              <a:gd name="T20" fmla="*/ 2147483647 w 111"/>
              <a:gd name="T21" fmla="*/ 2147483647 h 92"/>
              <a:gd name="T22" fmla="*/ 2147483647 w 111"/>
              <a:gd name="T23" fmla="*/ 2147483647 h 92"/>
              <a:gd name="T24" fmla="*/ 2147483647 w 111"/>
              <a:gd name="T25" fmla="*/ 2147483647 h 92"/>
              <a:gd name="T26" fmla="*/ 2147483647 w 111"/>
              <a:gd name="T27" fmla="*/ 2147483647 h 92"/>
              <a:gd name="T28" fmla="*/ 2147483647 w 111"/>
              <a:gd name="T29" fmla="*/ 0 h 92"/>
              <a:gd name="T30" fmla="*/ 2147483647 w 111"/>
              <a:gd name="T31" fmla="*/ 2147483647 h 92"/>
              <a:gd name="T32" fmla="*/ 2147483647 w 111"/>
              <a:gd name="T33" fmla="*/ 2147483647 h 92"/>
              <a:gd name="T34" fmla="*/ 2147483647 w 111"/>
              <a:gd name="T35" fmla="*/ 2147483647 h 92"/>
              <a:gd name="T36" fmla="*/ 2147483647 w 111"/>
              <a:gd name="T37" fmla="*/ 2147483647 h 92"/>
              <a:gd name="T38" fmla="*/ 2147483647 w 111"/>
              <a:gd name="T39" fmla="*/ 2147483647 h 92"/>
              <a:gd name="T40" fmla="*/ 2147483647 w 111"/>
              <a:gd name="T41" fmla="*/ 2147483647 h 92"/>
              <a:gd name="T42" fmla="*/ 2147483647 w 111"/>
              <a:gd name="T43" fmla="*/ 2147483647 h 92"/>
              <a:gd name="T44" fmla="*/ 2147483647 w 111"/>
              <a:gd name="T45" fmla="*/ 2147483647 h 92"/>
              <a:gd name="T46" fmla="*/ 2147483647 w 111"/>
              <a:gd name="T47" fmla="*/ 2147483647 h 92"/>
              <a:gd name="T48" fmla="*/ 2147483647 w 111"/>
              <a:gd name="T49" fmla="*/ 2147483647 h 92"/>
              <a:gd name="T50" fmla="*/ 2147483647 w 111"/>
              <a:gd name="T51" fmla="*/ 2147483647 h 92"/>
              <a:gd name="T52" fmla="*/ 2147483647 w 111"/>
              <a:gd name="T53" fmla="*/ 2147483647 h 92"/>
              <a:gd name="T54" fmla="*/ 2147483647 w 111"/>
              <a:gd name="T55" fmla="*/ 2147483647 h 92"/>
              <a:gd name="T56" fmla="*/ 2147483647 w 111"/>
              <a:gd name="T57" fmla="*/ 2147483647 h 92"/>
              <a:gd name="T58" fmla="*/ 2147483647 w 111"/>
              <a:gd name="T59" fmla="*/ 2147483647 h 92"/>
              <a:gd name="T60" fmla="*/ 2147483647 w 111"/>
              <a:gd name="T61" fmla="*/ 2147483647 h 92"/>
              <a:gd name="T62" fmla="*/ 2147483647 w 111"/>
              <a:gd name="T63" fmla="*/ 2147483647 h 92"/>
              <a:gd name="T64" fmla="*/ 2147483647 w 111"/>
              <a:gd name="T65" fmla="*/ 2147483647 h 92"/>
              <a:gd name="T66" fmla="*/ 2147483647 w 111"/>
              <a:gd name="T67" fmla="*/ 2147483647 h 92"/>
              <a:gd name="T68" fmla="*/ 2147483647 w 111"/>
              <a:gd name="T69" fmla="*/ 2147483647 h 92"/>
              <a:gd name="T70" fmla="*/ 2147483647 w 111"/>
              <a:gd name="T71" fmla="*/ 2147483647 h 92"/>
              <a:gd name="T72" fmla="*/ 2147483647 w 111"/>
              <a:gd name="T73" fmla="*/ 2147483647 h 92"/>
              <a:gd name="T74" fmla="*/ 0 w 111"/>
              <a:gd name="T75" fmla="*/ 214748364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1"/>
              <a:gd name="T115" fmla="*/ 0 h 92"/>
              <a:gd name="T116" fmla="*/ 111 w 111"/>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1" h="92">
                <a:moveTo>
                  <a:pt x="0" y="47"/>
                </a:moveTo>
                <a:lnTo>
                  <a:pt x="14" y="27"/>
                </a:lnTo>
                <a:lnTo>
                  <a:pt x="28" y="24"/>
                </a:lnTo>
                <a:lnTo>
                  <a:pt x="32" y="24"/>
                </a:lnTo>
                <a:lnTo>
                  <a:pt x="28" y="31"/>
                </a:lnTo>
                <a:lnTo>
                  <a:pt x="35" y="41"/>
                </a:lnTo>
                <a:lnTo>
                  <a:pt x="41" y="43"/>
                </a:lnTo>
                <a:lnTo>
                  <a:pt x="42" y="28"/>
                </a:lnTo>
                <a:lnTo>
                  <a:pt x="46" y="26"/>
                </a:lnTo>
                <a:lnTo>
                  <a:pt x="37" y="13"/>
                </a:lnTo>
                <a:lnTo>
                  <a:pt x="39" y="5"/>
                </a:lnTo>
                <a:lnTo>
                  <a:pt x="45" y="4"/>
                </a:lnTo>
                <a:lnTo>
                  <a:pt x="53" y="20"/>
                </a:lnTo>
                <a:lnTo>
                  <a:pt x="71" y="8"/>
                </a:lnTo>
                <a:lnTo>
                  <a:pt x="68" y="0"/>
                </a:lnTo>
                <a:lnTo>
                  <a:pt x="80" y="2"/>
                </a:lnTo>
                <a:lnTo>
                  <a:pt x="83" y="14"/>
                </a:lnTo>
                <a:lnTo>
                  <a:pt x="96" y="3"/>
                </a:lnTo>
                <a:lnTo>
                  <a:pt x="97" y="28"/>
                </a:lnTo>
                <a:lnTo>
                  <a:pt x="111" y="28"/>
                </a:lnTo>
                <a:lnTo>
                  <a:pt x="105" y="39"/>
                </a:lnTo>
                <a:lnTo>
                  <a:pt x="79" y="33"/>
                </a:lnTo>
                <a:lnTo>
                  <a:pt x="77" y="39"/>
                </a:lnTo>
                <a:lnTo>
                  <a:pt x="90" y="42"/>
                </a:lnTo>
                <a:lnTo>
                  <a:pt x="92" y="52"/>
                </a:lnTo>
                <a:lnTo>
                  <a:pt x="85" y="45"/>
                </a:lnTo>
                <a:lnTo>
                  <a:pt x="71" y="51"/>
                </a:lnTo>
                <a:lnTo>
                  <a:pt x="76" y="54"/>
                </a:lnTo>
                <a:lnTo>
                  <a:pt x="49" y="68"/>
                </a:lnTo>
                <a:lnTo>
                  <a:pt x="46" y="86"/>
                </a:lnTo>
                <a:lnTo>
                  <a:pt x="31" y="92"/>
                </a:lnTo>
                <a:lnTo>
                  <a:pt x="39" y="79"/>
                </a:lnTo>
                <a:lnTo>
                  <a:pt x="32" y="74"/>
                </a:lnTo>
                <a:lnTo>
                  <a:pt x="32" y="65"/>
                </a:lnTo>
                <a:lnTo>
                  <a:pt x="25" y="66"/>
                </a:lnTo>
                <a:lnTo>
                  <a:pt x="26" y="80"/>
                </a:lnTo>
                <a:lnTo>
                  <a:pt x="21" y="83"/>
                </a:lnTo>
                <a:lnTo>
                  <a:pt x="0" y="47"/>
                </a:lnTo>
                <a:close/>
              </a:path>
            </a:pathLst>
          </a:custGeom>
          <a:solidFill>
            <a:schemeClr val="accent1"/>
          </a:solidFill>
          <a:ln w="6350">
            <a:solidFill>
              <a:schemeClr val="tx2"/>
            </a:solidFill>
            <a:round/>
            <a:headEnd/>
            <a:tailEnd/>
          </a:ln>
        </p:spPr>
        <p:txBody>
          <a:bodyPr/>
          <a:lstStyle/>
          <a:p>
            <a:endParaRPr lang="en-US"/>
          </a:p>
        </p:txBody>
      </p:sp>
      <p:sp>
        <p:nvSpPr>
          <p:cNvPr id="319" name="Freeform 1308"/>
          <p:cNvSpPr>
            <a:spLocks/>
          </p:cNvSpPr>
          <p:nvPr/>
        </p:nvSpPr>
        <p:spPr bwMode="auto">
          <a:xfrm>
            <a:off x="2327522" y="3171487"/>
            <a:ext cx="20066" cy="12737"/>
          </a:xfrm>
          <a:custGeom>
            <a:avLst/>
            <a:gdLst>
              <a:gd name="T0" fmla="*/ 2147483647 w 46"/>
              <a:gd name="T1" fmla="*/ 2147483647 h 32"/>
              <a:gd name="T2" fmla="*/ 2147483647 w 46"/>
              <a:gd name="T3" fmla="*/ 2147483647 h 32"/>
              <a:gd name="T4" fmla="*/ 2147483647 w 46"/>
              <a:gd name="T5" fmla="*/ 2147483647 h 32"/>
              <a:gd name="T6" fmla="*/ 2147483647 w 46"/>
              <a:gd name="T7" fmla="*/ 0 h 32"/>
              <a:gd name="T8" fmla="*/ 2147483647 w 46"/>
              <a:gd name="T9" fmla="*/ 2147483647 h 32"/>
              <a:gd name="T10" fmla="*/ 2147483647 w 46"/>
              <a:gd name="T11" fmla="*/ 2147483647 h 32"/>
              <a:gd name="T12" fmla="*/ 2147483647 w 46"/>
              <a:gd name="T13" fmla="*/ 2147483647 h 32"/>
              <a:gd name="T14" fmla="*/ 2147483647 w 46"/>
              <a:gd name="T15" fmla="*/ 2147483647 h 32"/>
              <a:gd name="T16" fmla="*/ 0 w 46"/>
              <a:gd name="T17" fmla="*/ 2147483647 h 32"/>
              <a:gd name="T18" fmla="*/ 2147483647 w 46"/>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32"/>
              <a:gd name="T32" fmla="*/ 46 w 46"/>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32">
                <a:moveTo>
                  <a:pt x="19" y="14"/>
                </a:moveTo>
                <a:lnTo>
                  <a:pt x="11" y="9"/>
                </a:lnTo>
                <a:lnTo>
                  <a:pt x="17" y="2"/>
                </a:lnTo>
                <a:lnTo>
                  <a:pt x="36" y="0"/>
                </a:lnTo>
                <a:lnTo>
                  <a:pt x="33" y="9"/>
                </a:lnTo>
                <a:lnTo>
                  <a:pt x="42" y="5"/>
                </a:lnTo>
                <a:lnTo>
                  <a:pt x="46" y="20"/>
                </a:lnTo>
                <a:lnTo>
                  <a:pt x="11" y="32"/>
                </a:lnTo>
                <a:lnTo>
                  <a:pt x="0" y="21"/>
                </a:lnTo>
                <a:lnTo>
                  <a:pt x="19" y="14"/>
                </a:lnTo>
                <a:close/>
              </a:path>
            </a:pathLst>
          </a:custGeom>
          <a:solidFill>
            <a:schemeClr val="accent1"/>
          </a:solidFill>
          <a:ln w="6350">
            <a:solidFill>
              <a:schemeClr val="tx2"/>
            </a:solidFill>
            <a:round/>
            <a:headEnd/>
            <a:tailEnd/>
          </a:ln>
        </p:spPr>
        <p:txBody>
          <a:bodyPr/>
          <a:lstStyle/>
          <a:p>
            <a:endParaRPr lang="en-US"/>
          </a:p>
        </p:txBody>
      </p:sp>
      <p:sp>
        <p:nvSpPr>
          <p:cNvPr id="320" name="Freeform 1309"/>
          <p:cNvSpPr>
            <a:spLocks/>
          </p:cNvSpPr>
          <p:nvPr/>
        </p:nvSpPr>
        <p:spPr bwMode="auto">
          <a:xfrm>
            <a:off x="2338988" y="3165119"/>
            <a:ext cx="2866" cy="2547"/>
          </a:xfrm>
          <a:custGeom>
            <a:avLst/>
            <a:gdLst>
              <a:gd name="T0" fmla="*/ 0 w 10"/>
              <a:gd name="T1" fmla="*/ 0 h 8"/>
              <a:gd name="T2" fmla="*/ 2147483647 w 10"/>
              <a:gd name="T3" fmla="*/ 2147483647 h 8"/>
              <a:gd name="T4" fmla="*/ 2147483647 w 10"/>
              <a:gd name="T5" fmla="*/ 2147483647 h 8"/>
              <a:gd name="T6" fmla="*/ 0 w 10"/>
              <a:gd name="T7" fmla="*/ 0 h 8"/>
              <a:gd name="T8" fmla="*/ 0 60000 65536"/>
              <a:gd name="T9" fmla="*/ 0 60000 65536"/>
              <a:gd name="T10" fmla="*/ 0 60000 65536"/>
              <a:gd name="T11" fmla="*/ 0 60000 65536"/>
              <a:gd name="T12" fmla="*/ 0 w 10"/>
              <a:gd name="T13" fmla="*/ 0 h 8"/>
              <a:gd name="T14" fmla="*/ 10 w 10"/>
              <a:gd name="T15" fmla="*/ 8 h 8"/>
            </a:gdLst>
            <a:ahLst/>
            <a:cxnLst>
              <a:cxn ang="T8">
                <a:pos x="T0" y="T1"/>
              </a:cxn>
              <a:cxn ang="T9">
                <a:pos x="T2" y="T3"/>
              </a:cxn>
              <a:cxn ang="T10">
                <a:pos x="T4" y="T5"/>
              </a:cxn>
              <a:cxn ang="T11">
                <a:pos x="T6" y="T7"/>
              </a:cxn>
            </a:cxnLst>
            <a:rect l="T12" t="T13" r="T14" b="T15"/>
            <a:pathLst>
              <a:path w="10" h="8">
                <a:moveTo>
                  <a:pt x="0" y="0"/>
                </a:moveTo>
                <a:lnTo>
                  <a:pt x="10" y="8"/>
                </a:lnTo>
                <a:lnTo>
                  <a:pt x="1" y="7"/>
                </a:lnTo>
                <a:lnTo>
                  <a:pt x="0" y="0"/>
                </a:lnTo>
                <a:close/>
              </a:path>
            </a:pathLst>
          </a:custGeom>
          <a:solidFill>
            <a:schemeClr val="accent1"/>
          </a:solidFill>
          <a:ln w="6350">
            <a:solidFill>
              <a:schemeClr val="tx2"/>
            </a:solidFill>
            <a:round/>
            <a:headEnd/>
            <a:tailEnd/>
          </a:ln>
        </p:spPr>
        <p:txBody>
          <a:bodyPr/>
          <a:lstStyle/>
          <a:p>
            <a:endParaRPr lang="en-US"/>
          </a:p>
        </p:txBody>
      </p:sp>
      <p:sp>
        <p:nvSpPr>
          <p:cNvPr id="321" name="Freeform 1310"/>
          <p:cNvSpPr>
            <a:spLocks/>
          </p:cNvSpPr>
          <p:nvPr/>
        </p:nvSpPr>
        <p:spPr bwMode="auto">
          <a:xfrm>
            <a:off x="2432154" y="3102710"/>
            <a:ext cx="20066" cy="21652"/>
          </a:xfrm>
          <a:custGeom>
            <a:avLst/>
            <a:gdLst>
              <a:gd name="T0" fmla="*/ 2147483647 w 40"/>
              <a:gd name="T1" fmla="*/ 2147483647 h 50"/>
              <a:gd name="T2" fmla="*/ 2147483647 w 40"/>
              <a:gd name="T3" fmla="*/ 0 h 50"/>
              <a:gd name="T4" fmla="*/ 2147483647 w 40"/>
              <a:gd name="T5" fmla="*/ 2147483647 h 50"/>
              <a:gd name="T6" fmla="*/ 2147483647 w 40"/>
              <a:gd name="T7" fmla="*/ 2147483647 h 50"/>
              <a:gd name="T8" fmla="*/ 0 w 40"/>
              <a:gd name="T9" fmla="*/ 2147483647 h 50"/>
              <a:gd name="T10" fmla="*/ 2147483647 w 40"/>
              <a:gd name="T11" fmla="*/ 2147483647 h 50"/>
              <a:gd name="T12" fmla="*/ 0 60000 65536"/>
              <a:gd name="T13" fmla="*/ 0 60000 65536"/>
              <a:gd name="T14" fmla="*/ 0 60000 65536"/>
              <a:gd name="T15" fmla="*/ 0 60000 65536"/>
              <a:gd name="T16" fmla="*/ 0 60000 65536"/>
              <a:gd name="T17" fmla="*/ 0 60000 65536"/>
              <a:gd name="T18" fmla="*/ 0 w 40"/>
              <a:gd name="T19" fmla="*/ 0 h 50"/>
              <a:gd name="T20" fmla="*/ 40 w 40"/>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40" h="50">
                <a:moveTo>
                  <a:pt x="7" y="33"/>
                </a:moveTo>
                <a:lnTo>
                  <a:pt x="32" y="0"/>
                </a:lnTo>
                <a:lnTo>
                  <a:pt x="40" y="9"/>
                </a:lnTo>
                <a:lnTo>
                  <a:pt x="17" y="44"/>
                </a:lnTo>
                <a:lnTo>
                  <a:pt x="0" y="50"/>
                </a:lnTo>
                <a:lnTo>
                  <a:pt x="7" y="33"/>
                </a:lnTo>
                <a:close/>
              </a:path>
            </a:pathLst>
          </a:custGeom>
          <a:solidFill>
            <a:schemeClr val="accent1"/>
          </a:solidFill>
          <a:ln w="6350">
            <a:solidFill>
              <a:schemeClr val="tx2"/>
            </a:solidFill>
            <a:round/>
            <a:headEnd/>
            <a:tailEnd/>
          </a:ln>
        </p:spPr>
        <p:txBody>
          <a:bodyPr/>
          <a:lstStyle/>
          <a:p>
            <a:endParaRPr lang="en-US"/>
          </a:p>
        </p:txBody>
      </p:sp>
      <p:sp>
        <p:nvSpPr>
          <p:cNvPr id="322" name="Freeform 1311"/>
          <p:cNvSpPr>
            <a:spLocks/>
          </p:cNvSpPr>
          <p:nvPr/>
        </p:nvSpPr>
        <p:spPr bwMode="auto">
          <a:xfrm>
            <a:off x="2456522" y="3098888"/>
            <a:ext cx="12899" cy="7642"/>
          </a:xfrm>
          <a:custGeom>
            <a:avLst/>
            <a:gdLst>
              <a:gd name="T0" fmla="*/ 0 w 24"/>
              <a:gd name="T1" fmla="*/ 2147483647 h 17"/>
              <a:gd name="T2" fmla="*/ 2147483647 w 24"/>
              <a:gd name="T3" fmla="*/ 0 h 17"/>
              <a:gd name="T4" fmla="*/ 2147483647 w 24"/>
              <a:gd name="T5" fmla="*/ 2147483647 h 17"/>
              <a:gd name="T6" fmla="*/ 2147483647 w 24"/>
              <a:gd name="T7" fmla="*/ 2147483647 h 17"/>
              <a:gd name="T8" fmla="*/ 0 w 24"/>
              <a:gd name="T9" fmla="*/ 2147483647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10"/>
                </a:moveTo>
                <a:lnTo>
                  <a:pt x="5" y="0"/>
                </a:lnTo>
                <a:lnTo>
                  <a:pt x="24" y="7"/>
                </a:lnTo>
                <a:lnTo>
                  <a:pt x="6" y="17"/>
                </a:lnTo>
                <a:lnTo>
                  <a:pt x="0" y="10"/>
                </a:lnTo>
                <a:close/>
              </a:path>
            </a:pathLst>
          </a:custGeom>
          <a:solidFill>
            <a:schemeClr val="accent1"/>
          </a:solidFill>
          <a:ln w="6350">
            <a:solidFill>
              <a:schemeClr val="tx2"/>
            </a:solidFill>
            <a:round/>
            <a:headEnd/>
            <a:tailEnd/>
          </a:ln>
        </p:spPr>
        <p:txBody>
          <a:bodyPr/>
          <a:lstStyle/>
          <a:p>
            <a:endParaRPr lang="en-US"/>
          </a:p>
        </p:txBody>
      </p:sp>
      <p:sp>
        <p:nvSpPr>
          <p:cNvPr id="323" name="Freeform 1312"/>
          <p:cNvSpPr>
            <a:spLocks/>
          </p:cNvSpPr>
          <p:nvPr/>
        </p:nvSpPr>
        <p:spPr bwMode="auto">
          <a:xfrm>
            <a:off x="2166988" y="3158751"/>
            <a:ext cx="7166" cy="7642"/>
          </a:xfrm>
          <a:custGeom>
            <a:avLst/>
            <a:gdLst>
              <a:gd name="T0" fmla="*/ 2147483647 w 15"/>
              <a:gd name="T1" fmla="*/ 0 h 19"/>
              <a:gd name="T2" fmla="*/ 2147483647 w 15"/>
              <a:gd name="T3" fmla="*/ 2147483647 h 19"/>
              <a:gd name="T4" fmla="*/ 0 w 15"/>
              <a:gd name="T5" fmla="*/ 2147483647 h 19"/>
              <a:gd name="T6" fmla="*/ 2147483647 w 15"/>
              <a:gd name="T7" fmla="*/ 2147483647 h 19"/>
              <a:gd name="T8" fmla="*/ 2147483647 w 15"/>
              <a:gd name="T9" fmla="*/ 0 h 19"/>
              <a:gd name="T10" fmla="*/ 0 60000 65536"/>
              <a:gd name="T11" fmla="*/ 0 60000 65536"/>
              <a:gd name="T12" fmla="*/ 0 60000 65536"/>
              <a:gd name="T13" fmla="*/ 0 60000 65536"/>
              <a:gd name="T14" fmla="*/ 0 60000 65536"/>
              <a:gd name="T15" fmla="*/ 0 w 15"/>
              <a:gd name="T16" fmla="*/ 0 h 19"/>
              <a:gd name="T17" fmla="*/ 15 w 15"/>
              <a:gd name="T18" fmla="*/ 19 h 19"/>
            </a:gdLst>
            <a:ahLst/>
            <a:cxnLst>
              <a:cxn ang="T10">
                <a:pos x="T0" y="T1"/>
              </a:cxn>
              <a:cxn ang="T11">
                <a:pos x="T2" y="T3"/>
              </a:cxn>
              <a:cxn ang="T12">
                <a:pos x="T4" y="T5"/>
              </a:cxn>
              <a:cxn ang="T13">
                <a:pos x="T6" y="T7"/>
              </a:cxn>
              <a:cxn ang="T14">
                <a:pos x="T8" y="T9"/>
              </a:cxn>
            </a:cxnLst>
            <a:rect l="T15" t="T16" r="T17" b="T18"/>
            <a:pathLst>
              <a:path w="15" h="19">
                <a:moveTo>
                  <a:pt x="15" y="0"/>
                </a:moveTo>
                <a:lnTo>
                  <a:pt x="9" y="19"/>
                </a:lnTo>
                <a:lnTo>
                  <a:pt x="0" y="19"/>
                </a:lnTo>
                <a:lnTo>
                  <a:pt x="2" y="9"/>
                </a:lnTo>
                <a:lnTo>
                  <a:pt x="15" y="0"/>
                </a:lnTo>
                <a:close/>
              </a:path>
            </a:pathLst>
          </a:custGeom>
          <a:solidFill>
            <a:schemeClr val="accent1"/>
          </a:solidFill>
          <a:ln w="6350">
            <a:solidFill>
              <a:schemeClr val="tx2"/>
            </a:solidFill>
            <a:round/>
            <a:headEnd/>
            <a:tailEnd/>
          </a:ln>
        </p:spPr>
        <p:txBody>
          <a:bodyPr/>
          <a:lstStyle/>
          <a:p>
            <a:endParaRPr lang="en-US"/>
          </a:p>
        </p:txBody>
      </p:sp>
      <p:sp>
        <p:nvSpPr>
          <p:cNvPr id="324" name="Freeform 1313"/>
          <p:cNvSpPr>
            <a:spLocks/>
          </p:cNvSpPr>
          <p:nvPr/>
        </p:nvSpPr>
        <p:spPr bwMode="auto">
          <a:xfrm>
            <a:off x="2037987" y="3102710"/>
            <a:ext cx="37267" cy="21652"/>
          </a:xfrm>
          <a:custGeom>
            <a:avLst/>
            <a:gdLst>
              <a:gd name="T0" fmla="*/ 0 w 82"/>
              <a:gd name="T1" fmla="*/ 2147483647 h 51"/>
              <a:gd name="T2" fmla="*/ 2147483647 w 82"/>
              <a:gd name="T3" fmla="*/ 0 h 51"/>
              <a:gd name="T4" fmla="*/ 2147483647 w 82"/>
              <a:gd name="T5" fmla="*/ 2147483647 h 51"/>
              <a:gd name="T6" fmla="*/ 2147483647 w 82"/>
              <a:gd name="T7" fmla="*/ 2147483647 h 51"/>
              <a:gd name="T8" fmla="*/ 2147483647 w 82"/>
              <a:gd name="T9" fmla="*/ 2147483647 h 51"/>
              <a:gd name="T10" fmla="*/ 2147483647 w 82"/>
              <a:gd name="T11" fmla="*/ 2147483647 h 51"/>
              <a:gd name="T12" fmla="*/ 2147483647 w 82"/>
              <a:gd name="T13" fmla="*/ 2147483647 h 51"/>
              <a:gd name="T14" fmla="*/ 0 w 82"/>
              <a:gd name="T15" fmla="*/ 2147483647 h 51"/>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51"/>
              <a:gd name="T26" fmla="*/ 82 w 82"/>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51">
                <a:moveTo>
                  <a:pt x="0" y="11"/>
                </a:moveTo>
                <a:lnTo>
                  <a:pt x="55" y="0"/>
                </a:lnTo>
                <a:lnTo>
                  <a:pt x="79" y="7"/>
                </a:lnTo>
                <a:lnTo>
                  <a:pt x="78" y="27"/>
                </a:lnTo>
                <a:lnTo>
                  <a:pt x="82" y="31"/>
                </a:lnTo>
                <a:lnTo>
                  <a:pt x="57" y="51"/>
                </a:lnTo>
                <a:lnTo>
                  <a:pt x="14" y="35"/>
                </a:lnTo>
                <a:lnTo>
                  <a:pt x="0" y="11"/>
                </a:lnTo>
                <a:close/>
              </a:path>
            </a:pathLst>
          </a:custGeom>
          <a:solidFill>
            <a:schemeClr val="accent1"/>
          </a:solidFill>
          <a:ln w="6350">
            <a:solidFill>
              <a:schemeClr val="tx2"/>
            </a:solidFill>
            <a:round/>
            <a:headEnd/>
            <a:tailEnd/>
          </a:ln>
        </p:spPr>
        <p:txBody>
          <a:bodyPr/>
          <a:lstStyle/>
          <a:p>
            <a:endParaRPr lang="en-US"/>
          </a:p>
        </p:txBody>
      </p:sp>
      <p:sp>
        <p:nvSpPr>
          <p:cNvPr id="325" name="Freeform 1314"/>
          <p:cNvSpPr>
            <a:spLocks/>
          </p:cNvSpPr>
          <p:nvPr/>
        </p:nvSpPr>
        <p:spPr bwMode="auto">
          <a:xfrm>
            <a:off x="2082419" y="3087426"/>
            <a:ext cx="21500" cy="16557"/>
          </a:xfrm>
          <a:custGeom>
            <a:avLst/>
            <a:gdLst>
              <a:gd name="T0" fmla="*/ 0 w 45"/>
              <a:gd name="T1" fmla="*/ 2147483647 h 41"/>
              <a:gd name="T2" fmla="*/ 2147483647 w 45"/>
              <a:gd name="T3" fmla="*/ 0 h 41"/>
              <a:gd name="T4" fmla="*/ 2147483647 w 45"/>
              <a:gd name="T5" fmla="*/ 2147483647 h 41"/>
              <a:gd name="T6" fmla="*/ 2147483647 w 45"/>
              <a:gd name="T7" fmla="*/ 2147483647 h 41"/>
              <a:gd name="T8" fmla="*/ 2147483647 w 45"/>
              <a:gd name="T9" fmla="*/ 2147483647 h 41"/>
              <a:gd name="T10" fmla="*/ 2147483647 w 45"/>
              <a:gd name="T11" fmla="*/ 2147483647 h 41"/>
              <a:gd name="T12" fmla="*/ 0 w 45"/>
              <a:gd name="T13" fmla="*/ 2147483647 h 41"/>
              <a:gd name="T14" fmla="*/ 0 60000 65536"/>
              <a:gd name="T15" fmla="*/ 0 60000 65536"/>
              <a:gd name="T16" fmla="*/ 0 60000 65536"/>
              <a:gd name="T17" fmla="*/ 0 60000 65536"/>
              <a:gd name="T18" fmla="*/ 0 60000 65536"/>
              <a:gd name="T19" fmla="*/ 0 60000 65536"/>
              <a:gd name="T20" fmla="*/ 0 60000 65536"/>
              <a:gd name="T21" fmla="*/ 0 w 45"/>
              <a:gd name="T22" fmla="*/ 0 h 41"/>
              <a:gd name="T23" fmla="*/ 45 w 45"/>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41">
                <a:moveTo>
                  <a:pt x="0" y="16"/>
                </a:moveTo>
                <a:lnTo>
                  <a:pt x="16" y="0"/>
                </a:lnTo>
                <a:lnTo>
                  <a:pt x="41" y="8"/>
                </a:lnTo>
                <a:lnTo>
                  <a:pt x="45" y="21"/>
                </a:lnTo>
                <a:lnTo>
                  <a:pt x="27" y="41"/>
                </a:lnTo>
                <a:lnTo>
                  <a:pt x="19" y="23"/>
                </a:lnTo>
                <a:lnTo>
                  <a:pt x="0" y="16"/>
                </a:lnTo>
                <a:close/>
              </a:path>
            </a:pathLst>
          </a:custGeom>
          <a:solidFill>
            <a:schemeClr val="accent1"/>
          </a:solidFill>
          <a:ln w="6350">
            <a:solidFill>
              <a:schemeClr val="tx2"/>
            </a:solidFill>
            <a:round/>
            <a:headEnd/>
            <a:tailEnd/>
          </a:ln>
        </p:spPr>
        <p:txBody>
          <a:bodyPr/>
          <a:lstStyle/>
          <a:p>
            <a:endParaRPr lang="en-US"/>
          </a:p>
        </p:txBody>
      </p:sp>
      <p:sp>
        <p:nvSpPr>
          <p:cNvPr id="326" name="Freeform 1315"/>
          <p:cNvSpPr>
            <a:spLocks/>
          </p:cNvSpPr>
          <p:nvPr/>
        </p:nvSpPr>
        <p:spPr bwMode="auto">
          <a:xfrm>
            <a:off x="3745093" y="3540848"/>
            <a:ext cx="31533" cy="10189"/>
          </a:xfrm>
          <a:custGeom>
            <a:avLst/>
            <a:gdLst>
              <a:gd name="T0" fmla="*/ 2147483647 w 66"/>
              <a:gd name="T1" fmla="*/ 2147483647 h 25"/>
              <a:gd name="T2" fmla="*/ 0 w 66"/>
              <a:gd name="T3" fmla="*/ 2147483647 h 25"/>
              <a:gd name="T4" fmla="*/ 2147483647 w 66"/>
              <a:gd name="T5" fmla="*/ 2147483647 h 25"/>
              <a:gd name="T6" fmla="*/ 2147483647 w 66"/>
              <a:gd name="T7" fmla="*/ 2147483647 h 25"/>
              <a:gd name="T8" fmla="*/ 2147483647 w 66"/>
              <a:gd name="T9" fmla="*/ 2147483647 h 25"/>
              <a:gd name="T10" fmla="*/ 2147483647 w 66"/>
              <a:gd name="T11" fmla="*/ 2147483647 h 25"/>
              <a:gd name="T12" fmla="*/ 2147483647 w 66"/>
              <a:gd name="T13" fmla="*/ 2147483647 h 25"/>
              <a:gd name="T14" fmla="*/ 2147483647 w 66"/>
              <a:gd name="T15" fmla="*/ 2147483647 h 25"/>
              <a:gd name="T16" fmla="*/ 2147483647 w 66"/>
              <a:gd name="T17" fmla="*/ 0 h 25"/>
              <a:gd name="T18" fmla="*/ 2147483647 w 66"/>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25"/>
              <a:gd name="T32" fmla="*/ 66 w 6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25">
                <a:moveTo>
                  <a:pt x="46" y="3"/>
                </a:moveTo>
                <a:lnTo>
                  <a:pt x="0" y="3"/>
                </a:lnTo>
                <a:lnTo>
                  <a:pt x="26" y="17"/>
                </a:lnTo>
                <a:lnTo>
                  <a:pt x="54" y="25"/>
                </a:lnTo>
                <a:lnTo>
                  <a:pt x="62" y="18"/>
                </a:lnTo>
                <a:lnTo>
                  <a:pt x="66" y="5"/>
                </a:lnTo>
                <a:lnTo>
                  <a:pt x="62" y="6"/>
                </a:lnTo>
                <a:lnTo>
                  <a:pt x="58" y="20"/>
                </a:lnTo>
                <a:lnTo>
                  <a:pt x="55" y="0"/>
                </a:lnTo>
                <a:lnTo>
                  <a:pt x="46" y="3"/>
                </a:lnTo>
                <a:close/>
              </a:path>
            </a:pathLst>
          </a:custGeom>
          <a:solidFill>
            <a:schemeClr val="accent1"/>
          </a:solidFill>
          <a:ln w="6350">
            <a:solidFill>
              <a:schemeClr val="tx2"/>
            </a:solidFill>
            <a:round/>
            <a:headEnd/>
            <a:tailEnd/>
          </a:ln>
        </p:spPr>
        <p:txBody>
          <a:bodyPr/>
          <a:lstStyle/>
          <a:p>
            <a:endParaRPr lang="en-US"/>
          </a:p>
        </p:txBody>
      </p:sp>
      <p:sp>
        <p:nvSpPr>
          <p:cNvPr id="327" name="Freeform 1316"/>
          <p:cNvSpPr>
            <a:spLocks/>
          </p:cNvSpPr>
          <p:nvPr/>
        </p:nvSpPr>
        <p:spPr bwMode="auto">
          <a:xfrm>
            <a:off x="4031761" y="3386735"/>
            <a:ext cx="14334" cy="12737"/>
          </a:xfrm>
          <a:custGeom>
            <a:avLst/>
            <a:gdLst>
              <a:gd name="T0" fmla="*/ 2147483647 w 31"/>
              <a:gd name="T1" fmla="*/ 2147483647 h 32"/>
              <a:gd name="T2" fmla="*/ 2147483647 w 31"/>
              <a:gd name="T3" fmla="*/ 2147483647 h 32"/>
              <a:gd name="T4" fmla="*/ 2147483647 w 31"/>
              <a:gd name="T5" fmla="*/ 2147483647 h 32"/>
              <a:gd name="T6" fmla="*/ 2147483647 w 31"/>
              <a:gd name="T7" fmla="*/ 2147483647 h 32"/>
              <a:gd name="T8" fmla="*/ 2147483647 w 31"/>
              <a:gd name="T9" fmla="*/ 2147483647 h 32"/>
              <a:gd name="T10" fmla="*/ 2147483647 w 31"/>
              <a:gd name="T11" fmla="*/ 2147483647 h 32"/>
              <a:gd name="T12" fmla="*/ 2147483647 w 31"/>
              <a:gd name="T13" fmla="*/ 2147483647 h 32"/>
              <a:gd name="T14" fmla="*/ 2147483647 w 31"/>
              <a:gd name="T15" fmla="*/ 2147483647 h 32"/>
              <a:gd name="T16" fmla="*/ 2147483647 w 31"/>
              <a:gd name="T17" fmla="*/ 0 h 32"/>
              <a:gd name="T18" fmla="*/ 2147483647 w 31"/>
              <a:gd name="T19" fmla="*/ 2147483647 h 32"/>
              <a:gd name="T20" fmla="*/ 0 w 31"/>
              <a:gd name="T21" fmla="*/ 2147483647 h 32"/>
              <a:gd name="T22" fmla="*/ 2147483647 w 31"/>
              <a:gd name="T23" fmla="*/ 2147483647 h 32"/>
              <a:gd name="T24" fmla="*/ 2147483647 w 31"/>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32"/>
              <a:gd name="T41" fmla="*/ 31 w 31"/>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32">
                <a:moveTo>
                  <a:pt x="20" y="32"/>
                </a:moveTo>
                <a:lnTo>
                  <a:pt x="31" y="22"/>
                </a:lnTo>
                <a:lnTo>
                  <a:pt x="25" y="19"/>
                </a:lnTo>
                <a:lnTo>
                  <a:pt x="23" y="9"/>
                </a:lnTo>
                <a:lnTo>
                  <a:pt x="29" y="12"/>
                </a:lnTo>
                <a:lnTo>
                  <a:pt x="28" y="18"/>
                </a:lnTo>
                <a:lnTo>
                  <a:pt x="31" y="17"/>
                </a:lnTo>
                <a:lnTo>
                  <a:pt x="30" y="6"/>
                </a:lnTo>
                <a:lnTo>
                  <a:pt x="23" y="0"/>
                </a:lnTo>
                <a:lnTo>
                  <a:pt x="7" y="3"/>
                </a:lnTo>
                <a:lnTo>
                  <a:pt x="0" y="15"/>
                </a:lnTo>
                <a:lnTo>
                  <a:pt x="3" y="24"/>
                </a:lnTo>
                <a:lnTo>
                  <a:pt x="20" y="32"/>
                </a:lnTo>
                <a:close/>
              </a:path>
            </a:pathLst>
          </a:custGeom>
          <a:solidFill>
            <a:schemeClr val="accent1"/>
          </a:solidFill>
          <a:ln w="6350">
            <a:solidFill>
              <a:schemeClr val="tx2"/>
            </a:solidFill>
            <a:round/>
            <a:headEnd/>
            <a:tailEnd/>
          </a:ln>
        </p:spPr>
        <p:txBody>
          <a:bodyPr/>
          <a:lstStyle/>
          <a:p>
            <a:endParaRPr lang="en-US"/>
          </a:p>
        </p:txBody>
      </p:sp>
      <p:sp>
        <p:nvSpPr>
          <p:cNvPr id="328" name="Freeform 1319"/>
          <p:cNvSpPr>
            <a:spLocks/>
          </p:cNvSpPr>
          <p:nvPr/>
        </p:nvSpPr>
        <p:spPr bwMode="auto">
          <a:xfrm>
            <a:off x="3333726" y="3758643"/>
            <a:ext cx="172001" cy="73872"/>
          </a:xfrm>
          <a:custGeom>
            <a:avLst/>
            <a:gdLst>
              <a:gd name="T0" fmla="*/ 2147483647 w 368"/>
              <a:gd name="T1" fmla="*/ 2147483647 h 176"/>
              <a:gd name="T2" fmla="*/ 2147483647 w 368"/>
              <a:gd name="T3" fmla="*/ 2147483647 h 176"/>
              <a:gd name="T4" fmla="*/ 2147483647 w 368"/>
              <a:gd name="T5" fmla="*/ 2147483647 h 176"/>
              <a:gd name="T6" fmla="*/ 2147483647 w 368"/>
              <a:gd name="T7" fmla="*/ 2147483647 h 176"/>
              <a:gd name="T8" fmla="*/ 2147483647 w 368"/>
              <a:gd name="T9" fmla="*/ 2147483647 h 176"/>
              <a:gd name="T10" fmla="*/ 2147483647 w 368"/>
              <a:gd name="T11" fmla="*/ 2147483647 h 176"/>
              <a:gd name="T12" fmla="*/ 2147483647 w 368"/>
              <a:gd name="T13" fmla="*/ 2147483647 h 176"/>
              <a:gd name="T14" fmla="*/ 2147483647 w 368"/>
              <a:gd name="T15" fmla="*/ 2147483647 h 176"/>
              <a:gd name="T16" fmla="*/ 2147483647 w 368"/>
              <a:gd name="T17" fmla="*/ 2147483647 h 176"/>
              <a:gd name="T18" fmla="*/ 2147483647 w 368"/>
              <a:gd name="T19" fmla="*/ 2147483647 h 176"/>
              <a:gd name="T20" fmla="*/ 2147483647 w 368"/>
              <a:gd name="T21" fmla="*/ 2147483647 h 176"/>
              <a:gd name="T22" fmla="*/ 2147483647 w 368"/>
              <a:gd name="T23" fmla="*/ 2147483647 h 176"/>
              <a:gd name="T24" fmla="*/ 2147483647 w 368"/>
              <a:gd name="T25" fmla="*/ 2147483647 h 176"/>
              <a:gd name="T26" fmla="*/ 2147483647 w 368"/>
              <a:gd name="T27" fmla="*/ 2147483647 h 176"/>
              <a:gd name="T28" fmla="*/ 2147483647 w 368"/>
              <a:gd name="T29" fmla="*/ 2147483647 h 176"/>
              <a:gd name="T30" fmla="*/ 2147483647 w 368"/>
              <a:gd name="T31" fmla="*/ 2147483647 h 176"/>
              <a:gd name="T32" fmla="*/ 2147483647 w 368"/>
              <a:gd name="T33" fmla="*/ 2147483647 h 176"/>
              <a:gd name="T34" fmla="*/ 2147483647 w 368"/>
              <a:gd name="T35" fmla="*/ 2147483647 h 176"/>
              <a:gd name="T36" fmla="*/ 2147483647 w 368"/>
              <a:gd name="T37" fmla="*/ 2147483647 h 176"/>
              <a:gd name="T38" fmla="*/ 2147483647 w 368"/>
              <a:gd name="T39" fmla="*/ 2147483647 h 176"/>
              <a:gd name="T40" fmla="*/ 2147483647 w 368"/>
              <a:gd name="T41" fmla="*/ 2147483647 h 176"/>
              <a:gd name="T42" fmla="*/ 2147483647 w 368"/>
              <a:gd name="T43" fmla="*/ 2147483647 h 176"/>
              <a:gd name="T44" fmla="*/ 2147483647 w 368"/>
              <a:gd name="T45" fmla="*/ 2147483647 h 176"/>
              <a:gd name="T46" fmla="*/ 2147483647 w 368"/>
              <a:gd name="T47" fmla="*/ 2147483647 h 176"/>
              <a:gd name="T48" fmla="*/ 2147483647 w 368"/>
              <a:gd name="T49" fmla="*/ 2147483647 h 176"/>
              <a:gd name="T50" fmla="*/ 2147483647 w 368"/>
              <a:gd name="T51" fmla="*/ 2147483647 h 176"/>
              <a:gd name="T52" fmla="*/ 2147483647 w 368"/>
              <a:gd name="T53" fmla="*/ 2147483647 h 176"/>
              <a:gd name="T54" fmla="*/ 2147483647 w 368"/>
              <a:gd name="T55" fmla="*/ 2147483647 h 176"/>
              <a:gd name="T56" fmla="*/ 2147483647 w 368"/>
              <a:gd name="T57" fmla="*/ 0 h 176"/>
              <a:gd name="T58" fmla="*/ 2147483647 w 368"/>
              <a:gd name="T59" fmla="*/ 0 h 176"/>
              <a:gd name="T60" fmla="*/ 2147483647 w 368"/>
              <a:gd name="T61" fmla="*/ 0 h 176"/>
              <a:gd name="T62" fmla="*/ 2147483647 w 368"/>
              <a:gd name="T63" fmla="*/ 0 h 176"/>
              <a:gd name="T64" fmla="*/ 2147483647 w 368"/>
              <a:gd name="T65" fmla="*/ 0 h 176"/>
              <a:gd name="T66" fmla="*/ 0 w 368"/>
              <a:gd name="T67" fmla="*/ 0 h 176"/>
              <a:gd name="T68" fmla="*/ 0 w 368"/>
              <a:gd name="T69" fmla="*/ 2147483647 h 176"/>
              <a:gd name="T70" fmla="*/ 2147483647 w 368"/>
              <a:gd name="T71" fmla="*/ 2147483647 h 17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8"/>
              <a:gd name="T109" fmla="*/ 0 h 176"/>
              <a:gd name="T110" fmla="*/ 368 w 368"/>
              <a:gd name="T111" fmla="*/ 176 h 17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8" h="176">
                <a:moveTo>
                  <a:pt x="44" y="27"/>
                </a:moveTo>
                <a:lnTo>
                  <a:pt x="82" y="27"/>
                </a:lnTo>
                <a:lnTo>
                  <a:pt x="129" y="27"/>
                </a:lnTo>
                <a:lnTo>
                  <a:pt x="129" y="128"/>
                </a:lnTo>
                <a:lnTo>
                  <a:pt x="144" y="138"/>
                </a:lnTo>
                <a:lnTo>
                  <a:pt x="155" y="138"/>
                </a:lnTo>
                <a:lnTo>
                  <a:pt x="157" y="134"/>
                </a:lnTo>
                <a:lnTo>
                  <a:pt x="165" y="147"/>
                </a:lnTo>
                <a:lnTo>
                  <a:pt x="189" y="150"/>
                </a:lnTo>
                <a:lnTo>
                  <a:pt x="195" y="155"/>
                </a:lnTo>
                <a:lnTo>
                  <a:pt x="210" y="151"/>
                </a:lnTo>
                <a:lnTo>
                  <a:pt x="216" y="164"/>
                </a:lnTo>
                <a:lnTo>
                  <a:pt x="221" y="165"/>
                </a:lnTo>
                <a:lnTo>
                  <a:pt x="231" y="159"/>
                </a:lnTo>
                <a:lnTo>
                  <a:pt x="240" y="167"/>
                </a:lnTo>
                <a:lnTo>
                  <a:pt x="250" y="163"/>
                </a:lnTo>
                <a:lnTo>
                  <a:pt x="252" y="172"/>
                </a:lnTo>
                <a:lnTo>
                  <a:pt x="255" y="166"/>
                </a:lnTo>
                <a:lnTo>
                  <a:pt x="267" y="162"/>
                </a:lnTo>
                <a:lnTo>
                  <a:pt x="288" y="174"/>
                </a:lnTo>
                <a:lnTo>
                  <a:pt x="304" y="164"/>
                </a:lnTo>
                <a:lnTo>
                  <a:pt x="311" y="166"/>
                </a:lnTo>
                <a:lnTo>
                  <a:pt x="319" y="161"/>
                </a:lnTo>
                <a:lnTo>
                  <a:pt x="329" y="165"/>
                </a:lnTo>
                <a:lnTo>
                  <a:pt x="334" y="160"/>
                </a:lnTo>
                <a:lnTo>
                  <a:pt x="368" y="176"/>
                </a:lnTo>
                <a:lnTo>
                  <a:pt x="368" y="86"/>
                </a:lnTo>
                <a:lnTo>
                  <a:pt x="362" y="27"/>
                </a:lnTo>
                <a:lnTo>
                  <a:pt x="362" y="0"/>
                </a:lnTo>
                <a:lnTo>
                  <a:pt x="296" y="0"/>
                </a:lnTo>
                <a:lnTo>
                  <a:pt x="219" y="0"/>
                </a:lnTo>
                <a:lnTo>
                  <a:pt x="147" y="0"/>
                </a:lnTo>
                <a:lnTo>
                  <a:pt x="84" y="0"/>
                </a:lnTo>
                <a:lnTo>
                  <a:pt x="0" y="0"/>
                </a:lnTo>
                <a:lnTo>
                  <a:pt x="0" y="27"/>
                </a:lnTo>
                <a:lnTo>
                  <a:pt x="44" y="27"/>
                </a:lnTo>
                <a:close/>
              </a:path>
            </a:pathLst>
          </a:custGeom>
          <a:solidFill>
            <a:schemeClr val="accent1"/>
          </a:solidFill>
          <a:ln w="6350">
            <a:solidFill>
              <a:schemeClr val="tx2"/>
            </a:solidFill>
            <a:round/>
            <a:headEnd/>
            <a:tailEnd/>
          </a:ln>
        </p:spPr>
        <p:txBody>
          <a:bodyPr/>
          <a:lstStyle/>
          <a:p>
            <a:endParaRPr lang="en-US"/>
          </a:p>
        </p:txBody>
      </p:sp>
      <p:sp>
        <p:nvSpPr>
          <p:cNvPr id="329" name="Line 347"/>
          <p:cNvSpPr>
            <a:spLocks noChangeShapeType="1"/>
          </p:cNvSpPr>
          <p:nvPr/>
        </p:nvSpPr>
        <p:spPr bwMode="auto">
          <a:xfrm flipV="1">
            <a:off x="3886994" y="3367631"/>
            <a:ext cx="143334" cy="170670"/>
          </a:xfrm>
          <a:prstGeom prst="line">
            <a:avLst/>
          </a:prstGeom>
          <a:solidFill>
            <a:schemeClr val="accent1"/>
          </a:solidFill>
          <a:ln w="12700">
            <a:solidFill>
              <a:schemeClr val="tx2"/>
            </a:solidFill>
            <a:round/>
            <a:headEnd type="none" w="sm" len="sm"/>
            <a:tailEnd type="none" w="sm" len="sm"/>
          </a:ln>
        </p:spPr>
        <p:txBody>
          <a:bodyPr>
            <a:spAutoFit/>
          </a:bodyPr>
          <a:lstStyle/>
          <a:p>
            <a:endParaRPr lang="en-US"/>
          </a:p>
        </p:txBody>
      </p:sp>
      <p:sp>
        <p:nvSpPr>
          <p:cNvPr id="330" name="Line 386"/>
          <p:cNvSpPr>
            <a:spLocks noChangeShapeType="1"/>
          </p:cNvSpPr>
          <p:nvPr/>
        </p:nvSpPr>
        <p:spPr bwMode="auto">
          <a:xfrm flipH="1" flipV="1">
            <a:off x="3714994" y="3343431"/>
            <a:ext cx="60200" cy="226711"/>
          </a:xfrm>
          <a:prstGeom prst="line">
            <a:avLst/>
          </a:prstGeom>
          <a:solidFill>
            <a:schemeClr val="accent1"/>
          </a:solidFill>
          <a:ln w="12700">
            <a:solidFill>
              <a:schemeClr val="tx2"/>
            </a:solidFill>
            <a:round/>
            <a:headEnd type="none" w="sm" len="sm"/>
            <a:tailEnd type="none" w="sm" len="sm"/>
          </a:ln>
        </p:spPr>
        <p:txBody>
          <a:bodyPr>
            <a:spAutoFit/>
          </a:bodyPr>
          <a:lstStyle/>
          <a:p>
            <a:endParaRPr lang="en-US"/>
          </a:p>
        </p:txBody>
      </p:sp>
      <p:sp>
        <p:nvSpPr>
          <p:cNvPr id="331" name="Freeform 1426"/>
          <p:cNvSpPr>
            <a:spLocks/>
          </p:cNvSpPr>
          <p:nvPr/>
        </p:nvSpPr>
        <p:spPr bwMode="auto">
          <a:xfrm>
            <a:off x="6684872" y="3474618"/>
            <a:ext cx="387002" cy="313320"/>
          </a:xfrm>
          <a:custGeom>
            <a:avLst/>
            <a:gdLst>
              <a:gd name="T0" fmla="*/ 2147483647 w 824"/>
              <a:gd name="T1" fmla="*/ 2147483647 h 751"/>
              <a:gd name="T2" fmla="*/ 2147483647 w 824"/>
              <a:gd name="T3" fmla="*/ 2147483647 h 751"/>
              <a:gd name="T4" fmla="*/ 2147483647 w 824"/>
              <a:gd name="T5" fmla="*/ 2147483647 h 751"/>
              <a:gd name="T6" fmla="*/ 2147483647 w 824"/>
              <a:gd name="T7" fmla="*/ 2147483647 h 751"/>
              <a:gd name="T8" fmla="*/ 2147483647 w 824"/>
              <a:gd name="T9" fmla="*/ 2147483647 h 751"/>
              <a:gd name="T10" fmla="*/ 2147483647 w 824"/>
              <a:gd name="T11" fmla="*/ 2147483647 h 751"/>
              <a:gd name="T12" fmla="*/ 2147483647 w 824"/>
              <a:gd name="T13" fmla="*/ 2147483647 h 751"/>
              <a:gd name="T14" fmla="*/ 2147483647 w 824"/>
              <a:gd name="T15" fmla="*/ 2147483647 h 751"/>
              <a:gd name="T16" fmla="*/ 2147483647 w 824"/>
              <a:gd name="T17" fmla="*/ 2147483647 h 751"/>
              <a:gd name="T18" fmla="*/ 2147483647 w 824"/>
              <a:gd name="T19" fmla="*/ 2147483647 h 751"/>
              <a:gd name="T20" fmla="*/ 2147483647 w 824"/>
              <a:gd name="T21" fmla="*/ 2147483647 h 751"/>
              <a:gd name="T22" fmla="*/ 2147483647 w 824"/>
              <a:gd name="T23" fmla="*/ 2147483647 h 751"/>
              <a:gd name="T24" fmla="*/ 2147483647 w 824"/>
              <a:gd name="T25" fmla="*/ 2147483647 h 751"/>
              <a:gd name="T26" fmla="*/ 2147483647 w 824"/>
              <a:gd name="T27" fmla="*/ 2147483647 h 751"/>
              <a:gd name="T28" fmla="*/ 2147483647 w 824"/>
              <a:gd name="T29" fmla="*/ 2147483647 h 751"/>
              <a:gd name="T30" fmla="*/ 2147483647 w 824"/>
              <a:gd name="T31" fmla="*/ 2147483647 h 751"/>
              <a:gd name="T32" fmla="*/ 2147483647 w 824"/>
              <a:gd name="T33" fmla="*/ 2147483647 h 751"/>
              <a:gd name="T34" fmla="*/ 2147483647 w 824"/>
              <a:gd name="T35" fmla="*/ 2147483647 h 751"/>
              <a:gd name="T36" fmla="*/ 2147483647 w 824"/>
              <a:gd name="T37" fmla="*/ 2147483647 h 751"/>
              <a:gd name="T38" fmla="*/ 2147483647 w 824"/>
              <a:gd name="T39" fmla="*/ 2147483647 h 751"/>
              <a:gd name="T40" fmla="*/ 2147483647 w 824"/>
              <a:gd name="T41" fmla="*/ 2147483647 h 751"/>
              <a:gd name="T42" fmla="*/ 2147483647 w 824"/>
              <a:gd name="T43" fmla="*/ 2147483647 h 751"/>
              <a:gd name="T44" fmla="*/ 2147483647 w 824"/>
              <a:gd name="T45" fmla="*/ 2147483647 h 751"/>
              <a:gd name="T46" fmla="*/ 2147483647 w 824"/>
              <a:gd name="T47" fmla="*/ 2147483647 h 751"/>
              <a:gd name="T48" fmla="*/ 2147483647 w 824"/>
              <a:gd name="T49" fmla="*/ 2147483647 h 751"/>
              <a:gd name="T50" fmla="*/ 2147483647 w 824"/>
              <a:gd name="T51" fmla="*/ 2147483647 h 751"/>
              <a:gd name="T52" fmla="*/ 2147483647 w 824"/>
              <a:gd name="T53" fmla="*/ 2147483647 h 751"/>
              <a:gd name="T54" fmla="*/ 2147483647 w 824"/>
              <a:gd name="T55" fmla="*/ 2147483647 h 751"/>
              <a:gd name="T56" fmla="*/ 2147483647 w 824"/>
              <a:gd name="T57" fmla="*/ 2147483647 h 751"/>
              <a:gd name="T58" fmla="*/ 2147483647 w 824"/>
              <a:gd name="T59" fmla="*/ 2147483647 h 751"/>
              <a:gd name="T60" fmla="*/ 2147483647 w 824"/>
              <a:gd name="T61" fmla="*/ 2147483647 h 751"/>
              <a:gd name="T62" fmla="*/ 2147483647 w 824"/>
              <a:gd name="T63" fmla="*/ 2147483647 h 751"/>
              <a:gd name="T64" fmla="*/ 2147483647 w 824"/>
              <a:gd name="T65" fmla="*/ 2147483647 h 751"/>
              <a:gd name="T66" fmla="*/ 2147483647 w 824"/>
              <a:gd name="T67" fmla="*/ 2147483647 h 751"/>
              <a:gd name="T68" fmla="*/ 2147483647 w 824"/>
              <a:gd name="T69" fmla="*/ 2147483647 h 751"/>
              <a:gd name="T70" fmla="*/ 2147483647 w 824"/>
              <a:gd name="T71" fmla="*/ 2147483647 h 751"/>
              <a:gd name="T72" fmla="*/ 2147483647 w 824"/>
              <a:gd name="T73" fmla="*/ 2147483647 h 751"/>
              <a:gd name="T74" fmla="*/ 2147483647 w 824"/>
              <a:gd name="T75" fmla="*/ 2147483647 h 751"/>
              <a:gd name="T76" fmla="*/ 2147483647 w 824"/>
              <a:gd name="T77" fmla="*/ 2147483647 h 751"/>
              <a:gd name="T78" fmla="*/ 2147483647 w 824"/>
              <a:gd name="T79" fmla="*/ 2147483647 h 751"/>
              <a:gd name="T80" fmla="*/ 2147483647 w 824"/>
              <a:gd name="T81" fmla="*/ 2147483647 h 751"/>
              <a:gd name="T82" fmla="*/ 2147483647 w 824"/>
              <a:gd name="T83" fmla="*/ 2147483647 h 751"/>
              <a:gd name="T84" fmla="*/ 2147483647 w 824"/>
              <a:gd name="T85" fmla="*/ 2147483647 h 751"/>
              <a:gd name="T86" fmla="*/ 2147483647 w 824"/>
              <a:gd name="T87" fmla="*/ 2147483647 h 751"/>
              <a:gd name="T88" fmla="*/ 2147483647 w 824"/>
              <a:gd name="T89" fmla="*/ 2147483647 h 751"/>
              <a:gd name="T90" fmla="*/ 2147483647 w 824"/>
              <a:gd name="T91" fmla="*/ 2147483647 h 751"/>
              <a:gd name="T92" fmla="*/ 2147483647 w 824"/>
              <a:gd name="T93" fmla="*/ 2147483647 h 751"/>
              <a:gd name="T94" fmla="*/ 2147483647 w 824"/>
              <a:gd name="T95" fmla="*/ 2147483647 h 751"/>
              <a:gd name="T96" fmla="*/ 2147483647 w 824"/>
              <a:gd name="T97" fmla="*/ 2147483647 h 751"/>
              <a:gd name="T98" fmla="*/ 2147483647 w 824"/>
              <a:gd name="T99" fmla="*/ 2147483647 h 751"/>
              <a:gd name="T100" fmla="*/ 2147483647 w 824"/>
              <a:gd name="T101" fmla="*/ 2147483647 h 751"/>
              <a:gd name="T102" fmla="*/ 2147483647 w 824"/>
              <a:gd name="T103" fmla="*/ 2147483647 h 751"/>
              <a:gd name="T104" fmla="*/ 2147483647 w 824"/>
              <a:gd name="T105" fmla="*/ 2147483647 h 751"/>
              <a:gd name="T106" fmla="*/ 2147483647 w 824"/>
              <a:gd name="T107" fmla="*/ 2147483647 h 751"/>
              <a:gd name="T108" fmla="*/ 2147483647 w 824"/>
              <a:gd name="T109" fmla="*/ 2147483647 h 751"/>
              <a:gd name="T110" fmla="*/ 2147483647 w 824"/>
              <a:gd name="T111" fmla="*/ 2147483647 h 751"/>
              <a:gd name="T112" fmla="*/ 2147483647 w 824"/>
              <a:gd name="T113" fmla="*/ 2147483647 h 751"/>
              <a:gd name="T114" fmla="*/ 2147483647 w 824"/>
              <a:gd name="T115" fmla="*/ 2147483647 h 751"/>
              <a:gd name="T116" fmla="*/ 2147483647 w 824"/>
              <a:gd name="T117" fmla="*/ 2147483647 h 751"/>
              <a:gd name="T118" fmla="*/ 2147483647 w 824"/>
              <a:gd name="T119" fmla="*/ 2147483647 h 751"/>
              <a:gd name="T120" fmla="*/ 2147483647 w 824"/>
              <a:gd name="T121" fmla="*/ 2147483647 h 751"/>
              <a:gd name="T122" fmla="*/ 2147483647 w 824"/>
              <a:gd name="T123" fmla="*/ 2147483647 h 7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24"/>
              <a:gd name="T187" fmla="*/ 0 h 751"/>
              <a:gd name="T188" fmla="*/ 824 w 824"/>
              <a:gd name="T189" fmla="*/ 751 h 75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24" h="751">
                <a:moveTo>
                  <a:pt x="753" y="751"/>
                </a:moveTo>
                <a:lnTo>
                  <a:pt x="764" y="707"/>
                </a:lnTo>
                <a:lnTo>
                  <a:pt x="780" y="689"/>
                </a:lnTo>
                <a:lnTo>
                  <a:pt x="813" y="680"/>
                </a:lnTo>
                <a:lnTo>
                  <a:pt x="823" y="669"/>
                </a:lnTo>
                <a:lnTo>
                  <a:pt x="824" y="657"/>
                </a:lnTo>
                <a:lnTo>
                  <a:pt x="805" y="650"/>
                </a:lnTo>
                <a:lnTo>
                  <a:pt x="801" y="607"/>
                </a:lnTo>
                <a:lnTo>
                  <a:pt x="754" y="580"/>
                </a:lnTo>
                <a:lnTo>
                  <a:pt x="736" y="547"/>
                </a:lnTo>
                <a:lnTo>
                  <a:pt x="720" y="530"/>
                </a:lnTo>
                <a:lnTo>
                  <a:pt x="722" y="527"/>
                </a:lnTo>
                <a:lnTo>
                  <a:pt x="732" y="506"/>
                </a:lnTo>
                <a:lnTo>
                  <a:pt x="751" y="484"/>
                </a:lnTo>
                <a:lnTo>
                  <a:pt x="756" y="460"/>
                </a:lnTo>
                <a:lnTo>
                  <a:pt x="743" y="439"/>
                </a:lnTo>
                <a:lnTo>
                  <a:pt x="722" y="435"/>
                </a:lnTo>
                <a:lnTo>
                  <a:pt x="715" y="427"/>
                </a:lnTo>
                <a:lnTo>
                  <a:pt x="714" y="390"/>
                </a:lnTo>
                <a:lnTo>
                  <a:pt x="707" y="367"/>
                </a:lnTo>
                <a:lnTo>
                  <a:pt x="716" y="339"/>
                </a:lnTo>
                <a:lnTo>
                  <a:pt x="715" y="331"/>
                </a:lnTo>
                <a:lnTo>
                  <a:pt x="704" y="328"/>
                </a:lnTo>
                <a:lnTo>
                  <a:pt x="704" y="312"/>
                </a:lnTo>
                <a:lnTo>
                  <a:pt x="704" y="305"/>
                </a:lnTo>
                <a:lnTo>
                  <a:pt x="721" y="297"/>
                </a:lnTo>
                <a:lnTo>
                  <a:pt x="721" y="285"/>
                </a:lnTo>
                <a:lnTo>
                  <a:pt x="731" y="269"/>
                </a:lnTo>
                <a:lnTo>
                  <a:pt x="736" y="228"/>
                </a:lnTo>
                <a:lnTo>
                  <a:pt x="738" y="217"/>
                </a:lnTo>
                <a:lnTo>
                  <a:pt x="732" y="176"/>
                </a:lnTo>
                <a:lnTo>
                  <a:pt x="713" y="176"/>
                </a:lnTo>
                <a:lnTo>
                  <a:pt x="661" y="144"/>
                </a:lnTo>
                <a:lnTo>
                  <a:pt x="651" y="124"/>
                </a:lnTo>
                <a:lnTo>
                  <a:pt x="615" y="118"/>
                </a:lnTo>
                <a:lnTo>
                  <a:pt x="574" y="102"/>
                </a:lnTo>
                <a:lnTo>
                  <a:pt x="557" y="83"/>
                </a:lnTo>
                <a:lnTo>
                  <a:pt x="528" y="84"/>
                </a:lnTo>
                <a:lnTo>
                  <a:pt x="522" y="95"/>
                </a:lnTo>
                <a:lnTo>
                  <a:pt x="485" y="95"/>
                </a:lnTo>
                <a:lnTo>
                  <a:pt x="446" y="127"/>
                </a:lnTo>
                <a:lnTo>
                  <a:pt x="421" y="130"/>
                </a:lnTo>
                <a:lnTo>
                  <a:pt x="428" y="162"/>
                </a:lnTo>
                <a:lnTo>
                  <a:pt x="395" y="164"/>
                </a:lnTo>
                <a:lnTo>
                  <a:pt x="324" y="177"/>
                </a:lnTo>
                <a:lnTo>
                  <a:pt x="282" y="158"/>
                </a:lnTo>
                <a:lnTo>
                  <a:pt x="260" y="133"/>
                </a:lnTo>
                <a:lnTo>
                  <a:pt x="240" y="134"/>
                </a:lnTo>
                <a:lnTo>
                  <a:pt x="213" y="122"/>
                </a:lnTo>
                <a:lnTo>
                  <a:pt x="204" y="73"/>
                </a:lnTo>
                <a:lnTo>
                  <a:pt x="190" y="72"/>
                </a:lnTo>
                <a:lnTo>
                  <a:pt x="165" y="55"/>
                </a:lnTo>
                <a:lnTo>
                  <a:pt x="180" y="44"/>
                </a:lnTo>
                <a:lnTo>
                  <a:pt x="175" y="17"/>
                </a:lnTo>
                <a:lnTo>
                  <a:pt x="161" y="10"/>
                </a:lnTo>
                <a:lnTo>
                  <a:pt x="131" y="22"/>
                </a:lnTo>
                <a:lnTo>
                  <a:pt x="111" y="52"/>
                </a:lnTo>
                <a:lnTo>
                  <a:pt x="99" y="51"/>
                </a:lnTo>
                <a:lnTo>
                  <a:pt x="82" y="53"/>
                </a:lnTo>
                <a:lnTo>
                  <a:pt x="77" y="51"/>
                </a:lnTo>
                <a:lnTo>
                  <a:pt x="55" y="49"/>
                </a:lnTo>
                <a:lnTo>
                  <a:pt x="25" y="7"/>
                </a:lnTo>
                <a:lnTo>
                  <a:pt x="20" y="0"/>
                </a:lnTo>
                <a:lnTo>
                  <a:pt x="11" y="19"/>
                </a:lnTo>
                <a:lnTo>
                  <a:pt x="0" y="26"/>
                </a:lnTo>
                <a:lnTo>
                  <a:pt x="7" y="46"/>
                </a:lnTo>
                <a:lnTo>
                  <a:pt x="7" y="109"/>
                </a:lnTo>
                <a:lnTo>
                  <a:pt x="27" y="128"/>
                </a:lnTo>
                <a:lnTo>
                  <a:pt x="28" y="141"/>
                </a:lnTo>
                <a:lnTo>
                  <a:pt x="33" y="167"/>
                </a:lnTo>
                <a:lnTo>
                  <a:pt x="50" y="187"/>
                </a:lnTo>
                <a:lnTo>
                  <a:pt x="55" y="205"/>
                </a:lnTo>
                <a:lnTo>
                  <a:pt x="63" y="213"/>
                </a:lnTo>
                <a:lnTo>
                  <a:pt x="92" y="217"/>
                </a:lnTo>
                <a:lnTo>
                  <a:pt x="82" y="235"/>
                </a:lnTo>
                <a:lnTo>
                  <a:pt x="86" y="249"/>
                </a:lnTo>
                <a:lnTo>
                  <a:pt x="69" y="274"/>
                </a:lnTo>
                <a:lnTo>
                  <a:pt x="69" y="280"/>
                </a:lnTo>
                <a:lnTo>
                  <a:pt x="60" y="287"/>
                </a:lnTo>
                <a:lnTo>
                  <a:pt x="52" y="315"/>
                </a:lnTo>
                <a:lnTo>
                  <a:pt x="54" y="326"/>
                </a:lnTo>
                <a:lnTo>
                  <a:pt x="65" y="330"/>
                </a:lnTo>
                <a:lnTo>
                  <a:pt x="78" y="351"/>
                </a:lnTo>
                <a:lnTo>
                  <a:pt x="79" y="360"/>
                </a:lnTo>
                <a:lnTo>
                  <a:pt x="136" y="396"/>
                </a:lnTo>
                <a:lnTo>
                  <a:pt x="152" y="428"/>
                </a:lnTo>
                <a:lnTo>
                  <a:pt x="149" y="466"/>
                </a:lnTo>
                <a:lnTo>
                  <a:pt x="160" y="471"/>
                </a:lnTo>
                <a:lnTo>
                  <a:pt x="167" y="493"/>
                </a:lnTo>
                <a:lnTo>
                  <a:pt x="192" y="515"/>
                </a:lnTo>
                <a:lnTo>
                  <a:pt x="193" y="507"/>
                </a:lnTo>
                <a:lnTo>
                  <a:pt x="199" y="507"/>
                </a:lnTo>
                <a:lnTo>
                  <a:pt x="199" y="491"/>
                </a:lnTo>
                <a:lnTo>
                  <a:pt x="202" y="489"/>
                </a:lnTo>
                <a:lnTo>
                  <a:pt x="213" y="494"/>
                </a:lnTo>
                <a:lnTo>
                  <a:pt x="217" y="509"/>
                </a:lnTo>
                <a:lnTo>
                  <a:pt x="232" y="521"/>
                </a:lnTo>
                <a:lnTo>
                  <a:pt x="247" y="510"/>
                </a:lnTo>
                <a:lnTo>
                  <a:pt x="252" y="514"/>
                </a:lnTo>
                <a:lnTo>
                  <a:pt x="264" y="537"/>
                </a:lnTo>
                <a:lnTo>
                  <a:pt x="270" y="541"/>
                </a:lnTo>
                <a:lnTo>
                  <a:pt x="277" y="559"/>
                </a:lnTo>
                <a:lnTo>
                  <a:pt x="293" y="572"/>
                </a:lnTo>
                <a:lnTo>
                  <a:pt x="315" y="623"/>
                </a:lnTo>
                <a:lnTo>
                  <a:pt x="357" y="637"/>
                </a:lnTo>
                <a:lnTo>
                  <a:pt x="371" y="658"/>
                </a:lnTo>
                <a:lnTo>
                  <a:pt x="401" y="669"/>
                </a:lnTo>
                <a:lnTo>
                  <a:pt x="399" y="672"/>
                </a:lnTo>
                <a:lnTo>
                  <a:pt x="406" y="680"/>
                </a:lnTo>
                <a:lnTo>
                  <a:pt x="423" y="678"/>
                </a:lnTo>
                <a:lnTo>
                  <a:pt x="451" y="688"/>
                </a:lnTo>
                <a:lnTo>
                  <a:pt x="480" y="678"/>
                </a:lnTo>
                <a:lnTo>
                  <a:pt x="492" y="669"/>
                </a:lnTo>
                <a:lnTo>
                  <a:pt x="529" y="658"/>
                </a:lnTo>
                <a:lnTo>
                  <a:pt x="549" y="669"/>
                </a:lnTo>
                <a:lnTo>
                  <a:pt x="571" y="726"/>
                </a:lnTo>
                <a:lnTo>
                  <a:pt x="623" y="732"/>
                </a:lnTo>
                <a:lnTo>
                  <a:pt x="643" y="741"/>
                </a:lnTo>
                <a:lnTo>
                  <a:pt x="648" y="737"/>
                </a:lnTo>
                <a:lnTo>
                  <a:pt x="672" y="743"/>
                </a:lnTo>
                <a:lnTo>
                  <a:pt x="700" y="744"/>
                </a:lnTo>
                <a:lnTo>
                  <a:pt x="705" y="740"/>
                </a:lnTo>
                <a:lnTo>
                  <a:pt x="723" y="750"/>
                </a:lnTo>
                <a:lnTo>
                  <a:pt x="753" y="751"/>
                </a:lnTo>
                <a:close/>
              </a:path>
            </a:pathLst>
          </a:custGeom>
          <a:solidFill>
            <a:schemeClr val="accent1"/>
          </a:solidFill>
          <a:ln w="6350">
            <a:solidFill>
              <a:schemeClr val="tx2"/>
            </a:solidFill>
            <a:round/>
            <a:headEnd/>
            <a:tailEnd/>
          </a:ln>
        </p:spPr>
        <p:txBody>
          <a:bodyPr/>
          <a:lstStyle/>
          <a:p>
            <a:endParaRPr lang="en-US"/>
          </a:p>
        </p:txBody>
      </p:sp>
      <p:sp>
        <p:nvSpPr>
          <p:cNvPr id="332" name="Freeform 1703"/>
          <p:cNvSpPr>
            <a:spLocks/>
          </p:cNvSpPr>
          <p:nvPr/>
        </p:nvSpPr>
        <p:spPr bwMode="auto">
          <a:xfrm>
            <a:off x="7390075" y="2296485"/>
            <a:ext cx="18633" cy="17831"/>
          </a:xfrm>
          <a:custGeom>
            <a:avLst/>
            <a:gdLst>
              <a:gd name="T0" fmla="*/ 2147483647 w 36"/>
              <a:gd name="T1" fmla="*/ 0 h 46"/>
              <a:gd name="T2" fmla="*/ 2147483647 w 36"/>
              <a:gd name="T3" fmla="*/ 2147483647 h 46"/>
              <a:gd name="T4" fmla="*/ 2147483647 w 36"/>
              <a:gd name="T5" fmla="*/ 2147483647 h 46"/>
              <a:gd name="T6" fmla="*/ 0 w 36"/>
              <a:gd name="T7" fmla="*/ 2147483647 h 46"/>
              <a:gd name="T8" fmla="*/ 2147483647 w 36"/>
              <a:gd name="T9" fmla="*/ 0 h 46"/>
              <a:gd name="T10" fmla="*/ 0 60000 65536"/>
              <a:gd name="T11" fmla="*/ 0 60000 65536"/>
              <a:gd name="T12" fmla="*/ 0 60000 65536"/>
              <a:gd name="T13" fmla="*/ 0 60000 65536"/>
              <a:gd name="T14" fmla="*/ 0 60000 65536"/>
              <a:gd name="T15" fmla="*/ 0 w 36"/>
              <a:gd name="T16" fmla="*/ 0 h 46"/>
              <a:gd name="T17" fmla="*/ 36 w 36"/>
              <a:gd name="T18" fmla="*/ 46 h 46"/>
            </a:gdLst>
            <a:ahLst/>
            <a:cxnLst>
              <a:cxn ang="T10">
                <a:pos x="T0" y="T1"/>
              </a:cxn>
              <a:cxn ang="T11">
                <a:pos x="T2" y="T3"/>
              </a:cxn>
              <a:cxn ang="T12">
                <a:pos x="T4" y="T5"/>
              </a:cxn>
              <a:cxn ang="T13">
                <a:pos x="T6" y="T7"/>
              </a:cxn>
              <a:cxn ang="T14">
                <a:pos x="T8" y="T9"/>
              </a:cxn>
            </a:cxnLst>
            <a:rect l="T15" t="T16" r="T17" b="T18"/>
            <a:pathLst>
              <a:path w="36" h="46">
                <a:moveTo>
                  <a:pt x="24" y="0"/>
                </a:moveTo>
                <a:lnTo>
                  <a:pt x="35" y="18"/>
                </a:lnTo>
                <a:lnTo>
                  <a:pt x="36" y="46"/>
                </a:lnTo>
                <a:lnTo>
                  <a:pt x="0" y="30"/>
                </a:lnTo>
                <a:lnTo>
                  <a:pt x="24" y="0"/>
                </a:lnTo>
                <a:close/>
              </a:path>
            </a:pathLst>
          </a:custGeom>
          <a:solidFill>
            <a:schemeClr val="accent1"/>
          </a:solidFill>
          <a:ln w="6350">
            <a:solidFill>
              <a:schemeClr val="tx2"/>
            </a:solidFill>
            <a:round/>
            <a:headEnd/>
            <a:tailEnd/>
          </a:ln>
        </p:spPr>
        <p:txBody>
          <a:bodyPr/>
          <a:lstStyle/>
          <a:p>
            <a:endParaRPr lang="en-US"/>
          </a:p>
        </p:txBody>
      </p:sp>
      <p:sp>
        <p:nvSpPr>
          <p:cNvPr id="333" name="Freeform 1704"/>
          <p:cNvSpPr>
            <a:spLocks/>
          </p:cNvSpPr>
          <p:nvPr/>
        </p:nvSpPr>
        <p:spPr bwMode="auto">
          <a:xfrm>
            <a:off x="7357107" y="2321958"/>
            <a:ext cx="27234" cy="20378"/>
          </a:xfrm>
          <a:custGeom>
            <a:avLst/>
            <a:gdLst>
              <a:gd name="T0" fmla="*/ 2147483647 w 58"/>
              <a:gd name="T1" fmla="*/ 2147483647 h 49"/>
              <a:gd name="T2" fmla="*/ 2147483647 w 58"/>
              <a:gd name="T3" fmla="*/ 0 h 49"/>
              <a:gd name="T4" fmla="*/ 2147483647 w 58"/>
              <a:gd name="T5" fmla="*/ 2147483647 h 49"/>
              <a:gd name="T6" fmla="*/ 2147483647 w 58"/>
              <a:gd name="T7" fmla="*/ 2147483647 h 49"/>
              <a:gd name="T8" fmla="*/ 2147483647 w 58"/>
              <a:gd name="T9" fmla="*/ 2147483647 h 49"/>
              <a:gd name="T10" fmla="*/ 0 w 58"/>
              <a:gd name="T11" fmla="*/ 2147483647 h 49"/>
              <a:gd name="T12" fmla="*/ 2147483647 w 58"/>
              <a:gd name="T13" fmla="*/ 2147483647 h 49"/>
              <a:gd name="T14" fmla="*/ 2147483647 w 58"/>
              <a:gd name="T15" fmla="*/ 2147483647 h 49"/>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49"/>
              <a:gd name="T26" fmla="*/ 58 w 58"/>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49">
                <a:moveTo>
                  <a:pt x="17" y="11"/>
                </a:moveTo>
                <a:lnTo>
                  <a:pt x="26" y="0"/>
                </a:lnTo>
                <a:lnTo>
                  <a:pt x="58" y="15"/>
                </a:lnTo>
                <a:lnTo>
                  <a:pt x="38" y="42"/>
                </a:lnTo>
                <a:lnTo>
                  <a:pt x="2" y="49"/>
                </a:lnTo>
                <a:lnTo>
                  <a:pt x="0" y="41"/>
                </a:lnTo>
                <a:lnTo>
                  <a:pt x="4" y="29"/>
                </a:lnTo>
                <a:lnTo>
                  <a:pt x="17" y="11"/>
                </a:lnTo>
                <a:close/>
              </a:path>
            </a:pathLst>
          </a:custGeom>
          <a:solidFill>
            <a:schemeClr val="accent1"/>
          </a:solidFill>
          <a:ln w="6350">
            <a:solidFill>
              <a:schemeClr val="tx2"/>
            </a:solidFill>
            <a:round/>
            <a:headEnd/>
            <a:tailEnd/>
          </a:ln>
        </p:spPr>
        <p:txBody>
          <a:bodyPr/>
          <a:lstStyle/>
          <a:p>
            <a:endParaRPr lang="en-US"/>
          </a:p>
        </p:txBody>
      </p:sp>
      <p:sp>
        <p:nvSpPr>
          <p:cNvPr id="334" name="Freeform 1705"/>
          <p:cNvSpPr>
            <a:spLocks/>
          </p:cNvSpPr>
          <p:nvPr/>
        </p:nvSpPr>
        <p:spPr bwMode="auto">
          <a:xfrm>
            <a:off x="7447408" y="2130910"/>
            <a:ext cx="14334" cy="22926"/>
          </a:xfrm>
          <a:custGeom>
            <a:avLst/>
            <a:gdLst>
              <a:gd name="T0" fmla="*/ 2147483647 w 33"/>
              <a:gd name="T1" fmla="*/ 2147483647 h 53"/>
              <a:gd name="T2" fmla="*/ 2147483647 w 33"/>
              <a:gd name="T3" fmla="*/ 2147483647 h 53"/>
              <a:gd name="T4" fmla="*/ 2147483647 w 33"/>
              <a:gd name="T5" fmla="*/ 2147483647 h 53"/>
              <a:gd name="T6" fmla="*/ 2147483647 w 33"/>
              <a:gd name="T7" fmla="*/ 2147483647 h 53"/>
              <a:gd name="T8" fmla="*/ 2147483647 w 33"/>
              <a:gd name="T9" fmla="*/ 2147483647 h 53"/>
              <a:gd name="T10" fmla="*/ 2147483647 w 33"/>
              <a:gd name="T11" fmla="*/ 2147483647 h 53"/>
              <a:gd name="T12" fmla="*/ 2147483647 w 33"/>
              <a:gd name="T13" fmla="*/ 2147483647 h 53"/>
              <a:gd name="T14" fmla="*/ 0 w 33"/>
              <a:gd name="T15" fmla="*/ 2147483647 h 53"/>
              <a:gd name="T16" fmla="*/ 2147483647 w 33"/>
              <a:gd name="T17" fmla="*/ 2147483647 h 53"/>
              <a:gd name="T18" fmla="*/ 2147483647 w 33"/>
              <a:gd name="T19" fmla="*/ 0 h 53"/>
              <a:gd name="T20" fmla="*/ 2147483647 w 33"/>
              <a:gd name="T21" fmla="*/ 2147483647 h 53"/>
              <a:gd name="T22" fmla="*/ 2147483647 w 33"/>
              <a:gd name="T23" fmla="*/ 2147483647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53"/>
              <a:gd name="T38" fmla="*/ 33 w 33"/>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53">
                <a:moveTo>
                  <a:pt x="29" y="16"/>
                </a:moveTo>
                <a:lnTo>
                  <a:pt x="33" y="28"/>
                </a:lnTo>
                <a:lnTo>
                  <a:pt x="26" y="26"/>
                </a:lnTo>
                <a:lnTo>
                  <a:pt x="23" y="53"/>
                </a:lnTo>
                <a:lnTo>
                  <a:pt x="18" y="27"/>
                </a:lnTo>
                <a:lnTo>
                  <a:pt x="5" y="21"/>
                </a:lnTo>
                <a:lnTo>
                  <a:pt x="8" y="52"/>
                </a:lnTo>
                <a:lnTo>
                  <a:pt x="0" y="23"/>
                </a:lnTo>
                <a:lnTo>
                  <a:pt x="15" y="12"/>
                </a:lnTo>
                <a:lnTo>
                  <a:pt x="15" y="0"/>
                </a:lnTo>
                <a:lnTo>
                  <a:pt x="32" y="4"/>
                </a:lnTo>
                <a:lnTo>
                  <a:pt x="29" y="16"/>
                </a:lnTo>
                <a:close/>
              </a:path>
            </a:pathLst>
          </a:custGeom>
          <a:solidFill>
            <a:schemeClr val="accent1"/>
          </a:solidFill>
          <a:ln w="6350">
            <a:solidFill>
              <a:schemeClr val="tx2"/>
            </a:solidFill>
            <a:round/>
            <a:headEnd/>
            <a:tailEnd/>
          </a:ln>
        </p:spPr>
        <p:txBody>
          <a:bodyPr/>
          <a:lstStyle/>
          <a:p>
            <a:endParaRPr lang="en-US"/>
          </a:p>
        </p:txBody>
      </p:sp>
      <p:sp>
        <p:nvSpPr>
          <p:cNvPr id="335" name="Freeform 1706"/>
          <p:cNvSpPr>
            <a:spLocks/>
          </p:cNvSpPr>
          <p:nvPr/>
        </p:nvSpPr>
        <p:spPr bwMode="auto">
          <a:xfrm>
            <a:off x="7464608" y="2440408"/>
            <a:ext cx="8600" cy="16557"/>
          </a:xfrm>
          <a:custGeom>
            <a:avLst/>
            <a:gdLst>
              <a:gd name="T0" fmla="*/ 0 w 22"/>
              <a:gd name="T1" fmla="*/ 2147483647 h 42"/>
              <a:gd name="T2" fmla="*/ 2147483647 w 22"/>
              <a:gd name="T3" fmla="*/ 0 h 42"/>
              <a:gd name="T4" fmla="*/ 2147483647 w 22"/>
              <a:gd name="T5" fmla="*/ 2147483647 h 42"/>
              <a:gd name="T6" fmla="*/ 2147483647 w 22"/>
              <a:gd name="T7" fmla="*/ 2147483647 h 42"/>
              <a:gd name="T8" fmla="*/ 0 w 22"/>
              <a:gd name="T9" fmla="*/ 2147483647 h 42"/>
              <a:gd name="T10" fmla="*/ 0 60000 65536"/>
              <a:gd name="T11" fmla="*/ 0 60000 65536"/>
              <a:gd name="T12" fmla="*/ 0 60000 65536"/>
              <a:gd name="T13" fmla="*/ 0 60000 65536"/>
              <a:gd name="T14" fmla="*/ 0 60000 65536"/>
              <a:gd name="T15" fmla="*/ 0 w 22"/>
              <a:gd name="T16" fmla="*/ 0 h 42"/>
              <a:gd name="T17" fmla="*/ 22 w 22"/>
              <a:gd name="T18" fmla="*/ 42 h 42"/>
            </a:gdLst>
            <a:ahLst/>
            <a:cxnLst>
              <a:cxn ang="T10">
                <a:pos x="T0" y="T1"/>
              </a:cxn>
              <a:cxn ang="T11">
                <a:pos x="T2" y="T3"/>
              </a:cxn>
              <a:cxn ang="T12">
                <a:pos x="T4" y="T5"/>
              </a:cxn>
              <a:cxn ang="T13">
                <a:pos x="T6" y="T7"/>
              </a:cxn>
              <a:cxn ang="T14">
                <a:pos x="T8" y="T9"/>
              </a:cxn>
            </a:cxnLst>
            <a:rect l="T15" t="T16" r="T17" b="T18"/>
            <a:pathLst>
              <a:path w="22" h="42">
                <a:moveTo>
                  <a:pt x="0" y="15"/>
                </a:moveTo>
                <a:lnTo>
                  <a:pt x="11" y="0"/>
                </a:lnTo>
                <a:lnTo>
                  <a:pt x="22" y="36"/>
                </a:lnTo>
                <a:lnTo>
                  <a:pt x="9" y="42"/>
                </a:lnTo>
                <a:lnTo>
                  <a:pt x="0" y="15"/>
                </a:lnTo>
                <a:close/>
              </a:path>
            </a:pathLst>
          </a:custGeom>
          <a:solidFill>
            <a:schemeClr val="accent1"/>
          </a:solidFill>
          <a:ln w="6350">
            <a:solidFill>
              <a:schemeClr val="tx2"/>
            </a:solidFill>
            <a:round/>
            <a:headEnd/>
            <a:tailEnd/>
          </a:ln>
        </p:spPr>
        <p:txBody>
          <a:bodyPr/>
          <a:lstStyle/>
          <a:p>
            <a:endParaRPr lang="en-US"/>
          </a:p>
        </p:txBody>
      </p:sp>
      <p:sp>
        <p:nvSpPr>
          <p:cNvPr id="336" name="Freeform 1370"/>
          <p:cNvSpPr>
            <a:spLocks/>
          </p:cNvSpPr>
          <p:nvPr/>
        </p:nvSpPr>
        <p:spPr bwMode="auto">
          <a:xfrm>
            <a:off x="9438315" y="2529565"/>
            <a:ext cx="209268" cy="210153"/>
          </a:xfrm>
          <a:custGeom>
            <a:avLst/>
            <a:gdLst>
              <a:gd name="T0" fmla="*/ 2147483647 w 445"/>
              <a:gd name="T1" fmla="*/ 2147483647 h 505"/>
              <a:gd name="T2" fmla="*/ 2147483647 w 445"/>
              <a:gd name="T3" fmla="*/ 2147483647 h 505"/>
              <a:gd name="T4" fmla="*/ 2147483647 w 445"/>
              <a:gd name="T5" fmla="*/ 2147483647 h 505"/>
              <a:gd name="T6" fmla="*/ 2147483647 w 445"/>
              <a:gd name="T7" fmla="*/ 2147483647 h 505"/>
              <a:gd name="T8" fmla="*/ 2147483647 w 445"/>
              <a:gd name="T9" fmla="*/ 2147483647 h 505"/>
              <a:gd name="T10" fmla="*/ 2147483647 w 445"/>
              <a:gd name="T11" fmla="*/ 2147483647 h 505"/>
              <a:gd name="T12" fmla="*/ 2147483647 w 445"/>
              <a:gd name="T13" fmla="*/ 2147483647 h 505"/>
              <a:gd name="T14" fmla="*/ 2147483647 w 445"/>
              <a:gd name="T15" fmla="*/ 2147483647 h 505"/>
              <a:gd name="T16" fmla="*/ 2147483647 w 445"/>
              <a:gd name="T17" fmla="*/ 2147483647 h 505"/>
              <a:gd name="T18" fmla="*/ 2147483647 w 445"/>
              <a:gd name="T19" fmla="*/ 2147483647 h 505"/>
              <a:gd name="T20" fmla="*/ 2147483647 w 445"/>
              <a:gd name="T21" fmla="*/ 2147483647 h 505"/>
              <a:gd name="T22" fmla="*/ 2147483647 w 445"/>
              <a:gd name="T23" fmla="*/ 2147483647 h 505"/>
              <a:gd name="T24" fmla="*/ 2147483647 w 445"/>
              <a:gd name="T25" fmla="*/ 2147483647 h 505"/>
              <a:gd name="T26" fmla="*/ 2147483647 w 445"/>
              <a:gd name="T27" fmla="*/ 2147483647 h 505"/>
              <a:gd name="T28" fmla="*/ 2147483647 w 445"/>
              <a:gd name="T29" fmla="*/ 2147483647 h 505"/>
              <a:gd name="T30" fmla="*/ 2147483647 w 445"/>
              <a:gd name="T31" fmla="*/ 2147483647 h 505"/>
              <a:gd name="T32" fmla="*/ 2147483647 w 445"/>
              <a:gd name="T33" fmla="*/ 2147483647 h 505"/>
              <a:gd name="T34" fmla="*/ 2147483647 w 445"/>
              <a:gd name="T35" fmla="*/ 2147483647 h 505"/>
              <a:gd name="T36" fmla="*/ 2147483647 w 445"/>
              <a:gd name="T37" fmla="*/ 2147483647 h 505"/>
              <a:gd name="T38" fmla="*/ 2147483647 w 445"/>
              <a:gd name="T39" fmla="*/ 2147483647 h 505"/>
              <a:gd name="T40" fmla="*/ 2147483647 w 445"/>
              <a:gd name="T41" fmla="*/ 2147483647 h 505"/>
              <a:gd name="T42" fmla="*/ 2147483647 w 445"/>
              <a:gd name="T43" fmla="*/ 2147483647 h 505"/>
              <a:gd name="T44" fmla="*/ 2147483647 w 445"/>
              <a:gd name="T45" fmla="*/ 2147483647 h 505"/>
              <a:gd name="T46" fmla="*/ 2147483647 w 445"/>
              <a:gd name="T47" fmla="*/ 2147483647 h 505"/>
              <a:gd name="T48" fmla="*/ 2147483647 w 445"/>
              <a:gd name="T49" fmla="*/ 2147483647 h 505"/>
              <a:gd name="T50" fmla="*/ 2147483647 w 445"/>
              <a:gd name="T51" fmla="*/ 2147483647 h 505"/>
              <a:gd name="T52" fmla="*/ 2147483647 w 445"/>
              <a:gd name="T53" fmla="*/ 2147483647 h 505"/>
              <a:gd name="T54" fmla="*/ 2147483647 w 445"/>
              <a:gd name="T55" fmla="*/ 2147483647 h 505"/>
              <a:gd name="T56" fmla="*/ 2147483647 w 445"/>
              <a:gd name="T57" fmla="*/ 2147483647 h 505"/>
              <a:gd name="T58" fmla="*/ 2147483647 w 445"/>
              <a:gd name="T59" fmla="*/ 2147483647 h 505"/>
              <a:gd name="T60" fmla="*/ 2147483647 w 445"/>
              <a:gd name="T61" fmla="*/ 2147483647 h 505"/>
              <a:gd name="T62" fmla="*/ 2147483647 w 445"/>
              <a:gd name="T63" fmla="*/ 2147483647 h 505"/>
              <a:gd name="T64" fmla="*/ 2147483647 w 445"/>
              <a:gd name="T65" fmla="*/ 2147483647 h 505"/>
              <a:gd name="T66" fmla="*/ 2147483647 w 445"/>
              <a:gd name="T67" fmla="*/ 2147483647 h 505"/>
              <a:gd name="T68" fmla="*/ 2147483647 w 445"/>
              <a:gd name="T69" fmla="*/ 2147483647 h 505"/>
              <a:gd name="T70" fmla="*/ 2147483647 w 445"/>
              <a:gd name="T71" fmla="*/ 2147483647 h 505"/>
              <a:gd name="T72" fmla="*/ 2147483647 w 445"/>
              <a:gd name="T73" fmla="*/ 2147483647 h 505"/>
              <a:gd name="T74" fmla="*/ 2147483647 w 445"/>
              <a:gd name="T75" fmla="*/ 2147483647 h 505"/>
              <a:gd name="T76" fmla="*/ 2147483647 w 445"/>
              <a:gd name="T77" fmla="*/ 2147483647 h 505"/>
              <a:gd name="T78" fmla="*/ 2147483647 w 445"/>
              <a:gd name="T79" fmla="*/ 2147483647 h 505"/>
              <a:gd name="T80" fmla="*/ 2147483647 w 445"/>
              <a:gd name="T81" fmla="*/ 2147483647 h 505"/>
              <a:gd name="T82" fmla="*/ 2147483647 w 445"/>
              <a:gd name="T83" fmla="*/ 2147483647 h 505"/>
              <a:gd name="T84" fmla="*/ 2147483647 w 445"/>
              <a:gd name="T85" fmla="*/ 2147483647 h 505"/>
              <a:gd name="T86" fmla="*/ 2147483647 w 445"/>
              <a:gd name="T87" fmla="*/ 2147483647 h 505"/>
              <a:gd name="T88" fmla="*/ 2147483647 w 445"/>
              <a:gd name="T89" fmla="*/ 2147483647 h 505"/>
              <a:gd name="T90" fmla="*/ 2147483647 w 445"/>
              <a:gd name="T91" fmla="*/ 2147483647 h 505"/>
              <a:gd name="T92" fmla="*/ 2147483647 w 445"/>
              <a:gd name="T93" fmla="*/ 2147483647 h 505"/>
              <a:gd name="T94" fmla="*/ 2147483647 w 445"/>
              <a:gd name="T95" fmla="*/ 2147483647 h 505"/>
              <a:gd name="T96" fmla="*/ 2147483647 w 445"/>
              <a:gd name="T97" fmla="*/ 2147483647 h 505"/>
              <a:gd name="T98" fmla="*/ 2147483647 w 445"/>
              <a:gd name="T99" fmla="*/ 2147483647 h 505"/>
              <a:gd name="T100" fmla="*/ 2147483647 w 445"/>
              <a:gd name="T101" fmla="*/ 2147483647 h 505"/>
              <a:gd name="T102" fmla="*/ 2147483647 w 445"/>
              <a:gd name="T103" fmla="*/ 2147483647 h 505"/>
              <a:gd name="T104" fmla="*/ 2147483647 w 445"/>
              <a:gd name="T105" fmla="*/ 2147483647 h 505"/>
              <a:gd name="T106" fmla="*/ 2147483647 w 445"/>
              <a:gd name="T107" fmla="*/ 2147483647 h 505"/>
              <a:gd name="T108" fmla="*/ 0 w 445"/>
              <a:gd name="T109" fmla="*/ 0 h 50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5"/>
              <a:gd name="T166" fmla="*/ 0 h 505"/>
              <a:gd name="T167" fmla="*/ 445 w 445"/>
              <a:gd name="T168" fmla="*/ 505 h 50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5" h="505">
                <a:moveTo>
                  <a:pt x="0" y="0"/>
                </a:moveTo>
                <a:lnTo>
                  <a:pt x="47" y="20"/>
                </a:lnTo>
                <a:lnTo>
                  <a:pt x="54" y="46"/>
                </a:lnTo>
                <a:lnTo>
                  <a:pt x="78" y="56"/>
                </a:lnTo>
                <a:lnTo>
                  <a:pt x="82" y="78"/>
                </a:lnTo>
                <a:lnTo>
                  <a:pt x="97" y="72"/>
                </a:lnTo>
                <a:lnTo>
                  <a:pt x="113" y="80"/>
                </a:lnTo>
                <a:lnTo>
                  <a:pt x="118" y="94"/>
                </a:lnTo>
                <a:lnTo>
                  <a:pt x="130" y="94"/>
                </a:lnTo>
                <a:lnTo>
                  <a:pt x="134" y="106"/>
                </a:lnTo>
                <a:lnTo>
                  <a:pt x="126" y="113"/>
                </a:lnTo>
                <a:lnTo>
                  <a:pt x="166" y="124"/>
                </a:lnTo>
                <a:lnTo>
                  <a:pt x="163" y="136"/>
                </a:lnTo>
                <a:lnTo>
                  <a:pt x="151" y="142"/>
                </a:lnTo>
                <a:lnTo>
                  <a:pt x="196" y="171"/>
                </a:lnTo>
                <a:lnTo>
                  <a:pt x="175" y="134"/>
                </a:lnTo>
                <a:lnTo>
                  <a:pt x="198" y="142"/>
                </a:lnTo>
                <a:lnTo>
                  <a:pt x="202" y="159"/>
                </a:lnTo>
                <a:lnTo>
                  <a:pt x="221" y="175"/>
                </a:lnTo>
                <a:lnTo>
                  <a:pt x="222" y="186"/>
                </a:lnTo>
                <a:lnTo>
                  <a:pt x="213" y="178"/>
                </a:lnTo>
                <a:lnTo>
                  <a:pt x="228" y="225"/>
                </a:lnTo>
                <a:lnTo>
                  <a:pt x="226" y="244"/>
                </a:lnTo>
                <a:lnTo>
                  <a:pt x="241" y="257"/>
                </a:lnTo>
                <a:lnTo>
                  <a:pt x="242" y="269"/>
                </a:lnTo>
                <a:lnTo>
                  <a:pt x="259" y="272"/>
                </a:lnTo>
                <a:lnTo>
                  <a:pt x="257" y="292"/>
                </a:lnTo>
                <a:lnTo>
                  <a:pt x="266" y="286"/>
                </a:lnTo>
                <a:lnTo>
                  <a:pt x="267" y="271"/>
                </a:lnTo>
                <a:lnTo>
                  <a:pt x="251" y="261"/>
                </a:lnTo>
                <a:lnTo>
                  <a:pt x="255" y="222"/>
                </a:lnTo>
                <a:lnTo>
                  <a:pt x="244" y="222"/>
                </a:lnTo>
                <a:lnTo>
                  <a:pt x="234" y="214"/>
                </a:lnTo>
                <a:lnTo>
                  <a:pt x="249" y="212"/>
                </a:lnTo>
                <a:lnTo>
                  <a:pt x="266" y="219"/>
                </a:lnTo>
                <a:lnTo>
                  <a:pt x="268" y="204"/>
                </a:lnTo>
                <a:lnTo>
                  <a:pt x="289" y="215"/>
                </a:lnTo>
                <a:lnTo>
                  <a:pt x="280" y="225"/>
                </a:lnTo>
                <a:lnTo>
                  <a:pt x="287" y="238"/>
                </a:lnTo>
                <a:lnTo>
                  <a:pt x="294" y="232"/>
                </a:lnTo>
                <a:lnTo>
                  <a:pt x="290" y="221"/>
                </a:lnTo>
                <a:lnTo>
                  <a:pt x="315" y="232"/>
                </a:lnTo>
                <a:lnTo>
                  <a:pt x="316" y="218"/>
                </a:lnTo>
                <a:lnTo>
                  <a:pt x="355" y="225"/>
                </a:lnTo>
                <a:lnTo>
                  <a:pt x="374" y="261"/>
                </a:lnTo>
                <a:lnTo>
                  <a:pt x="409" y="293"/>
                </a:lnTo>
                <a:lnTo>
                  <a:pt x="403" y="301"/>
                </a:lnTo>
                <a:lnTo>
                  <a:pt x="407" y="305"/>
                </a:lnTo>
                <a:lnTo>
                  <a:pt x="416" y="296"/>
                </a:lnTo>
                <a:lnTo>
                  <a:pt x="421" y="309"/>
                </a:lnTo>
                <a:lnTo>
                  <a:pt x="445" y="314"/>
                </a:lnTo>
                <a:lnTo>
                  <a:pt x="408" y="335"/>
                </a:lnTo>
                <a:lnTo>
                  <a:pt x="404" y="368"/>
                </a:lnTo>
                <a:lnTo>
                  <a:pt x="373" y="344"/>
                </a:lnTo>
                <a:lnTo>
                  <a:pt x="370" y="350"/>
                </a:lnTo>
                <a:lnTo>
                  <a:pt x="372" y="362"/>
                </a:lnTo>
                <a:lnTo>
                  <a:pt x="384" y="369"/>
                </a:lnTo>
                <a:lnTo>
                  <a:pt x="387" y="376"/>
                </a:lnTo>
                <a:lnTo>
                  <a:pt x="384" y="381"/>
                </a:lnTo>
                <a:lnTo>
                  <a:pt x="350" y="378"/>
                </a:lnTo>
                <a:lnTo>
                  <a:pt x="338" y="388"/>
                </a:lnTo>
                <a:lnTo>
                  <a:pt x="337" y="405"/>
                </a:lnTo>
                <a:lnTo>
                  <a:pt x="334" y="409"/>
                </a:lnTo>
                <a:lnTo>
                  <a:pt x="342" y="425"/>
                </a:lnTo>
                <a:lnTo>
                  <a:pt x="298" y="451"/>
                </a:lnTo>
                <a:lnTo>
                  <a:pt x="313" y="453"/>
                </a:lnTo>
                <a:lnTo>
                  <a:pt x="303" y="464"/>
                </a:lnTo>
                <a:lnTo>
                  <a:pt x="318" y="466"/>
                </a:lnTo>
                <a:lnTo>
                  <a:pt x="329" y="488"/>
                </a:lnTo>
                <a:lnTo>
                  <a:pt x="307" y="486"/>
                </a:lnTo>
                <a:lnTo>
                  <a:pt x="307" y="499"/>
                </a:lnTo>
                <a:lnTo>
                  <a:pt x="302" y="505"/>
                </a:lnTo>
                <a:lnTo>
                  <a:pt x="284" y="498"/>
                </a:lnTo>
                <a:lnTo>
                  <a:pt x="291" y="478"/>
                </a:lnTo>
                <a:lnTo>
                  <a:pt x="287" y="473"/>
                </a:lnTo>
                <a:lnTo>
                  <a:pt x="283" y="492"/>
                </a:lnTo>
                <a:lnTo>
                  <a:pt x="276" y="496"/>
                </a:lnTo>
                <a:lnTo>
                  <a:pt x="268" y="493"/>
                </a:lnTo>
                <a:lnTo>
                  <a:pt x="269" y="482"/>
                </a:lnTo>
                <a:lnTo>
                  <a:pt x="257" y="490"/>
                </a:lnTo>
                <a:lnTo>
                  <a:pt x="248" y="474"/>
                </a:lnTo>
                <a:lnTo>
                  <a:pt x="250" y="469"/>
                </a:lnTo>
                <a:lnTo>
                  <a:pt x="224" y="455"/>
                </a:lnTo>
                <a:lnTo>
                  <a:pt x="231" y="447"/>
                </a:lnTo>
                <a:lnTo>
                  <a:pt x="233" y="435"/>
                </a:lnTo>
                <a:lnTo>
                  <a:pt x="227" y="437"/>
                </a:lnTo>
                <a:lnTo>
                  <a:pt x="228" y="450"/>
                </a:lnTo>
                <a:lnTo>
                  <a:pt x="218" y="443"/>
                </a:lnTo>
                <a:lnTo>
                  <a:pt x="218" y="456"/>
                </a:lnTo>
                <a:lnTo>
                  <a:pt x="199" y="453"/>
                </a:lnTo>
                <a:lnTo>
                  <a:pt x="176" y="426"/>
                </a:lnTo>
                <a:lnTo>
                  <a:pt x="176" y="384"/>
                </a:lnTo>
                <a:lnTo>
                  <a:pt x="150" y="369"/>
                </a:lnTo>
                <a:lnTo>
                  <a:pt x="98" y="380"/>
                </a:lnTo>
                <a:lnTo>
                  <a:pt x="65" y="372"/>
                </a:lnTo>
                <a:lnTo>
                  <a:pt x="62" y="348"/>
                </a:lnTo>
                <a:lnTo>
                  <a:pt x="56" y="348"/>
                </a:lnTo>
                <a:lnTo>
                  <a:pt x="45" y="321"/>
                </a:lnTo>
                <a:lnTo>
                  <a:pt x="62" y="318"/>
                </a:lnTo>
                <a:lnTo>
                  <a:pt x="63" y="289"/>
                </a:lnTo>
                <a:lnTo>
                  <a:pt x="46" y="310"/>
                </a:lnTo>
                <a:lnTo>
                  <a:pt x="36" y="291"/>
                </a:lnTo>
                <a:lnTo>
                  <a:pt x="26" y="292"/>
                </a:lnTo>
                <a:lnTo>
                  <a:pt x="28" y="311"/>
                </a:lnTo>
                <a:lnTo>
                  <a:pt x="0" y="314"/>
                </a:lnTo>
                <a:lnTo>
                  <a:pt x="6" y="341"/>
                </a:lnTo>
                <a:lnTo>
                  <a:pt x="29" y="363"/>
                </a:lnTo>
                <a:lnTo>
                  <a:pt x="30" y="376"/>
                </a:lnTo>
                <a:lnTo>
                  <a:pt x="0" y="423"/>
                </a:lnTo>
                <a:lnTo>
                  <a:pt x="0" y="0"/>
                </a:lnTo>
                <a:close/>
              </a:path>
            </a:pathLst>
          </a:custGeom>
          <a:solidFill>
            <a:schemeClr val="accent1"/>
          </a:solidFill>
          <a:ln w="6350">
            <a:solidFill>
              <a:schemeClr val="tx2"/>
            </a:solidFill>
            <a:round/>
            <a:headEnd/>
            <a:tailEnd/>
          </a:ln>
        </p:spPr>
        <p:txBody>
          <a:bodyPr/>
          <a:lstStyle/>
          <a:p>
            <a:endParaRPr lang="en-US"/>
          </a:p>
        </p:txBody>
      </p:sp>
      <p:sp>
        <p:nvSpPr>
          <p:cNvPr id="337" name="Freeform 1381"/>
          <p:cNvSpPr>
            <a:spLocks/>
          </p:cNvSpPr>
          <p:nvPr/>
        </p:nvSpPr>
        <p:spPr bwMode="auto">
          <a:xfrm>
            <a:off x="6355205" y="1970429"/>
            <a:ext cx="3093145" cy="1469800"/>
          </a:xfrm>
          <a:custGeom>
            <a:avLst/>
            <a:gdLst>
              <a:gd name="T0" fmla="*/ 2147483647 w 6589"/>
              <a:gd name="T1" fmla="*/ 2147483647 h 3529"/>
              <a:gd name="T2" fmla="*/ 2147483647 w 6589"/>
              <a:gd name="T3" fmla="*/ 2147483647 h 3529"/>
              <a:gd name="T4" fmla="*/ 2147483647 w 6589"/>
              <a:gd name="T5" fmla="*/ 2147483647 h 3529"/>
              <a:gd name="T6" fmla="*/ 2147483647 w 6589"/>
              <a:gd name="T7" fmla="*/ 2147483647 h 3529"/>
              <a:gd name="T8" fmla="*/ 2147483647 w 6589"/>
              <a:gd name="T9" fmla="*/ 2147483647 h 3529"/>
              <a:gd name="T10" fmla="*/ 2147483647 w 6589"/>
              <a:gd name="T11" fmla="*/ 2147483647 h 3529"/>
              <a:gd name="T12" fmla="*/ 2147483647 w 6589"/>
              <a:gd name="T13" fmla="*/ 2147483647 h 3529"/>
              <a:gd name="T14" fmla="*/ 2147483647 w 6589"/>
              <a:gd name="T15" fmla="*/ 2147483647 h 3529"/>
              <a:gd name="T16" fmla="*/ 2147483647 w 6589"/>
              <a:gd name="T17" fmla="*/ 2147483647 h 3529"/>
              <a:gd name="T18" fmla="*/ 2147483647 w 6589"/>
              <a:gd name="T19" fmla="*/ 2147483647 h 3529"/>
              <a:gd name="T20" fmla="*/ 2147483647 w 6589"/>
              <a:gd name="T21" fmla="*/ 2147483647 h 3529"/>
              <a:gd name="T22" fmla="*/ 2147483647 w 6589"/>
              <a:gd name="T23" fmla="*/ 2147483647 h 3529"/>
              <a:gd name="T24" fmla="*/ 2147483647 w 6589"/>
              <a:gd name="T25" fmla="*/ 2147483647 h 3529"/>
              <a:gd name="T26" fmla="*/ 2147483647 w 6589"/>
              <a:gd name="T27" fmla="*/ 2147483647 h 3529"/>
              <a:gd name="T28" fmla="*/ 2147483647 w 6589"/>
              <a:gd name="T29" fmla="*/ 2147483647 h 3529"/>
              <a:gd name="T30" fmla="*/ 2147483647 w 6589"/>
              <a:gd name="T31" fmla="*/ 2147483647 h 3529"/>
              <a:gd name="T32" fmla="*/ 2147483647 w 6589"/>
              <a:gd name="T33" fmla="*/ 2147483647 h 3529"/>
              <a:gd name="T34" fmla="*/ 2147483647 w 6589"/>
              <a:gd name="T35" fmla="*/ 2147483647 h 3529"/>
              <a:gd name="T36" fmla="*/ 2147483647 w 6589"/>
              <a:gd name="T37" fmla="*/ 2147483647 h 3529"/>
              <a:gd name="T38" fmla="*/ 2147483647 w 6589"/>
              <a:gd name="T39" fmla="*/ 2147483647 h 3529"/>
              <a:gd name="T40" fmla="*/ 2147483647 w 6589"/>
              <a:gd name="T41" fmla="*/ 2147483647 h 3529"/>
              <a:gd name="T42" fmla="*/ 2147483647 w 6589"/>
              <a:gd name="T43" fmla="*/ 2147483647 h 3529"/>
              <a:gd name="T44" fmla="*/ 2147483647 w 6589"/>
              <a:gd name="T45" fmla="*/ 2147483647 h 3529"/>
              <a:gd name="T46" fmla="*/ 2147483647 w 6589"/>
              <a:gd name="T47" fmla="*/ 2147483647 h 3529"/>
              <a:gd name="T48" fmla="*/ 2147483647 w 6589"/>
              <a:gd name="T49" fmla="*/ 2147483647 h 3529"/>
              <a:gd name="T50" fmla="*/ 2147483647 w 6589"/>
              <a:gd name="T51" fmla="*/ 2147483647 h 3529"/>
              <a:gd name="T52" fmla="*/ 2147483647 w 6589"/>
              <a:gd name="T53" fmla="*/ 2147483647 h 3529"/>
              <a:gd name="T54" fmla="*/ 2147483647 w 6589"/>
              <a:gd name="T55" fmla="*/ 2147483647 h 3529"/>
              <a:gd name="T56" fmla="*/ 2147483647 w 6589"/>
              <a:gd name="T57" fmla="*/ 2147483647 h 3529"/>
              <a:gd name="T58" fmla="*/ 2147483647 w 6589"/>
              <a:gd name="T59" fmla="*/ 2147483647 h 3529"/>
              <a:gd name="T60" fmla="*/ 2147483647 w 6589"/>
              <a:gd name="T61" fmla="*/ 2147483647 h 3529"/>
              <a:gd name="T62" fmla="*/ 2147483647 w 6589"/>
              <a:gd name="T63" fmla="*/ 2147483647 h 3529"/>
              <a:gd name="T64" fmla="*/ 2147483647 w 6589"/>
              <a:gd name="T65" fmla="*/ 2147483647 h 3529"/>
              <a:gd name="T66" fmla="*/ 2147483647 w 6589"/>
              <a:gd name="T67" fmla="*/ 2147483647 h 3529"/>
              <a:gd name="T68" fmla="*/ 2147483647 w 6589"/>
              <a:gd name="T69" fmla="*/ 2147483647 h 3529"/>
              <a:gd name="T70" fmla="*/ 2147483647 w 6589"/>
              <a:gd name="T71" fmla="*/ 2147483647 h 3529"/>
              <a:gd name="T72" fmla="*/ 2147483647 w 6589"/>
              <a:gd name="T73" fmla="*/ 2147483647 h 3529"/>
              <a:gd name="T74" fmla="*/ 2147483647 w 6589"/>
              <a:gd name="T75" fmla="*/ 2147483647 h 3529"/>
              <a:gd name="T76" fmla="*/ 2147483647 w 6589"/>
              <a:gd name="T77" fmla="*/ 2147483647 h 3529"/>
              <a:gd name="T78" fmla="*/ 2147483647 w 6589"/>
              <a:gd name="T79" fmla="*/ 2147483647 h 3529"/>
              <a:gd name="T80" fmla="*/ 2147483647 w 6589"/>
              <a:gd name="T81" fmla="*/ 2147483647 h 3529"/>
              <a:gd name="T82" fmla="*/ 2147483647 w 6589"/>
              <a:gd name="T83" fmla="*/ 2147483647 h 3529"/>
              <a:gd name="T84" fmla="*/ 2147483647 w 6589"/>
              <a:gd name="T85" fmla="*/ 2147483647 h 3529"/>
              <a:gd name="T86" fmla="*/ 2147483647 w 6589"/>
              <a:gd name="T87" fmla="*/ 2147483647 h 3529"/>
              <a:gd name="T88" fmla="*/ 2147483647 w 6589"/>
              <a:gd name="T89" fmla="*/ 2147483647 h 3529"/>
              <a:gd name="T90" fmla="*/ 2147483647 w 6589"/>
              <a:gd name="T91" fmla="*/ 2147483647 h 3529"/>
              <a:gd name="T92" fmla="*/ 2147483647 w 6589"/>
              <a:gd name="T93" fmla="*/ 2147483647 h 3529"/>
              <a:gd name="T94" fmla="*/ 2147483647 w 6589"/>
              <a:gd name="T95" fmla="*/ 2147483647 h 3529"/>
              <a:gd name="T96" fmla="*/ 2147483647 w 6589"/>
              <a:gd name="T97" fmla="*/ 2147483647 h 3529"/>
              <a:gd name="T98" fmla="*/ 2147483647 w 6589"/>
              <a:gd name="T99" fmla="*/ 2147483647 h 3529"/>
              <a:gd name="T100" fmla="*/ 2147483647 w 6589"/>
              <a:gd name="T101" fmla="*/ 2147483647 h 3529"/>
              <a:gd name="T102" fmla="*/ 2147483647 w 6589"/>
              <a:gd name="T103" fmla="*/ 2147483647 h 3529"/>
              <a:gd name="T104" fmla="*/ 2147483647 w 6589"/>
              <a:gd name="T105" fmla="*/ 2147483647 h 3529"/>
              <a:gd name="T106" fmla="*/ 2147483647 w 6589"/>
              <a:gd name="T107" fmla="*/ 2147483647 h 3529"/>
              <a:gd name="T108" fmla="*/ 2147483647 w 6589"/>
              <a:gd name="T109" fmla="*/ 2147483647 h 3529"/>
              <a:gd name="T110" fmla="*/ 2147483647 w 6589"/>
              <a:gd name="T111" fmla="*/ 2147483647 h 3529"/>
              <a:gd name="T112" fmla="*/ 2147483647 w 6589"/>
              <a:gd name="T113" fmla="*/ 2147483647 h 3529"/>
              <a:gd name="T114" fmla="*/ 2147483647 w 6589"/>
              <a:gd name="T115" fmla="*/ 2147483647 h 3529"/>
              <a:gd name="T116" fmla="*/ 2147483647 w 6589"/>
              <a:gd name="T117" fmla="*/ 2147483647 h 3529"/>
              <a:gd name="T118" fmla="*/ 2147483647 w 6589"/>
              <a:gd name="T119" fmla="*/ 2147483647 h 35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589"/>
              <a:gd name="T181" fmla="*/ 0 h 3529"/>
              <a:gd name="T182" fmla="*/ 6589 w 6589"/>
              <a:gd name="T183" fmla="*/ 3529 h 35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589" h="3529">
                <a:moveTo>
                  <a:pt x="6589" y="1345"/>
                </a:moveTo>
                <a:lnTo>
                  <a:pt x="6520" y="1284"/>
                </a:lnTo>
                <a:lnTo>
                  <a:pt x="6412" y="1228"/>
                </a:lnTo>
                <a:lnTo>
                  <a:pt x="6184" y="1206"/>
                </a:lnTo>
                <a:lnTo>
                  <a:pt x="6177" y="1211"/>
                </a:lnTo>
                <a:lnTo>
                  <a:pt x="6178" y="1246"/>
                </a:lnTo>
                <a:lnTo>
                  <a:pt x="6161" y="1260"/>
                </a:lnTo>
                <a:lnTo>
                  <a:pt x="6184" y="1266"/>
                </a:lnTo>
                <a:lnTo>
                  <a:pt x="6201" y="1323"/>
                </a:lnTo>
                <a:lnTo>
                  <a:pt x="6162" y="1363"/>
                </a:lnTo>
                <a:lnTo>
                  <a:pt x="6084" y="1308"/>
                </a:lnTo>
                <a:lnTo>
                  <a:pt x="6080" y="1265"/>
                </a:lnTo>
                <a:lnTo>
                  <a:pt x="6062" y="1241"/>
                </a:lnTo>
                <a:lnTo>
                  <a:pt x="6022" y="1277"/>
                </a:lnTo>
                <a:lnTo>
                  <a:pt x="5913" y="1260"/>
                </a:lnTo>
                <a:lnTo>
                  <a:pt x="5902" y="1240"/>
                </a:lnTo>
                <a:lnTo>
                  <a:pt x="5783" y="1288"/>
                </a:lnTo>
                <a:lnTo>
                  <a:pt x="5781" y="1267"/>
                </a:lnTo>
                <a:lnTo>
                  <a:pt x="5740" y="1247"/>
                </a:lnTo>
                <a:lnTo>
                  <a:pt x="5714" y="1236"/>
                </a:lnTo>
                <a:lnTo>
                  <a:pt x="5727" y="1160"/>
                </a:lnTo>
                <a:lnTo>
                  <a:pt x="5677" y="1091"/>
                </a:lnTo>
                <a:lnTo>
                  <a:pt x="5502" y="1086"/>
                </a:lnTo>
                <a:lnTo>
                  <a:pt x="5409" y="1111"/>
                </a:lnTo>
                <a:lnTo>
                  <a:pt x="5375" y="1087"/>
                </a:lnTo>
                <a:lnTo>
                  <a:pt x="5399" y="1062"/>
                </a:lnTo>
                <a:lnTo>
                  <a:pt x="5368" y="1024"/>
                </a:lnTo>
                <a:lnTo>
                  <a:pt x="5329" y="1032"/>
                </a:lnTo>
                <a:lnTo>
                  <a:pt x="5308" y="1000"/>
                </a:lnTo>
                <a:lnTo>
                  <a:pt x="5254" y="992"/>
                </a:lnTo>
                <a:lnTo>
                  <a:pt x="5274" y="961"/>
                </a:lnTo>
                <a:lnTo>
                  <a:pt x="5299" y="969"/>
                </a:lnTo>
                <a:lnTo>
                  <a:pt x="5288" y="926"/>
                </a:lnTo>
                <a:lnTo>
                  <a:pt x="4915" y="830"/>
                </a:lnTo>
                <a:lnTo>
                  <a:pt x="4901" y="842"/>
                </a:lnTo>
                <a:lnTo>
                  <a:pt x="4917" y="865"/>
                </a:lnTo>
                <a:lnTo>
                  <a:pt x="4857" y="944"/>
                </a:lnTo>
                <a:lnTo>
                  <a:pt x="4862" y="967"/>
                </a:lnTo>
                <a:lnTo>
                  <a:pt x="4856" y="983"/>
                </a:lnTo>
                <a:lnTo>
                  <a:pt x="4866" y="1024"/>
                </a:lnTo>
                <a:lnTo>
                  <a:pt x="4843" y="1015"/>
                </a:lnTo>
                <a:lnTo>
                  <a:pt x="4779" y="1064"/>
                </a:lnTo>
                <a:lnTo>
                  <a:pt x="4709" y="1015"/>
                </a:lnTo>
                <a:lnTo>
                  <a:pt x="4676" y="997"/>
                </a:lnTo>
                <a:lnTo>
                  <a:pt x="4594" y="1029"/>
                </a:lnTo>
                <a:lnTo>
                  <a:pt x="4553" y="951"/>
                </a:lnTo>
                <a:lnTo>
                  <a:pt x="4493" y="1123"/>
                </a:lnTo>
                <a:lnTo>
                  <a:pt x="4477" y="1093"/>
                </a:lnTo>
                <a:lnTo>
                  <a:pt x="4434" y="1078"/>
                </a:lnTo>
                <a:lnTo>
                  <a:pt x="4399" y="995"/>
                </a:lnTo>
                <a:lnTo>
                  <a:pt x="4386" y="997"/>
                </a:lnTo>
                <a:lnTo>
                  <a:pt x="4380" y="963"/>
                </a:lnTo>
                <a:lnTo>
                  <a:pt x="4416" y="925"/>
                </a:lnTo>
                <a:lnTo>
                  <a:pt x="4420" y="894"/>
                </a:lnTo>
                <a:lnTo>
                  <a:pt x="4403" y="864"/>
                </a:lnTo>
                <a:lnTo>
                  <a:pt x="4416" y="808"/>
                </a:lnTo>
                <a:lnTo>
                  <a:pt x="4356" y="736"/>
                </a:lnTo>
                <a:lnTo>
                  <a:pt x="4291" y="744"/>
                </a:lnTo>
                <a:lnTo>
                  <a:pt x="4171" y="679"/>
                </a:lnTo>
                <a:lnTo>
                  <a:pt x="4169" y="701"/>
                </a:lnTo>
                <a:lnTo>
                  <a:pt x="4148" y="692"/>
                </a:lnTo>
                <a:lnTo>
                  <a:pt x="4141" y="738"/>
                </a:lnTo>
                <a:lnTo>
                  <a:pt x="4154" y="786"/>
                </a:lnTo>
                <a:lnTo>
                  <a:pt x="4145" y="799"/>
                </a:lnTo>
                <a:lnTo>
                  <a:pt x="4002" y="810"/>
                </a:lnTo>
                <a:lnTo>
                  <a:pt x="3943" y="779"/>
                </a:lnTo>
                <a:lnTo>
                  <a:pt x="3959" y="735"/>
                </a:lnTo>
                <a:lnTo>
                  <a:pt x="3819" y="701"/>
                </a:lnTo>
                <a:lnTo>
                  <a:pt x="3728" y="730"/>
                </a:lnTo>
                <a:lnTo>
                  <a:pt x="3774" y="782"/>
                </a:lnTo>
                <a:lnTo>
                  <a:pt x="3738" y="763"/>
                </a:lnTo>
                <a:lnTo>
                  <a:pt x="3712" y="741"/>
                </a:lnTo>
                <a:lnTo>
                  <a:pt x="3720" y="711"/>
                </a:lnTo>
                <a:lnTo>
                  <a:pt x="3695" y="652"/>
                </a:lnTo>
                <a:lnTo>
                  <a:pt x="3697" y="688"/>
                </a:lnTo>
                <a:lnTo>
                  <a:pt x="3678" y="702"/>
                </a:lnTo>
                <a:lnTo>
                  <a:pt x="3630" y="685"/>
                </a:lnTo>
                <a:lnTo>
                  <a:pt x="3640" y="647"/>
                </a:lnTo>
                <a:lnTo>
                  <a:pt x="3608" y="669"/>
                </a:lnTo>
                <a:lnTo>
                  <a:pt x="3575" y="653"/>
                </a:lnTo>
                <a:lnTo>
                  <a:pt x="3550" y="686"/>
                </a:lnTo>
                <a:lnTo>
                  <a:pt x="3560" y="714"/>
                </a:lnTo>
                <a:lnTo>
                  <a:pt x="3610" y="706"/>
                </a:lnTo>
                <a:lnTo>
                  <a:pt x="3559" y="742"/>
                </a:lnTo>
                <a:lnTo>
                  <a:pt x="3536" y="725"/>
                </a:lnTo>
                <a:lnTo>
                  <a:pt x="3537" y="753"/>
                </a:lnTo>
                <a:lnTo>
                  <a:pt x="3471" y="784"/>
                </a:lnTo>
                <a:lnTo>
                  <a:pt x="3417" y="780"/>
                </a:lnTo>
                <a:lnTo>
                  <a:pt x="3408" y="787"/>
                </a:lnTo>
                <a:lnTo>
                  <a:pt x="3415" y="811"/>
                </a:lnTo>
                <a:lnTo>
                  <a:pt x="3379" y="827"/>
                </a:lnTo>
                <a:lnTo>
                  <a:pt x="3401" y="771"/>
                </a:lnTo>
                <a:lnTo>
                  <a:pt x="3451" y="714"/>
                </a:lnTo>
                <a:lnTo>
                  <a:pt x="3495" y="716"/>
                </a:lnTo>
                <a:lnTo>
                  <a:pt x="3592" y="576"/>
                </a:lnTo>
                <a:lnTo>
                  <a:pt x="3710" y="488"/>
                </a:lnTo>
                <a:lnTo>
                  <a:pt x="3733" y="443"/>
                </a:lnTo>
                <a:lnTo>
                  <a:pt x="3734" y="405"/>
                </a:lnTo>
                <a:lnTo>
                  <a:pt x="3725" y="383"/>
                </a:lnTo>
                <a:lnTo>
                  <a:pt x="3739" y="356"/>
                </a:lnTo>
                <a:lnTo>
                  <a:pt x="3710" y="281"/>
                </a:lnTo>
                <a:lnTo>
                  <a:pt x="3696" y="308"/>
                </a:lnTo>
                <a:lnTo>
                  <a:pt x="3681" y="283"/>
                </a:lnTo>
                <a:lnTo>
                  <a:pt x="3691" y="267"/>
                </a:lnTo>
                <a:lnTo>
                  <a:pt x="3621" y="190"/>
                </a:lnTo>
                <a:lnTo>
                  <a:pt x="3494" y="186"/>
                </a:lnTo>
                <a:lnTo>
                  <a:pt x="3459" y="239"/>
                </a:lnTo>
                <a:lnTo>
                  <a:pt x="3408" y="239"/>
                </a:lnTo>
                <a:lnTo>
                  <a:pt x="3450" y="186"/>
                </a:lnTo>
                <a:lnTo>
                  <a:pt x="3455" y="143"/>
                </a:lnTo>
                <a:lnTo>
                  <a:pt x="3388" y="135"/>
                </a:lnTo>
                <a:lnTo>
                  <a:pt x="3391" y="111"/>
                </a:lnTo>
                <a:lnTo>
                  <a:pt x="3328" y="147"/>
                </a:lnTo>
                <a:lnTo>
                  <a:pt x="3404" y="74"/>
                </a:lnTo>
                <a:lnTo>
                  <a:pt x="3389" y="33"/>
                </a:lnTo>
                <a:lnTo>
                  <a:pt x="3321" y="0"/>
                </a:lnTo>
                <a:lnTo>
                  <a:pt x="3273" y="17"/>
                </a:lnTo>
                <a:lnTo>
                  <a:pt x="3200" y="123"/>
                </a:lnTo>
                <a:lnTo>
                  <a:pt x="3180" y="171"/>
                </a:lnTo>
                <a:lnTo>
                  <a:pt x="3202" y="205"/>
                </a:lnTo>
                <a:lnTo>
                  <a:pt x="3193" y="224"/>
                </a:lnTo>
                <a:lnTo>
                  <a:pt x="3093" y="236"/>
                </a:lnTo>
                <a:lnTo>
                  <a:pt x="3135" y="278"/>
                </a:lnTo>
                <a:lnTo>
                  <a:pt x="3130" y="318"/>
                </a:lnTo>
                <a:lnTo>
                  <a:pt x="3084" y="276"/>
                </a:lnTo>
                <a:lnTo>
                  <a:pt x="2991" y="345"/>
                </a:lnTo>
                <a:lnTo>
                  <a:pt x="2997" y="327"/>
                </a:lnTo>
                <a:lnTo>
                  <a:pt x="2988" y="321"/>
                </a:lnTo>
                <a:lnTo>
                  <a:pt x="2956" y="345"/>
                </a:lnTo>
                <a:lnTo>
                  <a:pt x="2974" y="306"/>
                </a:lnTo>
                <a:lnTo>
                  <a:pt x="2960" y="298"/>
                </a:lnTo>
                <a:lnTo>
                  <a:pt x="2832" y="316"/>
                </a:lnTo>
                <a:lnTo>
                  <a:pt x="2859" y="348"/>
                </a:lnTo>
                <a:lnTo>
                  <a:pt x="2679" y="412"/>
                </a:lnTo>
                <a:lnTo>
                  <a:pt x="2627" y="477"/>
                </a:lnTo>
                <a:lnTo>
                  <a:pt x="2580" y="476"/>
                </a:lnTo>
                <a:lnTo>
                  <a:pt x="2590" y="501"/>
                </a:lnTo>
                <a:lnTo>
                  <a:pt x="2574" y="551"/>
                </a:lnTo>
                <a:lnTo>
                  <a:pt x="2537" y="522"/>
                </a:lnTo>
                <a:lnTo>
                  <a:pt x="2528" y="550"/>
                </a:lnTo>
                <a:lnTo>
                  <a:pt x="2567" y="568"/>
                </a:lnTo>
                <a:lnTo>
                  <a:pt x="2535" y="596"/>
                </a:lnTo>
                <a:lnTo>
                  <a:pt x="2569" y="618"/>
                </a:lnTo>
                <a:lnTo>
                  <a:pt x="2580" y="647"/>
                </a:lnTo>
                <a:lnTo>
                  <a:pt x="2567" y="648"/>
                </a:lnTo>
                <a:lnTo>
                  <a:pt x="2570" y="670"/>
                </a:lnTo>
                <a:lnTo>
                  <a:pt x="2306" y="725"/>
                </a:lnTo>
                <a:lnTo>
                  <a:pt x="2318" y="736"/>
                </a:lnTo>
                <a:lnTo>
                  <a:pt x="2297" y="758"/>
                </a:lnTo>
                <a:lnTo>
                  <a:pt x="2308" y="766"/>
                </a:lnTo>
                <a:lnTo>
                  <a:pt x="2297" y="780"/>
                </a:lnTo>
                <a:lnTo>
                  <a:pt x="2327" y="820"/>
                </a:lnTo>
                <a:lnTo>
                  <a:pt x="2316" y="848"/>
                </a:lnTo>
                <a:lnTo>
                  <a:pt x="2325" y="888"/>
                </a:lnTo>
                <a:lnTo>
                  <a:pt x="2382" y="915"/>
                </a:lnTo>
                <a:lnTo>
                  <a:pt x="2388" y="927"/>
                </a:lnTo>
                <a:lnTo>
                  <a:pt x="2380" y="940"/>
                </a:lnTo>
                <a:lnTo>
                  <a:pt x="2432" y="970"/>
                </a:lnTo>
                <a:lnTo>
                  <a:pt x="2441" y="1005"/>
                </a:lnTo>
                <a:lnTo>
                  <a:pt x="2423" y="1053"/>
                </a:lnTo>
                <a:lnTo>
                  <a:pt x="2444" y="1129"/>
                </a:lnTo>
                <a:lnTo>
                  <a:pt x="2442" y="1166"/>
                </a:lnTo>
                <a:lnTo>
                  <a:pt x="2419" y="1177"/>
                </a:lnTo>
                <a:lnTo>
                  <a:pt x="2422" y="1206"/>
                </a:lnTo>
                <a:lnTo>
                  <a:pt x="2390" y="1197"/>
                </a:lnTo>
                <a:lnTo>
                  <a:pt x="2379" y="1180"/>
                </a:lnTo>
                <a:lnTo>
                  <a:pt x="2379" y="1142"/>
                </a:lnTo>
                <a:lnTo>
                  <a:pt x="2385" y="1120"/>
                </a:lnTo>
                <a:lnTo>
                  <a:pt x="2381" y="1060"/>
                </a:lnTo>
                <a:lnTo>
                  <a:pt x="2413" y="1035"/>
                </a:lnTo>
                <a:lnTo>
                  <a:pt x="2425" y="995"/>
                </a:lnTo>
                <a:lnTo>
                  <a:pt x="2349" y="986"/>
                </a:lnTo>
                <a:lnTo>
                  <a:pt x="2253" y="901"/>
                </a:lnTo>
                <a:lnTo>
                  <a:pt x="2201" y="902"/>
                </a:lnTo>
                <a:lnTo>
                  <a:pt x="2170" y="941"/>
                </a:lnTo>
                <a:lnTo>
                  <a:pt x="2202" y="950"/>
                </a:lnTo>
                <a:lnTo>
                  <a:pt x="2189" y="972"/>
                </a:lnTo>
                <a:lnTo>
                  <a:pt x="2147" y="991"/>
                </a:lnTo>
                <a:lnTo>
                  <a:pt x="2126" y="953"/>
                </a:lnTo>
                <a:lnTo>
                  <a:pt x="2111" y="965"/>
                </a:lnTo>
                <a:lnTo>
                  <a:pt x="2125" y="1009"/>
                </a:lnTo>
                <a:lnTo>
                  <a:pt x="2204" y="1048"/>
                </a:lnTo>
                <a:lnTo>
                  <a:pt x="2205" y="1072"/>
                </a:lnTo>
                <a:lnTo>
                  <a:pt x="2084" y="1039"/>
                </a:lnTo>
                <a:lnTo>
                  <a:pt x="2076" y="1028"/>
                </a:lnTo>
                <a:lnTo>
                  <a:pt x="2088" y="1002"/>
                </a:lnTo>
                <a:lnTo>
                  <a:pt x="2077" y="948"/>
                </a:lnTo>
                <a:lnTo>
                  <a:pt x="2094" y="912"/>
                </a:lnTo>
                <a:lnTo>
                  <a:pt x="2093" y="873"/>
                </a:lnTo>
                <a:lnTo>
                  <a:pt x="2057" y="833"/>
                </a:lnTo>
                <a:lnTo>
                  <a:pt x="2068" y="910"/>
                </a:lnTo>
                <a:lnTo>
                  <a:pt x="1996" y="970"/>
                </a:lnTo>
                <a:lnTo>
                  <a:pt x="1982" y="1011"/>
                </a:lnTo>
                <a:lnTo>
                  <a:pt x="2038" y="1127"/>
                </a:lnTo>
                <a:lnTo>
                  <a:pt x="2006" y="1245"/>
                </a:lnTo>
                <a:lnTo>
                  <a:pt x="2022" y="1279"/>
                </a:lnTo>
                <a:lnTo>
                  <a:pt x="2015" y="1311"/>
                </a:lnTo>
                <a:lnTo>
                  <a:pt x="2074" y="1328"/>
                </a:lnTo>
                <a:lnTo>
                  <a:pt x="2112" y="1310"/>
                </a:lnTo>
                <a:lnTo>
                  <a:pt x="2182" y="1351"/>
                </a:lnTo>
                <a:lnTo>
                  <a:pt x="2204" y="1421"/>
                </a:lnTo>
                <a:lnTo>
                  <a:pt x="2179" y="1435"/>
                </a:lnTo>
                <a:lnTo>
                  <a:pt x="2177" y="1479"/>
                </a:lnTo>
                <a:lnTo>
                  <a:pt x="2234" y="1500"/>
                </a:lnTo>
                <a:lnTo>
                  <a:pt x="2183" y="1505"/>
                </a:lnTo>
                <a:lnTo>
                  <a:pt x="2162" y="1484"/>
                </a:lnTo>
                <a:lnTo>
                  <a:pt x="2171" y="1430"/>
                </a:lnTo>
                <a:lnTo>
                  <a:pt x="2163" y="1421"/>
                </a:lnTo>
                <a:lnTo>
                  <a:pt x="2168" y="1397"/>
                </a:lnTo>
                <a:lnTo>
                  <a:pt x="2136" y="1340"/>
                </a:lnTo>
                <a:lnTo>
                  <a:pt x="2049" y="1366"/>
                </a:lnTo>
                <a:lnTo>
                  <a:pt x="2037" y="1406"/>
                </a:lnTo>
                <a:lnTo>
                  <a:pt x="2057" y="1453"/>
                </a:lnTo>
                <a:lnTo>
                  <a:pt x="2054" y="1488"/>
                </a:lnTo>
                <a:lnTo>
                  <a:pt x="2021" y="1527"/>
                </a:lnTo>
                <a:lnTo>
                  <a:pt x="2004" y="1578"/>
                </a:lnTo>
                <a:lnTo>
                  <a:pt x="1953" y="1610"/>
                </a:lnTo>
                <a:lnTo>
                  <a:pt x="1950" y="1644"/>
                </a:lnTo>
                <a:lnTo>
                  <a:pt x="1940" y="1648"/>
                </a:lnTo>
                <a:lnTo>
                  <a:pt x="1853" y="1630"/>
                </a:lnTo>
                <a:lnTo>
                  <a:pt x="1840" y="1593"/>
                </a:lnTo>
                <a:lnTo>
                  <a:pt x="1935" y="1568"/>
                </a:lnTo>
                <a:lnTo>
                  <a:pt x="1966" y="1499"/>
                </a:lnTo>
                <a:lnTo>
                  <a:pt x="1986" y="1485"/>
                </a:lnTo>
                <a:lnTo>
                  <a:pt x="1985" y="1435"/>
                </a:lnTo>
                <a:lnTo>
                  <a:pt x="2001" y="1404"/>
                </a:lnTo>
                <a:lnTo>
                  <a:pt x="2000" y="1382"/>
                </a:lnTo>
                <a:lnTo>
                  <a:pt x="1958" y="1334"/>
                </a:lnTo>
                <a:lnTo>
                  <a:pt x="1968" y="1231"/>
                </a:lnTo>
                <a:lnTo>
                  <a:pt x="1956" y="1180"/>
                </a:lnTo>
                <a:lnTo>
                  <a:pt x="1970" y="1161"/>
                </a:lnTo>
                <a:lnTo>
                  <a:pt x="1972" y="1103"/>
                </a:lnTo>
                <a:lnTo>
                  <a:pt x="1963" y="1058"/>
                </a:lnTo>
                <a:lnTo>
                  <a:pt x="1927" y="1016"/>
                </a:lnTo>
                <a:lnTo>
                  <a:pt x="1966" y="919"/>
                </a:lnTo>
                <a:lnTo>
                  <a:pt x="1964" y="844"/>
                </a:lnTo>
                <a:lnTo>
                  <a:pt x="1919" y="820"/>
                </a:lnTo>
                <a:lnTo>
                  <a:pt x="1825" y="814"/>
                </a:lnTo>
                <a:lnTo>
                  <a:pt x="1805" y="863"/>
                </a:lnTo>
                <a:lnTo>
                  <a:pt x="1782" y="977"/>
                </a:lnTo>
                <a:lnTo>
                  <a:pt x="1715" y="1048"/>
                </a:lnTo>
                <a:lnTo>
                  <a:pt x="1710" y="1077"/>
                </a:lnTo>
                <a:lnTo>
                  <a:pt x="1724" y="1078"/>
                </a:lnTo>
                <a:lnTo>
                  <a:pt x="1703" y="1110"/>
                </a:lnTo>
                <a:lnTo>
                  <a:pt x="1742" y="1123"/>
                </a:lnTo>
                <a:lnTo>
                  <a:pt x="1730" y="1176"/>
                </a:lnTo>
                <a:lnTo>
                  <a:pt x="1737" y="1202"/>
                </a:lnTo>
                <a:lnTo>
                  <a:pt x="1719" y="1207"/>
                </a:lnTo>
                <a:lnTo>
                  <a:pt x="1717" y="1259"/>
                </a:lnTo>
                <a:lnTo>
                  <a:pt x="1771" y="1274"/>
                </a:lnTo>
                <a:lnTo>
                  <a:pt x="1787" y="1337"/>
                </a:lnTo>
                <a:lnTo>
                  <a:pt x="1814" y="1353"/>
                </a:lnTo>
                <a:lnTo>
                  <a:pt x="1778" y="1427"/>
                </a:lnTo>
                <a:lnTo>
                  <a:pt x="1726" y="1358"/>
                </a:lnTo>
                <a:lnTo>
                  <a:pt x="1599" y="1272"/>
                </a:lnTo>
                <a:lnTo>
                  <a:pt x="1457" y="1235"/>
                </a:lnTo>
                <a:lnTo>
                  <a:pt x="1437" y="1260"/>
                </a:lnTo>
                <a:lnTo>
                  <a:pt x="1459" y="1325"/>
                </a:lnTo>
                <a:lnTo>
                  <a:pt x="1458" y="1347"/>
                </a:lnTo>
                <a:lnTo>
                  <a:pt x="1418" y="1371"/>
                </a:lnTo>
                <a:lnTo>
                  <a:pt x="1422" y="1397"/>
                </a:lnTo>
                <a:lnTo>
                  <a:pt x="1402" y="1414"/>
                </a:lnTo>
                <a:lnTo>
                  <a:pt x="1383" y="1401"/>
                </a:lnTo>
                <a:lnTo>
                  <a:pt x="1398" y="1367"/>
                </a:lnTo>
                <a:lnTo>
                  <a:pt x="1382" y="1336"/>
                </a:lnTo>
                <a:lnTo>
                  <a:pt x="1343" y="1348"/>
                </a:lnTo>
                <a:lnTo>
                  <a:pt x="1308" y="1390"/>
                </a:lnTo>
                <a:lnTo>
                  <a:pt x="1226" y="1389"/>
                </a:lnTo>
                <a:lnTo>
                  <a:pt x="1207" y="1404"/>
                </a:lnTo>
                <a:lnTo>
                  <a:pt x="1201" y="1434"/>
                </a:lnTo>
                <a:lnTo>
                  <a:pt x="1173" y="1427"/>
                </a:lnTo>
                <a:lnTo>
                  <a:pt x="1164" y="1415"/>
                </a:lnTo>
                <a:lnTo>
                  <a:pt x="1159" y="1385"/>
                </a:lnTo>
                <a:lnTo>
                  <a:pt x="1166" y="1360"/>
                </a:lnTo>
                <a:lnTo>
                  <a:pt x="1186" y="1338"/>
                </a:lnTo>
                <a:lnTo>
                  <a:pt x="1137" y="1350"/>
                </a:lnTo>
                <a:lnTo>
                  <a:pt x="1130" y="1362"/>
                </a:lnTo>
                <a:lnTo>
                  <a:pt x="1133" y="1378"/>
                </a:lnTo>
                <a:lnTo>
                  <a:pt x="1113" y="1366"/>
                </a:lnTo>
                <a:lnTo>
                  <a:pt x="1095" y="1386"/>
                </a:lnTo>
                <a:lnTo>
                  <a:pt x="1105" y="1391"/>
                </a:lnTo>
                <a:lnTo>
                  <a:pt x="1097" y="1411"/>
                </a:lnTo>
                <a:lnTo>
                  <a:pt x="1062" y="1399"/>
                </a:lnTo>
                <a:lnTo>
                  <a:pt x="907" y="1499"/>
                </a:lnTo>
                <a:lnTo>
                  <a:pt x="894" y="1564"/>
                </a:lnTo>
                <a:lnTo>
                  <a:pt x="847" y="1603"/>
                </a:lnTo>
                <a:lnTo>
                  <a:pt x="842" y="1580"/>
                </a:lnTo>
                <a:lnTo>
                  <a:pt x="817" y="1581"/>
                </a:lnTo>
                <a:lnTo>
                  <a:pt x="776" y="1505"/>
                </a:lnTo>
                <a:lnTo>
                  <a:pt x="848" y="1473"/>
                </a:lnTo>
                <a:lnTo>
                  <a:pt x="837" y="1431"/>
                </a:lnTo>
                <a:lnTo>
                  <a:pt x="807" y="1398"/>
                </a:lnTo>
                <a:lnTo>
                  <a:pt x="701" y="1374"/>
                </a:lnTo>
                <a:lnTo>
                  <a:pt x="740" y="1414"/>
                </a:lnTo>
                <a:lnTo>
                  <a:pt x="738" y="1481"/>
                </a:lnTo>
                <a:lnTo>
                  <a:pt x="727" y="1532"/>
                </a:lnTo>
                <a:lnTo>
                  <a:pt x="756" y="1569"/>
                </a:lnTo>
                <a:lnTo>
                  <a:pt x="738" y="1643"/>
                </a:lnTo>
                <a:lnTo>
                  <a:pt x="741" y="1685"/>
                </a:lnTo>
                <a:lnTo>
                  <a:pt x="725" y="1656"/>
                </a:lnTo>
                <a:lnTo>
                  <a:pt x="709" y="1667"/>
                </a:lnTo>
                <a:lnTo>
                  <a:pt x="716" y="1645"/>
                </a:lnTo>
                <a:lnTo>
                  <a:pt x="661" y="1617"/>
                </a:lnTo>
                <a:lnTo>
                  <a:pt x="623" y="1667"/>
                </a:lnTo>
                <a:lnTo>
                  <a:pt x="554" y="1712"/>
                </a:lnTo>
                <a:lnTo>
                  <a:pt x="557" y="1743"/>
                </a:lnTo>
                <a:lnTo>
                  <a:pt x="600" y="1831"/>
                </a:lnTo>
                <a:lnTo>
                  <a:pt x="429" y="1759"/>
                </a:lnTo>
                <a:lnTo>
                  <a:pt x="412" y="1787"/>
                </a:lnTo>
                <a:lnTo>
                  <a:pt x="419" y="1807"/>
                </a:lnTo>
                <a:lnTo>
                  <a:pt x="447" y="1841"/>
                </a:lnTo>
                <a:lnTo>
                  <a:pt x="471" y="1831"/>
                </a:lnTo>
                <a:lnTo>
                  <a:pt x="486" y="1887"/>
                </a:lnTo>
                <a:lnTo>
                  <a:pt x="458" y="1898"/>
                </a:lnTo>
                <a:lnTo>
                  <a:pt x="342" y="1826"/>
                </a:lnTo>
                <a:lnTo>
                  <a:pt x="341" y="1788"/>
                </a:lnTo>
                <a:lnTo>
                  <a:pt x="319" y="1742"/>
                </a:lnTo>
                <a:lnTo>
                  <a:pt x="333" y="1733"/>
                </a:lnTo>
                <a:lnTo>
                  <a:pt x="337" y="1686"/>
                </a:lnTo>
                <a:lnTo>
                  <a:pt x="243" y="1600"/>
                </a:lnTo>
                <a:lnTo>
                  <a:pt x="227" y="1562"/>
                </a:lnTo>
                <a:lnTo>
                  <a:pt x="236" y="1549"/>
                </a:lnTo>
                <a:lnTo>
                  <a:pt x="282" y="1594"/>
                </a:lnTo>
                <a:lnTo>
                  <a:pt x="320" y="1595"/>
                </a:lnTo>
                <a:lnTo>
                  <a:pt x="325" y="1615"/>
                </a:lnTo>
                <a:lnTo>
                  <a:pt x="511" y="1665"/>
                </a:lnTo>
                <a:lnTo>
                  <a:pt x="564" y="1642"/>
                </a:lnTo>
                <a:lnTo>
                  <a:pt x="611" y="1585"/>
                </a:lnTo>
                <a:lnTo>
                  <a:pt x="620" y="1548"/>
                </a:lnTo>
                <a:lnTo>
                  <a:pt x="610" y="1542"/>
                </a:lnTo>
                <a:lnTo>
                  <a:pt x="605" y="1494"/>
                </a:lnTo>
                <a:lnTo>
                  <a:pt x="383" y="1315"/>
                </a:lnTo>
                <a:lnTo>
                  <a:pt x="254" y="1298"/>
                </a:lnTo>
                <a:lnTo>
                  <a:pt x="258" y="1283"/>
                </a:lnTo>
                <a:lnTo>
                  <a:pt x="217" y="1269"/>
                </a:lnTo>
                <a:lnTo>
                  <a:pt x="222" y="1247"/>
                </a:lnTo>
                <a:lnTo>
                  <a:pt x="254" y="1267"/>
                </a:lnTo>
                <a:lnTo>
                  <a:pt x="262" y="1247"/>
                </a:lnTo>
                <a:lnTo>
                  <a:pt x="210" y="1222"/>
                </a:lnTo>
                <a:lnTo>
                  <a:pt x="214" y="1241"/>
                </a:lnTo>
                <a:lnTo>
                  <a:pt x="201" y="1257"/>
                </a:lnTo>
                <a:lnTo>
                  <a:pt x="168" y="1242"/>
                </a:lnTo>
                <a:lnTo>
                  <a:pt x="164" y="1268"/>
                </a:lnTo>
                <a:lnTo>
                  <a:pt x="138" y="1260"/>
                </a:lnTo>
                <a:lnTo>
                  <a:pt x="133" y="1284"/>
                </a:lnTo>
                <a:lnTo>
                  <a:pt x="102" y="1304"/>
                </a:lnTo>
                <a:lnTo>
                  <a:pt x="90" y="1327"/>
                </a:lnTo>
                <a:lnTo>
                  <a:pt x="66" y="1378"/>
                </a:lnTo>
                <a:lnTo>
                  <a:pt x="75" y="1426"/>
                </a:lnTo>
                <a:lnTo>
                  <a:pt x="104" y="1439"/>
                </a:lnTo>
                <a:lnTo>
                  <a:pt x="128" y="1481"/>
                </a:lnTo>
                <a:lnTo>
                  <a:pt x="130" y="1498"/>
                </a:lnTo>
                <a:lnTo>
                  <a:pt x="96" y="1571"/>
                </a:lnTo>
                <a:lnTo>
                  <a:pt x="136" y="1693"/>
                </a:lnTo>
                <a:lnTo>
                  <a:pt x="119" y="1745"/>
                </a:lnTo>
                <a:lnTo>
                  <a:pt x="119" y="1791"/>
                </a:lnTo>
                <a:lnTo>
                  <a:pt x="132" y="1794"/>
                </a:lnTo>
                <a:lnTo>
                  <a:pt x="137" y="1824"/>
                </a:lnTo>
                <a:lnTo>
                  <a:pt x="155" y="1849"/>
                </a:lnTo>
                <a:lnTo>
                  <a:pt x="140" y="1902"/>
                </a:lnTo>
                <a:lnTo>
                  <a:pt x="190" y="1967"/>
                </a:lnTo>
                <a:lnTo>
                  <a:pt x="190" y="1997"/>
                </a:lnTo>
                <a:lnTo>
                  <a:pt x="126" y="2098"/>
                </a:lnTo>
                <a:lnTo>
                  <a:pt x="27" y="2191"/>
                </a:lnTo>
                <a:lnTo>
                  <a:pt x="70" y="2177"/>
                </a:lnTo>
                <a:lnTo>
                  <a:pt x="69" y="2199"/>
                </a:lnTo>
                <a:lnTo>
                  <a:pt x="63" y="2193"/>
                </a:lnTo>
                <a:lnTo>
                  <a:pt x="66" y="2211"/>
                </a:lnTo>
                <a:lnTo>
                  <a:pt x="120" y="2225"/>
                </a:lnTo>
                <a:lnTo>
                  <a:pt x="139" y="2245"/>
                </a:lnTo>
                <a:lnTo>
                  <a:pt x="44" y="2260"/>
                </a:lnTo>
                <a:lnTo>
                  <a:pt x="41" y="2276"/>
                </a:lnTo>
                <a:lnTo>
                  <a:pt x="52" y="2288"/>
                </a:lnTo>
                <a:lnTo>
                  <a:pt x="35" y="2315"/>
                </a:lnTo>
                <a:lnTo>
                  <a:pt x="0" y="2328"/>
                </a:lnTo>
                <a:lnTo>
                  <a:pt x="33" y="2412"/>
                </a:lnTo>
                <a:lnTo>
                  <a:pt x="19" y="2437"/>
                </a:lnTo>
                <a:lnTo>
                  <a:pt x="35" y="2457"/>
                </a:lnTo>
                <a:lnTo>
                  <a:pt x="29" y="2487"/>
                </a:lnTo>
                <a:lnTo>
                  <a:pt x="51" y="2516"/>
                </a:lnTo>
                <a:lnTo>
                  <a:pt x="54" y="2547"/>
                </a:lnTo>
                <a:lnTo>
                  <a:pt x="97" y="2559"/>
                </a:lnTo>
                <a:lnTo>
                  <a:pt x="107" y="2566"/>
                </a:lnTo>
                <a:lnTo>
                  <a:pt x="105" y="2582"/>
                </a:lnTo>
                <a:lnTo>
                  <a:pt x="146" y="2570"/>
                </a:lnTo>
                <a:lnTo>
                  <a:pt x="169" y="2590"/>
                </a:lnTo>
                <a:lnTo>
                  <a:pt x="174" y="2622"/>
                </a:lnTo>
                <a:lnTo>
                  <a:pt x="167" y="2651"/>
                </a:lnTo>
                <a:lnTo>
                  <a:pt x="207" y="2706"/>
                </a:lnTo>
                <a:lnTo>
                  <a:pt x="210" y="2725"/>
                </a:lnTo>
                <a:lnTo>
                  <a:pt x="228" y="2722"/>
                </a:lnTo>
                <a:lnTo>
                  <a:pt x="248" y="2740"/>
                </a:lnTo>
                <a:lnTo>
                  <a:pt x="249" y="2750"/>
                </a:lnTo>
                <a:lnTo>
                  <a:pt x="225" y="2771"/>
                </a:lnTo>
                <a:lnTo>
                  <a:pt x="197" y="2761"/>
                </a:lnTo>
                <a:lnTo>
                  <a:pt x="184" y="2772"/>
                </a:lnTo>
                <a:lnTo>
                  <a:pt x="207" y="2843"/>
                </a:lnTo>
                <a:lnTo>
                  <a:pt x="292" y="2828"/>
                </a:lnTo>
                <a:lnTo>
                  <a:pt x="320" y="2862"/>
                </a:lnTo>
                <a:lnTo>
                  <a:pt x="307" y="2873"/>
                </a:lnTo>
                <a:lnTo>
                  <a:pt x="313" y="2897"/>
                </a:lnTo>
                <a:lnTo>
                  <a:pt x="349" y="2904"/>
                </a:lnTo>
                <a:lnTo>
                  <a:pt x="371" y="2957"/>
                </a:lnTo>
                <a:lnTo>
                  <a:pt x="416" y="2967"/>
                </a:lnTo>
                <a:lnTo>
                  <a:pt x="447" y="2956"/>
                </a:lnTo>
                <a:lnTo>
                  <a:pt x="474" y="2990"/>
                </a:lnTo>
                <a:lnTo>
                  <a:pt x="489" y="2984"/>
                </a:lnTo>
                <a:lnTo>
                  <a:pt x="566" y="3016"/>
                </a:lnTo>
                <a:lnTo>
                  <a:pt x="561" y="3019"/>
                </a:lnTo>
                <a:lnTo>
                  <a:pt x="567" y="3038"/>
                </a:lnTo>
                <a:lnTo>
                  <a:pt x="548" y="3052"/>
                </a:lnTo>
                <a:lnTo>
                  <a:pt x="562" y="3063"/>
                </a:lnTo>
                <a:lnTo>
                  <a:pt x="547" y="3074"/>
                </a:lnTo>
                <a:lnTo>
                  <a:pt x="552" y="3088"/>
                </a:lnTo>
                <a:lnTo>
                  <a:pt x="556" y="3100"/>
                </a:lnTo>
                <a:lnTo>
                  <a:pt x="548" y="3131"/>
                </a:lnTo>
                <a:lnTo>
                  <a:pt x="513" y="3126"/>
                </a:lnTo>
                <a:lnTo>
                  <a:pt x="483" y="3157"/>
                </a:lnTo>
                <a:lnTo>
                  <a:pt x="484" y="3175"/>
                </a:lnTo>
                <a:lnTo>
                  <a:pt x="526" y="3171"/>
                </a:lnTo>
                <a:lnTo>
                  <a:pt x="533" y="3182"/>
                </a:lnTo>
                <a:lnTo>
                  <a:pt x="495" y="3196"/>
                </a:lnTo>
                <a:lnTo>
                  <a:pt x="498" y="3204"/>
                </a:lnTo>
                <a:lnTo>
                  <a:pt x="467" y="3206"/>
                </a:lnTo>
                <a:lnTo>
                  <a:pt x="465" y="3215"/>
                </a:lnTo>
                <a:lnTo>
                  <a:pt x="497" y="3242"/>
                </a:lnTo>
                <a:lnTo>
                  <a:pt x="475" y="3248"/>
                </a:lnTo>
                <a:lnTo>
                  <a:pt x="451" y="3287"/>
                </a:lnTo>
                <a:lnTo>
                  <a:pt x="428" y="3286"/>
                </a:lnTo>
                <a:lnTo>
                  <a:pt x="418" y="3298"/>
                </a:lnTo>
                <a:lnTo>
                  <a:pt x="449" y="3329"/>
                </a:lnTo>
                <a:lnTo>
                  <a:pt x="510" y="3357"/>
                </a:lnTo>
                <a:lnTo>
                  <a:pt x="554" y="3397"/>
                </a:lnTo>
                <a:lnTo>
                  <a:pt x="586" y="3394"/>
                </a:lnTo>
                <a:lnTo>
                  <a:pt x="632" y="3412"/>
                </a:lnTo>
                <a:lnTo>
                  <a:pt x="683" y="3414"/>
                </a:lnTo>
                <a:lnTo>
                  <a:pt x="729" y="3449"/>
                </a:lnTo>
                <a:lnTo>
                  <a:pt x="783" y="3443"/>
                </a:lnTo>
                <a:lnTo>
                  <a:pt x="804" y="3454"/>
                </a:lnTo>
                <a:lnTo>
                  <a:pt x="803" y="3472"/>
                </a:lnTo>
                <a:lnTo>
                  <a:pt x="834" y="3491"/>
                </a:lnTo>
                <a:lnTo>
                  <a:pt x="866" y="3509"/>
                </a:lnTo>
                <a:lnTo>
                  <a:pt x="872" y="3527"/>
                </a:lnTo>
                <a:lnTo>
                  <a:pt x="891" y="3529"/>
                </a:lnTo>
                <a:lnTo>
                  <a:pt x="923" y="3496"/>
                </a:lnTo>
                <a:lnTo>
                  <a:pt x="885" y="3424"/>
                </a:lnTo>
                <a:lnTo>
                  <a:pt x="888" y="3375"/>
                </a:lnTo>
                <a:lnTo>
                  <a:pt x="881" y="3392"/>
                </a:lnTo>
                <a:lnTo>
                  <a:pt x="848" y="3335"/>
                </a:lnTo>
                <a:lnTo>
                  <a:pt x="875" y="3292"/>
                </a:lnTo>
                <a:lnTo>
                  <a:pt x="879" y="3263"/>
                </a:lnTo>
                <a:lnTo>
                  <a:pt x="886" y="3265"/>
                </a:lnTo>
                <a:lnTo>
                  <a:pt x="890" y="3240"/>
                </a:lnTo>
                <a:lnTo>
                  <a:pt x="882" y="3228"/>
                </a:lnTo>
                <a:lnTo>
                  <a:pt x="901" y="3232"/>
                </a:lnTo>
                <a:lnTo>
                  <a:pt x="908" y="3257"/>
                </a:lnTo>
                <a:lnTo>
                  <a:pt x="921" y="3256"/>
                </a:lnTo>
                <a:lnTo>
                  <a:pt x="937" y="3231"/>
                </a:lnTo>
                <a:lnTo>
                  <a:pt x="906" y="3212"/>
                </a:lnTo>
                <a:lnTo>
                  <a:pt x="912" y="3200"/>
                </a:lnTo>
                <a:lnTo>
                  <a:pt x="934" y="3200"/>
                </a:lnTo>
                <a:lnTo>
                  <a:pt x="928" y="3156"/>
                </a:lnTo>
                <a:lnTo>
                  <a:pt x="909" y="3133"/>
                </a:lnTo>
                <a:lnTo>
                  <a:pt x="878" y="3140"/>
                </a:lnTo>
                <a:lnTo>
                  <a:pt x="864" y="3101"/>
                </a:lnTo>
                <a:lnTo>
                  <a:pt x="840" y="3094"/>
                </a:lnTo>
                <a:lnTo>
                  <a:pt x="850" y="3058"/>
                </a:lnTo>
                <a:lnTo>
                  <a:pt x="864" y="3046"/>
                </a:lnTo>
                <a:lnTo>
                  <a:pt x="853" y="3032"/>
                </a:lnTo>
                <a:lnTo>
                  <a:pt x="861" y="2996"/>
                </a:lnTo>
                <a:lnTo>
                  <a:pt x="875" y="2984"/>
                </a:lnTo>
                <a:lnTo>
                  <a:pt x="883" y="2955"/>
                </a:lnTo>
                <a:lnTo>
                  <a:pt x="921" y="3004"/>
                </a:lnTo>
                <a:lnTo>
                  <a:pt x="941" y="2989"/>
                </a:lnTo>
                <a:lnTo>
                  <a:pt x="928" y="2947"/>
                </a:lnTo>
                <a:lnTo>
                  <a:pt x="961" y="2932"/>
                </a:lnTo>
                <a:lnTo>
                  <a:pt x="965" y="2914"/>
                </a:lnTo>
                <a:lnTo>
                  <a:pt x="999" y="2901"/>
                </a:lnTo>
                <a:lnTo>
                  <a:pt x="1018" y="2878"/>
                </a:lnTo>
                <a:lnTo>
                  <a:pt x="1043" y="2874"/>
                </a:lnTo>
                <a:lnTo>
                  <a:pt x="1064" y="2888"/>
                </a:lnTo>
                <a:lnTo>
                  <a:pt x="1073" y="2871"/>
                </a:lnTo>
                <a:lnTo>
                  <a:pt x="1090" y="2870"/>
                </a:lnTo>
                <a:lnTo>
                  <a:pt x="1100" y="2886"/>
                </a:lnTo>
                <a:lnTo>
                  <a:pt x="1142" y="2887"/>
                </a:lnTo>
                <a:lnTo>
                  <a:pt x="1171" y="2917"/>
                </a:lnTo>
                <a:lnTo>
                  <a:pt x="1186" y="2951"/>
                </a:lnTo>
                <a:lnTo>
                  <a:pt x="1191" y="2949"/>
                </a:lnTo>
                <a:lnTo>
                  <a:pt x="1188" y="2925"/>
                </a:lnTo>
                <a:lnTo>
                  <a:pt x="1198" y="2919"/>
                </a:lnTo>
                <a:lnTo>
                  <a:pt x="1235" y="2951"/>
                </a:lnTo>
                <a:lnTo>
                  <a:pt x="1279" y="2919"/>
                </a:lnTo>
                <a:lnTo>
                  <a:pt x="1312" y="2930"/>
                </a:lnTo>
                <a:lnTo>
                  <a:pt x="1322" y="2920"/>
                </a:lnTo>
                <a:lnTo>
                  <a:pt x="1344" y="2913"/>
                </a:lnTo>
                <a:lnTo>
                  <a:pt x="1369" y="2945"/>
                </a:lnTo>
                <a:lnTo>
                  <a:pt x="1396" y="2955"/>
                </a:lnTo>
                <a:lnTo>
                  <a:pt x="1425" y="2934"/>
                </a:lnTo>
                <a:lnTo>
                  <a:pt x="1463" y="2944"/>
                </a:lnTo>
                <a:lnTo>
                  <a:pt x="1481" y="2936"/>
                </a:lnTo>
                <a:lnTo>
                  <a:pt x="1493" y="2900"/>
                </a:lnTo>
                <a:lnTo>
                  <a:pt x="1489" y="2895"/>
                </a:lnTo>
                <a:lnTo>
                  <a:pt x="1466" y="2893"/>
                </a:lnTo>
                <a:lnTo>
                  <a:pt x="1438" y="2876"/>
                </a:lnTo>
                <a:lnTo>
                  <a:pt x="1423" y="2854"/>
                </a:lnTo>
                <a:lnTo>
                  <a:pt x="1461" y="2834"/>
                </a:lnTo>
                <a:lnTo>
                  <a:pt x="1465" y="2822"/>
                </a:lnTo>
                <a:lnTo>
                  <a:pt x="1451" y="2801"/>
                </a:lnTo>
                <a:lnTo>
                  <a:pt x="1468" y="2783"/>
                </a:lnTo>
                <a:lnTo>
                  <a:pt x="1515" y="2776"/>
                </a:lnTo>
                <a:lnTo>
                  <a:pt x="1474" y="2761"/>
                </a:lnTo>
                <a:lnTo>
                  <a:pt x="1472" y="2749"/>
                </a:lnTo>
                <a:lnTo>
                  <a:pt x="1488" y="2742"/>
                </a:lnTo>
                <a:lnTo>
                  <a:pt x="1465" y="2741"/>
                </a:lnTo>
                <a:lnTo>
                  <a:pt x="1471" y="2724"/>
                </a:lnTo>
                <a:lnTo>
                  <a:pt x="1462" y="2713"/>
                </a:lnTo>
                <a:lnTo>
                  <a:pt x="1530" y="2718"/>
                </a:lnTo>
                <a:lnTo>
                  <a:pt x="1578" y="2692"/>
                </a:lnTo>
                <a:lnTo>
                  <a:pt x="1595" y="2698"/>
                </a:lnTo>
                <a:lnTo>
                  <a:pt x="1628" y="2678"/>
                </a:lnTo>
                <a:lnTo>
                  <a:pt x="1652" y="2664"/>
                </a:lnTo>
                <a:lnTo>
                  <a:pt x="1773" y="2638"/>
                </a:lnTo>
                <a:lnTo>
                  <a:pt x="1776" y="2621"/>
                </a:lnTo>
                <a:lnTo>
                  <a:pt x="1808" y="2606"/>
                </a:lnTo>
                <a:lnTo>
                  <a:pt x="1891" y="2622"/>
                </a:lnTo>
                <a:lnTo>
                  <a:pt x="1896" y="2653"/>
                </a:lnTo>
                <a:lnTo>
                  <a:pt x="1905" y="2661"/>
                </a:lnTo>
                <a:lnTo>
                  <a:pt x="1895" y="2689"/>
                </a:lnTo>
                <a:lnTo>
                  <a:pt x="1901" y="2701"/>
                </a:lnTo>
                <a:lnTo>
                  <a:pt x="1939" y="2696"/>
                </a:lnTo>
                <a:lnTo>
                  <a:pt x="1941" y="2683"/>
                </a:lnTo>
                <a:lnTo>
                  <a:pt x="1956" y="2701"/>
                </a:lnTo>
                <a:lnTo>
                  <a:pt x="1953" y="2713"/>
                </a:lnTo>
                <a:lnTo>
                  <a:pt x="1966" y="2714"/>
                </a:lnTo>
                <a:lnTo>
                  <a:pt x="1960" y="2704"/>
                </a:lnTo>
                <a:lnTo>
                  <a:pt x="1966" y="2701"/>
                </a:lnTo>
                <a:lnTo>
                  <a:pt x="1994" y="2715"/>
                </a:lnTo>
                <a:lnTo>
                  <a:pt x="2010" y="2707"/>
                </a:lnTo>
                <a:lnTo>
                  <a:pt x="2011" y="2720"/>
                </a:lnTo>
                <a:lnTo>
                  <a:pt x="1993" y="2737"/>
                </a:lnTo>
                <a:lnTo>
                  <a:pt x="1999" y="2749"/>
                </a:lnTo>
                <a:lnTo>
                  <a:pt x="2043" y="2745"/>
                </a:lnTo>
                <a:lnTo>
                  <a:pt x="2091" y="2698"/>
                </a:lnTo>
                <a:lnTo>
                  <a:pt x="2143" y="2680"/>
                </a:lnTo>
                <a:lnTo>
                  <a:pt x="2146" y="2692"/>
                </a:lnTo>
                <a:lnTo>
                  <a:pt x="2131" y="2700"/>
                </a:lnTo>
                <a:lnTo>
                  <a:pt x="2132" y="2711"/>
                </a:lnTo>
                <a:lnTo>
                  <a:pt x="2191" y="2765"/>
                </a:lnTo>
                <a:lnTo>
                  <a:pt x="2286" y="2937"/>
                </a:lnTo>
                <a:lnTo>
                  <a:pt x="2313" y="2905"/>
                </a:lnTo>
                <a:lnTo>
                  <a:pt x="2335" y="2918"/>
                </a:lnTo>
                <a:lnTo>
                  <a:pt x="2343" y="2941"/>
                </a:lnTo>
                <a:lnTo>
                  <a:pt x="2395" y="2941"/>
                </a:lnTo>
                <a:lnTo>
                  <a:pt x="2433" y="2924"/>
                </a:lnTo>
                <a:lnTo>
                  <a:pt x="2506" y="3013"/>
                </a:lnTo>
                <a:lnTo>
                  <a:pt x="2550" y="3025"/>
                </a:lnTo>
                <a:lnTo>
                  <a:pt x="2568" y="3009"/>
                </a:lnTo>
                <a:lnTo>
                  <a:pt x="2592" y="3045"/>
                </a:lnTo>
                <a:lnTo>
                  <a:pt x="2585" y="3069"/>
                </a:lnTo>
                <a:lnTo>
                  <a:pt x="2603" y="3075"/>
                </a:lnTo>
                <a:lnTo>
                  <a:pt x="2620" y="3061"/>
                </a:lnTo>
                <a:lnTo>
                  <a:pt x="2641" y="3031"/>
                </a:lnTo>
                <a:lnTo>
                  <a:pt x="2792" y="2953"/>
                </a:lnTo>
                <a:lnTo>
                  <a:pt x="2895" y="2965"/>
                </a:lnTo>
                <a:lnTo>
                  <a:pt x="2923" y="2994"/>
                </a:lnTo>
                <a:lnTo>
                  <a:pt x="3049" y="2992"/>
                </a:lnTo>
                <a:lnTo>
                  <a:pt x="3056" y="2988"/>
                </a:lnTo>
                <a:lnTo>
                  <a:pt x="3055" y="2962"/>
                </a:lnTo>
                <a:lnTo>
                  <a:pt x="3063" y="2949"/>
                </a:lnTo>
                <a:lnTo>
                  <a:pt x="3053" y="2896"/>
                </a:lnTo>
                <a:lnTo>
                  <a:pt x="3111" y="2846"/>
                </a:lnTo>
                <a:lnTo>
                  <a:pt x="3226" y="2892"/>
                </a:lnTo>
                <a:lnTo>
                  <a:pt x="3238" y="2944"/>
                </a:lnTo>
                <a:lnTo>
                  <a:pt x="3272" y="2968"/>
                </a:lnTo>
                <a:lnTo>
                  <a:pt x="3298" y="2976"/>
                </a:lnTo>
                <a:lnTo>
                  <a:pt x="3362" y="2951"/>
                </a:lnTo>
                <a:lnTo>
                  <a:pt x="3385" y="2957"/>
                </a:lnTo>
                <a:lnTo>
                  <a:pt x="3486" y="3005"/>
                </a:lnTo>
                <a:lnTo>
                  <a:pt x="3518" y="3032"/>
                </a:lnTo>
                <a:lnTo>
                  <a:pt x="3609" y="3048"/>
                </a:lnTo>
                <a:lnTo>
                  <a:pt x="3703" y="3023"/>
                </a:lnTo>
                <a:lnTo>
                  <a:pt x="3770" y="2980"/>
                </a:lnTo>
                <a:lnTo>
                  <a:pt x="3820" y="3003"/>
                </a:lnTo>
                <a:lnTo>
                  <a:pt x="3848" y="2996"/>
                </a:lnTo>
                <a:lnTo>
                  <a:pt x="3912" y="3023"/>
                </a:lnTo>
                <a:lnTo>
                  <a:pt x="3972" y="2988"/>
                </a:lnTo>
                <a:lnTo>
                  <a:pt x="4002" y="2890"/>
                </a:lnTo>
                <a:lnTo>
                  <a:pt x="4036" y="2862"/>
                </a:lnTo>
                <a:lnTo>
                  <a:pt x="4033" y="2827"/>
                </a:lnTo>
                <a:lnTo>
                  <a:pt x="4006" y="2829"/>
                </a:lnTo>
                <a:lnTo>
                  <a:pt x="4007" y="2814"/>
                </a:lnTo>
                <a:lnTo>
                  <a:pt x="4043" y="2777"/>
                </a:lnTo>
                <a:lnTo>
                  <a:pt x="4072" y="2772"/>
                </a:lnTo>
                <a:lnTo>
                  <a:pt x="4160" y="2756"/>
                </a:lnTo>
                <a:lnTo>
                  <a:pt x="4197" y="2782"/>
                </a:lnTo>
                <a:lnTo>
                  <a:pt x="4248" y="2792"/>
                </a:lnTo>
                <a:lnTo>
                  <a:pt x="4280" y="2839"/>
                </a:lnTo>
                <a:lnTo>
                  <a:pt x="4314" y="2936"/>
                </a:lnTo>
                <a:lnTo>
                  <a:pt x="4328" y="3002"/>
                </a:lnTo>
                <a:lnTo>
                  <a:pt x="4328" y="3019"/>
                </a:lnTo>
                <a:lnTo>
                  <a:pt x="4400" y="3031"/>
                </a:lnTo>
                <a:lnTo>
                  <a:pt x="4414" y="3037"/>
                </a:lnTo>
                <a:lnTo>
                  <a:pt x="4460" y="3065"/>
                </a:lnTo>
                <a:lnTo>
                  <a:pt x="4485" y="3145"/>
                </a:lnTo>
                <a:lnTo>
                  <a:pt x="4528" y="3147"/>
                </a:lnTo>
                <a:lnTo>
                  <a:pt x="4543" y="3141"/>
                </a:lnTo>
                <a:lnTo>
                  <a:pt x="4644" y="3096"/>
                </a:lnTo>
                <a:lnTo>
                  <a:pt x="4640" y="3152"/>
                </a:lnTo>
                <a:lnTo>
                  <a:pt x="4620" y="3170"/>
                </a:lnTo>
                <a:lnTo>
                  <a:pt x="4601" y="3244"/>
                </a:lnTo>
                <a:lnTo>
                  <a:pt x="4571" y="3305"/>
                </a:lnTo>
                <a:lnTo>
                  <a:pt x="4562" y="3312"/>
                </a:lnTo>
                <a:lnTo>
                  <a:pt x="4558" y="3310"/>
                </a:lnTo>
                <a:lnTo>
                  <a:pt x="4518" y="3299"/>
                </a:lnTo>
                <a:lnTo>
                  <a:pt x="4480" y="3332"/>
                </a:lnTo>
                <a:lnTo>
                  <a:pt x="4491" y="3365"/>
                </a:lnTo>
                <a:lnTo>
                  <a:pt x="4491" y="3410"/>
                </a:lnTo>
                <a:lnTo>
                  <a:pt x="4463" y="3443"/>
                </a:lnTo>
                <a:lnTo>
                  <a:pt x="4463" y="3457"/>
                </a:lnTo>
                <a:lnTo>
                  <a:pt x="4466" y="3468"/>
                </a:lnTo>
                <a:lnTo>
                  <a:pt x="4472" y="3465"/>
                </a:lnTo>
                <a:lnTo>
                  <a:pt x="4469" y="3455"/>
                </a:lnTo>
                <a:lnTo>
                  <a:pt x="4491" y="3454"/>
                </a:lnTo>
                <a:lnTo>
                  <a:pt x="4518" y="3407"/>
                </a:lnTo>
                <a:lnTo>
                  <a:pt x="4525" y="3427"/>
                </a:lnTo>
                <a:lnTo>
                  <a:pt x="4539" y="3417"/>
                </a:lnTo>
                <a:lnTo>
                  <a:pt x="4540" y="3441"/>
                </a:lnTo>
                <a:lnTo>
                  <a:pt x="4579" y="3451"/>
                </a:lnTo>
                <a:lnTo>
                  <a:pt x="4655" y="3407"/>
                </a:lnTo>
                <a:lnTo>
                  <a:pt x="4771" y="3262"/>
                </a:lnTo>
                <a:lnTo>
                  <a:pt x="4806" y="3192"/>
                </a:lnTo>
                <a:lnTo>
                  <a:pt x="4880" y="3096"/>
                </a:lnTo>
                <a:lnTo>
                  <a:pt x="4897" y="2992"/>
                </a:lnTo>
                <a:lnTo>
                  <a:pt x="4888" y="2946"/>
                </a:lnTo>
                <a:lnTo>
                  <a:pt x="4902" y="2898"/>
                </a:lnTo>
                <a:lnTo>
                  <a:pt x="4931" y="2846"/>
                </a:lnTo>
                <a:lnTo>
                  <a:pt x="4916" y="2830"/>
                </a:lnTo>
                <a:lnTo>
                  <a:pt x="4922" y="2816"/>
                </a:lnTo>
                <a:lnTo>
                  <a:pt x="4917" y="2797"/>
                </a:lnTo>
                <a:lnTo>
                  <a:pt x="4864" y="2774"/>
                </a:lnTo>
                <a:lnTo>
                  <a:pt x="4919" y="2787"/>
                </a:lnTo>
                <a:lnTo>
                  <a:pt x="4928" y="2767"/>
                </a:lnTo>
                <a:lnTo>
                  <a:pt x="4883" y="2735"/>
                </a:lnTo>
                <a:lnTo>
                  <a:pt x="4859" y="2697"/>
                </a:lnTo>
                <a:lnTo>
                  <a:pt x="4813" y="2695"/>
                </a:lnTo>
                <a:lnTo>
                  <a:pt x="4812" y="2732"/>
                </a:lnTo>
                <a:lnTo>
                  <a:pt x="4798" y="2752"/>
                </a:lnTo>
                <a:lnTo>
                  <a:pt x="4803" y="2722"/>
                </a:lnTo>
                <a:lnTo>
                  <a:pt x="4789" y="2740"/>
                </a:lnTo>
                <a:lnTo>
                  <a:pt x="4751" y="2747"/>
                </a:lnTo>
                <a:lnTo>
                  <a:pt x="4768" y="2727"/>
                </a:lnTo>
                <a:lnTo>
                  <a:pt x="4754" y="2709"/>
                </a:lnTo>
                <a:lnTo>
                  <a:pt x="4767" y="2695"/>
                </a:lnTo>
                <a:lnTo>
                  <a:pt x="4748" y="2701"/>
                </a:lnTo>
                <a:lnTo>
                  <a:pt x="4747" y="2721"/>
                </a:lnTo>
                <a:lnTo>
                  <a:pt x="4729" y="2735"/>
                </a:lnTo>
                <a:lnTo>
                  <a:pt x="4728" y="2673"/>
                </a:lnTo>
                <a:lnTo>
                  <a:pt x="4683" y="2677"/>
                </a:lnTo>
                <a:lnTo>
                  <a:pt x="4661" y="2663"/>
                </a:lnTo>
                <a:lnTo>
                  <a:pt x="4665" y="2648"/>
                </a:lnTo>
                <a:lnTo>
                  <a:pt x="4769" y="2556"/>
                </a:lnTo>
                <a:lnTo>
                  <a:pt x="4801" y="2503"/>
                </a:lnTo>
                <a:lnTo>
                  <a:pt x="4883" y="2426"/>
                </a:lnTo>
                <a:lnTo>
                  <a:pt x="4904" y="2386"/>
                </a:lnTo>
                <a:lnTo>
                  <a:pt x="4966" y="2321"/>
                </a:lnTo>
                <a:lnTo>
                  <a:pt x="5003" y="2299"/>
                </a:lnTo>
                <a:lnTo>
                  <a:pt x="5105" y="2293"/>
                </a:lnTo>
                <a:lnTo>
                  <a:pt x="5130" y="2315"/>
                </a:lnTo>
                <a:lnTo>
                  <a:pt x="5146" y="2289"/>
                </a:lnTo>
                <a:lnTo>
                  <a:pt x="5191" y="2307"/>
                </a:lnTo>
                <a:lnTo>
                  <a:pt x="5226" y="2296"/>
                </a:lnTo>
                <a:lnTo>
                  <a:pt x="5240" y="2309"/>
                </a:lnTo>
                <a:lnTo>
                  <a:pt x="5250" y="2307"/>
                </a:lnTo>
                <a:lnTo>
                  <a:pt x="5243" y="2292"/>
                </a:lnTo>
                <a:lnTo>
                  <a:pt x="5260" y="2287"/>
                </a:lnTo>
                <a:lnTo>
                  <a:pt x="5256" y="2273"/>
                </a:lnTo>
                <a:lnTo>
                  <a:pt x="5265" y="2267"/>
                </a:lnTo>
                <a:lnTo>
                  <a:pt x="5338" y="2290"/>
                </a:lnTo>
                <a:lnTo>
                  <a:pt x="5359" y="2281"/>
                </a:lnTo>
                <a:lnTo>
                  <a:pt x="5393" y="2306"/>
                </a:lnTo>
                <a:lnTo>
                  <a:pt x="5348" y="2320"/>
                </a:lnTo>
                <a:lnTo>
                  <a:pt x="5360" y="2340"/>
                </a:lnTo>
                <a:lnTo>
                  <a:pt x="5407" y="2325"/>
                </a:lnTo>
                <a:lnTo>
                  <a:pt x="5421" y="2335"/>
                </a:lnTo>
                <a:lnTo>
                  <a:pt x="5454" y="2310"/>
                </a:lnTo>
                <a:lnTo>
                  <a:pt x="5508" y="2317"/>
                </a:lnTo>
                <a:lnTo>
                  <a:pt x="5519" y="2314"/>
                </a:lnTo>
                <a:lnTo>
                  <a:pt x="5517" y="2300"/>
                </a:lnTo>
                <a:lnTo>
                  <a:pt x="5479" y="2287"/>
                </a:lnTo>
                <a:lnTo>
                  <a:pt x="5485" y="2275"/>
                </a:lnTo>
                <a:lnTo>
                  <a:pt x="5478" y="2258"/>
                </a:lnTo>
                <a:lnTo>
                  <a:pt x="5609" y="2095"/>
                </a:lnTo>
                <a:lnTo>
                  <a:pt x="5685" y="2071"/>
                </a:lnTo>
                <a:lnTo>
                  <a:pt x="5721" y="2093"/>
                </a:lnTo>
                <a:lnTo>
                  <a:pt x="5744" y="2069"/>
                </a:lnTo>
                <a:lnTo>
                  <a:pt x="5724" y="2126"/>
                </a:lnTo>
                <a:lnTo>
                  <a:pt x="5728" y="2142"/>
                </a:lnTo>
                <a:lnTo>
                  <a:pt x="5722" y="2158"/>
                </a:lnTo>
                <a:lnTo>
                  <a:pt x="5746" y="2154"/>
                </a:lnTo>
                <a:lnTo>
                  <a:pt x="5736" y="2193"/>
                </a:lnTo>
                <a:lnTo>
                  <a:pt x="5831" y="2101"/>
                </a:lnTo>
                <a:lnTo>
                  <a:pt x="5850" y="2091"/>
                </a:lnTo>
                <a:lnTo>
                  <a:pt x="5862" y="2107"/>
                </a:lnTo>
                <a:lnTo>
                  <a:pt x="5869" y="2093"/>
                </a:lnTo>
                <a:lnTo>
                  <a:pt x="5858" y="2084"/>
                </a:lnTo>
                <a:lnTo>
                  <a:pt x="5872" y="2024"/>
                </a:lnTo>
                <a:lnTo>
                  <a:pt x="5919" y="2000"/>
                </a:lnTo>
                <a:lnTo>
                  <a:pt x="5942" y="2017"/>
                </a:lnTo>
                <a:lnTo>
                  <a:pt x="5908" y="2044"/>
                </a:lnTo>
                <a:lnTo>
                  <a:pt x="5895" y="2131"/>
                </a:lnTo>
                <a:lnTo>
                  <a:pt x="5882" y="2146"/>
                </a:lnTo>
                <a:lnTo>
                  <a:pt x="5888" y="2166"/>
                </a:lnTo>
                <a:lnTo>
                  <a:pt x="5811" y="2203"/>
                </a:lnTo>
                <a:lnTo>
                  <a:pt x="5805" y="2226"/>
                </a:lnTo>
                <a:lnTo>
                  <a:pt x="5747" y="2282"/>
                </a:lnTo>
                <a:lnTo>
                  <a:pt x="5660" y="2403"/>
                </a:lnTo>
                <a:lnTo>
                  <a:pt x="5618" y="2427"/>
                </a:lnTo>
                <a:lnTo>
                  <a:pt x="5594" y="2424"/>
                </a:lnTo>
                <a:lnTo>
                  <a:pt x="5600" y="2450"/>
                </a:lnTo>
                <a:lnTo>
                  <a:pt x="5590" y="2481"/>
                </a:lnTo>
                <a:lnTo>
                  <a:pt x="5552" y="2513"/>
                </a:lnTo>
                <a:lnTo>
                  <a:pt x="5539" y="2572"/>
                </a:lnTo>
                <a:lnTo>
                  <a:pt x="5542" y="2669"/>
                </a:lnTo>
                <a:lnTo>
                  <a:pt x="5591" y="2935"/>
                </a:lnTo>
                <a:lnTo>
                  <a:pt x="5653" y="2868"/>
                </a:lnTo>
                <a:lnTo>
                  <a:pt x="5662" y="2819"/>
                </a:lnTo>
                <a:lnTo>
                  <a:pt x="5676" y="2797"/>
                </a:lnTo>
                <a:lnTo>
                  <a:pt x="5715" y="2772"/>
                </a:lnTo>
                <a:lnTo>
                  <a:pt x="5728" y="2777"/>
                </a:lnTo>
                <a:lnTo>
                  <a:pt x="5723" y="2715"/>
                </a:lnTo>
                <a:lnTo>
                  <a:pt x="5768" y="2676"/>
                </a:lnTo>
                <a:lnTo>
                  <a:pt x="5795" y="2680"/>
                </a:lnTo>
                <a:lnTo>
                  <a:pt x="5816" y="2665"/>
                </a:lnTo>
                <a:lnTo>
                  <a:pt x="5798" y="2605"/>
                </a:lnTo>
                <a:lnTo>
                  <a:pt x="5809" y="2572"/>
                </a:lnTo>
                <a:lnTo>
                  <a:pt x="5829" y="2553"/>
                </a:lnTo>
                <a:lnTo>
                  <a:pt x="5827" y="2546"/>
                </a:lnTo>
                <a:lnTo>
                  <a:pt x="5824" y="2538"/>
                </a:lnTo>
                <a:lnTo>
                  <a:pt x="5854" y="2526"/>
                </a:lnTo>
                <a:lnTo>
                  <a:pt x="5841" y="2548"/>
                </a:lnTo>
                <a:lnTo>
                  <a:pt x="5856" y="2568"/>
                </a:lnTo>
                <a:lnTo>
                  <a:pt x="5869" y="2546"/>
                </a:lnTo>
                <a:lnTo>
                  <a:pt x="5865" y="2519"/>
                </a:lnTo>
                <a:lnTo>
                  <a:pt x="5847" y="2511"/>
                </a:lnTo>
                <a:lnTo>
                  <a:pt x="5845" y="2476"/>
                </a:lnTo>
                <a:lnTo>
                  <a:pt x="5866" y="2427"/>
                </a:lnTo>
                <a:lnTo>
                  <a:pt x="5841" y="2413"/>
                </a:lnTo>
                <a:lnTo>
                  <a:pt x="5827" y="2430"/>
                </a:lnTo>
                <a:lnTo>
                  <a:pt x="5812" y="2415"/>
                </a:lnTo>
                <a:lnTo>
                  <a:pt x="5826" y="2367"/>
                </a:lnTo>
                <a:lnTo>
                  <a:pt x="5852" y="2321"/>
                </a:lnTo>
                <a:lnTo>
                  <a:pt x="5863" y="2319"/>
                </a:lnTo>
                <a:lnTo>
                  <a:pt x="5880" y="2254"/>
                </a:lnTo>
                <a:lnTo>
                  <a:pt x="5924" y="2239"/>
                </a:lnTo>
                <a:lnTo>
                  <a:pt x="5943" y="2259"/>
                </a:lnTo>
                <a:lnTo>
                  <a:pt x="5947" y="2236"/>
                </a:lnTo>
                <a:lnTo>
                  <a:pt x="5993" y="2197"/>
                </a:lnTo>
                <a:lnTo>
                  <a:pt x="5993" y="2259"/>
                </a:lnTo>
                <a:lnTo>
                  <a:pt x="6029" y="2207"/>
                </a:lnTo>
                <a:lnTo>
                  <a:pt x="6079" y="2188"/>
                </a:lnTo>
                <a:lnTo>
                  <a:pt x="6131" y="2199"/>
                </a:lnTo>
                <a:lnTo>
                  <a:pt x="6172" y="2247"/>
                </a:lnTo>
                <a:lnTo>
                  <a:pt x="6181" y="2205"/>
                </a:lnTo>
                <a:lnTo>
                  <a:pt x="6260" y="2152"/>
                </a:lnTo>
                <a:lnTo>
                  <a:pt x="6260" y="2137"/>
                </a:lnTo>
                <a:lnTo>
                  <a:pt x="6293" y="2119"/>
                </a:lnTo>
                <a:lnTo>
                  <a:pt x="6307" y="2089"/>
                </a:lnTo>
                <a:lnTo>
                  <a:pt x="6323" y="2096"/>
                </a:lnTo>
                <a:lnTo>
                  <a:pt x="6372" y="2067"/>
                </a:lnTo>
                <a:lnTo>
                  <a:pt x="6376" y="2051"/>
                </a:lnTo>
                <a:lnTo>
                  <a:pt x="6470" y="2011"/>
                </a:lnTo>
                <a:lnTo>
                  <a:pt x="6477" y="2011"/>
                </a:lnTo>
                <a:lnTo>
                  <a:pt x="6546" y="2035"/>
                </a:lnTo>
                <a:lnTo>
                  <a:pt x="6568" y="1995"/>
                </a:lnTo>
                <a:lnTo>
                  <a:pt x="6546" y="1968"/>
                </a:lnTo>
                <a:lnTo>
                  <a:pt x="6564" y="1965"/>
                </a:lnTo>
                <a:lnTo>
                  <a:pt x="6540" y="1930"/>
                </a:lnTo>
                <a:lnTo>
                  <a:pt x="6532" y="1878"/>
                </a:lnTo>
                <a:lnTo>
                  <a:pt x="6525" y="1868"/>
                </a:lnTo>
                <a:lnTo>
                  <a:pt x="6517" y="1840"/>
                </a:lnTo>
                <a:lnTo>
                  <a:pt x="6507" y="1852"/>
                </a:lnTo>
                <a:lnTo>
                  <a:pt x="6485" y="1838"/>
                </a:lnTo>
                <a:lnTo>
                  <a:pt x="6478" y="1803"/>
                </a:lnTo>
                <a:lnTo>
                  <a:pt x="6527" y="1818"/>
                </a:lnTo>
                <a:lnTo>
                  <a:pt x="6589" y="1768"/>
                </a:lnTo>
                <a:lnTo>
                  <a:pt x="6589" y="1345"/>
                </a:lnTo>
                <a:close/>
              </a:path>
            </a:pathLst>
          </a:custGeom>
          <a:solidFill>
            <a:schemeClr val="accent1"/>
          </a:solidFill>
          <a:ln w="6350">
            <a:solidFill>
              <a:schemeClr val="tx2"/>
            </a:solidFill>
            <a:round/>
            <a:headEnd/>
            <a:tailEnd/>
          </a:ln>
        </p:spPr>
        <p:txBody>
          <a:bodyPr/>
          <a:lstStyle/>
          <a:p>
            <a:endParaRPr lang="en-US"/>
          </a:p>
        </p:txBody>
      </p:sp>
      <p:sp>
        <p:nvSpPr>
          <p:cNvPr id="338" name="Freeform 1416"/>
          <p:cNvSpPr>
            <a:spLocks/>
          </p:cNvSpPr>
          <p:nvPr/>
        </p:nvSpPr>
        <p:spPr bwMode="auto">
          <a:xfrm>
            <a:off x="8341812" y="3506458"/>
            <a:ext cx="71667" cy="92978"/>
          </a:xfrm>
          <a:custGeom>
            <a:avLst/>
            <a:gdLst>
              <a:gd name="T0" fmla="*/ 2147483647 w 150"/>
              <a:gd name="T1" fmla="*/ 2147483647 h 223"/>
              <a:gd name="T2" fmla="*/ 2147483647 w 150"/>
              <a:gd name="T3" fmla="*/ 2147483647 h 223"/>
              <a:gd name="T4" fmla="*/ 2147483647 w 150"/>
              <a:gd name="T5" fmla="*/ 2147483647 h 223"/>
              <a:gd name="T6" fmla="*/ 2147483647 w 150"/>
              <a:gd name="T7" fmla="*/ 2147483647 h 223"/>
              <a:gd name="T8" fmla="*/ 2147483647 w 150"/>
              <a:gd name="T9" fmla="*/ 2147483647 h 223"/>
              <a:gd name="T10" fmla="*/ 2147483647 w 150"/>
              <a:gd name="T11" fmla="*/ 2147483647 h 223"/>
              <a:gd name="T12" fmla="*/ 2147483647 w 150"/>
              <a:gd name="T13" fmla="*/ 2147483647 h 223"/>
              <a:gd name="T14" fmla="*/ 2147483647 w 150"/>
              <a:gd name="T15" fmla="*/ 2147483647 h 223"/>
              <a:gd name="T16" fmla="*/ 0 w 150"/>
              <a:gd name="T17" fmla="*/ 2147483647 h 223"/>
              <a:gd name="T18" fmla="*/ 2147483647 w 150"/>
              <a:gd name="T19" fmla="*/ 2147483647 h 223"/>
              <a:gd name="T20" fmla="*/ 2147483647 w 150"/>
              <a:gd name="T21" fmla="*/ 2147483647 h 223"/>
              <a:gd name="T22" fmla="*/ 2147483647 w 150"/>
              <a:gd name="T23" fmla="*/ 2147483647 h 223"/>
              <a:gd name="T24" fmla="*/ 2147483647 w 150"/>
              <a:gd name="T25" fmla="*/ 2147483647 h 223"/>
              <a:gd name="T26" fmla="*/ 2147483647 w 150"/>
              <a:gd name="T27" fmla="*/ 2147483647 h 223"/>
              <a:gd name="T28" fmla="*/ 2147483647 w 150"/>
              <a:gd name="T29" fmla="*/ 2147483647 h 223"/>
              <a:gd name="T30" fmla="*/ 2147483647 w 150"/>
              <a:gd name="T31" fmla="*/ 2147483647 h 223"/>
              <a:gd name="T32" fmla="*/ 2147483647 w 150"/>
              <a:gd name="T33" fmla="*/ 2147483647 h 223"/>
              <a:gd name="T34" fmla="*/ 2147483647 w 150"/>
              <a:gd name="T35" fmla="*/ 2147483647 h 223"/>
              <a:gd name="T36" fmla="*/ 2147483647 w 150"/>
              <a:gd name="T37" fmla="*/ 2147483647 h 223"/>
              <a:gd name="T38" fmla="*/ 2147483647 w 150"/>
              <a:gd name="T39" fmla="*/ 2147483647 h 223"/>
              <a:gd name="T40" fmla="*/ 2147483647 w 150"/>
              <a:gd name="T41" fmla="*/ 2147483647 h 223"/>
              <a:gd name="T42" fmla="*/ 2147483647 w 150"/>
              <a:gd name="T43" fmla="*/ 2147483647 h 223"/>
              <a:gd name="T44" fmla="*/ 2147483647 w 150"/>
              <a:gd name="T45" fmla="*/ 2147483647 h 223"/>
              <a:gd name="T46" fmla="*/ 2147483647 w 150"/>
              <a:gd name="T47" fmla="*/ 2147483647 h 223"/>
              <a:gd name="T48" fmla="*/ 2147483647 w 150"/>
              <a:gd name="T49" fmla="*/ 2147483647 h 223"/>
              <a:gd name="T50" fmla="*/ 2147483647 w 150"/>
              <a:gd name="T51" fmla="*/ 2147483647 h 223"/>
              <a:gd name="T52" fmla="*/ 2147483647 w 150"/>
              <a:gd name="T53" fmla="*/ 2147483647 h 223"/>
              <a:gd name="T54" fmla="*/ 2147483647 w 150"/>
              <a:gd name="T55" fmla="*/ 2147483647 h 223"/>
              <a:gd name="T56" fmla="*/ 2147483647 w 150"/>
              <a:gd name="T57" fmla="*/ 2147483647 h 223"/>
              <a:gd name="T58" fmla="*/ 2147483647 w 150"/>
              <a:gd name="T59" fmla="*/ 2147483647 h 223"/>
              <a:gd name="T60" fmla="*/ 2147483647 w 150"/>
              <a:gd name="T61" fmla="*/ 2147483647 h 223"/>
              <a:gd name="T62" fmla="*/ 2147483647 w 150"/>
              <a:gd name="T63" fmla="*/ 2147483647 h 223"/>
              <a:gd name="T64" fmla="*/ 2147483647 w 150"/>
              <a:gd name="T65" fmla="*/ 2147483647 h 223"/>
              <a:gd name="T66" fmla="*/ 2147483647 w 150"/>
              <a:gd name="T67" fmla="*/ 2147483647 h 223"/>
              <a:gd name="T68" fmla="*/ 2147483647 w 150"/>
              <a:gd name="T69" fmla="*/ 2147483647 h 223"/>
              <a:gd name="T70" fmla="*/ 2147483647 w 150"/>
              <a:gd name="T71" fmla="*/ 2147483647 h 223"/>
              <a:gd name="T72" fmla="*/ 2147483647 w 150"/>
              <a:gd name="T73" fmla="*/ 2147483647 h 223"/>
              <a:gd name="T74" fmla="*/ 2147483647 w 150"/>
              <a:gd name="T75" fmla="*/ 2147483647 h 223"/>
              <a:gd name="T76" fmla="*/ 2147483647 w 150"/>
              <a:gd name="T77" fmla="*/ 2147483647 h 223"/>
              <a:gd name="T78" fmla="*/ 2147483647 w 150"/>
              <a:gd name="T79" fmla="*/ 2147483647 h 223"/>
              <a:gd name="T80" fmla="*/ 2147483647 w 150"/>
              <a:gd name="T81" fmla="*/ 2147483647 h 223"/>
              <a:gd name="T82" fmla="*/ 2147483647 w 150"/>
              <a:gd name="T83" fmla="*/ 2147483647 h 223"/>
              <a:gd name="T84" fmla="*/ 2147483647 w 150"/>
              <a:gd name="T85" fmla="*/ 2147483647 h 223"/>
              <a:gd name="T86" fmla="*/ 2147483647 w 150"/>
              <a:gd name="T87" fmla="*/ 2147483647 h 223"/>
              <a:gd name="T88" fmla="*/ 2147483647 w 150"/>
              <a:gd name="T89" fmla="*/ 2147483647 h 223"/>
              <a:gd name="T90" fmla="*/ 2147483647 w 150"/>
              <a:gd name="T91" fmla="*/ 2147483647 h 223"/>
              <a:gd name="T92" fmla="*/ 2147483647 w 150"/>
              <a:gd name="T93" fmla="*/ 2147483647 h 223"/>
              <a:gd name="T94" fmla="*/ 2147483647 w 150"/>
              <a:gd name="T95" fmla="*/ 0 h 223"/>
              <a:gd name="T96" fmla="*/ 2147483647 w 150"/>
              <a:gd name="T97" fmla="*/ 2147483647 h 223"/>
              <a:gd name="T98" fmla="*/ 2147483647 w 150"/>
              <a:gd name="T99" fmla="*/ 2147483647 h 223"/>
              <a:gd name="T100" fmla="*/ 2147483647 w 150"/>
              <a:gd name="T101" fmla="*/ 2147483647 h 2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0"/>
              <a:gd name="T154" fmla="*/ 0 h 223"/>
              <a:gd name="T155" fmla="*/ 150 w 150"/>
              <a:gd name="T156" fmla="*/ 223 h 2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0" h="223">
                <a:moveTo>
                  <a:pt x="19" y="43"/>
                </a:moveTo>
                <a:lnTo>
                  <a:pt x="16" y="46"/>
                </a:lnTo>
                <a:lnTo>
                  <a:pt x="20" y="59"/>
                </a:lnTo>
                <a:lnTo>
                  <a:pt x="30" y="67"/>
                </a:lnTo>
                <a:lnTo>
                  <a:pt x="27" y="74"/>
                </a:lnTo>
                <a:lnTo>
                  <a:pt x="34" y="93"/>
                </a:lnTo>
                <a:lnTo>
                  <a:pt x="24" y="86"/>
                </a:lnTo>
                <a:lnTo>
                  <a:pt x="1" y="96"/>
                </a:lnTo>
                <a:lnTo>
                  <a:pt x="0" y="104"/>
                </a:lnTo>
                <a:lnTo>
                  <a:pt x="9" y="111"/>
                </a:lnTo>
                <a:lnTo>
                  <a:pt x="12" y="109"/>
                </a:lnTo>
                <a:lnTo>
                  <a:pt x="11" y="99"/>
                </a:lnTo>
                <a:lnTo>
                  <a:pt x="15" y="102"/>
                </a:lnTo>
                <a:lnTo>
                  <a:pt x="19" y="131"/>
                </a:lnTo>
                <a:lnTo>
                  <a:pt x="28" y="145"/>
                </a:lnTo>
                <a:lnTo>
                  <a:pt x="19" y="157"/>
                </a:lnTo>
                <a:lnTo>
                  <a:pt x="21" y="160"/>
                </a:lnTo>
                <a:lnTo>
                  <a:pt x="9" y="194"/>
                </a:lnTo>
                <a:lnTo>
                  <a:pt x="11" y="200"/>
                </a:lnTo>
                <a:lnTo>
                  <a:pt x="15" y="195"/>
                </a:lnTo>
                <a:lnTo>
                  <a:pt x="19" y="198"/>
                </a:lnTo>
                <a:lnTo>
                  <a:pt x="17" y="209"/>
                </a:lnTo>
                <a:lnTo>
                  <a:pt x="9" y="206"/>
                </a:lnTo>
                <a:lnTo>
                  <a:pt x="5" y="220"/>
                </a:lnTo>
                <a:lnTo>
                  <a:pt x="7" y="223"/>
                </a:lnTo>
                <a:lnTo>
                  <a:pt x="17" y="215"/>
                </a:lnTo>
                <a:lnTo>
                  <a:pt x="18" y="221"/>
                </a:lnTo>
                <a:lnTo>
                  <a:pt x="28" y="210"/>
                </a:lnTo>
                <a:lnTo>
                  <a:pt x="33" y="216"/>
                </a:lnTo>
                <a:lnTo>
                  <a:pt x="51" y="201"/>
                </a:lnTo>
                <a:lnTo>
                  <a:pt x="45" y="210"/>
                </a:lnTo>
                <a:lnTo>
                  <a:pt x="51" y="213"/>
                </a:lnTo>
                <a:lnTo>
                  <a:pt x="56" y="210"/>
                </a:lnTo>
                <a:lnTo>
                  <a:pt x="56" y="197"/>
                </a:lnTo>
                <a:lnTo>
                  <a:pt x="64" y="205"/>
                </a:lnTo>
                <a:lnTo>
                  <a:pt x="70" y="197"/>
                </a:lnTo>
                <a:lnTo>
                  <a:pt x="66" y="193"/>
                </a:lnTo>
                <a:lnTo>
                  <a:pt x="76" y="189"/>
                </a:lnTo>
                <a:lnTo>
                  <a:pt x="92" y="192"/>
                </a:lnTo>
                <a:lnTo>
                  <a:pt x="95" y="197"/>
                </a:lnTo>
                <a:lnTo>
                  <a:pt x="105" y="180"/>
                </a:lnTo>
                <a:lnTo>
                  <a:pt x="121" y="181"/>
                </a:lnTo>
                <a:lnTo>
                  <a:pt x="137" y="170"/>
                </a:lnTo>
                <a:lnTo>
                  <a:pt x="150" y="134"/>
                </a:lnTo>
                <a:lnTo>
                  <a:pt x="145" y="133"/>
                </a:lnTo>
                <a:lnTo>
                  <a:pt x="144" y="89"/>
                </a:lnTo>
                <a:lnTo>
                  <a:pt x="136" y="57"/>
                </a:lnTo>
                <a:lnTo>
                  <a:pt x="99" y="0"/>
                </a:lnTo>
                <a:lnTo>
                  <a:pt x="73" y="18"/>
                </a:lnTo>
                <a:lnTo>
                  <a:pt x="46" y="18"/>
                </a:lnTo>
                <a:lnTo>
                  <a:pt x="19" y="43"/>
                </a:lnTo>
                <a:close/>
              </a:path>
            </a:pathLst>
          </a:custGeom>
          <a:solidFill>
            <a:schemeClr val="accent1"/>
          </a:solidFill>
          <a:ln w="6350">
            <a:solidFill>
              <a:schemeClr val="tx2"/>
            </a:solidFill>
            <a:round/>
            <a:headEnd/>
            <a:tailEnd/>
          </a:ln>
        </p:spPr>
        <p:txBody>
          <a:bodyPr/>
          <a:lstStyle/>
          <a:p>
            <a:endParaRPr lang="en-US"/>
          </a:p>
        </p:txBody>
      </p:sp>
      <p:sp>
        <p:nvSpPr>
          <p:cNvPr id="339" name="Freeform 1417"/>
          <p:cNvSpPr>
            <a:spLocks/>
          </p:cNvSpPr>
          <p:nvPr/>
        </p:nvSpPr>
        <p:spPr bwMode="auto">
          <a:xfrm>
            <a:off x="8307411" y="3402019"/>
            <a:ext cx="129001" cy="123546"/>
          </a:xfrm>
          <a:custGeom>
            <a:avLst/>
            <a:gdLst>
              <a:gd name="T0" fmla="*/ 0 w 273"/>
              <a:gd name="T1" fmla="*/ 2147483647 h 295"/>
              <a:gd name="T2" fmla="*/ 2147483647 w 273"/>
              <a:gd name="T3" fmla="*/ 2147483647 h 295"/>
              <a:gd name="T4" fmla="*/ 2147483647 w 273"/>
              <a:gd name="T5" fmla="*/ 2147483647 h 295"/>
              <a:gd name="T6" fmla="*/ 2147483647 w 273"/>
              <a:gd name="T7" fmla="*/ 2147483647 h 295"/>
              <a:gd name="T8" fmla="*/ 2147483647 w 273"/>
              <a:gd name="T9" fmla="*/ 2147483647 h 295"/>
              <a:gd name="T10" fmla="*/ 2147483647 w 273"/>
              <a:gd name="T11" fmla="*/ 2147483647 h 295"/>
              <a:gd name="T12" fmla="*/ 2147483647 w 273"/>
              <a:gd name="T13" fmla="*/ 2147483647 h 295"/>
              <a:gd name="T14" fmla="*/ 2147483647 w 273"/>
              <a:gd name="T15" fmla="*/ 2147483647 h 295"/>
              <a:gd name="T16" fmla="*/ 2147483647 w 273"/>
              <a:gd name="T17" fmla="*/ 2147483647 h 295"/>
              <a:gd name="T18" fmla="*/ 2147483647 w 273"/>
              <a:gd name="T19" fmla="*/ 2147483647 h 295"/>
              <a:gd name="T20" fmla="*/ 2147483647 w 273"/>
              <a:gd name="T21" fmla="*/ 2147483647 h 295"/>
              <a:gd name="T22" fmla="*/ 2147483647 w 273"/>
              <a:gd name="T23" fmla="*/ 2147483647 h 295"/>
              <a:gd name="T24" fmla="*/ 2147483647 w 273"/>
              <a:gd name="T25" fmla="*/ 2147483647 h 295"/>
              <a:gd name="T26" fmla="*/ 2147483647 w 273"/>
              <a:gd name="T27" fmla="*/ 2147483647 h 295"/>
              <a:gd name="T28" fmla="*/ 2147483647 w 273"/>
              <a:gd name="T29" fmla="*/ 2147483647 h 295"/>
              <a:gd name="T30" fmla="*/ 2147483647 w 273"/>
              <a:gd name="T31" fmla="*/ 2147483647 h 295"/>
              <a:gd name="T32" fmla="*/ 2147483647 w 273"/>
              <a:gd name="T33" fmla="*/ 2147483647 h 295"/>
              <a:gd name="T34" fmla="*/ 2147483647 w 273"/>
              <a:gd name="T35" fmla="*/ 2147483647 h 295"/>
              <a:gd name="T36" fmla="*/ 2147483647 w 273"/>
              <a:gd name="T37" fmla="*/ 2147483647 h 295"/>
              <a:gd name="T38" fmla="*/ 2147483647 w 273"/>
              <a:gd name="T39" fmla="*/ 2147483647 h 295"/>
              <a:gd name="T40" fmla="*/ 2147483647 w 273"/>
              <a:gd name="T41" fmla="*/ 2147483647 h 295"/>
              <a:gd name="T42" fmla="*/ 2147483647 w 273"/>
              <a:gd name="T43" fmla="*/ 2147483647 h 295"/>
              <a:gd name="T44" fmla="*/ 2147483647 w 273"/>
              <a:gd name="T45" fmla="*/ 2147483647 h 295"/>
              <a:gd name="T46" fmla="*/ 2147483647 w 273"/>
              <a:gd name="T47" fmla="*/ 2147483647 h 295"/>
              <a:gd name="T48" fmla="*/ 2147483647 w 273"/>
              <a:gd name="T49" fmla="*/ 2147483647 h 295"/>
              <a:gd name="T50" fmla="*/ 2147483647 w 273"/>
              <a:gd name="T51" fmla="*/ 2147483647 h 295"/>
              <a:gd name="T52" fmla="*/ 2147483647 w 273"/>
              <a:gd name="T53" fmla="*/ 2147483647 h 295"/>
              <a:gd name="T54" fmla="*/ 2147483647 w 273"/>
              <a:gd name="T55" fmla="*/ 2147483647 h 295"/>
              <a:gd name="T56" fmla="*/ 2147483647 w 273"/>
              <a:gd name="T57" fmla="*/ 2147483647 h 295"/>
              <a:gd name="T58" fmla="*/ 2147483647 w 273"/>
              <a:gd name="T59" fmla="*/ 2147483647 h 295"/>
              <a:gd name="T60" fmla="*/ 2147483647 w 273"/>
              <a:gd name="T61" fmla="*/ 2147483647 h 295"/>
              <a:gd name="T62" fmla="*/ 2147483647 w 273"/>
              <a:gd name="T63" fmla="*/ 2147483647 h 295"/>
              <a:gd name="T64" fmla="*/ 2147483647 w 273"/>
              <a:gd name="T65" fmla="*/ 2147483647 h 295"/>
              <a:gd name="T66" fmla="*/ 2147483647 w 273"/>
              <a:gd name="T67" fmla="*/ 2147483647 h 295"/>
              <a:gd name="T68" fmla="*/ 2147483647 w 273"/>
              <a:gd name="T69" fmla="*/ 0 h 295"/>
              <a:gd name="T70" fmla="*/ 2147483647 w 273"/>
              <a:gd name="T71" fmla="*/ 2147483647 h 295"/>
              <a:gd name="T72" fmla="*/ 2147483647 w 273"/>
              <a:gd name="T73" fmla="*/ 2147483647 h 295"/>
              <a:gd name="T74" fmla="*/ 2147483647 w 273"/>
              <a:gd name="T75" fmla="*/ 2147483647 h 295"/>
              <a:gd name="T76" fmla="*/ 2147483647 w 273"/>
              <a:gd name="T77" fmla="*/ 2147483647 h 295"/>
              <a:gd name="T78" fmla="*/ 2147483647 w 273"/>
              <a:gd name="T79" fmla="*/ 2147483647 h 295"/>
              <a:gd name="T80" fmla="*/ 2147483647 w 273"/>
              <a:gd name="T81" fmla="*/ 2147483647 h 295"/>
              <a:gd name="T82" fmla="*/ 2147483647 w 273"/>
              <a:gd name="T83" fmla="*/ 2147483647 h 295"/>
              <a:gd name="T84" fmla="*/ 2147483647 w 273"/>
              <a:gd name="T85" fmla="*/ 2147483647 h 295"/>
              <a:gd name="T86" fmla="*/ 2147483647 w 273"/>
              <a:gd name="T87" fmla="*/ 2147483647 h 295"/>
              <a:gd name="T88" fmla="*/ 2147483647 w 273"/>
              <a:gd name="T89" fmla="*/ 2147483647 h 295"/>
              <a:gd name="T90" fmla="*/ 0 w 273"/>
              <a:gd name="T91" fmla="*/ 2147483647 h 2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73"/>
              <a:gd name="T139" fmla="*/ 0 h 295"/>
              <a:gd name="T140" fmla="*/ 273 w 273"/>
              <a:gd name="T141" fmla="*/ 295 h 2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73" h="295">
                <a:moveTo>
                  <a:pt x="0" y="172"/>
                </a:moveTo>
                <a:lnTo>
                  <a:pt x="12" y="192"/>
                </a:lnTo>
                <a:lnTo>
                  <a:pt x="22" y="186"/>
                </a:lnTo>
                <a:lnTo>
                  <a:pt x="48" y="195"/>
                </a:lnTo>
                <a:lnTo>
                  <a:pt x="37" y="235"/>
                </a:lnTo>
                <a:lnTo>
                  <a:pt x="39" y="241"/>
                </a:lnTo>
                <a:lnTo>
                  <a:pt x="45" y="241"/>
                </a:lnTo>
                <a:lnTo>
                  <a:pt x="28" y="252"/>
                </a:lnTo>
                <a:lnTo>
                  <a:pt x="18" y="276"/>
                </a:lnTo>
                <a:lnTo>
                  <a:pt x="37" y="274"/>
                </a:lnTo>
                <a:lnTo>
                  <a:pt x="30" y="283"/>
                </a:lnTo>
                <a:lnTo>
                  <a:pt x="40" y="295"/>
                </a:lnTo>
                <a:lnTo>
                  <a:pt x="54" y="289"/>
                </a:lnTo>
                <a:lnTo>
                  <a:pt x="54" y="279"/>
                </a:lnTo>
                <a:lnTo>
                  <a:pt x="76" y="292"/>
                </a:lnTo>
                <a:lnTo>
                  <a:pt x="87" y="286"/>
                </a:lnTo>
                <a:lnTo>
                  <a:pt x="94" y="292"/>
                </a:lnTo>
                <a:lnTo>
                  <a:pt x="121" y="267"/>
                </a:lnTo>
                <a:lnTo>
                  <a:pt x="148" y="267"/>
                </a:lnTo>
                <a:lnTo>
                  <a:pt x="174" y="249"/>
                </a:lnTo>
                <a:lnTo>
                  <a:pt x="144" y="217"/>
                </a:lnTo>
                <a:lnTo>
                  <a:pt x="133" y="213"/>
                </a:lnTo>
                <a:lnTo>
                  <a:pt x="136" y="179"/>
                </a:lnTo>
                <a:lnTo>
                  <a:pt x="155" y="166"/>
                </a:lnTo>
                <a:lnTo>
                  <a:pt x="174" y="164"/>
                </a:lnTo>
                <a:lnTo>
                  <a:pt x="201" y="141"/>
                </a:lnTo>
                <a:lnTo>
                  <a:pt x="230" y="116"/>
                </a:lnTo>
                <a:lnTo>
                  <a:pt x="230" y="78"/>
                </a:lnTo>
                <a:lnTo>
                  <a:pt x="246" y="57"/>
                </a:lnTo>
                <a:lnTo>
                  <a:pt x="261" y="37"/>
                </a:lnTo>
                <a:lnTo>
                  <a:pt x="273" y="36"/>
                </a:lnTo>
                <a:lnTo>
                  <a:pt x="271" y="31"/>
                </a:lnTo>
                <a:lnTo>
                  <a:pt x="268" y="20"/>
                </a:lnTo>
                <a:lnTo>
                  <a:pt x="261" y="19"/>
                </a:lnTo>
                <a:lnTo>
                  <a:pt x="246" y="0"/>
                </a:lnTo>
                <a:lnTo>
                  <a:pt x="238" y="6"/>
                </a:lnTo>
                <a:lnTo>
                  <a:pt x="225" y="34"/>
                </a:lnTo>
                <a:lnTo>
                  <a:pt x="200" y="53"/>
                </a:lnTo>
                <a:lnTo>
                  <a:pt x="166" y="57"/>
                </a:lnTo>
                <a:lnTo>
                  <a:pt x="162" y="63"/>
                </a:lnTo>
                <a:lnTo>
                  <a:pt x="167" y="88"/>
                </a:lnTo>
                <a:lnTo>
                  <a:pt x="133" y="91"/>
                </a:lnTo>
                <a:lnTo>
                  <a:pt x="108" y="80"/>
                </a:lnTo>
                <a:lnTo>
                  <a:pt x="65" y="121"/>
                </a:lnTo>
                <a:lnTo>
                  <a:pt x="22" y="143"/>
                </a:lnTo>
                <a:lnTo>
                  <a:pt x="0" y="172"/>
                </a:lnTo>
                <a:close/>
              </a:path>
            </a:pathLst>
          </a:custGeom>
          <a:solidFill>
            <a:schemeClr val="accent1"/>
          </a:solidFill>
          <a:ln w="6350">
            <a:solidFill>
              <a:schemeClr val="tx2"/>
            </a:solidFill>
            <a:round/>
            <a:headEnd/>
            <a:tailEnd/>
          </a:ln>
        </p:spPr>
        <p:txBody>
          <a:bodyPr/>
          <a:lstStyle/>
          <a:p>
            <a:endParaRPr lang="en-US"/>
          </a:p>
        </p:txBody>
      </p:sp>
      <p:sp>
        <p:nvSpPr>
          <p:cNvPr id="340" name="Freeform 1507"/>
          <p:cNvSpPr>
            <a:spLocks/>
          </p:cNvSpPr>
          <p:nvPr/>
        </p:nvSpPr>
        <p:spPr bwMode="auto">
          <a:xfrm>
            <a:off x="9401048" y="2390735"/>
            <a:ext cx="31533" cy="39484"/>
          </a:xfrm>
          <a:custGeom>
            <a:avLst/>
            <a:gdLst>
              <a:gd name="T0" fmla="*/ 2147483647 w 66"/>
              <a:gd name="T1" fmla="*/ 2147483647 h 95"/>
              <a:gd name="T2" fmla="*/ 2147483647 w 66"/>
              <a:gd name="T3" fmla="*/ 2147483647 h 95"/>
              <a:gd name="T4" fmla="*/ 0 w 66"/>
              <a:gd name="T5" fmla="*/ 2147483647 h 95"/>
              <a:gd name="T6" fmla="*/ 2147483647 w 66"/>
              <a:gd name="T7" fmla="*/ 2147483647 h 95"/>
              <a:gd name="T8" fmla="*/ 2147483647 w 66"/>
              <a:gd name="T9" fmla="*/ 0 h 95"/>
              <a:gd name="T10" fmla="*/ 2147483647 w 66"/>
              <a:gd name="T11" fmla="*/ 2147483647 h 95"/>
              <a:gd name="T12" fmla="*/ 0 60000 65536"/>
              <a:gd name="T13" fmla="*/ 0 60000 65536"/>
              <a:gd name="T14" fmla="*/ 0 60000 65536"/>
              <a:gd name="T15" fmla="*/ 0 60000 65536"/>
              <a:gd name="T16" fmla="*/ 0 60000 65536"/>
              <a:gd name="T17" fmla="*/ 0 60000 65536"/>
              <a:gd name="T18" fmla="*/ 0 w 66"/>
              <a:gd name="T19" fmla="*/ 0 h 95"/>
              <a:gd name="T20" fmla="*/ 66 w 66"/>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6" h="95">
                <a:moveTo>
                  <a:pt x="66" y="75"/>
                </a:moveTo>
                <a:lnTo>
                  <a:pt x="14" y="95"/>
                </a:lnTo>
                <a:lnTo>
                  <a:pt x="0" y="68"/>
                </a:lnTo>
                <a:lnTo>
                  <a:pt x="33" y="24"/>
                </a:lnTo>
                <a:lnTo>
                  <a:pt x="66" y="0"/>
                </a:lnTo>
                <a:lnTo>
                  <a:pt x="66" y="75"/>
                </a:lnTo>
                <a:close/>
              </a:path>
            </a:pathLst>
          </a:custGeom>
          <a:solidFill>
            <a:schemeClr val="accent1"/>
          </a:solidFill>
          <a:ln w="6350">
            <a:solidFill>
              <a:schemeClr val="tx2"/>
            </a:solidFill>
            <a:round/>
            <a:headEnd/>
            <a:tailEnd/>
          </a:ln>
        </p:spPr>
        <p:txBody>
          <a:bodyPr/>
          <a:lstStyle/>
          <a:p>
            <a:endParaRPr lang="en-US"/>
          </a:p>
        </p:txBody>
      </p:sp>
      <p:sp>
        <p:nvSpPr>
          <p:cNvPr id="341" name="Freeform 1535"/>
          <p:cNvSpPr>
            <a:spLocks/>
          </p:cNvSpPr>
          <p:nvPr/>
        </p:nvSpPr>
        <p:spPr bwMode="auto">
          <a:xfrm>
            <a:off x="8903681" y="3803221"/>
            <a:ext cx="2866" cy="1273"/>
          </a:xfrm>
          <a:custGeom>
            <a:avLst/>
            <a:gdLst>
              <a:gd name="T0" fmla="*/ 2147483647 w 3"/>
              <a:gd name="T1" fmla="*/ 0 h 1587"/>
              <a:gd name="T2" fmla="*/ 0 w 3"/>
              <a:gd name="T3" fmla="*/ 0 h 1587"/>
              <a:gd name="T4" fmla="*/ 2147483647 w 3"/>
              <a:gd name="T5" fmla="*/ 0 h 1587"/>
              <a:gd name="T6" fmla="*/ 0 60000 65536"/>
              <a:gd name="T7" fmla="*/ 0 60000 65536"/>
              <a:gd name="T8" fmla="*/ 0 60000 65536"/>
              <a:gd name="T9" fmla="*/ 0 w 3"/>
              <a:gd name="T10" fmla="*/ 0 h 1587"/>
              <a:gd name="T11" fmla="*/ 3 w 3"/>
              <a:gd name="T12" fmla="*/ 1587 h 1587"/>
            </a:gdLst>
            <a:ahLst/>
            <a:cxnLst>
              <a:cxn ang="T6">
                <a:pos x="T0" y="T1"/>
              </a:cxn>
              <a:cxn ang="T7">
                <a:pos x="T2" y="T3"/>
              </a:cxn>
              <a:cxn ang="T8">
                <a:pos x="T4" y="T5"/>
              </a:cxn>
            </a:cxnLst>
            <a:rect l="T9" t="T10" r="T11" b="T12"/>
            <a:pathLst>
              <a:path w="3" h="1587">
                <a:moveTo>
                  <a:pt x="3" y="0"/>
                </a:moveTo>
                <a:lnTo>
                  <a:pt x="0" y="0"/>
                </a:lnTo>
                <a:lnTo>
                  <a:pt x="3" y="0"/>
                </a:lnTo>
                <a:close/>
              </a:path>
            </a:pathLst>
          </a:custGeom>
          <a:solidFill>
            <a:schemeClr val="accent1"/>
          </a:solidFill>
          <a:ln w="6350">
            <a:solidFill>
              <a:schemeClr val="tx2"/>
            </a:solidFill>
            <a:round/>
            <a:headEnd/>
            <a:tailEnd/>
          </a:ln>
        </p:spPr>
        <p:txBody>
          <a:bodyPr/>
          <a:lstStyle/>
          <a:p>
            <a:endParaRPr lang="en-US"/>
          </a:p>
        </p:txBody>
      </p:sp>
      <p:sp>
        <p:nvSpPr>
          <p:cNvPr id="342" name="Freeform 1645"/>
          <p:cNvSpPr>
            <a:spLocks/>
          </p:cNvSpPr>
          <p:nvPr/>
        </p:nvSpPr>
        <p:spPr bwMode="auto">
          <a:xfrm>
            <a:off x="8023610" y="3880913"/>
            <a:ext cx="45867" cy="36936"/>
          </a:xfrm>
          <a:custGeom>
            <a:avLst/>
            <a:gdLst>
              <a:gd name="T0" fmla="*/ 2147483647 w 99"/>
              <a:gd name="T1" fmla="*/ 2147483647 h 89"/>
              <a:gd name="T2" fmla="*/ 2147483647 w 99"/>
              <a:gd name="T3" fmla="*/ 0 h 89"/>
              <a:gd name="T4" fmla="*/ 2147483647 w 99"/>
              <a:gd name="T5" fmla="*/ 2147483647 h 89"/>
              <a:gd name="T6" fmla="*/ 2147483647 w 99"/>
              <a:gd name="T7" fmla="*/ 2147483647 h 89"/>
              <a:gd name="T8" fmla="*/ 2147483647 w 99"/>
              <a:gd name="T9" fmla="*/ 2147483647 h 89"/>
              <a:gd name="T10" fmla="*/ 2147483647 w 99"/>
              <a:gd name="T11" fmla="*/ 2147483647 h 89"/>
              <a:gd name="T12" fmla="*/ 2147483647 w 99"/>
              <a:gd name="T13" fmla="*/ 2147483647 h 89"/>
              <a:gd name="T14" fmla="*/ 2147483647 w 99"/>
              <a:gd name="T15" fmla="*/ 2147483647 h 89"/>
              <a:gd name="T16" fmla="*/ 2147483647 w 99"/>
              <a:gd name="T17" fmla="*/ 2147483647 h 89"/>
              <a:gd name="T18" fmla="*/ 2147483647 w 99"/>
              <a:gd name="T19" fmla="*/ 2147483647 h 89"/>
              <a:gd name="T20" fmla="*/ 2147483647 w 99"/>
              <a:gd name="T21" fmla="*/ 2147483647 h 89"/>
              <a:gd name="T22" fmla="*/ 0 w 99"/>
              <a:gd name="T23" fmla="*/ 2147483647 h 89"/>
              <a:gd name="T24" fmla="*/ 2147483647 w 99"/>
              <a:gd name="T25" fmla="*/ 2147483647 h 89"/>
              <a:gd name="T26" fmla="*/ 2147483647 w 99"/>
              <a:gd name="T27" fmla="*/ 2147483647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89"/>
              <a:gd name="T44" fmla="*/ 99 w 99"/>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89">
                <a:moveTo>
                  <a:pt x="79" y="4"/>
                </a:moveTo>
                <a:lnTo>
                  <a:pt x="82" y="0"/>
                </a:lnTo>
                <a:lnTo>
                  <a:pt x="96" y="5"/>
                </a:lnTo>
                <a:lnTo>
                  <a:pt x="99" y="21"/>
                </a:lnTo>
                <a:lnTo>
                  <a:pt x="92" y="29"/>
                </a:lnTo>
                <a:lnTo>
                  <a:pt x="77" y="62"/>
                </a:lnTo>
                <a:lnTo>
                  <a:pt x="61" y="78"/>
                </a:lnTo>
                <a:lnTo>
                  <a:pt x="52" y="80"/>
                </a:lnTo>
                <a:lnTo>
                  <a:pt x="46" y="89"/>
                </a:lnTo>
                <a:lnTo>
                  <a:pt x="8" y="77"/>
                </a:lnTo>
                <a:lnTo>
                  <a:pt x="2" y="68"/>
                </a:lnTo>
                <a:lnTo>
                  <a:pt x="0" y="40"/>
                </a:lnTo>
                <a:lnTo>
                  <a:pt x="39" y="7"/>
                </a:lnTo>
                <a:lnTo>
                  <a:pt x="79" y="4"/>
                </a:lnTo>
                <a:close/>
              </a:path>
            </a:pathLst>
          </a:custGeom>
          <a:solidFill>
            <a:schemeClr val="accent1"/>
          </a:solidFill>
          <a:ln w="6350">
            <a:solidFill>
              <a:schemeClr val="tx2"/>
            </a:solidFill>
            <a:round/>
            <a:headEnd/>
            <a:tailEnd/>
          </a:ln>
        </p:spPr>
        <p:txBody>
          <a:bodyPr/>
          <a:lstStyle/>
          <a:p>
            <a:endParaRPr lang="en-US"/>
          </a:p>
        </p:txBody>
      </p:sp>
      <p:sp>
        <p:nvSpPr>
          <p:cNvPr id="343" name="Freeform 1646"/>
          <p:cNvSpPr>
            <a:spLocks/>
          </p:cNvSpPr>
          <p:nvPr/>
        </p:nvSpPr>
        <p:spPr bwMode="auto">
          <a:xfrm>
            <a:off x="7660975" y="3832515"/>
            <a:ext cx="4300" cy="7642"/>
          </a:xfrm>
          <a:custGeom>
            <a:avLst/>
            <a:gdLst>
              <a:gd name="T0" fmla="*/ 0 w 10"/>
              <a:gd name="T1" fmla="*/ 2147483647 h 20"/>
              <a:gd name="T2" fmla="*/ 0 w 10"/>
              <a:gd name="T3" fmla="*/ 2147483647 h 20"/>
              <a:gd name="T4" fmla="*/ 2147483647 w 10"/>
              <a:gd name="T5" fmla="*/ 2147483647 h 20"/>
              <a:gd name="T6" fmla="*/ 2147483647 w 10"/>
              <a:gd name="T7" fmla="*/ 2147483647 h 20"/>
              <a:gd name="T8" fmla="*/ 2147483647 w 10"/>
              <a:gd name="T9" fmla="*/ 0 h 20"/>
              <a:gd name="T10" fmla="*/ 0 w 10"/>
              <a:gd name="T11" fmla="*/ 2147483647 h 20"/>
              <a:gd name="T12" fmla="*/ 0 60000 65536"/>
              <a:gd name="T13" fmla="*/ 0 60000 65536"/>
              <a:gd name="T14" fmla="*/ 0 60000 65536"/>
              <a:gd name="T15" fmla="*/ 0 60000 65536"/>
              <a:gd name="T16" fmla="*/ 0 60000 65536"/>
              <a:gd name="T17" fmla="*/ 0 60000 65536"/>
              <a:gd name="T18" fmla="*/ 0 w 10"/>
              <a:gd name="T19" fmla="*/ 0 h 20"/>
              <a:gd name="T20" fmla="*/ 10 w 10"/>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0" h="20">
                <a:moveTo>
                  <a:pt x="0" y="1"/>
                </a:moveTo>
                <a:lnTo>
                  <a:pt x="0" y="18"/>
                </a:lnTo>
                <a:lnTo>
                  <a:pt x="6" y="20"/>
                </a:lnTo>
                <a:lnTo>
                  <a:pt x="10" y="8"/>
                </a:lnTo>
                <a:lnTo>
                  <a:pt x="6" y="0"/>
                </a:lnTo>
                <a:lnTo>
                  <a:pt x="0" y="1"/>
                </a:lnTo>
                <a:close/>
              </a:path>
            </a:pathLst>
          </a:custGeom>
          <a:solidFill>
            <a:schemeClr val="accent1"/>
          </a:solidFill>
          <a:ln w="6350">
            <a:solidFill>
              <a:schemeClr val="tx2"/>
            </a:solidFill>
            <a:round/>
            <a:headEnd/>
            <a:tailEnd/>
          </a:ln>
        </p:spPr>
        <p:txBody>
          <a:bodyPr/>
          <a:lstStyle/>
          <a:p>
            <a:endParaRPr lang="en-US"/>
          </a:p>
        </p:txBody>
      </p:sp>
      <p:sp>
        <p:nvSpPr>
          <p:cNvPr id="344" name="Freeform 1649"/>
          <p:cNvSpPr>
            <a:spLocks/>
          </p:cNvSpPr>
          <p:nvPr/>
        </p:nvSpPr>
        <p:spPr bwMode="auto">
          <a:xfrm>
            <a:off x="8694413" y="3087426"/>
            <a:ext cx="63067" cy="234353"/>
          </a:xfrm>
          <a:custGeom>
            <a:avLst/>
            <a:gdLst>
              <a:gd name="T0" fmla="*/ 2147483647 w 133"/>
              <a:gd name="T1" fmla="*/ 0 h 563"/>
              <a:gd name="T2" fmla="*/ 2147483647 w 133"/>
              <a:gd name="T3" fmla="*/ 2147483647 h 563"/>
              <a:gd name="T4" fmla="*/ 2147483647 w 133"/>
              <a:gd name="T5" fmla="*/ 2147483647 h 563"/>
              <a:gd name="T6" fmla="*/ 2147483647 w 133"/>
              <a:gd name="T7" fmla="*/ 2147483647 h 563"/>
              <a:gd name="T8" fmla="*/ 2147483647 w 133"/>
              <a:gd name="T9" fmla="*/ 2147483647 h 563"/>
              <a:gd name="T10" fmla="*/ 2147483647 w 133"/>
              <a:gd name="T11" fmla="*/ 2147483647 h 563"/>
              <a:gd name="T12" fmla="*/ 2147483647 w 133"/>
              <a:gd name="T13" fmla="*/ 2147483647 h 563"/>
              <a:gd name="T14" fmla="*/ 2147483647 w 133"/>
              <a:gd name="T15" fmla="*/ 2147483647 h 563"/>
              <a:gd name="T16" fmla="*/ 2147483647 w 133"/>
              <a:gd name="T17" fmla="*/ 2147483647 h 563"/>
              <a:gd name="T18" fmla="*/ 2147483647 w 133"/>
              <a:gd name="T19" fmla="*/ 2147483647 h 563"/>
              <a:gd name="T20" fmla="*/ 2147483647 w 133"/>
              <a:gd name="T21" fmla="*/ 2147483647 h 563"/>
              <a:gd name="T22" fmla="*/ 2147483647 w 133"/>
              <a:gd name="T23" fmla="*/ 2147483647 h 563"/>
              <a:gd name="T24" fmla="*/ 2147483647 w 133"/>
              <a:gd name="T25" fmla="*/ 2147483647 h 563"/>
              <a:gd name="T26" fmla="*/ 2147483647 w 133"/>
              <a:gd name="T27" fmla="*/ 2147483647 h 563"/>
              <a:gd name="T28" fmla="*/ 2147483647 w 133"/>
              <a:gd name="T29" fmla="*/ 2147483647 h 563"/>
              <a:gd name="T30" fmla="*/ 2147483647 w 133"/>
              <a:gd name="T31" fmla="*/ 2147483647 h 563"/>
              <a:gd name="T32" fmla="*/ 2147483647 w 133"/>
              <a:gd name="T33" fmla="*/ 2147483647 h 563"/>
              <a:gd name="T34" fmla="*/ 2147483647 w 133"/>
              <a:gd name="T35" fmla="*/ 2147483647 h 563"/>
              <a:gd name="T36" fmla="*/ 2147483647 w 133"/>
              <a:gd name="T37" fmla="*/ 2147483647 h 563"/>
              <a:gd name="T38" fmla="*/ 2147483647 w 133"/>
              <a:gd name="T39" fmla="*/ 2147483647 h 563"/>
              <a:gd name="T40" fmla="*/ 2147483647 w 133"/>
              <a:gd name="T41" fmla="*/ 2147483647 h 563"/>
              <a:gd name="T42" fmla="*/ 2147483647 w 133"/>
              <a:gd name="T43" fmla="*/ 2147483647 h 563"/>
              <a:gd name="T44" fmla="*/ 2147483647 w 133"/>
              <a:gd name="T45" fmla="*/ 2147483647 h 563"/>
              <a:gd name="T46" fmla="*/ 2147483647 w 133"/>
              <a:gd name="T47" fmla="*/ 2147483647 h 563"/>
              <a:gd name="T48" fmla="*/ 2147483647 w 133"/>
              <a:gd name="T49" fmla="*/ 2147483647 h 563"/>
              <a:gd name="T50" fmla="*/ 2147483647 w 133"/>
              <a:gd name="T51" fmla="*/ 2147483647 h 563"/>
              <a:gd name="T52" fmla="*/ 2147483647 w 133"/>
              <a:gd name="T53" fmla="*/ 2147483647 h 563"/>
              <a:gd name="T54" fmla="*/ 2147483647 w 133"/>
              <a:gd name="T55" fmla="*/ 2147483647 h 563"/>
              <a:gd name="T56" fmla="*/ 2147483647 w 133"/>
              <a:gd name="T57" fmla="*/ 2147483647 h 563"/>
              <a:gd name="T58" fmla="*/ 2147483647 w 133"/>
              <a:gd name="T59" fmla="*/ 2147483647 h 563"/>
              <a:gd name="T60" fmla="*/ 2147483647 w 133"/>
              <a:gd name="T61" fmla="*/ 2147483647 h 563"/>
              <a:gd name="T62" fmla="*/ 2147483647 w 133"/>
              <a:gd name="T63" fmla="*/ 2147483647 h 563"/>
              <a:gd name="T64" fmla="*/ 2147483647 w 133"/>
              <a:gd name="T65" fmla="*/ 2147483647 h 563"/>
              <a:gd name="T66" fmla="*/ 2147483647 w 133"/>
              <a:gd name="T67" fmla="*/ 2147483647 h 563"/>
              <a:gd name="T68" fmla="*/ 2147483647 w 133"/>
              <a:gd name="T69" fmla="*/ 2147483647 h 563"/>
              <a:gd name="T70" fmla="*/ 2147483647 w 133"/>
              <a:gd name="T71" fmla="*/ 2147483647 h 563"/>
              <a:gd name="T72" fmla="*/ 2147483647 w 133"/>
              <a:gd name="T73" fmla="*/ 2147483647 h 563"/>
              <a:gd name="T74" fmla="*/ 2147483647 w 133"/>
              <a:gd name="T75" fmla="*/ 2147483647 h 563"/>
              <a:gd name="T76" fmla="*/ 0 w 133"/>
              <a:gd name="T77" fmla="*/ 2147483647 h 563"/>
              <a:gd name="T78" fmla="*/ 2147483647 w 133"/>
              <a:gd name="T79" fmla="*/ 2147483647 h 563"/>
              <a:gd name="T80" fmla="*/ 2147483647 w 133"/>
              <a:gd name="T81" fmla="*/ 2147483647 h 563"/>
              <a:gd name="T82" fmla="*/ 2147483647 w 133"/>
              <a:gd name="T83" fmla="*/ 2147483647 h 563"/>
              <a:gd name="T84" fmla="*/ 2147483647 w 133"/>
              <a:gd name="T85" fmla="*/ 2147483647 h 563"/>
              <a:gd name="T86" fmla="*/ 2147483647 w 133"/>
              <a:gd name="T87" fmla="*/ 2147483647 h 563"/>
              <a:gd name="T88" fmla="*/ 2147483647 w 133"/>
              <a:gd name="T89" fmla="*/ 2147483647 h 563"/>
              <a:gd name="T90" fmla="*/ 2147483647 w 133"/>
              <a:gd name="T91" fmla="*/ 2147483647 h 563"/>
              <a:gd name="T92" fmla="*/ 2147483647 w 133"/>
              <a:gd name="T93" fmla="*/ 0 h 5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3"/>
              <a:gd name="T142" fmla="*/ 0 h 563"/>
              <a:gd name="T143" fmla="*/ 133 w 133"/>
              <a:gd name="T144" fmla="*/ 563 h 56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3" h="563">
                <a:moveTo>
                  <a:pt x="41" y="0"/>
                </a:moveTo>
                <a:lnTo>
                  <a:pt x="49" y="1"/>
                </a:lnTo>
                <a:lnTo>
                  <a:pt x="54" y="15"/>
                </a:lnTo>
                <a:lnTo>
                  <a:pt x="56" y="45"/>
                </a:lnTo>
                <a:lnTo>
                  <a:pt x="72" y="111"/>
                </a:lnTo>
                <a:lnTo>
                  <a:pt x="70" y="144"/>
                </a:lnTo>
                <a:lnTo>
                  <a:pt x="64" y="148"/>
                </a:lnTo>
                <a:lnTo>
                  <a:pt x="69" y="200"/>
                </a:lnTo>
                <a:lnTo>
                  <a:pt x="77" y="211"/>
                </a:lnTo>
                <a:lnTo>
                  <a:pt x="87" y="252"/>
                </a:lnTo>
                <a:lnTo>
                  <a:pt x="99" y="298"/>
                </a:lnTo>
                <a:lnTo>
                  <a:pt x="113" y="346"/>
                </a:lnTo>
                <a:lnTo>
                  <a:pt x="133" y="388"/>
                </a:lnTo>
                <a:lnTo>
                  <a:pt x="116" y="362"/>
                </a:lnTo>
                <a:lnTo>
                  <a:pt x="93" y="348"/>
                </a:lnTo>
                <a:lnTo>
                  <a:pt x="72" y="348"/>
                </a:lnTo>
                <a:lnTo>
                  <a:pt x="62" y="356"/>
                </a:lnTo>
                <a:lnTo>
                  <a:pt x="43" y="428"/>
                </a:lnTo>
                <a:lnTo>
                  <a:pt x="42" y="458"/>
                </a:lnTo>
                <a:lnTo>
                  <a:pt x="60" y="486"/>
                </a:lnTo>
                <a:lnTo>
                  <a:pt x="65" y="503"/>
                </a:lnTo>
                <a:lnTo>
                  <a:pt x="80" y="513"/>
                </a:lnTo>
                <a:lnTo>
                  <a:pt x="83" y="547"/>
                </a:lnTo>
                <a:lnTo>
                  <a:pt x="79" y="556"/>
                </a:lnTo>
                <a:lnTo>
                  <a:pt x="74" y="528"/>
                </a:lnTo>
                <a:lnTo>
                  <a:pt x="43" y="518"/>
                </a:lnTo>
                <a:lnTo>
                  <a:pt x="35" y="526"/>
                </a:lnTo>
                <a:lnTo>
                  <a:pt x="23" y="563"/>
                </a:lnTo>
                <a:lnTo>
                  <a:pt x="14" y="558"/>
                </a:lnTo>
                <a:lnTo>
                  <a:pt x="11" y="520"/>
                </a:lnTo>
                <a:lnTo>
                  <a:pt x="19" y="441"/>
                </a:lnTo>
                <a:lnTo>
                  <a:pt x="24" y="433"/>
                </a:lnTo>
                <a:lnTo>
                  <a:pt x="13" y="390"/>
                </a:lnTo>
                <a:lnTo>
                  <a:pt x="24" y="305"/>
                </a:lnTo>
                <a:lnTo>
                  <a:pt x="18" y="257"/>
                </a:lnTo>
                <a:lnTo>
                  <a:pt x="23" y="220"/>
                </a:lnTo>
                <a:lnTo>
                  <a:pt x="16" y="202"/>
                </a:lnTo>
                <a:lnTo>
                  <a:pt x="3" y="189"/>
                </a:lnTo>
                <a:lnTo>
                  <a:pt x="0" y="145"/>
                </a:lnTo>
                <a:lnTo>
                  <a:pt x="7" y="123"/>
                </a:lnTo>
                <a:lnTo>
                  <a:pt x="7" y="73"/>
                </a:lnTo>
                <a:lnTo>
                  <a:pt x="10" y="64"/>
                </a:lnTo>
                <a:lnTo>
                  <a:pt x="38" y="65"/>
                </a:lnTo>
                <a:lnTo>
                  <a:pt x="40" y="50"/>
                </a:lnTo>
                <a:lnTo>
                  <a:pt x="46" y="48"/>
                </a:lnTo>
                <a:lnTo>
                  <a:pt x="29" y="5"/>
                </a:lnTo>
                <a:lnTo>
                  <a:pt x="41" y="0"/>
                </a:lnTo>
                <a:close/>
              </a:path>
            </a:pathLst>
          </a:custGeom>
          <a:solidFill>
            <a:schemeClr val="accent1"/>
          </a:solidFill>
          <a:ln w="6350">
            <a:solidFill>
              <a:schemeClr val="tx2"/>
            </a:solidFill>
            <a:round/>
            <a:headEnd/>
            <a:tailEnd/>
          </a:ln>
        </p:spPr>
        <p:txBody>
          <a:bodyPr/>
          <a:lstStyle/>
          <a:p>
            <a:endParaRPr lang="en-US"/>
          </a:p>
        </p:txBody>
      </p:sp>
      <p:sp>
        <p:nvSpPr>
          <p:cNvPr id="345" name="Freeform 1650"/>
          <p:cNvSpPr>
            <a:spLocks/>
          </p:cNvSpPr>
          <p:nvPr/>
        </p:nvSpPr>
        <p:spPr bwMode="auto">
          <a:xfrm>
            <a:off x="8989682" y="3190592"/>
            <a:ext cx="2866" cy="5095"/>
          </a:xfrm>
          <a:custGeom>
            <a:avLst/>
            <a:gdLst>
              <a:gd name="T0" fmla="*/ 2147483647 w 10"/>
              <a:gd name="T1" fmla="*/ 0 h 12"/>
              <a:gd name="T2" fmla="*/ 0 w 10"/>
              <a:gd name="T3" fmla="*/ 2147483647 h 12"/>
              <a:gd name="T4" fmla="*/ 2147483647 w 10"/>
              <a:gd name="T5" fmla="*/ 0 h 12"/>
              <a:gd name="T6" fmla="*/ 0 60000 65536"/>
              <a:gd name="T7" fmla="*/ 0 60000 65536"/>
              <a:gd name="T8" fmla="*/ 0 60000 65536"/>
              <a:gd name="T9" fmla="*/ 0 w 10"/>
              <a:gd name="T10" fmla="*/ 0 h 12"/>
              <a:gd name="T11" fmla="*/ 10 w 10"/>
              <a:gd name="T12" fmla="*/ 12 h 12"/>
            </a:gdLst>
            <a:ahLst/>
            <a:cxnLst>
              <a:cxn ang="T6">
                <a:pos x="T0" y="T1"/>
              </a:cxn>
              <a:cxn ang="T7">
                <a:pos x="T2" y="T3"/>
              </a:cxn>
              <a:cxn ang="T8">
                <a:pos x="T4" y="T5"/>
              </a:cxn>
            </a:cxnLst>
            <a:rect l="T9" t="T10" r="T11" b="T12"/>
            <a:pathLst>
              <a:path w="10" h="12">
                <a:moveTo>
                  <a:pt x="10" y="0"/>
                </a:moveTo>
                <a:lnTo>
                  <a:pt x="0" y="12"/>
                </a:lnTo>
                <a:lnTo>
                  <a:pt x="10" y="0"/>
                </a:lnTo>
                <a:close/>
              </a:path>
            </a:pathLst>
          </a:custGeom>
          <a:solidFill>
            <a:schemeClr val="accent1"/>
          </a:solidFill>
          <a:ln w="6350">
            <a:solidFill>
              <a:schemeClr val="tx2"/>
            </a:solidFill>
            <a:round/>
            <a:headEnd/>
            <a:tailEnd/>
          </a:ln>
        </p:spPr>
        <p:txBody>
          <a:bodyPr/>
          <a:lstStyle/>
          <a:p>
            <a:endParaRPr lang="en-US"/>
          </a:p>
        </p:txBody>
      </p:sp>
      <p:sp>
        <p:nvSpPr>
          <p:cNvPr id="346" name="Freeform 1651"/>
          <p:cNvSpPr>
            <a:spLocks/>
          </p:cNvSpPr>
          <p:nvPr/>
        </p:nvSpPr>
        <p:spPr bwMode="auto">
          <a:xfrm>
            <a:off x="8969614" y="3194413"/>
            <a:ext cx="18633" cy="19104"/>
          </a:xfrm>
          <a:custGeom>
            <a:avLst/>
            <a:gdLst>
              <a:gd name="T0" fmla="*/ 2147483647 w 40"/>
              <a:gd name="T1" fmla="*/ 0 h 44"/>
              <a:gd name="T2" fmla="*/ 2147483647 w 40"/>
              <a:gd name="T3" fmla="*/ 2147483647 h 44"/>
              <a:gd name="T4" fmla="*/ 2147483647 w 40"/>
              <a:gd name="T5" fmla="*/ 2147483647 h 44"/>
              <a:gd name="T6" fmla="*/ 0 w 40"/>
              <a:gd name="T7" fmla="*/ 2147483647 h 44"/>
              <a:gd name="T8" fmla="*/ 2147483647 w 40"/>
              <a:gd name="T9" fmla="*/ 2147483647 h 44"/>
              <a:gd name="T10" fmla="*/ 2147483647 w 40"/>
              <a:gd name="T11" fmla="*/ 2147483647 h 44"/>
              <a:gd name="T12" fmla="*/ 2147483647 w 40"/>
              <a:gd name="T13" fmla="*/ 0 h 44"/>
              <a:gd name="T14" fmla="*/ 0 60000 65536"/>
              <a:gd name="T15" fmla="*/ 0 60000 65536"/>
              <a:gd name="T16" fmla="*/ 0 60000 65536"/>
              <a:gd name="T17" fmla="*/ 0 60000 65536"/>
              <a:gd name="T18" fmla="*/ 0 60000 65536"/>
              <a:gd name="T19" fmla="*/ 0 60000 65536"/>
              <a:gd name="T20" fmla="*/ 0 60000 65536"/>
              <a:gd name="T21" fmla="*/ 0 w 40"/>
              <a:gd name="T22" fmla="*/ 0 h 44"/>
              <a:gd name="T23" fmla="*/ 40 w 40"/>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44">
                <a:moveTo>
                  <a:pt x="35" y="0"/>
                </a:moveTo>
                <a:lnTo>
                  <a:pt x="21" y="19"/>
                </a:lnTo>
                <a:lnTo>
                  <a:pt x="3" y="29"/>
                </a:lnTo>
                <a:lnTo>
                  <a:pt x="0" y="44"/>
                </a:lnTo>
                <a:lnTo>
                  <a:pt x="31" y="25"/>
                </a:lnTo>
                <a:lnTo>
                  <a:pt x="40" y="13"/>
                </a:lnTo>
                <a:lnTo>
                  <a:pt x="35" y="0"/>
                </a:lnTo>
                <a:close/>
              </a:path>
            </a:pathLst>
          </a:custGeom>
          <a:solidFill>
            <a:schemeClr val="accent1"/>
          </a:solidFill>
          <a:ln w="6350">
            <a:solidFill>
              <a:schemeClr val="tx2"/>
            </a:solidFill>
            <a:round/>
            <a:headEnd/>
            <a:tailEnd/>
          </a:ln>
        </p:spPr>
        <p:txBody>
          <a:bodyPr/>
          <a:lstStyle/>
          <a:p>
            <a:endParaRPr lang="en-US"/>
          </a:p>
        </p:txBody>
      </p:sp>
      <p:sp>
        <p:nvSpPr>
          <p:cNvPr id="347" name="Freeform 1652"/>
          <p:cNvSpPr>
            <a:spLocks/>
          </p:cNvSpPr>
          <p:nvPr/>
        </p:nvSpPr>
        <p:spPr bwMode="auto">
          <a:xfrm>
            <a:off x="8955280" y="3224981"/>
            <a:ext cx="2866" cy="7642"/>
          </a:xfrm>
          <a:custGeom>
            <a:avLst/>
            <a:gdLst>
              <a:gd name="T0" fmla="*/ 2147483647 w 10"/>
              <a:gd name="T1" fmla="*/ 0 h 21"/>
              <a:gd name="T2" fmla="*/ 0 w 10"/>
              <a:gd name="T3" fmla="*/ 2147483647 h 21"/>
              <a:gd name="T4" fmla="*/ 2147483647 w 10"/>
              <a:gd name="T5" fmla="*/ 2147483647 h 21"/>
              <a:gd name="T6" fmla="*/ 2147483647 w 10"/>
              <a:gd name="T7" fmla="*/ 0 h 21"/>
              <a:gd name="T8" fmla="*/ 0 60000 65536"/>
              <a:gd name="T9" fmla="*/ 0 60000 65536"/>
              <a:gd name="T10" fmla="*/ 0 60000 65536"/>
              <a:gd name="T11" fmla="*/ 0 60000 65536"/>
              <a:gd name="T12" fmla="*/ 0 w 10"/>
              <a:gd name="T13" fmla="*/ 0 h 21"/>
              <a:gd name="T14" fmla="*/ 10 w 10"/>
              <a:gd name="T15" fmla="*/ 21 h 21"/>
            </a:gdLst>
            <a:ahLst/>
            <a:cxnLst>
              <a:cxn ang="T8">
                <a:pos x="T0" y="T1"/>
              </a:cxn>
              <a:cxn ang="T9">
                <a:pos x="T2" y="T3"/>
              </a:cxn>
              <a:cxn ang="T10">
                <a:pos x="T4" y="T5"/>
              </a:cxn>
              <a:cxn ang="T11">
                <a:pos x="T6" y="T7"/>
              </a:cxn>
            </a:cxnLst>
            <a:rect l="T12" t="T13" r="T14" b="T15"/>
            <a:pathLst>
              <a:path w="10" h="21">
                <a:moveTo>
                  <a:pt x="10" y="0"/>
                </a:moveTo>
                <a:lnTo>
                  <a:pt x="0" y="21"/>
                </a:lnTo>
                <a:lnTo>
                  <a:pt x="6" y="18"/>
                </a:lnTo>
                <a:lnTo>
                  <a:pt x="10" y="0"/>
                </a:lnTo>
                <a:close/>
              </a:path>
            </a:pathLst>
          </a:custGeom>
          <a:solidFill>
            <a:schemeClr val="accent1"/>
          </a:solidFill>
          <a:ln w="6350">
            <a:solidFill>
              <a:schemeClr val="tx2"/>
            </a:solidFill>
            <a:round/>
            <a:headEnd/>
            <a:tailEnd/>
          </a:ln>
        </p:spPr>
        <p:txBody>
          <a:bodyPr/>
          <a:lstStyle/>
          <a:p>
            <a:endParaRPr lang="en-US"/>
          </a:p>
        </p:txBody>
      </p:sp>
      <p:sp>
        <p:nvSpPr>
          <p:cNvPr id="348" name="Freeform 1653"/>
          <p:cNvSpPr>
            <a:spLocks/>
          </p:cNvSpPr>
          <p:nvPr/>
        </p:nvSpPr>
        <p:spPr bwMode="auto">
          <a:xfrm>
            <a:off x="8945247" y="3244085"/>
            <a:ext cx="2866" cy="5095"/>
          </a:xfrm>
          <a:custGeom>
            <a:avLst/>
            <a:gdLst>
              <a:gd name="T0" fmla="*/ 2147483647 w 5"/>
              <a:gd name="T1" fmla="*/ 0 h 10"/>
              <a:gd name="T2" fmla="*/ 0 w 5"/>
              <a:gd name="T3" fmla="*/ 2147483647 h 10"/>
              <a:gd name="T4" fmla="*/ 2147483647 w 5"/>
              <a:gd name="T5" fmla="*/ 2147483647 h 10"/>
              <a:gd name="T6" fmla="*/ 2147483647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4" y="0"/>
                </a:moveTo>
                <a:lnTo>
                  <a:pt x="0" y="10"/>
                </a:lnTo>
                <a:lnTo>
                  <a:pt x="5" y="7"/>
                </a:lnTo>
                <a:lnTo>
                  <a:pt x="4" y="0"/>
                </a:lnTo>
                <a:close/>
              </a:path>
            </a:pathLst>
          </a:custGeom>
          <a:solidFill>
            <a:schemeClr val="accent1"/>
          </a:solidFill>
          <a:ln w="6350">
            <a:solidFill>
              <a:schemeClr val="tx2"/>
            </a:solidFill>
            <a:round/>
            <a:headEnd/>
            <a:tailEnd/>
          </a:ln>
        </p:spPr>
        <p:txBody>
          <a:bodyPr/>
          <a:lstStyle/>
          <a:p>
            <a:endParaRPr lang="en-US"/>
          </a:p>
        </p:txBody>
      </p:sp>
      <p:sp>
        <p:nvSpPr>
          <p:cNvPr id="349" name="Freeform 1654"/>
          <p:cNvSpPr>
            <a:spLocks/>
          </p:cNvSpPr>
          <p:nvPr/>
        </p:nvSpPr>
        <p:spPr bwMode="auto">
          <a:xfrm>
            <a:off x="8899379" y="3292485"/>
            <a:ext cx="8600" cy="6369"/>
          </a:xfrm>
          <a:custGeom>
            <a:avLst/>
            <a:gdLst>
              <a:gd name="T0" fmla="*/ 2147483647 w 20"/>
              <a:gd name="T1" fmla="*/ 0 h 20"/>
              <a:gd name="T2" fmla="*/ 2147483647 w 20"/>
              <a:gd name="T3" fmla="*/ 2147483647 h 20"/>
              <a:gd name="T4" fmla="*/ 0 w 20"/>
              <a:gd name="T5" fmla="*/ 2147483647 h 20"/>
              <a:gd name="T6" fmla="*/ 2147483647 w 20"/>
              <a:gd name="T7" fmla="*/ 0 h 20"/>
              <a:gd name="T8" fmla="*/ 0 60000 65536"/>
              <a:gd name="T9" fmla="*/ 0 60000 65536"/>
              <a:gd name="T10" fmla="*/ 0 60000 65536"/>
              <a:gd name="T11" fmla="*/ 0 60000 65536"/>
              <a:gd name="T12" fmla="*/ 0 w 20"/>
              <a:gd name="T13" fmla="*/ 0 h 20"/>
              <a:gd name="T14" fmla="*/ 20 w 20"/>
              <a:gd name="T15" fmla="*/ 20 h 20"/>
            </a:gdLst>
            <a:ahLst/>
            <a:cxnLst>
              <a:cxn ang="T8">
                <a:pos x="T0" y="T1"/>
              </a:cxn>
              <a:cxn ang="T9">
                <a:pos x="T2" y="T3"/>
              </a:cxn>
              <a:cxn ang="T10">
                <a:pos x="T4" y="T5"/>
              </a:cxn>
              <a:cxn ang="T11">
                <a:pos x="T6" y="T7"/>
              </a:cxn>
            </a:cxnLst>
            <a:rect l="T12" t="T13" r="T14" b="T15"/>
            <a:pathLst>
              <a:path w="20" h="20">
                <a:moveTo>
                  <a:pt x="20" y="0"/>
                </a:moveTo>
                <a:lnTo>
                  <a:pt x="11" y="17"/>
                </a:lnTo>
                <a:lnTo>
                  <a:pt x="0" y="20"/>
                </a:lnTo>
                <a:lnTo>
                  <a:pt x="20" y="0"/>
                </a:lnTo>
                <a:close/>
              </a:path>
            </a:pathLst>
          </a:custGeom>
          <a:solidFill>
            <a:schemeClr val="accent1"/>
          </a:solidFill>
          <a:ln w="6350">
            <a:solidFill>
              <a:schemeClr val="tx2"/>
            </a:solidFill>
            <a:round/>
            <a:headEnd/>
            <a:tailEnd/>
          </a:ln>
        </p:spPr>
        <p:txBody>
          <a:bodyPr/>
          <a:lstStyle/>
          <a:p>
            <a:endParaRPr lang="en-US"/>
          </a:p>
        </p:txBody>
      </p:sp>
      <p:sp>
        <p:nvSpPr>
          <p:cNvPr id="350" name="Freeform 1655"/>
          <p:cNvSpPr>
            <a:spLocks/>
          </p:cNvSpPr>
          <p:nvPr/>
        </p:nvSpPr>
        <p:spPr bwMode="auto">
          <a:xfrm>
            <a:off x="8853512" y="3315411"/>
            <a:ext cx="20066" cy="16558"/>
          </a:xfrm>
          <a:custGeom>
            <a:avLst/>
            <a:gdLst>
              <a:gd name="T0" fmla="*/ 2147483647 w 41"/>
              <a:gd name="T1" fmla="*/ 2147483647 h 40"/>
              <a:gd name="T2" fmla="*/ 2147483647 w 41"/>
              <a:gd name="T3" fmla="*/ 2147483647 h 40"/>
              <a:gd name="T4" fmla="*/ 0 w 41"/>
              <a:gd name="T5" fmla="*/ 2147483647 h 40"/>
              <a:gd name="T6" fmla="*/ 2147483647 w 41"/>
              <a:gd name="T7" fmla="*/ 2147483647 h 40"/>
              <a:gd name="T8" fmla="*/ 2147483647 w 41"/>
              <a:gd name="T9" fmla="*/ 2147483647 h 40"/>
              <a:gd name="T10" fmla="*/ 2147483647 w 41"/>
              <a:gd name="T11" fmla="*/ 0 h 40"/>
              <a:gd name="T12" fmla="*/ 2147483647 w 41"/>
              <a:gd name="T13" fmla="*/ 2147483647 h 40"/>
              <a:gd name="T14" fmla="*/ 0 60000 65536"/>
              <a:gd name="T15" fmla="*/ 0 60000 65536"/>
              <a:gd name="T16" fmla="*/ 0 60000 65536"/>
              <a:gd name="T17" fmla="*/ 0 60000 65536"/>
              <a:gd name="T18" fmla="*/ 0 60000 65536"/>
              <a:gd name="T19" fmla="*/ 0 60000 65536"/>
              <a:gd name="T20" fmla="*/ 0 60000 65536"/>
              <a:gd name="T21" fmla="*/ 0 w 41"/>
              <a:gd name="T22" fmla="*/ 0 h 40"/>
              <a:gd name="T23" fmla="*/ 41 w 41"/>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0">
                <a:moveTo>
                  <a:pt x="41" y="4"/>
                </a:moveTo>
                <a:lnTo>
                  <a:pt x="18" y="29"/>
                </a:lnTo>
                <a:lnTo>
                  <a:pt x="0" y="40"/>
                </a:lnTo>
                <a:lnTo>
                  <a:pt x="2" y="30"/>
                </a:lnTo>
                <a:lnTo>
                  <a:pt x="21" y="12"/>
                </a:lnTo>
                <a:lnTo>
                  <a:pt x="37" y="0"/>
                </a:lnTo>
                <a:lnTo>
                  <a:pt x="41" y="4"/>
                </a:lnTo>
                <a:close/>
              </a:path>
            </a:pathLst>
          </a:custGeom>
          <a:solidFill>
            <a:schemeClr val="accent1"/>
          </a:solidFill>
          <a:ln w="6350">
            <a:solidFill>
              <a:schemeClr val="tx2"/>
            </a:solidFill>
            <a:round/>
            <a:headEnd/>
            <a:tailEnd/>
          </a:ln>
        </p:spPr>
        <p:txBody>
          <a:bodyPr/>
          <a:lstStyle/>
          <a:p>
            <a:endParaRPr lang="en-US"/>
          </a:p>
        </p:txBody>
      </p:sp>
      <p:sp>
        <p:nvSpPr>
          <p:cNvPr id="351" name="Freeform 1656"/>
          <p:cNvSpPr>
            <a:spLocks/>
          </p:cNvSpPr>
          <p:nvPr/>
        </p:nvSpPr>
        <p:spPr bwMode="auto">
          <a:xfrm>
            <a:off x="8800480" y="3333242"/>
            <a:ext cx="40133" cy="28020"/>
          </a:xfrm>
          <a:custGeom>
            <a:avLst/>
            <a:gdLst>
              <a:gd name="T0" fmla="*/ 2147483647 w 82"/>
              <a:gd name="T1" fmla="*/ 2147483647 h 65"/>
              <a:gd name="T2" fmla="*/ 2147483647 w 82"/>
              <a:gd name="T3" fmla="*/ 2147483647 h 65"/>
              <a:gd name="T4" fmla="*/ 2147483647 w 82"/>
              <a:gd name="T5" fmla="*/ 2147483647 h 65"/>
              <a:gd name="T6" fmla="*/ 0 w 82"/>
              <a:gd name="T7" fmla="*/ 2147483647 h 65"/>
              <a:gd name="T8" fmla="*/ 2147483647 w 82"/>
              <a:gd name="T9" fmla="*/ 2147483647 h 65"/>
              <a:gd name="T10" fmla="*/ 2147483647 w 82"/>
              <a:gd name="T11" fmla="*/ 2147483647 h 65"/>
              <a:gd name="T12" fmla="*/ 2147483647 w 82"/>
              <a:gd name="T13" fmla="*/ 2147483647 h 65"/>
              <a:gd name="T14" fmla="*/ 2147483647 w 82"/>
              <a:gd name="T15" fmla="*/ 0 h 65"/>
              <a:gd name="T16" fmla="*/ 2147483647 w 82"/>
              <a:gd name="T17" fmla="*/ 2147483647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65"/>
              <a:gd name="T29" fmla="*/ 82 w 82"/>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65">
                <a:moveTo>
                  <a:pt x="82" y="8"/>
                </a:moveTo>
                <a:lnTo>
                  <a:pt x="37" y="35"/>
                </a:lnTo>
                <a:lnTo>
                  <a:pt x="7" y="65"/>
                </a:lnTo>
                <a:lnTo>
                  <a:pt x="0" y="65"/>
                </a:lnTo>
                <a:lnTo>
                  <a:pt x="10" y="45"/>
                </a:lnTo>
                <a:lnTo>
                  <a:pt x="38" y="14"/>
                </a:lnTo>
                <a:lnTo>
                  <a:pt x="54" y="16"/>
                </a:lnTo>
                <a:lnTo>
                  <a:pt x="78" y="0"/>
                </a:lnTo>
                <a:lnTo>
                  <a:pt x="82" y="8"/>
                </a:lnTo>
                <a:close/>
              </a:path>
            </a:pathLst>
          </a:custGeom>
          <a:solidFill>
            <a:schemeClr val="accent1"/>
          </a:solidFill>
          <a:ln w="6350">
            <a:solidFill>
              <a:schemeClr val="tx2"/>
            </a:solidFill>
            <a:round/>
            <a:headEnd/>
            <a:tailEnd/>
          </a:ln>
        </p:spPr>
        <p:txBody>
          <a:bodyPr/>
          <a:lstStyle/>
          <a:p>
            <a:endParaRPr lang="en-US"/>
          </a:p>
        </p:txBody>
      </p:sp>
      <p:sp>
        <p:nvSpPr>
          <p:cNvPr id="352" name="Freeform 1657"/>
          <p:cNvSpPr>
            <a:spLocks/>
          </p:cNvSpPr>
          <p:nvPr/>
        </p:nvSpPr>
        <p:spPr bwMode="auto">
          <a:xfrm>
            <a:off x="8794747" y="3375273"/>
            <a:ext cx="7166" cy="2547"/>
          </a:xfrm>
          <a:custGeom>
            <a:avLst/>
            <a:gdLst>
              <a:gd name="T0" fmla="*/ 2147483647 w 15"/>
              <a:gd name="T1" fmla="*/ 0 h 7"/>
              <a:gd name="T2" fmla="*/ 2147483647 w 15"/>
              <a:gd name="T3" fmla="*/ 2147483647 h 7"/>
              <a:gd name="T4" fmla="*/ 2147483647 w 15"/>
              <a:gd name="T5" fmla="*/ 2147483647 h 7"/>
              <a:gd name="T6" fmla="*/ 0 w 15"/>
              <a:gd name="T7" fmla="*/ 2147483647 h 7"/>
              <a:gd name="T8" fmla="*/ 2147483647 w 15"/>
              <a:gd name="T9" fmla="*/ 0 h 7"/>
              <a:gd name="T10" fmla="*/ 0 60000 65536"/>
              <a:gd name="T11" fmla="*/ 0 60000 65536"/>
              <a:gd name="T12" fmla="*/ 0 60000 65536"/>
              <a:gd name="T13" fmla="*/ 0 60000 65536"/>
              <a:gd name="T14" fmla="*/ 0 60000 65536"/>
              <a:gd name="T15" fmla="*/ 0 w 15"/>
              <a:gd name="T16" fmla="*/ 0 h 7"/>
              <a:gd name="T17" fmla="*/ 15 w 15"/>
              <a:gd name="T18" fmla="*/ 7 h 7"/>
            </a:gdLst>
            <a:ahLst/>
            <a:cxnLst>
              <a:cxn ang="T10">
                <a:pos x="T0" y="T1"/>
              </a:cxn>
              <a:cxn ang="T11">
                <a:pos x="T2" y="T3"/>
              </a:cxn>
              <a:cxn ang="T12">
                <a:pos x="T4" y="T5"/>
              </a:cxn>
              <a:cxn ang="T13">
                <a:pos x="T6" y="T7"/>
              </a:cxn>
              <a:cxn ang="T14">
                <a:pos x="T8" y="T9"/>
              </a:cxn>
            </a:cxnLst>
            <a:rect l="T15" t="T16" r="T17" b="T18"/>
            <a:pathLst>
              <a:path w="15" h="7">
                <a:moveTo>
                  <a:pt x="12" y="0"/>
                </a:moveTo>
                <a:lnTo>
                  <a:pt x="15" y="1"/>
                </a:lnTo>
                <a:lnTo>
                  <a:pt x="11" y="5"/>
                </a:lnTo>
                <a:lnTo>
                  <a:pt x="0" y="7"/>
                </a:lnTo>
                <a:lnTo>
                  <a:pt x="12" y="0"/>
                </a:lnTo>
                <a:close/>
              </a:path>
            </a:pathLst>
          </a:custGeom>
          <a:solidFill>
            <a:schemeClr val="accent1"/>
          </a:solidFill>
          <a:ln w="6350">
            <a:solidFill>
              <a:schemeClr val="tx2"/>
            </a:solidFill>
            <a:round/>
            <a:headEnd/>
            <a:tailEnd/>
          </a:ln>
        </p:spPr>
        <p:txBody>
          <a:bodyPr/>
          <a:lstStyle/>
          <a:p>
            <a:endParaRPr lang="en-US"/>
          </a:p>
        </p:txBody>
      </p:sp>
      <p:sp>
        <p:nvSpPr>
          <p:cNvPr id="353" name="Freeform 1658"/>
          <p:cNvSpPr>
            <a:spLocks/>
          </p:cNvSpPr>
          <p:nvPr/>
        </p:nvSpPr>
        <p:spPr bwMode="auto">
          <a:xfrm>
            <a:off x="8768947" y="3361262"/>
            <a:ext cx="20066" cy="17831"/>
          </a:xfrm>
          <a:custGeom>
            <a:avLst/>
            <a:gdLst>
              <a:gd name="T0" fmla="*/ 2147483647 w 39"/>
              <a:gd name="T1" fmla="*/ 0 h 46"/>
              <a:gd name="T2" fmla="*/ 2147483647 w 39"/>
              <a:gd name="T3" fmla="*/ 2147483647 h 46"/>
              <a:gd name="T4" fmla="*/ 2147483647 w 39"/>
              <a:gd name="T5" fmla="*/ 2147483647 h 46"/>
              <a:gd name="T6" fmla="*/ 0 w 39"/>
              <a:gd name="T7" fmla="*/ 2147483647 h 46"/>
              <a:gd name="T8" fmla="*/ 2147483647 w 39"/>
              <a:gd name="T9" fmla="*/ 0 h 46"/>
              <a:gd name="T10" fmla="*/ 0 60000 65536"/>
              <a:gd name="T11" fmla="*/ 0 60000 65536"/>
              <a:gd name="T12" fmla="*/ 0 60000 65536"/>
              <a:gd name="T13" fmla="*/ 0 60000 65536"/>
              <a:gd name="T14" fmla="*/ 0 60000 65536"/>
              <a:gd name="T15" fmla="*/ 0 w 39"/>
              <a:gd name="T16" fmla="*/ 0 h 46"/>
              <a:gd name="T17" fmla="*/ 39 w 39"/>
              <a:gd name="T18" fmla="*/ 46 h 46"/>
            </a:gdLst>
            <a:ahLst/>
            <a:cxnLst>
              <a:cxn ang="T10">
                <a:pos x="T0" y="T1"/>
              </a:cxn>
              <a:cxn ang="T11">
                <a:pos x="T2" y="T3"/>
              </a:cxn>
              <a:cxn ang="T12">
                <a:pos x="T4" y="T5"/>
              </a:cxn>
              <a:cxn ang="T13">
                <a:pos x="T6" y="T7"/>
              </a:cxn>
              <a:cxn ang="T14">
                <a:pos x="T8" y="T9"/>
              </a:cxn>
            </a:cxnLst>
            <a:rect l="T15" t="T16" r="T17" b="T18"/>
            <a:pathLst>
              <a:path w="39" h="46">
                <a:moveTo>
                  <a:pt x="30" y="0"/>
                </a:moveTo>
                <a:lnTo>
                  <a:pt x="39" y="9"/>
                </a:lnTo>
                <a:lnTo>
                  <a:pt x="5" y="46"/>
                </a:lnTo>
                <a:lnTo>
                  <a:pt x="0" y="39"/>
                </a:lnTo>
                <a:lnTo>
                  <a:pt x="30" y="0"/>
                </a:lnTo>
                <a:close/>
              </a:path>
            </a:pathLst>
          </a:custGeom>
          <a:solidFill>
            <a:schemeClr val="accent1"/>
          </a:solidFill>
          <a:ln w="6350">
            <a:solidFill>
              <a:schemeClr val="tx2"/>
            </a:solidFill>
            <a:round/>
            <a:headEnd/>
            <a:tailEnd/>
          </a:ln>
        </p:spPr>
        <p:txBody>
          <a:bodyPr/>
          <a:lstStyle/>
          <a:p>
            <a:endParaRPr lang="en-US"/>
          </a:p>
        </p:txBody>
      </p:sp>
      <p:sp>
        <p:nvSpPr>
          <p:cNvPr id="354" name="Freeform 1659"/>
          <p:cNvSpPr>
            <a:spLocks/>
          </p:cNvSpPr>
          <p:nvPr/>
        </p:nvSpPr>
        <p:spPr bwMode="auto">
          <a:xfrm>
            <a:off x="8657146" y="3335788"/>
            <a:ext cx="120401" cy="100620"/>
          </a:xfrm>
          <a:custGeom>
            <a:avLst/>
            <a:gdLst>
              <a:gd name="T0" fmla="*/ 2147483647 w 259"/>
              <a:gd name="T1" fmla="*/ 2147483647 h 238"/>
              <a:gd name="T2" fmla="*/ 2147483647 w 259"/>
              <a:gd name="T3" fmla="*/ 2147483647 h 238"/>
              <a:gd name="T4" fmla="*/ 2147483647 w 259"/>
              <a:gd name="T5" fmla="*/ 2147483647 h 238"/>
              <a:gd name="T6" fmla="*/ 2147483647 w 259"/>
              <a:gd name="T7" fmla="*/ 2147483647 h 238"/>
              <a:gd name="T8" fmla="*/ 2147483647 w 259"/>
              <a:gd name="T9" fmla="*/ 2147483647 h 238"/>
              <a:gd name="T10" fmla="*/ 2147483647 w 259"/>
              <a:gd name="T11" fmla="*/ 2147483647 h 238"/>
              <a:gd name="T12" fmla="*/ 2147483647 w 259"/>
              <a:gd name="T13" fmla="*/ 2147483647 h 238"/>
              <a:gd name="T14" fmla="*/ 2147483647 w 259"/>
              <a:gd name="T15" fmla="*/ 2147483647 h 238"/>
              <a:gd name="T16" fmla="*/ 2147483647 w 259"/>
              <a:gd name="T17" fmla="*/ 2147483647 h 238"/>
              <a:gd name="T18" fmla="*/ 2147483647 w 259"/>
              <a:gd name="T19" fmla="*/ 2147483647 h 238"/>
              <a:gd name="T20" fmla="*/ 2147483647 w 259"/>
              <a:gd name="T21" fmla="*/ 2147483647 h 238"/>
              <a:gd name="T22" fmla="*/ 2147483647 w 259"/>
              <a:gd name="T23" fmla="*/ 2147483647 h 238"/>
              <a:gd name="T24" fmla="*/ 2147483647 w 259"/>
              <a:gd name="T25" fmla="*/ 2147483647 h 238"/>
              <a:gd name="T26" fmla="*/ 2147483647 w 259"/>
              <a:gd name="T27" fmla="*/ 2147483647 h 238"/>
              <a:gd name="T28" fmla="*/ 2147483647 w 259"/>
              <a:gd name="T29" fmla="*/ 2147483647 h 238"/>
              <a:gd name="T30" fmla="*/ 2147483647 w 259"/>
              <a:gd name="T31" fmla="*/ 2147483647 h 238"/>
              <a:gd name="T32" fmla="*/ 2147483647 w 259"/>
              <a:gd name="T33" fmla="*/ 2147483647 h 238"/>
              <a:gd name="T34" fmla="*/ 2147483647 w 259"/>
              <a:gd name="T35" fmla="*/ 2147483647 h 238"/>
              <a:gd name="T36" fmla="*/ 2147483647 w 259"/>
              <a:gd name="T37" fmla="*/ 2147483647 h 238"/>
              <a:gd name="T38" fmla="*/ 2147483647 w 259"/>
              <a:gd name="T39" fmla="*/ 2147483647 h 238"/>
              <a:gd name="T40" fmla="*/ 2147483647 w 259"/>
              <a:gd name="T41" fmla="*/ 2147483647 h 238"/>
              <a:gd name="T42" fmla="*/ 2147483647 w 259"/>
              <a:gd name="T43" fmla="*/ 2147483647 h 238"/>
              <a:gd name="T44" fmla="*/ 2147483647 w 259"/>
              <a:gd name="T45" fmla="*/ 2147483647 h 238"/>
              <a:gd name="T46" fmla="*/ 2147483647 w 259"/>
              <a:gd name="T47" fmla="*/ 2147483647 h 238"/>
              <a:gd name="T48" fmla="*/ 2147483647 w 259"/>
              <a:gd name="T49" fmla="*/ 2147483647 h 238"/>
              <a:gd name="T50" fmla="*/ 2147483647 w 259"/>
              <a:gd name="T51" fmla="*/ 2147483647 h 238"/>
              <a:gd name="T52" fmla="*/ 2147483647 w 259"/>
              <a:gd name="T53" fmla="*/ 2147483647 h 238"/>
              <a:gd name="T54" fmla="*/ 2147483647 w 259"/>
              <a:gd name="T55" fmla="*/ 2147483647 h 238"/>
              <a:gd name="T56" fmla="*/ 0 w 259"/>
              <a:gd name="T57" fmla="*/ 2147483647 h 238"/>
              <a:gd name="T58" fmla="*/ 2147483647 w 259"/>
              <a:gd name="T59" fmla="*/ 2147483647 h 238"/>
              <a:gd name="T60" fmla="*/ 2147483647 w 259"/>
              <a:gd name="T61" fmla="*/ 2147483647 h 238"/>
              <a:gd name="T62" fmla="*/ 2147483647 w 259"/>
              <a:gd name="T63" fmla="*/ 2147483647 h 238"/>
              <a:gd name="T64" fmla="*/ 2147483647 w 259"/>
              <a:gd name="T65" fmla="*/ 2147483647 h 238"/>
              <a:gd name="T66" fmla="*/ 2147483647 w 259"/>
              <a:gd name="T67" fmla="*/ 2147483647 h 238"/>
              <a:gd name="T68" fmla="*/ 2147483647 w 259"/>
              <a:gd name="T69" fmla="*/ 2147483647 h 238"/>
              <a:gd name="T70" fmla="*/ 2147483647 w 259"/>
              <a:gd name="T71" fmla="*/ 2147483647 h 238"/>
              <a:gd name="T72" fmla="*/ 2147483647 w 259"/>
              <a:gd name="T73" fmla="*/ 2147483647 h 238"/>
              <a:gd name="T74" fmla="*/ 2147483647 w 259"/>
              <a:gd name="T75" fmla="*/ 2147483647 h 238"/>
              <a:gd name="T76" fmla="*/ 2147483647 w 259"/>
              <a:gd name="T77" fmla="*/ 2147483647 h 238"/>
              <a:gd name="T78" fmla="*/ 2147483647 w 259"/>
              <a:gd name="T79" fmla="*/ 0 h 238"/>
              <a:gd name="T80" fmla="*/ 2147483647 w 259"/>
              <a:gd name="T81" fmla="*/ 2147483647 h 238"/>
              <a:gd name="T82" fmla="*/ 2147483647 w 259"/>
              <a:gd name="T83" fmla="*/ 2147483647 h 238"/>
              <a:gd name="T84" fmla="*/ 2147483647 w 259"/>
              <a:gd name="T85" fmla="*/ 2147483647 h 238"/>
              <a:gd name="T86" fmla="*/ 2147483647 w 259"/>
              <a:gd name="T87" fmla="*/ 2147483647 h 238"/>
              <a:gd name="T88" fmla="*/ 2147483647 w 259"/>
              <a:gd name="T89" fmla="*/ 2147483647 h 23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9"/>
              <a:gd name="T136" fmla="*/ 0 h 238"/>
              <a:gd name="T137" fmla="*/ 259 w 259"/>
              <a:gd name="T138" fmla="*/ 238 h 23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9" h="238">
                <a:moveTo>
                  <a:pt x="223" y="82"/>
                </a:moveTo>
                <a:lnTo>
                  <a:pt x="235" y="71"/>
                </a:lnTo>
                <a:lnTo>
                  <a:pt x="238" y="73"/>
                </a:lnTo>
                <a:lnTo>
                  <a:pt x="227" y="99"/>
                </a:lnTo>
                <a:lnTo>
                  <a:pt x="238" y="113"/>
                </a:lnTo>
                <a:lnTo>
                  <a:pt x="238" y="124"/>
                </a:lnTo>
                <a:lnTo>
                  <a:pt x="259" y="121"/>
                </a:lnTo>
                <a:lnTo>
                  <a:pt x="255" y="129"/>
                </a:lnTo>
                <a:lnTo>
                  <a:pt x="229" y="145"/>
                </a:lnTo>
                <a:lnTo>
                  <a:pt x="217" y="144"/>
                </a:lnTo>
                <a:lnTo>
                  <a:pt x="213" y="151"/>
                </a:lnTo>
                <a:lnTo>
                  <a:pt x="187" y="150"/>
                </a:lnTo>
                <a:lnTo>
                  <a:pt x="174" y="157"/>
                </a:lnTo>
                <a:lnTo>
                  <a:pt x="168" y="163"/>
                </a:lnTo>
                <a:lnTo>
                  <a:pt x="148" y="207"/>
                </a:lnTo>
                <a:lnTo>
                  <a:pt x="89" y="172"/>
                </a:lnTo>
                <a:lnTo>
                  <a:pt x="76" y="171"/>
                </a:lnTo>
                <a:lnTo>
                  <a:pt x="59" y="181"/>
                </a:lnTo>
                <a:lnTo>
                  <a:pt x="28" y="174"/>
                </a:lnTo>
                <a:lnTo>
                  <a:pt x="22" y="185"/>
                </a:lnTo>
                <a:lnTo>
                  <a:pt x="26" y="193"/>
                </a:lnTo>
                <a:lnTo>
                  <a:pt x="58" y="214"/>
                </a:lnTo>
                <a:lnTo>
                  <a:pt x="56" y="220"/>
                </a:lnTo>
                <a:lnTo>
                  <a:pt x="38" y="219"/>
                </a:lnTo>
                <a:lnTo>
                  <a:pt x="16" y="238"/>
                </a:lnTo>
                <a:lnTo>
                  <a:pt x="11" y="236"/>
                </a:lnTo>
                <a:lnTo>
                  <a:pt x="8" y="228"/>
                </a:lnTo>
                <a:lnTo>
                  <a:pt x="14" y="204"/>
                </a:lnTo>
                <a:lnTo>
                  <a:pt x="0" y="190"/>
                </a:lnTo>
                <a:lnTo>
                  <a:pt x="2" y="172"/>
                </a:lnTo>
                <a:lnTo>
                  <a:pt x="27" y="151"/>
                </a:lnTo>
                <a:lnTo>
                  <a:pt x="27" y="128"/>
                </a:lnTo>
                <a:lnTo>
                  <a:pt x="64" y="134"/>
                </a:lnTo>
                <a:lnTo>
                  <a:pt x="69" y="122"/>
                </a:lnTo>
                <a:lnTo>
                  <a:pt x="68" y="102"/>
                </a:lnTo>
                <a:lnTo>
                  <a:pt x="79" y="83"/>
                </a:lnTo>
                <a:lnTo>
                  <a:pt x="85" y="42"/>
                </a:lnTo>
                <a:lnTo>
                  <a:pt x="82" y="27"/>
                </a:lnTo>
                <a:lnTo>
                  <a:pt x="78" y="9"/>
                </a:lnTo>
                <a:lnTo>
                  <a:pt x="86" y="0"/>
                </a:lnTo>
                <a:lnTo>
                  <a:pt x="96" y="3"/>
                </a:lnTo>
                <a:lnTo>
                  <a:pt x="124" y="39"/>
                </a:lnTo>
                <a:lnTo>
                  <a:pt x="156" y="69"/>
                </a:lnTo>
                <a:lnTo>
                  <a:pt x="205" y="91"/>
                </a:lnTo>
                <a:lnTo>
                  <a:pt x="223" y="82"/>
                </a:lnTo>
                <a:close/>
              </a:path>
            </a:pathLst>
          </a:custGeom>
          <a:solidFill>
            <a:schemeClr val="accent1"/>
          </a:solidFill>
          <a:ln w="6350">
            <a:solidFill>
              <a:schemeClr val="tx2"/>
            </a:solidFill>
            <a:round/>
            <a:headEnd/>
            <a:tailEnd/>
          </a:ln>
        </p:spPr>
        <p:txBody>
          <a:bodyPr/>
          <a:lstStyle/>
          <a:p>
            <a:endParaRPr lang="en-US"/>
          </a:p>
        </p:txBody>
      </p:sp>
      <p:sp>
        <p:nvSpPr>
          <p:cNvPr id="355" name="Freeform 1660"/>
          <p:cNvSpPr>
            <a:spLocks/>
          </p:cNvSpPr>
          <p:nvPr/>
        </p:nvSpPr>
        <p:spPr bwMode="auto">
          <a:xfrm>
            <a:off x="8682946" y="3340883"/>
            <a:ext cx="2866" cy="3821"/>
          </a:xfrm>
          <a:custGeom>
            <a:avLst/>
            <a:gdLst>
              <a:gd name="T0" fmla="*/ 2147483647 w 10"/>
              <a:gd name="T1" fmla="*/ 0 h 8"/>
              <a:gd name="T2" fmla="*/ 0 w 10"/>
              <a:gd name="T3" fmla="*/ 2147483647 h 8"/>
              <a:gd name="T4" fmla="*/ 2147483647 w 10"/>
              <a:gd name="T5" fmla="*/ 2147483647 h 8"/>
              <a:gd name="T6" fmla="*/ 2147483647 w 10"/>
              <a:gd name="T7" fmla="*/ 0 h 8"/>
              <a:gd name="T8" fmla="*/ 2147483647 w 10"/>
              <a:gd name="T9" fmla="*/ 0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4" y="0"/>
                </a:moveTo>
                <a:lnTo>
                  <a:pt x="0" y="4"/>
                </a:lnTo>
                <a:lnTo>
                  <a:pt x="9" y="8"/>
                </a:lnTo>
                <a:lnTo>
                  <a:pt x="10" y="0"/>
                </a:lnTo>
                <a:lnTo>
                  <a:pt x="4" y="0"/>
                </a:lnTo>
                <a:close/>
              </a:path>
            </a:pathLst>
          </a:custGeom>
          <a:solidFill>
            <a:schemeClr val="accent1"/>
          </a:solidFill>
          <a:ln w="6350">
            <a:solidFill>
              <a:schemeClr val="tx2"/>
            </a:solidFill>
            <a:round/>
            <a:headEnd/>
            <a:tailEnd/>
          </a:ln>
        </p:spPr>
        <p:txBody>
          <a:bodyPr/>
          <a:lstStyle/>
          <a:p>
            <a:endParaRPr lang="en-US"/>
          </a:p>
        </p:txBody>
      </p:sp>
      <p:sp>
        <p:nvSpPr>
          <p:cNvPr id="356" name="Freeform 1661"/>
          <p:cNvSpPr>
            <a:spLocks/>
          </p:cNvSpPr>
          <p:nvPr/>
        </p:nvSpPr>
        <p:spPr bwMode="auto">
          <a:xfrm>
            <a:off x="8476546" y="3435135"/>
            <a:ext cx="226468" cy="178312"/>
          </a:xfrm>
          <a:custGeom>
            <a:avLst/>
            <a:gdLst>
              <a:gd name="T0" fmla="*/ 2147483647 w 481"/>
              <a:gd name="T1" fmla="*/ 2147483647 h 431"/>
              <a:gd name="T2" fmla="*/ 2147483647 w 481"/>
              <a:gd name="T3" fmla="*/ 2147483647 h 431"/>
              <a:gd name="T4" fmla="*/ 2147483647 w 481"/>
              <a:gd name="T5" fmla="*/ 2147483647 h 431"/>
              <a:gd name="T6" fmla="*/ 2147483647 w 481"/>
              <a:gd name="T7" fmla="*/ 2147483647 h 431"/>
              <a:gd name="T8" fmla="*/ 2147483647 w 481"/>
              <a:gd name="T9" fmla="*/ 2147483647 h 431"/>
              <a:gd name="T10" fmla="*/ 2147483647 w 481"/>
              <a:gd name="T11" fmla="*/ 2147483647 h 431"/>
              <a:gd name="T12" fmla="*/ 2147483647 w 481"/>
              <a:gd name="T13" fmla="*/ 2147483647 h 431"/>
              <a:gd name="T14" fmla="*/ 2147483647 w 481"/>
              <a:gd name="T15" fmla="*/ 2147483647 h 431"/>
              <a:gd name="T16" fmla="*/ 2147483647 w 481"/>
              <a:gd name="T17" fmla="*/ 2147483647 h 431"/>
              <a:gd name="T18" fmla="*/ 2147483647 w 481"/>
              <a:gd name="T19" fmla="*/ 2147483647 h 431"/>
              <a:gd name="T20" fmla="*/ 2147483647 w 481"/>
              <a:gd name="T21" fmla="*/ 2147483647 h 431"/>
              <a:gd name="T22" fmla="*/ 2147483647 w 481"/>
              <a:gd name="T23" fmla="*/ 2147483647 h 431"/>
              <a:gd name="T24" fmla="*/ 2147483647 w 481"/>
              <a:gd name="T25" fmla="*/ 2147483647 h 431"/>
              <a:gd name="T26" fmla="*/ 2147483647 w 481"/>
              <a:gd name="T27" fmla="*/ 2147483647 h 431"/>
              <a:gd name="T28" fmla="*/ 2147483647 w 481"/>
              <a:gd name="T29" fmla="*/ 2147483647 h 431"/>
              <a:gd name="T30" fmla="*/ 2147483647 w 481"/>
              <a:gd name="T31" fmla="*/ 2147483647 h 431"/>
              <a:gd name="T32" fmla="*/ 2147483647 w 481"/>
              <a:gd name="T33" fmla="*/ 2147483647 h 431"/>
              <a:gd name="T34" fmla="*/ 2147483647 w 481"/>
              <a:gd name="T35" fmla="*/ 2147483647 h 431"/>
              <a:gd name="T36" fmla="*/ 2147483647 w 481"/>
              <a:gd name="T37" fmla="*/ 2147483647 h 431"/>
              <a:gd name="T38" fmla="*/ 2147483647 w 481"/>
              <a:gd name="T39" fmla="*/ 2147483647 h 431"/>
              <a:gd name="T40" fmla="*/ 2147483647 w 481"/>
              <a:gd name="T41" fmla="*/ 2147483647 h 431"/>
              <a:gd name="T42" fmla="*/ 2147483647 w 481"/>
              <a:gd name="T43" fmla="*/ 2147483647 h 431"/>
              <a:gd name="T44" fmla="*/ 2147483647 w 481"/>
              <a:gd name="T45" fmla="*/ 2147483647 h 431"/>
              <a:gd name="T46" fmla="*/ 2147483647 w 481"/>
              <a:gd name="T47" fmla="*/ 2147483647 h 431"/>
              <a:gd name="T48" fmla="*/ 2147483647 w 481"/>
              <a:gd name="T49" fmla="*/ 2147483647 h 431"/>
              <a:gd name="T50" fmla="*/ 2147483647 w 481"/>
              <a:gd name="T51" fmla="*/ 2147483647 h 431"/>
              <a:gd name="T52" fmla="*/ 2147483647 w 481"/>
              <a:gd name="T53" fmla="*/ 2147483647 h 431"/>
              <a:gd name="T54" fmla="*/ 0 w 481"/>
              <a:gd name="T55" fmla="*/ 2147483647 h 431"/>
              <a:gd name="T56" fmla="*/ 2147483647 w 481"/>
              <a:gd name="T57" fmla="*/ 2147483647 h 431"/>
              <a:gd name="T58" fmla="*/ 2147483647 w 481"/>
              <a:gd name="T59" fmla="*/ 2147483647 h 431"/>
              <a:gd name="T60" fmla="*/ 2147483647 w 481"/>
              <a:gd name="T61" fmla="*/ 2147483647 h 431"/>
              <a:gd name="T62" fmla="*/ 2147483647 w 481"/>
              <a:gd name="T63" fmla="*/ 2147483647 h 431"/>
              <a:gd name="T64" fmla="*/ 2147483647 w 481"/>
              <a:gd name="T65" fmla="*/ 2147483647 h 431"/>
              <a:gd name="T66" fmla="*/ 2147483647 w 481"/>
              <a:gd name="T67" fmla="*/ 2147483647 h 431"/>
              <a:gd name="T68" fmla="*/ 2147483647 w 481"/>
              <a:gd name="T69" fmla="*/ 2147483647 h 431"/>
              <a:gd name="T70" fmla="*/ 2147483647 w 481"/>
              <a:gd name="T71" fmla="*/ 2147483647 h 431"/>
              <a:gd name="T72" fmla="*/ 2147483647 w 481"/>
              <a:gd name="T73" fmla="*/ 2147483647 h 431"/>
              <a:gd name="T74" fmla="*/ 2147483647 w 481"/>
              <a:gd name="T75" fmla="*/ 2147483647 h 431"/>
              <a:gd name="T76" fmla="*/ 2147483647 w 481"/>
              <a:gd name="T77" fmla="*/ 2147483647 h 431"/>
              <a:gd name="T78" fmla="*/ 2147483647 w 481"/>
              <a:gd name="T79" fmla="*/ 2147483647 h 431"/>
              <a:gd name="T80" fmla="*/ 2147483647 w 481"/>
              <a:gd name="T81" fmla="*/ 2147483647 h 431"/>
              <a:gd name="T82" fmla="*/ 2147483647 w 481"/>
              <a:gd name="T83" fmla="*/ 2147483647 h 431"/>
              <a:gd name="T84" fmla="*/ 2147483647 w 481"/>
              <a:gd name="T85" fmla="*/ 2147483647 h 431"/>
              <a:gd name="T86" fmla="*/ 2147483647 w 481"/>
              <a:gd name="T87" fmla="*/ 2147483647 h 431"/>
              <a:gd name="T88" fmla="*/ 2147483647 w 481"/>
              <a:gd name="T89" fmla="*/ 2147483647 h 431"/>
              <a:gd name="T90" fmla="*/ 2147483647 w 481"/>
              <a:gd name="T91" fmla="*/ 0 h 43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1"/>
              <a:gd name="T139" fmla="*/ 0 h 431"/>
              <a:gd name="T140" fmla="*/ 481 w 481"/>
              <a:gd name="T141" fmla="*/ 431 h 43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1" h="431">
                <a:moveTo>
                  <a:pt x="441" y="4"/>
                </a:moveTo>
                <a:lnTo>
                  <a:pt x="453" y="3"/>
                </a:lnTo>
                <a:lnTo>
                  <a:pt x="454" y="41"/>
                </a:lnTo>
                <a:lnTo>
                  <a:pt x="470" y="75"/>
                </a:lnTo>
                <a:lnTo>
                  <a:pt x="481" y="112"/>
                </a:lnTo>
                <a:lnTo>
                  <a:pt x="477" y="133"/>
                </a:lnTo>
                <a:lnTo>
                  <a:pt x="466" y="140"/>
                </a:lnTo>
                <a:lnTo>
                  <a:pt x="459" y="174"/>
                </a:lnTo>
                <a:lnTo>
                  <a:pt x="449" y="173"/>
                </a:lnTo>
                <a:lnTo>
                  <a:pt x="438" y="182"/>
                </a:lnTo>
                <a:lnTo>
                  <a:pt x="435" y="196"/>
                </a:lnTo>
                <a:lnTo>
                  <a:pt x="439" y="248"/>
                </a:lnTo>
                <a:lnTo>
                  <a:pt x="430" y="256"/>
                </a:lnTo>
                <a:lnTo>
                  <a:pt x="421" y="285"/>
                </a:lnTo>
                <a:lnTo>
                  <a:pt x="421" y="302"/>
                </a:lnTo>
                <a:lnTo>
                  <a:pt x="428" y="315"/>
                </a:lnTo>
                <a:lnTo>
                  <a:pt x="409" y="343"/>
                </a:lnTo>
                <a:lnTo>
                  <a:pt x="389" y="359"/>
                </a:lnTo>
                <a:lnTo>
                  <a:pt x="390" y="333"/>
                </a:lnTo>
                <a:lnTo>
                  <a:pt x="397" y="320"/>
                </a:lnTo>
                <a:lnTo>
                  <a:pt x="387" y="320"/>
                </a:lnTo>
                <a:lnTo>
                  <a:pt x="380" y="344"/>
                </a:lnTo>
                <a:lnTo>
                  <a:pt x="363" y="338"/>
                </a:lnTo>
                <a:lnTo>
                  <a:pt x="349" y="371"/>
                </a:lnTo>
                <a:lnTo>
                  <a:pt x="344" y="370"/>
                </a:lnTo>
                <a:lnTo>
                  <a:pt x="343" y="350"/>
                </a:lnTo>
                <a:lnTo>
                  <a:pt x="337" y="349"/>
                </a:lnTo>
                <a:lnTo>
                  <a:pt x="317" y="374"/>
                </a:lnTo>
                <a:lnTo>
                  <a:pt x="269" y="374"/>
                </a:lnTo>
                <a:lnTo>
                  <a:pt x="276" y="367"/>
                </a:lnTo>
                <a:lnTo>
                  <a:pt x="265" y="362"/>
                </a:lnTo>
                <a:lnTo>
                  <a:pt x="262" y="367"/>
                </a:lnTo>
                <a:lnTo>
                  <a:pt x="257" y="361"/>
                </a:lnTo>
                <a:lnTo>
                  <a:pt x="257" y="351"/>
                </a:lnTo>
                <a:lnTo>
                  <a:pt x="243" y="371"/>
                </a:lnTo>
                <a:lnTo>
                  <a:pt x="259" y="381"/>
                </a:lnTo>
                <a:lnTo>
                  <a:pt x="259" y="395"/>
                </a:lnTo>
                <a:lnTo>
                  <a:pt x="252" y="390"/>
                </a:lnTo>
                <a:lnTo>
                  <a:pt x="235" y="397"/>
                </a:lnTo>
                <a:lnTo>
                  <a:pt x="218" y="426"/>
                </a:lnTo>
                <a:lnTo>
                  <a:pt x="209" y="431"/>
                </a:lnTo>
                <a:lnTo>
                  <a:pt x="198" y="426"/>
                </a:lnTo>
                <a:lnTo>
                  <a:pt x="183" y="405"/>
                </a:lnTo>
                <a:lnTo>
                  <a:pt x="184" y="390"/>
                </a:lnTo>
                <a:lnTo>
                  <a:pt x="195" y="374"/>
                </a:lnTo>
                <a:lnTo>
                  <a:pt x="194" y="369"/>
                </a:lnTo>
                <a:lnTo>
                  <a:pt x="180" y="372"/>
                </a:lnTo>
                <a:lnTo>
                  <a:pt x="150" y="366"/>
                </a:lnTo>
                <a:lnTo>
                  <a:pt x="128" y="381"/>
                </a:lnTo>
                <a:lnTo>
                  <a:pt x="123" y="378"/>
                </a:lnTo>
                <a:lnTo>
                  <a:pt x="72" y="394"/>
                </a:lnTo>
                <a:lnTo>
                  <a:pt x="67" y="388"/>
                </a:lnTo>
                <a:lnTo>
                  <a:pt x="51" y="410"/>
                </a:lnTo>
                <a:lnTo>
                  <a:pt x="33" y="403"/>
                </a:lnTo>
                <a:lnTo>
                  <a:pt x="15" y="408"/>
                </a:lnTo>
                <a:lnTo>
                  <a:pt x="0" y="404"/>
                </a:lnTo>
                <a:lnTo>
                  <a:pt x="1" y="387"/>
                </a:lnTo>
                <a:lnTo>
                  <a:pt x="21" y="381"/>
                </a:lnTo>
                <a:lnTo>
                  <a:pt x="83" y="327"/>
                </a:lnTo>
                <a:lnTo>
                  <a:pt x="133" y="326"/>
                </a:lnTo>
                <a:lnTo>
                  <a:pt x="187" y="314"/>
                </a:lnTo>
                <a:lnTo>
                  <a:pt x="187" y="323"/>
                </a:lnTo>
                <a:lnTo>
                  <a:pt x="208" y="326"/>
                </a:lnTo>
                <a:lnTo>
                  <a:pt x="222" y="315"/>
                </a:lnTo>
                <a:lnTo>
                  <a:pt x="222" y="290"/>
                </a:lnTo>
                <a:lnTo>
                  <a:pt x="246" y="266"/>
                </a:lnTo>
                <a:lnTo>
                  <a:pt x="255" y="229"/>
                </a:lnTo>
                <a:lnTo>
                  <a:pt x="270" y="221"/>
                </a:lnTo>
                <a:lnTo>
                  <a:pt x="276" y="222"/>
                </a:lnTo>
                <a:lnTo>
                  <a:pt x="275" y="229"/>
                </a:lnTo>
                <a:lnTo>
                  <a:pt x="261" y="241"/>
                </a:lnTo>
                <a:lnTo>
                  <a:pt x="265" y="260"/>
                </a:lnTo>
                <a:lnTo>
                  <a:pt x="278" y="259"/>
                </a:lnTo>
                <a:lnTo>
                  <a:pt x="323" y="230"/>
                </a:lnTo>
                <a:lnTo>
                  <a:pt x="346" y="201"/>
                </a:lnTo>
                <a:lnTo>
                  <a:pt x="361" y="194"/>
                </a:lnTo>
                <a:lnTo>
                  <a:pt x="383" y="146"/>
                </a:lnTo>
                <a:lnTo>
                  <a:pt x="395" y="109"/>
                </a:lnTo>
                <a:lnTo>
                  <a:pt x="395" y="96"/>
                </a:lnTo>
                <a:lnTo>
                  <a:pt x="381" y="87"/>
                </a:lnTo>
                <a:lnTo>
                  <a:pt x="392" y="72"/>
                </a:lnTo>
                <a:lnTo>
                  <a:pt x="391" y="47"/>
                </a:lnTo>
                <a:lnTo>
                  <a:pt x="402" y="36"/>
                </a:lnTo>
                <a:lnTo>
                  <a:pt x="404" y="23"/>
                </a:lnTo>
                <a:lnTo>
                  <a:pt x="412" y="14"/>
                </a:lnTo>
                <a:lnTo>
                  <a:pt x="424" y="36"/>
                </a:lnTo>
                <a:lnTo>
                  <a:pt x="429" y="28"/>
                </a:lnTo>
                <a:lnTo>
                  <a:pt x="441" y="30"/>
                </a:lnTo>
                <a:lnTo>
                  <a:pt x="446" y="11"/>
                </a:lnTo>
                <a:lnTo>
                  <a:pt x="429" y="19"/>
                </a:lnTo>
                <a:lnTo>
                  <a:pt x="426" y="10"/>
                </a:lnTo>
                <a:lnTo>
                  <a:pt x="429" y="0"/>
                </a:lnTo>
                <a:lnTo>
                  <a:pt x="441" y="4"/>
                </a:lnTo>
                <a:close/>
              </a:path>
            </a:pathLst>
          </a:custGeom>
          <a:solidFill>
            <a:schemeClr val="accent1"/>
          </a:solidFill>
          <a:ln w="6350">
            <a:solidFill>
              <a:schemeClr val="tx2"/>
            </a:solidFill>
            <a:round/>
            <a:headEnd/>
            <a:tailEnd/>
          </a:ln>
        </p:spPr>
        <p:txBody>
          <a:bodyPr/>
          <a:lstStyle/>
          <a:p>
            <a:endParaRPr lang="en-US"/>
          </a:p>
        </p:txBody>
      </p:sp>
      <p:sp>
        <p:nvSpPr>
          <p:cNvPr id="357" name="Freeform 1662"/>
          <p:cNvSpPr>
            <a:spLocks/>
          </p:cNvSpPr>
          <p:nvPr/>
        </p:nvSpPr>
        <p:spPr bwMode="auto">
          <a:xfrm>
            <a:off x="8503779" y="3594341"/>
            <a:ext cx="48734" cy="36935"/>
          </a:xfrm>
          <a:custGeom>
            <a:avLst/>
            <a:gdLst>
              <a:gd name="T0" fmla="*/ 2147483647 w 109"/>
              <a:gd name="T1" fmla="*/ 2147483647 h 85"/>
              <a:gd name="T2" fmla="*/ 2147483647 w 109"/>
              <a:gd name="T3" fmla="*/ 2147483647 h 85"/>
              <a:gd name="T4" fmla="*/ 2147483647 w 109"/>
              <a:gd name="T5" fmla="*/ 2147483647 h 85"/>
              <a:gd name="T6" fmla="*/ 2147483647 w 109"/>
              <a:gd name="T7" fmla="*/ 2147483647 h 85"/>
              <a:gd name="T8" fmla="*/ 2147483647 w 109"/>
              <a:gd name="T9" fmla="*/ 2147483647 h 85"/>
              <a:gd name="T10" fmla="*/ 2147483647 w 109"/>
              <a:gd name="T11" fmla="*/ 2147483647 h 85"/>
              <a:gd name="T12" fmla="*/ 2147483647 w 109"/>
              <a:gd name="T13" fmla="*/ 2147483647 h 85"/>
              <a:gd name="T14" fmla="*/ 2147483647 w 109"/>
              <a:gd name="T15" fmla="*/ 2147483647 h 85"/>
              <a:gd name="T16" fmla="*/ 0 w 109"/>
              <a:gd name="T17" fmla="*/ 2147483647 h 85"/>
              <a:gd name="T18" fmla="*/ 2147483647 w 109"/>
              <a:gd name="T19" fmla="*/ 2147483647 h 85"/>
              <a:gd name="T20" fmla="*/ 2147483647 w 109"/>
              <a:gd name="T21" fmla="*/ 2147483647 h 85"/>
              <a:gd name="T22" fmla="*/ 2147483647 w 109"/>
              <a:gd name="T23" fmla="*/ 0 h 85"/>
              <a:gd name="T24" fmla="*/ 2147483647 w 109"/>
              <a:gd name="T25" fmla="*/ 2147483647 h 85"/>
              <a:gd name="T26" fmla="*/ 2147483647 w 109"/>
              <a:gd name="T27" fmla="*/ 2147483647 h 85"/>
              <a:gd name="T28" fmla="*/ 2147483647 w 109"/>
              <a:gd name="T29" fmla="*/ 2147483647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85"/>
              <a:gd name="T47" fmla="*/ 109 w 10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85">
                <a:moveTo>
                  <a:pt x="88" y="55"/>
                </a:moveTo>
                <a:lnTo>
                  <a:pt x="68" y="45"/>
                </a:lnTo>
                <a:lnTo>
                  <a:pt x="58" y="48"/>
                </a:lnTo>
                <a:lnTo>
                  <a:pt x="49" y="53"/>
                </a:lnTo>
                <a:lnTo>
                  <a:pt x="36" y="84"/>
                </a:lnTo>
                <a:lnTo>
                  <a:pt x="29" y="85"/>
                </a:lnTo>
                <a:lnTo>
                  <a:pt x="19" y="75"/>
                </a:lnTo>
                <a:lnTo>
                  <a:pt x="12" y="54"/>
                </a:lnTo>
                <a:lnTo>
                  <a:pt x="0" y="50"/>
                </a:lnTo>
                <a:lnTo>
                  <a:pt x="28" y="19"/>
                </a:lnTo>
                <a:lnTo>
                  <a:pt x="51" y="21"/>
                </a:lnTo>
                <a:lnTo>
                  <a:pt x="79" y="0"/>
                </a:lnTo>
                <a:lnTo>
                  <a:pt x="102" y="8"/>
                </a:lnTo>
                <a:lnTo>
                  <a:pt x="109" y="28"/>
                </a:lnTo>
                <a:lnTo>
                  <a:pt x="88" y="55"/>
                </a:lnTo>
                <a:close/>
              </a:path>
            </a:pathLst>
          </a:custGeom>
          <a:solidFill>
            <a:schemeClr val="accent1"/>
          </a:solidFill>
          <a:ln w="6350">
            <a:solidFill>
              <a:schemeClr val="tx2"/>
            </a:solidFill>
            <a:round/>
            <a:headEnd/>
            <a:tailEnd/>
          </a:ln>
        </p:spPr>
        <p:txBody>
          <a:bodyPr/>
          <a:lstStyle/>
          <a:p>
            <a:endParaRPr lang="en-US"/>
          </a:p>
        </p:txBody>
      </p:sp>
      <p:sp>
        <p:nvSpPr>
          <p:cNvPr id="358" name="Freeform 1663"/>
          <p:cNvSpPr>
            <a:spLocks/>
          </p:cNvSpPr>
          <p:nvPr/>
        </p:nvSpPr>
        <p:spPr bwMode="auto">
          <a:xfrm>
            <a:off x="8450745" y="3604531"/>
            <a:ext cx="47299" cy="61135"/>
          </a:xfrm>
          <a:custGeom>
            <a:avLst/>
            <a:gdLst>
              <a:gd name="T0" fmla="*/ 2147483647 w 103"/>
              <a:gd name="T1" fmla="*/ 0 h 145"/>
              <a:gd name="T2" fmla="*/ 2147483647 w 103"/>
              <a:gd name="T3" fmla="*/ 2147483647 h 145"/>
              <a:gd name="T4" fmla="*/ 2147483647 w 103"/>
              <a:gd name="T5" fmla="*/ 2147483647 h 145"/>
              <a:gd name="T6" fmla="*/ 2147483647 w 103"/>
              <a:gd name="T7" fmla="*/ 2147483647 h 145"/>
              <a:gd name="T8" fmla="*/ 0 w 103"/>
              <a:gd name="T9" fmla="*/ 2147483647 h 145"/>
              <a:gd name="T10" fmla="*/ 2147483647 w 103"/>
              <a:gd name="T11" fmla="*/ 2147483647 h 145"/>
              <a:gd name="T12" fmla="*/ 2147483647 w 103"/>
              <a:gd name="T13" fmla="*/ 2147483647 h 145"/>
              <a:gd name="T14" fmla="*/ 2147483647 w 103"/>
              <a:gd name="T15" fmla="*/ 2147483647 h 145"/>
              <a:gd name="T16" fmla="*/ 2147483647 w 103"/>
              <a:gd name="T17" fmla="*/ 2147483647 h 145"/>
              <a:gd name="T18" fmla="*/ 2147483647 w 103"/>
              <a:gd name="T19" fmla="*/ 2147483647 h 145"/>
              <a:gd name="T20" fmla="*/ 2147483647 w 103"/>
              <a:gd name="T21" fmla="*/ 2147483647 h 145"/>
              <a:gd name="T22" fmla="*/ 2147483647 w 103"/>
              <a:gd name="T23" fmla="*/ 2147483647 h 145"/>
              <a:gd name="T24" fmla="*/ 2147483647 w 103"/>
              <a:gd name="T25" fmla="*/ 2147483647 h 145"/>
              <a:gd name="T26" fmla="*/ 2147483647 w 103"/>
              <a:gd name="T27" fmla="*/ 2147483647 h 145"/>
              <a:gd name="T28" fmla="*/ 2147483647 w 103"/>
              <a:gd name="T29" fmla="*/ 2147483647 h 145"/>
              <a:gd name="T30" fmla="*/ 2147483647 w 103"/>
              <a:gd name="T31" fmla="*/ 2147483647 h 145"/>
              <a:gd name="T32" fmla="*/ 2147483647 w 103"/>
              <a:gd name="T33" fmla="*/ 2147483647 h 145"/>
              <a:gd name="T34" fmla="*/ 2147483647 w 103"/>
              <a:gd name="T35" fmla="*/ 2147483647 h 145"/>
              <a:gd name="T36" fmla="*/ 2147483647 w 103"/>
              <a:gd name="T37" fmla="*/ 2147483647 h 145"/>
              <a:gd name="T38" fmla="*/ 2147483647 w 103"/>
              <a:gd name="T39" fmla="*/ 2147483647 h 145"/>
              <a:gd name="T40" fmla="*/ 2147483647 w 103"/>
              <a:gd name="T41" fmla="*/ 2147483647 h 145"/>
              <a:gd name="T42" fmla="*/ 2147483647 w 103"/>
              <a:gd name="T43" fmla="*/ 2147483647 h 145"/>
              <a:gd name="T44" fmla="*/ 2147483647 w 103"/>
              <a:gd name="T45" fmla="*/ 2147483647 h 145"/>
              <a:gd name="T46" fmla="*/ 2147483647 w 103"/>
              <a:gd name="T47" fmla="*/ 2147483647 h 145"/>
              <a:gd name="T48" fmla="*/ 2147483647 w 103"/>
              <a:gd name="T49" fmla="*/ 2147483647 h 145"/>
              <a:gd name="T50" fmla="*/ 2147483647 w 103"/>
              <a:gd name="T51" fmla="*/ 2147483647 h 145"/>
              <a:gd name="T52" fmla="*/ 2147483647 w 103"/>
              <a:gd name="T53" fmla="*/ 2147483647 h 145"/>
              <a:gd name="T54" fmla="*/ 2147483647 w 103"/>
              <a:gd name="T55" fmla="*/ 2147483647 h 145"/>
              <a:gd name="T56" fmla="*/ 2147483647 w 103"/>
              <a:gd name="T57" fmla="*/ 2147483647 h 145"/>
              <a:gd name="T58" fmla="*/ 2147483647 w 103"/>
              <a:gd name="T59" fmla="*/ 2147483647 h 145"/>
              <a:gd name="T60" fmla="*/ 2147483647 w 103"/>
              <a:gd name="T61" fmla="*/ 2147483647 h 145"/>
              <a:gd name="T62" fmla="*/ 2147483647 w 103"/>
              <a:gd name="T63" fmla="*/ 2147483647 h 145"/>
              <a:gd name="T64" fmla="*/ 2147483647 w 103"/>
              <a:gd name="T65" fmla="*/ 2147483647 h 145"/>
              <a:gd name="T66" fmla="*/ 2147483647 w 103"/>
              <a:gd name="T67" fmla="*/ 2147483647 h 145"/>
              <a:gd name="T68" fmla="*/ 2147483647 w 103"/>
              <a:gd name="T69" fmla="*/ 0 h 1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
              <a:gd name="T106" fmla="*/ 0 h 145"/>
              <a:gd name="T107" fmla="*/ 103 w 103"/>
              <a:gd name="T108" fmla="*/ 145 h 14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 h="145">
                <a:moveTo>
                  <a:pt x="52" y="0"/>
                </a:moveTo>
                <a:lnTo>
                  <a:pt x="44" y="1"/>
                </a:lnTo>
                <a:lnTo>
                  <a:pt x="33" y="16"/>
                </a:lnTo>
                <a:lnTo>
                  <a:pt x="13" y="20"/>
                </a:lnTo>
                <a:lnTo>
                  <a:pt x="0" y="35"/>
                </a:lnTo>
                <a:lnTo>
                  <a:pt x="12" y="48"/>
                </a:lnTo>
                <a:lnTo>
                  <a:pt x="13" y="55"/>
                </a:lnTo>
                <a:lnTo>
                  <a:pt x="4" y="46"/>
                </a:lnTo>
                <a:lnTo>
                  <a:pt x="7" y="67"/>
                </a:lnTo>
                <a:lnTo>
                  <a:pt x="21" y="60"/>
                </a:lnTo>
                <a:lnTo>
                  <a:pt x="28" y="64"/>
                </a:lnTo>
                <a:lnTo>
                  <a:pt x="32" y="57"/>
                </a:lnTo>
                <a:lnTo>
                  <a:pt x="25" y="49"/>
                </a:lnTo>
                <a:lnTo>
                  <a:pt x="25" y="40"/>
                </a:lnTo>
                <a:lnTo>
                  <a:pt x="29" y="37"/>
                </a:lnTo>
                <a:lnTo>
                  <a:pt x="40" y="57"/>
                </a:lnTo>
                <a:lnTo>
                  <a:pt x="42" y="76"/>
                </a:lnTo>
                <a:lnTo>
                  <a:pt x="28" y="98"/>
                </a:lnTo>
                <a:lnTo>
                  <a:pt x="27" y="130"/>
                </a:lnTo>
                <a:lnTo>
                  <a:pt x="44" y="140"/>
                </a:lnTo>
                <a:lnTo>
                  <a:pt x="45" y="112"/>
                </a:lnTo>
                <a:lnTo>
                  <a:pt x="52" y="114"/>
                </a:lnTo>
                <a:lnTo>
                  <a:pt x="48" y="124"/>
                </a:lnTo>
                <a:lnTo>
                  <a:pt x="50" y="145"/>
                </a:lnTo>
                <a:lnTo>
                  <a:pt x="62" y="138"/>
                </a:lnTo>
                <a:lnTo>
                  <a:pt x="69" y="124"/>
                </a:lnTo>
                <a:lnTo>
                  <a:pt x="73" y="126"/>
                </a:lnTo>
                <a:lnTo>
                  <a:pt x="89" y="76"/>
                </a:lnTo>
                <a:lnTo>
                  <a:pt x="103" y="53"/>
                </a:lnTo>
                <a:lnTo>
                  <a:pt x="97" y="35"/>
                </a:lnTo>
                <a:lnTo>
                  <a:pt x="87" y="33"/>
                </a:lnTo>
                <a:lnTo>
                  <a:pt x="87" y="13"/>
                </a:lnTo>
                <a:lnTo>
                  <a:pt x="68" y="15"/>
                </a:lnTo>
                <a:lnTo>
                  <a:pt x="60" y="1"/>
                </a:lnTo>
                <a:lnTo>
                  <a:pt x="52" y="0"/>
                </a:lnTo>
                <a:close/>
              </a:path>
            </a:pathLst>
          </a:custGeom>
          <a:solidFill>
            <a:schemeClr val="accent1"/>
          </a:solidFill>
          <a:ln w="6350">
            <a:solidFill>
              <a:schemeClr val="tx2"/>
            </a:solidFill>
            <a:round/>
            <a:headEnd/>
            <a:tailEnd/>
          </a:ln>
        </p:spPr>
        <p:txBody>
          <a:bodyPr/>
          <a:lstStyle/>
          <a:p>
            <a:endParaRPr lang="en-US"/>
          </a:p>
        </p:txBody>
      </p:sp>
      <p:sp>
        <p:nvSpPr>
          <p:cNvPr id="359" name="Freeform 1664"/>
          <p:cNvSpPr>
            <a:spLocks/>
          </p:cNvSpPr>
          <p:nvPr/>
        </p:nvSpPr>
        <p:spPr bwMode="auto">
          <a:xfrm>
            <a:off x="8459345" y="3635098"/>
            <a:ext cx="2866" cy="7642"/>
          </a:xfrm>
          <a:custGeom>
            <a:avLst/>
            <a:gdLst>
              <a:gd name="T0" fmla="*/ 2147483647 w 5"/>
              <a:gd name="T1" fmla="*/ 0 h 17"/>
              <a:gd name="T2" fmla="*/ 0 w 5"/>
              <a:gd name="T3" fmla="*/ 2147483647 h 17"/>
              <a:gd name="T4" fmla="*/ 2147483647 w 5"/>
              <a:gd name="T5" fmla="*/ 2147483647 h 17"/>
              <a:gd name="T6" fmla="*/ 2147483647 w 5"/>
              <a:gd name="T7" fmla="*/ 0 h 17"/>
              <a:gd name="T8" fmla="*/ 0 60000 65536"/>
              <a:gd name="T9" fmla="*/ 0 60000 65536"/>
              <a:gd name="T10" fmla="*/ 0 60000 65536"/>
              <a:gd name="T11" fmla="*/ 0 60000 65536"/>
              <a:gd name="T12" fmla="*/ 0 w 5"/>
              <a:gd name="T13" fmla="*/ 0 h 17"/>
              <a:gd name="T14" fmla="*/ 5 w 5"/>
              <a:gd name="T15" fmla="*/ 17 h 17"/>
            </a:gdLst>
            <a:ahLst/>
            <a:cxnLst>
              <a:cxn ang="T8">
                <a:pos x="T0" y="T1"/>
              </a:cxn>
              <a:cxn ang="T9">
                <a:pos x="T2" y="T3"/>
              </a:cxn>
              <a:cxn ang="T10">
                <a:pos x="T4" y="T5"/>
              </a:cxn>
              <a:cxn ang="T11">
                <a:pos x="T6" y="T7"/>
              </a:cxn>
            </a:cxnLst>
            <a:rect l="T12" t="T13" r="T14" b="T15"/>
            <a:pathLst>
              <a:path w="5" h="17">
                <a:moveTo>
                  <a:pt x="1" y="0"/>
                </a:moveTo>
                <a:lnTo>
                  <a:pt x="0" y="17"/>
                </a:lnTo>
                <a:lnTo>
                  <a:pt x="5" y="3"/>
                </a:lnTo>
                <a:lnTo>
                  <a:pt x="1" y="0"/>
                </a:lnTo>
                <a:close/>
              </a:path>
            </a:pathLst>
          </a:custGeom>
          <a:solidFill>
            <a:schemeClr val="accent1"/>
          </a:solidFill>
          <a:ln w="6350">
            <a:solidFill>
              <a:schemeClr val="tx2"/>
            </a:solidFill>
            <a:round/>
            <a:headEnd/>
            <a:tailEnd/>
          </a:ln>
        </p:spPr>
        <p:txBody>
          <a:bodyPr/>
          <a:lstStyle/>
          <a:p>
            <a:endParaRPr lang="en-US"/>
          </a:p>
        </p:txBody>
      </p:sp>
      <p:sp>
        <p:nvSpPr>
          <p:cNvPr id="360" name="Freeform 1665"/>
          <p:cNvSpPr>
            <a:spLocks/>
          </p:cNvSpPr>
          <p:nvPr/>
        </p:nvSpPr>
        <p:spPr bwMode="auto">
          <a:xfrm>
            <a:off x="8477978" y="3670760"/>
            <a:ext cx="2866" cy="8915"/>
          </a:xfrm>
          <a:custGeom>
            <a:avLst/>
            <a:gdLst>
              <a:gd name="T0" fmla="*/ 2147483647 w 4"/>
              <a:gd name="T1" fmla="*/ 2147483647 h 22"/>
              <a:gd name="T2" fmla="*/ 2147483647 w 4"/>
              <a:gd name="T3" fmla="*/ 0 h 22"/>
              <a:gd name="T4" fmla="*/ 0 w 4"/>
              <a:gd name="T5" fmla="*/ 2147483647 h 22"/>
              <a:gd name="T6" fmla="*/ 0 w 4"/>
              <a:gd name="T7" fmla="*/ 2147483647 h 22"/>
              <a:gd name="T8" fmla="*/ 2147483647 w 4"/>
              <a:gd name="T9" fmla="*/ 2147483647 h 22"/>
              <a:gd name="T10" fmla="*/ 0 60000 65536"/>
              <a:gd name="T11" fmla="*/ 0 60000 65536"/>
              <a:gd name="T12" fmla="*/ 0 60000 65536"/>
              <a:gd name="T13" fmla="*/ 0 60000 65536"/>
              <a:gd name="T14" fmla="*/ 0 60000 65536"/>
              <a:gd name="T15" fmla="*/ 0 w 4"/>
              <a:gd name="T16" fmla="*/ 0 h 22"/>
              <a:gd name="T17" fmla="*/ 4 w 4"/>
              <a:gd name="T18" fmla="*/ 22 h 22"/>
            </a:gdLst>
            <a:ahLst/>
            <a:cxnLst>
              <a:cxn ang="T10">
                <a:pos x="T0" y="T1"/>
              </a:cxn>
              <a:cxn ang="T11">
                <a:pos x="T2" y="T3"/>
              </a:cxn>
              <a:cxn ang="T12">
                <a:pos x="T4" y="T5"/>
              </a:cxn>
              <a:cxn ang="T13">
                <a:pos x="T6" y="T7"/>
              </a:cxn>
              <a:cxn ang="T14">
                <a:pos x="T8" y="T9"/>
              </a:cxn>
            </a:cxnLst>
            <a:rect l="T15" t="T16" r="T17" b="T18"/>
            <a:pathLst>
              <a:path w="4" h="22">
                <a:moveTo>
                  <a:pt x="4" y="7"/>
                </a:moveTo>
                <a:lnTo>
                  <a:pt x="3" y="0"/>
                </a:lnTo>
                <a:lnTo>
                  <a:pt x="0" y="7"/>
                </a:lnTo>
                <a:lnTo>
                  <a:pt x="0" y="22"/>
                </a:lnTo>
                <a:lnTo>
                  <a:pt x="4" y="7"/>
                </a:lnTo>
                <a:close/>
              </a:path>
            </a:pathLst>
          </a:custGeom>
          <a:solidFill>
            <a:schemeClr val="accent1"/>
          </a:solidFill>
          <a:ln w="6350">
            <a:solidFill>
              <a:schemeClr val="tx2"/>
            </a:solidFill>
            <a:round/>
            <a:headEnd/>
            <a:tailEnd/>
          </a:ln>
        </p:spPr>
        <p:txBody>
          <a:bodyPr/>
          <a:lstStyle/>
          <a:p>
            <a:endParaRPr lang="en-US"/>
          </a:p>
        </p:txBody>
      </p:sp>
      <p:sp>
        <p:nvSpPr>
          <p:cNvPr id="361" name="Freeform 1666"/>
          <p:cNvSpPr>
            <a:spLocks/>
          </p:cNvSpPr>
          <p:nvPr/>
        </p:nvSpPr>
        <p:spPr bwMode="auto">
          <a:xfrm>
            <a:off x="8465079" y="3678402"/>
            <a:ext cx="2866" cy="3820"/>
          </a:xfrm>
          <a:custGeom>
            <a:avLst/>
            <a:gdLst>
              <a:gd name="T0" fmla="*/ 2147483647 w 10"/>
              <a:gd name="T1" fmla="*/ 0 h 9"/>
              <a:gd name="T2" fmla="*/ 0 w 10"/>
              <a:gd name="T3" fmla="*/ 2147483647 h 9"/>
              <a:gd name="T4" fmla="*/ 2147483647 w 10"/>
              <a:gd name="T5" fmla="*/ 2147483647 h 9"/>
              <a:gd name="T6" fmla="*/ 2147483647 w 10"/>
              <a:gd name="T7" fmla="*/ 2147483647 h 9"/>
              <a:gd name="T8" fmla="*/ 2147483647 w 10"/>
              <a:gd name="T9" fmla="*/ 2147483647 h 9"/>
              <a:gd name="T10" fmla="*/ 2147483647 w 10"/>
              <a:gd name="T11" fmla="*/ 0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5" y="0"/>
                </a:moveTo>
                <a:lnTo>
                  <a:pt x="0" y="3"/>
                </a:lnTo>
                <a:lnTo>
                  <a:pt x="2" y="8"/>
                </a:lnTo>
                <a:lnTo>
                  <a:pt x="10" y="9"/>
                </a:lnTo>
                <a:lnTo>
                  <a:pt x="10" y="3"/>
                </a:lnTo>
                <a:lnTo>
                  <a:pt x="5" y="0"/>
                </a:lnTo>
                <a:close/>
              </a:path>
            </a:pathLst>
          </a:custGeom>
          <a:solidFill>
            <a:schemeClr val="accent1"/>
          </a:solidFill>
          <a:ln w="6350">
            <a:solidFill>
              <a:schemeClr val="tx2"/>
            </a:solidFill>
            <a:round/>
            <a:headEnd/>
            <a:tailEnd/>
          </a:ln>
        </p:spPr>
        <p:txBody>
          <a:bodyPr/>
          <a:lstStyle/>
          <a:p>
            <a:endParaRPr lang="en-US"/>
          </a:p>
        </p:txBody>
      </p:sp>
      <p:sp>
        <p:nvSpPr>
          <p:cNvPr id="362" name="Freeform 1667"/>
          <p:cNvSpPr>
            <a:spLocks/>
          </p:cNvSpPr>
          <p:nvPr/>
        </p:nvSpPr>
        <p:spPr bwMode="auto">
          <a:xfrm>
            <a:off x="8430679" y="3630004"/>
            <a:ext cx="2866" cy="3820"/>
          </a:xfrm>
          <a:custGeom>
            <a:avLst/>
            <a:gdLst>
              <a:gd name="T0" fmla="*/ 2147483647 w 7"/>
              <a:gd name="T1" fmla="*/ 0 h 10"/>
              <a:gd name="T2" fmla="*/ 0 w 7"/>
              <a:gd name="T3" fmla="*/ 2147483647 h 10"/>
              <a:gd name="T4" fmla="*/ 0 w 7"/>
              <a:gd name="T5" fmla="*/ 2147483647 h 10"/>
              <a:gd name="T6" fmla="*/ 2147483647 w 7"/>
              <a:gd name="T7" fmla="*/ 2147483647 h 10"/>
              <a:gd name="T8" fmla="*/ 2147483647 w 7"/>
              <a:gd name="T9" fmla="*/ 0 h 10"/>
              <a:gd name="T10" fmla="*/ 0 60000 65536"/>
              <a:gd name="T11" fmla="*/ 0 60000 65536"/>
              <a:gd name="T12" fmla="*/ 0 60000 65536"/>
              <a:gd name="T13" fmla="*/ 0 60000 65536"/>
              <a:gd name="T14" fmla="*/ 0 60000 65536"/>
              <a:gd name="T15" fmla="*/ 0 w 7"/>
              <a:gd name="T16" fmla="*/ 0 h 10"/>
              <a:gd name="T17" fmla="*/ 7 w 7"/>
              <a:gd name="T18" fmla="*/ 10 h 10"/>
            </a:gdLst>
            <a:ahLst/>
            <a:cxnLst>
              <a:cxn ang="T10">
                <a:pos x="T0" y="T1"/>
              </a:cxn>
              <a:cxn ang="T11">
                <a:pos x="T2" y="T3"/>
              </a:cxn>
              <a:cxn ang="T12">
                <a:pos x="T4" y="T5"/>
              </a:cxn>
              <a:cxn ang="T13">
                <a:pos x="T6" y="T7"/>
              </a:cxn>
              <a:cxn ang="T14">
                <a:pos x="T8" y="T9"/>
              </a:cxn>
            </a:cxnLst>
            <a:rect l="T15" t="T16" r="T17" b="T18"/>
            <a:pathLst>
              <a:path w="7" h="10">
                <a:moveTo>
                  <a:pt x="6" y="0"/>
                </a:moveTo>
                <a:lnTo>
                  <a:pt x="0" y="3"/>
                </a:lnTo>
                <a:lnTo>
                  <a:pt x="0" y="10"/>
                </a:lnTo>
                <a:lnTo>
                  <a:pt x="7" y="7"/>
                </a:lnTo>
                <a:lnTo>
                  <a:pt x="6" y="0"/>
                </a:lnTo>
                <a:close/>
              </a:path>
            </a:pathLst>
          </a:custGeom>
          <a:solidFill>
            <a:schemeClr val="accent1"/>
          </a:solidFill>
          <a:ln w="6350">
            <a:solidFill>
              <a:schemeClr val="tx2"/>
            </a:solidFill>
            <a:round/>
            <a:headEnd/>
            <a:tailEnd/>
          </a:ln>
        </p:spPr>
        <p:txBody>
          <a:bodyPr/>
          <a:lstStyle/>
          <a:p>
            <a:endParaRPr lang="en-US"/>
          </a:p>
        </p:txBody>
      </p:sp>
      <p:sp>
        <p:nvSpPr>
          <p:cNvPr id="363" name="Freeform 1668"/>
          <p:cNvSpPr>
            <a:spLocks/>
          </p:cNvSpPr>
          <p:nvPr/>
        </p:nvSpPr>
        <p:spPr bwMode="auto">
          <a:xfrm>
            <a:off x="8439279" y="3623635"/>
            <a:ext cx="2866" cy="5095"/>
          </a:xfrm>
          <a:custGeom>
            <a:avLst/>
            <a:gdLst>
              <a:gd name="T0" fmla="*/ 2147483647 w 5"/>
              <a:gd name="T1" fmla="*/ 2147483647 h 13"/>
              <a:gd name="T2" fmla="*/ 2147483647 w 5"/>
              <a:gd name="T3" fmla="*/ 0 h 13"/>
              <a:gd name="T4" fmla="*/ 0 w 5"/>
              <a:gd name="T5" fmla="*/ 2147483647 h 13"/>
              <a:gd name="T6" fmla="*/ 2147483647 w 5"/>
              <a:gd name="T7" fmla="*/ 2147483647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4"/>
                </a:moveTo>
                <a:lnTo>
                  <a:pt x="1" y="0"/>
                </a:lnTo>
                <a:lnTo>
                  <a:pt x="0" y="13"/>
                </a:lnTo>
                <a:lnTo>
                  <a:pt x="5" y="4"/>
                </a:lnTo>
                <a:close/>
              </a:path>
            </a:pathLst>
          </a:custGeom>
          <a:solidFill>
            <a:schemeClr val="accent1"/>
          </a:solidFill>
          <a:ln w="6350">
            <a:solidFill>
              <a:schemeClr val="tx2"/>
            </a:solidFill>
            <a:round/>
            <a:headEnd/>
            <a:tailEnd/>
          </a:ln>
        </p:spPr>
        <p:txBody>
          <a:bodyPr/>
          <a:lstStyle/>
          <a:p>
            <a:endParaRPr lang="en-US"/>
          </a:p>
        </p:txBody>
      </p:sp>
      <p:sp>
        <p:nvSpPr>
          <p:cNvPr id="364" name="Freeform 1669"/>
          <p:cNvSpPr>
            <a:spLocks/>
          </p:cNvSpPr>
          <p:nvPr/>
        </p:nvSpPr>
        <p:spPr bwMode="auto">
          <a:xfrm>
            <a:off x="8450745" y="3605804"/>
            <a:ext cx="2866" cy="2547"/>
          </a:xfrm>
          <a:custGeom>
            <a:avLst/>
            <a:gdLst>
              <a:gd name="T0" fmla="*/ 0 w 1588"/>
              <a:gd name="T1" fmla="*/ 0 h 7"/>
              <a:gd name="T2" fmla="*/ 0 w 1588"/>
              <a:gd name="T3" fmla="*/ 2147483647 h 7"/>
              <a:gd name="T4" fmla="*/ 0 w 1588"/>
              <a:gd name="T5" fmla="*/ 0 h 7"/>
              <a:gd name="T6" fmla="*/ 0 60000 65536"/>
              <a:gd name="T7" fmla="*/ 0 60000 65536"/>
              <a:gd name="T8" fmla="*/ 0 60000 65536"/>
              <a:gd name="T9" fmla="*/ 0 w 1588"/>
              <a:gd name="T10" fmla="*/ 0 h 7"/>
              <a:gd name="T11" fmla="*/ 1588 w 1588"/>
              <a:gd name="T12" fmla="*/ 7 h 7"/>
            </a:gdLst>
            <a:ahLst/>
            <a:cxnLst>
              <a:cxn ang="T6">
                <a:pos x="T0" y="T1"/>
              </a:cxn>
              <a:cxn ang="T7">
                <a:pos x="T2" y="T3"/>
              </a:cxn>
              <a:cxn ang="T8">
                <a:pos x="T4" y="T5"/>
              </a:cxn>
            </a:cxnLst>
            <a:rect l="T9" t="T10" r="T11" b="T12"/>
            <a:pathLst>
              <a:path w="1588" h="7">
                <a:moveTo>
                  <a:pt x="0" y="0"/>
                </a:moveTo>
                <a:lnTo>
                  <a:pt x="0" y="7"/>
                </a:lnTo>
                <a:lnTo>
                  <a:pt x="0" y="0"/>
                </a:lnTo>
                <a:close/>
              </a:path>
            </a:pathLst>
          </a:custGeom>
          <a:solidFill>
            <a:schemeClr val="accent1"/>
          </a:solidFill>
          <a:ln w="6350">
            <a:solidFill>
              <a:schemeClr val="tx2"/>
            </a:solidFill>
            <a:round/>
            <a:headEnd/>
            <a:tailEnd/>
          </a:ln>
        </p:spPr>
        <p:txBody>
          <a:bodyPr/>
          <a:lstStyle/>
          <a:p>
            <a:endParaRPr lang="en-US"/>
          </a:p>
        </p:txBody>
      </p:sp>
      <p:sp>
        <p:nvSpPr>
          <p:cNvPr id="365" name="Freeform 1670"/>
          <p:cNvSpPr>
            <a:spLocks/>
          </p:cNvSpPr>
          <p:nvPr/>
        </p:nvSpPr>
        <p:spPr bwMode="auto">
          <a:xfrm>
            <a:off x="8442146" y="3595615"/>
            <a:ext cx="1432" cy="5095"/>
          </a:xfrm>
          <a:custGeom>
            <a:avLst/>
            <a:gdLst>
              <a:gd name="T0" fmla="*/ 2147483647 w 4"/>
              <a:gd name="T1" fmla="*/ 0 h 12"/>
              <a:gd name="T2" fmla="*/ 0 w 4"/>
              <a:gd name="T3" fmla="*/ 2147483647 h 12"/>
              <a:gd name="T4" fmla="*/ 2147483647 w 4"/>
              <a:gd name="T5" fmla="*/ 2147483647 h 12"/>
              <a:gd name="T6" fmla="*/ 2147483647 w 4"/>
              <a:gd name="T7" fmla="*/ 0 h 12"/>
              <a:gd name="T8" fmla="*/ 0 60000 65536"/>
              <a:gd name="T9" fmla="*/ 0 60000 65536"/>
              <a:gd name="T10" fmla="*/ 0 60000 65536"/>
              <a:gd name="T11" fmla="*/ 0 60000 65536"/>
              <a:gd name="T12" fmla="*/ 0 w 4"/>
              <a:gd name="T13" fmla="*/ 0 h 12"/>
              <a:gd name="T14" fmla="*/ 4 w 4"/>
              <a:gd name="T15" fmla="*/ 12 h 12"/>
            </a:gdLst>
            <a:ahLst/>
            <a:cxnLst>
              <a:cxn ang="T8">
                <a:pos x="T0" y="T1"/>
              </a:cxn>
              <a:cxn ang="T9">
                <a:pos x="T2" y="T3"/>
              </a:cxn>
              <a:cxn ang="T10">
                <a:pos x="T4" y="T5"/>
              </a:cxn>
              <a:cxn ang="T11">
                <a:pos x="T6" y="T7"/>
              </a:cxn>
            </a:cxnLst>
            <a:rect l="T12" t="T13" r="T14" b="T15"/>
            <a:pathLst>
              <a:path w="4" h="12">
                <a:moveTo>
                  <a:pt x="3" y="0"/>
                </a:moveTo>
                <a:lnTo>
                  <a:pt x="0" y="12"/>
                </a:lnTo>
                <a:lnTo>
                  <a:pt x="4" y="9"/>
                </a:lnTo>
                <a:lnTo>
                  <a:pt x="3" y="0"/>
                </a:lnTo>
                <a:close/>
              </a:path>
            </a:pathLst>
          </a:custGeom>
          <a:solidFill>
            <a:schemeClr val="accent1"/>
          </a:solidFill>
          <a:ln w="6350">
            <a:solidFill>
              <a:schemeClr val="tx2"/>
            </a:solidFill>
            <a:round/>
            <a:headEnd/>
            <a:tailEnd/>
          </a:ln>
        </p:spPr>
        <p:txBody>
          <a:bodyPr/>
          <a:lstStyle/>
          <a:p>
            <a:endParaRPr lang="en-US"/>
          </a:p>
        </p:txBody>
      </p:sp>
      <p:sp>
        <p:nvSpPr>
          <p:cNvPr id="366" name="Freeform 1671"/>
          <p:cNvSpPr>
            <a:spLocks/>
          </p:cNvSpPr>
          <p:nvPr/>
        </p:nvSpPr>
        <p:spPr bwMode="auto">
          <a:xfrm>
            <a:off x="8443578" y="3587973"/>
            <a:ext cx="2866" cy="7642"/>
          </a:xfrm>
          <a:custGeom>
            <a:avLst/>
            <a:gdLst>
              <a:gd name="T0" fmla="*/ 0 w 3"/>
              <a:gd name="T1" fmla="*/ 0 h 18"/>
              <a:gd name="T2" fmla="*/ 2147483647 w 3"/>
              <a:gd name="T3" fmla="*/ 2147483647 h 18"/>
              <a:gd name="T4" fmla="*/ 2147483647 w 3"/>
              <a:gd name="T5" fmla="*/ 2147483647 h 18"/>
              <a:gd name="T6" fmla="*/ 0 w 3"/>
              <a:gd name="T7" fmla="*/ 0 h 18"/>
              <a:gd name="T8" fmla="*/ 0 60000 65536"/>
              <a:gd name="T9" fmla="*/ 0 60000 65536"/>
              <a:gd name="T10" fmla="*/ 0 60000 65536"/>
              <a:gd name="T11" fmla="*/ 0 60000 65536"/>
              <a:gd name="T12" fmla="*/ 0 w 3"/>
              <a:gd name="T13" fmla="*/ 0 h 18"/>
              <a:gd name="T14" fmla="*/ 3 w 3"/>
              <a:gd name="T15" fmla="*/ 18 h 18"/>
            </a:gdLst>
            <a:ahLst/>
            <a:cxnLst>
              <a:cxn ang="T8">
                <a:pos x="T0" y="T1"/>
              </a:cxn>
              <a:cxn ang="T9">
                <a:pos x="T2" y="T3"/>
              </a:cxn>
              <a:cxn ang="T10">
                <a:pos x="T4" y="T5"/>
              </a:cxn>
              <a:cxn ang="T11">
                <a:pos x="T6" y="T7"/>
              </a:cxn>
            </a:cxnLst>
            <a:rect l="T12" t="T13" r="T14" b="T15"/>
            <a:pathLst>
              <a:path w="3" h="18">
                <a:moveTo>
                  <a:pt x="0" y="0"/>
                </a:moveTo>
                <a:lnTo>
                  <a:pt x="3" y="4"/>
                </a:lnTo>
                <a:lnTo>
                  <a:pt x="1" y="18"/>
                </a:lnTo>
                <a:lnTo>
                  <a:pt x="0" y="0"/>
                </a:lnTo>
                <a:close/>
              </a:path>
            </a:pathLst>
          </a:custGeom>
          <a:solidFill>
            <a:schemeClr val="accent1"/>
          </a:solidFill>
          <a:ln w="6350">
            <a:solidFill>
              <a:schemeClr val="tx2"/>
            </a:solidFill>
            <a:round/>
            <a:headEnd/>
            <a:tailEnd/>
          </a:ln>
        </p:spPr>
        <p:txBody>
          <a:bodyPr/>
          <a:lstStyle/>
          <a:p>
            <a:endParaRPr lang="en-US"/>
          </a:p>
        </p:txBody>
      </p:sp>
      <p:sp>
        <p:nvSpPr>
          <p:cNvPr id="367" name="Freeform 1672"/>
          <p:cNvSpPr>
            <a:spLocks/>
          </p:cNvSpPr>
          <p:nvPr/>
        </p:nvSpPr>
        <p:spPr bwMode="auto">
          <a:xfrm>
            <a:off x="8475112" y="3524290"/>
            <a:ext cx="2866" cy="2547"/>
          </a:xfrm>
          <a:custGeom>
            <a:avLst/>
            <a:gdLst>
              <a:gd name="T0" fmla="*/ 2147483647 w 4"/>
              <a:gd name="T1" fmla="*/ 0 h 5"/>
              <a:gd name="T2" fmla="*/ 0 w 4"/>
              <a:gd name="T3" fmla="*/ 2147483647 h 5"/>
              <a:gd name="T4" fmla="*/ 2147483647 w 4"/>
              <a:gd name="T5" fmla="*/ 2147483647 h 5"/>
              <a:gd name="T6" fmla="*/ 2147483647 w 4"/>
              <a:gd name="T7" fmla="*/ 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1" y="0"/>
                </a:moveTo>
                <a:lnTo>
                  <a:pt x="0" y="5"/>
                </a:lnTo>
                <a:lnTo>
                  <a:pt x="4" y="2"/>
                </a:lnTo>
                <a:lnTo>
                  <a:pt x="1" y="0"/>
                </a:lnTo>
                <a:close/>
              </a:path>
            </a:pathLst>
          </a:custGeom>
          <a:solidFill>
            <a:schemeClr val="accent1"/>
          </a:solidFill>
          <a:ln w="6350">
            <a:solidFill>
              <a:schemeClr val="tx2"/>
            </a:solidFill>
            <a:round/>
            <a:headEnd/>
            <a:tailEnd/>
          </a:ln>
        </p:spPr>
        <p:txBody>
          <a:bodyPr/>
          <a:lstStyle/>
          <a:p>
            <a:endParaRPr lang="en-US"/>
          </a:p>
        </p:txBody>
      </p:sp>
      <p:sp>
        <p:nvSpPr>
          <p:cNvPr id="368" name="Freeform 1673"/>
          <p:cNvSpPr>
            <a:spLocks/>
          </p:cNvSpPr>
          <p:nvPr/>
        </p:nvSpPr>
        <p:spPr bwMode="auto">
          <a:xfrm>
            <a:off x="8380512" y="3613446"/>
            <a:ext cx="15767" cy="7642"/>
          </a:xfrm>
          <a:custGeom>
            <a:avLst/>
            <a:gdLst>
              <a:gd name="T0" fmla="*/ 2147483647 w 29"/>
              <a:gd name="T1" fmla="*/ 2147483647 h 16"/>
              <a:gd name="T2" fmla="*/ 0 w 29"/>
              <a:gd name="T3" fmla="*/ 2147483647 h 16"/>
              <a:gd name="T4" fmla="*/ 2147483647 w 29"/>
              <a:gd name="T5" fmla="*/ 2147483647 h 16"/>
              <a:gd name="T6" fmla="*/ 2147483647 w 29"/>
              <a:gd name="T7" fmla="*/ 2147483647 h 16"/>
              <a:gd name="T8" fmla="*/ 2147483647 w 29"/>
              <a:gd name="T9" fmla="*/ 2147483647 h 16"/>
              <a:gd name="T10" fmla="*/ 2147483647 w 29"/>
              <a:gd name="T11" fmla="*/ 0 h 16"/>
              <a:gd name="T12" fmla="*/ 2147483647 w 29"/>
              <a:gd name="T13" fmla="*/ 2147483647 h 16"/>
              <a:gd name="T14" fmla="*/ 0 60000 65536"/>
              <a:gd name="T15" fmla="*/ 0 60000 65536"/>
              <a:gd name="T16" fmla="*/ 0 60000 65536"/>
              <a:gd name="T17" fmla="*/ 0 60000 65536"/>
              <a:gd name="T18" fmla="*/ 0 60000 65536"/>
              <a:gd name="T19" fmla="*/ 0 60000 65536"/>
              <a:gd name="T20" fmla="*/ 0 60000 65536"/>
              <a:gd name="T21" fmla="*/ 0 w 29"/>
              <a:gd name="T22" fmla="*/ 0 h 16"/>
              <a:gd name="T23" fmla="*/ 29 w 29"/>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6">
                <a:moveTo>
                  <a:pt x="3" y="5"/>
                </a:moveTo>
                <a:lnTo>
                  <a:pt x="0" y="15"/>
                </a:lnTo>
                <a:lnTo>
                  <a:pt x="7" y="16"/>
                </a:lnTo>
                <a:lnTo>
                  <a:pt x="19" y="14"/>
                </a:lnTo>
                <a:lnTo>
                  <a:pt x="29" y="6"/>
                </a:lnTo>
                <a:lnTo>
                  <a:pt x="28" y="0"/>
                </a:lnTo>
                <a:lnTo>
                  <a:pt x="3" y="5"/>
                </a:lnTo>
                <a:close/>
              </a:path>
            </a:pathLst>
          </a:custGeom>
          <a:solidFill>
            <a:schemeClr val="accent1"/>
          </a:solidFill>
          <a:ln w="6350">
            <a:solidFill>
              <a:schemeClr val="tx2"/>
            </a:solidFill>
            <a:round/>
            <a:headEnd/>
            <a:tailEnd/>
          </a:ln>
        </p:spPr>
        <p:txBody>
          <a:bodyPr/>
          <a:lstStyle/>
          <a:p>
            <a:endParaRPr lang="en-US"/>
          </a:p>
        </p:txBody>
      </p:sp>
      <p:sp>
        <p:nvSpPr>
          <p:cNvPr id="369" name="Freeform 1674"/>
          <p:cNvSpPr>
            <a:spLocks/>
          </p:cNvSpPr>
          <p:nvPr/>
        </p:nvSpPr>
        <p:spPr bwMode="auto">
          <a:xfrm>
            <a:off x="8255812" y="3782843"/>
            <a:ext cx="37267" cy="63683"/>
          </a:xfrm>
          <a:custGeom>
            <a:avLst/>
            <a:gdLst>
              <a:gd name="T0" fmla="*/ 2147483647 w 76"/>
              <a:gd name="T1" fmla="*/ 0 h 155"/>
              <a:gd name="T2" fmla="*/ 2147483647 w 76"/>
              <a:gd name="T3" fmla="*/ 2147483647 h 155"/>
              <a:gd name="T4" fmla="*/ 2147483647 w 76"/>
              <a:gd name="T5" fmla="*/ 2147483647 h 155"/>
              <a:gd name="T6" fmla="*/ 2147483647 w 76"/>
              <a:gd name="T7" fmla="*/ 2147483647 h 155"/>
              <a:gd name="T8" fmla="*/ 2147483647 w 76"/>
              <a:gd name="T9" fmla="*/ 2147483647 h 155"/>
              <a:gd name="T10" fmla="*/ 2147483647 w 76"/>
              <a:gd name="T11" fmla="*/ 2147483647 h 155"/>
              <a:gd name="T12" fmla="*/ 2147483647 w 76"/>
              <a:gd name="T13" fmla="*/ 2147483647 h 155"/>
              <a:gd name="T14" fmla="*/ 2147483647 w 76"/>
              <a:gd name="T15" fmla="*/ 2147483647 h 155"/>
              <a:gd name="T16" fmla="*/ 0 w 76"/>
              <a:gd name="T17" fmla="*/ 2147483647 h 155"/>
              <a:gd name="T18" fmla="*/ 2147483647 w 76"/>
              <a:gd name="T19" fmla="*/ 2147483647 h 155"/>
              <a:gd name="T20" fmla="*/ 2147483647 w 76"/>
              <a:gd name="T21" fmla="*/ 2147483647 h 155"/>
              <a:gd name="T22" fmla="*/ 2147483647 w 76"/>
              <a:gd name="T23" fmla="*/ 0 h 1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155"/>
              <a:gd name="T38" fmla="*/ 76 w 76"/>
              <a:gd name="T39" fmla="*/ 155 h 1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155">
                <a:moveTo>
                  <a:pt x="58" y="0"/>
                </a:moveTo>
                <a:lnTo>
                  <a:pt x="76" y="11"/>
                </a:lnTo>
                <a:lnTo>
                  <a:pt x="74" y="31"/>
                </a:lnTo>
                <a:lnTo>
                  <a:pt x="58" y="89"/>
                </a:lnTo>
                <a:lnTo>
                  <a:pt x="36" y="132"/>
                </a:lnTo>
                <a:lnTo>
                  <a:pt x="31" y="155"/>
                </a:lnTo>
                <a:lnTo>
                  <a:pt x="20" y="133"/>
                </a:lnTo>
                <a:lnTo>
                  <a:pt x="5" y="115"/>
                </a:lnTo>
                <a:lnTo>
                  <a:pt x="0" y="79"/>
                </a:lnTo>
                <a:lnTo>
                  <a:pt x="7" y="59"/>
                </a:lnTo>
                <a:lnTo>
                  <a:pt x="37" y="13"/>
                </a:lnTo>
                <a:lnTo>
                  <a:pt x="58" y="0"/>
                </a:lnTo>
                <a:close/>
              </a:path>
            </a:pathLst>
          </a:custGeom>
          <a:solidFill>
            <a:schemeClr val="accent1"/>
          </a:solidFill>
          <a:ln w="6350">
            <a:solidFill>
              <a:schemeClr val="tx2"/>
            </a:solidFill>
            <a:round/>
            <a:headEnd/>
            <a:tailEnd/>
          </a:ln>
        </p:spPr>
        <p:txBody>
          <a:bodyPr/>
          <a:lstStyle/>
          <a:p>
            <a:endParaRPr lang="en-US"/>
          </a:p>
        </p:txBody>
      </p:sp>
      <p:sp>
        <p:nvSpPr>
          <p:cNvPr id="370" name="Freeform 1675"/>
          <p:cNvSpPr>
            <a:spLocks/>
          </p:cNvSpPr>
          <p:nvPr/>
        </p:nvSpPr>
        <p:spPr bwMode="auto">
          <a:xfrm>
            <a:off x="8330345" y="3798126"/>
            <a:ext cx="0" cy="2547"/>
          </a:xfrm>
          <a:custGeom>
            <a:avLst/>
            <a:gdLst>
              <a:gd name="T0" fmla="*/ 0 w 5"/>
              <a:gd name="T1" fmla="*/ 0 h 7"/>
              <a:gd name="T2" fmla="*/ 0 w 5"/>
              <a:gd name="T3" fmla="*/ 2147483647 h 7"/>
              <a:gd name="T4" fmla="*/ 0 w 5"/>
              <a:gd name="T5" fmla="*/ 2147483647 h 7"/>
              <a:gd name="T6" fmla="*/ 0 w 5"/>
              <a:gd name="T7" fmla="*/ 0 h 7"/>
              <a:gd name="T8" fmla="*/ 0 60000 65536"/>
              <a:gd name="T9" fmla="*/ 0 60000 65536"/>
              <a:gd name="T10" fmla="*/ 0 60000 65536"/>
              <a:gd name="T11" fmla="*/ 0 60000 65536"/>
              <a:gd name="T12" fmla="*/ 0 w 5"/>
              <a:gd name="T13" fmla="*/ 0 h 7"/>
              <a:gd name="T14" fmla="*/ 0 w 5"/>
              <a:gd name="T15" fmla="*/ 7 h 7"/>
            </a:gdLst>
            <a:ahLst/>
            <a:cxnLst>
              <a:cxn ang="T8">
                <a:pos x="T0" y="T1"/>
              </a:cxn>
              <a:cxn ang="T9">
                <a:pos x="T2" y="T3"/>
              </a:cxn>
              <a:cxn ang="T10">
                <a:pos x="T4" y="T5"/>
              </a:cxn>
              <a:cxn ang="T11">
                <a:pos x="T6" y="T7"/>
              </a:cxn>
            </a:cxnLst>
            <a:rect l="T12" t="T13" r="T14" b="T15"/>
            <a:pathLst>
              <a:path w="5" h="7">
                <a:moveTo>
                  <a:pt x="0" y="0"/>
                </a:moveTo>
                <a:lnTo>
                  <a:pt x="5" y="5"/>
                </a:lnTo>
                <a:lnTo>
                  <a:pt x="0" y="7"/>
                </a:lnTo>
                <a:lnTo>
                  <a:pt x="0" y="0"/>
                </a:lnTo>
                <a:close/>
              </a:path>
            </a:pathLst>
          </a:custGeom>
          <a:solidFill>
            <a:schemeClr val="accent1"/>
          </a:solidFill>
          <a:ln w="6350">
            <a:solidFill>
              <a:schemeClr val="tx2"/>
            </a:solidFill>
            <a:round/>
            <a:headEnd/>
            <a:tailEnd/>
          </a:ln>
        </p:spPr>
        <p:txBody>
          <a:bodyPr/>
          <a:lstStyle/>
          <a:p>
            <a:endParaRPr lang="en-US"/>
          </a:p>
        </p:txBody>
      </p:sp>
      <p:sp>
        <p:nvSpPr>
          <p:cNvPr id="371" name="Freeform 1676"/>
          <p:cNvSpPr>
            <a:spLocks/>
          </p:cNvSpPr>
          <p:nvPr/>
        </p:nvSpPr>
        <p:spPr bwMode="auto">
          <a:xfrm>
            <a:off x="8336078" y="3796852"/>
            <a:ext cx="2866" cy="2547"/>
          </a:xfrm>
          <a:custGeom>
            <a:avLst/>
            <a:gdLst>
              <a:gd name="T0" fmla="*/ 0 w 6"/>
              <a:gd name="T1" fmla="*/ 2147483647 h 8"/>
              <a:gd name="T2" fmla="*/ 2147483647 w 6"/>
              <a:gd name="T3" fmla="*/ 0 h 8"/>
              <a:gd name="T4" fmla="*/ 2147483647 w 6"/>
              <a:gd name="T5" fmla="*/ 2147483647 h 8"/>
              <a:gd name="T6" fmla="*/ 2147483647 w 6"/>
              <a:gd name="T7" fmla="*/ 2147483647 h 8"/>
              <a:gd name="T8" fmla="*/ 0 w 6"/>
              <a:gd name="T9" fmla="*/ 2147483647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5"/>
                </a:moveTo>
                <a:lnTo>
                  <a:pt x="6" y="0"/>
                </a:lnTo>
                <a:lnTo>
                  <a:pt x="5" y="6"/>
                </a:lnTo>
                <a:lnTo>
                  <a:pt x="1" y="8"/>
                </a:lnTo>
                <a:lnTo>
                  <a:pt x="0" y="5"/>
                </a:lnTo>
                <a:close/>
              </a:path>
            </a:pathLst>
          </a:custGeom>
          <a:solidFill>
            <a:schemeClr val="accent1"/>
          </a:solidFill>
          <a:ln w="6350">
            <a:solidFill>
              <a:schemeClr val="tx2"/>
            </a:solidFill>
            <a:round/>
            <a:headEnd/>
            <a:tailEnd/>
          </a:ln>
        </p:spPr>
        <p:txBody>
          <a:bodyPr/>
          <a:lstStyle/>
          <a:p>
            <a:endParaRPr lang="en-US"/>
          </a:p>
        </p:txBody>
      </p:sp>
      <p:sp>
        <p:nvSpPr>
          <p:cNvPr id="372" name="Freeform 1677"/>
          <p:cNvSpPr>
            <a:spLocks/>
          </p:cNvSpPr>
          <p:nvPr/>
        </p:nvSpPr>
        <p:spPr bwMode="auto">
          <a:xfrm>
            <a:off x="8407746" y="3751001"/>
            <a:ext cx="14334" cy="14011"/>
          </a:xfrm>
          <a:custGeom>
            <a:avLst/>
            <a:gdLst>
              <a:gd name="T0" fmla="*/ 2147483647 w 22"/>
              <a:gd name="T1" fmla="*/ 2147483647 h 34"/>
              <a:gd name="T2" fmla="*/ 2147483647 w 22"/>
              <a:gd name="T3" fmla="*/ 2147483647 h 34"/>
              <a:gd name="T4" fmla="*/ 2147483647 w 22"/>
              <a:gd name="T5" fmla="*/ 0 h 34"/>
              <a:gd name="T6" fmla="*/ 2147483647 w 22"/>
              <a:gd name="T7" fmla="*/ 2147483647 h 34"/>
              <a:gd name="T8" fmla="*/ 2147483647 w 22"/>
              <a:gd name="T9" fmla="*/ 2147483647 h 34"/>
              <a:gd name="T10" fmla="*/ 2147483647 w 22"/>
              <a:gd name="T11" fmla="*/ 2147483647 h 34"/>
              <a:gd name="T12" fmla="*/ 0 w 22"/>
              <a:gd name="T13" fmla="*/ 2147483647 h 34"/>
              <a:gd name="T14" fmla="*/ 2147483647 w 22"/>
              <a:gd name="T15" fmla="*/ 2147483647 h 34"/>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34"/>
              <a:gd name="T26" fmla="*/ 22 w 2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34">
                <a:moveTo>
                  <a:pt x="5" y="16"/>
                </a:moveTo>
                <a:lnTo>
                  <a:pt x="9" y="7"/>
                </a:lnTo>
                <a:lnTo>
                  <a:pt x="22" y="0"/>
                </a:lnTo>
                <a:lnTo>
                  <a:pt x="20" y="13"/>
                </a:lnTo>
                <a:lnTo>
                  <a:pt x="8" y="22"/>
                </a:lnTo>
                <a:lnTo>
                  <a:pt x="3" y="34"/>
                </a:lnTo>
                <a:lnTo>
                  <a:pt x="0" y="28"/>
                </a:lnTo>
                <a:lnTo>
                  <a:pt x="5" y="16"/>
                </a:lnTo>
                <a:close/>
              </a:path>
            </a:pathLst>
          </a:custGeom>
          <a:solidFill>
            <a:schemeClr val="accent1"/>
          </a:solidFill>
          <a:ln w="6350">
            <a:solidFill>
              <a:schemeClr val="tx2"/>
            </a:solidFill>
            <a:round/>
            <a:headEnd/>
            <a:tailEnd/>
          </a:ln>
        </p:spPr>
        <p:txBody>
          <a:bodyPr/>
          <a:lstStyle/>
          <a:p>
            <a:endParaRPr lang="en-US"/>
          </a:p>
        </p:txBody>
      </p:sp>
      <p:sp>
        <p:nvSpPr>
          <p:cNvPr id="373" name="Freeform 1678"/>
          <p:cNvSpPr>
            <a:spLocks/>
          </p:cNvSpPr>
          <p:nvPr/>
        </p:nvSpPr>
        <p:spPr bwMode="auto">
          <a:xfrm>
            <a:off x="8433545" y="3729348"/>
            <a:ext cx="2866" cy="2547"/>
          </a:xfrm>
          <a:custGeom>
            <a:avLst/>
            <a:gdLst>
              <a:gd name="T0" fmla="*/ 2147483647 w 2"/>
              <a:gd name="T1" fmla="*/ 2147483647 h 6"/>
              <a:gd name="T2" fmla="*/ 0 w 2"/>
              <a:gd name="T3" fmla="*/ 0 h 6"/>
              <a:gd name="T4" fmla="*/ 2147483647 w 2"/>
              <a:gd name="T5" fmla="*/ 2147483647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2" y="6"/>
                </a:moveTo>
                <a:lnTo>
                  <a:pt x="0" y="0"/>
                </a:lnTo>
                <a:lnTo>
                  <a:pt x="2" y="6"/>
                </a:lnTo>
                <a:close/>
              </a:path>
            </a:pathLst>
          </a:custGeom>
          <a:solidFill>
            <a:schemeClr val="accent1"/>
          </a:solidFill>
          <a:ln w="6350">
            <a:solidFill>
              <a:schemeClr val="tx2"/>
            </a:solidFill>
            <a:round/>
            <a:headEnd/>
            <a:tailEnd/>
          </a:ln>
        </p:spPr>
        <p:txBody>
          <a:bodyPr/>
          <a:lstStyle/>
          <a:p>
            <a:endParaRPr lang="en-US"/>
          </a:p>
        </p:txBody>
      </p:sp>
      <p:sp>
        <p:nvSpPr>
          <p:cNvPr id="374" name="Freeform 1679"/>
          <p:cNvSpPr>
            <a:spLocks/>
          </p:cNvSpPr>
          <p:nvPr/>
        </p:nvSpPr>
        <p:spPr bwMode="auto">
          <a:xfrm>
            <a:off x="8442146" y="3719160"/>
            <a:ext cx="7166" cy="3820"/>
          </a:xfrm>
          <a:custGeom>
            <a:avLst/>
            <a:gdLst>
              <a:gd name="T0" fmla="*/ 2147483647 w 15"/>
              <a:gd name="T1" fmla="*/ 2147483647 h 14"/>
              <a:gd name="T2" fmla="*/ 2147483647 w 15"/>
              <a:gd name="T3" fmla="*/ 0 h 14"/>
              <a:gd name="T4" fmla="*/ 2147483647 w 15"/>
              <a:gd name="T5" fmla="*/ 2147483647 h 14"/>
              <a:gd name="T6" fmla="*/ 0 w 15"/>
              <a:gd name="T7" fmla="*/ 2147483647 h 14"/>
              <a:gd name="T8" fmla="*/ 2147483647 w 15"/>
              <a:gd name="T9" fmla="*/ 2147483647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5" y="3"/>
                </a:moveTo>
                <a:lnTo>
                  <a:pt x="15" y="0"/>
                </a:lnTo>
                <a:lnTo>
                  <a:pt x="3" y="14"/>
                </a:lnTo>
                <a:lnTo>
                  <a:pt x="0" y="7"/>
                </a:lnTo>
                <a:lnTo>
                  <a:pt x="5" y="3"/>
                </a:lnTo>
                <a:close/>
              </a:path>
            </a:pathLst>
          </a:custGeom>
          <a:solidFill>
            <a:schemeClr val="accent1"/>
          </a:solidFill>
          <a:ln w="6350">
            <a:solidFill>
              <a:schemeClr val="tx2"/>
            </a:solidFill>
            <a:round/>
            <a:headEnd/>
            <a:tailEnd/>
          </a:ln>
        </p:spPr>
        <p:txBody>
          <a:bodyPr/>
          <a:lstStyle/>
          <a:p>
            <a:endParaRPr lang="en-US"/>
          </a:p>
        </p:txBody>
      </p:sp>
      <p:sp>
        <p:nvSpPr>
          <p:cNvPr id="375" name="Freeform 1680"/>
          <p:cNvSpPr>
            <a:spLocks/>
          </p:cNvSpPr>
          <p:nvPr/>
        </p:nvSpPr>
        <p:spPr bwMode="auto">
          <a:xfrm>
            <a:off x="8361879" y="3791758"/>
            <a:ext cx="2866" cy="1274"/>
          </a:xfrm>
          <a:custGeom>
            <a:avLst/>
            <a:gdLst>
              <a:gd name="T0" fmla="*/ 0 w 6"/>
              <a:gd name="T1" fmla="*/ 0 h 7"/>
              <a:gd name="T2" fmla="*/ 2147483647 w 6"/>
              <a:gd name="T3" fmla="*/ 2147483647 h 7"/>
              <a:gd name="T4" fmla="*/ 2147483647 w 6"/>
              <a:gd name="T5" fmla="*/ 2147483647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5"/>
                </a:lnTo>
                <a:lnTo>
                  <a:pt x="2" y="7"/>
                </a:lnTo>
                <a:lnTo>
                  <a:pt x="0" y="0"/>
                </a:lnTo>
                <a:close/>
              </a:path>
            </a:pathLst>
          </a:custGeom>
          <a:solidFill>
            <a:schemeClr val="accent1"/>
          </a:solidFill>
          <a:ln w="6350">
            <a:solidFill>
              <a:schemeClr val="tx2"/>
            </a:solidFill>
            <a:round/>
            <a:headEnd/>
            <a:tailEnd/>
          </a:ln>
        </p:spPr>
        <p:txBody>
          <a:bodyPr/>
          <a:lstStyle/>
          <a:p>
            <a:endParaRPr lang="en-US"/>
          </a:p>
        </p:txBody>
      </p:sp>
      <p:sp>
        <p:nvSpPr>
          <p:cNvPr id="376" name="Freeform 1681"/>
          <p:cNvSpPr>
            <a:spLocks/>
          </p:cNvSpPr>
          <p:nvPr/>
        </p:nvSpPr>
        <p:spPr bwMode="auto">
          <a:xfrm>
            <a:off x="9310749" y="3128183"/>
            <a:ext cx="20066" cy="7642"/>
          </a:xfrm>
          <a:custGeom>
            <a:avLst/>
            <a:gdLst>
              <a:gd name="T0" fmla="*/ 0 w 36"/>
              <a:gd name="T1" fmla="*/ 2147483647 h 17"/>
              <a:gd name="T2" fmla="*/ 2147483647 w 36"/>
              <a:gd name="T3" fmla="*/ 0 h 17"/>
              <a:gd name="T4" fmla="*/ 2147483647 w 36"/>
              <a:gd name="T5" fmla="*/ 2147483647 h 17"/>
              <a:gd name="T6" fmla="*/ 2147483647 w 36"/>
              <a:gd name="T7" fmla="*/ 2147483647 h 17"/>
              <a:gd name="T8" fmla="*/ 2147483647 w 36"/>
              <a:gd name="T9" fmla="*/ 2147483647 h 17"/>
              <a:gd name="T10" fmla="*/ 0 w 36"/>
              <a:gd name="T11" fmla="*/ 2147483647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0" y="5"/>
                </a:moveTo>
                <a:lnTo>
                  <a:pt x="20" y="0"/>
                </a:lnTo>
                <a:lnTo>
                  <a:pt x="36" y="9"/>
                </a:lnTo>
                <a:lnTo>
                  <a:pt x="20" y="17"/>
                </a:lnTo>
                <a:lnTo>
                  <a:pt x="15" y="7"/>
                </a:lnTo>
                <a:lnTo>
                  <a:pt x="0" y="5"/>
                </a:lnTo>
                <a:close/>
              </a:path>
            </a:pathLst>
          </a:custGeom>
          <a:solidFill>
            <a:schemeClr val="accent1"/>
          </a:solidFill>
          <a:ln w="6350">
            <a:solidFill>
              <a:schemeClr val="tx2"/>
            </a:solidFill>
            <a:round/>
            <a:headEnd/>
            <a:tailEnd/>
          </a:ln>
        </p:spPr>
        <p:txBody>
          <a:bodyPr/>
          <a:lstStyle/>
          <a:p>
            <a:endParaRPr lang="en-US"/>
          </a:p>
        </p:txBody>
      </p:sp>
      <p:sp>
        <p:nvSpPr>
          <p:cNvPr id="377" name="Freeform 1682"/>
          <p:cNvSpPr>
            <a:spLocks/>
          </p:cNvSpPr>
          <p:nvPr/>
        </p:nvSpPr>
        <p:spPr bwMode="auto">
          <a:xfrm>
            <a:off x="9438315" y="3166393"/>
            <a:ext cx="15767" cy="8915"/>
          </a:xfrm>
          <a:custGeom>
            <a:avLst/>
            <a:gdLst>
              <a:gd name="T0" fmla="*/ 0 w 33"/>
              <a:gd name="T1" fmla="*/ 0 h 19"/>
              <a:gd name="T2" fmla="*/ 2147483647 w 33"/>
              <a:gd name="T3" fmla="*/ 2147483647 h 19"/>
              <a:gd name="T4" fmla="*/ 2147483647 w 33"/>
              <a:gd name="T5" fmla="*/ 2147483647 h 19"/>
              <a:gd name="T6" fmla="*/ 0 w 33"/>
              <a:gd name="T7" fmla="*/ 0 h 19"/>
              <a:gd name="T8" fmla="*/ 0 60000 65536"/>
              <a:gd name="T9" fmla="*/ 0 60000 65536"/>
              <a:gd name="T10" fmla="*/ 0 60000 65536"/>
              <a:gd name="T11" fmla="*/ 0 60000 65536"/>
              <a:gd name="T12" fmla="*/ 0 w 33"/>
              <a:gd name="T13" fmla="*/ 0 h 19"/>
              <a:gd name="T14" fmla="*/ 33 w 33"/>
              <a:gd name="T15" fmla="*/ 19 h 19"/>
            </a:gdLst>
            <a:ahLst/>
            <a:cxnLst>
              <a:cxn ang="T8">
                <a:pos x="T0" y="T1"/>
              </a:cxn>
              <a:cxn ang="T9">
                <a:pos x="T2" y="T3"/>
              </a:cxn>
              <a:cxn ang="T10">
                <a:pos x="T4" y="T5"/>
              </a:cxn>
              <a:cxn ang="T11">
                <a:pos x="T6" y="T7"/>
              </a:cxn>
            </a:cxnLst>
            <a:rect l="T12" t="T13" r="T14" b="T15"/>
            <a:pathLst>
              <a:path w="33" h="19">
                <a:moveTo>
                  <a:pt x="0" y="0"/>
                </a:moveTo>
                <a:lnTo>
                  <a:pt x="33" y="19"/>
                </a:lnTo>
                <a:lnTo>
                  <a:pt x="23" y="18"/>
                </a:lnTo>
                <a:lnTo>
                  <a:pt x="0" y="0"/>
                </a:lnTo>
                <a:close/>
              </a:path>
            </a:pathLst>
          </a:custGeom>
          <a:solidFill>
            <a:schemeClr val="accent1"/>
          </a:solidFill>
          <a:ln w="6350">
            <a:solidFill>
              <a:schemeClr val="tx2"/>
            </a:solidFill>
            <a:round/>
            <a:headEnd/>
            <a:tailEnd/>
          </a:ln>
        </p:spPr>
        <p:txBody>
          <a:bodyPr/>
          <a:lstStyle/>
          <a:p>
            <a:endParaRPr lang="en-US"/>
          </a:p>
        </p:txBody>
      </p:sp>
      <p:sp>
        <p:nvSpPr>
          <p:cNvPr id="378" name="Freeform 1683"/>
          <p:cNvSpPr>
            <a:spLocks/>
          </p:cNvSpPr>
          <p:nvPr/>
        </p:nvSpPr>
        <p:spPr bwMode="auto">
          <a:xfrm>
            <a:off x="7754143" y="2078690"/>
            <a:ext cx="25800" cy="11462"/>
          </a:xfrm>
          <a:custGeom>
            <a:avLst/>
            <a:gdLst>
              <a:gd name="T0" fmla="*/ 2147483647 w 57"/>
              <a:gd name="T1" fmla="*/ 2147483647 h 26"/>
              <a:gd name="T2" fmla="*/ 0 w 57"/>
              <a:gd name="T3" fmla="*/ 2147483647 h 26"/>
              <a:gd name="T4" fmla="*/ 2147483647 w 57"/>
              <a:gd name="T5" fmla="*/ 0 h 26"/>
              <a:gd name="T6" fmla="*/ 2147483647 w 57"/>
              <a:gd name="T7" fmla="*/ 2147483647 h 26"/>
              <a:gd name="T8" fmla="*/ 2147483647 w 57"/>
              <a:gd name="T9" fmla="*/ 2147483647 h 26"/>
              <a:gd name="T10" fmla="*/ 2147483647 w 57"/>
              <a:gd name="T11" fmla="*/ 2147483647 h 26"/>
              <a:gd name="T12" fmla="*/ 0 60000 65536"/>
              <a:gd name="T13" fmla="*/ 0 60000 65536"/>
              <a:gd name="T14" fmla="*/ 0 60000 65536"/>
              <a:gd name="T15" fmla="*/ 0 60000 65536"/>
              <a:gd name="T16" fmla="*/ 0 60000 65536"/>
              <a:gd name="T17" fmla="*/ 0 60000 65536"/>
              <a:gd name="T18" fmla="*/ 0 w 57"/>
              <a:gd name="T19" fmla="*/ 0 h 26"/>
              <a:gd name="T20" fmla="*/ 57 w 5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7" h="26">
                <a:moveTo>
                  <a:pt x="45" y="26"/>
                </a:moveTo>
                <a:lnTo>
                  <a:pt x="0" y="4"/>
                </a:lnTo>
                <a:lnTo>
                  <a:pt x="50" y="0"/>
                </a:lnTo>
                <a:lnTo>
                  <a:pt x="57" y="9"/>
                </a:lnTo>
                <a:lnTo>
                  <a:pt x="55" y="21"/>
                </a:lnTo>
                <a:lnTo>
                  <a:pt x="45" y="26"/>
                </a:lnTo>
                <a:close/>
              </a:path>
            </a:pathLst>
          </a:custGeom>
          <a:solidFill>
            <a:schemeClr val="accent1"/>
          </a:solidFill>
          <a:ln w="6350">
            <a:solidFill>
              <a:schemeClr val="tx2"/>
            </a:solidFill>
            <a:round/>
            <a:headEnd/>
            <a:tailEnd/>
          </a:ln>
        </p:spPr>
        <p:txBody>
          <a:bodyPr/>
          <a:lstStyle/>
          <a:p>
            <a:endParaRPr lang="en-US"/>
          </a:p>
        </p:txBody>
      </p:sp>
      <p:sp>
        <p:nvSpPr>
          <p:cNvPr id="379" name="Freeform 1684"/>
          <p:cNvSpPr>
            <a:spLocks/>
          </p:cNvSpPr>
          <p:nvPr/>
        </p:nvSpPr>
        <p:spPr bwMode="auto">
          <a:xfrm>
            <a:off x="7751277" y="2011186"/>
            <a:ext cx="25800" cy="21653"/>
          </a:xfrm>
          <a:custGeom>
            <a:avLst/>
            <a:gdLst>
              <a:gd name="T0" fmla="*/ 2147483647 w 53"/>
              <a:gd name="T1" fmla="*/ 2147483647 h 53"/>
              <a:gd name="T2" fmla="*/ 2147483647 w 53"/>
              <a:gd name="T3" fmla="*/ 2147483647 h 53"/>
              <a:gd name="T4" fmla="*/ 2147483647 w 53"/>
              <a:gd name="T5" fmla="*/ 2147483647 h 53"/>
              <a:gd name="T6" fmla="*/ 0 w 53"/>
              <a:gd name="T7" fmla="*/ 2147483647 h 53"/>
              <a:gd name="T8" fmla="*/ 2147483647 w 53"/>
              <a:gd name="T9" fmla="*/ 0 h 53"/>
              <a:gd name="T10" fmla="*/ 2147483647 w 53"/>
              <a:gd name="T11" fmla="*/ 2147483647 h 53"/>
              <a:gd name="T12" fmla="*/ 2147483647 w 53"/>
              <a:gd name="T13" fmla="*/ 2147483647 h 53"/>
              <a:gd name="T14" fmla="*/ 0 60000 65536"/>
              <a:gd name="T15" fmla="*/ 0 60000 65536"/>
              <a:gd name="T16" fmla="*/ 0 60000 65536"/>
              <a:gd name="T17" fmla="*/ 0 60000 65536"/>
              <a:gd name="T18" fmla="*/ 0 60000 65536"/>
              <a:gd name="T19" fmla="*/ 0 60000 65536"/>
              <a:gd name="T20" fmla="*/ 0 60000 65536"/>
              <a:gd name="T21" fmla="*/ 0 w 53"/>
              <a:gd name="T22" fmla="*/ 0 h 53"/>
              <a:gd name="T23" fmla="*/ 53 w 53"/>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3">
                <a:moveTo>
                  <a:pt x="49" y="27"/>
                </a:moveTo>
                <a:lnTo>
                  <a:pt x="24" y="53"/>
                </a:lnTo>
                <a:lnTo>
                  <a:pt x="29" y="36"/>
                </a:lnTo>
                <a:lnTo>
                  <a:pt x="0" y="43"/>
                </a:lnTo>
                <a:lnTo>
                  <a:pt x="48" y="0"/>
                </a:lnTo>
                <a:lnTo>
                  <a:pt x="53" y="10"/>
                </a:lnTo>
                <a:lnTo>
                  <a:pt x="49" y="27"/>
                </a:lnTo>
                <a:close/>
              </a:path>
            </a:pathLst>
          </a:custGeom>
          <a:solidFill>
            <a:schemeClr val="accent1"/>
          </a:solidFill>
          <a:ln w="6350">
            <a:solidFill>
              <a:schemeClr val="tx2"/>
            </a:solidFill>
            <a:round/>
            <a:headEnd/>
            <a:tailEnd/>
          </a:ln>
        </p:spPr>
        <p:txBody>
          <a:bodyPr/>
          <a:lstStyle/>
          <a:p>
            <a:endParaRPr lang="en-US"/>
          </a:p>
        </p:txBody>
      </p:sp>
      <p:sp>
        <p:nvSpPr>
          <p:cNvPr id="380" name="Freeform 1685"/>
          <p:cNvSpPr>
            <a:spLocks/>
          </p:cNvSpPr>
          <p:nvPr/>
        </p:nvSpPr>
        <p:spPr bwMode="auto">
          <a:xfrm>
            <a:off x="8083810" y="2202235"/>
            <a:ext cx="35834" cy="29294"/>
          </a:xfrm>
          <a:custGeom>
            <a:avLst/>
            <a:gdLst>
              <a:gd name="T0" fmla="*/ 2147483647 w 79"/>
              <a:gd name="T1" fmla="*/ 2147483647 h 71"/>
              <a:gd name="T2" fmla="*/ 2147483647 w 79"/>
              <a:gd name="T3" fmla="*/ 2147483647 h 71"/>
              <a:gd name="T4" fmla="*/ 2147483647 w 79"/>
              <a:gd name="T5" fmla="*/ 2147483647 h 71"/>
              <a:gd name="T6" fmla="*/ 2147483647 w 79"/>
              <a:gd name="T7" fmla="*/ 2147483647 h 71"/>
              <a:gd name="T8" fmla="*/ 0 w 79"/>
              <a:gd name="T9" fmla="*/ 2147483647 h 71"/>
              <a:gd name="T10" fmla="*/ 2147483647 w 79"/>
              <a:gd name="T11" fmla="*/ 2147483647 h 71"/>
              <a:gd name="T12" fmla="*/ 2147483647 w 79"/>
              <a:gd name="T13" fmla="*/ 0 h 71"/>
              <a:gd name="T14" fmla="*/ 2147483647 w 79"/>
              <a:gd name="T15" fmla="*/ 2147483647 h 71"/>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71"/>
              <a:gd name="T26" fmla="*/ 79 w 79"/>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71">
                <a:moveTo>
                  <a:pt x="66" y="5"/>
                </a:moveTo>
                <a:lnTo>
                  <a:pt x="78" y="13"/>
                </a:lnTo>
                <a:lnTo>
                  <a:pt x="79" y="37"/>
                </a:lnTo>
                <a:lnTo>
                  <a:pt x="56" y="71"/>
                </a:lnTo>
                <a:lnTo>
                  <a:pt x="0" y="37"/>
                </a:lnTo>
                <a:lnTo>
                  <a:pt x="19" y="29"/>
                </a:lnTo>
                <a:lnTo>
                  <a:pt x="22" y="0"/>
                </a:lnTo>
                <a:lnTo>
                  <a:pt x="66" y="5"/>
                </a:lnTo>
                <a:close/>
              </a:path>
            </a:pathLst>
          </a:custGeom>
          <a:solidFill>
            <a:schemeClr val="accent1"/>
          </a:solidFill>
          <a:ln w="6350">
            <a:solidFill>
              <a:schemeClr val="tx2"/>
            </a:solidFill>
            <a:round/>
            <a:headEnd/>
            <a:tailEnd/>
          </a:ln>
        </p:spPr>
        <p:txBody>
          <a:bodyPr/>
          <a:lstStyle/>
          <a:p>
            <a:endParaRPr lang="en-US"/>
          </a:p>
        </p:txBody>
      </p:sp>
      <p:sp>
        <p:nvSpPr>
          <p:cNvPr id="381" name="Freeform 1686"/>
          <p:cNvSpPr>
            <a:spLocks/>
          </p:cNvSpPr>
          <p:nvPr/>
        </p:nvSpPr>
        <p:spPr bwMode="auto">
          <a:xfrm>
            <a:off x="8566845" y="2222613"/>
            <a:ext cx="15767" cy="21653"/>
          </a:xfrm>
          <a:custGeom>
            <a:avLst/>
            <a:gdLst>
              <a:gd name="T0" fmla="*/ 2147483647 w 35"/>
              <a:gd name="T1" fmla="*/ 2147483647 h 54"/>
              <a:gd name="T2" fmla="*/ 2147483647 w 35"/>
              <a:gd name="T3" fmla="*/ 2147483647 h 54"/>
              <a:gd name="T4" fmla="*/ 2147483647 w 35"/>
              <a:gd name="T5" fmla="*/ 2147483647 h 54"/>
              <a:gd name="T6" fmla="*/ 0 w 35"/>
              <a:gd name="T7" fmla="*/ 0 h 54"/>
              <a:gd name="T8" fmla="*/ 2147483647 w 35"/>
              <a:gd name="T9" fmla="*/ 2147483647 h 54"/>
              <a:gd name="T10" fmla="*/ 0 60000 65536"/>
              <a:gd name="T11" fmla="*/ 0 60000 65536"/>
              <a:gd name="T12" fmla="*/ 0 60000 65536"/>
              <a:gd name="T13" fmla="*/ 0 60000 65536"/>
              <a:gd name="T14" fmla="*/ 0 60000 65536"/>
              <a:gd name="T15" fmla="*/ 0 w 35"/>
              <a:gd name="T16" fmla="*/ 0 h 54"/>
              <a:gd name="T17" fmla="*/ 35 w 35"/>
              <a:gd name="T18" fmla="*/ 54 h 54"/>
            </a:gdLst>
            <a:ahLst/>
            <a:cxnLst>
              <a:cxn ang="T10">
                <a:pos x="T0" y="T1"/>
              </a:cxn>
              <a:cxn ang="T11">
                <a:pos x="T2" y="T3"/>
              </a:cxn>
              <a:cxn ang="T12">
                <a:pos x="T4" y="T5"/>
              </a:cxn>
              <a:cxn ang="T13">
                <a:pos x="T6" y="T7"/>
              </a:cxn>
              <a:cxn ang="T14">
                <a:pos x="T8" y="T9"/>
              </a:cxn>
            </a:cxnLst>
            <a:rect l="T15" t="T16" r="T17" b="T18"/>
            <a:pathLst>
              <a:path w="35" h="54">
                <a:moveTo>
                  <a:pt x="25" y="28"/>
                </a:moveTo>
                <a:lnTo>
                  <a:pt x="35" y="45"/>
                </a:lnTo>
                <a:lnTo>
                  <a:pt x="28" y="54"/>
                </a:lnTo>
                <a:lnTo>
                  <a:pt x="0" y="0"/>
                </a:lnTo>
                <a:lnTo>
                  <a:pt x="25" y="28"/>
                </a:lnTo>
                <a:close/>
              </a:path>
            </a:pathLst>
          </a:custGeom>
          <a:solidFill>
            <a:schemeClr val="accent1"/>
          </a:solidFill>
          <a:ln w="6350">
            <a:solidFill>
              <a:schemeClr val="tx2"/>
            </a:solidFill>
            <a:round/>
            <a:headEnd/>
            <a:tailEnd/>
          </a:ln>
        </p:spPr>
        <p:txBody>
          <a:bodyPr/>
          <a:lstStyle/>
          <a:p>
            <a:endParaRPr lang="en-US"/>
          </a:p>
        </p:txBody>
      </p:sp>
      <p:sp>
        <p:nvSpPr>
          <p:cNvPr id="382" name="Freeform 1687"/>
          <p:cNvSpPr>
            <a:spLocks/>
          </p:cNvSpPr>
          <p:nvPr/>
        </p:nvSpPr>
        <p:spPr bwMode="auto">
          <a:xfrm>
            <a:off x="8566845" y="2109258"/>
            <a:ext cx="10034" cy="36935"/>
          </a:xfrm>
          <a:custGeom>
            <a:avLst/>
            <a:gdLst>
              <a:gd name="T0" fmla="*/ 2147483647 w 24"/>
              <a:gd name="T1" fmla="*/ 2147483647 h 87"/>
              <a:gd name="T2" fmla="*/ 2147483647 w 24"/>
              <a:gd name="T3" fmla="*/ 2147483647 h 87"/>
              <a:gd name="T4" fmla="*/ 0 w 24"/>
              <a:gd name="T5" fmla="*/ 2147483647 h 87"/>
              <a:gd name="T6" fmla="*/ 2147483647 w 24"/>
              <a:gd name="T7" fmla="*/ 0 h 87"/>
              <a:gd name="T8" fmla="*/ 2147483647 w 24"/>
              <a:gd name="T9" fmla="*/ 2147483647 h 87"/>
              <a:gd name="T10" fmla="*/ 2147483647 w 24"/>
              <a:gd name="T11" fmla="*/ 2147483647 h 87"/>
              <a:gd name="T12" fmla="*/ 0 60000 65536"/>
              <a:gd name="T13" fmla="*/ 0 60000 65536"/>
              <a:gd name="T14" fmla="*/ 0 60000 65536"/>
              <a:gd name="T15" fmla="*/ 0 60000 65536"/>
              <a:gd name="T16" fmla="*/ 0 60000 65536"/>
              <a:gd name="T17" fmla="*/ 0 60000 65536"/>
              <a:gd name="T18" fmla="*/ 0 w 24"/>
              <a:gd name="T19" fmla="*/ 0 h 87"/>
              <a:gd name="T20" fmla="*/ 24 w 24"/>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24" h="87">
                <a:moveTo>
                  <a:pt x="18" y="52"/>
                </a:moveTo>
                <a:lnTo>
                  <a:pt x="13" y="87"/>
                </a:lnTo>
                <a:lnTo>
                  <a:pt x="0" y="73"/>
                </a:lnTo>
                <a:lnTo>
                  <a:pt x="4" y="0"/>
                </a:lnTo>
                <a:lnTo>
                  <a:pt x="24" y="40"/>
                </a:lnTo>
                <a:lnTo>
                  <a:pt x="18" y="52"/>
                </a:lnTo>
                <a:close/>
              </a:path>
            </a:pathLst>
          </a:custGeom>
          <a:solidFill>
            <a:schemeClr val="accent1"/>
          </a:solidFill>
          <a:ln w="6350">
            <a:solidFill>
              <a:schemeClr val="tx2"/>
            </a:solidFill>
            <a:round/>
            <a:headEnd/>
            <a:tailEnd/>
          </a:ln>
        </p:spPr>
        <p:txBody>
          <a:bodyPr/>
          <a:lstStyle/>
          <a:p>
            <a:endParaRPr lang="en-US"/>
          </a:p>
        </p:txBody>
      </p:sp>
      <p:sp>
        <p:nvSpPr>
          <p:cNvPr id="383" name="Freeform 1688"/>
          <p:cNvSpPr>
            <a:spLocks/>
          </p:cNvSpPr>
          <p:nvPr/>
        </p:nvSpPr>
        <p:spPr bwMode="auto">
          <a:xfrm>
            <a:off x="8591213" y="2082511"/>
            <a:ext cx="134734" cy="108261"/>
          </a:xfrm>
          <a:custGeom>
            <a:avLst/>
            <a:gdLst>
              <a:gd name="T0" fmla="*/ 2147483647 w 287"/>
              <a:gd name="T1" fmla="*/ 2147483647 h 261"/>
              <a:gd name="T2" fmla="*/ 2147483647 w 287"/>
              <a:gd name="T3" fmla="*/ 2147483647 h 261"/>
              <a:gd name="T4" fmla="*/ 2147483647 w 287"/>
              <a:gd name="T5" fmla="*/ 2147483647 h 261"/>
              <a:gd name="T6" fmla="*/ 2147483647 w 287"/>
              <a:gd name="T7" fmla="*/ 2147483647 h 261"/>
              <a:gd name="T8" fmla="*/ 2147483647 w 287"/>
              <a:gd name="T9" fmla="*/ 2147483647 h 261"/>
              <a:gd name="T10" fmla="*/ 2147483647 w 287"/>
              <a:gd name="T11" fmla="*/ 2147483647 h 261"/>
              <a:gd name="T12" fmla="*/ 2147483647 w 287"/>
              <a:gd name="T13" fmla="*/ 2147483647 h 261"/>
              <a:gd name="T14" fmla="*/ 2147483647 w 287"/>
              <a:gd name="T15" fmla="*/ 2147483647 h 261"/>
              <a:gd name="T16" fmla="*/ 2147483647 w 287"/>
              <a:gd name="T17" fmla="*/ 2147483647 h 261"/>
              <a:gd name="T18" fmla="*/ 2147483647 w 287"/>
              <a:gd name="T19" fmla="*/ 2147483647 h 261"/>
              <a:gd name="T20" fmla="*/ 2147483647 w 287"/>
              <a:gd name="T21" fmla="*/ 2147483647 h 261"/>
              <a:gd name="T22" fmla="*/ 2147483647 w 287"/>
              <a:gd name="T23" fmla="*/ 2147483647 h 261"/>
              <a:gd name="T24" fmla="*/ 2147483647 w 287"/>
              <a:gd name="T25" fmla="*/ 2147483647 h 261"/>
              <a:gd name="T26" fmla="*/ 2147483647 w 287"/>
              <a:gd name="T27" fmla="*/ 2147483647 h 261"/>
              <a:gd name="T28" fmla="*/ 2147483647 w 287"/>
              <a:gd name="T29" fmla="*/ 2147483647 h 261"/>
              <a:gd name="T30" fmla="*/ 2147483647 w 287"/>
              <a:gd name="T31" fmla="*/ 2147483647 h 261"/>
              <a:gd name="T32" fmla="*/ 2147483647 w 287"/>
              <a:gd name="T33" fmla="*/ 2147483647 h 261"/>
              <a:gd name="T34" fmla="*/ 2147483647 w 287"/>
              <a:gd name="T35" fmla="*/ 2147483647 h 261"/>
              <a:gd name="T36" fmla="*/ 2147483647 w 287"/>
              <a:gd name="T37" fmla="*/ 2147483647 h 261"/>
              <a:gd name="T38" fmla="*/ 2147483647 w 287"/>
              <a:gd name="T39" fmla="*/ 2147483647 h 261"/>
              <a:gd name="T40" fmla="*/ 2147483647 w 287"/>
              <a:gd name="T41" fmla="*/ 2147483647 h 261"/>
              <a:gd name="T42" fmla="*/ 2147483647 w 287"/>
              <a:gd name="T43" fmla="*/ 2147483647 h 261"/>
              <a:gd name="T44" fmla="*/ 2147483647 w 287"/>
              <a:gd name="T45" fmla="*/ 2147483647 h 261"/>
              <a:gd name="T46" fmla="*/ 2147483647 w 287"/>
              <a:gd name="T47" fmla="*/ 2147483647 h 261"/>
              <a:gd name="T48" fmla="*/ 2147483647 w 287"/>
              <a:gd name="T49" fmla="*/ 2147483647 h 261"/>
              <a:gd name="T50" fmla="*/ 2147483647 w 287"/>
              <a:gd name="T51" fmla="*/ 2147483647 h 261"/>
              <a:gd name="T52" fmla="*/ 2147483647 w 287"/>
              <a:gd name="T53" fmla="*/ 2147483647 h 261"/>
              <a:gd name="T54" fmla="*/ 2147483647 w 287"/>
              <a:gd name="T55" fmla="*/ 2147483647 h 261"/>
              <a:gd name="T56" fmla="*/ 2147483647 w 287"/>
              <a:gd name="T57" fmla="*/ 2147483647 h 261"/>
              <a:gd name="T58" fmla="*/ 2147483647 w 287"/>
              <a:gd name="T59" fmla="*/ 2147483647 h 261"/>
              <a:gd name="T60" fmla="*/ 0 w 287"/>
              <a:gd name="T61" fmla="*/ 2147483647 h 261"/>
              <a:gd name="T62" fmla="*/ 2147483647 w 287"/>
              <a:gd name="T63" fmla="*/ 2147483647 h 261"/>
              <a:gd name="T64" fmla="*/ 2147483647 w 287"/>
              <a:gd name="T65" fmla="*/ 2147483647 h 261"/>
              <a:gd name="T66" fmla="*/ 2147483647 w 287"/>
              <a:gd name="T67" fmla="*/ 2147483647 h 261"/>
              <a:gd name="T68" fmla="*/ 2147483647 w 287"/>
              <a:gd name="T69" fmla="*/ 2147483647 h 261"/>
              <a:gd name="T70" fmla="*/ 2147483647 w 287"/>
              <a:gd name="T71" fmla="*/ 2147483647 h 261"/>
              <a:gd name="T72" fmla="*/ 2147483647 w 287"/>
              <a:gd name="T73" fmla="*/ 2147483647 h 261"/>
              <a:gd name="T74" fmla="*/ 2147483647 w 287"/>
              <a:gd name="T75" fmla="*/ 2147483647 h 261"/>
              <a:gd name="T76" fmla="*/ 2147483647 w 287"/>
              <a:gd name="T77" fmla="*/ 0 h 261"/>
              <a:gd name="T78" fmla="*/ 2147483647 w 287"/>
              <a:gd name="T79" fmla="*/ 2147483647 h 261"/>
              <a:gd name="T80" fmla="*/ 2147483647 w 287"/>
              <a:gd name="T81" fmla="*/ 2147483647 h 2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7"/>
              <a:gd name="T124" fmla="*/ 0 h 261"/>
              <a:gd name="T125" fmla="*/ 287 w 287"/>
              <a:gd name="T126" fmla="*/ 261 h 26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7" h="261">
                <a:moveTo>
                  <a:pt x="140" y="68"/>
                </a:moveTo>
                <a:lnTo>
                  <a:pt x="158" y="74"/>
                </a:lnTo>
                <a:lnTo>
                  <a:pt x="153" y="94"/>
                </a:lnTo>
                <a:lnTo>
                  <a:pt x="155" y="106"/>
                </a:lnTo>
                <a:lnTo>
                  <a:pt x="177" y="107"/>
                </a:lnTo>
                <a:lnTo>
                  <a:pt x="183" y="81"/>
                </a:lnTo>
                <a:lnTo>
                  <a:pt x="177" y="72"/>
                </a:lnTo>
                <a:lnTo>
                  <a:pt x="177" y="37"/>
                </a:lnTo>
                <a:lnTo>
                  <a:pt x="191" y="24"/>
                </a:lnTo>
                <a:lnTo>
                  <a:pt x="211" y="37"/>
                </a:lnTo>
                <a:lnTo>
                  <a:pt x="234" y="86"/>
                </a:lnTo>
                <a:lnTo>
                  <a:pt x="247" y="90"/>
                </a:lnTo>
                <a:lnTo>
                  <a:pt x="233" y="143"/>
                </a:lnTo>
                <a:lnTo>
                  <a:pt x="243" y="183"/>
                </a:lnTo>
                <a:lnTo>
                  <a:pt x="287" y="220"/>
                </a:lnTo>
                <a:lnTo>
                  <a:pt x="249" y="219"/>
                </a:lnTo>
                <a:lnTo>
                  <a:pt x="239" y="237"/>
                </a:lnTo>
                <a:lnTo>
                  <a:pt x="220" y="200"/>
                </a:lnTo>
                <a:lnTo>
                  <a:pt x="138" y="244"/>
                </a:lnTo>
                <a:lnTo>
                  <a:pt x="130" y="237"/>
                </a:lnTo>
                <a:lnTo>
                  <a:pt x="142" y="233"/>
                </a:lnTo>
                <a:lnTo>
                  <a:pt x="129" y="218"/>
                </a:lnTo>
                <a:lnTo>
                  <a:pt x="128" y="202"/>
                </a:lnTo>
                <a:lnTo>
                  <a:pt x="117" y="208"/>
                </a:lnTo>
                <a:lnTo>
                  <a:pt x="115" y="227"/>
                </a:lnTo>
                <a:lnTo>
                  <a:pt x="122" y="225"/>
                </a:lnTo>
                <a:lnTo>
                  <a:pt x="110" y="261"/>
                </a:lnTo>
                <a:lnTo>
                  <a:pt x="55" y="241"/>
                </a:lnTo>
                <a:lnTo>
                  <a:pt x="43" y="206"/>
                </a:lnTo>
                <a:lnTo>
                  <a:pt x="13" y="190"/>
                </a:lnTo>
                <a:lnTo>
                  <a:pt x="0" y="154"/>
                </a:lnTo>
                <a:lnTo>
                  <a:pt x="15" y="142"/>
                </a:lnTo>
                <a:lnTo>
                  <a:pt x="20" y="126"/>
                </a:lnTo>
                <a:lnTo>
                  <a:pt x="15" y="119"/>
                </a:lnTo>
                <a:lnTo>
                  <a:pt x="18" y="103"/>
                </a:lnTo>
                <a:lnTo>
                  <a:pt x="14" y="84"/>
                </a:lnTo>
                <a:lnTo>
                  <a:pt x="35" y="76"/>
                </a:lnTo>
                <a:lnTo>
                  <a:pt x="23" y="49"/>
                </a:lnTo>
                <a:lnTo>
                  <a:pt x="94" y="0"/>
                </a:lnTo>
                <a:lnTo>
                  <a:pt x="94" y="19"/>
                </a:lnTo>
                <a:lnTo>
                  <a:pt x="140" y="68"/>
                </a:lnTo>
                <a:close/>
              </a:path>
            </a:pathLst>
          </a:custGeom>
          <a:solidFill>
            <a:schemeClr val="accent1"/>
          </a:solidFill>
          <a:ln w="6350">
            <a:solidFill>
              <a:schemeClr val="tx2"/>
            </a:solidFill>
            <a:round/>
            <a:headEnd/>
            <a:tailEnd/>
          </a:ln>
        </p:spPr>
        <p:txBody>
          <a:bodyPr/>
          <a:lstStyle/>
          <a:p>
            <a:endParaRPr lang="en-US"/>
          </a:p>
        </p:txBody>
      </p:sp>
      <p:sp>
        <p:nvSpPr>
          <p:cNvPr id="384" name="Freeform 1689"/>
          <p:cNvSpPr>
            <a:spLocks/>
          </p:cNvSpPr>
          <p:nvPr/>
        </p:nvSpPr>
        <p:spPr bwMode="auto">
          <a:xfrm>
            <a:off x="8685813" y="2088880"/>
            <a:ext cx="83134" cy="80240"/>
          </a:xfrm>
          <a:custGeom>
            <a:avLst/>
            <a:gdLst>
              <a:gd name="T0" fmla="*/ 0 w 175"/>
              <a:gd name="T1" fmla="*/ 0 h 196"/>
              <a:gd name="T2" fmla="*/ 2147483647 w 175"/>
              <a:gd name="T3" fmla="*/ 2147483647 h 196"/>
              <a:gd name="T4" fmla="*/ 2147483647 w 175"/>
              <a:gd name="T5" fmla="*/ 2147483647 h 196"/>
              <a:gd name="T6" fmla="*/ 2147483647 w 175"/>
              <a:gd name="T7" fmla="*/ 2147483647 h 196"/>
              <a:gd name="T8" fmla="*/ 2147483647 w 175"/>
              <a:gd name="T9" fmla="*/ 2147483647 h 196"/>
              <a:gd name="T10" fmla="*/ 2147483647 w 175"/>
              <a:gd name="T11" fmla="*/ 2147483647 h 196"/>
              <a:gd name="T12" fmla="*/ 2147483647 w 175"/>
              <a:gd name="T13" fmla="*/ 2147483647 h 196"/>
              <a:gd name="T14" fmla="*/ 2147483647 w 175"/>
              <a:gd name="T15" fmla="*/ 2147483647 h 196"/>
              <a:gd name="T16" fmla="*/ 2147483647 w 175"/>
              <a:gd name="T17" fmla="*/ 2147483647 h 196"/>
              <a:gd name="T18" fmla="*/ 2147483647 w 175"/>
              <a:gd name="T19" fmla="*/ 2147483647 h 196"/>
              <a:gd name="T20" fmla="*/ 0 w 175"/>
              <a:gd name="T21" fmla="*/ 0 h 1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5"/>
              <a:gd name="T34" fmla="*/ 0 h 196"/>
              <a:gd name="T35" fmla="*/ 175 w 175"/>
              <a:gd name="T36" fmla="*/ 196 h 1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5" h="196">
                <a:moveTo>
                  <a:pt x="0" y="0"/>
                </a:moveTo>
                <a:lnTo>
                  <a:pt x="108" y="51"/>
                </a:lnTo>
                <a:lnTo>
                  <a:pt x="175" y="114"/>
                </a:lnTo>
                <a:lnTo>
                  <a:pt x="142" y="123"/>
                </a:lnTo>
                <a:lnTo>
                  <a:pt x="147" y="152"/>
                </a:lnTo>
                <a:lnTo>
                  <a:pt x="128" y="184"/>
                </a:lnTo>
                <a:lnTo>
                  <a:pt x="108" y="196"/>
                </a:lnTo>
                <a:lnTo>
                  <a:pt x="72" y="185"/>
                </a:lnTo>
                <a:lnTo>
                  <a:pt x="42" y="130"/>
                </a:lnTo>
                <a:lnTo>
                  <a:pt x="57" y="67"/>
                </a:lnTo>
                <a:lnTo>
                  <a:pt x="0" y="0"/>
                </a:lnTo>
                <a:close/>
              </a:path>
            </a:pathLst>
          </a:custGeom>
          <a:solidFill>
            <a:schemeClr val="accent1"/>
          </a:solidFill>
          <a:ln w="6350">
            <a:solidFill>
              <a:schemeClr val="tx2"/>
            </a:solidFill>
            <a:round/>
            <a:headEnd/>
            <a:tailEnd/>
          </a:ln>
        </p:spPr>
        <p:txBody>
          <a:bodyPr/>
          <a:lstStyle/>
          <a:p>
            <a:endParaRPr lang="en-US"/>
          </a:p>
        </p:txBody>
      </p:sp>
      <p:sp>
        <p:nvSpPr>
          <p:cNvPr id="385" name="Freeform 1690"/>
          <p:cNvSpPr>
            <a:spLocks/>
          </p:cNvSpPr>
          <p:nvPr/>
        </p:nvSpPr>
        <p:spPr bwMode="auto">
          <a:xfrm>
            <a:off x="8786147" y="2130910"/>
            <a:ext cx="97466" cy="57315"/>
          </a:xfrm>
          <a:custGeom>
            <a:avLst/>
            <a:gdLst>
              <a:gd name="T0" fmla="*/ 0 w 207"/>
              <a:gd name="T1" fmla="*/ 0 h 138"/>
              <a:gd name="T2" fmla="*/ 2147483647 w 207"/>
              <a:gd name="T3" fmla="*/ 2147483647 h 138"/>
              <a:gd name="T4" fmla="*/ 2147483647 w 207"/>
              <a:gd name="T5" fmla="*/ 2147483647 h 138"/>
              <a:gd name="T6" fmla="*/ 2147483647 w 207"/>
              <a:gd name="T7" fmla="*/ 2147483647 h 138"/>
              <a:gd name="T8" fmla="*/ 2147483647 w 207"/>
              <a:gd name="T9" fmla="*/ 2147483647 h 138"/>
              <a:gd name="T10" fmla="*/ 2147483647 w 207"/>
              <a:gd name="T11" fmla="*/ 2147483647 h 138"/>
              <a:gd name="T12" fmla="*/ 2147483647 w 207"/>
              <a:gd name="T13" fmla="*/ 2147483647 h 138"/>
              <a:gd name="T14" fmla="*/ 2147483647 w 207"/>
              <a:gd name="T15" fmla="*/ 2147483647 h 138"/>
              <a:gd name="T16" fmla="*/ 2147483647 w 207"/>
              <a:gd name="T17" fmla="*/ 2147483647 h 138"/>
              <a:gd name="T18" fmla="*/ 2147483647 w 207"/>
              <a:gd name="T19" fmla="*/ 2147483647 h 138"/>
              <a:gd name="T20" fmla="*/ 2147483647 w 207"/>
              <a:gd name="T21" fmla="*/ 2147483647 h 138"/>
              <a:gd name="T22" fmla="*/ 0 w 207"/>
              <a:gd name="T23" fmla="*/ 0 h 1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7"/>
              <a:gd name="T37" fmla="*/ 0 h 138"/>
              <a:gd name="T38" fmla="*/ 207 w 207"/>
              <a:gd name="T39" fmla="*/ 138 h 1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7" h="138">
                <a:moveTo>
                  <a:pt x="0" y="0"/>
                </a:moveTo>
                <a:lnTo>
                  <a:pt x="25" y="23"/>
                </a:lnTo>
                <a:lnTo>
                  <a:pt x="97" y="31"/>
                </a:lnTo>
                <a:lnTo>
                  <a:pt x="83" y="51"/>
                </a:lnTo>
                <a:lnTo>
                  <a:pt x="133" y="47"/>
                </a:lnTo>
                <a:lnTo>
                  <a:pt x="207" y="79"/>
                </a:lnTo>
                <a:lnTo>
                  <a:pt x="190" y="121"/>
                </a:lnTo>
                <a:lnTo>
                  <a:pt x="123" y="138"/>
                </a:lnTo>
                <a:lnTo>
                  <a:pt x="33" y="86"/>
                </a:lnTo>
                <a:lnTo>
                  <a:pt x="32" y="63"/>
                </a:lnTo>
                <a:lnTo>
                  <a:pt x="2" y="16"/>
                </a:lnTo>
                <a:lnTo>
                  <a:pt x="0" y="0"/>
                </a:lnTo>
                <a:close/>
              </a:path>
            </a:pathLst>
          </a:custGeom>
          <a:solidFill>
            <a:schemeClr val="accent1"/>
          </a:solidFill>
          <a:ln w="6350">
            <a:solidFill>
              <a:schemeClr val="tx2"/>
            </a:solidFill>
            <a:round/>
            <a:headEnd/>
            <a:tailEnd/>
          </a:ln>
        </p:spPr>
        <p:txBody>
          <a:bodyPr/>
          <a:lstStyle/>
          <a:p>
            <a:endParaRPr lang="en-US"/>
          </a:p>
        </p:txBody>
      </p:sp>
      <p:sp>
        <p:nvSpPr>
          <p:cNvPr id="386" name="Freeform 1691"/>
          <p:cNvSpPr>
            <a:spLocks/>
          </p:cNvSpPr>
          <p:nvPr/>
        </p:nvSpPr>
        <p:spPr bwMode="auto">
          <a:xfrm>
            <a:off x="8660013" y="2217518"/>
            <a:ext cx="20066" cy="26747"/>
          </a:xfrm>
          <a:custGeom>
            <a:avLst/>
            <a:gdLst>
              <a:gd name="T0" fmla="*/ 2147483647 w 41"/>
              <a:gd name="T1" fmla="*/ 2147483647 h 66"/>
              <a:gd name="T2" fmla="*/ 2147483647 w 41"/>
              <a:gd name="T3" fmla="*/ 2147483647 h 66"/>
              <a:gd name="T4" fmla="*/ 2147483647 w 41"/>
              <a:gd name="T5" fmla="*/ 0 h 66"/>
              <a:gd name="T6" fmla="*/ 0 w 41"/>
              <a:gd name="T7" fmla="*/ 2147483647 h 66"/>
              <a:gd name="T8" fmla="*/ 2147483647 w 41"/>
              <a:gd name="T9" fmla="*/ 2147483647 h 66"/>
              <a:gd name="T10" fmla="*/ 2147483647 w 41"/>
              <a:gd name="T11" fmla="*/ 2147483647 h 66"/>
              <a:gd name="T12" fmla="*/ 2147483647 w 41"/>
              <a:gd name="T13" fmla="*/ 2147483647 h 66"/>
              <a:gd name="T14" fmla="*/ 2147483647 w 41"/>
              <a:gd name="T15" fmla="*/ 2147483647 h 66"/>
              <a:gd name="T16" fmla="*/ 2147483647 w 41"/>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66"/>
              <a:gd name="T29" fmla="*/ 41 w 41"/>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66">
                <a:moveTo>
                  <a:pt x="37" y="28"/>
                </a:moveTo>
                <a:lnTo>
                  <a:pt x="38" y="14"/>
                </a:lnTo>
                <a:lnTo>
                  <a:pt x="19" y="0"/>
                </a:lnTo>
                <a:lnTo>
                  <a:pt x="0" y="24"/>
                </a:lnTo>
                <a:lnTo>
                  <a:pt x="3" y="57"/>
                </a:lnTo>
                <a:lnTo>
                  <a:pt x="17" y="66"/>
                </a:lnTo>
                <a:lnTo>
                  <a:pt x="13" y="57"/>
                </a:lnTo>
                <a:lnTo>
                  <a:pt x="41" y="36"/>
                </a:lnTo>
                <a:lnTo>
                  <a:pt x="37" y="28"/>
                </a:lnTo>
                <a:close/>
              </a:path>
            </a:pathLst>
          </a:custGeom>
          <a:solidFill>
            <a:schemeClr val="accent1"/>
          </a:solidFill>
          <a:ln w="6350">
            <a:solidFill>
              <a:schemeClr val="tx2"/>
            </a:solidFill>
            <a:round/>
            <a:headEnd/>
            <a:tailEnd/>
          </a:ln>
        </p:spPr>
        <p:txBody>
          <a:bodyPr/>
          <a:lstStyle/>
          <a:p>
            <a:endParaRPr lang="en-US"/>
          </a:p>
        </p:txBody>
      </p:sp>
      <p:sp>
        <p:nvSpPr>
          <p:cNvPr id="387" name="Freeform 1692"/>
          <p:cNvSpPr>
            <a:spLocks/>
          </p:cNvSpPr>
          <p:nvPr/>
        </p:nvSpPr>
        <p:spPr bwMode="auto">
          <a:xfrm>
            <a:off x="8652846" y="2244266"/>
            <a:ext cx="78833" cy="43304"/>
          </a:xfrm>
          <a:custGeom>
            <a:avLst/>
            <a:gdLst>
              <a:gd name="T0" fmla="*/ 2147483647 w 166"/>
              <a:gd name="T1" fmla="*/ 0 h 101"/>
              <a:gd name="T2" fmla="*/ 2147483647 w 166"/>
              <a:gd name="T3" fmla="*/ 2147483647 h 101"/>
              <a:gd name="T4" fmla="*/ 2147483647 w 166"/>
              <a:gd name="T5" fmla="*/ 2147483647 h 101"/>
              <a:gd name="T6" fmla="*/ 2147483647 w 166"/>
              <a:gd name="T7" fmla="*/ 2147483647 h 101"/>
              <a:gd name="T8" fmla="*/ 2147483647 w 166"/>
              <a:gd name="T9" fmla="*/ 2147483647 h 101"/>
              <a:gd name="T10" fmla="*/ 2147483647 w 166"/>
              <a:gd name="T11" fmla="*/ 2147483647 h 101"/>
              <a:gd name="T12" fmla="*/ 0 w 166"/>
              <a:gd name="T13" fmla="*/ 2147483647 h 101"/>
              <a:gd name="T14" fmla="*/ 2147483647 w 166"/>
              <a:gd name="T15" fmla="*/ 2147483647 h 101"/>
              <a:gd name="T16" fmla="*/ 2147483647 w 166"/>
              <a:gd name="T17" fmla="*/ 2147483647 h 101"/>
              <a:gd name="T18" fmla="*/ 2147483647 w 166"/>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101"/>
              <a:gd name="T32" fmla="*/ 166 w 166"/>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101">
                <a:moveTo>
                  <a:pt x="72" y="0"/>
                </a:moveTo>
                <a:lnTo>
                  <a:pt x="122" y="8"/>
                </a:lnTo>
                <a:lnTo>
                  <a:pt x="159" y="56"/>
                </a:lnTo>
                <a:lnTo>
                  <a:pt x="166" y="101"/>
                </a:lnTo>
                <a:lnTo>
                  <a:pt x="38" y="69"/>
                </a:lnTo>
                <a:lnTo>
                  <a:pt x="8" y="80"/>
                </a:lnTo>
                <a:lnTo>
                  <a:pt x="0" y="69"/>
                </a:lnTo>
                <a:lnTo>
                  <a:pt x="28" y="62"/>
                </a:lnTo>
                <a:lnTo>
                  <a:pt x="51" y="2"/>
                </a:lnTo>
                <a:lnTo>
                  <a:pt x="72" y="0"/>
                </a:lnTo>
                <a:close/>
              </a:path>
            </a:pathLst>
          </a:custGeom>
          <a:solidFill>
            <a:schemeClr val="accent1"/>
          </a:solidFill>
          <a:ln w="6350">
            <a:solidFill>
              <a:schemeClr val="tx2"/>
            </a:solidFill>
            <a:round/>
            <a:headEnd/>
            <a:tailEnd/>
          </a:ln>
        </p:spPr>
        <p:txBody>
          <a:bodyPr/>
          <a:lstStyle/>
          <a:p>
            <a:endParaRPr lang="en-US"/>
          </a:p>
        </p:txBody>
      </p:sp>
      <p:sp>
        <p:nvSpPr>
          <p:cNvPr id="388" name="Freeform 1693"/>
          <p:cNvSpPr>
            <a:spLocks/>
          </p:cNvSpPr>
          <p:nvPr/>
        </p:nvSpPr>
        <p:spPr bwMode="auto">
          <a:xfrm>
            <a:off x="8617013" y="2380546"/>
            <a:ext cx="20066" cy="17831"/>
          </a:xfrm>
          <a:custGeom>
            <a:avLst/>
            <a:gdLst>
              <a:gd name="T0" fmla="*/ 2147483647 w 47"/>
              <a:gd name="T1" fmla="*/ 2147483647 h 44"/>
              <a:gd name="T2" fmla="*/ 2147483647 w 47"/>
              <a:gd name="T3" fmla="*/ 0 h 44"/>
              <a:gd name="T4" fmla="*/ 2147483647 w 47"/>
              <a:gd name="T5" fmla="*/ 2147483647 h 44"/>
              <a:gd name="T6" fmla="*/ 2147483647 w 47"/>
              <a:gd name="T7" fmla="*/ 2147483647 h 44"/>
              <a:gd name="T8" fmla="*/ 2147483647 w 47"/>
              <a:gd name="T9" fmla="*/ 2147483647 h 44"/>
              <a:gd name="T10" fmla="*/ 0 w 47"/>
              <a:gd name="T11" fmla="*/ 2147483647 h 44"/>
              <a:gd name="T12" fmla="*/ 2147483647 w 47"/>
              <a:gd name="T13" fmla="*/ 2147483647 h 44"/>
              <a:gd name="T14" fmla="*/ 0 60000 65536"/>
              <a:gd name="T15" fmla="*/ 0 60000 65536"/>
              <a:gd name="T16" fmla="*/ 0 60000 65536"/>
              <a:gd name="T17" fmla="*/ 0 60000 65536"/>
              <a:gd name="T18" fmla="*/ 0 60000 65536"/>
              <a:gd name="T19" fmla="*/ 0 60000 65536"/>
              <a:gd name="T20" fmla="*/ 0 60000 65536"/>
              <a:gd name="T21" fmla="*/ 0 w 47"/>
              <a:gd name="T22" fmla="*/ 0 h 44"/>
              <a:gd name="T23" fmla="*/ 47 w 47"/>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4">
                <a:moveTo>
                  <a:pt x="8" y="17"/>
                </a:moveTo>
                <a:lnTo>
                  <a:pt x="33" y="0"/>
                </a:lnTo>
                <a:lnTo>
                  <a:pt x="47" y="21"/>
                </a:lnTo>
                <a:lnTo>
                  <a:pt x="30" y="43"/>
                </a:lnTo>
                <a:lnTo>
                  <a:pt x="11" y="44"/>
                </a:lnTo>
                <a:lnTo>
                  <a:pt x="0" y="41"/>
                </a:lnTo>
                <a:lnTo>
                  <a:pt x="8" y="17"/>
                </a:lnTo>
                <a:close/>
              </a:path>
            </a:pathLst>
          </a:custGeom>
          <a:solidFill>
            <a:schemeClr val="accent1"/>
          </a:solidFill>
          <a:ln w="6350">
            <a:solidFill>
              <a:schemeClr val="tx2"/>
            </a:solidFill>
            <a:round/>
            <a:headEnd/>
            <a:tailEnd/>
          </a:ln>
        </p:spPr>
        <p:txBody>
          <a:bodyPr/>
          <a:lstStyle/>
          <a:p>
            <a:endParaRPr lang="en-US"/>
          </a:p>
        </p:txBody>
      </p:sp>
      <p:sp>
        <p:nvSpPr>
          <p:cNvPr id="389" name="Freeform 1694"/>
          <p:cNvSpPr>
            <a:spLocks/>
          </p:cNvSpPr>
          <p:nvPr/>
        </p:nvSpPr>
        <p:spPr bwMode="auto">
          <a:xfrm>
            <a:off x="8639947" y="2327053"/>
            <a:ext cx="31533" cy="19105"/>
          </a:xfrm>
          <a:custGeom>
            <a:avLst/>
            <a:gdLst>
              <a:gd name="T0" fmla="*/ 2147483647 w 66"/>
              <a:gd name="T1" fmla="*/ 2147483647 h 45"/>
              <a:gd name="T2" fmla="*/ 2147483647 w 66"/>
              <a:gd name="T3" fmla="*/ 2147483647 h 45"/>
              <a:gd name="T4" fmla="*/ 2147483647 w 66"/>
              <a:gd name="T5" fmla="*/ 2147483647 h 45"/>
              <a:gd name="T6" fmla="*/ 2147483647 w 66"/>
              <a:gd name="T7" fmla="*/ 2147483647 h 45"/>
              <a:gd name="T8" fmla="*/ 2147483647 w 66"/>
              <a:gd name="T9" fmla="*/ 2147483647 h 45"/>
              <a:gd name="T10" fmla="*/ 0 w 66"/>
              <a:gd name="T11" fmla="*/ 2147483647 h 45"/>
              <a:gd name="T12" fmla="*/ 2147483647 w 66"/>
              <a:gd name="T13" fmla="*/ 2147483647 h 45"/>
              <a:gd name="T14" fmla="*/ 2147483647 w 66"/>
              <a:gd name="T15" fmla="*/ 0 h 45"/>
              <a:gd name="T16" fmla="*/ 2147483647 w 66"/>
              <a:gd name="T17" fmla="*/ 2147483647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45"/>
              <a:gd name="T29" fmla="*/ 66 w 66"/>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45">
                <a:moveTo>
                  <a:pt x="35" y="2"/>
                </a:moveTo>
                <a:lnTo>
                  <a:pt x="66" y="2"/>
                </a:lnTo>
                <a:lnTo>
                  <a:pt x="48" y="37"/>
                </a:lnTo>
                <a:lnTo>
                  <a:pt x="35" y="30"/>
                </a:lnTo>
                <a:lnTo>
                  <a:pt x="9" y="45"/>
                </a:lnTo>
                <a:lnTo>
                  <a:pt x="0" y="34"/>
                </a:lnTo>
                <a:lnTo>
                  <a:pt x="15" y="13"/>
                </a:lnTo>
                <a:lnTo>
                  <a:pt x="13" y="0"/>
                </a:lnTo>
                <a:lnTo>
                  <a:pt x="35" y="2"/>
                </a:lnTo>
                <a:close/>
              </a:path>
            </a:pathLst>
          </a:custGeom>
          <a:solidFill>
            <a:schemeClr val="accent1"/>
          </a:solidFill>
          <a:ln w="6350">
            <a:solidFill>
              <a:schemeClr val="tx2"/>
            </a:solidFill>
            <a:round/>
            <a:headEnd/>
            <a:tailEnd/>
          </a:ln>
        </p:spPr>
        <p:txBody>
          <a:bodyPr/>
          <a:lstStyle/>
          <a:p>
            <a:endParaRPr lang="en-US"/>
          </a:p>
        </p:txBody>
      </p:sp>
      <p:sp>
        <p:nvSpPr>
          <p:cNvPr id="390" name="Freeform 1695"/>
          <p:cNvSpPr>
            <a:spLocks/>
          </p:cNvSpPr>
          <p:nvPr/>
        </p:nvSpPr>
        <p:spPr bwMode="auto">
          <a:xfrm>
            <a:off x="9221882" y="2469703"/>
            <a:ext cx="31533" cy="24200"/>
          </a:xfrm>
          <a:custGeom>
            <a:avLst/>
            <a:gdLst>
              <a:gd name="T0" fmla="*/ 2147483647 w 66"/>
              <a:gd name="T1" fmla="*/ 2147483647 h 58"/>
              <a:gd name="T2" fmla="*/ 2147483647 w 66"/>
              <a:gd name="T3" fmla="*/ 0 h 58"/>
              <a:gd name="T4" fmla="*/ 2147483647 w 66"/>
              <a:gd name="T5" fmla="*/ 2147483647 h 58"/>
              <a:gd name="T6" fmla="*/ 2147483647 w 66"/>
              <a:gd name="T7" fmla="*/ 2147483647 h 58"/>
              <a:gd name="T8" fmla="*/ 2147483647 w 66"/>
              <a:gd name="T9" fmla="*/ 2147483647 h 58"/>
              <a:gd name="T10" fmla="*/ 0 w 66"/>
              <a:gd name="T11" fmla="*/ 2147483647 h 58"/>
              <a:gd name="T12" fmla="*/ 2147483647 w 66"/>
              <a:gd name="T13" fmla="*/ 2147483647 h 58"/>
              <a:gd name="T14" fmla="*/ 0 60000 65536"/>
              <a:gd name="T15" fmla="*/ 0 60000 65536"/>
              <a:gd name="T16" fmla="*/ 0 60000 65536"/>
              <a:gd name="T17" fmla="*/ 0 60000 65536"/>
              <a:gd name="T18" fmla="*/ 0 60000 65536"/>
              <a:gd name="T19" fmla="*/ 0 60000 65536"/>
              <a:gd name="T20" fmla="*/ 0 60000 65536"/>
              <a:gd name="T21" fmla="*/ 0 w 66"/>
              <a:gd name="T22" fmla="*/ 0 h 58"/>
              <a:gd name="T23" fmla="*/ 66 w 66"/>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58">
                <a:moveTo>
                  <a:pt x="11" y="3"/>
                </a:moveTo>
                <a:lnTo>
                  <a:pt x="28" y="0"/>
                </a:lnTo>
                <a:lnTo>
                  <a:pt x="66" y="31"/>
                </a:lnTo>
                <a:lnTo>
                  <a:pt x="59" y="58"/>
                </a:lnTo>
                <a:lnTo>
                  <a:pt x="31" y="53"/>
                </a:lnTo>
                <a:lnTo>
                  <a:pt x="0" y="17"/>
                </a:lnTo>
                <a:lnTo>
                  <a:pt x="11" y="3"/>
                </a:lnTo>
                <a:close/>
              </a:path>
            </a:pathLst>
          </a:custGeom>
          <a:solidFill>
            <a:schemeClr val="accent1"/>
          </a:solidFill>
          <a:ln w="6350">
            <a:solidFill>
              <a:schemeClr val="tx2"/>
            </a:solidFill>
            <a:round/>
            <a:headEnd/>
            <a:tailEnd/>
          </a:ln>
        </p:spPr>
        <p:txBody>
          <a:bodyPr/>
          <a:lstStyle/>
          <a:p>
            <a:endParaRPr lang="en-US"/>
          </a:p>
        </p:txBody>
      </p:sp>
      <p:sp>
        <p:nvSpPr>
          <p:cNvPr id="391" name="Freeform 1696"/>
          <p:cNvSpPr>
            <a:spLocks/>
          </p:cNvSpPr>
          <p:nvPr/>
        </p:nvSpPr>
        <p:spPr bwMode="auto">
          <a:xfrm>
            <a:off x="9436883" y="2394558"/>
            <a:ext cx="31533" cy="31842"/>
          </a:xfrm>
          <a:custGeom>
            <a:avLst/>
            <a:gdLst>
              <a:gd name="T0" fmla="*/ 2147483647 w 66"/>
              <a:gd name="T1" fmla="*/ 2147483647 h 75"/>
              <a:gd name="T2" fmla="*/ 2147483647 w 66"/>
              <a:gd name="T3" fmla="*/ 2147483647 h 75"/>
              <a:gd name="T4" fmla="*/ 0 w 66"/>
              <a:gd name="T5" fmla="*/ 2147483647 h 75"/>
              <a:gd name="T6" fmla="*/ 2147483647 w 66"/>
              <a:gd name="T7" fmla="*/ 2147483647 h 75"/>
              <a:gd name="T8" fmla="*/ 2147483647 w 66"/>
              <a:gd name="T9" fmla="*/ 2147483647 h 75"/>
              <a:gd name="T10" fmla="*/ 2147483647 w 66"/>
              <a:gd name="T11" fmla="*/ 2147483647 h 75"/>
              <a:gd name="T12" fmla="*/ 2147483647 w 66"/>
              <a:gd name="T13" fmla="*/ 2147483647 h 75"/>
              <a:gd name="T14" fmla="*/ 2147483647 w 66"/>
              <a:gd name="T15" fmla="*/ 2147483647 h 75"/>
              <a:gd name="T16" fmla="*/ 2147483647 w 66"/>
              <a:gd name="T17" fmla="*/ 0 h 75"/>
              <a:gd name="T18" fmla="*/ 2147483647 w 66"/>
              <a:gd name="T19" fmla="*/ 0 h 75"/>
              <a:gd name="T20" fmla="*/ 2147483647 w 66"/>
              <a:gd name="T21" fmla="*/ 0 h 75"/>
              <a:gd name="T22" fmla="*/ 2147483647 w 66"/>
              <a:gd name="T23" fmla="*/ 2147483647 h 75"/>
              <a:gd name="T24" fmla="*/ 2147483647 w 66"/>
              <a:gd name="T25" fmla="*/ 2147483647 h 75"/>
              <a:gd name="T26" fmla="*/ 2147483647 w 66"/>
              <a:gd name="T27" fmla="*/ 2147483647 h 75"/>
              <a:gd name="T28" fmla="*/ 2147483647 w 66"/>
              <a:gd name="T29" fmla="*/ 2147483647 h 75"/>
              <a:gd name="T30" fmla="*/ 2147483647 w 66"/>
              <a:gd name="T31" fmla="*/ 2147483647 h 75"/>
              <a:gd name="T32" fmla="*/ 2147483647 w 66"/>
              <a:gd name="T33" fmla="*/ 2147483647 h 75"/>
              <a:gd name="T34" fmla="*/ 2147483647 w 66"/>
              <a:gd name="T35" fmla="*/ 2147483647 h 75"/>
              <a:gd name="T36" fmla="*/ 2147483647 w 66"/>
              <a:gd name="T37" fmla="*/ 2147483647 h 75"/>
              <a:gd name="T38" fmla="*/ 2147483647 w 66"/>
              <a:gd name="T39" fmla="*/ 2147483647 h 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6"/>
              <a:gd name="T61" fmla="*/ 0 h 75"/>
              <a:gd name="T62" fmla="*/ 66 w 66"/>
              <a:gd name="T63" fmla="*/ 75 h 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6" h="75">
                <a:moveTo>
                  <a:pt x="66" y="55"/>
                </a:moveTo>
                <a:lnTo>
                  <a:pt x="14" y="75"/>
                </a:lnTo>
                <a:lnTo>
                  <a:pt x="0" y="48"/>
                </a:lnTo>
                <a:lnTo>
                  <a:pt x="33" y="4"/>
                </a:lnTo>
                <a:lnTo>
                  <a:pt x="33" y="3"/>
                </a:lnTo>
                <a:lnTo>
                  <a:pt x="34" y="3"/>
                </a:lnTo>
                <a:lnTo>
                  <a:pt x="36" y="2"/>
                </a:lnTo>
                <a:lnTo>
                  <a:pt x="38" y="1"/>
                </a:lnTo>
                <a:lnTo>
                  <a:pt x="40" y="0"/>
                </a:lnTo>
                <a:lnTo>
                  <a:pt x="43" y="0"/>
                </a:lnTo>
                <a:lnTo>
                  <a:pt x="46" y="0"/>
                </a:lnTo>
                <a:lnTo>
                  <a:pt x="49" y="1"/>
                </a:lnTo>
                <a:lnTo>
                  <a:pt x="52" y="3"/>
                </a:lnTo>
                <a:lnTo>
                  <a:pt x="55" y="6"/>
                </a:lnTo>
                <a:lnTo>
                  <a:pt x="58" y="10"/>
                </a:lnTo>
                <a:lnTo>
                  <a:pt x="60" y="15"/>
                </a:lnTo>
                <a:lnTo>
                  <a:pt x="62" y="22"/>
                </a:lnTo>
                <a:lnTo>
                  <a:pt x="64" y="31"/>
                </a:lnTo>
                <a:lnTo>
                  <a:pt x="65" y="42"/>
                </a:lnTo>
                <a:lnTo>
                  <a:pt x="66" y="55"/>
                </a:lnTo>
                <a:close/>
              </a:path>
            </a:pathLst>
          </a:custGeom>
          <a:solidFill>
            <a:schemeClr val="accent1"/>
          </a:solidFill>
          <a:ln w="6350">
            <a:solidFill>
              <a:schemeClr val="tx2"/>
            </a:solidFill>
            <a:round/>
            <a:headEnd/>
            <a:tailEnd/>
          </a:ln>
        </p:spPr>
        <p:txBody>
          <a:bodyPr/>
          <a:lstStyle/>
          <a:p>
            <a:endParaRPr lang="en-US"/>
          </a:p>
        </p:txBody>
      </p:sp>
      <p:sp>
        <p:nvSpPr>
          <p:cNvPr id="392" name="Freeform 1707"/>
          <p:cNvSpPr>
            <a:spLocks/>
          </p:cNvSpPr>
          <p:nvPr/>
        </p:nvSpPr>
        <p:spPr bwMode="auto">
          <a:xfrm>
            <a:off x="8576879" y="3056858"/>
            <a:ext cx="17201" cy="19104"/>
          </a:xfrm>
          <a:custGeom>
            <a:avLst/>
            <a:gdLst>
              <a:gd name="T0" fmla="*/ 2147483647 w 38"/>
              <a:gd name="T1" fmla="*/ 2147483647 h 45"/>
              <a:gd name="T2" fmla="*/ 0 w 38"/>
              <a:gd name="T3" fmla="*/ 2147483647 h 45"/>
              <a:gd name="T4" fmla="*/ 2147483647 w 38"/>
              <a:gd name="T5" fmla="*/ 2147483647 h 45"/>
              <a:gd name="T6" fmla="*/ 2147483647 w 38"/>
              <a:gd name="T7" fmla="*/ 2147483647 h 45"/>
              <a:gd name="T8" fmla="*/ 2147483647 w 38"/>
              <a:gd name="T9" fmla="*/ 2147483647 h 45"/>
              <a:gd name="T10" fmla="*/ 2147483647 w 38"/>
              <a:gd name="T11" fmla="*/ 2147483647 h 45"/>
              <a:gd name="T12" fmla="*/ 2147483647 w 38"/>
              <a:gd name="T13" fmla="*/ 2147483647 h 45"/>
              <a:gd name="T14" fmla="*/ 2147483647 w 38"/>
              <a:gd name="T15" fmla="*/ 0 h 45"/>
              <a:gd name="T16" fmla="*/ 2147483647 w 38"/>
              <a:gd name="T17" fmla="*/ 2147483647 h 45"/>
              <a:gd name="T18" fmla="*/ 2147483647 w 38"/>
              <a:gd name="T19" fmla="*/ 2147483647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45"/>
              <a:gd name="T32" fmla="*/ 38 w 38"/>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45">
                <a:moveTo>
                  <a:pt x="2" y="29"/>
                </a:moveTo>
                <a:lnTo>
                  <a:pt x="0" y="38"/>
                </a:lnTo>
                <a:lnTo>
                  <a:pt x="7" y="36"/>
                </a:lnTo>
                <a:lnTo>
                  <a:pt x="19" y="45"/>
                </a:lnTo>
                <a:lnTo>
                  <a:pt x="24" y="41"/>
                </a:lnTo>
                <a:lnTo>
                  <a:pt x="38" y="14"/>
                </a:lnTo>
                <a:lnTo>
                  <a:pt x="35" y="10"/>
                </a:lnTo>
                <a:lnTo>
                  <a:pt x="19" y="0"/>
                </a:lnTo>
                <a:lnTo>
                  <a:pt x="15" y="2"/>
                </a:lnTo>
                <a:lnTo>
                  <a:pt x="2" y="29"/>
                </a:lnTo>
                <a:close/>
              </a:path>
            </a:pathLst>
          </a:custGeom>
          <a:solidFill>
            <a:schemeClr val="accent1"/>
          </a:solidFill>
          <a:ln w="6350">
            <a:solidFill>
              <a:schemeClr val="tx2"/>
            </a:solidFill>
            <a:round/>
            <a:headEnd/>
            <a:tailEnd/>
          </a:ln>
        </p:spPr>
        <p:txBody>
          <a:bodyPr/>
          <a:lstStyle/>
          <a:p>
            <a:endParaRPr lang="en-US"/>
          </a:p>
        </p:txBody>
      </p:sp>
      <p:sp>
        <p:nvSpPr>
          <p:cNvPr id="393" name="Freeform 1708"/>
          <p:cNvSpPr>
            <a:spLocks/>
          </p:cNvSpPr>
          <p:nvPr/>
        </p:nvSpPr>
        <p:spPr bwMode="auto">
          <a:xfrm>
            <a:off x="9104349" y="2925671"/>
            <a:ext cx="24367" cy="24200"/>
          </a:xfrm>
          <a:custGeom>
            <a:avLst/>
            <a:gdLst>
              <a:gd name="T0" fmla="*/ 2147483647 w 53"/>
              <a:gd name="T1" fmla="*/ 2147483647 h 61"/>
              <a:gd name="T2" fmla="*/ 2147483647 w 53"/>
              <a:gd name="T3" fmla="*/ 2147483647 h 61"/>
              <a:gd name="T4" fmla="*/ 0 w 53"/>
              <a:gd name="T5" fmla="*/ 2147483647 h 61"/>
              <a:gd name="T6" fmla="*/ 2147483647 w 53"/>
              <a:gd name="T7" fmla="*/ 2147483647 h 61"/>
              <a:gd name="T8" fmla="*/ 2147483647 w 53"/>
              <a:gd name="T9" fmla="*/ 2147483647 h 61"/>
              <a:gd name="T10" fmla="*/ 2147483647 w 53"/>
              <a:gd name="T11" fmla="*/ 0 h 61"/>
              <a:gd name="T12" fmla="*/ 2147483647 w 53"/>
              <a:gd name="T13" fmla="*/ 2147483647 h 61"/>
              <a:gd name="T14" fmla="*/ 0 60000 65536"/>
              <a:gd name="T15" fmla="*/ 0 60000 65536"/>
              <a:gd name="T16" fmla="*/ 0 60000 65536"/>
              <a:gd name="T17" fmla="*/ 0 60000 65536"/>
              <a:gd name="T18" fmla="*/ 0 60000 65536"/>
              <a:gd name="T19" fmla="*/ 0 60000 65536"/>
              <a:gd name="T20" fmla="*/ 0 60000 65536"/>
              <a:gd name="T21" fmla="*/ 0 w 53"/>
              <a:gd name="T22" fmla="*/ 0 h 61"/>
              <a:gd name="T23" fmla="*/ 53 w 53"/>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61">
                <a:moveTo>
                  <a:pt x="43" y="1"/>
                </a:moveTo>
                <a:lnTo>
                  <a:pt x="12" y="19"/>
                </a:lnTo>
                <a:lnTo>
                  <a:pt x="0" y="61"/>
                </a:lnTo>
                <a:lnTo>
                  <a:pt x="8" y="61"/>
                </a:lnTo>
                <a:lnTo>
                  <a:pt x="53" y="19"/>
                </a:lnTo>
                <a:lnTo>
                  <a:pt x="49" y="0"/>
                </a:lnTo>
                <a:lnTo>
                  <a:pt x="43" y="1"/>
                </a:lnTo>
                <a:close/>
              </a:path>
            </a:pathLst>
          </a:custGeom>
          <a:solidFill>
            <a:schemeClr val="accent1"/>
          </a:solidFill>
          <a:ln w="6350">
            <a:solidFill>
              <a:schemeClr val="tx2"/>
            </a:solidFill>
            <a:round/>
            <a:headEnd/>
            <a:tailEnd/>
          </a:ln>
        </p:spPr>
        <p:txBody>
          <a:bodyPr/>
          <a:lstStyle/>
          <a:p>
            <a:endParaRPr lang="en-US"/>
          </a:p>
        </p:txBody>
      </p:sp>
      <p:sp>
        <p:nvSpPr>
          <p:cNvPr id="394" name="Freeform 1709"/>
          <p:cNvSpPr>
            <a:spLocks/>
          </p:cNvSpPr>
          <p:nvPr/>
        </p:nvSpPr>
        <p:spPr bwMode="auto">
          <a:xfrm>
            <a:off x="9154515" y="3053038"/>
            <a:ext cx="14334" cy="20378"/>
          </a:xfrm>
          <a:custGeom>
            <a:avLst/>
            <a:gdLst>
              <a:gd name="T0" fmla="*/ 2147483647 w 34"/>
              <a:gd name="T1" fmla="*/ 0 h 47"/>
              <a:gd name="T2" fmla="*/ 2147483647 w 34"/>
              <a:gd name="T3" fmla="*/ 2147483647 h 47"/>
              <a:gd name="T4" fmla="*/ 2147483647 w 34"/>
              <a:gd name="T5" fmla="*/ 2147483647 h 47"/>
              <a:gd name="T6" fmla="*/ 2147483647 w 34"/>
              <a:gd name="T7" fmla="*/ 2147483647 h 47"/>
              <a:gd name="T8" fmla="*/ 2147483647 w 34"/>
              <a:gd name="T9" fmla="*/ 2147483647 h 47"/>
              <a:gd name="T10" fmla="*/ 0 w 34"/>
              <a:gd name="T11" fmla="*/ 2147483647 h 47"/>
              <a:gd name="T12" fmla="*/ 2147483647 w 34"/>
              <a:gd name="T13" fmla="*/ 0 h 47"/>
              <a:gd name="T14" fmla="*/ 0 60000 65536"/>
              <a:gd name="T15" fmla="*/ 0 60000 65536"/>
              <a:gd name="T16" fmla="*/ 0 60000 65536"/>
              <a:gd name="T17" fmla="*/ 0 60000 65536"/>
              <a:gd name="T18" fmla="*/ 0 60000 65536"/>
              <a:gd name="T19" fmla="*/ 0 60000 65536"/>
              <a:gd name="T20" fmla="*/ 0 60000 65536"/>
              <a:gd name="T21" fmla="*/ 0 w 34"/>
              <a:gd name="T22" fmla="*/ 0 h 47"/>
              <a:gd name="T23" fmla="*/ 34 w 34"/>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47">
                <a:moveTo>
                  <a:pt x="6" y="0"/>
                </a:moveTo>
                <a:lnTo>
                  <a:pt x="16" y="3"/>
                </a:lnTo>
                <a:lnTo>
                  <a:pt x="19" y="21"/>
                </a:lnTo>
                <a:lnTo>
                  <a:pt x="34" y="47"/>
                </a:lnTo>
                <a:lnTo>
                  <a:pt x="16" y="36"/>
                </a:lnTo>
                <a:lnTo>
                  <a:pt x="0" y="5"/>
                </a:lnTo>
                <a:lnTo>
                  <a:pt x="6" y="0"/>
                </a:lnTo>
                <a:close/>
              </a:path>
            </a:pathLst>
          </a:custGeom>
          <a:solidFill>
            <a:schemeClr val="accent1"/>
          </a:solidFill>
          <a:ln w="6350">
            <a:solidFill>
              <a:schemeClr val="tx2"/>
            </a:solidFill>
            <a:round/>
            <a:headEnd/>
            <a:tailEnd/>
          </a:ln>
        </p:spPr>
        <p:txBody>
          <a:bodyPr/>
          <a:lstStyle/>
          <a:p>
            <a:endParaRPr lang="en-US"/>
          </a:p>
        </p:txBody>
      </p:sp>
      <p:sp>
        <p:nvSpPr>
          <p:cNvPr id="395" name="Freeform 1710"/>
          <p:cNvSpPr>
            <a:spLocks/>
          </p:cNvSpPr>
          <p:nvPr/>
        </p:nvSpPr>
        <p:spPr bwMode="auto">
          <a:xfrm>
            <a:off x="9181749" y="3068320"/>
            <a:ext cx="11467" cy="10189"/>
          </a:xfrm>
          <a:custGeom>
            <a:avLst/>
            <a:gdLst>
              <a:gd name="T0" fmla="*/ 0 w 24"/>
              <a:gd name="T1" fmla="*/ 0 h 25"/>
              <a:gd name="T2" fmla="*/ 2147483647 w 24"/>
              <a:gd name="T3" fmla="*/ 2147483647 h 25"/>
              <a:gd name="T4" fmla="*/ 2147483647 w 24"/>
              <a:gd name="T5" fmla="*/ 2147483647 h 25"/>
              <a:gd name="T6" fmla="*/ 0 w 24"/>
              <a:gd name="T7" fmla="*/ 0 h 25"/>
              <a:gd name="T8" fmla="*/ 0 60000 65536"/>
              <a:gd name="T9" fmla="*/ 0 60000 65536"/>
              <a:gd name="T10" fmla="*/ 0 60000 65536"/>
              <a:gd name="T11" fmla="*/ 0 60000 65536"/>
              <a:gd name="T12" fmla="*/ 0 w 24"/>
              <a:gd name="T13" fmla="*/ 0 h 25"/>
              <a:gd name="T14" fmla="*/ 24 w 24"/>
              <a:gd name="T15" fmla="*/ 25 h 25"/>
            </a:gdLst>
            <a:ahLst/>
            <a:cxnLst>
              <a:cxn ang="T8">
                <a:pos x="T0" y="T1"/>
              </a:cxn>
              <a:cxn ang="T9">
                <a:pos x="T2" y="T3"/>
              </a:cxn>
              <a:cxn ang="T10">
                <a:pos x="T4" y="T5"/>
              </a:cxn>
              <a:cxn ang="T11">
                <a:pos x="T6" y="T7"/>
              </a:cxn>
            </a:cxnLst>
            <a:rect l="T12" t="T13" r="T14" b="T15"/>
            <a:pathLst>
              <a:path w="24" h="25">
                <a:moveTo>
                  <a:pt x="0" y="0"/>
                </a:moveTo>
                <a:lnTo>
                  <a:pt x="24" y="25"/>
                </a:lnTo>
                <a:lnTo>
                  <a:pt x="5" y="14"/>
                </a:lnTo>
                <a:lnTo>
                  <a:pt x="0" y="0"/>
                </a:lnTo>
                <a:close/>
              </a:path>
            </a:pathLst>
          </a:custGeom>
          <a:solidFill>
            <a:schemeClr val="accent1"/>
          </a:solidFill>
          <a:ln w="6350">
            <a:solidFill>
              <a:schemeClr val="tx2"/>
            </a:solidFill>
            <a:round/>
            <a:headEnd/>
            <a:tailEnd/>
          </a:ln>
        </p:spPr>
        <p:txBody>
          <a:bodyPr/>
          <a:lstStyle/>
          <a:p>
            <a:endParaRPr lang="en-US"/>
          </a:p>
        </p:txBody>
      </p:sp>
      <p:sp>
        <p:nvSpPr>
          <p:cNvPr id="396" name="Freeform 1403"/>
          <p:cNvSpPr>
            <a:spLocks/>
          </p:cNvSpPr>
          <p:nvPr/>
        </p:nvSpPr>
        <p:spPr bwMode="auto">
          <a:xfrm>
            <a:off x="8439279" y="4257916"/>
            <a:ext cx="212134" cy="157933"/>
          </a:xfrm>
          <a:custGeom>
            <a:avLst/>
            <a:gdLst>
              <a:gd name="T0" fmla="*/ 2147483647 w 448"/>
              <a:gd name="T1" fmla="*/ 2147483647 h 377"/>
              <a:gd name="T2" fmla="*/ 2147483647 w 448"/>
              <a:gd name="T3" fmla="*/ 2147483647 h 377"/>
              <a:gd name="T4" fmla="*/ 2147483647 w 448"/>
              <a:gd name="T5" fmla="*/ 2147483647 h 377"/>
              <a:gd name="T6" fmla="*/ 2147483647 w 448"/>
              <a:gd name="T7" fmla="*/ 2147483647 h 377"/>
              <a:gd name="T8" fmla="*/ 2147483647 w 448"/>
              <a:gd name="T9" fmla="*/ 2147483647 h 377"/>
              <a:gd name="T10" fmla="*/ 2147483647 w 448"/>
              <a:gd name="T11" fmla="*/ 2147483647 h 377"/>
              <a:gd name="T12" fmla="*/ 2147483647 w 448"/>
              <a:gd name="T13" fmla="*/ 2147483647 h 377"/>
              <a:gd name="T14" fmla="*/ 2147483647 w 448"/>
              <a:gd name="T15" fmla="*/ 2147483647 h 377"/>
              <a:gd name="T16" fmla="*/ 2147483647 w 448"/>
              <a:gd name="T17" fmla="*/ 2147483647 h 377"/>
              <a:gd name="T18" fmla="*/ 2147483647 w 448"/>
              <a:gd name="T19" fmla="*/ 2147483647 h 377"/>
              <a:gd name="T20" fmla="*/ 2147483647 w 448"/>
              <a:gd name="T21" fmla="*/ 2147483647 h 377"/>
              <a:gd name="T22" fmla="*/ 2147483647 w 448"/>
              <a:gd name="T23" fmla="*/ 2147483647 h 377"/>
              <a:gd name="T24" fmla="*/ 2147483647 w 448"/>
              <a:gd name="T25" fmla="*/ 2147483647 h 377"/>
              <a:gd name="T26" fmla="*/ 2147483647 w 448"/>
              <a:gd name="T27" fmla="*/ 2147483647 h 377"/>
              <a:gd name="T28" fmla="*/ 2147483647 w 448"/>
              <a:gd name="T29" fmla="*/ 2147483647 h 377"/>
              <a:gd name="T30" fmla="*/ 2147483647 w 448"/>
              <a:gd name="T31" fmla="*/ 2147483647 h 377"/>
              <a:gd name="T32" fmla="*/ 2147483647 w 448"/>
              <a:gd name="T33" fmla="*/ 2147483647 h 377"/>
              <a:gd name="T34" fmla="*/ 2147483647 w 448"/>
              <a:gd name="T35" fmla="*/ 2147483647 h 377"/>
              <a:gd name="T36" fmla="*/ 2147483647 w 448"/>
              <a:gd name="T37" fmla="*/ 2147483647 h 377"/>
              <a:gd name="T38" fmla="*/ 2147483647 w 448"/>
              <a:gd name="T39" fmla="*/ 2147483647 h 377"/>
              <a:gd name="T40" fmla="*/ 2147483647 w 448"/>
              <a:gd name="T41" fmla="*/ 2147483647 h 377"/>
              <a:gd name="T42" fmla="*/ 2147483647 w 448"/>
              <a:gd name="T43" fmla="*/ 2147483647 h 377"/>
              <a:gd name="T44" fmla="*/ 2147483647 w 448"/>
              <a:gd name="T45" fmla="*/ 2147483647 h 377"/>
              <a:gd name="T46" fmla="*/ 2147483647 w 448"/>
              <a:gd name="T47" fmla="*/ 2147483647 h 377"/>
              <a:gd name="T48" fmla="*/ 2147483647 w 448"/>
              <a:gd name="T49" fmla="*/ 2147483647 h 377"/>
              <a:gd name="T50" fmla="*/ 2147483647 w 448"/>
              <a:gd name="T51" fmla="*/ 2147483647 h 377"/>
              <a:gd name="T52" fmla="*/ 2147483647 w 448"/>
              <a:gd name="T53" fmla="*/ 2147483647 h 377"/>
              <a:gd name="T54" fmla="*/ 2147483647 w 448"/>
              <a:gd name="T55" fmla="*/ 2147483647 h 377"/>
              <a:gd name="T56" fmla="*/ 2147483647 w 448"/>
              <a:gd name="T57" fmla="*/ 2147483647 h 377"/>
              <a:gd name="T58" fmla="*/ 2147483647 w 448"/>
              <a:gd name="T59" fmla="*/ 2147483647 h 377"/>
              <a:gd name="T60" fmla="*/ 2147483647 w 448"/>
              <a:gd name="T61" fmla="*/ 2147483647 h 377"/>
              <a:gd name="T62" fmla="*/ 2147483647 w 448"/>
              <a:gd name="T63" fmla="*/ 2147483647 h 377"/>
              <a:gd name="T64" fmla="*/ 2147483647 w 448"/>
              <a:gd name="T65" fmla="*/ 2147483647 h 377"/>
              <a:gd name="T66" fmla="*/ 2147483647 w 448"/>
              <a:gd name="T67" fmla="*/ 2147483647 h 377"/>
              <a:gd name="T68" fmla="*/ 2147483647 w 448"/>
              <a:gd name="T69" fmla="*/ 2147483647 h 377"/>
              <a:gd name="T70" fmla="*/ 2147483647 w 448"/>
              <a:gd name="T71" fmla="*/ 2147483647 h 377"/>
              <a:gd name="T72" fmla="*/ 2147483647 w 448"/>
              <a:gd name="T73" fmla="*/ 2147483647 h 377"/>
              <a:gd name="T74" fmla="*/ 2147483647 w 448"/>
              <a:gd name="T75" fmla="*/ 2147483647 h 377"/>
              <a:gd name="T76" fmla="*/ 2147483647 w 448"/>
              <a:gd name="T77" fmla="*/ 2147483647 h 377"/>
              <a:gd name="T78" fmla="*/ 2147483647 w 448"/>
              <a:gd name="T79" fmla="*/ 2147483647 h 377"/>
              <a:gd name="T80" fmla="*/ 2147483647 w 448"/>
              <a:gd name="T81" fmla="*/ 2147483647 h 377"/>
              <a:gd name="T82" fmla="*/ 2147483647 w 448"/>
              <a:gd name="T83" fmla="*/ 2147483647 h 377"/>
              <a:gd name="T84" fmla="*/ 2147483647 w 448"/>
              <a:gd name="T85" fmla="*/ 2147483647 h 3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48"/>
              <a:gd name="T130" fmla="*/ 0 h 377"/>
              <a:gd name="T131" fmla="*/ 448 w 448"/>
              <a:gd name="T132" fmla="*/ 377 h 37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48" h="377">
                <a:moveTo>
                  <a:pt x="438" y="94"/>
                </a:moveTo>
                <a:lnTo>
                  <a:pt x="441" y="201"/>
                </a:lnTo>
                <a:lnTo>
                  <a:pt x="441" y="258"/>
                </a:lnTo>
                <a:lnTo>
                  <a:pt x="437" y="276"/>
                </a:lnTo>
                <a:lnTo>
                  <a:pt x="442" y="289"/>
                </a:lnTo>
                <a:lnTo>
                  <a:pt x="448" y="377"/>
                </a:lnTo>
                <a:lnTo>
                  <a:pt x="431" y="369"/>
                </a:lnTo>
                <a:lnTo>
                  <a:pt x="391" y="331"/>
                </a:lnTo>
                <a:lnTo>
                  <a:pt x="374" y="336"/>
                </a:lnTo>
                <a:lnTo>
                  <a:pt x="358" y="334"/>
                </a:lnTo>
                <a:lnTo>
                  <a:pt x="352" y="339"/>
                </a:lnTo>
                <a:lnTo>
                  <a:pt x="348" y="336"/>
                </a:lnTo>
                <a:lnTo>
                  <a:pt x="345" y="344"/>
                </a:lnTo>
                <a:lnTo>
                  <a:pt x="335" y="341"/>
                </a:lnTo>
                <a:lnTo>
                  <a:pt x="297" y="346"/>
                </a:lnTo>
                <a:lnTo>
                  <a:pt x="308" y="318"/>
                </a:lnTo>
                <a:lnTo>
                  <a:pt x="320" y="304"/>
                </a:lnTo>
                <a:lnTo>
                  <a:pt x="336" y="302"/>
                </a:lnTo>
                <a:lnTo>
                  <a:pt x="349" y="309"/>
                </a:lnTo>
                <a:lnTo>
                  <a:pt x="349" y="303"/>
                </a:lnTo>
                <a:lnTo>
                  <a:pt x="342" y="296"/>
                </a:lnTo>
                <a:lnTo>
                  <a:pt x="348" y="292"/>
                </a:lnTo>
                <a:lnTo>
                  <a:pt x="331" y="283"/>
                </a:lnTo>
                <a:lnTo>
                  <a:pt x="335" y="282"/>
                </a:lnTo>
                <a:lnTo>
                  <a:pt x="338" y="269"/>
                </a:lnTo>
                <a:lnTo>
                  <a:pt x="326" y="254"/>
                </a:lnTo>
                <a:lnTo>
                  <a:pt x="323" y="233"/>
                </a:lnTo>
                <a:lnTo>
                  <a:pt x="312" y="219"/>
                </a:lnTo>
                <a:lnTo>
                  <a:pt x="301" y="217"/>
                </a:lnTo>
                <a:lnTo>
                  <a:pt x="293" y="207"/>
                </a:lnTo>
                <a:lnTo>
                  <a:pt x="246" y="190"/>
                </a:lnTo>
                <a:lnTo>
                  <a:pt x="181" y="175"/>
                </a:lnTo>
                <a:lnTo>
                  <a:pt x="168" y="168"/>
                </a:lnTo>
                <a:lnTo>
                  <a:pt x="163" y="156"/>
                </a:lnTo>
                <a:lnTo>
                  <a:pt x="149" y="155"/>
                </a:lnTo>
                <a:lnTo>
                  <a:pt x="148" y="160"/>
                </a:lnTo>
                <a:lnTo>
                  <a:pt x="124" y="141"/>
                </a:lnTo>
                <a:lnTo>
                  <a:pt x="126" y="111"/>
                </a:lnTo>
                <a:lnTo>
                  <a:pt x="109" y="154"/>
                </a:lnTo>
                <a:lnTo>
                  <a:pt x="103" y="159"/>
                </a:lnTo>
                <a:lnTo>
                  <a:pt x="85" y="159"/>
                </a:lnTo>
                <a:lnTo>
                  <a:pt x="81" y="128"/>
                </a:lnTo>
                <a:lnTo>
                  <a:pt x="76" y="128"/>
                </a:lnTo>
                <a:lnTo>
                  <a:pt x="62" y="113"/>
                </a:lnTo>
                <a:lnTo>
                  <a:pt x="44" y="110"/>
                </a:lnTo>
                <a:lnTo>
                  <a:pt x="45" y="103"/>
                </a:lnTo>
                <a:lnTo>
                  <a:pt x="53" y="100"/>
                </a:lnTo>
                <a:lnTo>
                  <a:pt x="75" y="102"/>
                </a:lnTo>
                <a:lnTo>
                  <a:pt x="98" y="91"/>
                </a:lnTo>
                <a:lnTo>
                  <a:pt x="116" y="94"/>
                </a:lnTo>
                <a:lnTo>
                  <a:pt x="123" y="91"/>
                </a:lnTo>
                <a:lnTo>
                  <a:pt x="127" y="73"/>
                </a:lnTo>
                <a:lnTo>
                  <a:pt x="87" y="84"/>
                </a:lnTo>
                <a:lnTo>
                  <a:pt x="61" y="84"/>
                </a:lnTo>
                <a:lnTo>
                  <a:pt x="50" y="78"/>
                </a:lnTo>
                <a:lnTo>
                  <a:pt x="36" y="53"/>
                </a:lnTo>
                <a:lnTo>
                  <a:pt x="15" y="47"/>
                </a:lnTo>
                <a:lnTo>
                  <a:pt x="14" y="52"/>
                </a:lnTo>
                <a:lnTo>
                  <a:pt x="0" y="46"/>
                </a:lnTo>
                <a:lnTo>
                  <a:pt x="13" y="22"/>
                </a:lnTo>
                <a:lnTo>
                  <a:pt x="37" y="16"/>
                </a:lnTo>
                <a:lnTo>
                  <a:pt x="52" y="3"/>
                </a:lnTo>
                <a:lnTo>
                  <a:pt x="62" y="0"/>
                </a:lnTo>
                <a:lnTo>
                  <a:pt x="84" y="3"/>
                </a:lnTo>
                <a:lnTo>
                  <a:pt x="105" y="18"/>
                </a:lnTo>
                <a:lnTo>
                  <a:pt x="132" y="18"/>
                </a:lnTo>
                <a:lnTo>
                  <a:pt x="140" y="38"/>
                </a:lnTo>
                <a:lnTo>
                  <a:pt x="137" y="71"/>
                </a:lnTo>
                <a:lnTo>
                  <a:pt x="141" y="89"/>
                </a:lnTo>
                <a:lnTo>
                  <a:pt x="151" y="104"/>
                </a:lnTo>
                <a:lnTo>
                  <a:pt x="153" y="93"/>
                </a:lnTo>
                <a:lnTo>
                  <a:pt x="161" y="96"/>
                </a:lnTo>
                <a:lnTo>
                  <a:pt x="171" y="121"/>
                </a:lnTo>
                <a:lnTo>
                  <a:pt x="185" y="129"/>
                </a:lnTo>
                <a:lnTo>
                  <a:pt x="201" y="128"/>
                </a:lnTo>
                <a:lnTo>
                  <a:pt x="205" y="119"/>
                </a:lnTo>
                <a:lnTo>
                  <a:pt x="232" y="94"/>
                </a:lnTo>
                <a:lnTo>
                  <a:pt x="237" y="81"/>
                </a:lnTo>
                <a:lnTo>
                  <a:pt x="265" y="76"/>
                </a:lnTo>
                <a:lnTo>
                  <a:pt x="272" y="72"/>
                </a:lnTo>
                <a:lnTo>
                  <a:pt x="275" y="61"/>
                </a:lnTo>
                <a:lnTo>
                  <a:pt x="299" y="46"/>
                </a:lnTo>
                <a:lnTo>
                  <a:pt x="378" y="82"/>
                </a:lnTo>
                <a:lnTo>
                  <a:pt x="412" y="85"/>
                </a:lnTo>
                <a:lnTo>
                  <a:pt x="427" y="95"/>
                </a:lnTo>
                <a:lnTo>
                  <a:pt x="438" y="94"/>
                </a:lnTo>
                <a:close/>
              </a:path>
            </a:pathLst>
          </a:custGeom>
          <a:solidFill>
            <a:schemeClr val="accent1"/>
          </a:solidFill>
          <a:ln w="6350">
            <a:solidFill>
              <a:schemeClr val="tx2"/>
            </a:solidFill>
            <a:round/>
            <a:headEnd/>
            <a:tailEnd/>
          </a:ln>
        </p:spPr>
        <p:txBody>
          <a:bodyPr/>
          <a:lstStyle/>
          <a:p>
            <a:endParaRPr lang="en-US"/>
          </a:p>
        </p:txBody>
      </p:sp>
      <p:sp>
        <p:nvSpPr>
          <p:cNvPr id="397" name="Freeform 1404"/>
          <p:cNvSpPr>
            <a:spLocks/>
          </p:cNvSpPr>
          <p:nvPr/>
        </p:nvSpPr>
        <p:spPr bwMode="auto">
          <a:xfrm>
            <a:off x="8647113" y="4296125"/>
            <a:ext cx="199234" cy="146470"/>
          </a:xfrm>
          <a:custGeom>
            <a:avLst/>
            <a:gdLst>
              <a:gd name="T0" fmla="*/ 2147483647 w 427"/>
              <a:gd name="T1" fmla="*/ 0 h 350"/>
              <a:gd name="T2" fmla="*/ 2147483647 w 427"/>
              <a:gd name="T3" fmla="*/ 2147483647 h 350"/>
              <a:gd name="T4" fmla="*/ 2147483647 w 427"/>
              <a:gd name="T5" fmla="*/ 2147483647 h 350"/>
              <a:gd name="T6" fmla="*/ 0 w 427"/>
              <a:gd name="T7" fmla="*/ 2147483647 h 350"/>
              <a:gd name="T8" fmla="*/ 2147483647 w 427"/>
              <a:gd name="T9" fmla="*/ 2147483647 h 350"/>
              <a:gd name="T10" fmla="*/ 2147483647 w 427"/>
              <a:gd name="T11" fmla="*/ 2147483647 h 350"/>
              <a:gd name="T12" fmla="*/ 2147483647 w 427"/>
              <a:gd name="T13" fmla="*/ 2147483647 h 350"/>
              <a:gd name="T14" fmla="*/ 2147483647 w 427"/>
              <a:gd name="T15" fmla="*/ 2147483647 h 350"/>
              <a:gd name="T16" fmla="*/ 2147483647 w 427"/>
              <a:gd name="T17" fmla="*/ 2147483647 h 350"/>
              <a:gd name="T18" fmla="*/ 2147483647 w 427"/>
              <a:gd name="T19" fmla="*/ 2147483647 h 350"/>
              <a:gd name="T20" fmla="*/ 2147483647 w 427"/>
              <a:gd name="T21" fmla="*/ 2147483647 h 350"/>
              <a:gd name="T22" fmla="*/ 2147483647 w 427"/>
              <a:gd name="T23" fmla="*/ 2147483647 h 350"/>
              <a:gd name="T24" fmla="*/ 2147483647 w 427"/>
              <a:gd name="T25" fmla="*/ 2147483647 h 350"/>
              <a:gd name="T26" fmla="*/ 2147483647 w 427"/>
              <a:gd name="T27" fmla="*/ 2147483647 h 350"/>
              <a:gd name="T28" fmla="*/ 2147483647 w 427"/>
              <a:gd name="T29" fmla="*/ 2147483647 h 350"/>
              <a:gd name="T30" fmla="*/ 2147483647 w 427"/>
              <a:gd name="T31" fmla="*/ 2147483647 h 350"/>
              <a:gd name="T32" fmla="*/ 2147483647 w 427"/>
              <a:gd name="T33" fmla="*/ 2147483647 h 350"/>
              <a:gd name="T34" fmla="*/ 2147483647 w 427"/>
              <a:gd name="T35" fmla="*/ 2147483647 h 350"/>
              <a:gd name="T36" fmla="*/ 2147483647 w 427"/>
              <a:gd name="T37" fmla="*/ 2147483647 h 350"/>
              <a:gd name="T38" fmla="*/ 2147483647 w 427"/>
              <a:gd name="T39" fmla="*/ 2147483647 h 350"/>
              <a:gd name="T40" fmla="*/ 2147483647 w 427"/>
              <a:gd name="T41" fmla="*/ 2147483647 h 350"/>
              <a:gd name="T42" fmla="*/ 2147483647 w 427"/>
              <a:gd name="T43" fmla="*/ 2147483647 h 350"/>
              <a:gd name="T44" fmla="*/ 2147483647 w 427"/>
              <a:gd name="T45" fmla="*/ 2147483647 h 350"/>
              <a:gd name="T46" fmla="*/ 2147483647 w 427"/>
              <a:gd name="T47" fmla="*/ 2147483647 h 350"/>
              <a:gd name="T48" fmla="*/ 2147483647 w 427"/>
              <a:gd name="T49" fmla="*/ 2147483647 h 350"/>
              <a:gd name="T50" fmla="*/ 2147483647 w 427"/>
              <a:gd name="T51" fmla="*/ 2147483647 h 350"/>
              <a:gd name="T52" fmla="*/ 2147483647 w 427"/>
              <a:gd name="T53" fmla="*/ 2147483647 h 350"/>
              <a:gd name="T54" fmla="*/ 2147483647 w 427"/>
              <a:gd name="T55" fmla="*/ 2147483647 h 350"/>
              <a:gd name="T56" fmla="*/ 2147483647 w 427"/>
              <a:gd name="T57" fmla="*/ 2147483647 h 350"/>
              <a:gd name="T58" fmla="*/ 2147483647 w 427"/>
              <a:gd name="T59" fmla="*/ 2147483647 h 350"/>
              <a:gd name="T60" fmla="*/ 2147483647 w 427"/>
              <a:gd name="T61" fmla="*/ 2147483647 h 350"/>
              <a:gd name="T62" fmla="*/ 2147483647 w 427"/>
              <a:gd name="T63" fmla="*/ 2147483647 h 350"/>
              <a:gd name="T64" fmla="*/ 2147483647 w 427"/>
              <a:gd name="T65" fmla="*/ 2147483647 h 350"/>
              <a:gd name="T66" fmla="*/ 2147483647 w 427"/>
              <a:gd name="T67" fmla="*/ 2147483647 h 350"/>
              <a:gd name="T68" fmla="*/ 2147483647 w 427"/>
              <a:gd name="T69" fmla="*/ 2147483647 h 350"/>
              <a:gd name="T70" fmla="*/ 2147483647 w 427"/>
              <a:gd name="T71" fmla="*/ 2147483647 h 350"/>
              <a:gd name="T72" fmla="*/ 2147483647 w 427"/>
              <a:gd name="T73" fmla="*/ 2147483647 h 350"/>
              <a:gd name="T74" fmla="*/ 2147483647 w 427"/>
              <a:gd name="T75" fmla="*/ 2147483647 h 350"/>
              <a:gd name="T76" fmla="*/ 2147483647 w 427"/>
              <a:gd name="T77" fmla="*/ 2147483647 h 350"/>
              <a:gd name="T78" fmla="*/ 2147483647 w 427"/>
              <a:gd name="T79" fmla="*/ 2147483647 h 350"/>
              <a:gd name="T80" fmla="*/ 2147483647 w 427"/>
              <a:gd name="T81" fmla="*/ 2147483647 h 350"/>
              <a:gd name="T82" fmla="*/ 2147483647 w 427"/>
              <a:gd name="T83" fmla="*/ 2147483647 h 350"/>
              <a:gd name="T84" fmla="*/ 2147483647 w 427"/>
              <a:gd name="T85" fmla="*/ 2147483647 h 350"/>
              <a:gd name="T86" fmla="*/ 2147483647 w 427"/>
              <a:gd name="T87" fmla="*/ 2147483647 h 350"/>
              <a:gd name="T88" fmla="*/ 2147483647 w 427"/>
              <a:gd name="T89" fmla="*/ 2147483647 h 350"/>
              <a:gd name="T90" fmla="*/ 2147483647 w 427"/>
              <a:gd name="T91" fmla="*/ 2147483647 h 350"/>
              <a:gd name="T92" fmla="*/ 2147483647 w 427"/>
              <a:gd name="T93" fmla="*/ 2147483647 h 350"/>
              <a:gd name="T94" fmla="*/ 2147483647 w 427"/>
              <a:gd name="T95" fmla="*/ 2147483647 h 350"/>
              <a:gd name="T96" fmla="*/ 2147483647 w 427"/>
              <a:gd name="T97" fmla="*/ 2147483647 h 350"/>
              <a:gd name="T98" fmla="*/ 2147483647 w 427"/>
              <a:gd name="T99" fmla="*/ 2147483647 h 350"/>
              <a:gd name="T100" fmla="*/ 2147483647 w 427"/>
              <a:gd name="T101" fmla="*/ 2147483647 h 350"/>
              <a:gd name="T102" fmla="*/ 2147483647 w 427"/>
              <a:gd name="T103" fmla="*/ 0 h 3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27"/>
              <a:gd name="T157" fmla="*/ 0 h 350"/>
              <a:gd name="T158" fmla="*/ 427 w 427"/>
              <a:gd name="T159" fmla="*/ 350 h 3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27" h="350">
                <a:moveTo>
                  <a:pt x="1" y="0"/>
                </a:moveTo>
                <a:lnTo>
                  <a:pt x="4" y="107"/>
                </a:lnTo>
                <a:lnTo>
                  <a:pt x="4" y="164"/>
                </a:lnTo>
                <a:lnTo>
                  <a:pt x="0" y="182"/>
                </a:lnTo>
                <a:lnTo>
                  <a:pt x="5" y="195"/>
                </a:lnTo>
                <a:lnTo>
                  <a:pt x="11" y="283"/>
                </a:lnTo>
                <a:lnTo>
                  <a:pt x="78" y="288"/>
                </a:lnTo>
                <a:lnTo>
                  <a:pt x="101" y="273"/>
                </a:lnTo>
                <a:lnTo>
                  <a:pt x="87" y="250"/>
                </a:lnTo>
                <a:lnTo>
                  <a:pt x="107" y="243"/>
                </a:lnTo>
                <a:lnTo>
                  <a:pt x="109" y="235"/>
                </a:lnTo>
                <a:lnTo>
                  <a:pt x="125" y="233"/>
                </a:lnTo>
                <a:lnTo>
                  <a:pt x="120" y="215"/>
                </a:lnTo>
                <a:lnTo>
                  <a:pt x="136" y="221"/>
                </a:lnTo>
                <a:lnTo>
                  <a:pt x="148" y="212"/>
                </a:lnTo>
                <a:lnTo>
                  <a:pt x="226" y="245"/>
                </a:lnTo>
                <a:lnTo>
                  <a:pt x="244" y="279"/>
                </a:lnTo>
                <a:lnTo>
                  <a:pt x="259" y="280"/>
                </a:lnTo>
                <a:lnTo>
                  <a:pt x="259" y="289"/>
                </a:lnTo>
                <a:lnTo>
                  <a:pt x="292" y="323"/>
                </a:lnTo>
                <a:lnTo>
                  <a:pt x="389" y="339"/>
                </a:lnTo>
                <a:lnTo>
                  <a:pt x="391" y="347"/>
                </a:lnTo>
                <a:lnTo>
                  <a:pt x="403" y="350"/>
                </a:lnTo>
                <a:lnTo>
                  <a:pt x="417" y="342"/>
                </a:lnTo>
                <a:lnTo>
                  <a:pt x="404" y="336"/>
                </a:lnTo>
                <a:lnTo>
                  <a:pt x="419" y="336"/>
                </a:lnTo>
                <a:lnTo>
                  <a:pt x="427" y="334"/>
                </a:lnTo>
                <a:lnTo>
                  <a:pt x="426" y="330"/>
                </a:lnTo>
                <a:lnTo>
                  <a:pt x="406" y="328"/>
                </a:lnTo>
                <a:lnTo>
                  <a:pt x="381" y="316"/>
                </a:lnTo>
                <a:lnTo>
                  <a:pt x="391" y="308"/>
                </a:lnTo>
                <a:lnTo>
                  <a:pt x="355" y="296"/>
                </a:lnTo>
                <a:lnTo>
                  <a:pt x="357" y="281"/>
                </a:lnTo>
                <a:lnTo>
                  <a:pt x="353" y="278"/>
                </a:lnTo>
                <a:lnTo>
                  <a:pt x="334" y="280"/>
                </a:lnTo>
                <a:lnTo>
                  <a:pt x="328" y="277"/>
                </a:lnTo>
                <a:lnTo>
                  <a:pt x="311" y="254"/>
                </a:lnTo>
                <a:lnTo>
                  <a:pt x="309" y="239"/>
                </a:lnTo>
                <a:lnTo>
                  <a:pt x="303" y="237"/>
                </a:lnTo>
                <a:lnTo>
                  <a:pt x="273" y="211"/>
                </a:lnTo>
                <a:lnTo>
                  <a:pt x="262" y="187"/>
                </a:lnTo>
                <a:lnTo>
                  <a:pt x="266" y="183"/>
                </a:lnTo>
                <a:lnTo>
                  <a:pt x="296" y="179"/>
                </a:lnTo>
                <a:lnTo>
                  <a:pt x="297" y="168"/>
                </a:lnTo>
                <a:lnTo>
                  <a:pt x="287" y="152"/>
                </a:lnTo>
                <a:lnTo>
                  <a:pt x="212" y="127"/>
                </a:lnTo>
                <a:lnTo>
                  <a:pt x="209" y="109"/>
                </a:lnTo>
                <a:lnTo>
                  <a:pt x="197" y="90"/>
                </a:lnTo>
                <a:lnTo>
                  <a:pt x="158" y="65"/>
                </a:lnTo>
                <a:lnTo>
                  <a:pt x="147" y="51"/>
                </a:lnTo>
                <a:lnTo>
                  <a:pt x="64" y="27"/>
                </a:lnTo>
                <a:lnTo>
                  <a:pt x="1" y="0"/>
                </a:lnTo>
                <a:close/>
              </a:path>
            </a:pathLst>
          </a:custGeom>
          <a:solidFill>
            <a:schemeClr val="accent1"/>
          </a:solidFill>
          <a:ln w="6350">
            <a:solidFill>
              <a:schemeClr val="tx2"/>
            </a:solidFill>
            <a:round/>
            <a:headEnd/>
            <a:tailEnd/>
          </a:ln>
        </p:spPr>
        <p:txBody>
          <a:bodyPr/>
          <a:lstStyle/>
          <a:p>
            <a:endParaRPr lang="en-US"/>
          </a:p>
        </p:txBody>
      </p:sp>
      <p:sp>
        <p:nvSpPr>
          <p:cNvPr id="398" name="Freeform 1405"/>
          <p:cNvSpPr>
            <a:spLocks/>
          </p:cNvSpPr>
          <p:nvPr/>
        </p:nvSpPr>
        <p:spPr bwMode="auto">
          <a:xfrm>
            <a:off x="7818643" y="4131825"/>
            <a:ext cx="83134" cy="94250"/>
          </a:xfrm>
          <a:custGeom>
            <a:avLst/>
            <a:gdLst>
              <a:gd name="T0" fmla="*/ 2147483647 w 177"/>
              <a:gd name="T1" fmla="*/ 2147483647 h 226"/>
              <a:gd name="T2" fmla="*/ 2147483647 w 177"/>
              <a:gd name="T3" fmla="*/ 2147483647 h 226"/>
              <a:gd name="T4" fmla="*/ 2147483647 w 177"/>
              <a:gd name="T5" fmla="*/ 2147483647 h 226"/>
              <a:gd name="T6" fmla="*/ 2147483647 w 177"/>
              <a:gd name="T7" fmla="*/ 2147483647 h 226"/>
              <a:gd name="T8" fmla="*/ 2147483647 w 177"/>
              <a:gd name="T9" fmla="*/ 2147483647 h 226"/>
              <a:gd name="T10" fmla="*/ 2147483647 w 177"/>
              <a:gd name="T11" fmla="*/ 2147483647 h 226"/>
              <a:gd name="T12" fmla="*/ 2147483647 w 177"/>
              <a:gd name="T13" fmla="*/ 2147483647 h 226"/>
              <a:gd name="T14" fmla="*/ 2147483647 w 177"/>
              <a:gd name="T15" fmla="*/ 2147483647 h 226"/>
              <a:gd name="T16" fmla="*/ 2147483647 w 177"/>
              <a:gd name="T17" fmla="*/ 2147483647 h 226"/>
              <a:gd name="T18" fmla="*/ 2147483647 w 177"/>
              <a:gd name="T19" fmla="*/ 2147483647 h 226"/>
              <a:gd name="T20" fmla="*/ 2147483647 w 177"/>
              <a:gd name="T21" fmla="*/ 2147483647 h 226"/>
              <a:gd name="T22" fmla="*/ 2147483647 w 177"/>
              <a:gd name="T23" fmla="*/ 2147483647 h 226"/>
              <a:gd name="T24" fmla="*/ 2147483647 w 177"/>
              <a:gd name="T25" fmla="*/ 2147483647 h 226"/>
              <a:gd name="T26" fmla="*/ 2147483647 w 177"/>
              <a:gd name="T27" fmla="*/ 2147483647 h 226"/>
              <a:gd name="T28" fmla="*/ 2147483647 w 177"/>
              <a:gd name="T29" fmla="*/ 2147483647 h 226"/>
              <a:gd name="T30" fmla="*/ 2147483647 w 177"/>
              <a:gd name="T31" fmla="*/ 2147483647 h 226"/>
              <a:gd name="T32" fmla="*/ 2147483647 w 177"/>
              <a:gd name="T33" fmla="*/ 2147483647 h 226"/>
              <a:gd name="T34" fmla="*/ 2147483647 w 177"/>
              <a:gd name="T35" fmla="*/ 2147483647 h 226"/>
              <a:gd name="T36" fmla="*/ 2147483647 w 177"/>
              <a:gd name="T37" fmla="*/ 2147483647 h 226"/>
              <a:gd name="T38" fmla="*/ 0 w 177"/>
              <a:gd name="T39" fmla="*/ 0 h 226"/>
              <a:gd name="T40" fmla="*/ 2147483647 w 177"/>
              <a:gd name="T41" fmla="*/ 2147483647 h 226"/>
              <a:gd name="T42" fmla="*/ 2147483647 w 177"/>
              <a:gd name="T43" fmla="*/ 2147483647 h 226"/>
              <a:gd name="T44" fmla="*/ 2147483647 w 177"/>
              <a:gd name="T45" fmla="*/ 2147483647 h 226"/>
              <a:gd name="T46" fmla="*/ 2147483647 w 177"/>
              <a:gd name="T47" fmla="*/ 2147483647 h 226"/>
              <a:gd name="T48" fmla="*/ 2147483647 w 177"/>
              <a:gd name="T49" fmla="*/ 2147483647 h 226"/>
              <a:gd name="T50" fmla="*/ 2147483647 w 177"/>
              <a:gd name="T51" fmla="*/ 2147483647 h 2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7"/>
              <a:gd name="T79" fmla="*/ 0 h 226"/>
              <a:gd name="T80" fmla="*/ 177 w 177"/>
              <a:gd name="T81" fmla="*/ 226 h 2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7" h="226">
                <a:moveTo>
                  <a:pt x="87" y="22"/>
                </a:moveTo>
                <a:lnTo>
                  <a:pt x="96" y="22"/>
                </a:lnTo>
                <a:lnTo>
                  <a:pt x="124" y="47"/>
                </a:lnTo>
                <a:lnTo>
                  <a:pt x="142" y="75"/>
                </a:lnTo>
                <a:lnTo>
                  <a:pt x="143" y="149"/>
                </a:lnTo>
                <a:lnTo>
                  <a:pt x="148" y="164"/>
                </a:lnTo>
                <a:lnTo>
                  <a:pt x="161" y="173"/>
                </a:lnTo>
                <a:lnTo>
                  <a:pt x="177" y="208"/>
                </a:lnTo>
                <a:lnTo>
                  <a:pt x="172" y="225"/>
                </a:lnTo>
                <a:lnTo>
                  <a:pt x="155" y="217"/>
                </a:lnTo>
                <a:lnTo>
                  <a:pt x="143" y="226"/>
                </a:lnTo>
                <a:lnTo>
                  <a:pt x="90" y="193"/>
                </a:lnTo>
                <a:lnTo>
                  <a:pt x="53" y="163"/>
                </a:lnTo>
                <a:lnTo>
                  <a:pt x="47" y="143"/>
                </a:lnTo>
                <a:lnTo>
                  <a:pt x="26" y="116"/>
                </a:lnTo>
                <a:lnTo>
                  <a:pt x="20" y="102"/>
                </a:lnTo>
                <a:lnTo>
                  <a:pt x="21" y="81"/>
                </a:lnTo>
                <a:lnTo>
                  <a:pt x="12" y="69"/>
                </a:lnTo>
                <a:lnTo>
                  <a:pt x="3" y="12"/>
                </a:lnTo>
                <a:lnTo>
                  <a:pt x="0" y="0"/>
                </a:lnTo>
                <a:lnTo>
                  <a:pt x="36" y="11"/>
                </a:lnTo>
                <a:lnTo>
                  <a:pt x="44" y="22"/>
                </a:lnTo>
                <a:lnTo>
                  <a:pt x="46" y="44"/>
                </a:lnTo>
                <a:lnTo>
                  <a:pt x="64" y="32"/>
                </a:lnTo>
                <a:lnTo>
                  <a:pt x="81" y="32"/>
                </a:lnTo>
                <a:lnTo>
                  <a:pt x="87" y="22"/>
                </a:lnTo>
                <a:close/>
              </a:path>
            </a:pathLst>
          </a:custGeom>
          <a:solidFill>
            <a:schemeClr val="accent1"/>
          </a:solidFill>
          <a:ln w="6350">
            <a:solidFill>
              <a:schemeClr val="tx2"/>
            </a:solidFill>
            <a:round/>
            <a:headEnd/>
            <a:tailEnd/>
          </a:ln>
        </p:spPr>
        <p:txBody>
          <a:bodyPr/>
          <a:lstStyle/>
          <a:p>
            <a:endParaRPr lang="en-US"/>
          </a:p>
        </p:txBody>
      </p:sp>
      <p:sp>
        <p:nvSpPr>
          <p:cNvPr id="399" name="Freeform 1406"/>
          <p:cNvSpPr>
            <a:spLocks/>
          </p:cNvSpPr>
          <p:nvPr/>
        </p:nvSpPr>
        <p:spPr bwMode="auto">
          <a:xfrm>
            <a:off x="8009278" y="4128002"/>
            <a:ext cx="196367" cy="106988"/>
          </a:xfrm>
          <a:custGeom>
            <a:avLst/>
            <a:gdLst>
              <a:gd name="T0" fmla="*/ 2147483647 w 416"/>
              <a:gd name="T1" fmla="*/ 2147483647 h 258"/>
              <a:gd name="T2" fmla="*/ 2147483647 w 416"/>
              <a:gd name="T3" fmla="*/ 2147483647 h 258"/>
              <a:gd name="T4" fmla="*/ 2147483647 w 416"/>
              <a:gd name="T5" fmla="*/ 2147483647 h 258"/>
              <a:gd name="T6" fmla="*/ 2147483647 w 416"/>
              <a:gd name="T7" fmla="*/ 2147483647 h 258"/>
              <a:gd name="T8" fmla="*/ 2147483647 w 416"/>
              <a:gd name="T9" fmla="*/ 2147483647 h 258"/>
              <a:gd name="T10" fmla="*/ 2147483647 w 416"/>
              <a:gd name="T11" fmla="*/ 2147483647 h 258"/>
              <a:gd name="T12" fmla="*/ 2147483647 w 416"/>
              <a:gd name="T13" fmla="*/ 0 h 258"/>
              <a:gd name="T14" fmla="*/ 2147483647 w 416"/>
              <a:gd name="T15" fmla="*/ 2147483647 h 258"/>
              <a:gd name="T16" fmla="*/ 2147483647 w 416"/>
              <a:gd name="T17" fmla="*/ 2147483647 h 258"/>
              <a:gd name="T18" fmla="*/ 2147483647 w 416"/>
              <a:gd name="T19" fmla="*/ 2147483647 h 258"/>
              <a:gd name="T20" fmla="*/ 2147483647 w 416"/>
              <a:gd name="T21" fmla="*/ 2147483647 h 258"/>
              <a:gd name="T22" fmla="*/ 2147483647 w 416"/>
              <a:gd name="T23" fmla="*/ 2147483647 h 258"/>
              <a:gd name="T24" fmla="*/ 2147483647 w 416"/>
              <a:gd name="T25" fmla="*/ 2147483647 h 258"/>
              <a:gd name="T26" fmla="*/ 2147483647 w 416"/>
              <a:gd name="T27" fmla="*/ 2147483647 h 258"/>
              <a:gd name="T28" fmla="*/ 2147483647 w 416"/>
              <a:gd name="T29" fmla="*/ 2147483647 h 258"/>
              <a:gd name="T30" fmla="*/ 2147483647 w 416"/>
              <a:gd name="T31" fmla="*/ 2147483647 h 258"/>
              <a:gd name="T32" fmla="*/ 2147483647 w 416"/>
              <a:gd name="T33" fmla="*/ 2147483647 h 258"/>
              <a:gd name="T34" fmla="*/ 2147483647 w 416"/>
              <a:gd name="T35" fmla="*/ 2147483647 h 258"/>
              <a:gd name="T36" fmla="*/ 2147483647 w 416"/>
              <a:gd name="T37" fmla="*/ 2147483647 h 258"/>
              <a:gd name="T38" fmla="*/ 2147483647 w 416"/>
              <a:gd name="T39" fmla="*/ 2147483647 h 258"/>
              <a:gd name="T40" fmla="*/ 2147483647 w 416"/>
              <a:gd name="T41" fmla="*/ 2147483647 h 258"/>
              <a:gd name="T42" fmla="*/ 2147483647 w 416"/>
              <a:gd name="T43" fmla="*/ 2147483647 h 258"/>
              <a:gd name="T44" fmla="*/ 2147483647 w 416"/>
              <a:gd name="T45" fmla="*/ 2147483647 h 258"/>
              <a:gd name="T46" fmla="*/ 2147483647 w 416"/>
              <a:gd name="T47" fmla="*/ 2147483647 h 258"/>
              <a:gd name="T48" fmla="*/ 2147483647 w 416"/>
              <a:gd name="T49" fmla="*/ 2147483647 h 258"/>
              <a:gd name="T50" fmla="*/ 2147483647 w 416"/>
              <a:gd name="T51" fmla="*/ 2147483647 h 258"/>
              <a:gd name="T52" fmla="*/ 2147483647 w 416"/>
              <a:gd name="T53" fmla="*/ 2147483647 h 258"/>
              <a:gd name="T54" fmla="*/ 2147483647 w 416"/>
              <a:gd name="T55" fmla="*/ 2147483647 h 258"/>
              <a:gd name="T56" fmla="*/ 2147483647 w 416"/>
              <a:gd name="T57" fmla="*/ 2147483647 h 258"/>
              <a:gd name="T58" fmla="*/ 2147483647 w 416"/>
              <a:gd name="T59" fmla="*/ 2147483647 h 258"/>
              <a:gd name="T60" fmla="*/ 2147483647 w 416"/>
              <a:gd name="T61" fmla="*/ 2147483647 h 258"/>
              <a:gd name="T62" fmla="*/ 2147483647 w 416"/>
              <a:gd name="T63" fmla="*/ 2147483647 h 2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16"/>
              <a:gd name="T97" fmla="*/ 0 h 258"/>
              <a:gd name="T98" fmla="*/ 416 w 416"/>
              <a:gd name="T99" fmla="*/ 258 h 2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16" h="258">
                <a:moveTo>
                  <a:pt x="190" y="102"/>
                </a:moveTo>
                <a:lnTo>
                  <a:pt x="216" y="125"/>
                </a:lnTo>
                <a:lnTo>
                  <a:pt x="222" y="118"/>
                </a:lnTo>
                <a:lnTo>
                  <a:pt x="223" y="99"/>
                </a:lnTo>
                <a:lnTo>
                  <a:pt x="230" y="94"/>
                </a:lnTo>
                <a:lnTo>
                  <a:pt x="240" y="108"/>
                </a:lnTo>
                <a:lnTo>
                  <a:pt x="248" y="110"/>
                </a:lnTo>
                <a:lnTo>
                  <a:pt x="249" y="97"/>
                </a:lnTo>
                <a:lnTo>
                  <a:pt x="242" y="88"/>
                </a:lnTo>
                <a:lnTo>
                  <a:pt x="257" y="77"/>
                </a:lnTo>
                <a:lnTo>
                  <a:pt x="250" y="69"/>
                </a:lnTo>
                <a:lnTo>
                  <a:pt x="254" y="64"/>
                </a:lnTo>
                <a:lnTo>
                  <a:pt x="266" y="62"/>
                </a:lnTo>
                <a:lnTo>
                  <a:pt x="307" y="0"/>
                </a:lnTo>
                <a:lnTo>
                  <a:pt x="308" y="19"/>
                </a:lnTo>
                <a:lnTo>
                  <a:pt x="320" y="1"/>
                </a:lnTo>
                <a:lnTo>
                  <a:pt x="326" y="1"/>
                </a:lnTo>
                <a:lnTo>
                  <a:pt x="331" y="15"/>
                </a:lnTo>
                <a:lnTo>
                  <a:pt x="347" y="23"/>
                </a:lnTo>
                <a:lnTo>
                  <a:pt x="347" y="45"/>
                </a:lnTo>
                <a:lnTo>
                  <a:pt x="363" y="43"/>
                </a:lnTo>
                <a:lnTo>
                  <a:pt x="363" y="55"/>
                </a:lnTo>
                <a:lnTo>
                  <a:pt x="376" y="52"/>
                </a:lnTo>
                <a:lnTo>
                  <a:pt x="410" y="68"/>
                </a:lnTo>
                <a:lnTo>
                  <a:pt x="416" y="76"/>
                </a:lnTo>
                <a:lnTo>
                  <a:pt x="393" y="89"/>
                </a:lnTo>
                <a:lnTo>
                  <a:pt x="372" y="90"/>
                </a:lnTo>
                <a:lnTo>
                  <a:pt x="373" y="100"/>
                </a:lnTo>
                <a:lnTo>
                  <a:pt x="387" y="110"/>
                </a:lnTo>
                <a:lnTo>
                  <a:pt x="363" y="117"/>
                </a:lnTo>
                <a:lnTo>
                  <a:pt x="349" y="112"/>
                </a:lnTo>
                <a:lnTo>
                  <a:pt x="345" y="119"/>
                </a:lnTo>
                <a:lnTo>
                  <a:pt x="324" y="111"/>
                </a:lnTo>
                <a:lnTo>
                  <a:pt x="269" y="112"/>
                </a:lnTo>
                <a:lnTo>
                  <a:pt x="254" y="157"/>
                </a:lnTo>
                <a:lnTo>
                  <a:pt x="232" y="181"/>
                </a:lnTo>
                <a:lnTo>
                  <a:pt x="221" y="216"/>
                </a:lnTo>
                <a:lnTo>
                  <a:pt x="213" y="231"/>
                </a:lnTo>
                <a:lnTo>
                  <a:pt x="197" y="238"/>
                </a:lnTo>
                <a:lnTo>
                  <a:pt x="164" y="246"/>
                </a:lnTo>
                <a:lnTo>
                  <a:pt x="144" y="240"/>
                </a:lnTo>
                <a:lnTo>
                  <a:pt x="139" y="233"/>
                </a:lnTo>
                <a:lnTo>
                  <a:pt x="117" y="232"/>
                </a:lnTo>
                <a:lnTo>
                  <a:pt x="90" y="256"/>
                </a:lnTo>
                <a:lnTo>
                  <a:pt x="68" y="258"/>
                </a:lnTo>
                <a:lnTo>
                  <a:pt x="58" y="254"/>
                </a:lnTo>
                <a:lnTo>
                  <a:pt x="41" y="258"/>
                </a:lnTo>
                <a:lnTo>
                  <a:pt x="30" y="255"/>
                </a:lnTo>
                <a:lnTo>
                  <a:pt x="19" y="252"/>
                </a:lnTo>
                <a:lnTo>
                  <a:pt x="1" y="221"/>
                </a:lnTo>
                <a:lnTo>
                  <a:pt x="0" y="210"/>
                </a:lnTo>
                <a:lnTo>
                  <a:pt x="5" y="207"/>
                </a:lnTo>
                <a:lnTo>
                  <a:pt x="10" y="218"/>
                </a:lnTo>
                <a:lnTo>
                  <a:pt x="21" y="222"/>
                </a:lnTo>
                <a:lnTo>
                  <a:pt x="35" y="222"/>
                </a:lnTo>
                <a:lnTo>
                  <a:pt x="66" y="230"/>
                </a:lnTo>
                <a:lnTo>
                  <a:pt x="73" y="206"/>
                </a:lnTo>
                <a:lnTo>
                  <a:pt x="71" y="198"/>
                </a:lnTo>
                <a:lnTo>
                  <a:pt x="81" y="198"/>
                </a:lnTo>
                <a:lnTo>
                  <a:pt x="81" y="187"/>
                </a:lnTo>
                <a:lnTo>
                  <a:pt x="88" y="177"/>
                </a:lnTo>
                <a:lnTo>
                  <a:pt x="141" y="166"/>
                </a:lnTo>
                <a:lnTo>
                  <a:pt x="180" y="121"/>
                </a:lnTo>
                <a:lnTo>
                  <a:pt x="190" y="102"/>
                </a:lnTo>
                <a:close/>
              </a:path>
            </a:pathLst>
          </a:custGeom>
          <a:solidFill>
            <a:schemeClr val="accent1"/>
          </a:solidFill>
          <a:ln w="6350">
            <a:solidFill>
              <a:schemeClr val="tx2"/>
            </a:solidFill>
            <a:round/>
            <a:headEnd/>
            <a:tailEnd/>
          </a:ln>
        </p:spPr>
        <p:txBody>
          <a:bodyPr/>
          <a:lstStyle/>
          <a:p>
            <a:endParaRPr lang="en-US"/>
          </a:p>
        </p:txBody>
      </p:sp>
      <p:sp>
        <p:nvSpPr>
          <p:cNvPr id="400" name="Freeform 1407"/>
          <p:cNvSpPr>
            <a:spLocks/>
          </p:cNvSpPr>
          <p:nvPr/>
        </p:nvSpPr>
        <p:spPr bwMode="auto">
          <a:xfrm>
            <a:off x="7997810" y="4173855"/>
            <a:ext cx="200668" cy="151566"/>
          </a:xfrm>
          <a:custGeom>
            <a:avLst/>
            <a:gdLst>
              <a:gd name="T0" fmla="*/ 2147483647 w 430"/>
              <a:gd name="T1" fmla="*/ 2147483647 h 365"/>
              <a:gd name="T2" fmla="*/ 2147483647 w 430"/>
              <a:gd name="T3" fmla="*/ 2147483647 h 365"/>
              <a:gd name="T4" fmla="*/ 2147483647 w 430"/>
              <a:gd name="T5" fmla="*/ 2147483647 h 365"/>
              <a:gd name="T6" fmla="*/ 2147483647 w 430"/>
              <a:gd name="T7" fmla="*/ 2147483647 h 365"/>
              <a:gd name="T8" fmla="*/ 2147483647 w 430"/>
              <a:gd name="T9" fmla="*/ 2147483647 h 365"/>
              <a:gd name="T10" fmla="*/ 2147483647 w 430"/>
              <a:gd name="T11" fmla="*/ 2147483647 h 365"/>
              <a:gd name="T12" fmla="*/ 2147483647 w 430"/>
              <a:gd name="T13" fmla="*/ 2147483647 h 365"/>
              <a:gd name="T14" fmla="*/ 2147483647 w 430"/>
              <a:gd name="T15" fmla="*/ 2147483647 h 365"/>
              <a:gd name="T16" fmla="*/ 2147483647 w 430"/>
              <a:gd name="T17" fmla="*/ 2147483647 h 365"/>
              <a:gd name="T18" fmla="*/ 2147483647 w 430"/>
              <a:gd name="T19" fmla="*/ 2147483647 h 365"/>
              <a:gd name="T20" fmla="*/ 2147483647 w 430"/>
              <a:gd name="T21" fmla="*/ 2147483647 h 365"/>
              <a:gd name="T22" fmla="*/ 2147483647 w 430"/>
              <a:gd name="T23" fmla="*/ 2147483647 h 365"/>
              <a:gd name="T24" fmla="*/ 2147483647 w 430"/>
              <a:gd name="T25" fmla="*/ 2147483647 h 365"/>
              <a:gd name="T26" fmla="*/ 2147483647 w 430"/>
              <a:gd name="T27" fmla="*/ 2147483647 h 365"/>
              <a:gd name="T28" fmla="*/ 2147483647 w 430"/>
              <a:gd name="T29" fmla="*/ 2147483647 h 365"/>
              <a:gd name="T30" fmla="*/ 2147483647 w 430"/>
              <a:gd name="T31" fmla="*/ 2147483647 h 365"/>
              <a:gd name="T32" fmla="*/ 2147483647 w 430"/>
              <a:gd name="T33" fmla="*/ 2147483647 h 365"/>
              <a:gd name="T34" fmla="*/ 2147483647 w 430"/>
              <a:gd name="T35" fmla="*/ 2147483647 h 365"/>
              <a:gd name="T36" fmla="*/ 2147483647 w 430"/>
              <a:gd name="T37" fmla="*/ 2147483647 h 365"/>
              <a:gd name="T38" fmla="*/ 2147483647 w 430"/>
              <a:gd name="T39" fmla="*/ 2147483647 h 365"/>
              <a:gd name="T40" fmla="*/ 2147483647 w 430"/>
              <a:gd name="T41" fmla="*/ 2147483647 h 365"/>
              <a:gd name="T42" fmla="*/ 2147483647 w 430"/>
              <a:gd name="T43" fmla="*/ 2147483647 h 365"/>
              <a:gd name="T44" fmla="*/ 2147483647 w 430"/>
              <a:gd name="T45" fmla="*/ 2147483647 h 365"/>
              <a:gd name="T46" fmla="*/ 2147483647 w 430"/>
              <a:gd name="T47" fmla="*/ 2147483647 h 365"/>
              <a:gd name="T48" fmla="*/ 2147483647 w 430"/>
              <a:gd name="T49" fmla="*/ 2147483647 h 365"/>
              <a:gd name="T50" fmla="*/ 2147483647 w 430"/>
              <a:gd name="T51" fmla="*/ 2147483647 h 365"/>
              <a:gd name="T52" fmla="*/ 2147483647 w 430"/>
              <a:gd name="T53" fmla="*/ 2147483647 h 365"/>
              <a:gd name="T54" fmla="*/ 2147483647 w 430"/>
              <a:gd name="T55" fmla="*/ 2147483647 h 365"/>
              <a:gd name="T56" fmla="*/ 2147483647 w 430"/>
              <a:gd name="T57" fmla="*/ 2147483647 h 365"/>
              <a:gd name="T58" fmla="*/ 2147483647 w 430"/>
              <a:gd name="T59" fmla="*/ 2147483647 h 365"/>
              <a:gd name="T60" fmla="*/ 2147483647 w 430"/>
              <a:gd name="T61" fmla="*/ 2147483647 h 365"/>
              <a:gd name="T62" fmla="*/ 2147483647 w 430"/>
              <a:gd name="T63" fmla="*/ 2147483647 h 365"/>
              <a:gd name="T64" fmla="*/ 2147483647 w 430"/>
              <a:gd name="T65" fmla="*/ 2147483647 h 365"/>
              <a:gd name="T66" fmla="*/ 2147483647 w 430"/>
              <a:gd name="T67" fmla="*/ 2147483647 h 365"/>
              <a:gd name="T68" fmla="*/ 2147483647 w 430"/>
              <a:gd name="T69" fmla="*/ 2147483647 h 365"/>
              <a:gd name="T70" fmla="*/ 2147483647 w 430"/>
              <a:gd name="T71" fmla="*/ 2147483647 h 365"/>
              <a:gd name="T72" fmla="*/ 2147483647 w 430"/>
              <a:gd name="T73" fmla="*/ 0 h 36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30"/>
              <a:gd name="T112" fmla="*/ 0 h 365"/>
              <a:gd name="T113" fmla="*/ 430 w 430"/>
              <a:gd name="T114" fmla="*/ 365 h 36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30" h="365">
                <a:moveTo>
                  <a:pt x="372" y="8"/>
                </a:moveTo>
                <a:lnTo>
                  <a:pt x="365" y="14"/>
                </a:lnTo>
                <a:lnTo>
                  <a:pt x="381" y="22"/>
                </a:lnTo>
                <a:lnTo>
                  <a:pt x="381" y="29"/>
                </a:lnTo>
                <a:lnTo>
                  <a:pt x="356" y="36"/>
                </a:lnTo>
                <a:lnTo>
                  <a:pt x="370" y="59"/>
                </a:lnTo>
                <a:lnTo>
                  <a:pt x="390" y="89"/>
                </a:lnTo>
                <a:lnTo>
                  <a:pt x="386" y="107"/>
                </a:lnTo>
                <a:lnTo>
                  <a:pt x="430" y="148"/>
                </a:lnTo>
                <a:lnTo>
                  <a:pt x="408" y="151"/>
                </a:lnTo>
                <a:lnTo>
                  <a:pt x="396" y="149"/>
                </a:lnTo>
                <a:lnTo>
                  <a:pt x="390" y="141"/>
                </a:lnTo>
                <a:lnTo>
                  <a:pt x="390" y="153"/>
                </a:lnTo>
                <a:lnTo>
                  <a:pt x="381" y="156"/>
                </a:lnTo>
                <a:lnTo>
                  <a:pt x="372" y="170"/>
                </a:lnTo>
                <a:lnTo>
                  <a:pt x="367" y="207"/>
                </a:lnTo>
                <a:lnTo>
                  <a:pt x="352" y="237"/>
                </a:lnTo>
                <a:lnTo>
                  <a:pt x="340" y="240"/>
                </a:lnTo>
                <a:lnTo>
                  <a:pt x="316" y="262"/>
                </a:lnTo>
                <a:lnTo>
                  <a:pt x="322" y="266"/>
                </a:lnTo>
                <a:lnTo>
                  <a:pt x="323" y="279"/>
                </a:lnTo>
                <a:lnTo>
                  <a:pt x="332" y="283"/>
                </a:lnTo>
                <a:lnTo>
                  <a:pt x="327" y="297"/>
                </a:lnTo>
                <a:lnTo>
                  <a:pt x="321" y="297"/>
                </a:lnTo>
                <a:lnTo>
                  <a:pt x="304" y="338"/>
                </a:lnTo>
                <a:lnTo>
                  <a:pt x="255" y="363"/>
                </a:lnTo>
                <a:lnTo>
                  <a:pt x="248" y="365"/>
                </a:lnTo>
                <a:lnTo>
                  <a:pt x="242" y="338"/>
                </a:lnTo>
                <a:lnTo>
                  <a:pt x="237" y="336"/>
                </a:lnTo>
                <a:lnTo>
                  <a:pt x="230" y="330"/>
                </a:lnTo>
                <a:lnTo>
                  <a:pt x="206" y="334"/>
                </a:lnTo>
                <a:lnTo>
                  <a:pt x="203" y="323"/>
                </a:lnTo>
                <a:lnTo>
                  <a:pt x="189" y="323"/>
                </a:lnTo>
                <a:lnTo>
                  <a:pt x="176" y="317"/>
                </a:lnTo>
                <a:lnTo>
                  <a:pt x="175" y="323"/>
                </a:lnTo>
                <a:lnTo>
                  <a:pt x="158" y="331"/>
                </a:lnTo>
                <a:lnTo>
                  <a:pt x="153" y="332"/>
                </a:lnTo>
                <a:lnTo>
                  <a:pt x="127" y="336"/>
                </a:lnTo>
                <a:lnTo>
                  <a:pt x="119" y="305"/>
                </a:lnTo>
                <a:lnTo>
                  <a:pt x="113" y="312"/>
                </a:lnTo>
                <a:lnTo>
                  <a:pt x="106" y="310"/>
                </a:lnTo>
                <a:lnTo>
                  <a:pt x="94" y="317"/>
                </a:lnTo>
                <a:lnTo>
                  <a:pt x="74" y="317"/>
                </a:lnTo>
                <a:lnTo>
                  <a:pt x="66" y="309"/>
                </a:lnTo>
                <a:lnTo>
                  <a:pt x="57" y="312"/>
                </a:lnTo>
                <a:lnTo>
                  <a:pt x="44" y="266"/>
                </a:lnTo>
                <a:lnTo>
                  <a:pt x="47" y="254"/>
                </a:lnTo>
                <a:lnTo>
                  <a:pt x="43" y="238"/>
                </a:lnTo>
                <a:lnTo>
                  <a:pt x="30" y="216"/>
                </a:lnTo>
                <a:lnTo>
                  <a:pt x="10" y="206"/>
                </a:lnTo>
                <a:lnTo>
                  <a:pt x="9" y="198"/>
                </a:lnTo>
                <a:lnTo>
                  <a:pt x="8" y="181"/>
                </a:lnTo>
                <a:lnTo>
                  <a:pt x="0" y="166"/>
                </a:lnTo>
                <a:lnTo>
                  <a:pt x="1" y="142"/>
                </a:lnTo>
                <a:lnTo>
                  <a:pt x="9" y="120"/>
                </a:lnTo>
                <a:lnTo>
                  <a:pt x="27" y="99"/>
                </a:lnTo>
                <a:lnTo>
                  <a:pt x="28" y="110"/>
                </a:lnTo>
                <a:lnTo>
                  <a:pt x="46" y="141"/>
                </a:lnTo>
                <a:lnTo>
                  <a:pt x="57" y="144"/>
                </a:lnTo>
                <a:lnTo>
                  <a:pt x="68" y="147"/>
                </a:lnTo>
                <a:lnTo>
                  <a:pt x="85" y="143"/>
                </a:lnTo>
                <a:lnTo>
                  <a:pt x="95" y="147"/>
                </a:lnTo>
                <a:lnTo>
                  <a:pt x="117" y="145"/>
                </a:lnTo>
                <a:lnTo>
                  <a:pt x="144" y="121"/>
                </a:lnTo>
                <a:lnTo>
                  <a:pt x="166" y="122"/>
                </a:lnTo>
                <a:lnTo>
                  <a:pt x="171" y="129"/>
                </a:lnTo>
                <a:lnTo>
                  <a:pt x="191" y="135"/>
                </a:lnTo>
                <a:lnTo>
                  <a:pt x="224" y="127"/>
                </a:lnTo>
                <a:lnTo>
                  <a:pt x="240" y="120"/>
                </a:lnTo>
                <a:lnTo>
                  <a:pt x="248" y="105"/>
                </a:lnTo>
                <a:lnTo>
                  <a:pt x="259" y="70"/>
                </a:lnTo>
                <a:lnTo>
                  <a:pt x="281" y="46"/>
                </a:lnTo>
                <a:lnTo>
                  <a:pt x="296" y="1"/>
                </a:lnTo>
                <a:lnTo>
                  <a:pt x="351" y="0"/>
                </a:lnTo>
                <a:lnTo>
                  <a:pt x="372" y="8"/>
                </a:lnTo>
                <a:close/>
              </a:path>
            </a:pathLst>
          </a:custGeom>
          <a:solidFill>
            <a:schemeClr val="accent1"/>
          </a:solidFill>
          <a:ln w="6350">
            <a:solidFill>
              <a:schemeClr val="tx2"/>
            </a:solidFill>
            <a:round/>
            <a:headEnd/>
            <a:tailEnd/>
          </a:ln>
        </p:spPr>
        <p:txBody>
          <a:bodyPr/>
          <a:lstStyle/>
          <a:p>
            <a:endParaRPr lang="en-US"/>
          </a:p>
        </p:txBody>
      </p:sp>
      <p:sp>
        <p:nvSpPr>
          <p:cNvPr id="401" name="Freeform 1408"/>
          <p:cNvSpPr>
            <a:spLocks/>
          </p:cNvSpPr>
          <p:nvPr/>
        </p:nvSpPr>
        <p:spPr bwMode="auto">
          <a:xfrm>
            <a:off x="8098145" y="4161118"/>
            <a:ext cx="28667" cy="17831"/>
          </a:xfrm>
          <a:custGeom>
            <a:avLst/>
            <a:gdLst>
              <a:gd name="T0" fmla="*/ 0 w 59"/>
              <a:gd name="T1" fmla="*/ 2147483647 h 44"/>
              <a:gd name="T2" fmla="*/ 2147483647 w 59"/>
              <a:gd name="T3" fmla="*/ 2147483647 h 44"/>
              <a:gd name="T4" fmla="*/ 2147483647 w 59"/>
              <a:gd name="T5" fmla="*/ 2147483647 h 44"/>
              <a:gd name="T6" fmla="*/ 2147483647 w 59"/>
              <a:gd name="T7" fmla="*/ 2147483647 h 44"/>
              <a:gd name="T8" fmla="*/ 2147483647 w 59"/>
              <a:gd name="T9" fmla="*/ 2147483647 h 44"/>
              <a:gd name="T10" fmla="*/ 2147483647 w 59"/>
              <a:gd name="T11" fmla="*/ 2147483647 h 44"/>
              <a:gd name="T12" fmla="*/ 2147483647 w 59"/>
              <a:gd name="T13" fmla="*/ 2147483647 h 44"/>
              <a:gd name="T14" fmla="*/ 2147483647 w 59"/>
              <a:gd name="T15" fmla="*/ 2147483647 h 44"/>
              <a:gd name="T16" fmla="*/ 2147483647 w 59"/>
              <a:gd name="T17" fmla="*/ 2147483647 h 44"/>
              <a:gd name="T18" fmla="*/ 2147483647 w 59"/>
              <a:gd name="T19" fmla="*/ 2147483647 h 44"/>
              <a:gd name="T20" fmla="*/ 2147483647 w 59"/>
              <a:gd name="T21" fmla="*/ 0 h 44"/>
              <a:gd name="T22" fmla="*/ 2147483647 w 59"/>
              <a:gd name="T23" fmla="*/ 2147483647 h 44"/>
              <a:gd name="T24" fmla="*/ 0 w 59"/>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9"/>
              <a:gd name="T40" fmla="*/ 0 h 44"/>
              <a:gd name="T41" fmla="*/ 59 w 59"/>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9" h="44">
                <a:moveTo>
                  <a:pt x="0" y="21"/>
                </a:moveTo>
                <a:lnTo>
                  <a:pt x="26" y="44"/>
                </a:lnTo>
                <a:lnTo>
                  <a:pt x="32" y="37"/>
                </a:lnTo>
                <a:lnTo>
                  <a:pt x="33" y="18"/>
                </a:lnTo>
                <a:lnTo>
                  <a:pt x="40" y="13"/>
                </a:lnTo>
                <a:lnTo>
                  <a:pt x="50" y="27"/>
                </a:lnTo>
                <a:lnTo>
                  <a:pt x="58" y="29"/>
                </a:lnTo>
                <a:lnTo>
                  <a:pt x="59" y="16"/>
                </a:lnTo>
                <a:lnTo>
                  <a:pt x="52" y="7"/>
                </a:lnTo>
                <a:lnTo>
                  <a:pt x="42" y="6"/>
                </a:lnTo>
                <a:lnTo>
                  <a:pt x="40" y="0"/>
                </a:lnTo>
                <a:lnTo>
                  <a:pt x="20" y="16"/>
                </a:lnTo>
                <a:lnTo>
                  <a:pt x="0" y="21"/>
                </a:lnTo>
                <a:close/>
              </a:path>
            </a:pathLst>
          </a:custGeom>
          <a:solidFill>
            <a:schemeClr val="accent1"/>
          </a:solidFill>
          <a:ln w="6350">
            <a:solidFill>
              <a:schemeClr val="tx2"/>
            </a:solidFill>
            <a:round/>
            <a:headEnd/>
            <a:tailEnd/>
          </a:ln>
        </p:spPr>
        <p:txBody>
          <a:bodyPr/>
          <a:lstStyle/>
          <a:p>
            <a:endParaRPr lang="en-US"/>
          </a:p>
        </p:txBody>
      </p:sp>
      <p:sp>
        <p:nvSpPr>
          <p:cNvPr id="402" name="Freeform 1409"/>
          <p:cNvSpPr>
            <a:spLocks/>
          </p:cNvSpPr>
          <p:nvPr/>
        </p:nvSpPr>
        <p:spPr bwMode="auto">
          <a:xfrm>
            <a:off x="7894611" y="4064320"/>
            <a:ext cx="2866" cy="6369"/>
          </a:xfrm>
          <a:custGeom>
            <a:avLst/>
            <a:gdLst>
              <a:gd name="T0" fmla="*/ 2147483647 w 7"/>
              <a:gd name="T1" fmla="*/ 0 h 15"/>
              <a:gd name="T2" fmla="*/ 2147483647 w 7"/>
              <a:gd name="T3" fmla="*/ 2147483647 h 15"/>
              <a:gd name="T4" fmla="*/ 0 w 7"/>
              <a:gd name="T5" fmla="*/ 2147483647 h 15"/>
              <a:gd name="T6" fmla="*/ 2147483647 w 7"/>
              <a:gd name="T7" fmla="*/ 0 h 15"/>
              <a:gd name="T8" fmla="*/ 0 60000 65536"/>
              <a:gd name="T9" fmla="*/ 0 60000 65536"/>
              <a:gd name="T10" fmla="*/ 0 60000 65536"/>
              <a:gd name="T11" fmla="*/ 0 60000 65536"/>
              <a:gd name="T12" fmla="*/ 0 w 7"/>
              <a:gd name="T13" fmla="*/ 0 h 15"/>
              <a:gd name="T14" fmla="*/ 7 w 7"/>
              <a:gd name="T15" fmla="*/ 15 h 15"/>
            </a:gdLst>
            <a:ahLst/>
            <a:cxnLst>
              <a:cxn ang="T8">
                <a:pos x="T0" y="T1"/>
              </a:cxn>
              <a:cxn ang="T9">
                <a:pos x="T2" y="T3"/>
              </a:cxn>
              <a:cxn ang="T10">
                <a:pos x="T4" y="T5"/>
              </a:cxn>
              <a:cxn ang="T11">
                <a:pos x="T6" y="T7"/>
              </a:cxn>
            </a:cxnLst>
            <a:rect l="T12" t="T13" r="T14" b="T15"/>
            <a:pathLst>
              <a:path w="7" h="15">
                <a:moveTo>
                  <a:pt x="4" y="0"/>
                </a:moveTo>
                <a:lnTo>
                  <a:pt x="7" y="15"/>
                </a:lnTo>
                <a:lnTo>
                  <a:pt x="0" y="5"/>
                </a:lnTo>
                <a:lnTo>
                  <a:pt x="4" y="0"/>
                </a:lnTo>
                <a:close/>
              </a:path>
            </a:pathLst>
          </a:custGeom>
          <a:solidFill>
            <a:schemeClr val="accent1"/>
          </a:solidFill>
          <a:ln w="6350">
            <a:solidFill>
              <a:schemeClr val="tx2"/>
            </a:solidFill>
            <a:round/>
            <a:headEnd/>
            <a:tailEnd/>
          </a:ln>
        </p:spPr>
        <p:txBody>
          <a:bodyPr/>
          <a:lstStyle/>
          <a:p>
            <a:endParaRPr lang="en-US"/>
          </a:p>
        </p:txBody>
      </p:sp>
      <p:sp>
        <p:nvSpPr>
          <p:cNvPr id="403" name="Freeform 1412"/>
          <p:cNvSpPr>
            <a:spLocks/>
          </p:cNvSpPr>
          <p:nvPr/>
        </p:nvSpPr>
        <p:spPr bwMode="auto">
          <a:xfrm>
            <a:off x="7861642" y="3986628"/>
            <a:ext cx="107501" cy="77692"/>
          </a:xfrm>
          <a:custGeom>
            <a:avLst/>
            <a:gdLst>
              <a:gd name="T0" fmla="*/ 2147483647 w 227"/>
              <a:gd name="T1" fmla="*/ 0 h 185"/>
              <a:gd name="T2" fmla="*/ 2147483647 w 227"/>
              <a:gd name="T3" fmla="*/ 2147483647 h 185"/>
              <a:gd name="T4" fmla="*/ 2147483647 w 227"/>
              <a:gd name="T5" fmla="*/ 2147483647 h 185"/>
              <a:gd name="T6" fmla="*/ 2147483647 w 227"/>
              <a:gd name="T7" fmla="*/ 2147483647 h 185"/>
              <a:gd name="T8" fmla="*/ 2147483647 w 227"/>
              <a:gd name="T9" fmla="*/ 2147483647 h 185"/>
              <a:gd name="T10" fmla="*/ 2147483647 w 227"/>
              <a:gd name="T11" fmla="*/ 2147483647 h 185"/>
              <a:gd name="T12" fmla="*/ 2147483647 w 227"/>
              <a:gd name="T13" fmla="*/ 2147483647 h 185"/>
              <a:gd name="T14" fmla="*/ 2147483647 w 227"/>
              <a:gd name="T15" fmla="*/ 2147483647 h 185"/>
              <a:gd name="T16" fmla="*/ 2147483647 w 227"/>
              <a:gd name="T17" fmla="*/ 2147483647 h 185"/>
              <a:gd name="T18" fmla="*/ 2147483647 w 227"/>
              <a:gd name="T19" fmla="*/ 2147483647 h 185"/>
              <a:gd name="T20" fmla="*/ 2147483647 w 227"/>
              <a:gd name="T21" fmla="*/ 2147483647 h 185"/>
              <a:gd name="T22" fmla="*/ 2147483647 w 227"/>
              <a:gd name="T23" fmla="*/ 2147483647 h 185"/>
              <a:gd name="T24" fmla="*/ 2147483647 w 227"/>
              <a:gd name="T25" fmla="*/ 2147483647 h 185"/>
              <a:gd name="T26" fmla="*/ 2147483647 w 227"/>
              <a:gd name="T27" fmla="*/ 2147483647 h 185"/>
              <a:gd name="T28" fmla="*/ 2147483647 w 227"/>
              <a:gd name="T29" fmla="*/ 2147483647 h 185"/>
              <a:gd name="T30" fmla="*/ 2147483647 w 227"/>
              <a:gd name="T31" fmla="*/ 2147483647 h 185"/>
              <a:gd name="T32" fmla="*/ 2147483647 w 227"/>
              <a:gd name="T33" fmla="*/ 2147483647 h 185"/>
              <a:gd name="T34" fmla="*/ 2147483647 w 227"/>
              <a:gd name="T35" fmla="*/ 2147483647 h 185"/>
              <a:gd name="T36" fmla="*/ 2147483647 w 227"/>
              <a:gd name="T37" fmla="*/ 2147483647 h 185"/>
              <a:gd name="T38" fmla="*/ 2147483647 w 227"/>
              <a:gd name="T39" fmla="*/ 2147483647 h 185"/>
              <a:gd name="T40" fmla="*/ 2147483647 w 227"/>
              <a:gd name="T41" fmla="*/ 2147483647 h 185"/>
              <a:gd name="T42" fmla="*/ 2147483647 w 227"/>
              <a:gd name="T43" fmla="*/ 2147483647 h 185"/>
              <a:gd name="T44" fmla="*/ 2147483647 w 227"/>
              <a:gd name="T45" fmla="*/ 2147483647 h 185"/>
              <a:gd name="T46" fmla="*/ 2147483647 w 227"/>
              <a:gd name="T47" fmla="*/ 2147483647 h 185"/>
              <a:gd name="T48" fmla="*/ 0 w 227"/>
              <a:gd name="T49" fmla="*/ 2147483647 h 185"/>
              <a:gd name="T50" fmla="*/ 2147483647 w 227"/>
              <a:gd name="T51" fmla="*/ 2147483647 h 185"/>
              <a:gd name="T52" fmla="*/ 2147483647 w 227"/>
              <a:gd name="T53" fmla="*/ 2147483647 h 185"/>
              <a:gd name="T54" fmla="*/ 2147483647 w 227"/>
              <a:gd name="T55" fmla="*/ 2147483647 h 185"/>
              <a:gd name="T56" fmla="*/ 2147483647 w 227"/>
              <a:gd name="T57" fmla="*/ 2147483647 h 185"/>
              <a:gd name="T58" fmla="*/ 2147483647 w 227"/>
              <a:gd name="T59" fmla="*/ 2147483647 h 185"/>
              <a:gd name="T60" fmla="*/ 2147483647 w 227"/>
              <a:gd name="T61" fmla="*/ 2147483647 h 185"/>
              <a:gd name="T62" fmla="*/ 2147483647 w 227"/>
              <a:gd name="T63" fmla="*/ 2147483647 h 185"/>
              <a:gd name="T64" fmla="*/ 2147483647 w 227"/>
              <a:gd name="T65" fmla="*/ 2147483647 h 185"/>
              <a:gd name="T66" fmla="*/ 2147483647 w 227"/>
              <a:gd name="T67" fmla="*/ 2147483647 h 185"/>
              <a:gd name="T68" fmla="*/ 2147483647 w 227"/>
              <a:gd name="T69" fmla="*/ 2147483647 h 185"/>
              <a:gd name="T70" fmla="*/ 2147483647 w 227"/>
              <a:gd name="T71" fmla="*/ 2147483647 h 185"/>
              <a:gd name="T72" fmla="*/ 2147483647 w 227"/>
              <a:gd name="T73" fmla="*/ 2147483647 h 185"/>
              <a:gd name="T74" fmla="*/ 2147483647 w 227"/>
              <a:gd name="T75" fmla="*/ 2147483647 h 185"/>
              <a:gd name="T76" fmla="*/ 2147483647 w 227"/>
              <a:gd name="T77" fmla="*/ 2147483647 h 185"/>
              <a:gd name="T78" fmla="*/ 2147483647 w 227"/>
              <a:gd name="T79" fmla="*/ 0 h 18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7"/>
              <a:gd name="T121" fmla="*/ 0 h 185"/>
              <a:gd name="T122" fmla="*/ 227 w 227"/>
              <a:gd name="T123" fmla="*/ 185 h 18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7" h="185">
                <a:moveTo>
                  <a:pt x="221" y="0"/>
                </a:moveTo>
                <a:lnTo>
                  <a:pt x="219" y="28"/>
                </a:lnTo>
                <a:lnTo>
                  <a:pt x="227" y="52"/>
                </a:lnTo>
                <a:lnTo>
                  <a:pt x="224" y="100"/>
                </a:lnTo>
                <a:lnTo>
                  <a:pt x="219" y="107"/>
                </a:lnTo>
                <a:lnTo>
                  <a:pt x="212" y="105"/>
                </a:lnTo>
                <a:lnTo>
                  <a:pt x="199" y="115"/>
                </a:lnTo>
                <a:lnTo>
                  <a:pt x="178" y="121"/>
                </a:lnTo>
                <a:lnTo>
                  <a:pt x="177" y="130"/>
                </a:lnTo>
                <a:lnTo>
                  <a:pt x="155" y="133"/>
                </a:lnTo>
                <a:lnTo>
                  <a:pt x="155" y="157"/>
                </a:lnTo>
                <a:lnTo>
                  <a:pt x="127" y="170"/>
                </a:lnTo>
                <a:lnTo>
                  <a:pt x="117" y="168"/>
                </a:lnTo>
                <a:lnTo>
                  <a:pt x="111" y="179"/>
                </a:lnTo>
                <a:lnTo>
                  <a:pt x="93" y="185"/>
                </a:lnTo>
                <a:lnTo>
                  <a:pt x="82" y="179"/>
                </a:lnTo>
                <a:lnTo>
                  <a:pt x="56" y="180"/>
                </a:lnTo>
                <a:lnTo>
                  <a:pt x="58" y="159"/>
                </a:lnTo>
                <a:lnTo>
                  <a:pt x="54" y="157"/>
                </a:lnTo>
                <a:lnTo>
                  <a:pt x="38" y="166"/>
                </a:lnTo>
                <a:lnTo>
                  <a:pt x="34" y="144"/>
                </a:lnTo>
                <a:lnTo>
                  <a:pt x="27" y="134"/>
                </a:lnTo>
                <a:lnTo>
                  <a:pt x="24" y="110"/>
                </a:lnTo>
                <a:lnTo>
                  <a:pt x="8" y="91"/>
                </a:lnTo>
                <a:lnTo>
                  <a:pt x="0" y="66"/>
                </a:lnTo>
                <a:lnTo>
                  <a:pt x="2" y="51"/>
                </a:lnTo>
                <a:lnTo>
                  <a:pt x="11" y="40"/>
                </a:lnTo>
                <a:lnTo>
                  <a:pt x="39" y="14"/>
                </a:lnTo>
                <a:lnTo>
                  <a:pt x="74" y="18"/>
                </a:lnTo>
                <a:lnTo>
                  <a:pt x="109" y="15"/>
                </a:lnTo>
                <a:lnTo>
                  <a:pt x="118" y="22"/>
                </a:lnTo>
                <a:lnTo>
                  <a:pt x="125" y="19"/>
                </a:lnTo>
                <a:lnTo>
                  <a:pt x="132" y="25"/>
                </a:lnTo>
                <a:lnTo>
                  <a:pt x="154" y="31"/>
                </a:lnTo>
                <a:lnTo>
                  <a:pt x="161" y="29"/>
                </a:lnTo>
                <a:lnTo>
                  <a:pt x="161" y="18"/>
                </a:lnTo>
                <a:lnTo>
                  <a:pt x="173" y="11"/>
                </a:lnTo>
                <a:lnTo>
                  <a:pt x="190" y="8"/>
                </a:lnTo>
                <a:lnTo>
                  <a:pt x="202" y="14"/>
                </a:lnTo>
                <a:lnTo>
                  <a:pt x="221" y="0"/>
                </a:lnTo>
                <a:close/>
              </a:path>
            </a:pathLst>
          </a:custGeom>
          <a:solidFill>
            <a:schemeClr val="accent1"/>
          </a:solidFill>
          <a:ln w="6350">
            <a:solidFill>
              <a:schemeClr val="tx2"/>
            </a:solidFill>
            <a:round/>
            <a:headEnd/>
            <a:tailEnd/>
          </a:ln>
        </p:spPr>
        <p:txBody>
          <a:bodyPr/>
          <a:lstStyle/>
          <a:p>
            <a:endParaRPr lang="en-US"/>
          </a:p>
        </p:txBody>
      </p:sp>
      <p:sp>
        <p:nvSpPr>
          <p:cNvPr id="404" name="Freeform 1508"/>
          <p:cNvSpPr>
            <a:spLocks/>
          </p:cNvSpPr>
          <p:nvPr/>
        </p:nvSpPr>
        <p:spPr bwMode="auto">
          <a:xfrm>
            <a:off x="8422078" y="4456606"/>
            <a:ext cx="8600" cy="7642"/>
          </a:xfrm>
          <a:custGeom>
            <a:avLst/>
            <a:gdLst>
              <a:gd name="T0" fmla="*/ 2147483647 w 21"/>
              <a:gd name="T1" fmla="*/ 2147483647 h 17"/>
              <a:gd name="T2" fmla="*/ 0 w 21"/>
              <a:gd name="T3" fmla="*/ 2147483647 h 17"/>
              <a:gd name="T4" fmla="*/ 2147483647 w 21"/>
              <a:gd name="T5" fmla="*/ 0 h 17"/>
              <a:gd name="T6" fmla="*/ 2147483647 w 21"/>
              <a:gd name="T7" fmla="*/ 2147483647 h 17"/>
              <a:gd name="T8" fmla="*/ 2147483647 w 21"/>
              <a:gd name="T9" fmla="*/ 2147483647 h 17"/>
              <a:gd name="T10" fmla="*/ 0 60000 65536"/>
              <a:gd name="T11" fmla="*/ 0 60000 65536"/>
              <a:gd name="T12" fmla="*/ 0 60000 65536"/>
              <a:gd name="T13" fmla="*/ 0 60000 65536"/>
              <a:gd name="T14" fmla="*/ 0 60000 65536"/>
              <a:gd name="T15" fmla="*/ 0 w 21"/>
              <a:gd name="T16" fmla="*/ 0 h 17"/>
              <a:gd name="T17" fmla="*/ 21 w 21"/>
              <a:gd name="T18" fmla="*/ 17 h 17"/>
            </a:gdLst>
            <a:ahLst/>
            <a:cxnLst>
              <a:cxn ang="T10">
                <a:pos x="T0" y="T1"/>
              </a:cxn>
              <a:cxn ang="T11">
                <a:pos x="T2" y="T3"/>
              </a:cxn>
              <a:cxn ang="T12">
                <a:pos x="T4" y="T5"/>
              </a:cxn>
              <a:cxn ang="T13">
                <a:pos x="T6" y="T7"/>
              </a:cxn>
              <a:cxn ang="T14">
                <a:pos x="T8" y="T9"/>
              </a:cxn>
            </a:cxnLst>
            <a:rect l="T15" t="T16" r="T17" b="T18"/>
            <a:pathLst>
              <a:path w="21" h="17">
                <a:moveTo>
                  <a:pt x="4" y="17"/>
                </a:moveTo>
                <a:lnTo>
                  <a:pt x="0" y="11"/>
                </a:lnTo>
                <a:lnTo>
                  <a:pt x="9" y="0"/>
                </a:lnTo>
                <a:lnTo>
                  <a:pt x="21" y="17"/>
                </a:lnTo>
                <a:lnTo>
                  <a:pt x="4" y="17"/>
                </a:lnTo>
                <a:close/>
              </a:path>
            </a:pathLst>
          </a:custGeom>
          <a:solidFill>
            <a:schemeClr val="accent1"/>
          </a:solidFill>
          <a:ln w="6350">
            <a:solidFill>
              <a:schemeClr val="tx2"/>
            </a:solidFill>
            <a:round/>
            <a:headEnd/>
            <a:tailEnd/>
          </a:ln>
        </p:spPr>
        <p:txBody>
          <a:bodyPr/>
          <a:lstStyle/>
          <a:p>
            <a:endParaRPr lang="en-US"/>
          </a:p>
        </p:txBody>
      </p:sp>
      <p:sp>
        <p:nvSpPr>
          <p:cNvPr id="405" name="Freeform 1509"/>
          <p:cNvSpPr>
            <a:spLocks/>
          </p:cNvSpPr>
          <p:nvPr/>
        </p:nvSpPr>
        <p:spPr bwMode="auto">
          <a:xfrm>
            <a:off x="8424945" y="4452786"/>
            <a:ext cx="25800" cy="12737"/>
          </a:xfrm>
          <a:custGeom>
            <a:avLst/>
            <a:gdLst>
              <a:gd name="T0" fmla="*/ 0 w 50"/>
              <a:gd name="T1" fmla="*/ 0 h 28"/>
              <a:gd name="T2" fmla="*/ 2147483647 w 50"/>
              <a:gd name="T3" fmla="*/ 2147483647 h 28"/>
              <a:gd name="T4" fmla="*/ 2147483647 w 50"/>
              <a:gd name="T5" fmla="*/ 2147483647 h 28"/>
              <a:gd name="T6" fmla="*/ 2147483647 w 50"/>
              <a:gd name="T7" fmla="*/ 0 h 28"/>
              <a:gd name="T8" fmla="*/ 2147483647 w 50"/>
              <a:gd name="T9" fmla="*/ 2147483647 h 28"/>
              <a:gd name="T10" fmla="*/ 2147483647 w 50"/>
              <a:gd name="T11" fmla="*/ 2147483647 h 28"/>
              <a:gd name="T12" fmla="*/ 2147483647 w 50"/>
              <a:gd name="T13" fmla="*/ 2147483647 h 28"/>
              <a:gd name="T14" fmla="*/ 2147483647 w 50"/>
              <a:gd name="T15" fmla="*/ 2147483647 h 28"/>
              <a:gd name="T16" fmla="*/ 2147483647 w 50"/>
              <a:gd name="T17" fmla="*/ 2147483647 h 28"/>
              <a:gd name="T18" fmla="*/ 0 w 50"/>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28"/>
              <a:gd name="T32" fmla="*/ 50 w 50"/>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28">
                <a:moveTo>
                  <a:pt x="0" y="0"/>
                </a:moveTo>
                <a:lnTo>
                  <a:pt x="17" y="10"/>
                </a:lnTo>
                <a:lnTo>
                  <a:pt x="31" y="7"/>
                </a:lnTo>
                <a:lnTo>
                  <a:pt x="41" y="0"/>
                </a:lnTo>
                <a:lnTo>
                  <a:pt x="48" y="6"/>
                </a:lnTo>
                <a:lnTo>
                  <a:pt x="50" y="14"/>
                </a:lnTo>
                <a:lnTo>
                  <a:pt x="43" y="22"/>
                </a:lnTo>
                <a:lnTo>
                  <a:pt x="26" y="28"/>
                </a:lnTo>
                <a:lnTo>
                  <a:pt x="8" y="17"/>
                </a:lnTo>
                <a:lnTo>
                  <a:pt x="0" y="0"/>
                </a:lnTo>
                <a:close/>
              </a:path>
            </a:pathLst>
          </a:custGeom>
          <a:solidFill>
            <a:schemeClr val="accent1"/>
          </a:solidFill>
          <a:ln w="6350">
            <a:solidFill>
              <a:schemeClr val="tx2"/>
            </a:solidFill>
            <a:round/>
            <a:headEnd/>
            <a:tailEnd/>
          </a:ln>
        </p:spPr>
        <p:txBody>
          <a:bodyPr/>
          <a:lstStyle/>
          <a:p>
            <a:endParaRPr lang="en-US"/>
          </a:p>
        </p:txBody>
      </p:sp>
      <p:sp>
        <p:nvSpPr>
          <p:cNvPr id="406" name="Freeform 1510"/>
          <p:cNvSpPr>
            <a:spLocks/>
          </p:cNvSpPr>
          <p:nvPr/>
        </p:nvSpPr>
        <p:spPr bwMode="auto">
          <a:xfrm>
            <a:off x="8549645" y="4450238"/>
            <a:ext cx="4300" cy="7642"/>
          </a:xfrm>
          <a:custGeom>
            <a:avLst/>
            <a:gdLst>
              <a:gd name="T0" fmla="*/ 2147483647 w 9"/>
              <a:gd name="T1" fmla="*/ 2147483647 h 19"/>
              <a:gd name="T2" fmla="*/ 0 w 9"/>
              <a:gd name="T3" fmla="*/ 2147483647 h 19"/>
              <a:gd name="T4" fmla="*/ 2147483647 w 9"/>
              <a:gd name="T5" fmla="*/ 0 h 19"/>
              <a:gd name="T6" fmla="*/ 2147483647 w 9"/>
              <a:gd name="T7" fmla="*/ 2147483647 h 19"/>
              <a:gd name="T8" fmla="*/ 0 60000 65536"/>
              <a:gd name="T9" fmla="*/ 0 60000 65536"/>
              <a:gd name="T10" fmla="*/ 0 60000 65536"/>
              <a:gd name="T11" fmla="*/ 0 60000 65536"/>
              <a:gd name="T12" fmla="*/ 0 w 9"/>
              <a:gd name="T13" fmla="*/ 0 h 19"/>
              <a:gd name="T14" fmla="*/ 9 w 9"/>
              <a:gd name="T15" fmla="*/ 19 h 19"/>
            </a:gdLst>
            <a:ahLst/>
            <a:cxnLst>
              <a:cxn ang="T8">
                <a:pos x="T0" y="T1"/>
              </a:cxn>
              <a:cxn ang="T9">
                <a:pos x="T2" y="T3"/>
              </a:cxn>
              <a:cxn ang="T10">
                <a:pos x="T4" y="T5"/>
              </a:cxn>
              <a:cxn ang="T11">
                <a:pos x="T6" y="T7"/>
              </a:cxn>
            </a:cxnLst>
            <a:rect l="T12" t="T13" r="T14" b="T15"/>
            <a:pathLst>
              <a:path w="9" h="19">
                <a:moveTo>
                  <a:pt x="1" y="19"/>
                </a:moveTo>
                <a:lnTo>
                  <a:pt x="0" y="9"/>
                </a:lnTo>
                <a:lnTo>
                  <a:pt x="9" y="0"/>
                </a:lnTo>
                <a:lnTo>
                  <a:pt x="1" y="19"/>
                </a:lnTo>
                <a:close/>
              </a:path>
            </a:pathLst>
          </a:custGeom>
          <a:solidFill>
            <a:schemeClr val="accent1"/>
          </a:solidFill>
          <a:ln w="6350">
            <a:solidFill>
              <a:schemeClr val="tx2"/>
            </a:solidFill>
            <a:round/>
            <a:headEnd/>
            <a:tailEnd/>
          </a:ln>
        </p:spPr>
        <p:txBody>
          <a:bodyPr/>
          <a:lstStyle/>
          <a:p>
            <a:endParaRPr lang="en-US"/>
          </a:p>
        </p:txBody>
      </p:sp>
      <p:sp>
        <p:nvSpPr>
          <p:cNvPr id="407" name="Freeform 1511"/>
          <p:cNvSpPr>
            <a:spLocks/>
          </p:cNvSpPr>
          <p:nvPr/>
        </p:nvSpPr>
        <p:spPr bwMode="auto">
          <a:xfrm>
            <a:off x="8548212" y="4498637"/>
            <a:ext cx="11467" cy="10189"/>
          </a:xfrm>
          <a:custGeom>
            <a:avLst/>
            <a:gdLst>
              <a:gd name="T0" fmla="*/ 2147483647 w 21"/>
              <a:gd name="T1" fmla="*/ 2147483647 h 25"/>
              <a:gd name="T2" fmla="*/ 2147483647 w 21"/>
              <a:gd name="T3" fmla="*/ 2147483647 h 25"/>
              <a:gd name="T4" fmla="*/ 2147483647 w 21"/>
              <a:gd name="T5" fmla="*/ 0 h 25"/>
              <a:gd name="T6" fmla="*/ 2147483647 w 21"/>
              <a:gd name="T7" fmla="*/ 2147483647 h 25"/>
              <a:gd name="T8" fmla="*/ 2147483647 w 21"/>
              <a:gd name="T9" fmla="*/ 2147483647 h 25"/>
              <a:gd name="T10" fmla="*/ 2147483647 w 21"/>
              <a:gd name="T11" fmla="*/ 2147483647 h 25"/>
              <a:gd name="T12" fmla="*/ 2147483647 w 21"/>
              <a:gd name="T13" fmla="*/ 2147483647 h 25"/>
              <a:gd name="T14" fmla="*/ 0 w 21"/>
              <a:gd name="T15" fmla="*/ 2147483647 h 25"/>
              <a:gd name="T16" fmla="*/ 2147483647 w 21"/>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5"/>
              <a:gd name="T29" fmla="*/ 21 w 21"/>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5">
                <a:moveTo>
                  <a:pt x="1" y="4"/>
                </a:moveTo>
                <a:lnTo>
                  <a:pt x="4" y="6"/>
                </a:lnTo>
                <a:lnTo>
                  <a:pt x="9" y="0"/>
                </a:lnTo>
                <a:lnTo>
                  <a:pt x="11" y="7"/>
                </a:lnTo>
                <a:lnTo>
                  <a:pt x="17" y="3"/>
                </a:lnTo>
                <a:lnTo>
                  <a:pt x="21" y="23"/>
                </a:lnTo>
                <a:lnTo>
                  <a:pt x="5" y="25"/>
                </a:lnTo>
                <a:lnTo>
                  <a:pt x="0" y="20"/>
                </a:lnTo>
                <a:lnTo>
                  <a:pt x="1" y="4"/>
                </a:lnTo>
                <a:close/>
              </a:path>
            </a:pathLst>
          </a:custGeom>
          <a:solidFill>
            <a:schemeClr val="accent1"/>
          </a:solidFill>
          <a:ln w="6350">
            <a:solidFill>
              <a:schemeClr val="tx2"/>
            </a:solidFill>
            <a:round/>
            <a:headEnd/>
            <a:tailEnd/>
          </a:ln>
        </p:spPr>
        <p:txBody>
          <a:bodyPr/>
          <a:lstStyle/>
          <a:p>
            <a:endParaRPr lang="en-US"/>
          </a:p>
        </p:txBody>
      </p:sp>
      <p:sp>
        <p:nvSpPr>
          <p:cNvPr id="408" name="Freeform 1512"/>
          <p:cNvSpPr>
            <a:spLocks/>
          </p:cNvSpPr>
          <p:nvPr/>
        </p:nvSpPr>
        <p:spPr bwMode="auto">
          <a:xfrm>
            <a:off x="8608413" y="4547037"/>
            <a:ext cx="11467" cy="7642"/>
          </a:xfrm>
          <a:custGeom>
            <a:avLst/>
            <a:gdLst>
              <a:gd name="T0" fmla="*/ 2147483647 w 26"/>
              <a:gd name="T1" fmla="*/ 0 h 16"/>
              <a:gd name="T2" fmla="*/ 2147483647 w 26"/>
              <a:gd name="T3" fmla="*/ 2147483647 h 16"/>
              <a:gd name="T4" fmla="*/ 2147483647 w 26"/>
              <a:gd name="T5" fmla="*/ 2147483647 h 16"/>
              <a:gd name="T6" fmla="*/ 0 w 26"/>
              <a:gd name="T7" fmla="*/ 2147483647 h 16"/>
              <a:gd name="T8" fmla="*/ 2147483647 w 26"/>
              <a:gd name="T9" fmla="*/ 0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17" y="0"/>
                </a:moveTo>
                <a:lnTo>
                  <a:pt x="26" y="6"/>
                </a:lnTo>
                <a:lnTo>
                  <a:pt x="4" y="16"/>
                </a:lnTo>
                <a:lnTo>
                  <a:pt x="0" y="10"/>
                </a:lnTo>
                <a:lnTo>
                  <a:pt x="17" y="0"/>
                </a:lnTo>
                <a:close/>
              </a:path>
            </a:pathLst>
          </a:custGeom>
          <a:solidFill>
            <a:schemeClr val="accent1"/>
          </a:solidFill>
          <a:ln w="6350">
            <a:solidFill>
              <a:schemeClr val="tx2"/>
            </a:solidFill>
            <a:round/>
            <a:headEnd/>
            <a:tailEnd/>
          </a:ln>
        </p:spPr>
        <p:txBody>
          <a:bodyPr/>
          <a:lstStyle/>
          <a:p>
            <a:endParaRPr lang="en-US"/>
          </a:p>
        </p:txBody>
      </p:sp>
      <p:sp>
        <p:nvSpPr>
          <p:cNvPr id="409" name="Freeform 1513"/>
          <p:cNvSpPr>
            <a:spLocks/>
          </p:cNvSpPr>
          <p:nvPr/>
        </p:nvSpPr>
        <p:spPr bwMode="auto">
          <a:xfrm>
            <a:off x="8886480" y="4707517"/>
            <a:ext cx="5734" cy="16557"/>
          </a:xfrm>
          <a:custGeom>
            <a:avLst/>
            <a:gdLst>
              <a:gd name="T0" fmla="*/ 2147483647 w 14"/>
              <a:gd name="T1" fmla="*/ 0 h 42"/>
              <a:gd name="T2" fmla="*/ 2147483647 w 14"/>
              <a:gd name="T3" fmla="*/ 2147483647 h 42"/>
              <a:gd name="T4" fmla="*/ 2147483647 w 14"/>
              <a:gd name="T5" fmla="*/ 2147483647 h 42"/>
              <a:gd name="T6" fmla="*/ 2147483647 w 14"/>
              <a:gd name="T7" fmla="*/ 2147483647 h 42"/>
              <a:gd name="T8" fmla="*/ 0 w 14"/>
              <a:gd name="T9" fmla="*/ 2147483647 h 42"/>
              <a:gd name="T10" fmla="*/ 2147483647 w 14"/>
              <a:gd name="T11" fmla="*/ 2147483647 h 42"/>
              <a:gd name="T12" fmla="*/ 2147483647 w 14"/>
              <a:gd name="T13" fmla="*/ 0 h 42"/>
              <a:gd name="T14" fmla="*/ 0 60000 65536"/>
              <a:gd name="T15" fmla="*/ 0 60000 65536"/>
              <a:gd name="T16" fmla="*/ 0 60000 65536"/>
              <a:gd name="T17" fmla="*/ 0 60000 65536"/>
              <a:gd name="T18" fmla="*/ 0 60000 65536"/>
              <a:gd name="T19" fmla="*/ 0 60000 65536"/>
              <a:gd name="T20" fmla="*/ 0 60000 65536"/>
              <a:gd name="T21" fmla="*/ 0 w 14"/>
              <a:gd name="T22" fmla="*/ 0 h 42"/>
              <a:gd name="T23" fmla="*/ 14 w 14"/>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42">
                <a:moveTo>
                  <a:pt x="6" y="0"/>
                </a:moveTo>
                <a:lnTo>
                  <a:pt x="14" y="8"/>
                </a:lnTo>
                <a:lnTo>
                  <a:pt x="14" y="20"/>
                </a:lnTo>
                <a:lnTo>
                  <a:pt x="2" y="42"/>
                </a:lnTo>
                <a:lnTo>
                  <a:pt x="0" y="20"/>
                </a:lnTo>
                <a:lnTo>
                  <a:pt x="9" y="6"/>
                </a:lnTo>
                <a:lnTo>
                  <a:pt x="6" y="0"/>
                </a:lnTo>
                <a:close/>
              </a:path>
            </a:pathLst>
          </a:custGeom>
          <a:solidFill>
            <a:schemeClr val="accent1"/>
          </a:solidFill>
          <a:ln w="6350">
            <a:solidFill>
              <a:schemeClr val="tx2"/>
            </a:solidFill>
            <a:round/>
            <a:headEnd/>
            <a:tailEnd/>
          </a:ln>
        </p:spPr>
        <p:txBody>
          <a:bodyPr/>
          <a:lstStyle/>
          <a:p>
            <a:endParaRPr lang="en-US"/>
          </a:p>
        </p:txBody>
      </p:sp>
      <p:sp>
        <p:nvSpPr>
          <p:cNvPr id="410" name="Freeform 1514"/>
          <p:cNvSpPr>
            <a:spLocks/>
          </p:cNvSpPr>
          <p:nvPr/>
        </p:nvSpPr>
        <p:spPr bwMode="auto">
          <a:xfrm>
            <a:off x="8895081" y="4757190"/>
            <a:ext cx="2866" cy="6369"/>
          </a:xfrm>
          <a:custGeom>
            <a:avLst/>
            <a:gdLst>
              <a:gd name="T0" fmla="*/ 0 w 4"/>
              <a:gd name="T1" fmla="*/ 0 h 13"/>
              <a:gd name="T2" fmla="*/ 2147483647 w 4"/>
              <a:gd name="T3" fmla="*/ 2147483647 h 13"/>
              <a:gd name="T4" fmla="*/ 2147483647 w 4"/>
              <a:gd name="T5" fmla="*/ 2147483647 h 13"/>
              <a:gd name="T6" fmla="*/ 0 w 4"/>
              <a:gd name="T7" fmla="*/ 0 h 13"/>
              <a:gd name="T8" fmla="*/ 0 60000 65536"/>
              <a:gd name="T9" fmla="*/ 0 60000 65536"/>
              <a:gd name="T10" fmla="*/ 0 60000 65536"/>
              <a:gd name="T11" fmla="*/ 0 60000 65536"/>
              <a:gd name="T12" fmla="*/ 0 w 4"/>
              <a:gd name="T13" fmla="*/ 0 h 13"/>
              <a:gd name="T14" fmla="*/ 4 w 4"/>
              <a:gd name="T15" fmla="*/ 13 h 13"/>
            </a:gdLst>
            <a:ahLst/>
            <a:cxnLst>
              <a:cxn ang="T8">
                <a:pos x="T0" y="T1"/>
              </a:cxn>
              <a:cxn ang="T9">
                <a:pos x="T2" y="T3"/>
              </a:cxn>
              <a:cxn ang="T10">
                <a:pos x="T4" y="T5"/>
              </a:cxn>
              <a:cxn ang="T11">
                <a:pos x="T6" y="T7"/>
              </a:cxn>
            </a:cxnLst>
            <a:rect l="T12" t="T13" r="T14" b="T15"/>
            <a:pathLst>
              <a:path w="4" h="13">
                <a:moveTo>
                  <a:pt x="0" y="0"/>
                </a:moveTo>
                <a:lnTo>
                  <a:pt x="4" y="2"/>
                </a:lnTo>
                <a:lnTo>
                  <a:pt x="1" y="13"/>
                </a:lnTo>
                <a:lnTo>
                  <a:pt x="0" y="0"/>
                </a:lnTo>
                <a:close/>
              </a:path>
            </a:pathLst>
          </a:custGeom>
          <a:solidFill>
            <a:schemeClr val="accent1"/>
          </a:solidFill>
          <a:ln w="6350">
            <a:solidFill>
              <a:schemeClr val="tx2"/>
            </a:solidFill>
            <a:round/>
            <a:headEnd/>
            <a:tailEnd/>
          </a:ln>
        </p:spPr>
        <p:txBody>
          <a:bodyPr/>
          <a:lstStyle/>
          <a:p>
            <a:endParaRPr lang="en-US"/>
          </a:p>
        </p:txBody>
      </p:sp>
      <p:sp>
        <p:nvSpPr>
          <p:cNvPr id="411" name="Freeform 1515"/>
          <p:cNvSpPr>
            <a:spLocks/>
          </p:cNvSpPr>
          <p:nvPr/>
        </p:nvSpPr>
        <p:spPr bwMode="auto">
          <a:xfrm>
            <a:off x="8552512" y="4929133"/>
            <a:ext cx="32967" cy="11462"/>
          </a:xfrm>
          <a:custGeom>
            <a:avLst/>
            <a:gdLst>
              <a:gd name="T0" fmla="*/ 0 w 69"/>
              <a:gd name="T1" fmla="*/ 2147483647 h 25"/>
              <a:gd name="T2" fmla="*/ 2147483647 w 69"/>
              <a:gd name="T3" fmla="*/ 0 h 25"/>
              <a:gd name="T4" fmla="*/ 2147483647 w 69"/>
              <a:gd name="T5" fmla="*/ 2147483647 h 25"/>
              <a:gd name="T6" fmla="*/ 2147483647 w 69"/>
              <a:gd name="T7" fmla="*/ 2147483647 h 25"/>
              <a:gd name="T8" fmla="*/ 2147483647 w 69"/>
              <a:gd name="T9" fmla="*/ 2147483647 h 25"/>
              <a:gd name="T10" fmla="*/ 2147483647 w 69"/>
              <a:gd name="T11" fmla="*/ 2147483647 h 25"/>
              <a:gd name="T12" fmla="*/ 2147483647 w 69"/>
              <a:gd name="T13" fmla="*/ 2147483647 h 25"/>
              <a:gd name="T14" fmla="*/ 0 w 69"/>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25"/>
              <a:gd name="T26" fmla="*/ 69 w 69"/>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25">
                <a:moveTo>
                  <a:pt x="0" y="12"/>
                </a:moveTo>
                <a:lnTo>
                  <a:pt x="34" y="0"/>
                </a:lnTo>
                <a:lnTo>
                  <a:pt x="69" y="17"/>
                </a:lnTo>
                <a:lnTo>
                  <a:pt x="48" y="17"/>
                </a:lnTo>
                <a:lnTo>
                  <a:pt x="42" y="25"/>
                </a:lnTo>
                <a:lnTo>
                  <a:pt x="16" y="23"/>
                </a:lnTo>
                <a:lnTo>
                  <a:pt x="5" y="23"/>
                </a:lnTo>
                <a:lnTo>
                  <a:pt x="0" y="12"/>
                </a:lnTo>
                <a:close/>
              </a:path>
            </a:pathLst>
          </a:custGeom>
          <a:solidFill>
            <a:schemeClr val="accent1"/>
          </a:solidFill>
          <a:ln w="6350">
            <a:solidFill>
              <a:schemeClr val="tx2"/>
            </a:solidFill>
            <a:round/>
            <a:headEnd/>
            <a:tailEnd/>
          </a:ln>
        </p:spPr>
        <p:txBody>
          <a:bodyPr/>
          <a:lstStyle/>
          <a:p>
            <a:endParaRPr lang="en-US"/>
          </a:p>
        </p:txBody>
      </p:sp>
      <p:sp>
        <p:nvSpPr>
          <p:cNvPr id="412" name="Freeform 1516"/>
          <p:cNvSpPr>
            <a:spLocks/>
          </p:cNvSpPr>
          <p:nvPr/>
        </p:nvSpPr>
        <p:spPr bwMode="auto">
          <a:xfrm>
            <a:off x="8781846" y="5023384"/>
            <a:ext cx="10034" cy="14010"/>
          </a:xfrm>
          <a:custGeom>
            <a:avLst/>
            <a:gdLst>
              <a:gd name="T0" fmla="*/ 2147483647 w 19"/>
              <a:gd name="T1" fmla="*/ 2147483647 h 31"/>
              <a:gd name="T2" fmla="*/ 2147483647 w 19"/>
              <a:gd name="T3" fmla="*/ 0 h 31"/>
              <a:gd name="T4" fmla="*/ 2147483647 w 19"/>
              <a:gd name="T5" fmla="*/ 2147483647 h 31"/>
              <a:gd name="T6" fmla="*/ 2147483647 w 19"/>
              <a:gd name="T7" fmla="*/ 2147483647 h 31"/>
              <a:gd name="T8" fmla="*/ 2147483647 w 19"/>
              <a:gd name="T9" fmla="*/ 2147483647 h 31"/>
              <a:gd name="T10" fmla="*/ 0 w 19"/>
              <a:gd name="T11" fmla="*/ 2147483647 h 31"/>
              <a:gd name="T12" fmla="*/ 2147483647 w 19"/>
              <a:gd name="T13" fmla="*/ 2147483647 h 31"/>
              <a:gd name="T14" fmla="*/ 0 60000 65536"/>
              <a:gd name="T15" fmla="*/ 0 60000 65536"/>
              <a:gd name="T16" fmla="*/ 0 60000 65536"/>
              <a:gd name="T17" fmla="*/ 0 60000 65536"/>
              <a:gd name="T18" fmla="*/ 0 60000 65536"/>
              <a:gd name="T19" fmla="*/ 0 60000 65536"/>
              <a:gd name="T20" fmla="*/ 0 60000 65536"/>
              <a:gd name="T21" fmla="*/ 0 w 19"/>
              <a:gd name="T22" fmla="*/ 0 h 31"/>
              <a:gd name="T23" fmla="*/ 19 w 19"/>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1">
                <a:moveTo>
                  <a:pt x="1" y="3"/>
                </a:moveTo>
                <a:lnTo>
                  <a:pt x="4" y="0"/>
                </a:lnTo>
                <a:lnTo>
                  <a:pt x="17" y="12"/>
                </a:lnTo>
                <a:lnTo>
                  <a:pt x="19" y="27"/>
                </a:lnTo>
                <a:lnTo>
                  <a:pt x="11" y="31"/>
                </a:lnTo>
                <a:lnTo>
                  <a:pt x="0" y="7"/>
                </a:lnTo>
                <a:lnTo>
                  <a:pt x="1" y="3"/>
                </a:lnTo>
                <a:close/>
              </a:path>
            </a:pathLst>
          </a:custGeom>
          <a:solidFill>
            <a:schemeClr val="accent1"/>
          </a:solidFill>
          <a:ln w="6350">
            <a:solidFill>
              <a:schemeClr val="tx2"/>
            </a:solidFill>
            <a:round/>
            <a:headEnd/>
            <a:tailEnd/>
          </a:ln>
        </p:spPr>
        <p:txBody>
          <a:bodyPr/>
          <a:lstStyle/>
          <a:p>
            <a:endParaRPr lang="en-US"/>
          </a:p>
        </p:txBody>
      </p:sp>
      <p:sp>
        <p:nvSpPr>
          <p:cNvPr id="413" name="Freeform 1517"/>
          <p:cNvSpPr>
            <a:spLocks/>
          </p:cNvSpPr>
          <p:nvPr/>
        </p:nvSpPr>
        <p:spPr bwMode="auto">
          <a:xfrm>
            <a:off x="8789014" y="5037394"/>
            <a:ext cx="7166" cy="3821"/>
          </a:xfrm>
          <a:custGeom>
            <a:avLst/>
            <a:gdLst>
              <a:gd name="T0" fmla="*/ 0 w 16"/>
              <a:gd name="T1" fmla="*/ 2147483647 h 7"/>
              <a:gd name="T2" fmla="*/ 2147483647 w 16"/>
              <a:gd name="T3" fmla="*/ 0 h 7"/>
              <a:gd name="T4" fmla="*/ 2147483647 w 16"/>
              <a:gd name="T5" fmla="*/ 2147483647 h 7"/>
              <a:gd name="T6" fmla="*/ 0 w 16"/>
              <a:gd name="T7" fmla="*/ 2147483647 h 7"/>
              <a:gd name="T8" fmla="*/ 0 60000 65536"/>
              <a:gd name="T9" fmla="*/ 0 60000 65536"/>
              <a:gd name="T10" fmla="*/ 0 60000 65536"/>
              <a:gd name="T11" fmla="*/ 0 60000 65536"/>
              <a:gd name="T12" fmla="*/ 0 w 16"/>
              <a:gd name="T13" fmla="*/ 0 h 7"/>
              <a:gd name="T14" fmla="*/ 16 w 16"/>
              <a:gd name="T15" fmla="*/ 7 h 7"/>
            </a:gdLst>
            <a:ahLst/>
            <a:cxnLst>
              <a:cxn ang="T8">
                <a:pos x="T0" y="T1"/>
              </a:cxn>
              <a:cxn ang="T9">
                <a:pos x="T2" y="T3"/>
              </a:cxn>
              <a:cxn ang="T10">
                <a:pos x="T4" y="T5"/>
              </a:cxn>
              <a:cxn ang="T11">
                <a:pos x="T6" y="T7"/>
              </a:cxn>
            </a:cxnLst>
            <a:rect l="T12" t="T13" r="T14" b="T15"/>
            <a:pathLst>
              <a:path w="16" h="7">
                <a:moveTo>
                  <a:pt x="0" y="6"/>
                </a:moveTo>
                <a:lnTo>
                  <a:pt x="10" y="0"/>
                </a:lnTo>
                <a:lnTo>
                  <a:pt x="16" y="7"/>
                </a:lnTo>
                <a:lnTo>
                  <a:pt x="0" y="6"/>
                </a:lnTo>
                <a:close/>
              </a:path>
            </a:pathLst>
          </a:custGeom>
          <a:solidFill>
            <a:schemeClr val="accent1"/>
          </a:solidFill>
          <a:ln w="6350">
            <a:solidFill>
              <a:schemeClr val="tx2"/>
            </a:solidFill>
            <a:round/>
            <a:headEnd/>
            <a:tailEnd/>
          </a:ln>
        </p:spPr>
        <p:txBody>
          <a:bodyPr/>
          <a:lstStyle/>
          <a:p>
            <a:endParaRPr lang="en-US"/>
          </a:p>
        </p:txBody>
      </p:sp>
      <p:sp>
        <p:nvSpPr>
          <p:cNvPr id="414" name="Freeform 1518"/>
          <p:cNvSpPr>
            <a:spLocks/>
          </p:cNvSpPr>
          <p:nvPr/>
        </p:nvSpPr>
        <p:spPr bwMode="auto">
          <a:xfrm>
            <a:off x="8720212" y="5046310"/>
            <a:ext cx="71667" cy="70050"/>
          </a:xfrm>
          <a:custGeom>
            <a:avLst/>
            <a:gdLst>
              <a:gd name="T0" fmla="*/ 2147483647 w 154"/>
              <a:gd name="T1" fmla="*/ 0 h 168"/>
              <a:gd name="T2" fmla="*/ 2147483647 w 154"/>
              <a:gd name="T3" fmla="*/ 2147483647 h 168"/>
              <a:gd name="T4" fmla="*/ 2147483647 w 154"/>
              <a:gd name="T5" fmla="*/ 2147483647 h 168"/>
              <a:gd name="T6" fmla="*/ 2147483647 w 154"/>
              <a:gd name="T7" fmla="*/ 2147483647 h 168"/>
              <a:gd name="T8" fmla="*/ 2147483647 w 154"/>
              <a:gd name="T9" fmla="*/ 2147483647 h 168"/>
              <a:gd name="T10" fmla="*/ 2147483647 w 154"/>
              <a:gd name="T11" fmla="*/ 2147483647 h 168"/>
              <a:gd name="T12" fmla="*/ 2147483647 w 154"/>
              <a:gd name="T13" fmla="*/ 2147483647 h 168"/>
              <a:gd name="T14" fmla="*/ 2147483647 w 154"/>
              <a:gd name="T15" fmla="*/ 2147483647 h 168"/>
              <a:gd name="T16" fmla="*/ 2147483647 w 154"/>
              <a:gd name="T17" fmla="*/ 2147483647 h 168"/>
              <a:gd name="T18" fmla="*/ 2147483647 w 154"/>
              <a:gd name="T19" fmla="*/ 2147483647 h 168"/>
              <a:gd name="T20" fmla="*/ 2147483647 w 154"/>
              <a:gd name="T21" fmla="*/ 2147483647 h 168"/>
              <a:gd name="T22" fmla="*/ 2147483647 w 154"/>
              <a:gd name="T23" fmla="*/ 2147483647 h 168"/>
              <a:gd name="T24" fmla="*/ 2147483647 w 154"/>
              <a:gd name="T25" fmla="*/ 2147483647 h 168"/>
              <a:gd name="T26" fmla="*/ 2147483647 w 154"/>
              <a:gd name="T27" fmla="*/ 2147483647 h 168"/>
              <a:gd name="T28" fmla="*/ 2147483647 w 154"/>
              <a:gd name="T29" fmla="*/ 2147483647 h 168"/>
              <a:gd name="T30" fmla="*/ 2147483647 w 154"/>
              <a:gd name="T31" fmla="*/ 2147483647 h 168"/>
              <a:gd name="T32" fmla="*/ 2147483647 w 154"/>
              <a:gd name="T33" fmla="*/ 2147483647 h 168"/>
              <a:gd name="T34" fmla="*/ 2147483647 w 154"/>
              <a:gd name="T35" fmla="*/ 2147483647 h 168"/>
              <a:gd name="T36" fmla="*/ 2147483647 w 154"/>
              <a:gd name="T37" fmla="*/ 2147483647 h 168"/>
              <a:gd name="T38" fmla="*/ 2147483647 w 154"/>
              <a:gd name="T39" fmla="*/ 2147483647 h 168"/>
              <a:gd name="T40" fmla="*/ 2147483647 w 154"/>
              <a:gd name="T41" fmla="*/ 2147483647 h 168"/>
              <a:gd name="T42" fmla="*/ 2147483647 w 154"/>
              <a:gd name="T43" fmla="*/ 2147483647 h 168"/>
              <a:gd name="T44" fmla="*/ 2147483647 w 154"/>
              <a:gd name="T45" fmla="*/ 2147483647 h 168"/>
              <a:gd name="T46" fmla="*/ 2147483647 w 154"/>
              <a:gd name="T47" fmla="*/ 2147483647 h 168"/>
              <a:gd name="T48" fmla="*/ 2147483647 w 154"/>
              <a:gd name="T49" fmla="*/ 2147483647 h 168"/>
              <a:gd name="T50" fmla="*/ 2147483647 w 154"/>
              <a:gd name="T51" fmla="*/ 2147483647 h 168"/>
              <a:gd name="T52" fmla="*/ 2147483647 w 154"/>
              <a:gd name="T53" fmla="*/ 2147483647 h 168"/>
              <a:gd name="T54" fmla="*/ 2147483647 w 154"/>
              <a:gd name="T55" fmla="*/ 2147483647 h 168"/>
              <a:gd name="T56" fmla="*/ 2147483647 w 154"/>
              <a:gd name="T57" fmla="*/ 2147483647 h 168"/>
              <a:gd name="T58" fmla="*/ 2147483647 w 154"/>
              <a:gd name="T59" fmla="*/ 2147483647 h 168"/>
              <a:gd name="T60" fmla="*/ 2147483647 w 154"/>
              <a:gd name="T61" fmla="*/ 2147483647 h 168"/>
              <a:gd name="T62" fmla="*/ 0 w 154"/>
              <a:gd name="T63" fmla="*/ 2147483647 h 168"/>
              <a:gd name="T64" fmla="*/ 2147483647 w 154"/>
              <a:gd name="T65" fmla="*/ 0 h 16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
              <a:gd name="T100" fmla="*/ 0 h 168"/>
              <a:gd name="T101" fmla="*/ 154 w 154"/>
              <a:gd name="T102" fmla="*/ 168 h 16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 h="168">
                <a:moveTo>
                  <a:pt x="1" y="0"/>
                </a:moveTo>
                <a:lnTo>
                  <a:pt x="14" y="8"/>
                </a:lnTo>
                <a:lnTo>
                  <a:pt x="33" y="10"/>
                </a:lnTo>
                <a:lnTo>
                  <a:pt x="53" y="24"/>
                </a:lnTo>
                <a:lnTo>
                  <a:pt x="77" y="27"/>
                </a:lnTo>
                <a:lnTo>
                  <a:pt x="116" y="17"/>
                </a:lnTo>
                <a:lnTo>
                  <a:pt x="124" y="8"/>
                </a:lnTo>
                <a:lnTo>
                  <a:pt x="134" y="12"/>
                </a:lnTo>
                <a:lnTo>
                  <a:pt x="137" y="5"/>
                </a:lnTo>
                <a:lnTo>
                  <a:pt x="144" y="8"/>
                </a:lnTo>
                <a:lnTo>
                  <a:pt x="150" y="16"/>
                </a:lnTo>
                <a:lnTo>
                  <a:pt x="153" y="33"/>
                </a:lnTo>
                <a:lnTo>
                  <a:pt x="154" y="94"/>
                </a:lnTo>
                <a:lnTo>
                  <a:pt x="151" y="74"/>
                </a:lnTo>
                <a:lnTo>
                  <a:pt x="142" y="92"/>
                </a:lnTo>
                <a:lnTo>
                  <a:pt x="138" y="120"/>
                </a:lnTo>
                <a:lnTo>
                  <a:pt x="122" y="121"/>
                </a:lnTo>
                <a:lnTo>
                  <a:pt x="110" y="148"/>
                </a:lnTo>
                <a:lnTo>
                  <a:pt x="102" y="142"/>
                </a:lnTo>
                <a:lnTo>
                  <a:pt x="98" y="146"/>
                </a:lnTo>
                <a:lnTo>
                  <a:pt x="97" y="161"/>
                </a:lnTo>
                <a:lnTo>
                  <a:pt x="91" y="168"/>
                </a:lnTo>
                <a:lnTo>
                  <a:pt x="57" y="162"/>
                </a:lnTo>
                <a:lnTo>
                  <a:pt x="54" y="157"/>
                </a:lnTo>
                <a:lnTo>
                  <a:pt x="63" y="150"/>
                </a:lnTo>
                <a:lnTo>
                  <a:pt x="48" y="147"/>
                </a:lnTo>
                <a:lnTo>
                  <a:pt x="28" y="117"/>
                </a:lnTo>
                <a:lnTo>
                  <a:pt x="19" y="83"/>
                </a:lnTo>
                <a:lnTo>
                  <a:pt x="28" y="100"/>
                </a:lnTo>
                <a:lnTo>
                  <a:pt x="33" y="92"/>
                </a:lnTo>
                <a:lnTo>
                  <a:pt x="18" y="72"/>
                </a:lnTo>
                <a:lnTo>
                  <a:pt x="0" y="30"/>
                </a:lnTo>
                <a:lnTo>
                  <a:pt x="1" y="0"/>
                </a:lnTo>
                <a:close/>
              </a:path>
            </a:pathLst>
          </a:custGeom>
          <a:solidFill>
            <a:schemeClr val="accent1"/>
          </a:solidFill>
          <a:ln w="6350">
            <a:solidFill>
              <a:schemeClr val="tx2"/>
            </a:solidFill>
            <a:round/>
            <a:headEnd/>
            <a:tailEnd/>
          </a:ln>
        </p:spPr>
        <p:txBody>
          <a:bodyPr/>
          <a:lstStyle/>
          <a:p>
            <a:endParaRPr lang="en-US"/>
          </a:p>
        </p:txBody>
      </p:sp>
      <p:sp>
        <p:nvSpPr>
          <p:cNvPr id="415" name="Freeform 1519"/>
          <p:cNvSpPr>
            <a:spLocks/>
          </p:cNvSpPr>
          <p:nvPr/>
        </p:nvSpPr>
        <p:spPr bwMode="auto">
          <a:xfrm>
            <a:off x="9107214" y="4619634"/>
            <a:ext cx="60200" cy="42031"/>
          </a:xfrm>
          <a:custGeom>
            <a:avLst/>
            <a:gdLst>
              <a:gd name="T0" fmla="*/ 2147483647 w 126"/>
              <a:gd name="T1" fmla="*/ 2147483647 h 102"/>
              <a:gd name="T2" fmla="*/ 2147483647 w 126"/>
              <a:gd name="T3" fmla="*/ 2147483647 h 102"/>
              <a:gd name="T4" fmla="*/ 2147483647 w 126"/>
              <a:gd name="T5" fmla="*/ 2147483647 h 102"/>
              <a:gd name="T6" fmla="*/ 0 w 126"/>
              <a:gd name="T7" fmla="*/ 0 h 102"/>
              <a:gd name="T8" fmla="*/ 2147483647 w 126"/>
              <a:gd name="T9" fmla="*/ 2147483647 h 102"/>
              <a:gd name="T10" fmla="*/ 2147483647 w 126"/>
              <a:gd name="T11" fmla="*/ 2147483647 h 102"/>
              <a:gd name="T12" fmla="*/ 2147483647 w 126"/>
              <a:gd name="T13" fmla="*/ 2147483647 h 102"/>
              <a:gd name="T14" fmla="*/ 2147483647 w 126"/>
              <a:gd name="T15" fmla="*/ 2147483647 h 102"/>
              <a:gd name="T16" fmla="*/ 2147483647 w 126"/>
              <a:gd name="T17" fmla="*/ 2147483647 h 102"/>
              <a:gd name="T18" fmla="*/ 2147483647 w 126"/>
              <a:gd name="T19" fmla="*/ 2147483647 h 102"/>
              <a:gd name="T20" fmla="*/ 2147483647 w 126"/>
              <a:gd name="T21" fmla="*/ 2147483647 h 102"/>
              <a:gd name="T22" fmla="*/ 2147483647 w 126"/>
              <a:gd name="T23" fmla="*/ 2147483647 h 102"/>
              <a:gd name="T24" fmla="*/ 2147483647 w 126"/>
              <a:gd name="T25" fmla="*/ 2147483647 h 102"/>
              <a:gd name="T26" fmla="*/ 2147483647 w 126"/>
              <a:gd name="T27" fmla="*/ 2147483647 h 102"/>
              <a:gd name="T28" fmla="*/ 2147483647 w 126"/>
              <a:gd name="T29" fmla="*/ 2147483647 h 102"/>
              <a:gd name="T30" fmla="*/ 2147483647 w 126"/>
              <a:gd name="T31" fmla="*/ 2147483647 h 102"/>
              <a:gd name="T32" fmla="*/ 2147483647 w 126"/>
              <a:gd name="T33" fmla="*/ 2147483647 h 102"/>
              <a:gd name="T34" fmla="*/ 2147483647 w 126"/>
              <a:gd name="T35" fmla="*/ 2147483647 h 102"/>
              <a:gd name="T36" fmla="*/ 2147483647 w 126"/>
              <a:gd name="T37" fmla="*/ 2147483647 h 102"/>
              <a:gd name="T38" fmla="*/ 2147483647 w 126"/>
              <a:gd name="T39" fmla="*/ 2147483647 h 10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6"/>
              <a:gd name="T61" fmla="*/ 0 h 102"/>
              <a:gd name="T62" fmla="*/ 126 w 126"/>
              <a:gd name="T63" fmla="*/ 102 h 10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6" h="102">
                <a:moveTo>
                  <a:pt x="46" y="54"/>
                </a:moveTo>
                <a:lnTo>
                  <a:pt x="31" y="46"/>
                </a:lnTo>
                <a:lnTo>
                  <a:pt x="5" y="12"/>
                </a:lnTo>
                <a:lnTo>
                  <a:pt x="0" y="0"/>
                </a:lnTo>
                <a:lnTo>
                  <a:pt x="15" y="1"/>
                </a:lnTo>
                <a:lnTo>
                  <a:pt x="31" y="11"/>
                </a:lnTo>
                <a:lnTo>
                  <a:pt x="35" y="19"/>
                </a:lnTo>
                <a:lnTo>
                  <a:pt x="46" y="22"/>
                </a:lnTo>
                <a:lnTo>
                  <a:pt x="59" y="43"/>
                </a:lnTo>
                <a:lnTo>
                  <a:pt x="80" y="62"/>
                </a:lnTo>
                <a:lnTo>
                  <a:pt x="96" y="66"/>
                </a:lnTo>
                <a:lnTo>
                  <a:pt x="112" y="83"/>
                </a:lnTo>
                <a:lnTo>
                  <a:pt x="124" y="88"/>
                </a:lnTo>
                <a:lnTo>
                  <a:pt x="126" y="95"/>
                </a:lnTo>
                <a:lnTo>
                  <a:pt x="120" y="102"/>
                </a:lnTo>
                <a:lnTo>
                  <a:pt x="108" y="92"/>
                </a:lnTo>
                <a:lnTo>
                  <a:pt x="91" y="89"/>
                </a:lnTo>
                <a:lnTo>
                  <a:pt x="88" y="80"/>
                </a:lnTo>
                <a:lnTo>
                  <a:pt x="52" y="63"/>
                </a:lnTo>
                <a:lnTo>
                  <a:pt x="46" y="54"/>
                </a:lnTo>
                <a:close/>
              </a:path>
            </a:pathLst>
          </a:custGeom>
          <a:solidFill>
            <a:schemeClr val="accent1"/>
          </a:solidFill>
          <a:ln w="6350">
            <a:solidFill>
              <a:schemeClr val="tx2"/>
            </a:solidFill>
            <a:round/>
            <a:headEnd/>
            <a:tailEnd/>
          </a:ln>
        </p:spPr>
        <p:txBody>
          <a:bodyPr/>
          <a:lstStyle/>
          <a:p>
            <a:endParaRPr lang="en-US"/>
          </a:p>
        </p:txBody>
      </p:sp>
      <p:sp>
        <p:nvSpPr>
          <p:cNvPr id="416" name="Freeform 1520"/>
          <p:cNvSpPr>
            <a:spLocks/>
          </p:cNvSpPr>
          <p:nvPr/>
        </p:nvSpPr>
        <p:spPr bwMode="auto">
          <a:xfrm>
            <a:off x="9160248" y="4516468"/>
            <a:ext cx="10034" cy="16557"/>
          </a:xfrm>
          <a:custGeom>
            <a:avLst/>
            <a:gdLst>
              <a:gd name="T0" fmla="*/ 0 w 26"/>
              <a:gd name="T1" fmla="*/ 0 h 38"/>
              <a:gd name="T2" fmla="*/ 2147483647 w 26"/>
              <a:gd name="T3" fmla="*/ 2147483647 h 38"/>
              <a:gd name="T4" fmla="*/ 2147483647 w 26"/>
              <a:gd name="T5" fmla="*/ 2147483647 h 38"/>
              <a:gd name="T6" fmla="*/ 2147483647 w 26"/>
              <a:gd name="T7" fmla="*/ 2147483647 h 38"/>
              <a:gd name="T8" fmla="*/ 2147483647 w 26"/>
              <a:gd name="T9" fmla="*/ 2147483647 h 38"/>
              <a:gd name="T10" fmla="*/ 0 w 26"/>
              <a:gd name="T11" fmla="*/ 0 h 38"/>
              <a:gd name="T12" fmla="*/ 0 60000 65536"/>
              <a:gd name="T13" fmla="*/ 0 60000 65536"/>
              <a:gd name="T14" fmla="*/ 0 60000 65536"/>
              <a:gd name="T15" fmla="*/ 0 60000 65536"/>
              <a:gd name="T16" fmla="*/ 0 60000 65536"/>
              <a:gd name="T17" fmla="*/ 0 60000 65536"/>
              <a:gd name="T18" fmla="*/ 0 w 26"/>
              <a:gd name="T19" fmla="*/ 0 h 38"/>
              <a:gd name="T20" fmla="*/ 26 w 2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26" h="38">
                <a:moveTo>
                  <a:pt x="0" y="0"/>
                </a:moveTo>
                <a:lnTo>
                  <a:pt x="9" y="20"/>
                </a:lnTo>
                <a:lnTo>
                  <a:pt x="22" y="13"/>
                </a:lnTo>
                <a:lnTo>
                  <a:pt x="26" y="35"/>
                </a:lnTo>
                <a:lnTo>
                  <a:pt x="10" y="38"/>
                </a:lnTo>
                <a:lnTo>
                  <a:pt x="0" y="0"/>
                </a:lnTo>
                <a:close/>
              </a:path>
            </a:pathLst>
          </a:custGeom>
          <a:solidFill>
            <a:schemeClr val="accent1"/>
          </a:solidFill>
          <a:ln w="6350">
            <a:solidFill>
              <a:schemeClr val="tx2"/>
            </a:solidFill>
            <a:round/>
            <a:headEnd/>
            <a:tailEnd/>
          </a:ln>
        </p:spPr>
        <p:txBody>
          <a:bodyPr/>
          <a:lstStyle/>
          <a:p>
            <a:endParaRPr lang="en-US"/>
          </a:p>
        </p:txBody>
      </p:sp>
      <p:sp>
        <p:nvSpPr>
          <p:cNvPr id="417" name="Freeform 1521"/>
          <p:cNvSpPr>
            <a:spLocks/>
          </p:cNvSpPr>
          <p:nvPr/>
        </p:nvSpPr>
        <p:spPr bwMode="auto">
          <a:xfrm>
            <a:off x="9170282" y="4536848"/>
            <a:ext cx="11467" cy="12737"/>
          </a:xfrm>
          <a:custGeom>
            <a:avLst/>
            <a:gdLst>
              <a:gd name="T0" fmla="*/ 0 w 23"/>
              <a:gd name="T1" fmla="*/ 0 h 30"/>
              <a:gd name="T2" fmla="*/ 2147483647 w 23"/>
              <a:gd name="T3" fmla="*/ 2147483647 h 30"/>
              <a:gd name="T4" fmla="*/ 2147483647 w 23"/>
              <a:gd name="T5" fmla="*/ 2147483647 h 30"/>
              <a:gd name="T6" fmla="*/ 2147483647 w 23"/>
              <a:gd name="T7" fmla="*/ 2147483647 h 30"/>
              <a:gd name="T8" fmla="*/ 2147483647 w 23"/>
              <a:gd name="T9" fmla="*/ 2147483647 h 30"/>
              <a:gd name="T10" fmla="*/ 2147483647 w 23"/>
              <a:gd name="T11" fmla="*/ 2147483647 h 30"/>
              <a:gd name="T12" fmla="*/ 0 w 23"/>
              <a:gd name="T13" fmla="*/ 0 h 30"/>
              <a:gd name="T14" fmla="*/ 0 60000 65536"/>
              <a:gd name="T15" fmla="*/ 0 60000 65536"/>
              <a:gd name="T16" fmla="*/ 0 60000 65536"/>
              <a:gd name="T17" fmla="*/ 0 60000 65536"/>
              <a:gd name="T18" fmla="*/ 0 60000 65536"/>
              <a:gd name="T19" fmla="*/ 0 60000 65536"/>
              <a:gd name="T20" fmla="*/ 0 60000 65536"/>
              <a:gd name="T21" fmla="*/ 0 w 23"/>
              <a:gd name="T22" fmla="*/ 0 h 30"/>
              <a:gd name="T23" fmla="*/ 23 w 23"/>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0">
                <a:moveTo>
                  <a:pt x="0" y="0"/>
                </a:moveTo>
                <a:lnTo>
                  <a:pt x="22" y="20"/>
                </a:lnTo>
                <a:lnTo>
                  <a:pt x="23" y="28"/>
                </a:lnTo>
                <a:lnTo>
                  <a:pt x="10" y="30"/>
                </a:lnTo>
                <a:lnTo>
                  <a:pt x="7" y="10"/>
                </a:lnTo>
                <a:lnTo>
                  <a:pt x="1" y="7"/>
                </a:lnTo>
                <a:lnTo>
                  <a:pt x="0" y="0"/>
                </a:lnTo>
                <a:close/>
              </a:path>
            </a:pathLst>
          </a:custGeom>
          <a:solidFill>
            <a:schemeClr val="accent1"/>
          </a:solidFill>
          <a:ln w="6350">
            <a:solidFill>
              <a:schemeClr val="tx2"/>
            </a:solidFill>
            <a:round/>
            <a:headEnd/>
            <a:tailEnd/>
          </a:ln>
        </p:spPr>
        <p:txBody>
          <a:bodyPr/>
          <a:lstStyle/>
          <a:p>
            <a:endParaRPr lang="en-US"/>
          </a:p>
        </p:txBody>
      </p:sp>
      <p:sp>
        <p:nvSpPr>
          <p:cNvPr id="418" name="Freeform 1522"/>
          <p:cNvSpPr>
            <a:spLocks/>
          </p:cNvSpPr>
          <p:nvPr/>
        </p:nvSpPr>
        <p:spPr bwMode="auto">
          <a:xfrm>
            <a:off x="9190348" y="4530478"/>
            <a:ext cx="1432" cy="6369"/>
          </a:xfrm>
          <a:custGeom>
            <a:avLst/>
            <a:gdLst>
              <a:gd name="T0" fmla="*/ 0 w 3"/>
              <a:gd name="T1" fmla="*/ 0 h 19"/>
              <a:gd name="T2" fmla="*/ 2147483647 w 3"/>
              <a:gd name="T3" fmla="*/ 2147483647 h 19"/>
              <a:gd name="T4" fmla="*/ 0 w 3"/>
              <a:gd name="T5" fmla="*/ 0 h 19"/>
              <a:gd name="T6" fmla="*/ 0 60000 65536"/>
              <a:gd name="T7" fmla="*/ 0 60000 65536"/>
              <a:gd name="T8" fmla="*/ 0 60000 65536"/>
              <a:gd name="T9" fmla="*/ 0 w 3"/>
              <a:gd name="T10" fmla="*/ 0 h 19"/>
              <a:gd name="T11" fmla="*/ 3 w 3"/>
              <a:gd name="T12" fmla="*/ 19 h 19"/>
            </a:gdLst>
            <a:ahLst/>
            <a:cxnLst>
              <a:cxn ang="T6">
                <a:pos x="T0" y="T1"/>
              </a:cxn>
              <a:cxn ang="T7">
                <a:pos x="T2" y="T3"/>
              </a:cxn>
              <a:cxn ang="T8">
                <a:pos x="T4" y="T5"/>
              </a:cxn>
            </a:cxnLst>
            <a:rect l="T9" t="T10" r="T11" b="T12"/>
            <a:pathLst>
              <a:path w="3" h="19">
                <a:moveTo>
                  <a:pt x="0" y="0"/>
                </a:moveTo>
                <a:lnTo>
                  <a:pt x="3" y="19"/>
                </a:lnTo>
                <a:lnTo>
                  <a:pt x="0" y="0"/>
                </a:lnTo>
                <a:close/>
              </a:path>
            </a:pathLst>
          </a:custGeom>
          <a:solidFill>
            <a:schemeClr val="accent1"/>
          </a:solidFill>
          <a:ln w="6350">
            <a:solidFill>
              <a:schemeClr val="tx2"/>
            </a:solidFill>
            <a:round/>
            <a:headEnd/>
            <a:tailEnd/>
          </a:ln>
        </p:spPr>
        <p:txBody>
          <a:bodyPr/>
          <a:lstStyle/>
          <a:p>
            <a:endParaRPr lang="en-US"/>
          </a:p>
        </p:txBody>
      </p:sp>
      <p:sp>
        <p:nvSpPr>
          <p:cNvPr id="419" name="Freeform 1523"/>
          <p:cNvSpPr>
            <a:spLocks/>
          </p:cNvSpPr>
          <p:nvPr/>
        </p:nvSpPr>
        <p:spPr bwMode="auto">
          <a:xfrm>
            <a:off x="9187482" y="4540667"/>
            <a:ext cx="5734" cy="5095"/>
          </a:xfrm>
          <a:custGeom>
            <a:avLst/>
            <a:gdLst>
              <a:gd name="T0" fmla="*/ 2147483647 w 14"/>
              <a:gd name="T1" fmla="*/ 0 h 12"/>
              <a:gd name="T2" fmla="*/ 2147483647 w 14"/>
              <a:gd name="T3" fmla="*/ 2147483647 h 12"/>
              <a:gd name="T4" fmla="*/ 2147483647 w 14"/>
              <a:gd name="T5" fmla="*/ 2147483647 h 12"/>
              <a:gd name="T6" fmla="*/ 0 w 14"/>
              <a:gd name="T7" fmla="*/ 2147483647 h 12"/>
              <a:gd name="T8" fmla="*/ 2147483647 w 14"/>
              <a:gd name="T9" fmla="*/ 0 h 12"/>
              <a:gd name="T10" fmla="*/ 0 60000 65536"/>
              <a:gd name="T11" fmla="*/ 0 60000 65536"/>
              <a:gd name="T12" fmla="*/ 0 60000 65536"/>
              <a:gd name="T13" fmla="*/ 0 60000 65536"/>
              <a:gd name="T14" fmla="*/ 0 60000 65536"/>
              <a:gd name="T15" fmla="*/ 0 w 14"/>
              <a:gd name="T16" fmla="*/ 0 h 12"/>
              <a:gd name="T17" fmla="*/ 14 w 14"/>
              <a:gd name="T18" fmla="*/ 12 h 12"/>
            </a:gdLst>
            <a:ahLst/>
            <a:cxnLst>
              <a:cxn ang="T10">
                <a:pos x="T0" y="T1"/>
              </a:cxn>
              <a:cxn ang="T11">
                <a:pos x="T2" y="T3"/>
              </a:cxn>
              <a:cxn ang="T12">
                <a:pos x="T4" y="T5"/>
              </a:cxn>
              <a:cxn ang="T13">
                <a:pos x="T6" y="T7"/>
              </a:cxn>
              <a:cxn ang="T14">
                <a:pos x="T8" y="T9"/>
              </a:cxn>
            </a:cxnLst>
            <a:rect l="T15" t="T16" r="T17" b="T18"/>
            <a:pathLst>
              <a:path w="14" h="12">
                <a:moveTo>
                  <a:pt x="8" y="0"/>
                </a:moveTo>
                <a:lnTo>
                  <a:pt x="14" y="11"/>
                </a:lnTo>
                <a:lnTo>
                  <a:pt x="5" y="12"/>
                </a:lnTo>
                <a:lnTo>
                  <a:pt x="0" y="6"/>
                </a:lnTo>
                <a:lnTo>
                  <a:pt x="8" y="0"/>
                </a:lnTo>
                <a:close/>
              </a:path>
            </a:pathLst>
          </a:custGeom>
          <a:solidFill>
            <a:schemeClr val="accent1"/>
          </a:solidFill>
          <a:ln w="6350">
            <a:solidFill>
              <a:schemeClr val="tx2"/>
            </a:solidFill>
            <a:round/>
            <a:headEnd/>
            <a:tailEnd/>
          </a:ln>
        </p:spPr>
        <p:txBody>
          <a:bodyPr/>
          <a:lstStyle/>
          <a:p>
            <a:endParaRPr lang="en-US"/>
          </a:p>
        </p:txBody>
      </p:sp>
      <p:sp>
        <p:nvSpPr>
          <p:cNvPr id="420" name="Freeform 1524"/>
          <p:cNvSpPr>
            <a:spLocks/>
          </p:cNvSpPr>
          <p:nvPr/>
        </p:nvSpPr>
        <p:spPr bwMode="auto">
          <a:xfrm>
            <a:off x="9190348" y="4568687"/>
            <a:ext cx="8600" cy="3821"/>
          </a:xfrm>
          <a:custGeom>
            <a:avLst/>
            <a:gdLst>
              <a:gd name="T0" fmla="*/ 2147483647 w 14"/>
              <a:gd name="T1" fmla="*/ 0 h 10"/>
              <a:gd name="T2" fmla="*/ 2147483647 w 14"/>
              <a:gd name="T3" fmla="*/ 2147483647 h 10"/>
              <a:gd name="T4" fmla="*/ 2147483647 w 14"/>
              <a:gd name="T5" fmla="*/ 2147483647 h 10"/>
              <a:gd name="T6" fmla="*/ 0 w 14"/>
              <a:gd name="T7" fmla="*/ 2147483647 h 10"/>
              <a:gd name="T8" fmla="*/ 2147483647 w 14"/>
              <a:gd name="T9" fmla="*/ 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10" y="0"/>
                </a:moveTo>
                <a:lnTo>
                  <a:pt x="14" y="9"/>
                </a:lnTo>
                <a:lnTo>
                  <a:pt x="3" y="10"/>
                </a:lnTo>
                <a:lnTo>
                  <a:pt x="0" y="5"/>
                </a:lnTo>
                <a:lnTo>
                  <a:pt x="10" y="0"/>
                </a:lnTo>
                <a:close/>
              </a:path>
            </a:pathLst>
          </a:custGeom>
          <a:solidFill>
            <a:schemeClr val="accent1"/>
          </a:solidFill>
          <a:ln w="6350">
            <a:solidFill>
              <a:schemeClr val="tx2"/>
            </a:solidFill>
            <a:round/>
            <a:headEnd/>
            <a:tailEnd/>
          </a:ln>
        </p:spPr>
        <p:txBody>
          <a:bodyPr/>
          <a:lstStyle/>
          <a:p>
            <a:endParaRPr lang="en-US"/>
          </a:p>
        </p:txBody>
      </p:sp>
      <p:sp>
        <p:nvSpPr>
          <p:cNvPr id="421" name="Freeform 1525"/>
          <p:cNvSpPr>
            <a:spLocks/>
          </p:cNvSpPr>
          <p:nvPr/>
        </p:nvSpPr>
        <p:spPr bwMode="auto">
          <a:xfrm>
            <a:off x="9204681" y="4587793"/>
            <a:ext cx="5734" cy="6368"/>
          </a:xfrm>
          <a:custGeom>
            <a:avLst/>
            <a:gdLst>
              <a:gd name="T0" fmla="*/ 0 w 8"/>
              <a:gd name="T1" fmla="*/ 0 h 13"/>
              <a:gd name="T2" fmla="*/ 2147483647 w 8"/>
              <a:gd name="T3" fmla="*/ 2147483647 h 13"/>
              <a:gd name="T4" fmla="*/ 2147483647 w 8"/>
              <a:gd name="T5" fmla="*/ 2147483647 h 13"/>
              <a:gd name="T6" fmla="*/ 2147483647 w 8"/>
              <a:gd name="T7" fmla="*/ 2147483647 h 13"/>
              <a:gd name="T8" fmla="*/ 0 w 8"/>
              <a:gd name="T9" fmla="*/ 0 h 13"/>
              <a:gd name="T10" fmla="*/ 2147483647 w 8"/>
              <a:gd name="T11" fmla="*/ 2147483647 h 13"/>
              <a:gd name="T12" fmla="*/ 0 w 8"/>
              <a:gd name="T13" fmla="*/ 0 h 13"/>
              <a:gd name="T14" fmla="*/ 0 60000 65536"/>
              <a:gd name="T15" fmla="*/ 0 60000 65536"/>
              <a:gd name="T16" fmla="*/ 0 60000 65536"/>
              <a:gd name="T17" fmla="*/ 0 60000 65536"/>
              <a:gd name="T18" fmla="*/ 0 60000 65536"/>
              <a:gd name="T19" fmla="*/ 0 60000 65536"/>
              <a:gd name="T20" fmla="*/ 0 60000 65536"/>
              <a:gd name="T21" fmla="*/ 0 w 8"/>
              <a:gd name="T22" fmla="*/ 0 h 13"/>
              <a:gd name="T23" fmla="*/ 8 w 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3">
                <a:moveTo>
                  <a:pt x="0" y="0"/>
                </a:moveTo>
                <a:lnTo>
                  <a:pt x="5" y="1"/>
                </a:lnTo>
                <a:lnTo>
                  <a:pt x="8" y="13"/>
                </a:lnTo>
                <a:lnTo>
                  <a:pt x="2" y="9"/>
                </a:lnTo>
                <a:lnTo>
                  <a:pt x="0" y="0"/>
                </a:lnTo>
                <a:lnTo>
                  <a:pt x="2" y="9"/>
                </a:lnTo>
                <a:lnTo>
                  <a:pt x="0" y="0"/>
                </a:lnTo>
                <a:close/>
              </a:path>
            </a:pathLst>
          </a:custGeom>
          <a:solidFill>
            <a:schemeClr val="accent1"/>
          </a:solidFill>
          <a:ln w="6350">
            <a:solidFill>
              <a:schemeClr val="tx2"/>
            </a:solidFill>
            <a:round/>
            <a:headEnd/>
            <a:tailEnd/>
          </a:ln>
        </p:spPr>
        <p:txBody>
          <a:bodyPr/>
          <a:lstStyle/>
          <a:p>
            <a:endParaRPr lang="en-US"/>
          </a:p>
        </p:txBody>
      </p:sp>
      <p:sp>
        <p:nvSpPr>
          <p:cNvPr id="422" name="Freeform 1526"/>
          <p:cNvSpPr>
            <a:spLocks/>
          </p:cNvSpPr>
          <p:nvPr/>
        </p:nvSpPr>
        <p:spPr bwMode="auto">
          <a:xfrm>
            <a:off x="9213282" y="4601803"/>
            <a:ext cx="2866" cy="5095"/>
          </a:xfrm>
          <a:custGeom>
            <a:avLst/>
            <a:gdLst>
              <a:gd name="T0" fmla="*/ 0 w 7"/>
              <a:gd name="T1" fmla="*/ 0 h 11"/>
              <a:gd name="T2" fmla="*/ 2147483647 w 7"/>
              <a:gd name="T3" fmla="*/ 2147483647 h 11"/>
              <a:gd name="T4" fmla="*/ 2147483647 w 7"/>
              <a:gd name="T5" fmla="*/ 2147483647 h 11"/>
              <a:gd name="T6" fmla="*/ 0 w 7"/>
              <a:gd name="T7" fmla="*/ 2147483647 h 11"/>
              <a:gd name="T8" fmla="*/ 0 w 7"/>
              <a:gd name="T9" fmla="*/ 0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0" y="0"/>
                </a:moveTo>
                <a:lnTo>
                  <a:pt x="7" y="5"/>
                </a:lnTo>
                <a:lnTo>
                  <a:pt x="5" y="11"/>
                </a:lnTo>
                <a:lnTo>
                  <a:pt x="0" y="6"/>
                </a:lnTo>
                <a:lnTo>
                  <a:pt x="0" y="0"/>
                </a:lnTo>
                <a:close/>
              </a:path>
            </a:pathLst>
          </a:custGeom>
          <a:solidFill>
            <a:schemeClr val="accent1"/>
          </a:solidFill>
          <a:ln w="6350">
            <a:solidFill>
              <a:schemeClr val="tx2"/>
            </a:solidFill>
            <a:round/>
            <a:headEnd/>
            <a:tailEnd/>
          </a:ln>
        </p:spPr>
        <p:txBody>
          <a:bodyPr/>
          <a:lstStyle/>
          <a:p>
            <a:endParaRPr lang="en-US"/>
          </a:p>
        </p:txBody>
      </p:sp>
      <p:sp>
        <p:nvSpPr>
          <p:cNvPr id="423" name="Freeform 1527"/>
          <p:cNvSpPr>
            <a:spLocks/>
          </p:cNvSpPr>
          <p:nvPr/>
        </p:nvSpPr>
        <p:spPr bwMode="auto">
          <a:xfrm>
            <a:off x="9170282" y="4629824"/>
            <a:ext cx="5734" cy="7642"/>
          </a:xfrm>
          <a:custGeom>
            <a:avLst/>
            <a:gdLst>
              <a:gd name="T0" fmla="*/ 0 w 13"/>
              <a:gd name="T1" fmla="*/ 0 h 16"/>
              <a:gd name="T2" fmla="*/ 2147483647 w 13"/>
              <a:gd name="T3" fmla="*/ 0 h 16"/>
              <a:gd name="T4" fmla="*/ 2147483647 w 13"/>
              <a:gd name="T5" fmla="*/ 2147483647 h 16"/>
              <a:gd name="T6" fmla="*/ 2147483647 w 13"/>
              <a:gd name="T7" fmla="*/ 2147483647 h 16"/>
              <a:gd name="T8" fmla="*/ 0 w 13"/>
              <a:gd name="T9" fmla="*/ 0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0" y="0"/>
                </a:moveTo>
                <a:lnTo>
                  <a:pt x="8" y="0"/>
                </a:lnTo>
                <a:lnTo>
                  <a:pt x="13" y="16"/>
                </a:lnTo>
                <a:lnTo>
                  <a:pt x="1" y="11"/>
                </a:lnTo>
                <a:lnTo>
                  <a:pt x="0" y="0"/>
                </a:lnTo>
                <a:close/>
              </a:path>
            </a:pathLst>
          </a:custGeom>
          <a:solidFill>
            <a:schemeClr val="accent1"/>
          </a:solidFill>
          <a:ln w="6350">
            <a:solidFill>
              <a:schemeClr val="tx2"/>
            </a:solidFill>
            <a:round/>
            <a:headEnd/>
            <a:tailEnd/>
          </a:ln>
        </p:spPr>
        <p:txBody>
          <a:bodyPr/>
          <a:lstStyle/>
          <a:p>
            <a:endParaRPr lang="en-US"/>
          </a:p>
        </p:txBody>
      </p:sp>
      <p:sp>
        <p:nvSpPr>
          <p:cNvPr id="424" name="Freeform 1528"/>
          <p:cNvSpPr>
            <a:spLocks/>
          </p:cNvSpPr>
          <p:nvPr/>
        </p:nvSpPr>
        <p:spPr bwMode="auto">
          <a:xfrm>
            <a:off x="9184614" y="4641287"/>
            <a:ext cx="2866" cy="3820"/>
          </a:xfrm>
          <a:custGeom>
            <a:avLst/>
            <a:gdLst>
              <a:gd name="T0" fmla="*/ 0 w 9"/>
              <a:gd name="T1" fmla="*/ 2147483647 h 10"/>
              <a:gd name="T2" fmla="*/ 2147483647 w 9"/>
              <a:gd name="T3" fmla="*/ 0 h 10"/>
              <a:gd name="T4" fmla="*/ 2147483647 w 9"/>
              <a:gd name="T5" fmla="*/ 2147483647 h 10"/>
              <a:gd name="T6" fmla="*/ 2147483647 w 9"/>
              <a:gd name="T7" fmla="*/ 2147483647 h 10"/>
              <a:gd name="T8" fmla="*/ 0 w 9"/>
              <a:gd name="T9" fmla="*/ 2147483647 h 10"/>
              <a:gd name="T10" fmla="*/ 0 60000 65536"/>
              <a:gd name="T11" fmla="*/ 0 60000 65536"/>
              <a:gd name="T12" fmla="*/ 0 60000 65536"/>
              <a:gd name="T13" fmla="*/ 0 60000 65536"/>
              <a:gd name="T14" fmla="*/ 0 60000 65536"/>
              <a:gd name="T15" fmla="*/ 0 w 9"/>
              <a:gd name="T16" fmla="*/ 0 h 10"/>
              <a:gd name="T17" fmla="*/ 9 w 9"/>
              <a:gd name="T18" fmla="*/ 10 h 10"/>
            </a:gdLst>
            <a:ahLst/>
            <a:cxnLst>
              <a:cxn ang="T10">
                <a:pos x="T0" y="T1"/>
              </a:cxn>
              <a:cxn ang="T11">
                <a:pos x="T2" y="T3"/>
              </a:cxn>
              <a:cxn ang="T12">
                <a:pos x="T4" y="T5"/>
              </a:cxn>
              <a:cxn ang="T13">
                <a:pos x="T6" y="T7"/>
              </a:cxn>
              <a:cxn ang="T14">
                <a:pos x="T8" y="T9"/>
              </a:cxn>
            </a:cxnLst>
            <a:rect l="T15" t="T16" r="T17" b="T18"/>
            <a:pathLst>
              <a:path w="9" h="10">
                <a:moveTo>
                  <a:pt x="0" y="1"/>
                </a:moveTo>
                <a:lnTo>
                  <a:pt x="9" y="0"/>
                </a:lnTo>
                <a:lnTo>
                  <a:pt x="9" y="10"/>
                </a:lnTo>
                <a:lnTo>
                  <a:pt x="4" y="9"/>
                </a:lnTo>
                <a:lnTo>
                  <a:pt x="0" y="1"/>
                </a:lnTo>
                <a:close/>
              </a:path>
            </a:pathLst>
          </a:custGeom>
          <a:solidFill>
            <a:schemeClr val="accent1"/>
          </a:solidFill>
          <a:ln w="6350">
            <a:solidFill>
              <a:schemeClr val="tx2"/>
            </a:solidFill>
            <a:round/>
            <a:headEnd/>
            <a:tailEnd/>
          </a:ln>
        </p:spPr>
        <p:txBody>
          <a:bodyPr/>
          <a:lstStyle/>
          <a:p>
            <a:endParaRPr lang="en-US"/>
          </a:p>
        </p:txBody>
      </p:sp>
      <p:sp>
        <p:nvSpPr>
          <p:cNvPr id="425" name="Freeform 1529"/>
          <p:cNvSpPr>
            <a:spLocks/>
          </p:cNvSpPr>
          <p:nvPr/>
        </p:nvSpPr>
        <p:spPr bwMode="auto">
          <a:xfrm>
            <a:off x="9375248" y="4564868"/>
            <a:ext cx="25800" cy="15284"/>
          </a:xfrm>
          <a:custGeom>
            <a:avLst/>
            <a:gdLst>
              <a:gd name="T0" fmla="*/ 2147483647 w 53"/>
              <a:gd name="T1" fmla="*/ 2147483647 h 40"/>
              <a:gd name="T2" fmla="*/ 2147483647 w 53"/>
              <a:gd name="T3" fmla="*/ 0 h 40"/>
              <a:gd name="T4" fmla="*/ 2147483647 w 53"/>
              <a:gd name="T5" fmla="*/ 2147483647 h 40"/>
              <a:gd name="T6" fmla="*/ 2147483647 w 53"/>
              <a:gd name="T7" fmla="*/ 2147483647 h 40"/>
              <a:gd name="T8" fmla="*/ 2147483647 w 53"/>
              <a:gd name="T9" fmla="*/ 2147483647 h 40"/>
              <a:gd name="T10" fmla="*/ 0 w 53"/>
              <a:gd name="T11" fmla="*/ 2147483647 h 40"/>
              <a:gd name="T12" fmla="*/ 2147483647 w 53"/>
              <a:gd name="T13" fmla="*/ 2147483647 h 40"/>
              <a:gd name="T14" fmla="*/ 2147483647 w 53"/>
              <a:gd name="T15" fmla="*/ 2147483647 h 40"/>
              <a:gd name="T16" fmla="*/ 2147483647 w 53"/>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40"/>
              <a:gd name="T29" fmla="*/ 53 w 53"/>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40">
                <a:moveTo>
                  <a:pt x="26" y="3"/>
                </a:moveTo>
                <a:lnTo>
                  <a:pt x="36" y="0"/>
                </a:lnTo>
                <a:lnTo>
                  <a:pt x="47" y="9"/>
                </a:lnTo>
                <a:lnTo>
                  <a:pt x="53" y="35"/>
                </a:lnTo>
                <a:lnTo>
                  <a:pt x="29" y="40"/>
                </a:lnTo>
                <a:lnTo>
                  <a:pt x="0" y="31"/>
                </a:lnTo>
                <a:lnTo>
                  <a:pt x="1" y="14"/>
                </a:lnTo>
                <a:lnTo>
                  <a:pt x="11" y="5"/>
                </a:lnTo>
                <a:lnTo>
                  <a:pt x="26" y="3"/>
                </a:lnTo>
                <a:close/>
              </a:path>
            </a:pathLst>
          </a:custGeom>
          <a:solidFill>
            <a:schemeClr val="accent1"/>
          </a:solidFill>
          <a:ln w="6350">
            <a:solidFill>
              <a:schemeClr val="tx2"/>
            </a:solidFill>
            <a:round/>
            <a:headEnd/>
            <a:tailEnd/>
          </a:ln>
        </p:spPr>
        <p:txBody>
          <a:bodyPr/>
          <a:lstStyle/>
          <a:p>
            <a:endParaRPr lang="en-US"/>
          </a:p>
        </p:txBody>
      </p:sp>
      <p:sp>
        <p:nvSpPr>
          <p:cNvPr id="426" name="Freeform 1530"/>
          <p:cNvSpPr>
            <a:spLocks/>
          </p:cNvSpPr>
          <p:nvPr/>
        </p:nvSpPr>
        <p:spPr bwMode="auto">
          <a:xfrm>
            <a:off x="9399616" y="4543215"/>
            <a:ext cx="30100" cy="15284"/>
          </a:xfrm>
          <a:custGeom>
            <a:avLst/>
            <a:gdLst>
              <a:gd name="T0" fmla="*/ 2147483647 w 64"/>
              <a:gd name="T1" fmla="*/ 2147483647 h 36"/>
              <a:gd name="T2" fmla="*/ 2147483647 w 64"/>
              <a:gd name="T3" fmla="*/ 2147483647 h 36"/>
              <a:gd name="T4" fmla="*/ 2147483647 w 64"/>
              <a:gd name="T5" fmla="*/ 2147483647 h 36"/>
              <a:gd name="T6" fmla="*/ 2147483647 w 64"/>
              <a:gd name="T7" fmla="*/ 0 h 36"/>
              <a:gd name="T8" fmla="*/ 2147483647 w 64"/>
              <a:gd name="T9" fmla="*/ 2147483647 h 36"/>
              <a:gd name="T10" fmla="*/ 2147483647 w 64"/>
              <a:gd name="T11" fmla="*/ 2147483647 h 36"/>
              <a:gd name="T12" fmla="*/ 2147483647 w 64"/>
              <a:gd name="T13" fmla="*/ 2147483647 h 36"/>
              <a:gd name="T14" fmla="*/ 2147483647 w 64"/>
              <a:gd name="T15" fmla="*/ 2147483647 h 36"/>
              <a:gd name="T16" fmla="*/ 2147483647 w 64"/>
              <a:gd name="T17" fmla="*/ 2147483647 h 36"/>
              <a:gd name="T18" fmla="*/ 2147483647 w 64"/>
              <a:gd name="T19" fmla="*/ 2147483647 h 36"/>
              <a:gd name="T20" fmla="*/ 0 w 64"/>
              <a:gd name="T21" fmla="*/ 2147483647 h 36"/>
              <a:gd name="T22" fmla="*/ 0 w 64"/>
              <a:gd name="T23" fmla="*/ 2147483647 h 36"/>
              <a:gd name="T24" fmla="*/ 2147483647 w 64"/>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36"/>
              <a:gd name="T41" fmla="*/ 64 w 64"/>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36">
                <a:moveTo>
                  <a:pt x="18" y="12"/>
                </a:moveTo>
                <a:lnTo>
                  <a:pt x="21" y="15"/>
                </a:lnTo>
                <a:lnTo>
                  <a:pt x="48" y="2"/>
                </a:lnTo>
                <a:lnTo>
                  <a:pt x="64" y="0"/>
                </a:lnTo>
                <a:lnTo>
                  <a:pt x="58" y="12"/>
                </a:lnTo>
                <a:lnTo>
                  <a:pt x="59" y="26"/>
                </a:lnTo>
                <a:lnTo>
                  <a:pt x="35" y="27"/>
                </a:lnTo>
                <a:lnTo>
                  <a:pt x="32" y="22"/>
                </a:lnTo>
                <a:lnTo>
                  <a:pt x="24" y="33"/>
                </a:lnTo>
                <a:lnTo>
                  <a:pt x="13" y="36"/>
                </a:lnTo>
                <a:lnTo>
                  <a:pt x="0" y="27"/>
                </a:lnTo>
                <a:lnTo>
                  <a:pt x="0" y="22"/>
                </a:lnTo>
                <a:lnTo>
                  <a:pt x="18" y="12"/>
                </a:lnTo>
                <a:close/>
              </a:path>
            </a:pathLst>
          </a:custGeom>
          <a:solidFill>
            <a:schemeClr val="accent1"/>
          </a:solidFill>
          <a:ln w="6350">
            <a:solidFill>
              <a:schemeClr val="tx2"/>
            </a:solidFill>
            <a:round/>
            <a:headEnd/>
            <a:tailEnd/>
          </a:ln>
        </p:spPr>
        <p:txBody>
          <a:bodyPr/>
          <a:lstStyle/>
          <a:p>
            <a:endParaRPr lang="en-US"/>
          </a:p>
        </p:txBody>
      </p:sp>
      <p:sp>
        <p:nvSpPr>
          <p:cNvPr id="427" name="Freeform 1531"/>
          <p:cNvSpPr>
            <a:spLocks/>
          </p:cNvSpPr>
          <p:nvPr/>
        </p:nvSpPr>
        <p:spPr bwMode="auto">
          <a:xfrm>
            <a:off x="9181749" y="5195327"/>
            <a:ext cx="8600" cy="14011"/>
          </a:xfrm>
          <a:custGeom>
            <a:avLst/>
            <a:gdLst>
              <a:gd name="T0" fmla="*/ 2147483647 w 25"/>
              <a:gd name="T1" fmla="*/ 2147483647 h 35"/>
              <a:gd name="T2" fmla="*/ 2147483647 w 25"/>
              <a:gd name="T3" fmla="*/ 2147483647 h 35"/>
              <a:gd name="T4" fmla="*/ 2147483647 w 25"/>
              <a:gd name="T5" fmla="*/ 2147483647 h 35"/>
              <a:gd name="T6" fmla="*/ 2147483647 w 25"/>
              <a:gd name="T7" fmla="*/ 2147483647 h 35"/>
              <a:gd name="T8" fmla="*/ 0 w 25"/>
              <a:gd name="T9" fmla="*/ 2147483647 h 35"/>
              <a:gd name="T10" fmla="*/ 2147483647 w 25"/>
              <a:gd name="T11" fmla="*/ 0 h 35"/>
              <a:gd name="T12" fmla="*/ 2147483647 w 25"/>
              <a:gd name="T13" fmla="*/ 2147483647 h 35"/>
              <a:gd name="T14" fmla="*/ 0 60000 65536"/>
              <a:gd name="T15" fmla="*/ 0 60000 65536"/>
              <a:gd name="T16" fmla="*/ 0 60000 65536"/>
              <a:gd name="T17" fmla="*/ 0 60000 65536"/>
              <a:gd name="T18" fmla="*/ 0 60000 65536"/>
              <a:gd name="T19" fmla="*/ 0 60000 65536"/>
              <a:gd name="T20" fmla="*/ 0 60000 65536"/>
              <a:gd name="T21" fmla="*/ 0 w 25"/>
              <a:gd name="T22" fmla="*/ 0 h 35"/>
              <a:gd name="T23" fmla="*/ 25 w 25"/>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5">
                <a:moveTo>
                  <a:pt x="16" y="1"/>
                </a:moveTo>
                <a:lnTo>
                  <a:pt x="23" y="10"/>
                </a:lnTo>
                <a:lnTo>
                  <a:pt x="18" y="15"/>
                </a:lnTo>
                <a:lnTo>
                  <a:pt x="25" y="23"/>
                </a:lnTo>
                <a:lnTo>
                  <a:pt x="0" y="35"/>
                </a:lnTo>
                <a:lnTo>
                  <a:pt x="9" y="0"/>
                </a:lnTo>
                <a:lnTo>
                  <a:pt x="16" y="1"/>
                </a:lnTo>
                <a:close/>
              </a:path>
            </a:pathLst>
          </a:custGeom>
          <a:solidFill>
            <a:schemeClr val="accent1"/>
          </a:solidFill>
          <a:ln w="6350">
            <a:solidFill>
              <a:schemeClr val="tx2"/>
            </a:solidFill>
            <a:round/>
            <a:headEnd/>
            <a:tailEnd/>
          </a:ln>
        </p:spPr>
        <p:txBody>
          <a:bodyPr/>
          <a:lstStyle/>
          <a:p>
            <a:endParaRPr lang="en-US"/>
          </a:p>
        </p:txBody>
      </p:sp>
      <p:sp>
        <p:nvSpPr>
          <p:cNvPr id="428" name="Freeform 1532"/>
          <p:cNvSpPr>
            <a:spLocks/>
          </p:cNvSpPr>
          <p:nvPr/>
        </p:nvSpPr>
        <p:spPr bwMode="auto">
          <a:xfrm>
            <a:off x="9158815" y="5043763"/>
            <a:ext cx="154800" cy="151565"/>
          </a:xfrm>
          <a:custGeom>
            <a:avLst/>
            <a:gdLst>
              <a:gd name="T0" fmla="*/ 2147483647 w 333"/>
              <a:gd name="T1" fmla="*/ 2147483647 h 362"/>
              <a:gd name="T2" fmla="*/ 2147483647 w 333"/>
              <a:gd name="T3" fmla="*/ 2147483647 h 362"/>
              <a:gd name="T4" fmla="*/ 2147483647 w 333"/>
              <a:gd name="T5" fmla="*/ 2147483647 h 362"/>
              <a:gd name="T6" fmla="*/ 2147483647 w 333"/>
              <a:gd name="T7" fmla="*/ 2147483647 h 362"/>
              <a:gd name="T8" fmla="*/ 2147483647 w 333"/>
              <a:gd name="T9" fmla="*/ 2147483647 h 362"/>
              <a:gd name="T10" fmla="*/ 2147483647 w 333"/>
              <a:gd name="T11" fmla="*/ 2147483647 h 362"/>
              <a:gd name="T12" fmla="*/ 2147483647 w 333"/>
              <a:gd name="T13" fmla="*/ 2147483647 h 362"/>
              <a:gd name="T14" fmla="*/ 2147483647 w 333"/>
              <a:gd name="T15" fmla="*/ 2147483647 h 362"/>
              <a:gd name="T16" fmla="*/ 2147483647 w 333"/>
              <a:gd name="T17" fmla="*/ 2147483647 h 362"/>
              <a:gd name="T18" fmla="*/ 2147483647 w 333"/>
              <a:gd name="T19" fmla="*/ 2147483647 h 362"/>
              <a:gd name="T20" fmla="*/ 2147483647 w 333"/>
              <a:gd name="T21" fmla="*/ 2147483647 h 362"/>
              <a:gd name="T22" fmla="*/ 2147483647 w 333"/>
              <a:gd name="T23" fmla="*/ 2147483647 h 362"/>
              <a:gd name="T24" fmla="*/ 2147483647 w 333"/>
              <a:gd name="T25" fmla="*/ 2147483647 h 362"/>
              <a:gd name="T26" fmla="*/ 2147483647 w 333"/>
              <a:gd name="T27" fmla="*/ 2147483647 h 362"/>
              <a:gd name="T28" fmla="*/ 2147483647 w 333"/>
              <a:gd name="T29" fmla="*/ 2147483647 h 362"/>
              <a:gd name="T30" fmla="*/ 2147483647 w 333"/>
              <a:gd name="T31" fmla="*/ 2147483647 h 362"/>
              <a:gd name="T32" fmla="*/ 2147483647 w 333"/>
              <a:gd name="T33" fmla="*/ 2147483647 h 362"/>
              <a:gd name="T34" fmla="*/ 2147483647 w 333"/>
              <a:gd name="T35" fmla="*/ 2147483647 h 362"/>
              <a:gd name="T36" fmla="*/ 2147483647 w 333"/>
              <a:gd name="T37" fmla="*/ 2147483647 h 362"/>
              <a:gd name="T38" fmla="*/ 2147483647 w 333"/>
              <a:gd name="T39" fmla="*/ 2147483647 h 362"/>
              <a:gd name="T40" fmla="*/ 2147483647 w 333"/>
              <a:gd name="T41" fmla="*/ 2147483647 h 362"/>
              <a:gd name="T42" fmla="*/ 2147483647 w 333"/>
              <a:gd name="T43" fmla="*/ 2147483647 h 362"/>
              <a:gd name="T44" fmla="*/ 2147483647 w 333"/>
              <a:gd name="T45" fmla="*/ 2147483647 h 362"/>
              <a:gd name="T46" fmla="*/ 2147483647 w 333"/>
              <a:gd name="T47" fmla="*/ 2147483647 h 362"/>
              <a:gd name="T48" fmla="*/ 2147483647 w 333"/>
              <a:gd name="T49" fmla="*/ 2147483647 h 362"/>
              <a:gd name="T50" fmla="*/ 2147483647 w 333"/>
              <a:gd name="T51" fmla="*/ 2147483647 h 362"/>
              <a:gd name="T52" fmla="*/ 2147483647 w 333"/>
              <a:gd name="T53" fmla="*/ 2147483647 h 362"/>
              <a:gd name="T54" fmla="*/ 2147483647 w 333"/>
              <a:gd name="T55" fmla="*/ 2147483647 h 362"/>
              <a:gd name="T56" fmla="*/ 2147483647 w 333"/>
              <a:gd name="T57" fmla="*/ 2147483647 h 362"/>
              <a:gd name="T58" fmla="*/ 2147483647 w 333"/>
              <a:gd name="T59" fmla="*/ 2147483647 h 362"/>
              <a:gd name="T60" fmla="*/ 2147483647 w 333"/>
              <a:gd name="T61" fmla="*/ 2147483647 h 362"/>
              <a:gd name="T62" fmla="*/ 2147483647 w 333"/>
              <a:gd name="T63" fmla="*/ 2147483647 h 362"/>
              <a:gd name="T64" fmla="*/ 2147483647 w 333"/>
              <a:gd name="T65" fmla="*/ 2147483647 h 3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33"/>
              <a:gd name="T100" fmla="*/ 0 h 362"/>
              <a:gd name="T101" fmla="*/ 333 w 333"/>
              <a:gd name="T102" fmla="*/ 362 h 3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33" h="362">
                <a:moveTo>
                  <a:pt x="242" y="27"/>
                </a:moveTo>
                <a:lnTo>
                  <a:pt x="244" y="16"/>
                </a:lnTo>
                <a:lnTo>
                  <a:pt x="264" y="0"/>
                </a:lnTo>
                <a:lnTo>
                  <a:pt x="267" y="11"/>
                </a:lnTo>
                <a:lnTo>
                  <a:pt x="278" y="17"/>
                </a:lnTo>
                <a:lnTo>
                  <a:pt x="282" y="35"/>
                </a:lnTo>
                <a:lnTo>
                  <a:pt x="289" y="43"/>
                </a:lnTo>
                <a:lnTo>
                  <a:pt x="314" y="22"/>
                </a:lnTo>
                <a:lnTo>
                  <a:pt x="319" y="23"/>
                </a:lnTo>
                <a:lnTo>
                  <a:pt x="315" y="27"/>
                </a:lnTo>
                <a:lnTo>
                  <a:pt x="315" y="42"/>
                </a:lnTo>
                <a:lnTo>
                  <a:pt x="322" y="37"/>
                </a:lnTo>
                <a:lnTo>
                  <a:pt x="324" y="27"/>
                </a:lnTo>
                <a:lnTo>
                  <a:pt x="333" y="31"/>
                </a:lnTo>
                <a:lnTo>
                  <a:pt x="325" y="40"/>
                </a:lnTo>
                <a:lnTo>
                  <a:pt x="330" y="45"/>
                </a:lnTo>
                <a:lnTo>
                  <a:pt x="327" y="54"/>
                </a:lnTo>
                <a:lnTo>
                  <a:pt x="332" y="73"/>
                </a:lnTo>
                <a:lnTo>
                  <a:pt x="294" y="132"/>
                </a:lnTo>
                <a:lnTo>
                  <a:pt x="273" y="150"/>
                </a:lnTo>
                <a:lnTo>
                  <a:pt x="269" y="178"/>
                </a:lnTo>
                <a:lnTo>
                  <a:pt x="282" y="183"/>
                </a:lnTo>
                <a:lnTo>
                  <a:pt x="283" y="193"/>
                </a:lnTo>
                <a:lnTo>
                  <a:pt x="256" y="184"/>
                </a:lnTo>
                <a:lnTo>
                  <a:pt x="251" y="195"/>
                </a:lnTo>
                <a:lnTo>
                  <a:pt x="245" y="190"/>
                </a:lnTo>
                <a:lnTo>
                  <a:pt x="225" y="206"/>
                </a:lnTo>
                <a:lnTo>
                  <a:pt x="216" y="201"/>
                </a:lnTo>
                <a:lnTo>
                  <a:pt x="203" y="262"/>
                </a:lnTo>
                <a:lnTo>
                  <a:pt x="182" y="305"/>
                </a:lnTo>
                <a:lnTo>
                  <a:pt x="181" y="320"/>
                </a:lnTo>
                <a:lnTo>
                  <a:pt x="169" y="324"/>
                </a:lnTo>
                <a:lnTo>
                  <a:pt x="149" y="342"/>
                </a:lnTo>
                <a:lnTo>
                  <a:pt x="135" y="354"/>
                </a:lnTo>
                <a:lnTo>
                  <a:pt x="108" y="362"/>
                </a:lnTo>
                <a:lnTo>
                  <a:pt x="102" y="353"/>
                </a:lnTo>
                <a:lnTo>
                  <a:pt x="82" y="356"/>
                </a:lnTo>
                <a:lnTo>
                  <a:pt x="81" y="347"/>
                </a:lnTo>
                <a:lnTo>
                  <a:pt x="57" y="344"/>
                </a:lnTo>
                <a:lnTo>
                  <a:pt x="50" y="330"/>
                </a:lnTo>
                <a:lnTo>
                  <a:pt x="31" y="337"/>
                </a:lnTo>
                <a:lnTo>
                  <a:pt x="10" y="330"/>
                </a:lnTo>
                <a:lnTo>
                  <a:pt x="19" y="314"/>
                </a:lnTo>
                <a:lnTo>
                  <a:pt x="8" y="324"/>
                </a:lnTo>
                <a:lnTo>
                  <a:pt x="11" y="314"/>
                </a:lnTo>
                <a:lnTo>
                  <a:pt x="2" y="318"/>
                </a:lnTo>
                <a:lnTo>
                  <a:pt x="0" y="313"/>
                </a:lnTo>
                <a:lnTo>
                  <a:pt x="19" y="302"/>
                </a:lnTo>
                <a:lnTo>
                  <a:pt x="16" y="299"/>
                </a:lnTo>
                <a:lnTo>
                  <a:pt x="21" y="292"/>
                </a:lnTo>
                <a:lnTo>
                  <a:pt x="13" y="286"/>
                </a:lnTo>
                <a:lnTo>
                  <a:pt x="20" y="282"/>
                </a:lnTo>
                <a:lnTo>
                  <a:pt x="18" y="277"/>
                </a:lnTo>
                <a:lnTo>
                  <a:pt x="32" y="277"/>
                </a:lnTo>
                <a:lnTo>
                  <a:pt x="25" y="272"/>
                </a:lnTo>
                <a:lnTo>
                  <a:pt x="28" y="257"/>
                </a:lnTo>
                <a:lnTo>
                  <a:pt x="36" y="251"/>
                </a:lnTo>
                <a:lnTo>
                  <a:pt x="43" y="260"/>
                </a:lnTo>
                <a:lnTo>
                  <a:pt x="43" y="246"/>
                </a:lnTo>
                <a:lnTo>
                  <a:pt x="59" y="231"/>
                </a:lnTo>
                <a:lnTo>
                  <a:pt x="73" y="204"/>
                </a:lnTo>
                <a:lnTo>
                  <a:pt x="111" y="191"/>
                </a:lnTo>
                <a:lnTo>
                  <a:pt x="190" y="129"/>
                </a:lnTo>
                <a:lnTo>
                  <a:pt x="200" y="113"/>
                </a:lnTo>
                <a:lnTo>
                  <a:pt x="213" y="73"/>
                </a:lnTo>
                <a:lnTo>
                  <a:pt x="234" y="57"/>
                </a:lnTo>
                <a:lnTo>
                  <a:pt x="242" y="27"/>
                </a:lnTo>
                <a:close/>
              </a:path>
            </a:pathLst>
          </a:custGeom>
          <a:solidFill>
            <a:schemeClr val="accent1"/>
          </a:solidFill>
          <a:ln w="6350">
            <a:solidFill>
              <a:schemeClr val="tx2"/>
            </a:solidFill>
            <a:round/>
            <a:headEnd/>
            <a:tailEnd/>
          </a:ln>
        </p:spPr>
        <p:txBody>
          <a:bodyPr/>
          <a:lstStyle/>
          <a:p>
            <a:endParaRPr lang="en-US"/>
          </a:p>
        </p:txBody>
      </p:sp>
      <p:sp>
        <p:nvSpPr>
          <p:cNvPr id="429" name="Freeform 1533"/>
          <p:cNvSpPr>
            <a:spLocks/>
          </p:cNvSpPr>
          <p:nvPr/>
        </p:nvSpPr>
        <p:spPr bwMode="auto">
          <a:xfrm>
            <a:off x="9284949" y="4906207"/>
            <a:ext cx="114667" cy="160481"/>
          </a:xfrm>
          <a:custGeom>
            <a:avLst/>
            <a:gdLst>
              <a:gd name="T0" fmla="*/ 2147483647 w 246"/>
              <a:gd name="T1" fmla="*/ 0 h 388"/>
              <a:gd name="T2" fmla="*/ 2147483647 w 246"/>
              <a:gd name="T3" fmla="*/ 2147483647 h 388"/>
              <a:gd name="T4" fmla="*/ 2147483647 w 246"/>
              <a:gd name="T5" fmla="*/ 2147483647 h 388"/>
              <a:gd name="T6" fmla="*/ 2147483647 w 246"/>
              <a:gd name="T7" fmla="*/ 2147483647 h 388"/>
              <a:gd name="T8" fmla="*/ 2147483647 w 246"/>
              <a:gd name="T9" fmla="*/ 2147483647 h 388"/>
              <a:gd name="T10" fmla="*/ 2147483647 w 246"/>
              <a:gd name="T11" fmla="*/ 2147483647 h 388"/>
              <a:gd name="T12" fmla="*/ 2147483647 w 246"/>
              <a:gd name="T13" fmla="*/ 2147483647 h 388"/>
              <a:gd name="T14" fmla="*/ 2147483647 w 246"/>
              <a:gd name="T15" fmla="*/ 2147483647 h 388"/>
              <a:gd name="T16" fmla="*/ 2147483647 w 246"/>
              <a:gd name="T17" fmla="*/ 2147483647 h 388"/>
              <a:gd name="T18" fmla="*/ 2147483647 w 246"/>
              <a:gd name="T19" fmla="*/ 2147483647 h 388"/>
              <a:gd name="T20" fmla="*/ 2147483647 w 246"/>
              <a:gd name="T21" fmla="*/ 2147483647 h 388"/>
              <a:gd name="T22" fmla="*/ 2147483647 w 246"/>
              <a:gd name="T23" fmla="*/ 2147483647 h 388"/>
              <a:gd name="T24" fmla="*/ 2147483647 w 246"/>
              <a:gd name="T25" fmla="*/ 2147483647 h 388"/>
              <a:gd name="T26" fmla="*/ 2147483647 w 246"/>
              <a:gd name="T27" fmla="*/ 2147483647 h 388"/>
              <a:gd name="T28" fmla="*/ 2147483647 w 246"/>
              <a:gd name="T29" fmla="*/ 2147483647 h 388"/>
              <a:gd name="T30" fmla="*/ 2147483647 w 246"/>
              <a:gd name="T31" fmla="*/ 2147483647 h 388"/>
              <a:gd name="T32" fmla="*/ 2147483647 w 246"/>
              <a:gd name="T33" fmla="*/ 2147483647 h 388"/>
              <a:gd name="T34" fmla="*/ 2147483647 w 246"/>
              <a:gd name="T35" fmla="*/ 2147483647 h 388"/>
              <a:gd name="T36" fmla="*/ 2147483647 w 246"/>
              <a:gd name="T37" fmla="*/ 2147483647 h 388"/>
              <a:gd name="T38" fmla="*/ 2147483647 w 246"/>
              <a:gd name="T39" fmla="*/ 2147483647 h 388"/>
              <a:gd name="T40" fmla="*/ 2147483647 w 246"/>
              <a:gd name="T41" fmla="*/ 2147483647 h 388"/>
              <a:gd name="T42" fmla="*/ 2147483647 w 246"/>
              <a:gd name="T43" fmla="*/ 2147483647 h 388"/>
              <a:gd name="T44" fmla="*/ 2147483647 w 246"/>
              <a:gd name="T45" fmla="*/ 2147483647 h 388"/>
              <a:gd name="T46" fmla="*/ 2147483647 w 246"/>
              <a:gd name="T47" fmla="*/ 2147483647 h 388"/>
              <a:gd name="T48" fmla="*/ 2147483647 w 246"/>
              <a:gd name="T49" fmla="*/ 2147483647 h 388"/>
              <a:gd name="T50" fmla="*/ 2147483647 w 246"/>
              <a:gd name="T51" fmla="*/ 2147483647 h 388"/>
              <a:gd name="T52" fmla="*/ 2147483647 w 246"/>
              <a:gd name="T53" fmla="*/ 2147483647 h 388"/>
              <a:gd name="T54" fmla="*/ 2147483647 w 246"/>
              <a:gd name="T55" fmla="*/ 2147483647 h 388"/>
              <a:gd name="T56" fmla="*/ 2147483647 w 246"/>
              <a:gd name="T57" fmla="*/ 2147483647 h 388"/>
              <a:gd name="T58" fmla="*/ 2147483647 w 246"/>
              <a:gd name="T59" fmla="*/ 2147483647 h 388"/>
              <a:gd name="T60" fmla="*/ 2147483647 w 246"/>
              <a:gd name="T61" fmla="*/ 2147483647 h 388"/>
              <a:gd name="T62" fmla="*/ 2147483647 w 246"/>
              <a:gd name="T63" fmla="*/ 2147483647 h 388"/>
              <a:gd name="T64" fmla="*/ 2147483647 w 246"/>
              <a:gd name="T65" fmla="*/ 2147483647 h 388"/>
              <a:gd name="T66" fmla="*/ 2147483647 w 246"/>
              <a:gd name="T67" fmla="*/ 2147483647 h 388"/>
              <a:gd name="T68" fmla="*/ 2147483647 w 246"/>
              <a:gd name="T69" fmla="*/ 2147483647 h 388"/>
              <a:gd name="T70" fmla="*/ 2147483647 w 246"/>
              <a:gd name="T71" fmla="*/ 2147483647 h 388"/>
              <a:gd name="T72" fmla="*/ 0 w 246"/>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6"/>
              <a:gd name="T112" fmla="*/ 0 h 388"/>
              <a:gd name="T113" fmla="*/ 246 w 246"/>
              <a:gd name="T114" fmla="*/ 388 h 3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6" h="388">
                <a:moveTo>
                  <a:pt x="7" y="0"/>
                </a:moveTo>
                <a:lnTo>
                  <a:pt x="10" y="0"/>
                </a:lnTo>
                <a:lnTo>
                  <a:pt x="19" y="27"/>
                </a:lnTo>
                <a:lnTo>
                  <a:pt x="27" y="21"/>
                </a:lnTo>
                <a:lnTo>
                  <a:pt x="27" y="26"/>
                </a:lnTo>
                <a:lnTo>
                  <a:pt x="50" y="30"/>
                </a:lnTo>
                <a:lnTo>
                  <a:pt x="57" y="38"/>
                </a:lnTo>
                <a:lnTo>
                  <a:pt x="51" y="41"/>
                </a:lnTo>
                <a:lnTo>
                  <a:pt x="66" y="46"/>
                </a:lnTo>
                <a:lnTo>
                  <a:pt x="79" y="75"/>
                </a:lnTo>
                <a:lnTo>
                  <a:pt x="67" y="69"/>
                </a:lnTo>
                <a:lnTo>
                  <a:pt x="67" y="75"/>
                </a:lnTo>
                <a:lnTo>
                  <a:pt x="91" y="105"/>
                </a:lnTo>
                <a:lnTo>
                  <a:pt x="85" y="129"/>
                </a:lnTo>
                <a:lnTo>
                  <a:pt x="106" y="132"/>
                </a:lnTo>
                <a:lnTo>
                  <a:pt x="109" y="144"/>
                </a:lnTo>
                <a:lnTo>
                  <a:pt x="114" y="146"/>
                </a:lnTo>
                <a:lnTo>
                  <a:pt x="117" y="122"/>
                </a:lnTo>
                <a:lnTo>
                  <a:pt x="112" y="111"/>
                </a:lnTo>
                <a:lnTo>
                  <a:pt x="115" y="110"/>
                </a:lnTo>
                <a:lnTo>
                  <a:pt x="130" y="118"/>
                </a:lnTo>
                <a:lnTo>
                  <a:pt x="140" y="166"/>
                </a:lnTo>
                <a:lnTo>
                  <a:pt x="188" y="189"/>
                </a:lnTo>
                <a:lnTo>
                  <a:pt x="197" y="190"/>
                </a:lnTo>
                <a:lnTo>
                  <a:pt x="230" y="162"/>
                </a:lnTo>
                <a:lnTo>
                  <a:pt x="246" y="170"/>
                </a:lnTo>
                <a:lnTo>
                  <a:pt x="239" y="220"/>
                </a:lnTo>
                <a:lnTo>
                  <a:pt x="226" y="227"/>
                </a:lnTo>
                <a:lnTo>
                  <a:pt x="226" y="252"/>
                </a:lnTo>
                <a:lnTo>
                  <a:pt x="222" y="258"/>
                </a:lnTo>
                <a:lnTo>
                  <a:pt x="220" y="249"/>
                </a:lnTo>
                <a:lnTo>
                  <a:pt x="211" y="247"/>
                </a:lnTo>
                <a:lnTo>
                  <a:pt x="190" y="254"/>
                </a:lnTo>
                <a:lnTo>
                  <a:pt x="177" y="271"/>
                </a:lnTo>
                <a:lnTo>
                  <a:pt x="186" y="283"/>
                </a:lnTo>
                <a:lnTo>
                  <a:pt x="185" y="289"/>
                </a:lnTo>
                <a:lnTo>
                  <a:pt x="169" y="324"/>
                </a:lnTo>
                <a:lnTo>
                  <a:pt x="135" y="376"/>
                </a:lnTo>
                <a:lnTo>
                  <a:pt x="119" y="386"/>
                </a:lnTo>
                <a:lnTo>
                  <a:pt x="113" y="388"/>
                </a:lnTo>
                <a:lnTo>
                  <a:pt x="104" y="377"/>
                </a:lnTo>
                <a:lnTo>
                  <a:pt x="88" y="377"/>
                </a:lnTo>
                <a:lnTo>
                  <a:pt x="85" y="371"/>
                </a:lnTo>
                <a:lnTo>
                  <a:pt x="85" y="363"/>
                </a:lnTo>
                <a:lnTo>
                  <a:pt x="104" y="337"/>
                </a:lnTo>
                <a:lnTo>
                  <a:pt x="108" y="319"/>
                </a:lnTo>
                <a:lnTo>
                  <a:pt x="105" y="306"/>
                </a:lnTo>
                <a:lnTo>
                  <a:pt x="94" y="294"/>
                </a:lnTo>
                <a:lnTo>
                  <a:pt x="76" y="288"/>
                </a:lnTo>
                <a:lnTo>
                  <a:pt x="45" y="265"/>
                </a:lnTo>
                <a:lnTo>
                  <a:pt x="46" y="256"/>
                </a:lnTo>
                <a:lnTo>
                  <a:pt x="53" y="248"/>
                </a:lnTo>
                <a:lnTo>
                  <a:pt x="79" y="233"/>
                </a:lnTo>
                <a:lnTo>
                  <a:pt x="85" y="196"/>
                </a:lnTo>
                <a:lnTo>
                  <a:pt x="92" y="195"/>
                </a:lnTo>
                <a:lnTo>
                  <a:pt x="91" y="153"/>
                </a:lnTo>
                <a:lnTo>
                  <a:pt x="80" y="143"/>
                </a:lnTo>
                <a:lnTo>
                  <a:pt x="87" y="133"/>
                </a:lnTo>
                <a:lnTo>
                  <a:pt x="76" y="134"/>
                </a:lnTo>
                <a:lnTo>
                  <a:pt x="67" y="118"/>
                </a:lnTo>
                <a:lnTo>
                  <a:pt x="64" y="108"/>
                </a:lnTo>
                <a:lnTo>
                  <a:pt x="68" y="116"/>
                </a:lnTo>
                <a:lnTo>
                  <a:pt x="72" y="104"/>
                </a:lnTo>
                <a:lnTo>
                  <a:pt x="66" y="101"/>
                </a:lnTo>
                <a:lnTo>
                  <a:pt x="68" y="90"/>
                </a:lnTo>
                <a:lnTo>
                  <a:pt x="57" y="90"/>
                </a:lnTo>
                <a:lnTo>
                  <a:pt x="57" y="101"/>
                </a:lnTo>
                <a:lnTo>
                  <a:pt x="33" y="67"/>
                </a:lnTo>
                <a:lnTo>
                  <a:pt x="29" y="56"/>
                </a:lnTo>
                <a:lnTo>
                  <a:pt x="35" y="47"/>
                </a:lnTo>
                <a:lnTo>
                  <a:pt x="26" y="53"/>
                </a:lnTo>
                <a:lnTo>
                  <a:pt x="20" y="47"/>
                </a:lnTo>
                <a:lnTo>
                  <a:pt x="16" y="26"/>
                </a:lnTo>
                <a:lnTo>
                  <a:pt x="0" y="2"/>
                </a:lnTo>
                <a:lnTo>
                  <a:pt x="7" y="0"/>
                </a:lnTo>
                <a:close/>
              </a:path>
            </a:pathLst>
          </a:custGeom>
          <a:solidFill>
            <a:schemeClr val="accent1"/>
          </a:solidFill>
          <a:ln w="6350">
            <a:solidFill>
              <a:schemeClr val="tx2"/>
            </a:solidFill>
            <a:round/>
            <a:headEnd/>
            <a:tailEnd/>
          </a:ln>
        </p:spPr>
        <p:txBody>
          <a:bodyPr/>
          <a:lstStyle/>
          <a:p>
            <a:endParaRPr lang="en-US"/>
          </a:p>
        </p:txBody>
      </p:sp>
      <p:sp>
        <p:nvSpPr>
          <p:cNvPr id="430" name="Freeform 1534"/>
          <p:cNvSpPr>
            <a:spLocks/>
          </p:cNvSpPr>
          <p:nvPr/>
        </p:nvSpPr>
        <p:spPr bwMode="auto">
          <a:xfrm>
            <a:off x="8082376" y="4442597"/>
            <a:ext cx="817003" cy="566777"/>
          </a:xfrm>
          <a:custGeom>
            <a:avLst/>
            <a:gdLst>
              <a:gd name="T0" fmla="*/ 2147483647 w 1741"/>
              <a:gd name="T1" fmla="*/ 2147483647 h 1362"/>
              <a:gd name="T2" fmla="*/ 2147483647 w 1741"/>
              <a:gd name="T3" fmla="*/ 2147483647 h 1362"/>
              <a:gd name="T4" fmla="*/ 2147483647 w 1741"/>
              <a:gd name="T5" fmla="*/ 2147483647 h 1362"/>
              <a:gd name="T6" fmla="*/ 2147483647 w 1741"/>
              <a:gd name="T7" fmla="*/ 2147483647 h 1362"/>
              <a:gd name="T8" fmla="*/ 2147483647 w 1741"/>
              <a:gd name="T9" fmla="*/ 2147483647 h 1362"/>
              <a:gd name="T10" fmla="*/ 2147483647 w 1741"/>
              <a:gd name="T11" fmla="*/ 2147483647 h 1362"/>
              <a:gd name="T12" fmla="*/ 2147483647 w 1741"/>
              <a:gd name="T13" fmla="*/ 2147483647 h 1362"/>
              <a:gd name="T14" fmla="*/ 2147483647 w 1741"/>
              <a:gd name="T15" fmla="*/ 2147483647 h 1362"/>
              <a:gd name="T16" fmla="*/ 2147483647 w 1741"/>
              <a:gd name="T17" fmla="*/ 2147483647 h 1362"/>
              <a:gd name="T18" fmla="*/ 2147483647 w 1741"/>
              <a:gd name="T19" fmla="*/ 2147483647 h 1362"/>
              <a:gd name="T20" fmla="*/ 2147483647 w 1741"/>
              <a:gd name="T21" fmla="*/ 2147483647 h 1362"/>
              <a:gd name="T22" fmla="*/ 2147483647 w 1741"/>
              <a:gd name="T23" fmla="*/ 2147483647 h 1362"/>
              <a:gd name="T24" fmla="*/ 2147483647 w 1741"/>
              <a:gd name="T25" fmla="*/ 2147483647 h 1362"/>
              <a:gd name="T26" fmla="*/ 2147483647 w 1741"/>
              <a:gd name="T27" fmla="*/ 2147483647 h 1362"/>
              <a:gd name="T28" fmla="*/ 2147483647 w 1741"/>
              <a:gd name="T29" fmla="*/ 2147483647 h 1362"/>
              <a:gd name="T30" fmla="*/ 2147483647 w 1741"/>
              <a:gd name="T31" fmla="*/ 2147483647 h 1362"/>
              <a:gd name="T32" fmla="*/ 2147483647 w 1741"/>
              <a:gd name="T33" fmla="*/ 2147483647 h 1362"/>
              <a:gd name="T34" fmla="*/ 2147483647 w 1741"/>
              <a:gd name="T35" fmla="*/ 2147483647 h 1362"/>
              <a:gd name="T36" fmla="*/ 2147483647 w 1741"/>
              <a:gd name="T37" fmla="*/ 2147483647 h 1362"/>
              <a:gd name="T38" fmla="*/ 2147483647 w 1741"/>
              <a:gd name="T39" fmla="*/ 2147483647 h 1362"/>
              <a:gd name="T40" fmla="*/ 2147483647 w 1741"/>
              <a:gd name="T41" fmla="*/ 2147483647 h 1362"/>
              <a:gd name="T42" fmla="*/ 2147483647 w 1741"/>
              <a:gd name="T43" fmla="*/ 2147483647 h 1362"/>
              <a:gd name="T44" fmla="*/ 2147483647 w 1741"/>
              <a:gd name="T45" fmla="*/ 2147483647 h 1362"/>
              <a:gd name="T46" fmla="*/ 2147483647 w 1741"/>
              <a:gd name="T47" fmla="*/ 2147483647 h 1362"/>
              <a:gd name="T48" fmla="*/ 2147483647 w 1741"/>
              <a:gd name="T49" fmla="*/ 2147483647 h 1362"/>
              <a:gd name="T50" fmla="*/ 2147483647 w 1741"/>
              <a:gd name="T51" fmla="*/ 2147483647 h 1362"/>
              <a:gd name="T52" fmla="*/ 2147483647 w 1741"/>
              <a:gd name="T53" fmla="*/ 2147483647 h 1362"/>
              <a:gd name="T54" fmla="*/ 2147483647 w 1741"/>
              <a:gd name="T55" fmla="*/ 2147483647 h 1362"/>
              <a:gd name="T56" fmla="*/ 2147483647 w 1741"/>
              <a:gd name="T57" fmla="*/ 2147483647 h 1362"/>
              <a:gd name="T58" fmla="*/ 2147483647 w 1741"/>
              <a:gd name="T59" fmla="*/ 2147483647 h 1362"/>
              <a:gd name="T60" fmla="*/ 2147483647 w 1741"/>
              <a:gd name="T61" fmla="*/ 2147483647 h 1362"/>
              <a:gd name="T62" fmla="*/ 2147483647 w 1741"/>
              <a:gd name="T63" fmla="*/ 2147483647 h 1362"/>
              <a:gd name="T64" fmla="*/ 2147483647 w 1741"/>
              <a:gd name="T65" fmla="*/ 2147483647 h 1362"/>
              <a:gd name="T66" fmla="*/ 2147483647 w 1741"/>
              <a:gd name="T67" fmla="*/ 2147483647 h 1362"/>
              <a:gd name="T68" fmla="*/ 2147483647 w 1741"/>
              <a:gd name="T69" fmla="*/ 2147483647 h 1362"/>
              <a:gd name="T70" fmla="*/ 2147483647 w 1741"/>
              <a:gd name="T71" fmla="*/ 2147483647 h 1362"/>
              <a:gd name="T72" fmla="*/ 2147483647 w 1741"/>
              <a:gd name="T73" fmla="*/ 2147483647 h 1362"/>
              <a:gd name="T74" fmla="*/ 2147483647 w 1741"/>
              <a:gd name="T75" fmla="*/ 2147483647 h 1362"/>
              <a:gd name="T76" fmla="*/ 2147483647 w 1741"/>
              <a:gd name="T77" fmla="*/ 2147483647 h 1362"/>
              <a:gd name="T78" fmla="*/ 2147483647 w 1741"/>
              <a:gd name="T79" fmla="*/ 2147483647 h 1362"/>
              <a:gd name="T80" fmla="*/ 2147483647 w 1741"/>
              <a:gd name="T81" fmla="*/ 2147483647 h 1362"/>
              <a:gd name="T82" fmla="*/ 2147483647 w 1741"/>
              <a:gd name="T83" fmla="*/ 2147483647 h 1362"/>
              <a:gd name="T84" fmla="*/ 2147483647 w 1741"/>
              <a:gd name="T85" fmla="*/ 2147483647 h 1362"/>
              <a:gd name="T86" fmla="*/ 2147483647 w 1741"/>
              <a:gd name="T87" fmla="*/ 2147483647 h 1362"/>
              <a:gd name="T88" fmla="*/ 2147483647 w 1741"/>
              <a:gd name="T89" fmla="*/ 2147483647 h 1362"/>
              <a:gd name="T90" fmla="*/ 2147483647 w 1741"/>
              <a:gd name="T91" fmla="*/ 2147483647 h 1362"/>
              <a:gd name="T92" fmla="*/ 2147483647 w 1741"/>
              <a:gd name="T93" fmla="*/ 2147483647 h 1362"/>
              <a:gd name="T94" fmla="*/ 2147483647 w 1741"/>
              <a:gd name="T95" fmla="*/ 2147483647 h 1362"/>
              <a:gd name="T96" fmla="*/ 2147483647 w 1741"/>
              <a:gd name="T97" fmla="*/ 2147483647 h 1362"/>
              <a:gd name="T98" fmla="*/ 2147483647 w 1741"/>
              <a:gd name="T99" fmla="*/ 2147483647 h 1362"/>
              <a:gd name="T100" fmla="*/ 2147483647 w 1741"/>
              <a:gd name="T101" fmla="*/ 2147483647 h 1362"/>
              <a:gd name="T102" fmla="*/ 2147483647 w 1741"/>
              <a:gd name="T103" fmla="*/ 2147483647 h 1362"/>
              <a:gd name="T104" fmla="*/ 2147483647 w 1741"/>
              <a:gd name="T105" fmla="*/ 2147483647 h 1362"/>
              <a:gd name="T106" fmla="*/ 2147483647 w 1741"/>
              <a:gd name="T107" fmla="*/ 2147483647 h 1362"/>
              <a:gd name="T108" fmla="*/ 2147483647 w 1741"/>
              <a:gd name="T109" fmla="*/ 2147483647 h 1362"/>
              <a:gd name="T110" fmla="*/ 2147483647 w 1741"/>
              <a:gd name="T111" fmla="*/ 2147483647 h 1362"/>
              <a:gd name="T112" fmla="*/ 2147483647 w 1741"/>
              <a:gd name="T113" fmla="*/ 2147483647 h 1362"/>
              <a:gd name="T114" fmla="*/ 2147483647 w 1741"/>
              <a:gd name="T115" fmla="*/ 2147483647 h 1362"/>
              <a:gd name="T116" fmla="*/ 2147483647 w 1741"/>
              <a:gd name="T117" fmla="*/ 2147483647 h 1362"/>
              <a:gd name="T118" fmla="*/ 0 w 1741"/>
              <a:gd name="T119" fmla="*/ 2147483647 h 1362"/>
              <a:gd name="T120" fmla="*/ 2147483647 w 1741"/>
              <a:gd name="T121" fmla="*/ 2147483647 h 1362"/>
              <a:gd name="T122" fmla="*/ 2147483647 w 1741"/>
              <a:gd name="T123" fmla="*/ 2147483647 h 13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1"/>
              <a:gd name="T187" fmla="*/ 0 h 1362"/>
              <a:gd name="T188" fmla="*/ 1741 w 1741"/>
              <a:gd name="T189" fmla="*/ 1362 h 13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1" h="1362">
                <a:moveTo>
                  <a:pt x="83" y="1064"/>
                </a:moveTo>
                <a:lnTo>
                  <a:pt x="84" y="1098"/>
                </a:lnTo>
                <a:lnTo>
                  <a:pt x="102" y="1103"/>
                </a:lnTo>
                <a:lnTo>
                  <a:pt x="128" y="1129"/>
                </a:lnTo>
                <a:lnTo>
                  <a:pt x="148" y="1137"/>
                </a:lnTo>
                <a:lnTo>
                  <a:pt x="187" y="1137"/>
                </a:lnTo>
                <a:lnTo>
                  <a:pt x="192" y="1143"/>
                </a:lnTo>
                <a:lnTo>
                  <a:pt x="204" y="1143"/>
                </a:lnTo>
                <a:lnTo>
                  <a:pt x="205" y="1135"/>
                </a:lnTo>
                <a:lnTo>
                  <a:pt x="219" y="1136"/>
                </a:lnTo>
                <a:lnTo>
                  <a:pt x="247" y="1110"/>
                </a:lnTo>
                <a:lnTo>
                  <a:pt x="269" y="1107"/>
                </a:lnTo>
                <a:lnTo>
                  <a:pt x="278" y="1092"/>
                </a:lnTo>
                <a:lnTo>
                  <a:pt x="294" y="1082"/>
                </a:lnTo>
                <a:lnTo>
                  <a:pt x="381" y="1076"/>
                </a:lnTo>
                <a:lnTo>
                  <a:pt x="389" y="1084"/>
                </a:lnTo>
                <a:lnTo>
                  <a:pt x="452" y="1076"/>
                </a:lnTo>
                <a:lnTo>
                  <a:pt x="472" y="1036"/>
                </a:lnTo>
                <a:lnTo>
                  <a:pt x="558" y="996"/>
                </a:lnTo>
                <a:lnTo>
                  <a:pt x="595" y="999"/>
                </a:lnTo>
                <a:lnTo>
                  <a:pt x="644" y="989"/>
                </a:lnTo>
                <a:lnTo>
                  <a:pt x="691" y="964"/>
                </a:lnTo>
                <a:lnTo>
                  <a:pt x="765" y="961"/>
                </a:lnTo>
                <a:lnTo>
                  <a:pt x="798" y="966"/>
                </a:lnTo>
                <a:lnTo>
                  <a:pt x="826" y="987"/>
                </a:lnTo>
                <a:lnTo>
                  <a:pt x="839" y="982"/>
                </a:lnTo>
                <a:lnTo>
                  <a:pt x="871" y="996"/>
                </a:lnTo>
                <a:lnTo>
                  <a:pt x="869" y="990"/>
                </a:lnTo>
                <a:lnTo>
                  <a:pt x="891" y="1010"/>
                </a:lnTo>
                <a:lnTo>
                  <a:pt x="907" y="1014"/>
                </a:lnTo>
                <a:lnTo>
                  <a:pt x="902" y="1032"/>
                </a:lnTo>
                <a:lnTo>
                  <a:pt x="914" y="1044"/>
                </a:lnTo>
                <a:lnTo>
                  <a:pt x="928" y="1046"/>
                </a:lnTo>
                <a:lnTo>
                  <a:pt x="957" y="1102"/>
                </a:lnTo>
                <a:lnTo>
                  <a:pt x="958" y="1120"/>
                </a:lnTo>
                <a:lnTo>
                  <a:pt x="946" y="1111"/>
                </a:lnTo>
                <a:lnTo>
                  <a:pt x="946" y="1118"/>
                </a:lnTo>
                <a:lnTo>
                  <a:pt x="982" y="1140"/>
                </a:lnTo>
                <a:lnTo>
                  <a:pt x="982" y="1127"/>
                </a:lnTo>
                <a:lnTo>
                  <a:pt x="977" y="1127"/>
                </a:lnTo>
                <a:lnTo>
                  <a:pt x="980" y="1118"/>
                </a:lnTo>
                <a:lnTo>
                  <a:pt x="996" y="1103"/>
                </a:lnTo>
                <a:lnTo>
                  <a:pt x="1000" y="1091"/>
                </a:lnTo>
                <a:lnTo>
                  <a:pt x="1023" y="1075"/>
                </a:lnTo>
                <a:lnTo>
                  <a:pt x="1035" y="1074"/>
                </a:lnTo>
                <a:lnTo>
                  <a:pt x="1049" y="1044"/>
                </a:lnTo>
                <a:lnTo>
                  <a:pt x="1058" y="1034"/>
                </a:lnTo>
                <a:lnTo>
                  <a:pt x="1060" y="1012"/>
                </a:lnTo>
                <a:lnTo>
                  <a:pt x="1070" y="1044"/>
                </a:lnTo>
                <a:lnTo>
                  <a:pt x="1066" y="1043"/>
                </a:lnTo>
                <a:lnTo>
                  <a:pt x="1065" y="1062"/>
                </a:lnTo>
                <a:lnTo>
                  <a:pt x="1047" y="1096"/>
                </a:lnTo>
                <a:lnTo>
                  <a:pt x="1045" y="1131"/>
                </a:lnTo>
                <a:lnTo>
                  <a:pt x="1026" y="1135"/>
                </a:lnTo>
                <a:lnTo>
                  <a:pt x="1021" y="1151"/>
                </a:lnTo>
                <a:lnTo>
                  <a:pt x="1027" y="1156"/>
                </a:lnTo>
                <a:lnTo>
                  <a:pt x="1059" y="1148"/>
                </a:lnTo>
                <a:lnTo>
                  <a:pt x="1065" y="1117"/>
                </a:lnTo>
                <a:lnTo>
                  <a:pt x="1075" y="1099"/>
                </a:lnTo>
                <a:lnTo>
                  <a:pt x="1092" y="1126"/>
                </a:lnTo>
                <a:lnTo>
                  <a:pt x="1090" y="1152"/>
                </a:lnTo>
                <a:lnTo>
                  <a:pt x="1078" y="1172"/>
                </a:lnTo>
                <a:lnTo>
                  <a:pt x="1091" y="1173"/>
                </a:lnTo>
                <a:lnTo>
                  <a:pt x="1127" y="1161"/>
                </a:lnTo>
                <a:lnTo>
                  <a:pt x="1123" y="1176"/>
                </a:lnTo>
                <a:lnTo>
                  <a:pt x="1141" y="1200"/>
                </a:lnTo>
                <a:lnTo>
                  <a:pt x="1149" y="1223"/>
                </a:lnTo>
                <a:lnTo>
                  <a:pt x="1145" y="1245"/>
                </a:lnTo>
                <a:lnTo>
                  <a:pt x="1155" y="1269"/>
                </a:lnTo>
                <a:lnTo>
                  <a:pt x="1175" y="1295"/>
                </a:lnTo>
                <a:lnTo>
                  <a:pt x="1200" y="1303"/>
                </a:lnTo>
                <a:lnTo>
                  <a:pt x="1221" y="1320"/>
                </a:lnTo>
                <a:lnTo>
                  <a:pt x="1234" y="1314"/>
                </a:lnTo>
                <a:lnTo>
                  <a:pt x="1262" y="1321"/>
                </a:lnTo>
                <a:lnTo>
                  <a:pt x="1302" y="1344"/>
                </a:lnTo>
                <a:lnTo>
                  <a:pt x="1326" y="1335"/>
                </a:lnTo>
                <a:lnTo>
                  <a:pt x="1342" y="1317"/>
                </a:lnTo>
                <a:lnTo>
                  <a:pt x="1358" y="1312"/>
                </a:lnTo>
                <a:lnTo>
                  <a:pt x="1347" y="1303"/>
                </a:lnTo>
                <a:lnTo>
                  <a:pt x="1367" y="1292"/>
                </a:lnTo>
                <a:lnTo>
                  <a:pt x="1374" y="1297"/>
                </a:lnTo>
                <a:lnTo>
                  <a:pt x="1375" y="1307"/>
                </a:lnTo>
                <a:lnTo>
                  <a:pt x="1373" y="1315"/>
                </a:lnTo>
                <a:lnTo>
                  <a:pt x="1362" y="1315"/>
                </a:lnTo>
                <a:lnTo>
                  <a:pt x="1366" y="1319"/>
                </a:lnTo>
                <a:lnTo>
                  <a:pt x="1374" y="1323"/>
                </a:lnTo>
                <a:lnTo>
                  <a:pt x="1391" y="1312"/>
                </a:lnTo>
                <a:lnTo>
                  <a:pt x="1397" y="1318"/>
                </a:lnTo>
                <a:lnTo>
                  <a:pt x="1395" y="1331"/>
                </a:lnTo>
                <a:lnTo>
                  <a:pt x="1423" y="1347"/>
                </a:lnTo>
                <a:lnTo>
                  <a:pt x="1434" y="1362"/>
                </a:lnTo>
                <a:lnTo>
                  <a:pt x="1441" y="1340"/>
                </a:lnTo>
                <a:lnTo>
                  <a:pt x="1430" y="1349"/>
                </a:lnTo>
                <a:lnTo>
                  <a:pt x="1428" y="1338"/>
                </a:lnTo>
                <a:lnTo>
                  <a:pt x="1450" y="1338"/>
                </a:lnTo>
                <a:lnTo>
                  <a:pt x="1489" y="1303"/>
                </a:lnTo>
                <a:lnTo>
                  <a:pt x="1507" y="1293"/>
                </a:lnTo>
                <a:lnTo>
                  <a:pt x="1560" y="1289"/>
                </a:lnTo>
                <a:lnTo>
                  <a:pt x="1575" y="1285"/>
                </a:lnTo>
                <a:lnTo>
                  <a:pt x="1576" y="1274"/>
                </a:lnTo>
                <a:lnTo>
                  <a:pt x="1586" y="1277"/>
                </a:lnTo>
                <a:lnTo>
                  <a:pt x="1588" y="1271"/>
                </a:lnTo>
                <a:lnTo>
                  <a:pt x="1586" y="1244"/>
                </a:lnTo>
                <a:lnTo>
                  <a:pt x="1597" y="1212"/>
                </a:lnTo>
                <a:lnTo>
                  <a:pt x="1598" y="1181"/>
                </a:lnTo>
                <a:lnTo>
                  <a:pt x="1615" y="1147"/>
                </a:lnTo>
                <a:lnTo>
                  <a:pt x="1621" y="1152"/>
                </a:lnTo>
                <a:lnTo>
                  <a:pt x="1632" y="1107"/>
                </a:lnTo>
                <a:lnTo>
                  <a:pt x="1645" y="1083"/>
                </a:lnTo>
                <a:lnTo>
                  <a:pt x="1642" y="1067"/>
                </a:lnTo>
                <a:lnTo>
                  <a:pt x="1656" y="1056"/>
                </a:lnTo>
                <a:lnTo>
                  <a:pt x="1668" y="1032"/>
                </a:lnTo>
                <a:lnTo>
                  <a:pt x="1681" y="1027"/>
                </a:lnTo>
                <a:lnTo>
                  <a:pt x="1678" y="1022"/>
                </a:lnTo>
                <a:lnTo>
                  <a:pt x="1695" y="1009"/>
                </a:lnTo>
                <a:lnTo>
                  <a:pt x="1693" y="998"/>
                </a:lnTo>
                <a:lnTo>
                  <a:pt x="1705" y="982"/>
                </a:lnTo>
                <a:lnTo>
                  <a:pt x="1716" y="952"/>
                </a:lnTo>
                <a:lnTo>
                  <a:pt x="1718" y="913"/>
                </a:lnTo>
                <a:lnTo>
                  <a:pt x="1727" y="896"/>
                </a:lnTo>
                <a:lnTo>
                  <a:pt x="1741" y="825"/>
                </a:lnTo>
                <a:lnTo>
                  <a:pt x="1740" y="804"/>
                </a:lnTo>
                <a:lnTo>
                  <a:pt x="1721" y="747"/>
                </a:lnTo>
                <a:lnTo>
                  <a:pt x="1723" y="742"/>
                </a:lnTo>
                <a:lnTo>
                  <a:pt x="1726" y="743"/>
                </a:lnTo>
                <a:lnTo>
                  <a:pt x="1718" y="706"/>
                </a:lnTo>
                <a:lnTo>
                  <a:pt x="1719" y="683"/>
                </a:lnTo>
                <a:lnTo>
                  <a:pt x="1717" y="687"/>
                </a:lnTo>
                <a:lnTo>
                  <a:pt x="1714" y="684"/>
                </a:lnTo>
                <a:lnTo>
                  <a:pt x="1706" y="656"/>
                </a:lnTo>
                <a:lnTo>
                  <a:pt x="1697" y="652"/>
                </a:lnTo>
                <a:lnTo>
                  <a:pt x="1699" y="646"/>
                </a:lnTo>
                <a:lnTo>
                  <a:pt x="1689" y="630"/>
                </a:lnTo>
                <a:lnTo>
                  <a:pt x="1675" y="621"/>
                </a:lnTo>
                <a:lnTo>
                  <a:pt x="1663" y="601"/>
                </a:lnTo>
                <a:lnTo>
                  <a:pt x="1647" y="597"/>
                </a:lnTo>
                <a:lnTo>
                  <a:pt x="1625" y="575"/>
                </a:lnTo>
                <a:lnTo>
                  <a:pt x="1616" y="522"/>
                </a:lnTo>
                <a:lnTo>
                  <a:pt x="1613" y="519"/>
                </a:lnTo>
                <a:lnTo>
                  <a:pt x="1611" y="531"/>
                </a:lnTo>
                <a:lnTo>
                  <a:pt x="1592" y="518"/>
                </a:lnTo>
                <a:lnTo>
                  <a:pt x="1589" y="509"/>
                </a:lnTo>
                <a:lnTo>
                  <a:pt x="1584" y="514"/>
                </a:lnTo>
                <a:lnTo>
                  <a:pt x="1584" y="526"/>
                </a:lnTo>
                <a:lnTo>
                  <a:pt x="1573" y="527"/>
                </a:lnTo>
                <a:lnTo>
                  <a:pt x="1565" y="506"/>
                </a:lnTo>
                <a:lnTo>
                  <a:pt x="1563" y="480"/>
                </a:lnTo>
                <a:lnTo>
                  <a:pt x="1558" y="479"/>
                </a:lnTo>
                <a:lnTo>
                  <a:pt x="1545" y="451"/>
                </a:lnTo>
                <a:lnTo>
                  <a:pt x="1533" y="445"/>
                </a:lnTo>
                <a:lnTo>
                  <a:pt x="1534" y="435"/>
                </a:lnTo>
                <a:lnTo>
                  <a:pt x="1539" y="437"/>
                </a:lnTo>
                <a:lnTo>
                  <a:pt x="1538" y="428"/>
                </a:lnTo>
                <a:lnTo>
                  <a:pt x="1520" y="416"/>
                </a:lnTo>
                <a:lnTo>
                  <a:pt x="1516" y="419"/>
                </a:lnTo>
                <a:lnTo>
                  <a:pt x="1507" y="408"/>
                </a:lnTo>
                <a:lnTo>
                  <a:pt x="1494" y="402"/>
                </a:lnTo>
                <a:lnTo>
                  <a:pt x="1486" y="404"/>
                </a:lnTo>
                <a:lnTo>
                  <a:pt x="1476" y="382"/>
                </a:lnTo>
                <a:lnTo>
                  <a:pt x="1469" y="385"/>
                </a:lnTo>
                <a:lnTo>
                  <a:pt x="1453" y="382"/>
                </a:lnTo>
                <a:lnTo>
                  <a:pt x="1432" y="369"/>
                </a:lnTo>
                <a:lnTo>
                  <a:pt x="1430" y="350"/>
                </a:lnTo>
                <a:lnTo>
                  <a:pt x="1427" y="353"/>
                </a:lnTo>
                <a:lnTo>
                  <a:pt x="1428" y="349"/>
                </a:lnTo>
                <a:lnTo>
                  <a:pt x="1419" y="343"/>
                </a:lnTo>
                <a:lnTo>
                  <a:pt x="1419" y="309"/>
                </a:lnTo>
                <a:lnTo>
                  <a:pt x="1410" y="274"/>
                </a:lnTo>
                <a:lnTo>
                  <a:pt x="1403" y="274"/>
                </a:lnTo>
                <a:lnTo>
                  <a:pt x="1393" y="261"/>
                </a:lnTo>
                <a:lnTo>
                  <a:pt x="1383" y="216"/>
                </a:lnTo>
                <a:lnTo>
                  <a:pt x="1384" y="189"/>
                </a:lnTo>
                <a:lnTo>
                  <a:pt x="1358" y="169"/>
                </a:lnTo>
                <a:lnTo>
                  <a:pt x="1353" y="156"/>
                </a:lnTo>
                <a:lnTo>
                  <a:pt x="1346" y="154"/>
                </a:lnTo>
                <a:lnTo>
                  <a:pt x="1328" y="166"/>
                </a:lnTo>
                <a:lnTo>
                  <a:pt x="1316" y="156"/>
                </a:lnTo>
                <a:lnTo>
                  <a:pt x="1299" y="84"/>
                </a:lnTo>
                <a:lnTo>
                  <a:pt x="1288" y="69"/>
                </a:lnTo>
                <a:lnTo>
                  <a:pt x="1287" y="53"/>
                </a:lnTo>
                <a:lnTo>
                  <a:pt x="1279" y="53"/>
                </a:lnTo>
                <a:lnTo>
                  <a:pt x="1276" y="46"/>
                </a:lnTo>
                <a:lnTo>
                  <a:pt x="1274" y="14"/>
                </a:lnTo>
                <a:lnTo>
                  <a:pt x="1274" y="2"/>
                </a:lnTo>
                <a:lnTo>
                  <a:pt x="1270" y="0"/>
                </a:lnTo>
                <a:lnTo>
                  <a:pt x="1252" y="12"/>
                </a:lnTo>
                <a:lnTo>
                  <a:pt x="1252" y="24"/>
                </a:lnTo>
                <a:lnTo>
                  <a:pt x="1243" y="36"/>
                </a:lnTo>
                <a:lnTo>
                  <a:pt x="1236" y="57"/>
                </a:lnTo>
                <a:lnTo>
                  <a:pt x="1228" y="60"/>
                </a:lnTo>
                <a:lnTo>
                  <a:pt x="1225" y="74"/>
                </a:lnTo>
                <a:lnTo>
                  <a:pt x="1224" y="83"/>
                </a:lnTo>
                <a:lnTo>
                  <a:pt x="1230" y="84"/>
                </a:lnTo>
                <a:lnTo>
                  <a:pt x="1226" y="114"/>
                </a:lnTo>
                <a:lnTo>
                  <a:pt x="1219" y="129"/>
                </a:lnTo>
                <a:lnTo>
                  <a:pt x="1219" y="167"/>
                </a:lnTo>
                <a:lnTo>
                  <a:pt x="1225" y="193"/>
                </a:lnTo>
                <a:lnTo>
                  <a:pt x="1207" y="262"/>
                </a:lnTo>
                <a:lnTo>
                  <a:pt x="1190" y="303"/>
                </a:lnTo>
                <a:lnTo>
                  <a:pt x="1159" y="313"/>
                </a:lnTo>
                <a:lnTo>
                  <a:pt x="1122" y="291"/>
                </a:lnTo>
                <a:lnTo>
                  <a:pt x="1109" y="272"/>
                </a:lnTo>
                <a:lnTo>
                  <a:pt x="1076" y="263"/>
                </a:lnTo>
                <a:lnTo>
                  <a:pt x="1037" y="232"/>
                </a:lnTo>
                <a:lnTo>
                  <a:pt x="1009" y="227"/>
                </a:lnTo>
                <a:lnTo>
                  <a:pt x="1000" y="233"/>
                </a:lnTo>
                <a:lnTo>
                  <a:pt x="996" y="207"/>
                </a:lnTo>
                <a:lnTo>
                  <a:pt x="977" y="196"/>
                </a:lnTo>
                <a:lnTo>
                  <a:pt x="971" y="198"/>
                </a:lnTo>
                <a:lnTo>
                  <a:pt x="964" y="189"/>
                </a:lnTo>
                <a:lnTo>
                  <a:pt x="983" y="132"/>
                </a:lnTo>
                <a:lnTo>
                  <a:pt x="976" y="134"/>
                </a:lnTo>
                <a:lnTo>
                  <a:pt x="979" y="113"/>
                </a:lnTo>
                <a:lnTo>
                  <a:pt x="989" y="122"/>
                </a:lnTo>
                <a:lnTo>
                  <a:pt x="987" y="112"/>
                </a:lnTo>
                <a:lnTo>
                  <a:pt x="990" y="107"/>
                </a:lnTo>
                <a:lnTo>
                  <a:pt x="992" y="112"/>
                </a:lnTo>
                <a:lnTo>
                  <a:pt x="1001" y="111"/>
                </a:lnTo>
                <a:lnTo>
                  <a:pt x="1006" y="102"/>
                </a:lnTo>
                <a:lnTo>
                  <a:pt x="1002" y="96"/>
                </a:lnTo>
                <a:lnTo>
                  <a:pt x="1011" y="91"/>
                </a:lnTo>
                <a:lnTo>
                  <a:pt x="1020" y="72"/>
                </a:lnTo>
                <a:lnTo>
                  <a:pt x="1016" y="68"/>
                </a:lnTo>
                <a:lnTo>
                  <a:pt x="1004" y="73"/>
                </a:lnTo>
                <a:lnTo>
                  <a:pt x="999" y="55"/>
                </a:lnTo>
                <a:lnTo>
                  <a:pt x="991" y="62"/>
                </a:lnTo>
                <a:lnTo>
                  <a:pt x="987" y="79"/>
                </a:lnTo>
                <a:lnTo>
                  <a:pt x="980" y="82"/>
                </a:lnTo>
                <a:lnTo>
                  <a:pt x="979" y="64"/>
                </a:lnTo>
                <a:lnTo>
                  <a:pt x="975" y="68"/>
                </a:lnTo>
                <a:lnTo>
                  <a:pt x="972" y="64"/>
                </a:lnTo>
                <a:lnTo>
                  <a:pt x="977" y="56"/>
                </a:lnTo>
                <a:lnTo>
                  <a:pt x="958" y="60"/>
                </a:lnTo>
                <a:lnTo>
                  <a:pt x="946" y="70"/>
                </a:lnTo>
                <a:lnTo>
                  <a:pt x="925" y="58"/>
                </a:lnTo>
                <a:lnTo>
                  <a:pt x="903" y="60"/>
                </a:lnTo>
                <a:lnTo>
                  <a:pt x="884" y="52"/>
                </a:lnTo>
                <a:lnTo>
                  <a:pt x="884" y="47"/>
                </a:lnTo>
                <a:lnTo>
                  <a:pt x="875" y="52"/>
                </a:lnTo>
                <a:lnTo>
                  <a:pt x="855" y="46"/>
                </a:lnTo>
                <a:lnTo>
                  <a:pt x="843" y="33"/>
                </a:lnTo>
                <a:lnTo>
                  <a:pt x="838" y="39"/>
                </a:lnTo>
                <a:lnTo>
                  <a:pt x="820" y="23"/>
                </a:lnTo>
                <a:lnTo>
                  <a:pt x="812" y="36"/>
                </a:lnTo>
                <a:lnTo>
                  <a:pt x="807" y="22"/>
                </a:lnTo>
                <a:lnTo>
                  <a:pt x="804" y="28"/>
                </a:lnTo>
                <a:lnTo>
                  <a:pt x="798" y="28"/>
                </a:lnTo>
                <a:lnTo>
                  <a:pt x="805" y="30"/>
                </a:lnTo>
                <a:lnTo>
                  <a:pt x="815" y="39"/>
                </a:lnTo>
                <a:lnTo>
                  <a:pt x="829" y="39"/>
                </a:lnTo>
                <a:lnTo>
                  <a:pt x="834" y="43"/>
                </a:lnTo>
                <a:lnTo>
                  <a:pt x="834" y="62"/>
                </a:lnTo>
                <a:lnTo>
                  <a:pt x="811" y="71"/>
                </a:lnTo>
                <a:lnTo>
                  <a:pt x="779" y="69"/>
                </a:lnTo>
                <a:lnTo>
                  <a:pt x="778" y="73"/>
                </a:lnTo>
                <a:lnTo>
                  <a:pt x="767" y="69"/>
                </a:lnTo>
                <a:lnTo>
                  <a:pt x="760" y="77"/>
                </a:lnTo>
                <a:lnTo>
                  <a:pt x="764" y="91"/>
                </a:lnTo>
                <a:lnTo>
                  <a:pt x="750" y="80"/>
                </a:lnTo>
                <a:lnTo>
                  <a:pt x="747" y="86"/>
                </a:lnTo>
                <a:lnTo>
                  <a:pt x="734" y="91"/>
                </a:lnTo>
                <a:lnTo>
                  <a:pt x="729" y="112"/>
                </a:lnTo>
                <a:lnTo>
                  <a:pt x="735" y="111"/>
                </a:lnTo>
                <a:lnTo>
                  <a:pt x="736" y="120"/>
                </a:lnTo>
                <a:lnTo>
                  <a:pt x="730" y="125"/>
                </a:lnTo>
                <a:lnTo>
                  <a:pt x="717" y="124"/>
                </a:lnTo>
                <a:lnTo>
                  <a:pt x="705" y="148"/>
                </a:lnTo>
                <a:lnTo>
                  <a:pt x="699" y="148"/>
                </a:lnTo>
                <a:lnTo>
                  <a:pt x="695" y="161"/>
                </a:lnTo>
                <a:lnTo>
                  <a:pt x="712" y="182"/>
                </a:lnTo>
                <a:lnTo>
                  <a:pt x="706" y="186"/>
                </a:lnTo>
                <a:lnTo>
                  <a:pt x="708" y="198"/>
                </a:lnTo>
                <a:lnTo>
                  <a:pt x="686" y="182"/>
                </a:lnTo>
                <a:lnTo>
                  <a:pt x="659" y="181"/>
                </a:lnTo>
                <a:lnTo>
                  <a:pt x="657" y="188"/>
                </a:lnTo>
                <a:lnTo>
                  <a:pt x="644" y="191"/>
                </a:lnTo>
                <a:lnTo>
                  <a:pt x="632" y="216"/>
                </a:lnTo>
                <a:lnTo>
                  <a:pt x="638" y="206"/>
                </a:lnTo>
                <a:lnTo>
                  <a:pt x="643" y="177"/>
                </a:lnTo>
                <a:lnTo>
                  <a:pt x="618" y="151"/>
                </a:lnTo>
                <a:lnTo>
                  <a:pt x="588" y="137"/>
                </a:lnTo>
                <a:lnTo>
                  <a:pt x="582" y="138"/>
                </a:lnTo>
                <a:lnTo>
                  <a:pt x="581" y="146"/>
                </a:lnTo>
                <a:lnTo>
                  <a:pt x="567" y="152"/>
                </a:lnTo>
                <a:lnTo>
                  <a:pt x="565" y="147"/>
                </a:lnTo>
                <a:lnTo>
                  <a:pt x="557" y="155"/>
                </a:lnTo>
                <a:lnTo>
                  <a:pt x="551" y="144"/>
                </a:lnTo>
                <a:lnTo>
                  <a:pt x="549" y="148"/>
                </a:lnTo>
                <a:lnTo>
                  <a:pt x="553" y="158"/>
                </a:lnTo>
                <a:lnTo>
                  <a:pt x="549" y="168"/>
                </a:lnTo>
                <a:lnTo>
                  <a:pt x="539" y="175"/>
                </a:lnTo>
                <a:lnTo>
                  <a:pt x="538" y="168"/>
                </a:lnTo>
                <a:lnTo>
                  <a:pt x="516" y="174"/>
                </a:lnTo>
                <a:lnTo>
                  <a:pt x="521" y="195"/>
                </a:lnTo>
                <a:lnTo>
                  <a:pt x="508" y="190"/>
                </a:lnTo>
                <a:lnTo>
                  <a:pt x="504" y="199"/>
                </a:lnTo>
                <a:lnTo>
                  <a:pt x="508" y="208"/>
                </a:lnTo>
                <a:lnTo>
                  <a:pt x="498" y="205"/>
                </a:lnTo>
                <a:lnTo>
                  <a:pt x="487" y="212"/>
                </a:lnTo>
                <a:lnTo>
                  <a:pt x="492" y="225"/>
                </a:lnTo>
                <a:lnTo>
                  <a:pt x="481" y="238"/>
                </a:lnTo>
                <a:lnTo>
                  <a:pt x="479" y="248"/>
                </a:lnTo>
                <a:lnTo>
                  <a:pt x="486" y="251"/>
                </a:lnTo>
                <a:lnTo>
                  <a:pt x="484" y="258"/>
                </a:lnTo>
                <a:lnTo>
                  <a:pt x="472" y="256"/>
                </a:lnTo>
                <a:lnTo>
                  <a:pt x="461" y="242"/>
                </a:lnTo>
                <a:lnTo>
                  <a:pt x="447" y="240"/>
                </a:lnTo>
                <a:lnTo>
                  <a:pt x="443" y="243"/>
                </a:lnTo>
                <a:lnTo>
                  <a:pt x="442" y="260"/>
                </a:lnTo>
                <a:lnTo>
                  <a:pt x="452" y="272"/>
                </a:lnTo>
                <a:lnTo>
                  <a:pt x="453" y="282"/>
                </a:lnTo>
                <a:lnTo>
                  <a:pt x="446" y="283"/>
                </a:lnTo>
                <a:lnTo>
                  <a:pt x="442" y="304"/>
                </a:lnTo>
                <a:lnTo>
                  <a:pt x="415" y="252"/>
                </a:lnTo>
                <a:lnTo>
                  <a:pt x="411" y="266"/>
                </a:lnTo>
                <a:lnTo>
                  <a:pt x="391" y="279"/>
                </a:lnTo>
                <a:lnTo>
                  <a:pt x="384" y="299"/>
                </a:lnTo>
                <a:lnTo>
                  <a:pt x="392" y="325"/>
                </a:lnTo>
                <a:lnTo>
                  <a:pt x="374" y="345"/>
                </a:lnTo>
                <a:lnTo>
                  <a:pt x="368" y="345"/>
                </a:lnTo>
                <a:lnTo>
                  <a:pt x="356" y="376"/>
                </a:lnTo>
                <a:lnTo>
                  <a:pt x="332" y="396"/>
                </a:lnTo>
                <a:lnTo>
                  <a:pt x="270" y="414"/>
                </a:lnTo>
                <a:lnTo>
                  <a:pt x="253" y="411"/>
                </a:lnTo>
                <a:lnTo>
                  <a:pt x="236" y="425"/>
                </a:lnTo>
                <a:lnTo>
                  <a:pt x="211" y="429"/>
                </a:lnTo>
                <a:lnTo>
                  <a:pt x="189" y="443"/>
                </a:lnTo>
                <a:lnTo>
                  <a:pt x="150" y="438"/>
                </a:lnTo>
                <a:lnTo>
                  <a:pt x="115" y="460"/>
                </a:lnTo>
                <a:lnTo>
                  <a:pt x="94" y="484"/>
                </a:lnTo>
                <a:lnTo>
                  <a:pt x="79" y="486"/>
                </a:lnTo>
                <a:lnTo>
                  <a:pt x="57" y="499"/>
                </a:lnTo>
                <a:lnTo>
                  <a:pt x="40" y="529"/>
                </a:lnTo>
                <a:lnTo>
                  <a:pt x="35" y="527"/>
                </a:lnTo>
                <a:lnTo>
                  <a:pt x="34" y="515"/>
                </a:lnTo>
                <a:lnTo>
                  <a:pt x="39" y="493"/>
                </a:lnTo>
                <a:lnTo>
                  <a:pt x="33" y="498"/>
                </a:lnTo>
                <a:lnTo>
                  <a:pt x="21" y="519"/>
                </a:lnTo>
                <a:lnTo>
                  <a:pt x="17" y="536"/>
                </a:lnTo>
                <a:lnTo>
                  <a:pt x="23" y="546"/>
                </a:lnTo>
                <a:lnTo>
                  <a:pt x="23" y="568"/>
                </a:lnTo>
                <a:lnTo>
                  <a:pt x="7" y="595"/>
                </a:lnTo>
                <a:lnTo>
                  <a:pt x="7" y="618"/>
                </a:lnTo>
                <a:lnTo>
                  <a:pt x="29" y="662"/>
                </a:lnTo>
                <a:lnTo>
                  <a:pt x="28" y="668"/>
                </a:lnTo>
                <a:lnTo>
                  <a:pt x="41" y="680"/>
                </a:lnTo>
                <a:lnTo>
                  <a:pt x="43" y="695"/>
                </a:lnTo>
                <a:lnTo>
                  <a:pt x="37" y="710"/>
                </a:lnTo>
                <a:lnTo>
                  <a:pt x="30" y="709"/>
                </a:lnTo>
                <a:lnTo>
                  <a:pt x="27" y="693"/>
                </a:lnTo>
                <a:lnTo>
                  <a:pt x="23" y="699"/>
                </a:lnTo>
                <a:lnTo>
                  <a:pt x="10" y="672"/>
                </a:lnTo>
                <a:lnTo>
                  <a:pt x="9" y="673"/>
                </a:lnTo>
                <a:lnTo>
                  <a:pt x="27" y="716"/>
                </a:lnTo>
                <a:lnTo>
                  <a:pt x="18" y="719"/>
                </a:lnTo>
                <a:lnTo>
                  <a:pt x="16" y="715"/>
                </a:lnTo>
                <a:lnTo>
                  <a:pt x="12" y="716"/>
                </a:lnTo>
                <a:lnTo>
                  <a:pt x="9" y="703"/>
                </a:lnTo>
                <a:lnTo>
                  <a:pt x="1" y="698"/>
                </a:lnTo>
                <a:lnTo>
                  <a:pt x="0" y="702"/>
                </a:lnTo>
                <a:lnTo>
                  <a:pt x="15" y="728"/>
                </a:lnTo>
                <a:lnTo>
                  <a:pt x="31" y="742"/>
                </a:lnTo>
                <a:lnTo>
                  <a:pt x="42" y="769"/>
                </a:lnTo>
                <a:lnTo>
                  <a:pt x="43" y="787"/>
                </a:lnTo>
                <a:lnTo>
                  <a:pt x="74" y="848"/>
                </a:lnTo>
                <a:lnTo>
                  <a:pt x="80" y="902"/>
                </a:lnTo>
                <a:lnTo>
                  <a:pt x="111" y="968"/>
                </a:lnTo>
                <a:lnTo>
                  <a:pt x="112" y="1010"/>
                </a:lnTo>
                <a:lnTo>
                  <a:pt x="108" y="1025"/>
                </a:lnTo>
                <a:lnTo>
                  <a:pt x="111" y="1042"/>
                </a:lnTo>
                <a:lnTo>
                  <a:pt x="98" y="1065"/>
                </a:lnTo>
                <a:lnTo>
                  <a:pt x="83" y="1064"/>
                </a:lnTo>
                <a:close/>
              </a:path>
            </a:pathLst>
          </a:custGeom>
          <a:solidFill>
            <a:schemeClr val="accent1"/>
          </a:solidFill>
          <a:ln w="6350">
            <a:solidFill>
              <a:schemeClr val="tx2"/>
            </a:solidFill>
            <a:round/>
            <a:headEnd/>
            <a:tailEnd/>
          </a:ln>
        </p:spPr>
        <p:txBody>
          <a:bodyPr/>
          <a:lstStyle/>
          <a:p>
            <a:endParaRPr lang="en-US"/>
          </a:p>
        </p:txBody>
      </p:sp>
      <p:sp>
        <p:nvSpPr>
          <p:cNvPr id="431" name="Freeform 1536"/>
          <p:cNvSpPr>
            <a:spLocks/>
          </p:cNvSpPr>
          <p:nvPr/>
        </p:nvSpPr>
        <p:spPr bwMode="auto">
          <a:xfrm>
            <a:off x="9026948" y="4461702"/>
            <a:ext cx="8600" cy="3821"/>
          </a:xfrm>
          <a:custGeom>
            <a:avLst/>
            <a:gdLst>
              <a:gd name="T0" fmla="*/ 2147483647 w 17"/>
              <a:gd name="T1" fmla="*/ 2147483647 h 7"/>
              <a:gd name="T2" fmla="*/ 0 w 17"/>
              <a:gd name="T3" fmla="*/ 2147483647 h 7"/>
              <a:gd name="T4" fmla="*/ 2147483647 w 17"/>
              <a:gd name="T5" fmla="*/ 0 h 7"/>
              <a:gd name="T6" fmla="*/ 2147483647 w 17"/>
              <a:gd name="T7" fmla="*/ 2147483647 h 7"/>
              <a:gd name="T8" fmla="*/ 2147483647 w 17"/>
              <a:gd name="T9" fmla="*/ 2147483647 h 7"/>
              <a:gd name="T10" fmla="*/ 0 60000 65536"/>
              <a:gd name="T11" fmla="*/ 0 60000 65536"/>
              <a:gd name="T12" fmla="*/ 0 60000 65536"/>
              <a:gd name="T13" fmla="*/ 0 60000 65536"/>
              <a:gd name="T14" fmla="*/ 0 60000 65536"/>
              <a:gd name="T15" fmla="*/ 0 w 17"/>
              <a:gd name="T16" fmla="*/ 0 h 7"/>
              <a:gd name="T17" fmla="*/ 17 w 17"/>
              <a:gd name="T18" fmla="*/ 7 h 7"/>
            </a:gdLst>
            <a:ahLst/>
            <a:cxnLst>
              <a:cxn ang="T10">
                <a:pos x="T0" y="T1"/>
              </a:cxn>
              <a:cxn ang="T11">
                <a:pos x="T2" y="T3"/>
              </a:cxn>
              <a:cxn ang="T12">
                <a:pos x="T4" y="T5"/>
              </a:cxn>
              <a:cxn ang="T13">
                <a:pos x="T6" y="T7"/>
              </a:cxn>
              <a:cxn ang="T14">
                <a:pos x="T8" y="T9"/>
              </a:cxn>
            </a:cxnLst>
            <a:rect l="T15" t="T16" r="T17" b="T18"/>
            <a:pathLst>
              <a:path w="17" h="7">
                <a:moveTo>
                  <a:pt x="2" y="4"/>
                </a:moveTo>
                <a:lnTo>
                  <a:pt x="0" y="2"/>
                </a:lnTo>
                <a:lnTo>
                  <a:pt x="7" y="0"/>
                </a:lnTo>
                <a:lnTo>
                  <a:pt x="17" y="7"/>
                </a:lnTo>
                <a:lnTo>
                  <a:pt x="2" y="4"/>
                </a:lnTo>
                <a:close/>
              </a:path>
            </a:pathLst>
          </a:custGeom>
          <a:solidFill>
            <a:schemeClr val="accent1"/>
          </a:solidFill>
          <a:ln w="6350">
            <a:solidFill>
              <a:schemeClr val="tx2"/>
            </a:solidFill>
            <a:round/>
            <a:headEnd/>
            <a:tailEnd/>
          </a:ln>
        </p:spPr>
        <p:txBody>
          <a:bodyPr/>
          <a:lstStyle/>
          <a:p>
            <a:endParaRPr lang="en-US"/>
          </a:p>
        </p:txBody>
      </p:sp>
      <p:sp>
        <p:nvSpPr>
          <p:cNvPr id="432" name="Freeform 1537"/>
          <p:cNvSpPr>
            <a:spLocks/>
          </p:cNvSpPr>
          <p:nvPr/>
        </p:nvSpPr>
        <p:spPr bwMode="auto">
          <a:xfrm>
            <a:off x="7923277" y="4357262"/>
            <a:ext cx="186334" cy="52220"/>
          </a:xfrm>
          <a:custGeom>
            <a:avLst/>
            <a:gdLst>
              <a:gd name="T0" fmla="*/ 2147483647 w 396"/>
              <a:gd name="T1" fmla="*/ 2147483647 h 124"/>
              <a:gd name="T2" fmla="*/ 2147483647 w 396"/>
              <a:gd name="T3" fmla="*/ 2147483647 h 124"/>
              <a:gd name="T4" fmla="*/ 2147483647 w 396"/>
              <a:gd name="T5" fmla="*/ 2147483647 h 124"/>
              <a:gd name="T6" fmla="*/ 2147483647 w 396"/>
              <a:gd name="T7" fmla="*/ 2147483647 h 124"/>
              <a:gd name="T8" fmla="*/ 2147483647 w 396"/>
              <a:gd name="T9" fmla="*/ 2147483647 h 124"/>
              <a:gd name="T10" fmla="*/ 2147483647 w 396"/>
              <a:gd name="T11" fmla="*/ 2147483647 h 124"/>
              <a:gd name="T12" fmla="*/ 2147483647 w 396"/>
              <a:gd name="T13" fmla="*/ 2147483647 h 124"/>
              <a:gd name="T14" fmla="*/ 2147483647 w 396"/>
              <a:gd name="T15" fmla="*/ 2147483647 h 124"/>
              <a:gd name="T16" fmla="*/ 2147483647 w 396"/>
              <a:gd name="T17" fmla="*/ 2147483647 h 124"/>
              <a:gd name="T18" fmla="*/ 2147483647 w 396"/>
              <a:gd name="T19" fmla="*/ 2147483647 h 124"/>
              <a:gd name="T20" fmla="*/ 2147483647 w 396"/>
              <a:gd name="T21" fmla="*/ 2147483647 h 124"/>
              <a:gd name="T22" fmla="*/ 2147483647 w 396"/>
              <a:gd name="T23" fmla="*/ 2147483647 h 124"/>
              <a:gd name="T24" fmla="*/ 0 w 396"/>
              <a:gd name="T25" fmla="*/ 2147483647 h 124"/>
              <a:gd name="T26" fmla="*/ 2147483647 w 396"/>
              <a:gd name="T27" fmla="*/ 2147483647 h 124"/>
              <a:gd name="T28" fmla="*/ 2147483647 w 396"/>
              <a:gd name="T29" fmla="*/ 2147483647 h 124"/>
              <a:gd name="T30" fmla="*/ 2147483647 w 396"/>
              <a:gd name="T31" fmla="*/ 2147483647 h 124"/>
              <a:gd name="T32" fmla="*/ 2147483647 w 396"/>
              <a:gd name="T33" fmla="*/ 0 h 124"/>
              <a:gd name="T34" fmla="*/ 2147483647 w 396"/>
              <a:gd name="T35" fmla="*/ 2147483647 h 124"/>
              <a:gd name="T36" fmla="*/ 2147483647 w 396"/>
              <a:gd name="T37" fmla="*/ 0 h 124"/>
              <a:gd name="T38" fmla="*/ 2147483647 w 396"/>
              <a:gd name="T39" fmla="*/ 2147483647 h 124"/>
              <a:gd name="T40" fmla="*/ 2147483647 w 396"/>
              <a:gd name="T41" fmla="*/ 2147483647 h 124"/>
              <a:gd name="T42" fmla="*/ 2147483647 w 396"/>
              <a:gd name="T43" fmla="*/ 2147483647 h 124"/>
              <a:gd name="T44" fmla="*/ 2147483647 w 396"/>
              <a:gd name="T45" fmla="*/ 2147483647 h 124"/>
              <a:gd name="T46" fmla="*/ 2147483647 w 396"/>
              <a:gd name="T47" fmla="*/ 2147483647 h 124"/>
              <a:gd name="T48" fmla="*/ 2147483647 w 396"/>
              <a:gd name="T49" fmla="*/ 2147483647 h 124"/>
              <a:gd name="T50" fmla="*/ 2147483647 w 396"/>
              <a:gd name="T51" fmla="*/ 2147483647 h 124"/>
              <a:gd name="T52" fmla="*/ 2147483647 w 396"/>
              <a:gd name="T53" fmla="*/ 2147483647 h 124"/>
              <a:gd name="T54" fmla="*/ 2147483647 w 396"/>
              <a:gd name="T55" fmla="*/ 2147483647 h 124"/>
              <a:gd name="T56" fmla="*/ 2147483647 w 396"/>
              <a:gd name="T57" fmla="*/ 2147483647 h 124"/>
              <a:gd name="T58" fmla="*/ 2147483647 w 396"/>
              <a:gd name="T59" fmla="*/ 2147483647 h 124"/>
              <a:gd name="T60" fmla="*/ 2147483647 w 396"/>
              <a:gd name="T61" fmla="*/ 2147483647 h 124"/>
              <a:gd name="T62" fmla="*/ 2147483647 w 396"/>
              <a:gd name="T63" fmla="*/ 2147483647 h 124"/>
              <a:gd name="T64" fmla="*/ 2147483647 w 396"/>
              <a:gd name="T65" fmla="*/ 2147483647 h 124"/>
              <a:gd name="T66" fmla="*/ 2147483647 w 396"/>
              <a:gd name="T67" fmla="*/ 2147483647 h 124"/>
              <a:gd name="T68" fmla="*/ 2147483647 w 396"/>
              <a:gd name="T69" fmla="*/ 2147483647 h 124"/>
              <a:gd name="T70" fmla="*/ 2147483647 w 396"/>
              <a:gd name="T71" fmla="*/ 2147483647 h 124"/>
              <a:gd name="T72" fmla="*/ 2147483647 w 396"/>
              <a:gd name="T73" fmla="*/ 2147483647 h 124"/>
              <a:gd name="T74" fmla="*/ 2147483647 w 396"/>
              <a:gd name="T75" fmla="*/ 2147483647 h 124"/>
              <a:gd name="T76" fmla="*/ 2147483647 w 396"/>
              <a:gd name="T77" fmla="*/ 2147483647 h 124"/>
              <a:gd name="T78" fmla="*/ 2147483647 w 396"/>
              <a:gd name="T79" fmla="*/ 2147483647 h 124"/>
              <a:gd name="T80" fmla="*/ 2147483647 w 396"/>
              <a:gd name="T81" fmla="*/ 2147483647 h 124"/>
              <a:gd name="T82" fmla="*/ 2147483647 w 396"/>
              <a:gd name="T83" fmla="*/ 2147483647 h 124"/>
              <a:gd name="T84" fmla="*/ 2147483647 w 396"/>
              <a:gd name="T85" fmla="*/ 2147483647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6"/>
              <a:gd name="T130" fmla="*/ 0 h 124"/>
              <a:gd name="T131" fmla="*/ 396 w 396"/>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6" h="124">
                <a:moveTo>
                  <a:pt x="292" y="101"/>
                </a:moveTo>
                <a:lnTo>
                  <a:pt x="276" y="106"/>
                </a:lnTo>
                <a:lnTo>
                  <a:pt x="255" y="97"/>
                </a:lnTo>
                <a:lnTo>
                  <a:pt x="236" y="98"/>
                </a:lnTo>
                <a:lnTo>
                  <a:pt x="189" y="77"/>
                </a:lnTo>
                <a:lnTo>
                  <a:pt x="148" y="74"/>
                </a:lnTo>
                <a:lnTo>
                  <a:pt x="137" y="80"/>
                </a:lnTo>
                <a:lnTo>
                  <a:pt x="100" y="70"/>
                </a:lnTo>
                <a:lnTo>
                  <a:pt x="73" y="67"/>
                </a:lnTo>
                <a:lnTo>
                  <a:pt x="47" y="57"/>
                </a:lnTo>
                <a:lnTo>
                  <a:pt x="54" y="46"/>
                </a:lnTo>
                <a:lnTo>
                  <a:pt x="4" y="37"/>
                </a:lnTo>
                <a:lnTo>
                  <a:pt x="0" y="27"/>
                </a:lnTo>
                <a:lnTo>
                  <a:pt x="5" y="33"/>
                </a:lnTo>
                <a:lnTo>
                  <a:pt x="15" y="30"/>
                </a:lnTo>
                <a:lnTo>
                  <a:pt x="30" y="3"/>
                </a:lnTo>
                <a:lnTo>
                  <a:pt x="40" y="0"/>
                </a:lnTo>
                <a:lnTo>
                  <a:pt x="68" y="5"/>
                </a:lnTo>
                <a:lnTo>
                  <a:pt x="87" y="0"/>
                </a:lnTo>
                <a:lnTo>
                  <a:pt x="94" y="11"/>
                </a:lnTo>
                <a:lnTo>
                  <a:pt x="127" y="16"/>
                </a:lnTo>
                <a:lnTo>
                  <a:pt x="144" y="37"/>
                </a:lnTo>
                <a:lnTo>
                  <a:pt x="152" y="38"/>
                </a:lnTo>
                <a:lnTo>
                  <a:pt x="182" y="38"/>
                </a:lnTo>
                <a:lnTo>
                  <a:pt x="217" y="44"/>
                </a:lnTo>
                <a:lnTo>
                  <a:pt x="222" y="42"/>
                </a:lnTo>
                <a:lnTo>
                  <a:pt x="231" y="25"/>
                </a:lnTo>
                <a:lnTo>
                  <a:pt x="243" y="21"/>
                </a:lnTo>
                <a:lnTo>
                  <a:pt x="254" y="33"/>
                </a:lnTo>
                <a:lnTo>
                  <a:pt x="268" y="29"/>
                </a:lnTo>
                <a:lnTo>
                  <a:pt x="291" y="40"/>
                </a:lnTo>
                <a:lnTo>
                  <a:pt x="311" y="43"/>
                </a:lnTo>
                <a:lnTo>
                  <a:pt x="323" y="58"/>
                </a:lnTo>
                <a:lnTo>
                  <a:pt x="325" y="71"/>
                </a:lnTo>
                <a:lnTo>
                  <a:pt x="332" y="75"/>
                </a:lnTo>
                <a:lnTo>
                  <a:pt x="376" y="74"/>
                </a:lnTo>
                <a:lnTo>
                  <a:pt x="391" y="80"/>
                </a:lnTo>
                <a:lnTo>
                  <a:pt x="389" y="107"/>
                </a:lnTo>
                <a:lnTo>
                  <a:pt x="396" y="124"/>
                </a:lnTo>
                <a:lnTo>
                  <a:pt x="388" y="117"/>
                </a:lnTo>
                <a:lnTo>
                  <a:pt x="338" y="102"/>
                </a:lnTo>
                <a:lnTo>
                  <a:pt x="318" y="108"/>
                </a:lnTo>
                <a:lnTo>
                  <a:pt x="292" y="101"/>
                </a:lnTo>
                <a:close/>
              </a:path>
            </a:pathLst>
          </a:custGeom>
          <a:solidFill>
            <a:schemeClr val="accent1"/>
          </a:solidFill>
          <a:ln w="6350">
            <a:solidFill>
              <a:schemeClr val="tx2"/>
            </a:solidFill>
            <a:round/>
            <a:headEnd/>
            <a:tailEnd/>
          </a:ln>
        </p:spPr>
        <p:txBody>
          <a:bodyPr/>
          <a:lstStyle/>
          <a:p>
            <a:endParaRPr lang="en-US"/>
          </a:p>
        </p:txBody>
      </p:sp>
      <p:sp>
        <p:nvSpPr>
          <p:cNvPr id="433" name="Freeform 1538"/>
          <p:cNvSpPr>
            <a:spLocks/>
          </p:cNvSpPr>
          <p:nvPr/>
        </p:nvSpPr>
        <p:spPr bwMode="auto">
          <a:xfrm>
            <a:off x="8142578" y="4310136"/>
            <a:ext cx="4300" cy="12737"/>
          </a:xfrm>
          <a:custGeom>
            <a:avLst/>
            <a:gdLst>
              <a:gd name="T0" fmla="*/ 2147483647 w 11"/>
              <a:gd name="T1" fmla="*/ 0 h 31"/>
              <a:gd name="T2" fmla="*/ 2147483647 w 11"/>
              <a:gd name="T3" fmla="*/ 2147483647 h 31"/>
              <a:gd name="T4" fmla="*/ 2147483647 w 11"/>
              <a:gd name="T5" fmla="*/ 2147483647 h 31"/>
              <a:gd name="T6" fmla="*/ 0 w 11"/>
              <a:gd name="T7" fmla="*/ 2147483647 h 31"/>
              <a:gd name="T8" fmla="*/ 2147483647 w 11"/>
              <a:gd name="T9" fmla="*/ 0 h 31"/>
              <a:gd name="T10" fmla="*/ 0 60000 65536"/>
              <a:gd name="T11" fmla="*/ 0 60000 65536"/>
              <a:gd name="T12" fmla="*/ 0 60000 65536"/>
              <a:gd name="T13" fmla="*/ 0 60000 65536"/>
              <a:gd name="T14" fmla="*/ 0 60000 65536"/>
              <a:gd name="T15" fmla="*/ 0 w 11"/>
              <a:gd name="T16" fmla="*/ 0 h 31"/>
              <a:gd name="T17" fmla="*/ 11 w 11"/>
              <a:gd name="T18" fmla="*/ 31 h 31"/>
            </a:gdLst>
            <a:ahLst/>
            <a:cxnLst>
              <a:cxn ang="T10">
                <a:pos x="T0" y="T1"/>
              </a:cxn>
              <a:cxn ang="T11">
                <a:pos x="T2" y="T3"/>
              </a:cxn>
              <a:cxn ang="T12">
                <a:pos x="T4" y="T5"/>
              </a:cxn>
              <a:cxn ang="T13">
                <a:pos x="T6" y="T7"/>
              </a:cxn>
              <a:cxn ang="T14">
                <a:pos x="T8" y="T9"/>
              </a:cxn>
            </a:cxnLst>
            <a:rect l="T15" t="T16" r="T17" b="T18"/>
            <a:pathLst>
              <a:path w="11" h="31">
                <a:moveTo>
                  <a:pt x="6" y="0"/>
                </a:moveTo>
                <a:lnTo>
                  <a:pt x="11" y="25"/>
                </a:lnTo>
                <a:lnTo>
                  <a:pt x="2" y="31"/>
                </a:lnTo>
                <a:lnTo>
                  <a:pt x="0" y="10"/>
                </a:lnTo>
                <a:lnTo>
                  <a:pt x="6" y="0"/>
                </a:lnTo>
                <a:close/>
              </a:path>
            </a:pathLst>
          </a:custGeom>
          <a:solidFill>
            <a:schemeClr val="accent1"/>
          </a:solidFill>
          <a:ln w="6350">
            <a:solidFill>
              <a:schemeClr val="tx2"/>
            </a:solidFill>
            <a:round/>
            <a:headEnd/>
            <a:tailEnd/>
          </a:ln>
        </p:spPr>
        <p:txBody>
          <a:bodyPr/>
          <a:lstStyle/>
          <a:p>
            <a:endParaRPr lang="en-US"/>
          </a:p>
        </p:txBody>
      </p:sp>
      <p:sp>
        <p:nvSpPr>
          <p:cNvPr id="434" name="Freeform 1539"/>
          <p:cNvSpPr>
            <a:spLocks/>
          </p:cNvSpPr>
          <p:nvPr/>
        </p:nvSpPr>
        <p:spPr bwMode="auto">
          <a:xfrm>
            <a:off x="8164078" y="4047763"/>
            <a:ext cx="45867" cy="53493"/>
          </a:xfrm>
          <a:custGeom>
            <a:avLst/>
            <a:gdLst>
              <a:gd name="T0" fmla="*/ 2147483647 w 99"/>
              <a:gd name="T1" fmla="*/ 0 h 127"/>
              <a:gd name="T2" fmla="*/ 2147483647 w 99"/>
              <a:gd name="T3" fmla="*/ 0 h 127"/>
              <a:gd name="T4" fmla="*/ 2147483647 w 99"/>
              <a:gd name="T5" fmla="*/ 2147483647 h 127"/>
              <a:gd name="T6" fmla="*/ 2147483647 w 99"/>
              <a:gd name="T7" fmla="*/ 2147483647 h 127"/>
              <a:gd name="T8" fmla="*/ 2147483647 w 99"/>
              <a:gd name="T9" fmla="*/ 2147483647 h 127"/>
              <a:gd name="T10" fmla="*/ 2147483647 w 99"/>
              <a:gd name="T11" fmla="*/ 2147483647 h 127"/>
              <a:gd name="T12" fmla="*/ 2147483647 w 99"/>
              <a:gd name="T13" fmla="*/ 2147483647 h 127"/>
              <a:gd name="T14" fmla="*/ 2147483647 w 99"/>
              <a:gd name="T15" fmla="*/ 2147483647 h 127"/>
              <a:gd name="T16" fmla="*/ 0 w 99"/>
              <a:gd name="T17" fmla="*/ 2147483647 h 127"/>
              <a:gd name="T18" fmla="*/ 2147483647 w 99"/>
              <a:gd name="T19" fmla="*/ 2147483647 h 127"/>
              <a:gd name="T20" fmla="*/ 2147483647 w 99"/>
              <a:gd name="T21" fmla="*/ 2147483647 h 127"/>
              <a:gd name="T22" fmla="*/ 2147483647 w 99"/>
              <a:gd name="T23" fmla="*/ 2147483647 h 127"/>
              <a:gd name="T24" fmla="*/ 2147483647 w 99"/>
              <a:gd name="T25" fmla="*/ 2147483647 h 127"/>
              <a:gd name="T26" fmla="*/ 2147483647 w 99"/>
              <a:gd name="T27" fmla="*/ 2147483647 h 127"/>
              <a:gd name="T28" fmla="*/ 2147483647 w 99"/>
              <a:gd name="T29" fmla="*/ 2147483647 h 127"/>
              <a:gd name="T30" fmla="*/ 2147483647 w 99"/>
              <a:gd name="T31" fmla="*/ 2147483647 h 127"/>
              <a:gd name="T32" fmla="*/ 2147483647 w 99"/>
              <a:gd name="T33" fmla="*/ 2147483647 h 127"/>
              <a:gd name="T34" fmla="*/ 2147483647 w 99"/>
              <a:gd name="T35" fmla="*/ 0 h 1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
              <a:gd name="T55" fmla="*/ 0 h 127"/>
              <a:gd name="T56" fmla="*/ 99 w 99"/>
              <a:gd name="T57" fmla="*/ 127 h 1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 h="127">
                <a:moveTo>
                  <a:pt x="94" y="0"/>
                </a:moveTo>
                <a:lnTo>
                  <a:pt x="98" y="0"/>
                </a:lnTo>
                <a:lnTo>
                  <a:pt x="99" y="13"/>
                </a:lnTo>
                <a:lnTo>
                  <a:pt x="99" y="40"/>
                </a:lnTo>
                <a:lnTo>
                  <a:pt x="68" y="65"/>
                </a:lnTo>
                <a:lnTo>
                  <a:pt x="65" y="76"/>
                </a:lnTo>
                <a:lnTo>
                  <a:pt x="29" y="110"/>
                </a:lnTo>
                <a:lnTo>
                  <a:pt x="5" y="127"/>
                </a:lnTo>
                <a:lnTo>
                  <a:pt x="0" y="126"/>
                </a:lnTo>
                <a:lnTo>
                  <a:pt x="8" y="106"/>
                </a:lnTo>
                <a:lnTo>
                  <a:pt x="29" y="91"/>
                </a:lnTo>
                <a:lnTo>
                  <a:pt x="70" y="47"/>
                </a:lnTo>
                <a:lnTo>
                  <a:pt x="82" y="40"/>
                </a:lnTo>
                <a:lnTo>
                  <a:pt x="87" y="21"/>
                </a:lnTo>
                <a:lnTo>
                  <a:pt x="89" y="25"/>
                </a:lnTo>
                <a:lnTo>
                  <a:pt x="92" y="23"/>
                </a:lnTo>
                <a:lnTo>
                  <a:pt x="87" y="17"/>
                </a:lnTo>
                <a:lnTo>
                  <a:pt x="94" y="0"/>
                </a:lnTo>
                <a:close/>
              </a:path>
            </a:pathLst>
          </a:custGeom>
          <a:solidFill>
            <a:schemeClr val="accent1"/>
          </a:solidFill>
          <a:ln w="6350">
            <a:solidFill>
              <a:schemeClr val="tx2"/>
            </a:solidFill>
            <a:round/>
            <a:headEnd/>
            <a:tailEnd/>
          </a:ln>
        </p:spPr>
        <p:txBody>
          <a:bodyPr/>
          <a:lstStyle/>
          <a:p>
            <a:endParaRPr lang="en-US"/>
          </a:p>
        </p:txBody>
      </p:sp>
      <p:sp>
        <p:nvSpPr>
          <p:cNvPr id="435" name="Freeform 1540"/>
          <p:cNvSpPr>
            <a:spLocks/>
          </p:cNvSpPr>
          <p:nvPr/>
        </p:nvSpPr>
        <p:spPr bwMode="auto">
          <a:xfrm>
            <a:off x="8215678" y="4037574"/>
            <a:ext cx="5734" cy="3820"/>
          </a:xfrm>
          <a:custGeom>
            <a:avLst/>
            <a:gdLst>
              <a:gd name="T0" fmla="*/ 0 w 9"/>
              <a:gd name="T1" fmla="*/ 0 h 11"/>
              <a:gd name="T2" fmla="*/ 2147483647 w 9"/>
              <a:gd name="T3" fmla="*/ 2147483647 h 11"/>
              <a:gd name="T4" fmla="*/ 2147483647 w 9"/>
              <a:gd name="T5" fmla="*/ 2147483647 h 11"/>
              <a:gd name="T6" fmla="*/ 0 w 9"/>
              <a:gd name="T7" fmla="*/ 0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0" y="0"/>
                </a:moveTo>
                <a:lnTo>
                  <a:pt x="9" y="6"/>
                </a:lnTo>
                <a:lnTo>
                  <a:pt x="7" y="11"/>
                </a:lnTo>
                <a:lnTo>
                  <a:pt x="0" y="0"/>
                </a:lnTo>
                <a:close/>
              </a:path>
            </a:pathLst>
          </a:custGeom>
          <a:solidFill>
            <a:schemeClr val="accent1"/>
          </a:solidFill>
          <a:ln w="6350">
            <a:solidFill>
              <a:schemeClr val="tx2"/>
            </a:solidFill>
            <a:round/>
            <a:headEnd/>
            <a:tailEnd/>
          </a:ln>
        </p:spPr>
        <p:txBody>
          <a:bodyPr/>
          <a:lstStyle/>
          <a:p>
            <a:endParaRPr lang="en-US"/>
          </a:p>
        </p:txBody>
      </p:sp>
      <p:sp>
        <p:nvSpPr>
          <p:cNvPr id="436" name="Freeform 1541"/>
          <p:cNvSpPr>
            <a:spLocks/>
          </p:cNvSpPr>
          <p:nvPr/>
        </p:nvSpPr>
        <p:spPr bwMode="auto">
          <a:xfrm>
            <a:off x="8217111" y="4029932"/>
            <a:ext cx="8600" cy="5095"/>
          </a:xfrm>
          <a:custGeom>
            <a:avLst/>
            <a:gdLst>
              <a:gd name="T0" fmla="*/ 0 w 15"/>
              <a:gd name="T1" fmla="*/ 0 h 12"/>
              <a:gd name="T2" fmla="*/ 2147483647 w 15"/>
              <a:gd name="T3" fmla="*/ 2147483647 h 12"/>
              <a:gd name="T4" fmla="*/ 2147483647 w 15"/>
              <a:gd name="T5" fmla="*/ 2147483647 h 12"/>
              <a:gd name="T6" fmla="*/ 0 w 15"/>
              <a:gd name="T7" fmla="*/ 0 h 12"/>
              <a:gd name="T8" fmla="*/ 0 60000 65536"/>
              <a:gd name="T9" fmla="*/ 0 60000 65536"/>
              <a:gd name="T10" fmla="*/ 0 60000 65536"/>
              <a:gd name="T11" fmla="*/ 0 60000 65536"/>
              <a:gd name="T12" fmla="*/ 0 w 15"/>
              <a:gd name="T13" fmla="*/ 0 h 12"/>
              <a:gd name="T14" fmla="*/ 15 w 15"/>
              <a:gd name="T15" fmla="*/ 12 h 12"/>
            </a:gdLst>
            <a:ahLst/>
            <a:cxnLst>
              <a:cxn ang="T8">
                <a:pos x="T0" y="T1"/>
              </a:cxn>
              <a:cxn ang="T9">
                <a:pos x="T2" y="T3"/>
              </a:cxn>
              <a:cxn ang="T10">
                <a:pos x="T4" y="T5"/>
              </a:cxn>
              <a:cxn ang="T11">
                <a:pos x="T6" y="T7"/>
              </a:cxn>
            </a:cxnLst>
            <a:rect l="T12" t="T13" r="T14" b="T15"/>
            <a:pathLst>
              <a:path w="15" h="12">
                <a:moveTo>
                  <a:pt x="0" y="0"/>
                </a:moveTo>
                <a:lnTo>
                  <a:pt x="15" y="12"/>
                </a:lnTo>
                <a:lnTo>
                  <a:pt x="5" y="9"/>
                </a:lnTo>
                <a:lnTo>
                  <a:pt x="0" y="0"/>
                </a:lnTo>
                <a:close/>
              </a:path>
            </a:pathLst>
          </a:custGeom>
          <a:solidFill>
            <a:schemeClr val="accent1"/>
          </a:solidFill>
          <a:ln w="6350">
            <a:solidFill>
              <a:schemeClr val="tx2"/>
            </a:solidFill>
            <a:round/>
            <a:headEnd/>
            <a:tailEnd/>
          </a:ln>
        </p:spPr>
        <p:txBody>
          <a:bodyPr/>
          <a:lstStyle/>
          <a:p>
            <a:endParaRPr lang="en-US"/>
          </a:p>
        </p:txBody>
      </p:sp>
      <p:sp>
        <p:nvSpPr>
          <p:cNvPr id="437" name="Freeform 1542"/>
          <p:cNvSpPr>
            <a:spLocks/>
          </p:cNvSpPr>
          <p:nvPr/>
        </p:nvSpPr>
        <p:spPr bwMode="auto">
          <a:xfrm>
            <a:off x="8227145" y="4008279"/>
            <a:ext cx="25800" cy="24200"/>
          </a:xfrm>
          <a:custGeom>
            <a:avLst/>
            <a:gdLst>
              <a:gd name="T0" fmla="*/ 0 w 52"/>
              <a:gd name="T1" fmla="*/ 2147483647 h 56"/>
              <a:gd name="T2" fmla="*/ 2147483647 w 52"/>
              <a:gd name="T3" fmla="*/ 0 h 56"/>
              <a:gd name="T4" fmla="*/ 2147483647 w 52"/>
              <a:gd name="T5" fmla="*/ 2147483647 h 56"/>
              <a:gd name="T6" fmla="*/ 2147483647 w 52"/>
              <a:gd name="T7" fmla="*/ 2147483647 h 56"/>
              <a:gd name="T8" fmla="*/ 2147483647 w 52"/>
              <a:gd name="T9" fmla="*/ 2147483647 h 56"/>
              <a:gd name="T10" fmla="*/ 2147483647 w 52"/>
              <a:gd name="T11" fmla="*/ 2147483647 h 56"/>
              <a:gd name="T12" fmla="*/ 2147483647 w 52"/>
              <a:gd name="T13" fmla="*/ 2147483647 h 56"/>
              <a:gd name="T14" fmla="*/ 2147483647 w 52"/>
              <a:gd name="T15" fmla="*/ 2147483647 h 56"/>
              <a:gd name="T16" fmla="*/ 0 w 52"/>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56"/>
              <a:gd name="T29" fmla="*/ 52 w 52"/>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56">
                <a:moveTo>
                  <a:pt x="0" y="2"/>
                </a:moveTo>
                <a:lnTo>
                  <a:pt x="28" y="0"/>
                </a:lnTo>
                <a:lnTo>
                  <a:pt x="48" y="14"/>
                </a:lnTo>
                <a:lnTo>
                  <a:pt x="52" y="39"/>
                </a:lnTo>
                <a:lnTo>
                  <a:pt x="47" y="48"/>
                </a:lnTo>
                <a:lnTo>
                  <a:pt x="36" y="56"/>
                </a:lnTo>
                <a:lnTo>
                  <a:pt x="27" y="45"/>
                </a:lnTo>
                <a:lnTo>
                  <a:pt x="14" y="13"/>
                </a:lnTo>
                <a:lnTo>
                  <a:pt x="0" y="2"/>
                </a:lnTo>
                <a:close/>
              </a:path>
            </a:pathLst>
          </a:custGeom>
          <a:solidFill>
            <a:schemeClr val="accent1"/>
          </a:solidFill>
          <a:ln w="6350">
            <a:solidFill>
              <a:schemeClr val="tx2"/>
            </a:solidFill>
            <a:round/>
            <a:headEnd/>
            <a:tailEnd/>
          </a:ln>
        </p:spPr>
        <p:txBody>
          <a:bodyPr/>
          <a:lstStyle/>
          <a:p>
            <a:endParaRPr lang="en-US"/>
          </a:p>
        </p:txBody>
      </p:sp>
      <p:sp>
        <p:nvSpPr>
          <p:cNvPr id="438" name="Freeform 1544"/>
          <p:cNvSpPr>
            <a:spLocks/>
          </p:cNvSpPr>
          <p:nvPr/>
        </p:nvSpPr>
        <p:spPr bwMode="auto">
          <a:xfrm>
            <a:off x="8257245" y="3980259"/>
            <a:ext cx="2866" cy="7642"/>
          </a:xfrm>
          <a:custGeom>
            <a:avLst/>
            <a:gdLst>
              <a:gd name="T0" fmla="*/ 0 w 5"/>
              <a:gd name="T1" fmla="*/ 2147483647 h 17"/>
              <a:gd name="T2" fmla="*/ 2147483647 w 5"/>
              <a:gd name="T3" fmla="*/ 0 h 17"/>
              <a:gd name="T4" fmla="*/ 2147483647 w 5"/>
              <a:gd name="T5" fmla="*/ 2147483647 h 17"/>
              <a:gd name="T6" fmla="*/ 2147483647 w 5"/>
              <a:gd name="T7" fmla="*/ 2147483647 h 17"/>
              <a:gd name="T8" fmla="*/ 0 w 5"/>
              <a:gd name="T9" fmla="*/ 2147483647 h 17"/>
              <a:gd name="T10" fmla="*/ 0 60000 65536"/>
              <a:gd name="T11" fmla="*/ 0 60000 65536"/>
              <a:gd name="T12" fmla="*/ 0 60000 65536"/>
              <a:gd name="T13" fmla="*/ 0 60000 65536"/>
              <a:gd name="T14" fmla="*/ 0 60000 65536"/>
              <a:gd name="T15" fmla="*/ 0 w 5"/>
              <a:gd name="T16" fmla="*/ 0 h 17"/>
              <a:gd name="T17" fmla="*/ 5 w 5"/>
              <a:gd name="T18" fmla="*/ 17 h 17"/>
            </a:gdLst>
            <a:ahLst/>
            <a:cxnLst>
              <a:cxn ang="T10">
                <a:pos x="T0" y="T1"/>
              </a:cxn>
              <a:cxn ang="T11">
                <a:pos x="T2" y="T3"/>
              </a:cxn>
              <a:cxn ang="T12">
                <a:pos x="T4" y="T5"/>
              </a:cxn>
              <a:cxn ang="T13">
                <a:pos x="T6" y="T7"/>
              </a:cxn>
              <a:cxn ang="T14">
                <a:pos x="T8" y="T9"/>
              </a:cxn>
            </a:cxnLst>
            <a:rect l="T15" t="T16" r="T17" b="T18"/>
            <a:pathLst>
              <a:path w="5" h="17">
                <a:moveTo>
                  <a:pt x="0" y="1"/>
                </a:moveTo>
                <a:lnTo>
                  <a:pt x="4" y="0"/>
                </a:lnTo>
                <a:lnTo>
                  <a:pt x="5" y="16"/>
                </a:lnTo>
                <a:lnTo>
                  <a:pt x="1" y="17"/>
                </a:lnTo>
                <a:lnTo>
                  <a:pt x="0" y="1"/>
                </a:lnTo>
                <a:close/>
              </a:path>
            </a:pathLst>
          </a:custGeom>
          <a:solidFill>
            <a:schemeClr val="accent1"/>
          </a:solidFill>
          <a:ln w="6350">
            <a:solidFill>
              <a:schemeClr val="tx2"/>
            </a:solidFill>
            <a:round/>
            <a:headEnd/>
            <a:tailEnd/>
          </a:ln>
        </p:spPr>
        <p:txBody>
          <a:bodyPr/>
          <a:lstStyle/>
          <a:p>
            <a:endParaRPr lang="en-US"/>
          </a:p>
        </p:txBody>
      </p:sp>
      <p:sp>
        <p:nvSpPr>
          <p:cNvPr id="439" name="Freeform 1545"/>
          <p:cNvSpPr>
            <a:spLocks/>
          </p:cNvSpPr>
          <p:nvPr/>
        </p:nvSpPr>
        <p:spPr bwMode="auto">
          <a:xfrm>
            <a:off x="8255812" y="4008279"/>
            <a:ext cx="5734" cy="5095"/>
          </a:xfrm>
          <a:custGeom>
            <a:avLst/>
            <a:gdLst>
              <a:gd name="T0" fmla="*/ 2147483647 w 11"/>
              <a:gd name="T1" fmla="*/ 2147483647 h 14"/>
              <a:gd name="T2" fmla="*/ 0 w 11"/>
              <a:gd name="T3" fmla="*/ 0 h 14"/>
              <a:gd name="T4" fmla="*/ 2147483647 w 11"/>
              <a:gd name="T5" fmla="*/ 2147483647 h 14"/>
              <a:gd name="T6" fmla="*/ 2147483647 w 11"/>
              <a:gd name="T7" fmla="*/ 2147483647 h 14"/>
              <a:gd name="T8" fmla="*/ 2147483647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2" y="9"/>
                </a:moveTo>
                <a:lnTo>
                  <a:pt x="0" y="0"/>
                </a:lnTo>
                <a:lnTo>
                  <a:pt x="11" y="2"/>
                </a:lnTo>
                <a:lnTo>
                  <a:pt x="11" y="14"/>
                </a:lnTo>
                <a:lnTo>
                  <a:pt x="2" y="9"/>
                </a:lnTo>
                <a:close/>
              </a:path>
            </a:pathLst>
          </a:custGeom>
          <a:solidFill>
            <a:schemeClr val="accent1"/>
          </a:solidFill>
          <a:ln w="6350">
            <a:solidFill>
              <a:schemeClr val="tx2"/>
            </a:solidFill>
            <a:round/>
            <a:headEnd/>
            <a:tailEnd/>
          </a:ln>
        </p:spPr>
        <p:txBody>
          <a:bodyPr/>
          <a:lstStyle/>
          <a:p>
            <a:endParaRPr lang="en-US"/>
          </a:p>
        </p:txBody>
      </p:sp>
      <p:sp>
        <p:nvSpPr>
          <p:cNvPr id="440" name="Freeform 1546"/>
          <p:cNvSpPr>
            <a:spLocks/>
          </p:cNvSpPr>
          <p:nvPr/>
        </p:nvSpPr>
        <p:spPr bwMode="auto">
          <a:xfrm>
            <a:off x="8295945" y="4021016"/>
            <a:ext cx="0" cy="8916"/>
          </a:xfrm>
          <a:custGeom>
            <a:avLst/>
            <a:gdLst>
              <a:gd name="T0" fmla="*/ 0 w 4"/>
              <a:gd name="T1" fmla="*/ 2147483647 h 20"/>
              <a:gd name="T2" fmla="*/ 0 w 4"/>
              <a:gd name="T3" fmla="*/ 0 h 20"/>
              <a:gd name="T4" fmla="*/ 0 w 4"/>
              <a:gd name="T5" fmla="*/ 0 h 20"/>
              <a:gd name="T6" fmla="*/ 0 w 4"/>
              <a:gd name="T7" fmla="*/ 2147483647 h 20"/>
              <a:gd name="T8" fmla="*/ 0 w 4"/>
              <a:gd name="T9" fmla="*/ 2147483647 h 20"/>
              <a:gd name="T10" fmla="*/ 0 60000 65536"/>
              <a:gd name="T11" fmla="*/ 0 60000 65536"/>
              <a:gd name="T12" fmla="*/ 0 60000 65536"/>
              <a:gd name="T13" fmla="*/ 0 60000 65536"/>
              <a:gd name="T14" fmla="*/ 0 60000 65536"/>
              <a:gd name="T15" fmla="*/ 0 w 4"/>
              <a:gd name="T16" fmla="*/ 0 h 20"/>
              <a:gd name="T17" fmla="*/ 0 w 4"/>
              <a:gd name="T18" fmla="*/ 20 h 20"/>
            </a:gdLst>
            <a:ahLst/>
            <a:cxnLst>
              <a:cxn ang="T10">
                <a:pos x="T0" y="T1"/>
              </a:cxn>
              <a:cxn ang="T11">
                <a:pos x="T2" y="T3"/>
              </a:cxn>
              <a:cxn ang="T12">
                <a:pos x="T4" y="T5"/>
              </a:cxn>
              <a:cxn ang="T13">
                <a:pos x="T6" y="T7"/>
              </a:cxn>
              <a:cxn ang="T14">
                <a:pos x="T8" y="T9"/>
              </a:cxn>
            </a:cxnLst>
            <a:rect l="T15" t="T16" r="T17" b="T18"/>
            <a:pathLst>
              <a:path w="4" h="20">
                <a:moveTo>
                  <a:pt x="0" y="7"/>
                </a:moveTo>
                <a:lnTo>
                  <a:pt x="1" y="0"/>
                </a:lnTo>
                <a:lnTo>
                  <a:pt x="4" y="0"/>
                </a:lnTo>
                <a:lnTo>
                  <a:pt x="1" y="20"/>
                </a:lnTo>
                <a:lnTo>
                  <a:pt x="0" y="7"/>
                </a:lnTo>
                <a:close/>
              </a:path>
            </a:pathLst>
          </a:custGeom>
          <a:solidFill>
            <a:schemeClr val="accent1"/>
          </a:solidFill>
          <a:ln w="6350">
            <a:solidFill>
              <a:schemeClr val="tx2"/>
            </a:solidFill>
            <a:round/>
            <a:headEnd/>
            <a:tailEnd/>
          </a:ln>
        </p:spPr>
        <p:txBody>
          <a:bodyPr/>
          <a:lstStyle/>
          <a:p>
            <a:endParaRPr lang="en-US"/>
          </a:p>
        </p:txBody>
      </p:sp>
      <p:sp>
        <p:nvSpPr>
          <p:cNvPr id="441" name="Freeform 1547"/>
          <p:cNvSpPr>
            <a:spLocks/>
          </p:cNvSpPr>
          <p:nvPr/>
        </p:nvSpPr>
        <p:spPr bwMode="auto">
          <a:xfrm>
            <a:off x="8301678" y="4023563"/>
            <a:ext cx="5734" cy="2547"/>
          </a:xfrm>
          <a:custGeom>
            <a:avLst/>
            <a:gdLst>
              <a:gd name="T0" fmla="*/ 0 w 9"/>
              <a:gd name="T1" fmla="*/ 2147483647 h 7"/>
              <a:gd name="T2" fmla="*/ 2147483647 w 9"/>
              <a:gd name="T3" fmla="*/ 0 h 7"/>
              <a:gd name="T4" fmla="*/ 2147483647 w 9"/>
              <a:gd name="T5" fmla="*/ 2147483647 h 7"/>
              <a:gd name="T6" fmla="*/ 0 w 9"/>
              <a:gd name="T7" fmla="*/ 2147483647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0" y="1"/>
                </a:moveTo>
                <a:lnTo>
                  <a:pt x="4" y="0"/>
                </a:lnTo>
                <a:lnTo>
                  <a:pt x="9" y="7"/>
                </a:lnTo>
                <a:lnTo>
                  <a:pt x="0" y="1"/>
                </a:lnTo>
                <a:close/>
              </a:path>
            </a:pathLst>
          </a:custGeom>
          <a:solidFill>
            <a:schemeClr val="accent1"/>
          </a:solidFill>
          <a:ln w="6350">
            <a:solidFill>
              <a:schemeClr val="tx2"/>
            </a:solidFill>
            <a:round/>
            <a:headEnd/>
            <a:tailEnd/>
          </a:ln>
        </p:spPr>
        <p:txBody>
          <a:bodyPr/>
          <a:lstStyle/>
          <a:p>
            <a:endParaRPr lang="en-US"/>
          </a:p>
        </p:txBody>
      </p:sp>
      <p:sp>
        <p:nvSpPr>
          <p:cNvPr id="442" name="Freeform 1548"/>
          <p:cNvSpPr>
            <a:spLocks/>
          </p:cNvSpPr>
          <p:nvPr/>
        </p:nvSpPr>
        <p:spPr bwMode="auto">
          <a:xfrm>
            <a:off x="8318878" y="4022290"/>
            <a:ext cx="18633" cy="14010"/>
          </a:xfrm>
          <a:custGeom>
            <a:avLst/>
            <a:gdLst>
              <a:gd name="T0" fmla="*/ 2147483647 w 36"/>
              <a:gd name="T1" fmla="*/ 0 h 35"/>
              <a:gd name="T2" fmla="*/ 2147483647 w 36"/>
              <a:gd name="T3" fmla="*/ 2147483647 h 35"/>
              <a:gd name="T4" fmla="*/ 2147483647 w 36"/>
              <a:gd name="T5" fmla="*/ 2147483647 h 35"/>
              <a:gd name="T6" fmla="*/ 2147483647 w 36"/>
              <a:gd name="T7" fmla="*/ 2147483647 h 35"/>
              <a:gd name="T8" fmla="*/ 2147483647 w 36"/>
              <a:gd name="T9" fmla="*/ 2147483647 h 35"/>
              <a:gd name="T10" fmla="*/ 0 w 36"/>
              <a:gd name="T11" fmla="*/ 2147483647 h 35"/>
              <a:gd name="T12" fmla="*/ 2147483647 w 36"/>
              <a:gd name="T13" fmla="*/ 0 h 35"/>
              <a:gd name="T14" fmla="*/ 0 60000 65536"/>
              <a:gd name="T15" fmla="*/ 0 60000 65536"/>
              <a:gd name="T16" fmla="*/ 0 60000 65536"/>
              <a:gd name="T17" fmla="*/ 0 60000 65536"/>
              <a:gd name="T18" fmla="*/ 0 60000 65536"/>
              <a:gd name="T19" fmla="*/ 0 60000 65536"/>
              <a:gd name="T20" fmla="*/ 0 60000 65536"/>
              <a:gd name="T21" fmla="*/ 0 w 36"/>
              <a:gd name="T22" fmla="*/ 0 h 35"/>
              <a:gd name="T23" fmla="*/ 36 w 36"/>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5">
                <a:moveTo>
                  <a:pt x="1" y="0"/>
                </a:moveTo>
                <a:lnTo>
                  <a:pt x="32" y="22"/>
                </a:lnTo>
                <a:lnTo>
                  <a:pt x="36" y="35"/>
                </a:lnTo>
                <a:lnTo>
                  <a:pt x="21" y="27"/>
                </a:lnTo>
                <a:lnTo>
                  <a:pt x="13" y="17"/>
                </a:lnTo>
                <a:lnTo>
                  <a:pt x="0" y="24"/>
                </a:lnTo>
                <a:lnTo>
                  <a:pt x="1" y="0"/>
                </a:lnTo>
                <a:close/>
              </a:path>
            </a:pathLst>
          </a:custGeom>
          <a:solidFill>
            <a:schemeClr val="accent1"/>
          </a:solidFill>
          <a:ln w="6350">
            <a:solidFill>
              <a:schemeClr val="tx2"/>
            </a:solidFill>
            <a:round/>
            <a:headEnd/>
            <a:tailEnd/>
          </a:ln>
        </p:spPr>
        <p:txBody>
          <a:bodyPr/>
          <a:lstStyle/>
          <a:p>
            <a:endParaRPr lang="en-US"/>
          </a:p>
        </p:txBody>
      </p:sp>
      <p:sp>
        <p:nvSpPr>
          <p:cNvPr id="443" name="Freeform 1549"/>
          <p:cNvSpPr>
            <a:spLocks/>
          </p:cNvSpPr>
          <p:nvPr/>
        </p:nvSpPr>
        <p:spPr bwMode="auto">
          <a:xfrm>
            <a:off x="8341812" y="4021016"/>
            <a:ext cx="28667" cy="28020"/>
          </a:xfrm>
          <a:custGeom>
            <a:avLst/>
            <a:gdLst>
              <a:gd name="T0" fmla="*/ 0 w 61"/>
              <a:gd name="T1" fmla="*/ 2147483647 h 66"/>
              <a:gd name="T2" fmla="*/ 2147483647 w 61"/>
              <a:gd name="T3" fmla="*/ 0 h 66"/>
              <a:gd name="T4" fmla="*/ 2147483647 w 61"/>
              <a:gd name="T5" fmla="*/ 2147483647 h 66"/>
              <a:gd name="T6" fmla="*/ 2147483647 w 61"/>
              <a:gd name="T7" fmla="*/ 2147483647 h 66"/>
              <a:gd name="T8" fmla="*/ 2147483647 w 61"/>
              <a:gd name="T9" fmla="*/ 2147483647 h 66"/>
              <a:gd name="T10" fmla="*/ 2147483647 w 61"/>
              <a:gd name="T11" fmla="*/ 2147483647 h 66"/>
              <a:gd name="T12" fmla="*/ 2147483647 w 61"/>
              <a:gd name="T13" fmla="*/ 2147483647 h 66"/>
              <a:gd name="T14" fmla="*/ 2147483647 w 61"/>
              <a:gd name="T15" fmla="*/ 2147483647 h 66"/>
              <a:gd name="T16" fmla="*/ 2147483647 w 61"/>
              <a:gd name="T17" fmla="*/ 2147483647 h 66"/>
              <a:gd name="T18" fmla="*/ 2147483647 w 61"/>
              <a:gd name="T19" fmla="*/ 2147483647 h 66"/>
              <a:gd name="T20" fmla="*/ 0 w 61"/>
              <a:gd name="T21" fmla="*/ 2147483647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66"/>
              <a:gd name="T35" fmla="*/ 61 w 61"/>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66">
                <a:moveTo>
                  <a:pt x="0" y="3"/>
                </a:moveTo>
                <a:lnTo>
                  <a:pt x="30" y="0"/>
                </a:lnTo>
                <a:lnTo>
                  <a:pt x="41" y="4"/>
                </a:lnTo>
                <a:lnTo>
                  <a:pt x="50" y="16"/>
                </a:lnTo>
                <a:lnTo>
                  <a:pt x="51" y="44"/>
                </a:lnTo>
                <a:lnTo>
                  <a:pt x="61" y="66"/>
                </a:lnTo>
                <a:lnTo>
                  <a:pt x="41" y="64"/>
                </a:lnTo>
                <a:lnTo>
                  <a:pt x="28" y="50"/>
                </a:lnTo>
                <a:lnTo>
                  <a:pt x="28" y="38"/>
                </a:lnTo>
                <a:lnTo>
                  <a:pt x="11" y="22"/>
                </a:lnTo>
                <a:lnTo>
                  <a:pt x="0" y="3"/>
                </a:lnTo>
                <a:close/>
              </a:path>
            </a:pathLst>
          </a:custGeom>
          <a:solidFill>
            <a:schemeClr val="accent1"/>
          </a:solidFill>
          <a:ln w="6350">
            <a:solidFill>
              <a:schemeClr val="tx2"/>
            </a:solidFill>
            <a:round/>
            <a:headEnd/>
            <a:tailEnd/>
          </a:ln>
        </p:spPr>
        <p:txBody>
          <a:bodyPr/>
          <a:lstStyle/>
          <a:p>
            <a:endParaRPr lang="en-US"/>
          </a:p>
        </p:txBody>
      </p:sp>
      <p:sp>
        <p:nvSpPr>
          <p:cNvPr id="444" name="Freeform 1550"/>
          <p:cNvSpPr>
            <a:spLocks/>
          </p:cNvSpPr>
          <p:nvPr/>
        </p:nvSpPr>
        <p:spPr bwMode="auto">
          <a:xfrm>
            <a:off x="8294511" y="4033752"/>
            <a:ext cx="21500" cy="28020"/>
          </a:xfrm>
          <a:custGeom>
            <a:avLst/>
            <a:gdLst>
              <a:gd name="T0" fmla="*/ 0 w 50"/>
              <a:gd name="T1" fmla="*/ 0 h 65"/>
              <a:gd name="T2" fmla="*/ 2147483647 w 50"/>
              <a:gd name="T3" fmla="*/ 2147483647 h 65"/>
              <a:gd name="T4" fmla="*/ 2147483647 w 50"/>
              <a:gd name="T5" fmla="*/ 2147483647 h 65"/>
              <a:gd name="T6" fmla="*/ 2147483647 w 50"/>
              <a:gd name="T7" fmla="*/ 2147483647 h 65"/>
              <a:gd name="T8" fmla="*/ 2147483647 w 50"/>
              <a:gd name="T9" fmla="*/ 2147483647 h 65"/>
              <a:gd name="T10" fmla="*/ 2147483647 w 50"/>
              <a:gd name="T11" fmla="*/ 2147483647 h 65"/>
              <a:gd name="T12" fmla="*/ 2147483647 w 50"/>
              <a:gd name="T13" fmla="*/ 2147483647 h 65"/>
              <a:gd name="T14" fmla="*/ 2147483647 w 50"/>
              <a:gd name="T15" fmla="*/ 2147483647 h 65"/>
              <a:gd name="T16" fmla="*/ 2147483647 w 50"/>
              <a:gd name="T17" fmla="*/ 2147483647 h 65"/>
              <a:gd name="T18" fmla="*/ 2147483647 w 50"/>
              <a:gd name="T19" fmla="*/ 2147483647 h 65"/>
              <a:gd name="T20" fmla="*/ 0 w 50"/>
              <a:gd name="T21" fmla="*/ 0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65"/>
              <a:gd name="T35" fmla="*/ 50 w 50"/>
              <a:gd name="T36" fmla="*/ 65 h 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65">
                <a:moveTo>
                  <a:pt x="0" y="0"/>
                </a:moveTo>
                <a:lnTo>
                  <a:pt x="9" y="1"/>
                </a:lnTo>
                <a:lnTo>
                  <a:pt x="21" y="14"/>
                </a:lnTo>
                <a:lnTo>
                  <a:pt x="50" y="17"/>
                </a:lnTo>
                <a:lnTo>
                  <a:pt x="48" y="35"/>
                </a:lnTo>
                <a:lnTo>
                  <a:pt x="29" y="51"/>
                </a:lnTo>
                <a:lnTo>
                  <a:pt x="9" y="58"/>
                </a:lnTo>
                <a:lnTo>
                  <a:pt x="4" y="65"/>
                </a:lnTo>
                <a:lnTo>
                  <a:pt x="1" y="46"/>
                </a:lnTo>
                <a:lnTo>
                  <a:pt x="6" y="14"/>
                </a:lnTo>
                <a:lnTo>
                  <a:pt x="0" y="0"/>
                </a:lnTo>
                <a:close/>
              </a:path>
            </a:pathLst>
          </a:custGeom>
          <a:solidFill>
            <a:schemeClr val="accent1"/>
          </a:solidFill>
          <a:ln w="6350">
            <a:solidFill>
              <a:schemeClr val="tx2"/>
            </a:solidFill>
            <a:round/>
            <a:headEnd/>
            <a:tailEnd/>
          </a:ln>
        </p:spPr>
        <p:txBody>
          <a:bodyPr/>
          <a:lstStyle/>
          <a:p>
            <a:endParaRPr lang="en-US"/>
          </a:p>
        </p:txBody>
      </p:sp>
      <p:sp>
        <p:nvSpPr>
          <p:cNvPr id="445" name="Freeform 1551"/>
          <p:cNvSpPr>
            <a:spLocks/>
          </p:cNvSpPr>
          <p:nvPr/>
        </p:nvSpPr>
        <p:spPr bwMode="auto">
          <a:xfrm>
            <a:off x="8303112" y="4051583"/>
            <a:ext cx="21500" cy="34390"/>
          </a:xfrm>
          <a:custGeom>
            <a:avLst/>
            <a:gdLst>
              <a:gd name="T0" fmla="*/ 2147483647 w 47"/>
              <a:gd name="T1" fmla="*/ 2147483647 h 83"/>
              <a:gd name="T2" fmla="*/ 2147483647 w 47"/>
              <a:gd name="T3" fmla="*/ 0 h 83"/>
              <a:gd name="T4" fmla="*/ 2147483647 w 47"/>
              <a:gd name="T5" fmla="*/ 2147483647 h 83"/>
              <a:gd name="T6" fmla="*/ 2147483647 w 47"/>
              <a:gd name="T7" fmla="*/ 2147483647 h 83"/>
              <a:gd name="T8" fmla="*/ 2147483647 w 47"/>
              <a:gd name="T9" fmla="*/ 2147483647 h 83"/>
              <a:gd name="T10" fmla="*/ 2147483647 w 47"/>
              <a:gd name="T11" fmla="*/ 2147483647 h 83"/>
              <a:gd name="T12" fmla="*/ 2147483647 w 47"/>
              <a:gd name="T13" fmla="*/ 2147483647 h 83"/>
              <a:gd name="T14" fmla="*/ 0 w 47"/>
              <a:gd name="T15" fmla="*/ 2147483647 h 83"/>
              <a:gd name="T16" fmla="*/ 2147483647 w 47"/>
              <a:gd name="T17" fmla="*/ 2147483647 h 83"/>
              <a:gd name="T18" fmla="*/ 2147483647 w 47"/>
              <a:gd name="T19" fmla="*/ 2147483647 h 83"/>
              <a:gd name="T20" fmla="*/ 2147483647 w 47"/>
              <a:gd name="T21" fmla="*/ 2147483647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83"/>
              <a:gd name="T35" fmla="*/ 47 w 4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83">
                <a:moveTo>
                  <a:pt x="23" y="5"/>
                </a:moveTo>
                <a:lnTo>
                  <a:pt x="32" y="0"/>
                </a:lnTo>
                <a:lnTo>
                  <a:pt x="47" y="3"/>
                </a:lnTo>
                <a:lnTo>
                  <a:pt x="47" y="10"/>
                </a:lnTo>
                <a:lnTo>
                  <a:pt x="34" y="48"/>
                </a:lnTo>
                <a:lnTo>
                  <a:pt x="35" y="78"/>
                </a:lnTo>
                <a:lnTo>
                  <a:pt x="28" y="83"/>
                </a:lnTo>
                <a:lnTo>
                  <a:pt x="0" y="54"/>
                </a:lnTo>
                <a:lnTo>
                  <a:pt x="3" y="44"/>
                </a:lnTo>
                <a:lnTo>
                  <a:pt x="14" y="40"/>
                </a:lnTo>
                <a:lnTo>
                  <a:pt x="23" y="5"/>
                </a:lnTo>
                <a:close/>
              </a:path>
            </a:pathLst>
          </a:custGeom>
          <a:solidFill>
            <a:schemeClr val="accent1"/>
          </a:solidFill>
          <a:ln w="6350">
            <a:solidFill>
              <a:schemeClr val="tx2"/>
            </a:solidFill>
            <a:round/>
            <a:headEnd/>
            <a:tailEnd/>
          </a:ln>
        </p:spPr>
        <p:txBody>
          <a:bodyPr/>
          <a:lstStyle/>
          <a:p>
            <a:endParaRPr lang="en-US"/>
          </a:p>
        </p:txBody>
      </p:sp>
      <p:sp>
        <p:nvSpPr>
          <p:cNvPr id="446" name="Freeform 1552"/>
          <p:cNvSpPr>
            <a:spLocks/>
          </p:cNvSpPr>
          <p:nvPr/>
        </p:nvSpPr>
        <p:spPr bwMode="auto">
          <a:xfrm>
            <a:off x="8341812" y="4041394"/>
            <a:ext cx="17201" cy="26747"/>
          </a:xfrm>
          <a:custGeom>
            <a:avLst/>
            <a:gdLst>
              <a:gd name="T0" fmla="*/ 0 w 40"/>
              <a:gd name="T1" fmla="*/ 0 h 63"/>
              <a:gd name="T2" fmla="*/ 2147483647 w 40"/>
              <a:gd name="T3" fmla="*/ 2147483647 h 63"/>
              <a:gd name="T4" fmla="*/ 2147483647 w 40"/>
              <a:gd name="T5" fmla="*/ 2147483647 h 63"/>
              <a:gd name="T6" fmla="*/ 2147483647 w 40"/>
              <a:gd name="T7" fmla="*/ 2147483647 h 63"/>
              <a:gd name="T8" fmla="*/ 2147483647 w 40"/>
              <a:gd name="T9" fmla="*/ 2147483647 h 63"/>
              <a:gd name="T10" fmla="*/ 2147483647 w 40"/>
              <a:gd name="T11" fmla="*/ 2147483647 h 63"/>
              <a:gd name="T12" fmla="*/ 2147483647 w 40"/>
              <a:gd name="T13" fmla="*/ 2147483647 h 63"/>
              <a:gd name="T14" fmla="*/ 2147483647 w 40"/>
              <a:gd name="T15" fmla="*/ 2147483647 h 63"/>
              <a:gd name="T16" fmla="*/ 2147483647 w 40"/>
              <a:gd name="T17" fmla="*/ 2147483647 h 63"/>
              <a:gd name="T18" fmla="*/ 2147483647 w 40"/>
              <a:gd name="T19" fmla="*/ 2147483647 h 63"/>
              <a:gd name="T20" fmla="*/ 2147483647 w 40"/>
              <a:gd name="T21" fmla="*/ 2147483647 h 63"/>
              <a:gd name="T22" fmla="*/ 0 w 40"/>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63"/>
              <a:gd name="T38" fmla="*/ 40 w 4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63">
                <a:moveTo>
                  <a:pt x="0" y="0"/>
                </a:moveTo>
                <a:lnTo>
                  <a:pt x="5" y="6"/>
                </a:lnTo>
                <a:lnTo>
                  <a:pt x="24" y="6"/>
                </a:lnTo>
                <a:lnTo>
                  <a:pt x="30" y="14"/>
                </a:lnTo>
                <a:lnTo>
                  <a:pt x="30" y="33"/>
                </a:lnTo>
                <a:lnTo>
                  <a:pt x="40" y="53"/>
                </a:lnTo>
                <a:lnTo>
                  <a:pt x="31" y="54"/>
                </a:lnTo>
                <a:lnTo>
                  <a:pt x="30" y="63"/>
                </a:lnTo>
                <a:lnTo>
                  <a:pt x="20" y="53"/>
                </a:lnTo>
                <a:lnTo>
                  <a:pt x="16" y="24"/>
                </a:lnTo>
                <a:lnTo>
                  <a:pt x="7" y="26"/>
                </a:lnTo>
                <a:lnTo>
                  <a:pt x="0" y="0"/>
                </a:lnTo>
                <a:close/>
              </a:path>
            </a:pathLst>
          </a:custGeom>
          <a:solidFill>
            <a:schemeClr val="accent1"/>
          </a:solidFill>
          <a:ln w="6350">
            <a:solidFill>
              <a:schemeClr val="tx2"/>
            </a:solidFill>
            <a:round/>
            <a:headEnd/>
            <a:tailEnd/>
          </a:ln>
        </p:spPr>
        <p:txBody>
          <a:bodyPr/>
          <a:lstStyle/>
          <a:p>
            <a:endParaRPr lang="en-US"/>
          </a:p>
        </p:txBody>
      </p:sp>
      <p:sp>
        <p:nvSpPr>
          <p:cNvPr id="447" name="Freeform 1553"/>
          <p:cNvSpPr>
            <a:spLocks/>
          </p:cNvSpPr>
          <p:nvPr/>
        </p:nvSpPr>
        <p:spPr bwMode="auto">
          <a:xfrm>
            <a:off x="8321746" y="4046489"/>
            <a:ext cx="14334" cy="30568"/>
          </a:xfrm>
          <a:custGeom>
            <a:avLst/>
            <a:gdLst>
              <a:gd name="T0" fmla="*/ 2147483647 w 29"/>
              <a:gd name="T1" fmla="*/ 0 h 75"/>
              <a:gd name="T2" fmla="*/ 2147483647 w 29"/>
              <a:gd name="T3" fmla="*/ 2147483647 h 75"/>
              <a:gd name="T4" fmla="*/ 2147483647 w 29"/>
              <a:gd name="T5" fmla="*/ 2147483647 h 75"/>
              <a:gd name="T6" fmla="*/ 2147483647 w 29"/>
              <a:gd name="T7" fmla="*/ 2147483647 h 75"/>
              <a:gd name="T8" fmla="*/ 0 w 29"/>
              <a:gd name="T9" fmla="*/ 2147483647 h 75"/>
              <a:gd name="T10" fmla="*/ 2147483647 w 29"/>
              <a:gd name="T11" fmla="*/ 0 h 75"/>
              <a:gd name="T12" fmla="*/ 0 60000 65536"/>
              <a:gd name="T13" fmla="*/ 0 60000 65536"/>
              <a:gd name="T14" fmla="*/ 0 60000 65536"/>
              <a:gd name="T15" fmla="*/ 0 60000 65536"/>
              <a:gd name="T16" fmla="*/ 0 60000 65536"/>
              <a:gd name="T17" fmla="*/ 0 60000 65536"/>
              <a:gd name="T18" fmla="*/ 0 w 29"/>
              <a:gd name="T19" fmla="*/ 0 h 75"/>
              <a:gd name="T20" fmla="*/ 29 w 29"/>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29" h="75">
                <a:moveTo>
                  <a:pt x="28" y="0"/>
                </a:moveTo>
                <a:lnTo>
                  <a:pt x="29" y="35"/>
                </a:lnTo>
                <a:lnTo>
                  <a:pt x="18" y="43"/>
                </a:lnTo>
                <a:lnTo>
                  <a:pt x="2" y="75"/>
                </a:lnTo>
                <a:lnTo>
                  <a:pt x="0" y="59"/>
                </a:lnTo>
                <a:lnTo>
                  <a:pt x="28" y="0"/>
                </a:lnTo>
                <a:close/>
              </a:path>
            </a:pathLst>
          </a:custGeom>
          <a:solidFill>
            <a:schemeClr val="accent1"/>
          </a:solidFill>
          <a:ln w="6350">
            <a:solidFill>
              <a:schemeClr val="tx2"/>
            </a:solidFill>
            <a:round/>
            <a:headEnd/>
            <a:tailEnd/>
          </a:ln>
        </p:spPr>
        <p:txBody>
          <a:bodyPr/>
          <a:lstStyle/>
          <a:p>
            <a:endParaRPr lang="en-US"/>
          </a:p>
        </p:txBody>
      </p:sp>
      <p:sp>
        <p:nvSpPr>
          <p:cNvPr id="448" name="Freeform 1554"/>
          <p:cNvSpPr>
            <a:spLocks/>
          </p:cNvSpPr>
          <p:nvPr/>
        </p:nvSpPr>
        <p:spPr bwMode="auto">
          <a:xfrm>
            <a:off x="8331778" y="4065595"/>
            <a:ext cx="15767" cy="10189"/>
          </a:xfrm>
          <a:custGeom>
            <a:avLst/>
            <a:gdLst>
              <a:gd name="T0" fmla="*/ 0 w 33"/>
              <a:gd name="T1" fmla="*/ 2147483647 h 24"/>
              <a:gd name="T2" fmla="*/ 2147483647 w 33"/>
              <a:gd name="T3" fmla="*/ 0 h 24"/>
              <a:gd name="T4" fmla="*/ 2147483647 w 33"/>
              <a:gd name="T5" fmla="*/ 2147483647 h 24"/>
              <a:gd name="T6" fmla="*/ 2147483647 w 33"/>
              <a:gd name="T7" fmla="*/ 2147483647 h 24"/>
              <a:gd name="T8" fmla="*/ 2147483647 w 33"/>
              <a:gd name="T9" fmla="*/ 2147483647 h 24"/>
              <a:gd name="T10" fmla="*/ 0 w 33"/>
              <a:gd name="T11" fmla="*/ 2147483647 h 24"/>
              <a:gd name="T12" fmla="*/ 0 60000 65536"/>
              <a:gd name="T13" fmla="*/ 0 60000 65536"/>
              <a:gd name="T14" fmla="*/ 0 60000 65536"/>
              <a:gd name="T15" fmla="*/ 0 60000 65536"/>
              <a:gd name="T16" fmla="*/ 0 60000 65536"/>
              <a:gd name="T17" fmla="*/ 0 60000 65536"/>
              <a:gd name="T18" fmla="*/ 0 w 33"/>
              <a:gd name="T19" fmla="*/ 0 h 24"/>
              <a:gd name="T20" fmla="*/ 33 w 33"/>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3" h="24">
                <a:moveTo>
                  <a:pt x="0" y="14"/>
                </a:moveTo>
                <a:lnTo>
                  <a:pt x="17" y="0"/>
                </a:lnTo>
                <a:lnTo>
                  <a:pt x="33" y="3"/>
                </a:lnTo>
                <a:lnTo>
                  <a:pt x="29" y="22"/>
                </a:lnTo>
                <a:lnTo>
                  <a:pt x="6" y="24"/>
                </a:lnTo>
                <a:lnTo>
                  <a:pt x="0" y="14"/>
                </a:lnTo>
                <a:close/>
              </a:path>
            </a:pathLst>
          </a:custGeom>
          <a:solidFill>
            <a:schemeClr val="accent1"/>
          </a:solidFill>
          <a:ln w="6350">
            <a:solidFill>
              <a:schemeClr val="tx2"/>
            </a:solidFill>
            <a:round/>
            <a:headEnd/>
            <a:tailEnd/>
          </a:ln>
        </p:spPr>
        <p:txBody>
          <a:bodyPr/>
          <a:lstStyle/>
          <a:p>
            <a:endParaRPr lang="en-US"/>
          </a:p>
        </p:txBody>
      </p:sp>
      <p:sp>
        <p:nvSpPr>
          <p:cNvPr id="449" name="Freeform 1555"/>
          <p:cNvSpPr>
            <a:spLocks/>
          </p:cNvSpPr>
          <p:nvPr/>
        </p:nvSpPr>
        <p:spPr bwMode="auto">
          <a:xfrm>
            <a:off x="8293079" y="4074509"/>
            <a:ext cx="94601" cy="72599"/>
          </a:xfrm>
          <a:custGeom>
            <a:avLst/>
            <a:gdLst>
              <a:gd name="T0" fmla="*/ 2147483647 w 200"/>
              <a:gd name="T1" fmla="*/ 2147483647 h 178"/>
              <a:gd name="T2" fmla="*/ 2147483647 w 200"/>
              <a:gd name="T3" fmla="*/ 0 h 178"/>
              <a:gd name="T4" fmla="*/ 2147483647 w 200"/>
              <a:gd name="T5" fmla="*/ 2147483647 h 178"/>
              <a:gd name="T6" fmla="*/ 2147483647 w 200"/>
              <a:gd name="T7" fmla="*/ 2147483647 h 178"/>
              <a:gd name="T8" fmla="*/ 2147483647 w 200"/>
              <a:gd name="T9" fmla="*/ 2147483647 h 178"/>
              <a:gd name="T10" fmla="*/ 2147483647 w 200"/>
              <a:gd name="T11" fmla="*/ 2147483647 h 178"/>
              <a:gd name="T12" fmla="*/ 2147483647 w 200"/>
              <a:gd name="T13" fmla="*/ 2147483647 h 178"/>
              <a:gd name="T14" fmla="*/ 2147483647 w 200"/>
              <a:gd name="T15" fmla="*/ 2147483647 h 178"/>
              <a:gd name="T16" fmla="*/ 2147483647 w 200"/>
              <a:gd name="T17" fmla="*/ 2147483647 h 178"/>
              <a:gd name="T18" fmla="*/ 2147483647 w 200"/>
              <a:gd name="T19" fmla="*/ 2147483647 h 178"/>
              <a:gd name="T20" fmla="*/ 2147483647 w 200"/>
              <a:gd name="T21" fmla="*/ 2147483647 h 178"/>
              <a:gd name="T22" fmla="*/ 2147483647 w 200"/>
              <a:gd name="T23" fmla="*/ 2147483647 h 178"/>
              <a:gd name="T24" fmla="*/ 2147483647 w 200"/>
              <a:gd name="T25" fmla="*/ 2147483647 h 178"/>
              <a:gd name="T26" fmla="*/ 2147483647 w 200"/>
              <a:gd name="T27" fmla="*/ 2147483647 h 178"/>
              <a:gd name="T28" fmla="*/ 2147483647 w 200"/>
              <a:gd name="T29" fmla="*/ 2147483647 h 178"/>
              <a:gd name="T30" fmla="*/ 2147483647 w 200"/>
              <a:gd name="T31" fmla="*/ 2147483647 h 178"/>
              <a:gd name="T32" fmla="*/ 2147483647 w 200"/>
              <a:gd name="T33" fmla="*/ 2147483647 h 178"/>
              <a:gd name="T34" fmla="*/ 2147483647 w 200"/>
              <a:gd name="T35" fmla="*/ 2147483647 h 178"/>
              <a:gd name="T36" fmla="*/ 2147483647 w 200"/>
              <a:gd name="T37" fmla="*/ 2147483647 h 178"/>
              <a:gd name="T38" fmla="*/ 2147483647 w 200"/>
              <a:gd name="T39" fmla="*/ 2147483647 h 178"/>
              <a:gd name="T40" fmla="*/ 2147483647 w 200"/>
              <a:gd name="T41" fmla="*/ 2147483647 h 178"/>
              <a:gd name="T42" fmla="*/ 2147483647 w 200"/>
              <a:gd name="T43" fmla="*/ 2147483647 h 178"/>
              <a:gd name="T44" fmla="*/ 2147483647 w 200"/>
              <a:gd name="T45" fmla="*/ 2147483647 h 178"/>
              <a:gd name="T46" fmla="*/ 2147483647 w 200"/>
              <a:gd name="T47" fmla="*/ 2147483647 h 178"/>
              <a:gd name="T48" fmla="*/ 2147483647 w 200"/>
              <a:gd name="T49" fmla="*/ 2147483647 h 178"/>
              <a:gd name="T50" fmla="*/ 2147483647 w 200"/>
              <a:gd name="T51" fmla="*/ 2147483647 h 178"/>
              <a:gd name="T52" fmla="*/ 2147483647 w 200"/>
              <a:gd name="T53" fmla="*/ 2147483647 h 178"/>
              <a:gd name="T54" fmla="*/ 2147483647 w 200"/>
              <a:gd name="T55" fmla="*/ 2147483647 h 178"/>
              <a:gd name="T56" fmla="*/ 2147483647 w 200"/>
              <a:gd name="T57" fmla="*/ 2147483647 h 178"/>
              <a:gd name="T58" fmla="*/ 2147483647 w 200"/>
              <a:gd name="T59" fmla="*/ 2147483647 h 178"/>
              <a:gd name="T60" fmla="*/ 2147483647 w 200"/>
              <a:gd name="T61" fmla="*/ 2147483647 h 178"/>
              <a:gd name="T62" fmla="*/ 2147483647 w 200"/>
              <a:gd name="T63" fmla="*/ 2147483647 h 178"/>
              <a:gd name="T64" fmla="*/ 2147483647 w 200"/>
              <a:gd name="T65" fmla="*/ 2147483647 h 178"/>
              <a:gd name="T66" fmla="*/ 2147483647 w 200"/>
              <a:gd name="T67" fmla="*/ 2147483647 h 178"/>
              <a:gd name="T68" fmla="*/ 2147483647 w 200"/>
              <a:gd name="T69" fmla="*/ 2147483647 h 178"/>
              <a:gd name="T70" fmla="*/ 2147483647 w 200"/>
              <a:gd name="T71" fmla="*/ 2147483647 h 178"/>
              <a:gd name="T72" fmla="*/ 0 w 200"/>
              <a:gd name="T73" fmla="*/ 2147483647 h 178"/>
              <a:gd name="T74" fmla="*/ 2147483647 w 200"/>
              <a:gd name="T75" fmla="*/ 2147483647 h 178"/>
              <a:gd name="T76" fmla="*/ 2147483647 w 200"/>
              <a:gd name="T77" fmla="*/ 2147483647 h 178"/>
              <a:gd name="T78" fmla="*/ 2147483647 w 200"/>
              <a:gd name="T79" fmla="*/ 2147483647 h 178"/>
              <a:gd name="T80" fmla="*/ 2147483647 w 200"/>
              <a:gd name="T81" fmla="*/ 2147483647 h 178"/>
              <a:gd name="T82" fmla="*/ 2147483647 w 200"/>
              <a:gd name="T83" fmla="*/ 2147483647 h 178"/>
              <a:gd name="T84" fmla="*/ 2147483647 w 200"/>
              <a:gd name="T85" fmla="*/ 2147483647 h 178"/>
              <a:gd name="T86" fmla="*/ 2147483647 w 200"/>
              <a:gd name="T87" fmla="*/ 2147483647 h 178"/>
              <a:gd name="T88" fmla="*/ 2147483647 w 200"/>
              <a:gd name="T89" fmla="*/ 2147483647 h 178"/>
              <a:gd name="T90" fmla="*/ 2147483647 w 200"/>
              <a:gd name="T91" fmla="*/ 2147483647 h 178"/>
              <a:gd name="T92" fmla="*/ 2147483647 w 200"/>
              <a:gd name="T93" fmla="*/ 2147483647 h 178"/>
              <a:gd name="T94" fmla="*/ 2147483647 w 200"/>
              <a:gd name="T95" fmla="*/ 2147483647 h 178"/>
              <a:gd name="T96" fmla="*/ 2147483647 w 200"/>
              <a:gd name="T97" fmla="*/ 2147483647 h 178"/>
              <a:gd name="T98" fmla="*/ 2147483647 w 200"/>
              <a:gd name="T99" fmla="*/ 2147483647 h 178"/>
              <a:gd name="T100" fmla="*/ 2147483647 w 200"/>
              <a:gd name="T101" fmla="*/ 2147483647 h 178"/>
              <a:gd name="T102" fmla="*/ 2147483647 w 200"/>
              <a:gd name="T103" fmla="*/ 2147483647 h 178"/>
              <a:gd name="T104" fmla="*/ 2147483647 w 200"/>
              <a:gd name="T105" fmla="*/ 2147483647 h 17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00"/>
              <a:gd name="T160" fmla="*/ 0 h 178"/>
              <a:gd name="T161" fmla="*/ 200 w 200"/>
              <a:gd name="T162" fmla="*/ 178 h 17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00" h="178">
                <a:moveTo>
                  <a:pt x="150" y="1"/>
                </a:moveTo>
                <a:lnTo>
                  <a:pt x="157" y="0"/>
                </a:lnTo>
                <a:lnTo>
                  <a:pt x="184" y="26"/>
                </a:lnTo>
                <a:lnTo>
                  <a:pt x="189" y="40"/>
                </a:lnTo>
                <a:lnTo>
                  <a:pt x="182" y="49"/>
                </a:lnTo>
                <a:lnTo>
                  <a:pt x="190" y="54"/>
                </a:lnTo>
                <a:lnTo>
                  <a:pt x="200" y="97"/>
                </a:lnTo>
                <a:lnTo>
                  <a:pt x="200" y="112"/>
                </a:lnTo>
                <a:lnTo>
                  <a:pt x="187" y="127"/>
                </a:lnTo>
                <a:lnTo>
                  <a:pt x="187" y="146"/>
                </a:lnTo>
                <a:lnTo>
                  <a:pt x="182" y="141"/>
                </a:lnTo>
                <a:lnTo>
                  <a:pt x="178" y="118"/>
                </a:lnTo>
                <a:lnTo>
                  <a:pt x="170" y="105"/>
                </a:lnTo>
                <a:lnTo>
                  <a:pt x="163" y="107"/>
                </a:lnTo>
                <a:lnTo>
                  <a:pt x="152" y="125"/>
                </a:lnTo>
                <a:lnTo>
                  <a:pt x="150" y="136"/>
                </a:lnTo>
                <a:lnTo>
                  <a:pt x="162" y="158"/>
                </a:lnTo>
                <a:lnTo>
                  <a:pt x="152" y="178"/>
                </a:lnTo>
                <a:lnTo>
                  <a:pt x="147" y="175"/>
                </a:lnTo>
                <a:lnTo>
                  <a:pt x="144" y="161"/>
                </a:lnTo>
                <a:lnTo>
                  <a:pt x="129" y="167"/>
                </a:lnTo>
                <a:lnTo>
                  <a:pt x="105" y="156"/>
                </a:lnTo>
                <a:lnTo>
                  <a:pt x="99" y="149"/>
                </a:lnTo>
                <a:lnTo>
                  <a:pt x="89" y="117"/>
                </a:lnTo>
                <a:lnTo>
                  <a:pt x="98" y="99"/>
                </a:lnTo>
                <a:lnTo>
                  <a:pt x="75" y="81"/>
                </a:lnTo>
                <a:lnTo>
                  <a:pt x="70" y="82"/>
                </a:lnTo>
                <a:lnTo>
                  <a:pt x="63" y="98"/>
                </a:lnTo>
                <a:lnTo>
                  <a:pt x="54" y="96"/>
                </a:lnTo>
                <a:lnTo>
                  <a:pt x="54" y="89"/>
                </a:lnTo>
                <a:lnTo>
                  <a:pt x="41" y="104"/>
                </a:lnTo>
                <a:lnTo>
                  <a:pt x="36" y="87"/>
                </a:lnTo>
                <a:lnTo>
                  <a:pt x="30" y="87"/>
                </a:lnTo>
                <a:lnTo>
                  <a:pt x="21" y="98"/>
                </a:lnTo>
                <a:lnTo>
                  <a:pt x="12" y="121"/>
                </a:lnTo>
                <a:lnTo>
                  <a:pt x="3" y="121"/>
                </a:lnTo>
                <a:lnTo>
                  <a:pt x="0" y="113"/>
                </a:lnTo>
                <a:lnTo>
                  <a:pt x="9" y="82"/>
                </a:lnTo>
                <a:lnTo>
                  <a:pt x="16" y="73"/>
                </a:lnTo>
                <a:lnTo>
                  <a:pt x="41" y="67"/>
                </a:lnTo>
                <a:lnTo>
                  <a:pt x="43" y="60"/>
                </a:lnTo>
                <a:lnTo>
                  <a:pt x="62" y="44"/>
                </a:lnTo>
                <a:lnTo>
                  <a:pt x="77" y="49"/>
                </a:lnTo>
                <a:lnTo>
                  <a:pt x="81" y="60"/>
                </a:lnTo>
                <a:lnTo>
                  <a:pt x="77" y="74"/>
                </a:lnTo>
                <a:lnTo>
                  <a:pt x="94" y="67"/>
                </a:lnTo>
                <a:lnTo>
                  <a:pt x="100" y="54"/>
                </a:lnTo>
                <a:lnTo>
                  <a:pt x="108" y="49"/>
                </a:lnTo>
                <a:lnTo>
                  <a:pt x="115" y="51"/>
                </a:lnTo>
                <a:lnTo>
                  <a:pt x="124" y="33"/>
                </a:lnTo>
                <a:lnTo>
                  <a:pt x="133" y="36"/>
                </a:lnTo>
                <a:lnTo>
                  <a:pt x="152" y="30"/>
                </a:lnTo>
                <a:lnTo>
                  <a:pt x="150" y="1"/>
                </a:lnTo>
                <a:close/>
              </a:path>
            </a:pathLst>
          </a:custGeom>
          <a:solidFill>
            <a:schemeClr val="accent1"/>
          </a:solidFill>
          <a:ln w="6350">
            <a:solidFill>
              <a:schemeClr val="tx2"/>
            </a:solidFill>
            <a:round/>
            <a:headEnd/>
            <a:tailEnd/>
          </a:ln>
        </p:spPr>
        <p:txBody>
          <a:bodyPr/>
          <a:lstStyle/>
          <a:p>
            <a:endParaRPr lang="en-US"/>
          </a:p>
        </p:txBody>
      </p:sp>
      <p:sp>
        <p:nvSpPr>
          <p:cNvPr id="450" name="Freeform 1556"/>
          <p:cNvSpPr>
            <a:spLocks/>
          </p:cNvSpPr>
          <p:nvPr/>
        </p:nvSpPr>
        <p:spPr bwMode="auto">
          <a:xfrm>
            <a:off x="8291644" y="4129278"/>
            <a:ext cx="8600" cy="3820"/>
          </a:xfrm>
          <a:custGeom>
            <a:avLst/>
            <a:gdLst>
              <a:gd name="T0" fmla="*/ 0 w 20"/>
              <a:gd name="T1" fmla="*/ 2147483647 h 11"/>
              <a:gd name="T2" fmla="*/ 2147483647 w 20"/>
              <a:gd name="T3" fmla="*/ 0 h 11"/>
              <a:gd name="T4" fmla="*/ 2147483647 w 20"/>
              <a:gd name="T5" fmla="*/ 2147483647 h 11"/>
              <a:gd name="T6" fmla="*/ 2147483647 w 20"/>
              <a:gd name="T7" fmla="*/ 2147483647 h 11"/>
              <a:gd name="T8" fmla="*/ 0 w 20"/>
              <a:gd name="T9" fmla="*/ 2147483647 h 11"/>
              <a:gd name="T10" fmla="*/ 0 60000 65536"/>
              <a:gd name="T11" fmla="*/ 0 60000 65536"/>
              <a:gd name="T12" fmla="*/ 0 60000 65536"/>
              <a:gd name="T13" fmla="*/ 0 60000 65536"/>
              <a:gd name="T14" fmla="*/ 0 60000 65536"/>
              <a:gd name="T15" fmla="*/ 0 w 20"/>
              <a:gd name="T16" fmla="*/ 0 h 11"/>
              <a:gd name="T17" fmla="*/ 20 w 20"/>
              <a:gd name="T18" fmla="*/ 11 h 11"/>
            </a:gdLst>
            <a:ahLst/>
            <a:cxnLst>
              <a:cxn ang="T10">
                <a:pos x="T0" y="T1"/>
              </a:cxn>
              <a:cxn ang="T11">
                <a:pos x="T2" y="T3"/>
              </a:cxn>
              <a:cxn ang="T12">
                <a:pos x="T4" y="T5"/>
              </a:cxn>
              <a:cxn ang="T13">
                <a:pos x="T6" y="T7"/>
              </a:cxn>
              <a:cxn ang="T14">
                <a:pos x="T8" y="T9"/>
              </a:cxn>
            </a:cxnLst>
            <a:rect l="T15" t="T16" r="T17" b="T18"/>
            <a:pathLst>
              <a:path w="20" h="11">
                <a:moveTo>
                  <a:pt x="0" y="3"/>
                </a:moveTo>
                <a:lnTo>
                  <a:pt x="10" y="0"/>
                </a:lnTo>
                <a:lnTo>
                  <a:pt x="20" y="5"/>
                </a:lnTo>
                <a:lnTo>
                  <a:pt x="7" y="11"/>
                </a:lnTo>
                <a:lnTo>
                  <a:pt x="0" y="3"/>
                </a:lnTo>
                <a:close/>
              </a:path>
            </a:pathLst>
          </a:custGeom>
          <a:solidFill>
            <a:schemeClr val="accent1"/>
          </a:solidFill>
          <a:ln w="6350">
            <a:solidFill>
              <a:schemeClr val="tx2"/>
            </a:solidFill>
            <a:round/>
            <a:headEnd/>
            <a:tailEnd/>
          </a:ln>
        </p:spPr>
        <p:txBody>
          <a:bodyPr/>
          <a:lstStyle/>
          <a:p>
            <a:endParaRPr lang="en-US"/>
          </a:p>
        </p:txBody>
      </p:sp>
      <p:sp>
        <p:nvSpPr>
          <p:cNvPr id="451" name="Freeform 1557"/>
          <p:cNvSpPr>
            <a:spLocks/>
          </p:cNvSpPr>
          <p:nvPr/>
        </p:nvSpPr>
        <p:spPr bwMode="auto">
          <a:xfrm>
            <a:off x="8274445" y="4140740"/>
            <a:ext cx="8600" cy="3821"/>
          </a:xfrm>
          <a:custGeom>
            <a:avLst/>
            <a:gdLst>
              <a:gd name="T0" fmla="*/ 0 w 20"/>
              <a:gd name="T1" fmla="*/ 2147483647 h 9"/>
              <a:gd name="T2" fmla="*/ 2147483647 w 20"/>
              <a:gd name="T3" fmla="*/ 0 h 9"/>
              <a:gd name="T4" fmla="*/ 2147483647 w 20"/>
              <a:gd name="T5" fmla="*/ 2147483647 h 9"/>
              <a:gd name="T6" fmla="*/ 2147483647 w 20"/>
              <a:gd name="T7" fmla="*/ 2147483647 h 9"/>
              <a:gd name="T8" fmla="*/ 0 w 20"/>
              <a:gd name="T9" fmla="*/ 2147483647 h 9"/>
              <a:gd name="T10" fmla="*/ 0 60000 65536"/>
              <a:gd name="T11" fmla="*/ 0 60000 65536"/>
              <a:gd name="T12" fmla="*/ 0 60000 65536"/>
              <a:gd name="T13" fmla="*/ 0 60000 65536"/>
              <a:gd name="T14" fmla="*/ 0 60000 65536"/>
              <a:gd name="T15" fmla="*/ 0 w 20"/>
              <a:gd name="T16" fmla="*/ 0 h 9"/>
              <a:gd name="T17" fmla="*/ 20 w 20"/>
              <a:gd name="T18" fmla="*/ 9 h 9"/>
            </a:gdLst>
            <a:ahLst/>
            <a:cxnLst>
              <a:cxn ang="T10">
                <a:pos x="T0" y="T1"/>
              </a:cxn>
              <a:cxn ang="T11">
                <a:pos x="T2" y="T3"/>
              </a:cxn>
              <a:cxn ang="T12">
                <a:pos x="T4" y="T5"/>
              </a:cxn>
              <a:cxn ang="T13">
                <a:pos x="T6" y="T7"/>
              </a:cxn>
              <a:cxn ang="T14">
                <a:pos x="T8" y="T9"/>
              </a:cxn>
            </a:cxnLst>
            <a:rect l="T15" t="T16" r="T17" b="T18"/>
            <a:pathLst>
              <a:path w="20" h="9">
                <a:moveTo>
                  <a:pt x="0" y="7"/>
                </a:moveTo>
                <a:lnTo>
                  <a:pt x="6" y="0"/>
                </a:lnTo>
                <a:lnTo>
                  <a:pt x="20" y="4"/>
                </a:lnTo>
                <a:lnTo>
                  <a:pt x="17" y="9"/>
                </a:lnTo>
                <a:lnTo>
                  <a:pt x="0" y="7"/>
                </a:lnTo>
                <a:close/>
              </a:path>
            </a:pathLst>
          </a:custGeom>
          <a:solidFill>
            <a:schemeClr val="accent1"/>
          </a:solidFill>
          <a:ln w="6350">
            <a:solidFill>
              <a:schemeClr val="tx2"/>
            </a:solidFill>
            <a:round/>
            <a:headEnd/>
            <a:tailEnd/>
          </a:ln>
        </p:spPr>
        <p:txBody>
          <a:bodyPr/>
          <a:lstStyle/>
          <a:p>
            <a:endParaRPr lang="en-US"/>
          </a:p>
        </p:txBody>
      </p:sp>
      <p:sp>
        <p:nvSpPr>
          <p:cNvPr id="452" name="Freeform 1558"/>
          <p:cNvSpPr>
            <a:spLocks/>
          </p:cNvSpPr>
          <p:nvPr/>
        </p:nvSpPr>
        <p:spPr bwMode="auto">
          <a:xfrm>
            <a:off x="8252945" y="4154751"/>
            <a:ext cx="7166" cy="3820"/>
          </a:xfrm>
          <a:custGeom>
            <a:avLst/>
            <a:gdLst>
              <a:gd name="T0" fmla="*/ 0 w 17"/>
              <a:gd name="T1" fmla="*/ 2147483647 h 10"/>
              <a:gd name="T2" fmla="*/ 2147483647 w 17"/>
              <a:gd name="T3" fmla="*/ 2147483647 h 10"/>
              <a:gd name="T4" fmla="*/ 2147483647 w 17"/>
              <a:gd name="T5" fmla="*/ 0 h 10"/>
              <a:gd name="T6" fmla="*/ 2147483647 w 17"/>
              <a:gd name="T7" fmla="*/ 2147483647 h 10"/>
              <a:gd name="T8" fmla="*/ 0 w 17"/>
              <a:gd name="T9" fmla="*/ 2147483647 h 10"/>
              <a:gd name="T10" fmla="*/ 0 60000 65536"/>
              <a:gd name="T11" fmla="*/ 0 60000 65536"/>
              <a:gd name="T12" fmla="*/ 0 60000 65536"/>
              <a:gd name="T13" fmla="*/ 0 60000 65536"/>
              <a:gd name="T14" fmla="*/ 0 60000 65536"/>
              <a:gd name="T15" fmla="*/ 0 w 17"/>
              <a:gd name="T16" fmla="*/ 0 h 10"/>
              <a:gd name="T17" fmla="*/ 17 w 17"/>
              <a:gd name="T18" fmla="*/ 10 h 10"/>
            </a:gdLst>
            <a:ahLst/>
            <a:cxnLst>
              <a:cxn ang="T10">
                <a:pos x="T0" y="T1"/>
              </a:cxn>
              <a:cxn ang="T11">
                <a:pos x="T2" y="T3"/>
              </a:cxn>
              <a:cxn ang="T12">
                <a:pos x="T4" y="T5"/>
              </a:cxn>
              <a:cxn ang="T13">
                <a:pos x="T6" y="T7"/>
              </a:cxn>
              <a:cxn ang="T14">
                <a:pos x="T8" y="T9"/>
              </a:cxn>
            </a:cxnLst>
            <a:rect l="T15" t="T16" r="T17" b="T18"/>
            <a:pathLst>
              <a:path w="17" h="10">
                <a:moveTo>
                  <a:pt x="0" y="10"/>
                </a:moveTo>
                <a:lnTo>
                  <a:pt x="4" y="2"/>
                </a:lnTo>
                <a:lnTo>
                  <a:pt x="16" y="0"/>
                </a:lnTo>
                <a:lnTo>
                  <a:pt x="17" y="4"/>
                </a:lnTo>
                <a:lnTo>
                  <a:pt x="0" y="10"/>
                </a:lnTo>
                <a:close/>
              </a:path>
            </a:pathLst>
          </a:custGeom>
          <a:solidFill>
            <a:schemeClr val="accent1"/>
          </a:solidFill>
          <a:ln w="6350">
            <a:solidFill>
              <a:schemeClr val="tx2"/>
            </a:solidFill>
            <a:round/>
            <a:headEnd/>
            <a:tailEnd/>
          </a:ln>
        </p:spPr>
        <p:txBody>
          <a:bodyPr/>
          <a:lstStyle/>
          <a:p>
            <a:endParaRPr lang="en-US"/>
          </a:p>
        </p:txBody>
      </p:sp>
      <p:sp>
        <p:nvSpPr>
          <p:cNvPr id="453" name="Freeform 1559"/>
          <p:cNvSpPr>
            <a:spLocks/>
          </p:cNvSpPr>
          <p:nvPr/>
        </p:nvSpPr>
        <p:spPr bwMode="auto">
          <a:xfrm>
            <a:off x="8774680" y="3977712"/>
            <a:ext cx="1432" cy="1274"/>
          </a:xfrm>
          <a:custGeom>
            <a:avLst/>
            <a:gdLst>
              <a:gd name="T0" fmla="*/ 2147483647 w 3"/>
              <a:gd name="T1" fmla="*/ 0 h 1"/>
              <a:gd name="T2" fmla="*/ 0 w 3"/>
              <a:gd name="T3" fmla="*/ 2147483647 h 1"/>
              <a:gd name="T4" fmla="*/ 2147483647 w 3"/>
              <a:gd name="T5" fmla="*/ 0 h 1"/>
              <a:gd name="T6" fmla="*/ 0 60000 65536"/>
              <a:gd name="T7" fmla="*/ 0 60000 65536"/>
              <a:gd name="T8" fmla="*/ 0 60000 65536"/>
              <a:gd name="T9" fmla="*/ 0 w 3"/>
              <a:gd name="T10" fmla="*/ 0 h 1"/>
              <a:gd name="T11" fmla="*/ 3 w 3"/>
              <a:gd name="T12" fmla="*/ 1 h 1"/>
            </a:gdLst>
            <a:ahLst/>
            <a:cxnLst>
              <a:cxn ang="T6">
                <a:pos x="T0" y="T1"/>
              </a:cxn>
              <a:cxn ang="T7">
                <a:pos x="T2" y="T3"/>
              </a:cxn>
              <a:cxn ang="T8">
                <a:pos x="T4" y="T5"/>
              </a:cxn>
            </a:cxnLst>
            <a:rect l="T9" t="T10" r="T11" b="T12"/>
            <a:pathLst>
              <a:path w="3" h="1">
                <a:moveTo>
                  <a:pt x="3" y="0"/>
                </a:moveTo>
                <a:lnTo>
                  <a:pt x="0" y="1"/>
                </a:lnTo>
                <a:lnTo>
                  <a:pt x="3" y="0"/>
                </a:lnTo>
                <a:close/>
              </a:path>
            </a:pathLst>
          </a:custGeom>
          <a:solidFill>
            <a:schemeClr val="accent1"/>
          </a:solidFill>
          <a:ln w="6350">
            <a:solidFill>
              <a:schemeClr val="tx2"/>
            </a:solidFill>
            <a:round/>
            <a:headEnd/>
            <a:tailEnd/>
          </a:ln>
        </p:spPr>
        <p:txBody>
          <a:bodyPr/>
          <a:lstStyle/>
          <a:p>
            <a:endParaRPr lang="en-US"/>
          </a:p>
        </p:txBody>
      </p:sp>
      <p:sp>
        <p:nvSpPr>
          <p:cNvPr id="454" name="Freeform 1560"/>
          <p:cNvSpPr>
            <a:spLocks/>
          </p:cNvSpPr>
          <p:nvPr/>
        </p:nvSpPr>
        <p:spPr bwMode="auto">
          <a:xfrm>
            <a:off x="8757480" y="4004459"/>
            <a:ext cx="2866" cy="5095"/>
          </a:xfrm>
          <a:custGeom>
            <a:avLst/>
            <a:gdLst>
              <a:gd name="T0" fmla="*/ 2147483647 w 7"/>
              <a:gd name="T1" fmla="*/ 0 h 12"/>
              <a:gd name="T2" fmla="*/ 2147483647 w 7"/>
              <a:gd name="T3" fmla="*/ 2147483647 h 12"/>
              <a:gd name="T4" fmla="*/ 0 w 7"/>
              <a:gd name="T5" fmla="*/ 2147483647 h 12"/>
              <a:gd name="T6" fmla="*/ 2147483647 w 7"/>
              <a:gd name="T7" fmla="*/ 0 h 12"/>
              <a:gd name="T8" fmla="*/ 0 60000 65536"/>
              <a:gd name="T9" fmla="*/ 0 60000 65536"/>
              <a:gd name="T10" fmla="*/ 0 60000 65536"/>
              <a:gd name="T11" fmla="*/ 0 60000 65536"/>
              <a:gd name="T12" fmla="*/ 0 w 7"/>
              <a:gd name="T13" fmla="*/ 0 h 12"/>
              <a:gd name="T14" fmla="*/ 7 w 7"/>
              <a:gd name="T15" fmla="*/ 12 h 12"/>
            </a:gdLst>
            <a:ahLst/>
            <a:cxnLst>
              <a:cxn ang="T8">
                <a:pos x="T0" y="T1"/>
              </a:cxn>
              <a:cxn ang="T9">
                <a:pos x="T2" y="T3"/>
              </a:cxn>
              <a:cxn ang="T10">
                <a:pos x="T4" y="T5"/>
              </a:cxn>
              <a:cxn ang="T11">
                <a:pos x="T6" y="T7"/>
              </a:cxn>
            </a:cxnLst>
            <a:rect l="T12" t="T13" r="T14" b="T15"/>
            <a:pathLst>
              <a:path w="7" h="12">
                <a:moveTo>
                  <a:pt x="7" y="0"/>
                </a:moveTo>
                <a:lnTo>
                  <a:pt x="1" y="12"/>
                </a:lnTo>
                <a:lnTo>
                  <a:pt x="0" y="7"/>
                </a:lnTo>
                <a:lnTo>
                  <a:pt x="7" y="0"/>
                </a:lnTo>
                <a:close/>
              </a:path>
            </a:pathLst>
          </a:custGeom>
          <a:solidFill>
            <a:schemeClr val="accent1"/>
          </a:solidFill>
          <a:ln w="6350">
            <a:solidFill>
              <a:schemeClr val="tx2"/>
            </a:solidFill>
            <a:round/>
            <a:headEnd/>
            <a:tailEnd/>
          </a:ln>
        </p:spPr>
        <p:txBody>
          <a:bodyPr/>
          <a:lstStyle/>
          <a:p>
            <a:endParaRPr lang="en-US"/>
          </a:p>
        </p:txBody>
      </p:sp>
      <p:sp>
        <p:nvSpPr>
          <p:cNvPr id="455" name="Freeform 1561"/>
          <p:cNvSpPr>
            <a:spLocks/>
          </p:cNvSpPr>
          <p:nvPr/>
        </p:nvSpPr>
        <p:spPr bwMode="auto">
          <a:xfrm>
            <a:off x="8548212" y="4110172"/>
            <a:ext cx="2866" cy="6369"/>
          </a:xfrm>
          <a:custGeom>
            <a:avLst/>
            <a:gdLst>
              <a:gd name="T0" fmla="*/ 2147483647 w 5"/>
              <a:gd name="T1" fmla="*/ 0 h 14"/>
              <a:gd name="T2" fmla="*/ 2147483647 w 5"/>
              <a:gd name="T3" fmla="*/ 2147483647 h 14"/>
              <a:gd name="T4" fmla="*/ 0 w 5"/>
              <a:gd name="T5" fmla="*/ 2147483647 h 14"/>
              <a:gd name="T6" fmla="*/ 2147483647 w 5"/>
              <a:gd name="T7" fmla="*/ 0 h 14"/>
              <a:gd name="T8" fmla="*/ 0 60000 65536"/>
              <a:gd name="T9" fmla="*/ 0 60000 65536"/>
              <a:gd name="T10" fmla="*/ 0 60000 65536"/>
              <a:gd name="T11" fmla="*/ 0 60000 65536"/>
              <a:gd name="T12" fmla="*/ 0 w 5"/>
              <a:gd name="T13" fmla="*/ 0 h 14"/>
              <a:gd name="T14" fmla="*/ 5 w 5"/>
              <a:gd name="T15" fmla="*/ 14 h 14"/>
            </a:gdLst>
            <a:ahLst/>
            <a:cxnLst>
              <a:cxn ang="T8">
                <a:pos x="T0" y="T1"/>
              </a:cxn>
              <a:cxn ang="T9">
                <a:pos x="T2" y="T3"/>
              </a:cxn>
              <a:cxn ang="T10">
                <a:pos x="T4" y="T5"/>
              </a:cxn>
              <a:cxn ang="T11">
                <a:pos x="T6" y="T7"/>
              </a:cxn>
            </a:cxnLst>
            <a:rect l="T12" t="T13" r="T14" b="T15"/>
            <a:pathLst>
              <a:path w="5" h="14">
                <a:moveTo>
                  <a:pt x="5" y="0"/>
                </a:moveTo>
                <a:lnTo>
                  <a:pt x="1" y="14"/>
                </a:lnTo>
                <a:lnTo>
                  <a:pt x="0" y="4"/>
                </a:lnTo>
                <a:lnTo>
                  <a:pt x="5" y="0"/>
                </a:lnTo>
                <a:close/>
              </a:path>
            </a:pathLst>
          </a:custGeom>
          <a:solidFill>
            <a:schemeClr val="accent1"/>
          </a:solidFill>
          <a:ln w="6350">
            <a:solidFill>
              <a:schemeClr val="tx2"/>
            </a:solidFill>
            <a:round/>
            <a:headEnd/>
            <a:tailEnd/>
          </a:ln>
        </p:spPr>
        <p:txBody>
          <a:bodyPr/>
          <a:lstStyle/>
          <a:p>
            <a:endParaRPr lang="en-US"/>
          </a:p>
        </p:txBody>
      </p:sp>
      <p:sp>
        <p:nvSpPr>
          <p:cNvPr id="456" name="Freeform 1562"/>
          <p:cNvSpPr>
            <a:spLocks/>
          </p:cNvSpPr>
          <p:nvPr/>
        </p:nvSpPr>
        <p:spPr bwMode="auto">
          <a:xfrm>
            <a:off x="8622746" y="4075783"/>
            <a:ext cx="2866" cy="1273"/>
          </a:xfrm>
          <a:custGeom>
            <a:avLst/>
            <a:gdLst>
              <a:gd name="T0" fmla="*/ 0 w 1588"/>
              <a:gd name="T1" fmla="*/ 0 h 4"/>
              <a:gd name="T2" fmla="*/ 0 w 1588"/>
              <a:gd name="T3" fmla="*/ 2147483647 h 4"/>
              <a:gd name="T4" fmla="*/ 0 w 1588"/>
              <a:gd name="T5" fmla="*/ 0 h 4"/>
              <a:gd name="T6" fmla="*/ 0 60000 65536"/>
              <a:gd name="T7" fmla="*/ 0 60000 65536"/>
              <a:gd name="T8" fmla="*/ 0 60000 65536"/>
              <a:gd name="T9" fmla="*/ 0 w 1588"/>
              <a:gd name="T10" fmla="*/ 0 h 4"/>
              <a:gd name="T11" fmla="*/ 1588 w 1588"/>
              <a:gd name="T12" fmla="*/ 4 h 4"/>
            </a:gdLst>
            <a:ahLst/>
            <a:cxnLst>
              <a:cxn ang="T6">
                <a:pos x="T0" y="T1"/>
              </a:cxn>
              <a:cxn ang="T7">
                <a:pos x="T2" y="T3"/>
              </a:cxn>
              <a:cxn ang="T8">
                <a:pos x="T4" y="T5"/>
              </a:cxn>
            </a:cxnLst>
            <a:rect l="T9" t="T10" r="T11" b="T12"/>
            <a:pathLst>
              <a:path w="1588" h="4">
                <a:moveTo>
                  <a:pt x="0" y="0"/>
                </a:moveTo>
                <a:lnTo>
                  <a:pt x="0" y="4"/>
                </a:lnTo>
                <a:lnTo>
                  <a:pt x="0" y="0"/>
                </a:lnTo>
                <a:close/>
              </a:path>
            </a:pathLst>
          </a:custGeom>
          <a:solidFill>
            <a:schemeClr val="accent1"/>
          </a:solidFill>
          <a:ln w="6350">
            <a:solidFill>
              <a:schemeClr val="tx2"/>
            </a:solidFill>
            <a:round/>
            <a:headEnd/>
            <a:tailEnd/>
          </a:ln>
        </p:spPr>
        <p:txBody>
          <a:bodyPr/>
          <a:lstStyle/>
          <a:p>
            <a:endParaRPr lang="en-US"/>
          </a:p>
        </p:txBody>
      </p:sp>
      <p:sp>
        <p:nvSpPr>
          <p:cNvPr id="457" name="Freeform 1563"/>
          <p:cNvSpPr>
            <a:spLocks/>
          </p:cNvSpPr>
          <p:nvPr/>
        </p:nvSpPr>
        <p:spPr bwMode="auto">
          <a:xfrm>
            <a:off x="8794747" y="4283390"/>
            <a:ext cx="8600" cy="3821"/>
          </a:xfrm>
          <a:custGeom>
            <a:avLst/>
            <a:gdLst>
              <a:gd name="T0" fmla="*/ 0 w 23"/>
              <a:gd name="T1" fmla="*/ 0 h 11"/>
              <a:gd name="T2" fmla="*/ 2147483647 w 23"/>
              <a:gd name="T3" fmla="*/ 2147483647 h 11"/>
              <a:gd name="T4" fmla="*/ 2147483647 w 23"/>
              <a:gd name="T5" fmla="*/ 2147483647 h 11"/>
              <a:gd name="T6" fmla="*/ 2147483647 w 23"/>
              <a:gd name="T7" fmla="*/ 2147483647 h 11"/>
              <a:gd name="T8" fmla="*/ 2147483647 w 23"/>
              <a:gd name="T9" fmla="*/ 2147483647 h 11"/>
              <a:gd name="T10" fmla="*/ 0 w 23"/>
              <a:gd name="T11" fmla="*/ 0 h 11"/>
              <a:gd name="T12" fmla="*/ 0 60000 65536"/>
              <a:gd name="T13" fmla="*/ 0 60000 65536"/>
              <a:gd name="T14" fmla="*/ 0 60000 65536"/>
              <a:gd name="T15" fmla="*/ 0 60000 65536"/>
              <a:gd name="T16" fmla="*/ 0 60000 65536"/>
              <a:gd name="T17" fmla="*/ 0 60000 65536"/>
              <a:gd name="T18" fmla="*/ 0 w 23"/>
              <a:gd name="T19" fmla="*/ 0 h 11"/>
              <a:gd name="T20" fmla="*/ 23 w 2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3" h="11">
                <a:moveTo>
                  <a:pt x="0" y="0"/>
                </a:moveTo>
                <a:lnTo>
                  <a:pt x="23" y="1"/>
                </a:lnTo>
                <a:lnTo>
                  <a:pt x="19" y="9"/>
                </a:lnTo>
                <a:lnTo>
                  <a:pt x="11" y="7"/>
                </a:lnTo>
                <a:lnTo>
                  <a:pt x="4" y="11"/>
                </a:lnTo>
                <a:lnTo>
                  <a:pt x="0" y="0"/>
                </a:lnTo>
                <a:close/>
              </a:path>
            </a:pathLst>
          </a:custGeom>
          <a:solidFill>
            <a:schemeClr val="accent1"/>
          </a:solidFill>
          <a:ln w="6350">
            <a:solidFill>
              <a:schemeClr val="tx2"/>
            </a:solidFill>
            <a:round/>
            <a:headEnd/>
            <a:tailEnd/>
          </a:ln>
        </p:spPr>
        <p:txBody>
          <a:bodyPr/>
          <a:lstStyle/>
          <a:p>
            <a:endParaRPr lang="en-US"/>
          </a:p>
        </p:txBody>
      </p:sp>
      <p:sp>
        <p:nvSpPr>
          <p:cNvPr id="458" name="Freeform 1564"/>
          <p:cNvSpPr>
            <a:spLocks/>
          </p:cNvSpPr>
          <p:nvPr/>
        </p:nvSpPr>
        <p:spPr bwMode="auto">
          <a:xfrm>
            <a:off x="8854947" y="4271927"/>
            <a:ext cx="2866" cy="3820"/>
          </a:xfrm>
          <a:custGeom>
            <a:avLst/>
            <a:gdLst>
              <a:gd name="T0" fmla="*/ 0 w 9"/>
              <a:gd name="T1" fmla="*/ 0 h 10"/>
              <a:gd name="T2" fmla="*/ 2147483647 w 9"/>
              <a:gd name="T3" fmla="*/ 2147483647 h 10"/>
              <a:gd name="T4" fmla="*/ 2147483647 w 9"/>
              <a:gd name="T5" fmla="*/ 2147483647 h 10"/>
              <a:gd name="T6" fmla="*/ 0 w 9"/>
              <a:gd name="T7" fmla="*/ 0 h 10"/>
              <a:gd name="T8" fmla="*/ 0 60000 65536"/>
              <a:gd name="T9" fmla="*/ 0 60000 65536"/>
              <a:gd name="T10" fmla="*/ 0 60000 65536"/>
              <a:gd name="T11" fmla="*/ 0 60000 65536"/>
              <a:gd name="T12" fmla="*/ 0 w 9"/>
              <a:gd name="T13" fmla="*/ 0 h 10"/>
              <a:gd name="T14" fmla="*/ 9 w 9"/>
              <a:gd name="T15" fmla="*/ 10 h 10"/>
            </a:gdLst>
            <a:ahLst/>
            <a:cxnLst>
              <a:cxn ang="T8">
                <a:pos x="T0" y="T1"/>
              </a:cxn>
              <a:cxn ang="T9">
                <a:pos x="T2" y="T3"/>
              </a:cxn>
              <a:cxn ang="T10">
                <a:pos x="T4" y="T5"/>
              </a:cxn>
              <a:cxn ang="T11">
                <a:pos x="T6" y="T7"/>
              </a:cxn>
            </a:cxnLst>
            <a:rect l="T12" t="T13" r="T14" b="T15"/>
            <a:pathLst>
              <a:path w="9" h="10">
                <a:moveTo>
                  <a:pt x="0" y="0"/>
                </a:moveTo>
                <a:lnTo>
                  <a:pt x="9" y="8"/>
                </a:lnTo>
                <a:lnTo>
                  <a:pt x="7" y="10"/>
                </a:lnTo>
                <a:lnTo>
                  <a:pt x="0" y="0"/>
                </a:lnTo>
                <a:close/>
              </a:path>
            </a:pathLst>
          </a:custGeom>
          <a:solidFill>
            <a:schemeClr val="accent1"/>
          </a:solidFill>
          <a:ln w="6350">
            <a:solidFill>
              <a:schemeClr val="tx2"/>
            </a:solidFill>
            <a:round/>
            <a:headEnd/>
            <a:tailEnd/>
          </a:ln>
        </p:spPr>
        <p:txBody>
          <a:bodyPr/>
          <a:lstStyle/>
          <a:p>
            <a:endParaRPr lang="en-US"/>
          </a:p>
        </p:txBody>
      </p:sp>
      <p:sp>
        <p:nvSpPr>
          <p:cNvPr id="459" name="Freeform 1565"/>
          <p:cNvSpPr>
            <a:spLocks/>
          </p:cNvSpPr>
          <p:nvPr/>
        </p:nvSpPr>
        <p:spPr bwMode="auto">
          <a:xfrm>
            <a:off x="8864980" y="4289758"/>
            <a:ext cx="8600" cy="5095"/>
          </a:xfrm>
          <a:custGeom>
            <a:avLst/>
            <a:gdLst>
              <a:gd name="T0" fmla="*/ 0 w 17"/>
              <a:gd name="T1" fmla="*/ 2147483647 h 11"/>
              <a:gd name="T2" fmla="*/ 2147483647 w 17"/>
              <a:gd name="T3" fmla="*/ 0 h 11"/>
              <a:gd name="T4" fmla="*/ 2147483647 w 17"/>
              <a:gd name="T5" fmla="*/ 2147483647 h 11"/>
              <a:gd name="T6" fmla="*/ 2147483647 w 17"/>
              <a:gd name="T7" fmla="*/ 2147483647 h 11"/>
              <a:gd name="T8" fmla="*/ 0 w 17"/>
              <a:gd name="T9" fmla="*/ 2147483647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0" y="2"/>
                </a:moveTo>
                <a:lnTo>
                  <a:pt x="14" y="0"/>
                </a:lnTo>
                <a:lnTo>
                  <a:pt x="17" y="9"/>
                </a:lnTo>
                <a:lnTo>
                  <a:pt x="8" y="11"/>
                </a:lnTo>
                <a:lnTo>
                  <a:pt x="0" y="2"/>
                </a:lnTo>
                <a:close/>
              </a:path>
            </a:pathLst>
          </a:custGeom>
          <a:solidFill>
            <a:schemeClr val="accent1"/>
          </a:solidFill>
          <a:ln w="6350">
            <a:solidFill>
              <a:schemeClr val="tx2"/>
            </a:solidFill>
            <a:round/>
            <a:headEnd/>
            <a:tailEnd/>
          </a:ln>
        </p:spPr>
        <p:txBody>
          <a:bodyPr/>
          <a:lstStyle/>
          <a:p>
            <a:endParaRPr lang="en-US"/>
          </a:p>
        </p:txBody>
      </p:sp>
      <p:sp>
        <p:nvSpPr>
          <p:cNvPr id="460" name="Freeform 1566"/>
          <p:cNvSpPr>
            <a:spLocks/>
          </p:cNvSpPr>
          <p:nvPr/>
        </p:nvSpPr>
        <p:spPr bwMode="auto">
          <a:xfrm>
            <a:off x="8880747" y="4293578"/>
            <a:ext cx="48734" cy="39484"/>
          </a:xfrm>
          <a:custGeom>
            <a:avLst/>
            <a:gdLst>
              <a:gd name="T0" fmla="*/ 0 w 101"/>
              <a:gd name="T1" fmla="*/ 0 h 93"/>
              <a:gd name="T2" fmla="*/ 2147483647 w 101"/>
              <a:gd name="T3" fmla="*/ 2147483647 h 93"/>
              <a:gd name="T4" fmla="*/ 2147483647 w 101"/>
              <a:gd name="T5" fmla="*/ 2147483647 h 93"/>
              <a:gd name="T6" fmla="*/ 2147483647 w 101"/>
              <a:gd name="T7" fmla="*/ 2147483647 h 93"/>
              <a:gd name="T8" fmla="*/ 2147483647 w 101"/>
              <a:gd name="T9" fmla="*/ 2147483647 h 93"/>
              <a:gd name="T10" fmla="*/ 2147483647 w 101"/>
              <a:gd name="T11" fmla="*/ 2147483647 h 93"/>
              <a:gd name="T12" fmla="*/ 2147483647 w 101"/>
              <a:gd name="T13" fmla="*/ 2147483647 h 93"/>
              <a:gd name="T14" fmla="*/ 2147483647 w 101"/>
              <a:gd name="T15" fmla="*/ 2147483647 h 93"/>
              <a:gd name="T16" fmla="*/ 2147483647 w 101"/>
              <a:gd name="T17" fmla="*/ 2147483647 h 93"/>
              <a:gd name="T18" fmla="*/ 2147483647 w 101"/>
              <a:gd name="T19" fmla="*/ 2147483647 h 93"/>
              <a:gd name="T20" fmla="*/ 0 w 101"/>
              <a:gd name="T21" fmla="*/ 2147483647 h 93"/>
              <a:gd name="T22" fmla="*/ 0 w 101"/>
              <a:gd name="T23" fmla="*/ 0 h 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93"/>
              <a:gd name="T38" fmla="*/ 101 w 101"/>
              <a:gd name="T39" fmla="*/ 93 h 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93">
                <a:moveTo>
                  <a:pt x="0" y="0"/>
                </a:moveTo>
                <a:lnTo>
                  <a:pt x="42" y="25"/>
                </a:lnTo>
                <a:lnTo>
                  <a:pt x="50" y="26"/>
                </a:lnTo>
                <a:lnTo>
                  <a:pt x="82" y="54"/>
                </a:lnTo>
                <a:lnTo>
                  <a:pt x="92" y="56"/>
                </a:lnTo>
                <a:lnTo>
                  <a:pt x="101" y="72"/>
                </a:lnTo>
                <a:lnTo>
                  <a:pt x="94" y="93"/>
                </a:lnTo>
                <a:lnTo>
                  <a:pt x="86" y="93"/>
                </a:lnTo>
                <a:lnTo>
                  <a:pt x="75" y="54"/>
                </a:lnTo>
                <a:lnTo>
                  <a:pt x="66" y="40"/>
                </a:lnTo>
                <a:lnTo>
                  <a:pt x="0" y="5"/>
                </a:lnTo>
                <a:lnTo>
                  <a:pt x="0" y="0"/>
                </a:lnTo>
                <a:close/>
              </a:path>
            </a:pathLst>
          </a:custGeom>
          <a:solidFill>
            <a:schemeClr val="accent1"/>
          </a:solidFill>
          <a:ln w="6350">
            <a:solidFill>
              <a:schemeClr val="tx2"/>
            </a:solidFill>
            <a:round/>
            <a:headEnd/>
            <a:tailEnd/>
          </a:ln>
        </p:spPr>
        <p:txBody>
          <a:bodyPr/>
          <a:lstStyle/>
          <a:p>
            <a:endParaRPr lang="en-US"/>
          </a:p>
        </p:txBody>
      </p:sp>
      <p:sp>
        <p:nvSpPr>
          <p:cNvPr id="461" name="Freeform 1567"/>
          <p:cNvSpPr>
            <a:spLocks/>
          </p:cNvSpPr>
          <p:nvPr/>
        </p:nvSpPr>
        <p:spPr bwMode="auto">
          <a:xfrm>
            <a:off x="8803346" y="4341978"/>
            <a:ext cx="2866" cy="3821"/>
          </a:xfrm>
          <a:custGeom>
            <a:avLst/>
            <a:gdLst>
              <a:gd name="T0" fmla="*/ 0 w 7"/>
              <a:gd name="T1" fmla="*/ 0 h 10"/>
              <a:gd name="T2" fmla="*/ 2147483647 w 7"/>
              <a:gd name="T3" fmla="*/ 2147483647 h 10"/>
              <a:gd name="T4" fmla="*/ 2147483647 w 7"/>
              <a:gd name="T5" fmla="*/ 2147483647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0" y="0"/>
                </a:moveTo>
                <a:lnTo>
                  <a:pt x="7" y="6"/>
                </a:lnTo>
                <a:lnTo>
                  <a:pt x="5" y="10"/>
                </a:lnTo>
                <a:lnTo>
                  <a:pt x="0" y="0"/>
                </a:lnTo>
                <a:close/>
              </a:path>
            </a:pathLst>
          </a:custGeom>
          <a:solidFill>
            <a:schemeClr val="accent1"/>
          </a:solidFill>
          <a:ln w="6350">
            <a:solidFill>
              <a:schemeClr val="tx2"/>
            </a:solidFill>
            <a:round/>
            <a:headEnd/>
            <a:tailEnd/>
          </a:ln>
        </p:spPr>
        <p:txBody>
          <a:bodyPr/>
          <a:lstStyle/>
          <a:p>
            <a:endParaRPr lang="en-US"/>
          </a:p>
        </p:txBody>
      </p:sp>
      <p:sp>
        <p:nvSpPr>
          <p:cNvPr id="462" name="Freeform 1568"/>
          <p:cNvSpPr>
            <a:spLocks/>
          </p:cNvSpPr>
          <p:nvPr/>
        </p:nvSpPr>
        <p:spPr bwMode="auto">
          <a:xfrm>
            <a:off x="8820547" y="4347072"/>
            <a:ext cx="2866" cy="5095"/>
          </a:xfrm>
          <a:custGeom>
            <a:avLst/>
            <a:gdLst>
              <a:gd name="T0" fmla="*/ 0 w 12"/>
              <a:gd name="T1" fmla="*/ 0 h 11"/>
              <a:gd name="T2" fmla="*/ 2147483647 w 12"/>
              <a:gd name="T3" fmla="*/ 2147483647 h 11"/>
              <a:gd name="T4" fmla="*/ 2147483647 w 12"/>
              <a:gd name="T5" fmla="*/ 2147483647 h 11"/>
              <a:gd name="T6" fmla="*/ 2147483647 w 12"/>
              <a:gd name="T7" fmla="*/ 2147483647 h 11"/>
              <a:gd name="T8" fmla="*/ 0 w 12"/>
              <a:gd name="T9" fmla="*/ 0 h 11"/>
              <a:gd name="T10" fmla="*/ 0 60000 65536"/>
              <a:gd name="T11" fmla="*/ 0 60000 65536"/>
              <a:gd name="T12" fmla="*/ 0 60000 65536"/>
              <a:gd name="T13" fmla="*/ 0 60000 65536"/>
              <a:gd name="T14" fmla="*/ 0 60000 65536"/>
              <a:gd name="T15" fmla="*/ 0 w 12"/>
              <a:gd name="T16" fmla="*/ 0 h 11"/>
              <a:gd name="T17" fmla="*/ 12 w 12"/>
              <a:gd name="T18" fmla="*/ 11 h 11"/>
            </a:gdLst>
            <a:ahLst/>
            <a:cxnLst>
              <a:cxn ang="T10">
                <a:pos x="T0" y="T1"/>
              </a:cxn>
              <a:cxn ang="T11">
                <a:pos x="T2" y="T3"/>
              </a:cxn>
              <a:cxn ang="T12">
                <a:pos x="T4" y="T5"/>
              </a:cxn>
              <a:cxn ang="T13">
                <a:pos x="T6" y="T7"/>
              </a:cxn>
              <a:cxn ang="T14">
                <a:pos x="T8" y="T9"/>
              </a:cxn>
            </a:cxnLst>
            <a:rect l="T15" t="T16" r="T17" b="T18"/>
            <a:pathLst>
              <a:path w="12" h="11">
                <a:moveTo>
                  <a:pt x="0" y="0"/>
                </a:moveTo>
                <a:lnTo>
                  <a:pt x="11" y="4"/>
                </a:lnTo>
                <a:lnTo>
                  <a:pt x="12" y="11"/>
                </a:lnTo>
                <a:lnTo>
                  <a:pt x="8" y="11"/>
                </a:lnTo>
                <a:lnTo>
                  <a:pt x="0" y="0"/>
                </a:lnTo>
                <a:close/>
              </a:path>
            </a:pathLst>
          </a:custGeom>
          <a:solidFill>
            <a:schemeClr val="accent1"/>
          </a:solidFill>
          <a:ln w="6350">
            <a:solidFill>
              <a:schemeClr val="tx2"/>
            </a:solidFill>
            <a:round/>
            <a:headEnd/>
            <a:tailEnd/>
          </a:ln>
        </p:spPr>
        <p:txBody>
          <a:bodyPr/>
          <a:lstStyle/>
          <a:p>
            <a:endParaRPr lang="en-US"/>
          </a:p>
        </p:txBody>
      </p:sp>
      <p:sp>
        <p:nvSpPr>
          <p:cNvPr id="463" name="Freeform 1569"/>
          <p:cNvSpPr>
            <a:spLocks/>
          </p:cNvSpPr>
          <p:nvPr/>
        </p:nvSpPr>
        <p:spPr bwMode="auto">
          <a:xfrm>
            <a:off x="8829147" y="4322872"/>
            <a:ext cx="83134" cy="38210"/>
          </a:xfrm>
          <a:custGeom>
            <a:avLst/>
            <a:gdLst>
              <a:gd name="T0" fmla="*/ 0 w 175"/>
              <a:gd name="T1" fmla="*/ 2147483647 h 93"/>
              <a:gd name="T2" fmla="*/ 2147483647 w 175"/>
              <a:gd name="T3" fmla="*/ 2147483647 h 93"/>
              <a:gd name="T4" fmla="*/ 2147483647 w 175"/>
              <a:gd name="T5" fmla="*/ 2147483647 h 93"/>
              <a:gd name="T6" fmla="*/ 2147483647 w 175"/>
              <a:gd name="T7" fmla="*/ 2147483647 h 93"/>
              <a:gd name="T8" fmla="*/ 2147483647 w 175"/>
              <a:gd name="T9" fmla="*/ 2147483647 h 93"/>
              <a:gd name="T10" fmla="*/ 2147483647 w 175"/>
              <a:gd name="T11" fmla="*/ 2147483647 h 93"/>
              <a:gd name="T12" fmla="*/ 2147483647 w 175"/>
              <a:gd name="T13" fmla="*/ 2147483647 h 93"/>
              <a:gd name="T14" fmla="*/ 2147483647 w 175"/>
              <a:gd name="T15" fmla="*/ 2147483647 h 93"/>
              <a:gd name="T16" fmla="*/ 2147483647 w 175"/>
              <a:gd name="T17" fmla="*/ 2147483647 h 93"/>
              <a:gd name="T18" fmla="*/ 2147483647 w 175"/>
              <a:gd name="T19" fmla="*/ 2147483647 h 93"/>
              <a:gd name="T20" fmla="*/ 2147483647 w 175"/>
              <a:gd name="T21" fmla="*/ 2147483647 h 93"/>
              <a:gd name="T22" fmla="*/ 2147483647 w 175"/>
              <a:gd name="T23" fmla="*/ 0 h 93"/>
              <a:gd name="T24" fmla="*/ 2147483647 w 175"/>
              <a:gd name="T25" fmla="*/ 2147483647 h 93"/>
              <a:gd name="T26" fmla="*/ 2147483647 w 175"/>
              <a:gd name="T27" fmla="*/ 2147483647 h 93"/>
              <a:gd name="T28" fmla="*/ 2147483647 w 175"/>
              <a:gd name="T29" fmla="*/ 2147483647 h 93"/>
              <a:gd name="T30" fmla="*/ 2147483647 w 175"/>
              <a:gd name="T31" fmla="*/ 2147483647 h 93"/>
              <a:gd name="T32" fmla="*/ 2147483647 w 175"/>
              <a:gd name="T33" fmla="*/ 2147483647 h 93"/>
              <a:gd name="T34" fmla="*/ 2147483647 w 175"/>
              <a:gd name="T35" fmla="*/ 2147483647 h 93"/>
              <a:gd name="T36" fmla="*/ 2147483647 w 175"/>
              <a:gd name="T37" fmla="*/ 2147483647 h 93"/>
              <a:gd name="T38" fmla="*/ 2147483647 w 175"/>
              <a:gd name="T39" fmla="*/ 2147483647 h 93"/>
              <a:gd name="T40" fmla="*/ 2147483647 w 175"/>
              <a:gd name="T41" fmla="*/ 2147483647 h 93"/>
              <a:gd name="T42" fmla="*/ 2147483647 w 175"/>
              <a:gd name="T43" fmla="*/ 2147483647 h 93"/>
              <a:gd name="T44" fmla="*/ 2147483647 w 175"/>
              <a:gd name="T45" fmla="*/ 2147483647 h 93"/>
              <a:gd name="T46" fmla="*/ 2147483647 w 175"/>
              <a:gd name="T47" fmla="*/ 2147483647 h 93"/>
              <a:gd name="T48" fmla="*/ 0 w 175"/>
              <a:gd name="T49" fmla="*/ 2147483647 h 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5"/>
              <a:gd name="T76" fmla="*/ 0 h 93"/>
              <a:gd name="T77" fmla="*/ 175 w 175"/>
              <a:gd name="T78" fmla="*/ 93 h 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5" h="93">
                <a:moveTo>
                  <a:pt x="0" y="57"/>
                </a:moveTo>
                <a:lnTo>
                  <a:pt x="3" y="54"/>
                </a:lnTo>
                <a:lnTo>
                  <a:pt x="39" y="59"/>
                </a:lnTo>
                <a:lnTo>
                  <a:pt x="63" y="57"/>
                </a:lnTo>
                <a:lnTo>
                  <a:pt x="69" y="54"/>
                </a:lnTo>
                <a:lnTo>
                  <a:pt x="78" y="38"/>
                </a:lnTo>
                <a:lnTo>
                  <a:pt x="76" y="54"/>
                </a:lnTo>
                <a:lnTo>
                  <a:pt x="106" y="57"/>
                </a:lnTo>
                <a:lnTo>
                  <a:pt x="125" y="38"/>
                </a:lnTo>
                <a:lnTo>
                  <a:pt x="145" y="30"/>
                </a:lnTo>
                <a:lnTo>
                  <a:pt x="142" y="2"/>
                </a:lnTo>
                <a:lnTo>
                  <a:pt x="165" y="0"/>
                </a:lnTo>
                <a:lnTo>
                  <a:pt x="175" y="10"/>
                </a:lnTo>
                <a:lnTo>
                  <a:pt x="174" y="29"/>
                </a:lnTo>
                <a:lnTo>
                  <a:pt x="165" y="36"/>
                </a:lnTo>
                <a:lnTo>
                  <a:pt x="165" y="49"/>
                </a:lnTo>
                <a:lnTo>
                  <a:pt x="160" y="59"/>
                </a:lnTo>
                <a:lnTo>
                  <a:pt x="145" y="59"/>
                </a:lnTo>
                <a:lnTo>
                  <a:pt x="132" y="76"/>
                </a:lnTo>
                <a:lnTo>
                  <a:pt x="104" y="89"/>
                </a:lnTo>
                <a:lnTo>
                  <a:pt x="61" y="93"/>
                </a:lnTo>
                <a:lnTo>
                  <a:pt x="51" y="83"/>
                </a:lnTo>
                <a:lnTo>
                  <a:pt x="37" y="86"/>
                </a:lnTo>
                <a:lnTo>
                  <a:pt x="10" y="72"/>
                </a:lnTo>
                <a:lnTo>
                  <a:pt x="0" y="57"/>
                </a:lnTo>
                <a:close/>
              </a:path>
            </a:pathLst>
          </a:custGeom>
          <a:solidFill>
            <a:schemeClr val="accent1"/>
          </a:solidFill>
          <a:ln w="6350">
            <a:solidFill>
              <a:schemeClr val="tx2"/>
            </a:solidFill>
            <a:round/>
            <a:headEnd/>
            <a:tailEnd/>
          </a:ln>
        </p:spPr>
        <p:txBody>
          <a:bodyPr/>
          <a:lstStyle/>
          <a:p>
            <a:endParaRPr lang="en-US"/>
          </a:p>
        </p:txBody>
      </p:sp>
      <p:sp>
        <p:nvSpPr>
          <p:cNvPr id="464" name="Freeform 1570"/>
          <p:cNvSpPr>
            <a:spLocks/>
          </p:cNvSpPr>
          <p:nvPr/>
        </p:nvSpPr>
        <p:spPr bwMode="auto">
          <a:xfrm>
            <a:off x="8958147" y="4344525"/>
            <a:ext cx="25800" cy="25473"/>
          </a:xfrm>
          <a:custGeom>
            <a:avLst/>
            <a:gdLst>
              <a:gd name="T0" fmla="*/ 0 w 50"/>
              <a:gd name="T1" fmla="*/ 0 h 61"/>
              <a:gd name="T2" fmla="*/ 2147483647 w 50"/>
              <a:gd name="T3" fmla="*/ 2147483647 h 61"/>
              <a:gd name="T4" fmla="*/ 2147483647 w 50"/>
              <a:gd name="T5" fmla="*/ 2147483647 h 61"/>
              <a:gd name="T6" fmla="*/ 2147483647 w 50"/>
              <a:gd name="T7" fmla="*/ 2147483647 h 61"/>
              <a:gd name="T8" fmla="*/ 2147483647 w 50"/>
              <a:gd name="T9" fmla="*/ 2147483647 h 61"/>
              <a:gd name="T10" fmla="*/ 2147483647 w 50"/>
              <a:gd name="T11" fmla="*/ 2147483647 h 61"/>
              <a:gd name="T12" fmla="*/ 2147483647 w 50"/>
              <a:gd name="T13" fmla="*/ 2147483647 h 61"/>
              <a:gd name="T14" fmla="*/ 2147483647 w 50"/>
              <a:gd name="T15" fmla="*/ 2147483647 h 61"/>
              <a:gd name="T16" fmla="*/ 0 w 50"/>
              <a:gd name="T17" fmla="*/ 0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61"/>
              <a:gd name="T29" fmla="*/ 50 w 50"/>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61">
                <a:moveTo>
                  <a:pt x="0" y="0"/>
                </a:moveTo>
                <a:lnTo>
                  <a:pt x="11" y="3"/>
                </a:lnTo>
                <a:lnTo>
                  <a:pt x="50" y="44"/>
                </a:lnTo>
                <a:lnTo>
                  <a:pt x="50" y="57"/>
                </a:lnTo>
                <a:lnTo>
                  <a:pt x="38" y="61"/>
                </a:lnTo>
                <a:lnTo>
                  <a:pt x="24" y="53"/>
                </a:lnTo>
                <a:lnTo>
                  <a:pt x="20" y="36"/>
                </a:lnTo>
                <a:lnTo>
                  <a:pt x="1" y="15"/>
                </a:lnTo>
                <a:lnTo>
                  <a:pt x="0" y="0"/>
                </a:lnTo>
                <a:close/>
              </a:path>
            </a:pathLst>
          </a:custGeom>
          <a:solidFill>
            <a:schemeClr val="accent1"/>
          </a:solidFill>
          <a:ln w="6350">
            <a:solidFill>
              <a:schemeClr val="tx2"/>
            </a:solidFill>
            <a:round/>
            <a:headEnd/>
            <a:tailEnd/>
          </a:ln>
        </p:spPr>
        <p:txBody>
          <a:bodyPr/>
          <a:lstStyle/>
          <a:p>
            <a:endParaRPr lang="en-US"/>
          </a:p>
        </p:txBody>
      </p:sp>
      <p:sp>
        <p:nvSpPr>
          <p:cNvPr id="465" name="Freeform 1571"/>
          <p:cNvSpPr>
            <a:spLocks/>
          </p:cNvSpPr>
          <p:nvPr/>
        </p:nvSpPr>
        <p:spPr bwMode="auto">
          <a:xfrm>
            <a:off x="8993980" y="4364903"/>
            <a:ext cx="21500" cy="12737"/>
          </a:xfrm>
          <a:custGeom>
            <a:avLst/>
            <a:gdLst>
              <a:gd name="T0" fmla="*/ 0 w 44"/>
              <a:gd name="T1" fmla="*/ 0 h 29"/>
              <a:gd name="T2" fmla="*/ 2147483647 w 44"/>
              <a:gd name="T3" fmla="*/ 2147483647 h 29"/>
              <a:gd name="T4" fmla="*/ 2147483647 w 44"/>
              <a:gd name="T5" fmla="*/ 2147483647 h 29"/>
              <a:gd name="T6" fmla="*/ 2147483647 w 44"/>
              <a:gd name="T7" fmla="*/ 2147483647 h 29"/>
              <a:gd name="T8" fmla="*/ 0 w 44"/>
              <a:gd name="T9" fmla="*/ 0 h 29"/>
              <a:gd name="T10" fmla="*/ 0 60000 65536"/>
              <a:gd name="T11" fmla="*/ 0 60000 65536"/>
              <a:gd name="T12" fmla="*/ 0 60000 65536"/>
              <a:gd name="T13" fmla="*/ 0 60000 65536"/>
              <a:gd name="T14" fmla="*/ 0 60000 65536"/>
              <a:gd name="T15" fmla="*/ 0 w 44"/>
              <a:gd name="T16" fmla="*/ 0 h 29"/>
              <a:gd name="T17" fmla="*/ 44 w 44"/>
              <a:gd name="T18" fmla="*/ 29 h 29"/>
            </a:gdLst>
            <a:ahLst/>
            <a:cxnLst>
              <a:cxn ang="T10">
                <a:pos x="T0" y="T1"/>
              </a:cxn>
              <a:cxn ang="T11">
                <a:pos x="T2" y="T3"/>
              </a:cxn>
              <a:cxn ang="T12">
                <a:pos x="T4" y="T5"/>
              </a:cxn>
              <a:cxn ang="T13">
                <a:pos x="T6" y="T7"/>
              </a:cxn>
              <a:cxn ang="T14">
                <a:pos x="T8" y="T9"/>
              </a:cxn>
            </a:cxnLst>
            <a:rect l="T15" t="T16" r="T17" b="T18"/>
            <a:pathLst>
              <a:path w="44" h="29">
                <a:moveTo>
                  <a:pt x="0" y="0"/>
                </a:moveTo>
                <a:lnTo>
                  <a:pt x="20" y="8"/>
                </a:lnTo>
                <a:lnTo>
                  <a:pt x="44" y="29"/>
                </a:lnTo>
                <a:lnTo>
                  <a:pt x="19" y="23"/>
                </a:lnTo>
                <a:lnTo>
                  <a:pt x="0" y="0"/>
                </a:lnTo>
                <a:close/>
              </a:path>
            </a:pathLst>
          </a:custGeom>
          <a:solidFill>
            <a:schemeClr val="accent1"/>
          </a:solidFill>
          <a:ln w="6350">
            <a:solidFill>
              <a:schemeClr val="tx2"/>
            </a:solidFill>
            <a:round/>
            <a:headEnd/>
            <a:tailEnd/>
          </a:ln>
        </p:spPr>
        <p:txBody>
          <a:bodyPr/>
          <a:lstStyle/>
          <a:p>
            <a:endParaRPr lang="en-US"/>
          </a:p>
        </p:txBody>
      </p:sp>
      <p:sp>
        <p:nvSpPr>
          <p:cNvPr id="466" name="Freeform 1572"/>
          <p:cNvSpPr>
            <a:spLocks/>
          </p:cNvSpPr>
          <p:nvPr/>
        </p:nvSpPr>
        <p:spPr bwMode="auto">
          <a:xfrm>
            <a:off x="8995414" y="4381460"/>
            <a:ext cx="2866" cy="7642"/>
          </a:xfrm>
          <a:custGeom>
            <a:avLst/>
            <a:gdLst>
              <a:gd name="T0" fmla="*/ 0 w 9"/>
              <a:gd name="T1" fmla="*/ 0 h 18"/>
              <a:gd name="T2" fmla="*/ 2147483647 w 9"/>
              <a:gd name="T3" fmla="*/ 2147483647 h 18"/>
              <a:gd name="T4" fmla="*/ 2147483647 w 9"/>
              <a:gd name="T5" fmla="*/ 2147483647 h 18"/>
              <a:gd name="T6" fmla="*/ 0 w 9"/>
              <a:gd name="T7" fmla="*/ 0 h 18"/>
              <a:gd name="T8" fmla="*/ 0 60000 65536"/>
              <a:gd name="T9" fmla="*/ 0 60000 65536"/>
              <a:gd name="T10" fmla="*/ 0 60000 65536"/>
              <a:gd name="T11" fmla="*/ 0 60000 65536"/>
              <a:gd name="T12" fmla="*/ 0 w 9"/>
              <a:gd name="T13" fmla="*/ 0 h 18"/>
              <a:gd name="T14" fmla="*/ 9 w 9"/>
              <a:gd name="T15" fmla="*/ 18 h 18"/>
            </a:gdLst>
            <a:ahLst/>
            <a:cxnLst>
              <a:cxn ang="T8">
                <a:pos x="T0" y="T1"/>
              </a:cxn>
              <a:cxn ang="T9">
                <a:pos x="T2" y="T3"/>
              </a:cxn>
              <a:cxn ang="T10">
                <a:pos x="T4" y="T5"/>
              </a:cxn>
              <a:cxn ang="T11">
                <a:pos x="T6" y="T7"/>
              </a:cxn>
            </a:cxnLst>
            <a:rect l="T12" t="T13" r="T14" b="T15"/>
            <a:pathLst>
              <a:path w="9" h="18">
                <a:moveTo>
                  <a:pt x="0" y="0"/>
                </a:moveTo>
                <a:lnTo>
                  <a:pt x="9" y="9"/>
                </a:lnTo>
                <a:lnTo>
                  <a:pt x="7" y="18"/>
                </a:lnTo>
                <a:lnTo>
                  <a:pt x="0" y="0"/>
                </a:lnTo>
                <a:close/>
              </a:path>
            </a:pathLst>
          </a:custGeom>
          <a:solidFill>
            <a:schemeClr val="accent1"/>
          </a:solidFill>
          <a:ln w="6350">
            <a:solidFill>
              <a:schemeClr val="tx2"/>
            </a:solidFill>
            <a:round/>
            <a:headEnd/>
            <a:tailEnd/>
          </a:ln>
        </p:spPr>
        <p:txBody>
          <a:bodyPr/>
          <a:lstStyle/>
          <a:p>
            <a:endParaRPr lang="en-US"/>
          </a:p>
        </p:txBody>
      </p:sp>
      <p:sp>
        <p:nvSpPr>
          <p:cNvPr id="467" name="Freeform 1573"/>
          <p:cNvSpPr>
            <a:spLocks/>
          </p:cNvSpPr>
          <p:nvPr/>
        </p:nvSpPr>
        <p:spPr bwMode="auto">
          <a:xfrm>
            <a:off x="9004014" y="4386556"/>
            <a:ext cx="2866" cy="6368"/>
          </a:xfrm>
          <a:custGeom>
            <a:avLst/>
            <a:gdLst>
              <a:gd name="T0" fmla="*/ 2147483647 w 7"/>
              <a:gd name="T1" fmla="*/ 2147483647 h 14"/>
              <a:gd name="T2" fmla="*/ 2147483647 w 7"/>
              <a:gd name="T3" fmla="*/ 2147483647 h 14"/>
              <a:gd name="T4" fmla="*/ 2147483647 w 7"/>
              <a:gd name="T5" fmla="*/ 2147483647 h 14"/>
              <a:gd name="T6" fmla="*/ 0 w 7"/>
              <a:gd name="T7" fmla="*/ 0 h 14"/>
              <a:gd name="T8" fmla="*/ 2147483647 w 7"/>
              <a:gd name="T9" fmla="*/ 2147483647 h 14"/>
              <a:gd name="T10" fmla="*/ 0 60000 65536"/>
              <a:gd name="T11" fmla="*/ 0 60000 65536"/>
              <a:gd name="T12" fmla="*/ 0 60000 65536"/>
              <a:gd name="T13" fmla="*/ 0 60000 65536"/>
              <a:gd name="T14" fmla="*/ 0 60000 65536"/>
              <a:gd name="T15" fmla="*/ 0 w 7"/>
              <a:gd name="T16" fmla="*/ 0 h 14"/>
              <a:gd name="T17" fmla="*/ 7 w 7"/>
              <a:gd name="T18" fmla="*/ 14 h 14"/>
            </a:gdLst>
            <a:ahLst/>
            <a:cxnLst>
              <a:cxn ang="T10">
                <a:pos x="T0" y="T1"/>
              </a:cxn>
              <a:cxn ang="T11">
                <a:pos x="T2" y="T3"/>
              </a:cxn>
              <a:cxn ang="T12">
                <a:pos x="T4" y="T5"/>
              </a:cxn>
              <a:cxn ang="T13">
                <a:pos x="T6" y="T7"/>
              </a:cxn>
              <a:cxn ang="T14">
                <a:pos x="T8" y="T9"/>
              </a:cxn>
            </a:cxnLst>
            <a:rect l="T15" t="T16" r="T17" b="T18"/>
            <a:pathLst>
              <a:path w="7" h="14">
                <a:moveTo>
                  <a:pt x="5" y="3"/>
                </a:moveTo>
                <a:lnTo>
                  <a:pt x="7" y="13"/>
                </a:lnTo>
                <a:lnTo>
                  <a:pt x="4" y="14"/>
                </a:lnTo>
                <a:lnTo>
                  <a:pt x="0" y="0"/>
                </a:lnTo>
                <a:lnTo>
                  <a:pt x="5" y="3"/>
                </a:lnTo>
                <a:close/>
              </a:path>
            </a:pathLst>
          </a:custGeom>
          <a:solidFill>
            <a:schemeClr val="accent1"/>
          </a:solidFill>
          <a:ln w="6350">
            <a:solidFill>
              <a:schemeClr val="tx2"/>
            </a:solidFill>
            <a:round/>
            <a:headEnd/>
            <a:tailEnd/>
          </a:ln>
        </p:spPr>
        <p:txBody>
          <a:bodyPr/>
          <a:lstStyle/>
          <a:p>
            <a:endParaRPr lang="en-US"/>
          </a:p>
        </p:txBody>
      </p:sp>
      <p:sp>
        <p:nvSpPr>
          <p:cNvPr id="468" name="Freeform 1574"/>
          <p:cNvSpPr>
            <a:spLocks/>
          </p:cNvSpPr>
          <p:nvPr/>
        </p:nvSpPr>
        <p:spPr bwMode="auto">
          <a:xfrm>
            <a:off x="9009748" y="4390376"/>
            <a:ext cx="12899" cy="8916"/>
          </a:xfrm>
          <a:custGeom>
            <a:avLst/>
            <a:gdLst>
              <a:gd name="T0" fmla="*/ 0 w 25"/>
              <a:gd name="T1" fmla="*/ 2147483647 h 22"/>
              <a:gd name="T2" fmla="*/ 2147483647 w 25"/>
              <a:gd name="T3" fmla="*/ 2147483647 h 22"/>
              <a:gd name="T4" fmla="*/ 2147483647 w 25"/>
              <a:gd name="T5" fmla="*/ 0 h 22"/>
              <a:gd name="T6" fmla="*/ 2147483647 w 25"/>
              <a:gd name="T7" fmla="*/ 2147483647 h 22"/>
              <a:gd name="T8" fmla="*/ 2147483647 w 25"/>
              <a:gd name="T9" fmla="*/ 2147483647 h 22"/>
              <a:gd name="T10" fmla="*/ 0 w 25"/>
              <a:gd name="T11" fmla="*/ 2147483647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9"/>
                </a:moveTo>
                <a:lnTo>
                  <a:pt x="1" y="2"/>
                </a:lnTo>
                <a:lnTo>
                  <a:pt x="11" y="0"/>
                </a:lnTo>
                <a:lnTo>
                  <a:pt x="22" y="12"/>
                </a:lnTo>
                <a:lnTo>
                  <a:pt x="25" y="22"/>
                </a:lnTo>
                <a:lnTo>
                  <a:pt x="0" y="9"/>
                </a:lnTo>
                <a:close/>
              </a:path>
            </a:pathLst>
          </a:custGeom>
          <a:solidFill>
            <a:schemeClr val="accent1"/>
          </a:solidFill>
          <a:ln w="6350">
            <a:solidFill>
              <a:schemeClr val="tx2"/>
            </a:solidFill>
            <a:round/>
            <a:headEnd/>
            <a:tailEnd/>
          </a:ln>
        </p:spPr>
        <p:txBody>
          <a:bodyPr/>
          <a:lstStyle/>
          <a:p>
            <a:endParaRPr lang="en-US"/>
          </a:p>
        </p:txBody>
      </p:sp>
      <p:sp>
        <p:nvSpPr>
          <p:cNvPr id="469" name="Freeform 1575"/>
          <p:cNvSpPr>
            <a:spLocks/>
          </p:cNvSpPr>
          <p:nvPr/>
        </p:nvSpPr>
        <p:spPr bwMode="auto">
          <a:xfrm>
            <a:off x="9012614" y="4398018"/>
            <a:ext cx="1432" cy="3821"/>
          </a:xfrm>
          <a:custGeom>
            <a:avLst/>
            <a:gdLst>
              <a:gd name="T0" fmla="*/ 0 w 3"/>
              <a:gd name="T1" fmla="*/ 2147483647 h 8"/>
              <a:gd name="T2" fmla="*/ 2147483647 w 3"/>
              <a:gd name="T3" fmla="*/ 0 h 8"/>
              <a:gd name="T4" fmla="*/ 2147483647 w 3"/>
              <a:gd name="T5" fmla="*/ 2147483647 h 8"/>
              <a:gd name="T6" fmla="*/ 0 w 3"/>
              <a:gd name="T7" fmla="*/ 2147483647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0" y="6"/>
                </a:moveTo>
                <a:lnTo>
                  <a:pt x="2" y="0"/>
                </a:lnTo>
                <a:lnTo>
                  <a:pt x="3" y="8"/>
                </a:lnTo>
                <a:lnTo>
                  <a:pt x="0" y="6"/>
                </a:lnTo>
                <a:close/>
              </a:path>
            </a:pathLst>
          </a:custGeom>
          <a:solidFill>
            <a:schemeClr val="accent1"/>
          </a:solidFill>
          <a:ln w="6350">
            <a:solidFill>
              <a:schemeClr val="tx2"/>
            </a:solidFill>
            <a:round/>
            <a:headEnd/>
            <a:tailEnd/>
          </a:ln>
        </p:spPr>
        <p:txBody>
          <a:bodyPr/>
          <a:lstStyle/>
          <a:p>
            <a:endParaRPr lang="en-US"/>
          </a:p>
        </p:txBody>
      </p:sp>
      <p:sp>
        <p:nvSpPr>
          <p:cNvPr id="470" name="Freeform 1576"/>
          <p:cNvSpPr>
            <a:spLocks/>
          </p:cNvSpPr>
          <p:nvPr/>
        </p:nvSpPr>
        <p:spPr bwMode="auto">
          <a:xfrm>
            <a:off x="9024081" y="4400566"/>
            <a:ext cx="2866" cy="2547"/>
          </a:xfrm>
          <a:custGeom>
            <a:avLst/>
            <a:gdLst>
              <a:gd name="T0" fmla="*/ 0 w 6"/>
              <a:gd name="T1" fmla="*/ 2147483647 h 6"/>
              <a:gd name="T2" fmla="*/ 2147483647 w 6"/>
              <a:gd name="T3" fmla="*/ 0 h 6"/>
              <a:gd name="T4" fmla="*/ 2147483647 w 6"/>
              <a:gd name="T5" fmla="*/ 2147483647 h 6"/>
              <a:gd name="T6" fmla="*/ 0 w 6"/>
              <a:gd name="T7" fmla="*/ 2147483647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4"/>
                </a:moveTo>
                <a:lnTo>
                  <a:pt x="5" y="0"/>
                </a:lnTo>
                <a:lnTo>
                  <a:pt x="6" y="6"/>
                </a:lnTo>
                <a:lnTo>
                  <a:pt x="0" y="4"/>
                </a:lnTo>
                <a:close/>
              </a:path>
            </a:pathLst>
          </a:custGeom>
          <a:solidFill>
            <a:schemeClr val="accent1"/>
          </a:solidFill>
          <a:ln w="6350">
            <a:solidFill>
              <a:schemeClr val="tx2"/>
            </a:solidFill>
            <a:round/>
            <a:headEnd/>
            <a:tailEnd/>
          </a:ln>
        </p:spPr>
        <p:txBody>
          <a:bodyPr/>
          <a:lstStyle/>
          <a:p>
            <a:endParaRPr lang="en-US"/>
          </a:p>
        </p:txBody>
      </p:sp>
      <p:sp>
        <p:nvSpPr>
          <p:cNvPr id="471" name="Freeform 1577"/>
          <p:cNvSpPr>
            <a:spLocks/>
          </p:cNvSpPr>
          <p:nvPr/>
        </p:nvSpPr>
        <p:spPr bwMode="auto">
          <a:xfrm>
            <a:off x="9035548" y="4381460"/>
            <a:ext cx="25800" cy="17831"/>
          </a:xfrm>
          <a:custGeom>
            <a:avLst/>
            <a:gdLst>
              <a:gd name="T0" fmla="*/ 0 w 57"/>
              <a:gd name="T1" fmla="*/ 0 h 41"/>
              <a:gd name="T2" fmla="*/ 2147483647 w 57"/>
              <a:gd name="T3" fmla="*/ 2147483647 h 41"/>
              <a:gd name="T4" fmla="*/ 2147483647 w 57"/>
              <a:gd name="T5" fmla="*/ 2147483647 h 41"/>
              <a:gd name="T6" fmla="*/ 2147483647 w 57"/>
              <a:gd name="T7" fmla="*/ 2147483647 h 41"/>
              <a:gd name="T8" fmla="*/ 0 w 57"/>
              <a:gd name="T9" fmla="*/ 0 h 41"/>
              <a:gd name="T10" fmla="*/ 0 60000 65536"/>
              <a:gd name="T11" fmla="*/ 0 60000 65536"/>
              <a:gd name="T12" fmla="*/ 0 60000 65536"/>
              <a:gd name="T13" fmla="*/ 0 60000 65536"/>
              <a:gd name="T14" fmla="*/ 0 60000 65536"/>
              <a:gd name="T15" fmla="*/ 0 w 57"/>
              <a:gd name="T16" fmla="*/ 0 h 41"/>
              <a:gd name="T17" fmla="*/ 57 w 57"/>
              <a:gd name="T18" fmla="*/ 41 h 41"/>
            </a:gdLst>
            <a:ahLst/>
            <a:cxnLst>
              <a:cxn ang="T10">
                <a:pos x="T0" y="T1"/>
              </a:cxn>
              <a:cxn ang="T11">
                <a:pos x="T2" y="T3"/>
              </a:cxn>
              <a:cxn ang="T12">
                <a:pos x="T4" y="T5"/>
              </a:cxn>
              <a:cxn ang="T13">
                <a:pos x="T6" y="T7"/>
              </a:cxn>
              <a:cxn ang="T14">
                <a:pos x="T8" y="T9"/>
              </a:cxn>
            </a:cxnLst>
            <a:rect l="T15" t="T16" r="T17" b="T18"/>
            <a:pathLst>
              <a:path w="57" h="41">
                <a:moveTo>
                  <a:pt x="0" y="0"/>
                </a:moveTo>
                <a:lnTo>
                  <a:pt x="51" y="27"/>
                </a:lnTo>
                <a:lnTo>
                  <a:pt x="57" y="41"/>
                </a:lnTo>
                <a:lnTo>
                  <a:pt x="12" y="15"/>
                </a:lnTo>
                <a:lnTo>
                  <a:pt x="0" y="0"/>
                </a:lnTo>
                <a:close/>
              </a:path>
            </a:pathLst>
          </a:custGeom>
          <a:solidFill>
            <a:schemeClr val="accent1"/>
          </a:solidFill>
          <a:ln w="6350">
            <a:solidFill>
              <a:schemeClr val="tx2"/>
            </a:solidFill>
            <a:round/>
            <a:headEnd/>
            <a:tailEnd/>
          </a:ln>
        </p:spPr>
        <p:txBody>
          <a:bodyPr/>
          <a:lstStyle/>
          <a:p>
            <a:endParaRPr lang="en-US"/>
          </a:p>
        </p:txBody>
      </p:sp>
      <p:sp>
        <p:nvSpPr>
          <p:cNvPr id="472" name="Freeform 1578"/>
          <p:cNvSpPr>
            <a:spLocks/>
          </p:cNvSpPr>
          <p:nvPr/>
        </p:nvSpPr>
        <p:spPr bwMode="auto">
          <a:xfrm>
            <a:off x="9078548" y="4396745"/>
            <a:ext cx="20066" cy="24199"/>
          </a:xfrm>
          <a:custGeom>
            <a:avLst/>
            <a:gdLst>
              <a:gd name="T0" fmla="*/ 0 w 36"/>
              <a:gd name="T1" fmla="*/ 2147483647 h 56"/>
              <a:gd name="T2" fmla="*/ 2147483647 w 36"/>
              <a:gd name="T3" fmla="*/ 0 h 56"/>
              <a:gd name="T4" fmla="*/ 2147483647 w 36"/>
              <a:gd name="T5" fmla="*/ 2147483647 h 56"/>
              <a:gd name="T6" fmla="*/ 2147483647 w 36"/>
              <a:gd name="T7" fmla="*/ 2147483647 h 56"/>
              <a:gd name="T8" fmla="*/ 2147483647 w 36"/>
              <a:gd name="T9" fmla="*/ 2147483647 h 56"/>
              <a:gd name="T10" fmla="*/ 2147483647 w 36"/>
              <a:gd name="T11" fmla="*/ 2147483647 h 56"/>
              <a:gd name="T12" fmla="*/ 2147483647 w 36"/>
              <a:gd name="T13" fmla="*/ 2147483647 h 56"/>
              <a:gd name="T14" fmla="*/ 2147483647 w 36"/>
              <a:gd name="T15" fmla="*/ 2147483647 h 56"/>
              <a:gd name="T16" fmla="*/ 2147483647 w 36"/>
              <a:gd name="T17" fmla="*/ 2147483647 h 56"/>
              <a:gd name="T18" fmla="*/ 0 w 36"/>
              <a:gd name="T19" fmla="*/ 2147483647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56"/>
              <a:gd name="T32" fmla="*/ 36 w 3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56">
                <a:moveTo>
                  <a:pt x="0" y="3"/>
                </a:moveTo>
                <a:lnTo>
                  <a:pt x="1" y="0"/>
                </a:lnTo>
                <a:lnTo>
                  <a:pt x="6" y="4"/>
                </a:lnTo>
                <a:lnTo>
                  <a:pt x="11" y="19"/>
                </a:lnTo>
                <a:lnTo>
                  <a:pt x="24" y="36"/>
                </a:lnTo>
                <a:lnTo>
                  <a:pt x="24" y="42"/>
                </a:lnTo>
                <a:lnTo>
                  <a:pt x="32" y="43"/>
                </a:lnTo>
                <a:lnTo>
                  <a:pt x="36" y="56"/>
                </a:lnTo>
                <a:lnTo>
                  <a:pt x="14" y="37"/>
                </a:lnTo>
                <a:lnTo>
                  <a:pt x="0" y="3"/>
                </a:lnTo>
                <a:close/>
              </a:path>
            </a:pathLst>
          </a:custGeom>
          <a:solidFill>
            <a:schemeClr val="accent1"/>
          </a:solidFill>
          <a:ln w="6350">
            <a:solidFill>
              <a:schemeClr val="tx2"/>
            </a:solidFill>
            <a:round/>
            <a:headEnd/>
            <a:tailEnd/>
          </a:ln>
        </p:spPr>
        <p:txBody>
          <a:bodyPr/>
          <a:lstStyle/>
          <a:p>
            <a:endParaRPr lang="en-US"/>
          </a:p>
        </p:txBody>
      </p:sp>
      <p:sp>
        <p:nvSpPr>
          <p:cNvPr id="473" name="Freeform 1579"/>
          <p:cNvSpPr>
            <a:spLocks/>
          </p:cNvSpPr>
          <p:nvPr/>
        </p:nvSpPr>
        <p:spPr bwMode="auto">
          <a:xfrm>
            <a:off x="9069947" y="4408208"/>
            <a:ext cx="2866" cy="3821"/>
          </a:xfrm>
          <a:custGeom>
            <a:avLst/>
            <a:gdLst>
              <a:gd name="T0" fmla="*/ 0 w 11"/>
              <a:gd name="T1" fmla="*/ 2147483647 h 7"/>
              <a:gd name="T2" fmla="*/ 2147483647 w 11"/>
              <a:gd name="T3" fmla="*/ 0 h 7"/>
              <a:gd name="T4" fmla="*/ 2147483647 w 11"/>
              <a:gd name="T5" fmla="*/ 2147483647 h 7"/>
              <a:gd name="T6" fmla="*/ 0 w 11"/>
              <a:gd name="T7" fmla="*/ 2147483647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1"/>
                </a:moveTo>
                <a:lnTo>
                  <a:pt x="8" y="0"/>
                </a:lnTo>
                <a:lnTo>
                  <a:pt x="11" y="7"/>
                </a:lnTo>
                <a:lnTo>
                  <a:pt x="0" y="1"/>
                </a:lnTo>
                <a:close/>
              </a:path>
            </a:pathLst>
          </a:custGeom>
          <a:solidFill>
            <a:schemeClr val="accent1"/>
          </a:solidFill>
          <a:ln w="6350">
            <a:solidFill>
              <a:schemeClr val="tx2"/>
            </a:solidFill>
            <a:round/>
            <a:headEnd/>
            <a:tailEnd/>
          </a:ln>
        </p:spPr>
        <p:txBody>
          <a:bodyPr/>
          <a:lstStyle/>
          <a:p>
            <a:endParaRPr lang="en-US"/>
          </a:p>
        </p:txBody>
      </p:sp>
      <p:sp>
        <p:nvSpPr>
          <p:cNvPr id="474" name="Freeform 1580"/>
          <p:cNvSpPr>
            <a:spLocks/>
          </p:cNvSpPr>
          <p:nvPr/>
        </p:nvSpPr>
        <p:spPr bwMode="auto">
          <a:xfrm>
            <a:off x="9057047" y="4414576"/>
            <a:ext cx="25800" cy="11462"/>
          </a:xfrm>
          <a:custGeom>
            <a:avLst/>
            <a:gdLst>
              <a:gd name="T0" fmla="*/ 2147483647 w 56"/>
              <a:gd name="T1" fmla="*/ 0 h 28"/>
              <a:gd name="T2" fmla="*/ 2147483647 w 56"/>
              <a:gd name="T3" fmla="*/ 2147483647 h 28"/>
              <a:gd name="T4" fmla="*/ 2147483647 w 56"/>
              <a:gd name="T5" fmla="*/ 2147483647 h 28"/>
              <a:gd name="T6" fmla="*/ 2147483647 w 56"/>
              <a:gd name="T7" fmla="*/ 2147483647 h 28"/>
              <a:gd name="T8" fmla="*/ 2147483647 w 56"/>
              <a:gd name="T9" fmla="*/ 2147483647 h 28"/>
              <a:gd name="T10" fmla="*/ 2147483647 w 56"/>
              <a:gd name="T11" fmla="*/ 2147483647 h 28"/>
              <a:gd name="T12" fmla="*/ 0 w 56"/>
              <a:gd name="T13" fmla="*/ 2147483647 h 28"/>
              <a:gd name="T14" fmla="*/ 2147483647 w 56"/>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28"/>
              <a:gd name="T26" fmla="*/ 56 w 56"/>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28">
                <a:moveTo>
                  <a:pt x="1" y="0"/>
                </a:moveTo>
                <a:lnTo>
                  <a:pt x="32" y="3"/>
                </a:lnTo>
                <a:lnTo>
                  <a:pt x="56" y="19"/>
                </a:lnTo>
                <a:lnTo>
                  <a:pt x="56" y="24"/>
                </a:lnTo>
                <a:lnTo>
                  <a:pt x="52" y="28"/>
                </a:lnTo>
                <a:lnTo>
                  <a:pt x="18" y="24"/>
                </a:lnTo>
                <a:lnTo>
                  <a:pt x="0" y="9"/>
                </a:lnTo>
                <a:lnTo>
                  <a:pt x="1" y="0"/>
                </a:lnTo>
                <a:close/>
              </a:path>
            </a:pathLst>
          </a:custGeom>
          <a:solidFill>
            <a:schemeClr val="accent1"/>
          </a:solidFill>
          <a:ln w="6350">
            <a:solidFill>
              <a:schemeClr val="tx2"/>
            </a:solidFill>
            <a:round/>
            <a:headEnd/>
            <a:tailEnd/>
          </a:ln>
        </p:spPr>
        <p:txBody>
          <a:bodyPr/>
          <a:lstStyle/>
          <a:p>
            <a:endParaRPr lang="en-US"/>
          </a:p>
        </p:txBody>
      </p:sp>
      <p:sp>
        <p:nvSpPr>
          <p:cNvPr id="475" name="Freeform 1581"/>
          <p:cNvSpPr>
            <a:spLocks/>
          </p:cNvSpPr>
          <p:nvPr/>
        </p:nvSpPr>
        <p:spPr bwMode="auto">
          <a:xfrm>
            <a:off x="9092882" y="4429860"/>
            <a:ext cx="20066" cy="11462"/>
          </a:xfrm>
          <a:custGeom>
            <a:avLst/>
            <a:gdLst>
              <a:gd name="T0" fmla="*/ 0 w 41"/>
              <a:gd name="T1" fmla="*/ 0 h 29"/>
              <a:gd name="T2" fmla="*/ 2147483647 w 41"/>
              <a:gd name="T3" fmla="*/ 2147483647 h 29"/>
              <a:gd name="T4" fmla="*/ 2147483647 w 41"/>
              <a:gd name="T5" fmla="*/ 2147483647 h 29"/>
              <a:gd name="T6" fmla="*/ 2147483647 w 41"/>
              <a:gd name="T7" fmla="*/ 2147483647 h 29"/>
              <a:gd name="T8" fmla="*/ 2147483647 w 41"/>
              <a:gd name="T9" fmla="*/ 2147483647 h 29"/>
              <a:gd name="T10" fmla="*/ 0 w 41"/>
              <a:gd name="T11" fmla="*/ 0 h 29"/>
              <a:gd name="T12" fmla="*/ 0 60000 65536"/>
              <a:gd name="T13" fmla="*/ 0 60000 65536"/>
              <a:gd name="T14" fmla="*/ 0 60000 65536"/>
              <a:gd name="T15" fmla="*/ 0 60000 65536"/>
              <a:gd name="T16" fmla="*/ 0 60000 65536"/>
              <a:gd name="T17" fmla="*/ 0 60000 65536"/>
              <a:gd name="T18" fmla="*/ 0 w 41"/>
              <a:gd name="T19" fmla="*/ 0 h 29"/>
              <a:gd name="T20" fmla="*/ 41 w 4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41" h="29">
                <a:moveTo>
                  <a:pt x="0" y="0"/>
                </a:moveTo>
                <a:lnTo>
                  <a:pt x="30" y="12"/>
                </a:lnTo>
                <a:lnTo>
                  <a:pt x="41" y="26"/>
                </a:lnTo>
                <a:lnTo>
                  <a:pt x="38" y="29"/>
                </a:lnTo>
                <a:lnTo>
                  <a:pt x="19" y="22"/>
                </a:lnTo>
                <a:lnTo>
                  <a:pt x="0" y="0"/>
                </a:lnTo>
                <a:close/>
              </a:path>
            </a:pathLst>
          </a:custGeom>
          <a:solidFill>
            <a:schemeClr val="accent1"/>
          </a:solidFill>
          <a:ln w="6350">
            <a:solidFill>
              <a:schemeClr val="tx2"/>
            </a:solidFill>
            <a:round/>
            <a:headEnd/>
            <a:tailEnd/>
          </a:ln>
        </p:spPr>
        <p:txBody>
          <a:bodyPr/>
          <a:lstStyle/>
          <a:p>
            <a:endParaRPr lang="en-US"/>
          </a:p>
        </p:txBody>
      </p:sp>
      <p:sp>
        <p:nvSpPr>
          <p:cNvPr id="476" name="Freeform 1582"/>
          <p:cNvSpPr>
            <a:spLocks/>
          </p:cNvSpPr>
          <p:nvPr/>
        </p:nvSpPr>
        <p:spPr bwMode="auto">
          <a:xfrm>
            <a:off x="8915147" y="4408208"/>
            <a:ext cx="8600" cy="6369"/>
          </a:xfrm>
          <a:custGeom>
            <a:avLst/>
            <a:gdLst>
              <a:gd name="T0" fmla="*/ 0 w 15"/>
              <a:gd name="T1" fmla="*/ 0 h 14"/>
              <a:gd name="T2" fmla="*/ 2147483647 w 15"/>
              <a:gd name="T3" fmla="*/ 2147483647 h 14"/>
              <a:gd name="T4" fmla="*/ 2147483647 w 15"/>
              <a:gd name="T5" fmla="*/ 2147483647 h 14"/>
              <a:gd name="T6" fmla="*/ 2147483647 w 15"/>
              <a:gd name="T7" fmla="*/ 2147483647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0" y="0"/>
                </a:moveTo>
                <a:lnTo>
                  <a:pt x="15" y="9"/>
                </a:lnTo>
                <a:lnTo>
                  <a:pt x="15" y="14"/>
                </a:lnTo>
                <a:lnTo>
                  <a:pt x="9" y="14"/>
                </a:lnTo>
                <a:lnTo>
                  <a:pt x="0" y="0"/>
                </a:lnTo>
                <a:close/>
              </a:path>
            </a:pathLst>
          </a:custGeom>
          <a:solidFill>
            <a:schemeClr val="accent1"/>
          </a:solidFill>
          <a:ln w="6350">
            <a:solidFill>
              <a:schemeClr val="tx2"/>
            </a:solidFill>
            <a:round/>
            <a:headEnd/>
            <a:tailEnd/>
          </a:ln>
        </p:spPr>
        <p:txBody>
          <a:bodyPr/>
          <a:lstStyle/>
          <a:p>
            <a:endParaRPr lang="en-US"/>
          </a:p>
        </p:txBody>
      </p:sp>
      <p:sp>
        <p:nvSpPr>
          <p:cNvPr id="477" name="Freeform 1583"/>
          <p:cNvSpPr>
            <a:spLocks/>
          </p:cNvSpPr>
          <p:nvPr/>
        </p:nvSpPr>
        <p:spPr bwMode="auto">
          <a:xfrm>
            <a:off x="8875015" y="4415849"/>
            <a:ext cx="8600" cy="6369"/>
          </a:xfrm>
          <a:custGeom>
            <a:avLst/>
            <a:gdLst>
              <a:gd name="T0" fmla="*/ 0 w 19"/>
              <a:gd name="T1" fmla="*/ 0 h 16"/>
              <a:gd name="T2" fmla="*/ 2147483647 w 19"/>
              <a:gd name="T3" fmla="*/ 2147483647 h 16"/>
              <a:gd name="T4" fmla="*/ 2147483647 w 19"/>
              <a:gd name="T5" fmla="*/ 2147483647 h 16"/>
              <a:gd name="T6" fmla="*/ 2147483647 w 19"/>
              <a:gd name="T7" fmla="*/ 2147483647 h 16"/>
              <a:gd name="T8" fmla="*/ 0 w 19"/>
              <a:gd name="T9" fmla="*/ 0 h 16"/>
              <a:gd name="T10" fmla="*/ 0 60000 65536"/>
              <a:gd name="T11" fmla="*/ 0 60000 65536"/>
              <a:gd name="T12" fmla="*/ 0 60000 65536"/>
              <a:gd name="T13" fmla="*/ 0 60000 65536"/>
              <a:gd name="T14" fmla="*/ 0 60000 65536"/>
              <a:gd name="T15" fmla="*/ 0 w 19"/>
              <a:gd name="T16" fmla="*/ 0 h 16"/>
              <a:gd name="T17" fmla="*/ 19 w 19"/>
              <a:gd name="T18" fmla="*/ 16 h 16"/>
            </a:gdLst>
            <a:ahLst/>
            <a:cxnLst>
              <a:cxn ang="T10">
                <a:pos x="T0" y="T1"/>
              </a:cxn>
              <a:cxn ang="T11">
                <a:pos x="T2" y="T3"/>
              </a:cxn>
              <a:cxn ang="T12">
                <a:pos x="T4" y="T5"/>
              </a:cxn>
              <a:cxn ang="T13">
                <a:pos x="T6" y="T7"/>
              </a:cxn>
              <a:cxn ang="T14">
                <a:pos x="T8" y="T9"/>
              </a:cxn>
            </a:cxnLst>
            <a:rect l="T15" t="T16" r="T17" b="T18"/>
            <a:pathLst>
              <a:path w="19" h="16">
                <a:moveTo>
                  <a:pt x="0" y="0"/>
                </a:moveTo>
                <a:lnTo>
                  <a:pt x="17" y="6"/>
                </a:lnTo>
                <a:lnTo>
                  <a:pt x="19" y="16"/>
                </a:lnTo>
                <a:lnTo>
                  <a:pt x="2" y="13"/>
                </a:lnTo>
                <a:lnTo>
                  <a:pt x="0" y="0"/>
                </a:lnTo>
                <a:close/>
              </a:path>
            </a:pathLst>
          </a:custGeom>
          <a:solidFill>
            <a:schemeClr val="accent1"/>
          </a:solidFill>
          <a:ln w="6350">
            <a:solidFill>
              <a:schemeClr val="tx2"/>
            </a:solidFill>
            <a:round/>
            <a:headEnd/>
            <a:tailEnd/>
          </a:ln>
        </p:spPr>
        <p:txBody>
          <a:bodyPr/>
          <a:lstStyle/>
          <a:p>
            <a:endParaRPr lang="en-US"/>
          </a:p>
        </p:txBody>
      </p:sp>
      <p:sp>
        <p:nvSpPr>
          <p:cNvPr id="478" name="Freeform 1584"/>
          <p:cNvSpPr>
            <a:spLocks/>
          </p:cNvSpPr>
          <p:nvPr/>
        </p:nvSpPr>
        <p:spPr bwMode="auto">
          <a:xfrm>
            <a:off x="8880747" y="4423491"/>
            <a:ext cx="8600" cy="5095"/>
          </a:xfrm>
          <a:custGeom>
            <a:avLst/>
            <a:gdLst>
              <a:gd name="T0" fmla="*/ 0 w 18"/>
              <a:gd name="T1" fmla="*/ 0 h 14"/>
              <a:gd name="T2" fmla="*/ 2147483647 w 18"/>
              <a:gd name="T3" fmla="*/ 2147483647 h 14"/>
              <a:gd name="T4" fmla="*/ 2147483647 w 18"/>
              <a:gd name="T5" fmla="*/ 2147483647 h 14"/>
              <a:gd name="T6" fmla="*/ 2147483647 w 18"/>
              <a:gd name="T7" fmla="*/ 2147483647 h 14"/>
              <a:gd name="T8" fmla="*/ 2147483647 w 18"/>
              <a:gd name="T9" fmla="*/ 2147483647 h 14"/>
              <a:gd name="T10" fmla="*/ 0 w 18"/>
              <a:gd name="T11" fmla="*/ 0 h 14"/>
              <a:gd name="T12" fmla="*/ 0 60000 65536"/>
              <a:gd name="T13" fmla="*/ 0 60000 65536"/>
              <a:gd name="T14" fmla="*/ 0 60000 65536"/>
              <a:gd name="T15" fmla="*/ 0 60000 65536"/>
              <a:gd name="T16" fmla="*/ 0 60000 65536"/>
              <a:gd name="T17" fmla="*/ 0 60000 65536"/>
              <a:gd name="T18" fmla="*/ 0 w 18"/>
              <a:gd name="T19" fmla="*/ 0 h 14"/>
              <a:gd name="T20" fmla="*/ 18 w 18"/>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8" h="14">
                <a:moveTo>
                  <a:pt x="0" y="0"/>
                </a:moveTo>
                <a:lnTo>
                  <a:pt x="7" y="6"/>
                </a:lnTo>
                <a:lnTo>
                  <a:pt x="17" y="7"/>
                </a:lnTo>
                <a:lnTo>
                  <a:pt x="18" y="13"/>
                </a:lnTo>
                <a:lnTo>
                  <a:pt x="12" y="14"/>
                </a:lnTo>
                <a:lnTo>
                  <a:pt x="0" y="0"/>
                </a:lnTo>
                <a:close/>
              </a:path>
            </a:pathLst>
          </a:custGeom>
          <a:solidFill>
            <a:schemeClr val="accent1"/>
          </a:solidFill>
          <a:ln w="6350">
            <a:solidFill>
              <a:schemeClr val="tx2"/>
            </a:solidFill>
            <a:round/>
            <a:headEnd/>
            <a:tailEnd/>
          </a:ln>
        </p:spPr>
        <p:txBody>
          <a:bodyPr/>
          <a:lstStyle/>
          <a:p>
            <a:endParaRPr lang="en-US"/>
          </a:p>
        </p:txBody>
      </p:sp>
      <p:sp>
        <p:nvSpPr>
          <p:cNvPr id="479" name="Freeform 1585"/>
          <p:cNvSpPr>
            <a:spLocks/>
          </p:cNvSpPr>
          <p:nvPr/>
        </p:nvSpPr>
        <p:spPr bwMode="auto">
          <a:xfrm>
            <a:off x="8568278" y="4260463"/>
            <a:ext cx="14334" cy="8916"/>
          </a:xfrm>
          <a:custGeom>
            <a:avLst/>
            <a:gdLst>
              <a:gd name="T0" fmla="*/ 0 w 36"/>
              <a:gd name="T1" fmla="*/ 0 h 20"/>
              <a:gd name="T2" fmla="*/ 2147483647 w 36"/>
              <a:gd name="T3" fmla="*/ 0 h 20"/>
              <a:gd name="T4" fmla="*/ 2147483647 w 36"/>
              <a:gd name="T5" fmla="*/ 2147483647 h 20"/>
              <a:gd name="T6" fmla="*/ 2147483647 w 36"/>
              <a:gd name="T7" fmla="*/ 2147483647 h 20"/>
              <a:gd name="T8" fmla="*/ 0 w 36"/>
              <a:gd name="T9" fmla="*/ 0 h 20"/>
              <a:gd name="T10" fmla="*/ 0 60000 65536"/>
              <a:gd name="T11" fmla="*/ 0 60000 65536"/>
              <a:gd name="T12" fmla="*/ 0 60000 65536"/>
              <a:gd name="T13" fmla="*/ 0 60000 65536"/>
              <a:gd name="T14" fmla="*/ 0 60000 65536"/>
              <a:gd name="T15" fmla="*/ 0 w 36"/>
              <a:gd name="T16" fmla="*/ 0 h 20"/>
              <a:gd name="T17" fmla="*/ 36 w 36"/>
              <a:gd name="T18" fmla="*/ 20 h 20"/>
            </a:gdLst>
            <a:ahLst/>
            <a:cxnLst>
              <a:cxn ang="T10">
                <a:pos x="T0" y="T1"/>
              </a:cxn>
              <a:cxn ang="T11">
                <a:pos x="T2" y="T3"/>
              </a:cxn>
              <a:cxn ang="T12">
                <a:pos x="T4" y="T5"/>
              </a:cxn>
              <a:cxn ang="T13">
                <a:pos x="T6" y="T7"/>
              </a:cxn>
              <a:cxn ang="T14">
                <a:pos x="T8" y="T9"/>
              </a:cxn>
            </a:cxnLst>
            <a:rect l="T15" t="T16" r="T17" b="T18"/>
            <a:pathLst>
              <a:path w="36" h="20">
                <a:moveTo>
                  <a:pt x="0" y="0"/>
                </a:moveTo>
                <a:lnTo>
                  <a:pt x="16" y="0"/>
                </a:lnTo>
                <a:lnTo>
                  <a:pt x="36" y="17"/>
                </a:lnTo>
                <a:lnTo>
                  <a:pt x="24" y="20"/>
                </a:lnTo>
                <a:lnTo>
                  <a:pt x="0" y="0"/>
                </a:lnTo>
                <a:close/>
              </a:path>
            </a:pathLst>
          </a:custGeom>
          <a:solidFill>
            <a:schemeClr val="accent1"/>
          </a:solidFill>
          <a:ln w="6350">
            <a:solidFill>
              <a:schemeClr val="tx2"/>
            </a:solidFill>
            <a:round/>
            <a:headEnd/>
            <a:tailEnd/>
          </a:ln>
        </p:spPr>
        <p:txBody>
          <a:bodyPr/>
          <a:lstStyle/>
          <a:p>
            <a:endParaRPr lang="en-US"/>
          </a:p>
        </p:txBody>
      </p:sp>
      <p:sp>
        <p:nvSpPr>
          <p:cNvPr id="480" name="Freeform 1586"/>
          <p:cNvSpPr>
            <a:spLocks/>
          </p:cNvSpPr>
          <p:nvPr/>
        </p:nvSpPr>
        <p:spPr bwMode="auto">
          <a:xfrm>
            <a:off x="8569713" y="4277021"/>
            <a:ext cx="27234" cy="5095"/>
          </a:xfrm>
          <a:custGeom>
            <a:avLst/>
            <a:gdLst>
              <a:gd name="T0" fmla="*/ 0 w 56"/>
              <a:gd name="T1" fmla="*/ 0 h 10"/>
              <a:gd name="T2" fmla="*/ 2147483647 w 56"/>
              <a:gd name="T3" fmla="*/ 2147483647 h 10"/>
              <a:gd name="T4" fmla="*/ 2147483647 w 56"/>
              <a:gd name="T5" fmla="*/ 2147483647 h 10"/>
              <a:gd name="T6" fmla="*/ 2147483647 w 56"/>
              <a:gd name="T7" fmla="*/ 2147483647 h 10"/>
              <a:gd name="T8" fmla="*/ 0 w 56"/>
              <a:gd name="T9" fmla="*/ 0 h 10"/>
              <a:gd name="T10" fmla="*/ 0 60000 65536"/>
              <a:gd name="T11" fmla="*/ 0 60000 65536"/>
              <a:gd name="T12" fmla="*/ 0 60000 65536"/>
              <a:gd name="T13" fmla="*/ 0 60000 65536"/>
              <a:gd name="T14" fmla="*/ 0 60000 65536"/>
              <a:gd name="T15" fmla="*/ 0 w 56"/>
              <a:gd name="T16" fmla="*/ 0 h 10"/>
              <a:gd name="T17" fmla="*/ 56 w 56"/>
              <a:gd name="T18" fmla="*/ 10 h 10"/>
            </a:gdLst>
            <a:ahLst/>
            <a:cxnLst>
              <a:cxn ang="T10">
                <a:pos x="T0" y="T1"/>
              </a:cxn>
              <a:cxn ang="T11">
                <a:pos x="T2" y="T3"/>
              </a:cxn>
              <a:cxn ang="T12">
                <a:pos x="T4" y="T5"/>
              </a:cxn>
              <a:cxn ang="T13">
                <a:pos x="T6" y="T7"/>
              </a:cxn>
              <a:cxn ang="T14">
                <a:pos x="T8" y="T9"/>
              </a:cxn>
            </a:cxnLst>
            <a:rect l="T15" t="T16" r="T17" b="T18"/>
            <a:pathLst>
              <a:path w="56" h="10">
                <a:moveTo>
                  <a:pt x="0" y="0"/>
                </a:moveTo>
                <a:lnTo>
                  <a:pt x="49" y="4"/>
                </a:lnTo>
                <a:lnTo>
                  <a:pt x="56" y="10"/>
                </a:lnTo>
                <a:lnTo>
                  <a:pt x="28" y="10"/>
                </a:lnTo>
                <a:lnTo>
                  <a:pt x="0" y="0"/>
                </a:lnTo>
                <a:close/>
              </a:path>
            </a:pathLst>
          </a:custGeom>
          <a:solidFill>
            <a:schemeClr val="accent1"/>
          </a:solidFill>
          <a:ln w="6350">
            <a:solidFill>
              <a:schemeClr val="tx2"/>
            </a:solidFill>
            <a:round/>
            <a:headEnd/>
            <a:tailEnd/>
          </a:ln>
        </p:spPr>
        <p:txBody>
          <a:bodyPr/>
          <a:lstStyle/>
          <a:p>
            <a:endParaRPr lang="en-US"/>
          </a:p>
        </p:txBody>
      </p:sp>
      <p:sp>
        <p:nvSpPr>
          <p:cNvPr id="481" name="Freeform 1587"/>
          <p:cNvSpPr>
            <a:spLocks/>
          </p:cNvSpPr>
          <p:nvPr/>
        </p:nvSpPr>
        <p:spPr bwMode="auto">
          <a:xfrm>
            <a:off x="8465079" y="4249001"/>
            <a:ext cx="18633" cy="6368"/>
          </a:xfrm>
          <a:custGeom>
            <a:avLst/>
            <a:gdLst>
              <a:gd name="T0" fmla="*/ 2147483647 w 39"/>
              <a:gd name="T1" fmla="*/ 2147483647 h 16"/>
              <a:gd name="T2" fmla="*/ 2147483647 w 39"/>
              <a:gd name="T3" fmla="*/ 0 h 16"/>
              <a:gd name="T4" fmla="*/ 2147483647 w 39"/>
              <a:gd name="T5" fmla="*/ 2147483647 h 16"/>
              <a:gd name="T6" fmla="*/ 2147483647 w 39"/>
              <a:gd name="T7" fmla="*/ 2147483647 h 16"/>
              <a:gd name="T8" fmla="*/ 2147483647 w 39"/>
              <a:gd name="T9" fmla="*/ 2147483647 h 16"/>
              <a:gd name="T10" fmla="*/ 0 w 39"/>
              <a:gd name="T11" fmla="*/ 2147483647 h 16"/>
              <a:gd name="T12" fmla="*/ 2147483647 w 39"/>
              <a:gd name="T13" fmla="*/ 2147483647 h 16"/>
              <a:gd name="T14" fmla="*/ 0 60000 65536"/>
              <a:gd name="T15" fmla="*/ 0 60000 65536"/>
              <a:gd name="T16" fmla="*/ 0 60000 65536"/>
              <a:gd name="T17" fmla="*/ 0 60000 65536"/>
              <a:gd name="T18" fmla="*/ 0 60000 65536"/>
              <a:gd name="T19" fmla="*/ 0 60000 65536"/>
              <a:gd name="T20" fmla="*/ 0 60000 65536"/>
              <a:gd name="T21" fmla="*/ 0 w 39"/>
              <a:gd name="T22" fmla="*/ 0 h 16"/>
              <a:gd name="T23" fmla="*/ 39 w 39"/>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16">
                <a:moveTo>
                  <a:pt x="3" y="3"/>
                </a:moveTo>
                <a:lnTo>
                  <a:pt x="15" y="0"/>
                </a:lnTo>
                <a:lnTo>
                  <a:pt x="39" y="12"/>
                </a:lnTo>
                <a:lnTo>
                  <a:pt x="22" y="16"/>
                </a:lnTo>
                <a:lnTo>
                  <a:pt x="4" y="10"/>
                </a:lnTo>
                <a:lnTo>
                  <a:pt x="0" y="7"/>
                </a:lnTo>
                <a:lnTo>
                  <a:pt x="3" y="3"/>
                </a:lnTo>
                <a:close/>
              </a:path>
            </a:pathLst>
          </a:custGeom>
          <a:solidFill>
            <a:schemeClr val="accent1"/>
          </a:solidFill>
          <a:ln w="6350">
            <a:solidFill>
              <a:schemeClr val="tx2"/>
            </a:solidFill>
            <a:round/>
            <a:headEnd/>
            <a:tailEnd/>
          </a:ln>
        </p:spPr>
        <p:txBody>
          <a:bodyPr/>
          <a:lstStyle/>
          <a:p>
            <a:endParaRPr lang="en-US"/>
          </a:p>
        </p:txBody>
      </p:sp>
      <p:sp>
        <p:nvSpPr>
          <p:cNvPr id="482" name="Freeform 1588"/>
          <p:cNvSpPr>
            <a:spLocks/>
          </p:cNvSpPr>
          <p:nvPr/>
        </p:nvSpPr>
        <p:spPr bwMode="auto">
          <a:xfrm>
            <a:off x="8453611" y="4278294"/>
            <a:ext cx="11467" cy="7642"/>
          </a:xfrm>
          <a:custGeom>
            <a:avLst/>
            <a:gdLst>
              <a:gd name="T0" fmla="*/ 0 w 25"/>
              <a:gd name="T1" fmla="*/ 2147483647 h 16"/>
              <a:gd name="T2" fmla="*/ 2147483647 w 25"/>
              <a:gd name="T3" fmla="*/ 0 h 16"/>
              <a:gd name="T4" fmla="*/ 2147483647 w 25"/>
              <a:gd name="T5" fmla="*/ 2147483647 h 16"/>
              <a:gd name="T6" fmla="*/ 2147483647 w 25"/>
              <a:gd name="T7" fmla="*/ 2147483647 h 16"/>
              <a:gd name="T8" fmla="*/ 0 w 25"/>
              <a:gd name="T9" fmla="*/ 2147483647 h 16"/>
              <a:gd name="T10" fmla="*/ 0 60000 65536"/>
              <a:gd name="T11" fmla="*/ 0 60000 65536"/>
              <a:gd name="T12" fmla="*/ 0 60000 65536"/>
              <a:gd name="T13" fmla="*/ 0 60000 65536"/>
              <a:gd name="T14" fmla="*/ 0 60000 65536"/>
              <a:gd name="T15" fmla="*/ 0 w 25"/>
              <a:gd name="T16" fmla="*/ 0 h 16"/>
              <a:gd name="T17" fmla="*/ 25 w 25"/>
              <a:gd name="T18" fmla="*/ 16 h 16"/>
            </a:gdLst>
            <a:ahLst/>
            <a:cxnLst>
              <a:cxn ang="T10">
                <a:pos x="T0" y="T1"/>
              </a:cxn>
              <a:cxn ang="T11">
                <a:pos x="T2" y="T3"/>
              </a:cxn>
              <a:cxn ang="T12">
                <a:pos x="T4" y="T5"/>
              </a:cxn>
              <a:cxn ang="T13">
                <a:pos x="T6" y="T7"/>
              </a:cxn>
              <a:cxn ang="T14">
                <a:pos x="T8" y="T9"/>
              </a:cxn>
            </a:cxnLst>
            <a:rect l="T15" t="T16" r="T17" b="T18"/>
            <a:pathLst>
              <a:path w="25" h="16">
                <a:moveTo>
                  <a:pt x="0" y="6"/>
                </a:moveTo>
                <a:lnTo>
                  <a:pt x="22" y="0"/>
                </a:lnTo>
                <a:lnTo>
                  <a:pt x="25" y="12"/>
                </a:lnTo>
                <a:lnTo>
                  <a:pt x="11" y="16"/>
                </a:lnTo>
                <a:lnTo>
                  <a:pt x="0" y="6"/>
                </a:lnTo>
                <a:close/>
              </a:path>
            </a:pathLst>
          </a:custGeom>
          <a:solidFill>
            <a:schemeClr val="accent1"/>
          </a:solidFill>
          <a:ln w="6350">
            <a:solidFill>
              <a:schemeClr val="tx2"/>
            </a:solidFill>
            <a:round/>
            <a:headEnd/>
            <a:tailEnd/>
          </a:ln>
        </p:spPr>
        <p:txBody>
          <a:bodyPr/>
          <a:lstStyle/>
          <a:p>
            <a:endParaRPr lang="en-US"/>
          </a:p>
        </p:txBody>
      </p:sp>
      <p:sp>
        <p:nvSpPr>
          <p:cNvPr id="483" name="Freeform 1589"/>
          <p:cNvSpPr>
            <a:spLocks/>
          </p:cNvSpPr>
          <p:nvPr/>
        </p:nvSpPr>
        <p:spPr bwMode="auto">
          <a:xfrm>
            <a:off x="8414911" y="4297400"/>
            <a:ext cx="60200" cy="19104"/>
          </a:xfrm>
          <a:custGeom>
            <a:avLst/>
            <a:gdLst>
              <a:gd name="T0" fmla="*/ 2147483647 w 126"/>
              <a:gd name="T1" fmla="*/ 2147483647 h 46"/>
              <a:gd name="T2" fmla="*/ 0 w 126"/>
              <a:gd name="T3" fmla="*/ 2147483647 h 46"/>
              <a:gd name="T4" fmla="*/ 2147483647 w 126"/>
              <a:gd name="T5" fmla="*/ 2147483647 h 46"/>
              <a:gd name="T6" fmla="*/ 2147483647 w 126"/>
              <a:gd name="T7" fmla="*/ 2147483647 h 46"/>
              <a:gd name="T8" fmla="*/ 2147483647 w 126"/>
              <a:gd name="T9" fmla="*/ 0 h 46"/>
              <a:gd name="T10" fmla="*/ 2147483647 w 126"/>
              <a:gd name="T11" fmla="*/ 2147483647 h 46"/>
              <a:gd name="T12" fmla="*/ 2147483647 w 126"/>
              <a:gd name="T13" fmla="*/ 2147483647 h 46"/>
              <a:gd name="T14" fmla="*/ 2147483647 w 126"/>
              <a:gd name="T15" fmla="*/ 2147483647 h 46"/>
              <a:gd name="T16" fmla="*/ 2147483647 w 126"/>
              <a:gd name="T17" fmla="*/ 2147483647 h 46"/>
              <a:gd name="T18" fmla="*/ 2147483647 w 126"/>
              <a:gd name="T19" fmla="*/ 2147483647 h 46"/>
              <a:gd name="T20" fmla="*/ 2147483647 w 126"/>
              <a:gd name="T21" fmla="*/ 2147483647 h 46"/>
              <a:gd name="T22" fmla="*/ 2147483647 w 126"/>
              <a:gd name="T23" fmla="*/ 2147483647 h 46"/>
              <a:gd name="T24" fmla="*/ 2147483647 w 126"/>
              <a:gd name="T25" fmla="*/ 2147483647 h 46"/>
              <a:gd name="T26" fmla="*/ 2147483647 w 126"/>
              <a:gd name="T27" fmla="*/ 2147483647 h 46"/>
              <a:gd name="T28" fmla="*/ 2147483647 w 126"/>
              <a:gd name="T29" fmla="*/ 2147483647 h 46"/>
              <a:gd name="T30" fmla="*/ 2147483647 w 126"/>
              <a:gd name="T31" fmla="*/ 2147483647 h 46"/>
              <a:gd name="T32" fmla="*/ 2147483647 w 126"/>
              <a:gd name="T33" fmla="*/ 2147483647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46"/>
              <a:gd name="T53" fmla="*/ 126 w 126"/>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6" h="46">
                <a:moveTo>
                  <a:pt x="2" y="30"/>
                </a:moveTo>
                <a:lnTo>
                  <a:pt x="0" y="18"/>
                </a:lnTo>
                <a:lnTo>
                  <a:pt x="13" y="2"/>
                </a:lnTo>
                <a:lnTo>
                  <a:pt x="55" y="3"/>
                </a:lnTo>
                <a:lnTo>
                  <a:pt x="69" y="0"/>
                </a:lnTo>
                <a:lnTo>
                  <a:pt x="84" y="9"/>
                </a:lnTo>
                <a:lnTo>
                  <a:pt x="110" y="11"/>
                </a:lnTo>
                <a:lnTo>
                  <a:pt x="119" y="27"/>
                </a:lnTo>
                <a:lnTo>
                  <a:pt x="125" y="29"/>
                </a:lnTo>
                <a:lnTo>
                  <a:pt x="126" y="39"/>
                </a:lnTo>
                <a:lnTo>
                  <a:pt x="123" y="46"/>
                </a:lnTo>
                <a:lnTo>
                  <a:pt x="76" y="23"/>
                </a:lnTo>
                <a:lnTo>
                  <a:pt x="57" y="27"/>
                </a:lnTo>
                <a:lnTo>
                  <a:pt x="41" y="20"/>
                </a:lnTo>
                <a:lnTo>
                  <a:pt x="26" y="29"/>
                </a:lnTo>
                <a:lnTo>
                  <a:pt x="10" y="16"/>
                </a:lnTo>
                <a:lnTo>
                  <a:pt x="2" y="30"/>
                </a:lnTo>
                <a:close/>
              </a:path>
            </a:pathLst>
          </a:custGeom>
          <a:solidFill>
            <a:schemeClr val="accent1"/>
          </a:solidFill>
          <a:ln w="6350">
            <a:solidFill>
              <a:schemeClr val="tx2"/>
            </a:solidFill>
            <a:round/>
            <a:headEnd/>
            <a:tailEnd/>
          </a:ln>
        </p:spPr>
        <p:txBody>
          <a:bodyPr/>
          <a:lstStyle/>
          <a:p>
            <a:endParaRPr lang="en-US"/>
          </a:p>
        </p:txBody>
      </p:sp>
      <p:sp>
        <p:nvSpPr>
          <p:cNvPr id="484" name="Freeform 1590"/>
          <p:cNvSpPr>
            <a:spLocks/>
          </p:cNvSpPr>
          <p:nvPr/>
        </p:nvSpPr>
        <p:spPr bwMode="auto">
          <a:xfrm>
            <a:off x="8518112" y="4344525"/>
            <a:ext cx="2866" cy="5095"/>
          </a:xfrm>
          <a:custGeom>
            <a:avLst/>
            <a:gdLst>
              <a:gd name="T0" fmla="*/ 2147483647 w 7"/>
              <a:gd name="T1" fmla="*/ 2147483647 h 13"/>
              <a:gd name="T2" fmla="*/ 2147483647 w 7"/>
              <a:gd name="T3" fmla="*/ 0 h 13"/>
              <a:gd name="T4" fmla="*/ 0 w 7"/>
              <a:gd name="T5" fmla="*/ 2147483647 h 13"/>
              <a:gd name="T6" fmla="*/ 2147483647 w 7"/>
              <a:gd name="T7" fmla="*/ 2147483647 h 13"/>
              <a:gd name="T8" fmla="*/ 0 60000 65536"/>
              <a:gd name="T9" fmla="*/ 0 60000 65536"/>
              <a:gd name="T10" fmla="*/ 0 60000 65536"/>
              <a:gd name="T11" fmla="*/ 0 60000 65536"/>
              <a:gd name="T12" fmla="*/ 0 w 7"/>
              <a:gd name="T13" fmla="*/ 0 h 13"/>
              <a:gd name="T14" fmla="*/ 7 w 7"/>
              <a:gd name="T15" fmla="*/ 13 h 13"/>
            </a:gdLst>
            <a:ahLst/>
            <a:cxnLst>
              <a:cxn ang="T8">
                <a:pos x="T0" y="T1"/>
              </a:cxn>
              <a:cxn ang="T9">
                <a:pos x="T2" y="T3"/>
              </a:cxn>
              <a:cxn ang="T10">
                <a:pos x="T4" y="T5"/>
              </a:cxn>
              <a:cxn ang="T11">
                <a:pos x="T6" y="T7"/>
              </a:cxn>
            </a:cxnLst>
            <a:rect l="T12" t="T13" r="T14" b="T15"/>
            <a:pathLst>
              <a:path w="7" h="13">
                <a:moveTo>
                  <a:pt x="2" y="1"/>
                </a:moveTo>
                <a:lnTo>
                  <a:pt x="7" y="0"/>
                </a:lnTo>
                <a:lnTo>
                  <a:pt x="0" y="13"/>
                </a:lnTo>
                <a:lnTo>
                  <a:pt x="2" y="1"/>
                </a:lnTo>
                <a:close/>
              </a:path>
            </a:pathLst>
          </a:custGeom>
          <a:solidFill>
            <a:schemeClr val="accent1"/>
          </a:solidFill>
          <a:ln w="6350">
            <a:solidFill>
              <a:schemeClr val="tx2"/>
            </a:solidFill>
            <a:round/>
            <a:headEnd/>
            <a:tailEnd/>
          </a:ln>
        </p:spPr>
        <p:txBody>
          <a:bodyPr/>
          <a:lstStyle/>
          <a:p>
            <a:endParaRPr lang="en-US"/>
          </a:p>
        </p:txBody>
      </p:sp>
      <p:sp>
        <p:nvSpPr>
          <p:cNvPr id="485" name="Freeform 1591"/>
          <p:cNvSpPr>
            <a:spLocks/>
          </p:cNvSpPr>
          <p:nvPr/>
        </p:nvSpPr>
        <p:spPr bwMode="auto">
          <a:xfrm>
            <a:off x="8543913" y="4345798"/>
            <a:ext cx="8600" cy="15284"/>
          </a:xfrm>
          <a:custGeom>
            <a:avLst/>
            <a:gdLst>
              <a:gd name="T0" fmla="*/ 0 w 19"/>
              <a:gd name="T1" fmla="*/ 2147483647 h 40"/>
              <a:gd name="T2" fmla="*/ 2147483647 w 19"/>
              <a:gd name="T3" fmla="*/ 0 h 40"/>
              <a:gd name="T4" fmla="*/ 2147483647 w 19"/>
              <a:gd name="T5" fmla="*/ 2147483647 h 40"/>
              <a:gd name="T6" fmla="*/ 2147483647 w 19"/>
              <a:gd name="T7" fmla="*/ 2147483647 h 40"/>
              <a:gd name="T8" fmla="*/ 2147483647 w 19"/>
              <a:gd name="T9" fmla="*/ 2147483647 h 40"/>
              <a:gd name="T10" fmla="*/ 2147483647 w 19"/>
              <a:gd name="T11" fmla="*/ 2147483647 h 40"/>
              <a:gd name="T12" fmla="*/ 2147483647 w 19"/>
              <a:gd name="T13" fmla="*/ 2147483647 h 40"/>
              <a:gd name="T14" fmla="*/ 0 w 19"/>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40"/>
              <a:gd name="T26" fmla="*/ 19 w 19"/>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40">
                <a:moveTo>
                  <a:pt x="0" y="14"/>
                </a:moveTo>
                <a:lnTo>
                  <a:pt x="8" y="0"/>
                </a:lnTo>
                <a:lnTo>
                  <a:pt x="15" y="2"/>
                </a:lnTo>
                <a:lnTo>
                  <a:pt x="19" y="11"/>
                </a:lnTo>
                <a:lnTo>
                  <a:pt x="17" y="40"/>
                </a:lnTo>
                <a:lnTo>
                  <a:pt x="4" y="32"/>
                </a:lnTo>
                <a:lnTo>
                  <a:pt x="5" y="16"/>
                </a:lnTo>
                <a:lnTo>
                  <a:pt x="0" y="14"/>
                </a:lnTo>
                <a:close/>
              </a:path>
            </a:pathLst>
          </a:custGeom>
          <a:solidFill>
            <a:schemeClr val="accent1"/>
          </a:solidFill>
          <a:ln w="6350">
            <a:solidFill>
              <a:schemeClr val="tx2"/>
            </a:solidFill>
            <a:round/>
            <a:headEnd/>
            <a:tailEnd/>
          </a:ln>
        </p:spPr>
        <p:txBody>
          <a:bodyPr/>
          <a:lstStyle/>
          <a:p>
            <a:endParaRPr lang="en-US"/>
          </a:p>
        </p:txBody>
      </p:sp>
      <p:sp>
        <p:nvSpPr>
          <p:cNvPr id="486" name="Freeform 1592"/>
          <p:cNvSpPr>
            <a:spLocks/>
          </p:cNvSpPr>
          <p:nvPr/>
        </p:nvSpPr>
        <p:spPr bwMode="auto">
          <a:xfrm>
            <a:off x="8539612" y="4358536"/>
            <a:ext cx="8600" cy="12737"/>
          </a:xfrm>
          <a:custGeom>
            <a:avLst/>
            <a:gdLst>
              <a:gd name="T0" fmla="*/ 2147483647 w 17"/>
              <a:gd name="T1" fmla="*/ 0 h 29"/>
              <a:gd name="T2" fmla="*/ 2147483647 w 17"/>
              <a:gd name="T3" fmla="*/ 2147483647 h 29"/>
              <a:gd name="T4" fmla="*/ 2147483647 w 17"/>
              <a:gd name="T5" fmla="*/ 2147483647 h 29"/>
              <a:gd name="T6" fmla="*/ 2147483647 w 17"/>
              <a:gd name="T7" fmla="*/ 2147483647 h 29"/>
              <a:gd name="T8" fmla="*/ 0 w 17"/>
              <a:gd name="T9" fmla="*/ 2147483647 h 29"/>
              <a:gd name="T10" fmla="*/ 2147483647 w 17"/>
              <a:gd name="T11" fmla="*/ 2147483647 h 29"/>
              <a:gd name="T12" fmla="*/ 2147483647 w 17"/>
              <a:gd name="T13" fmla="*/ 2147483647 h 29"/>
              <a:gd name="T14" fmla="*/ 2147483647 w 17"/>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9"/>
              <a:gd name="T26" fmla="*/ 17 w 17"/>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9">
                <a:moveTo>
                  <a:pt x="4" y="0"/>
                </a:moveTo>
                <a:lnTo>
                  <a:pt x="17" y="14"/>
                </a:lnTo>
                <a:lnTo>
                  <a:pt x="13" y="28"/>
                </a:lnTo>
                <a:lnTo>
                  <a:pt x="7" y="29"/>
                </a:lnTo>
                <a:lnTo>
                  <a:pt x="0" y="17"/>
                </a:lnTo>
                <a:lnTo>
                  <a:pt x="2" y="14"/>
                </a:lnTo>
                <a:lnTo>
                  <a:pt x="6" y="19"/>
                </a:lnTo>
                <a:lnTo>
                  <a:pt x="4" y="0"/>
                </a:lnTo>
                <a:close/>
              </a:path>
            </a:pathLst>
          </a:custGeom>
          <a:solidFill>
            <a:schemeClr val="accent1"/>
          </a:solidFill>
          <a:ln w="6350">
            <a:solidFill>
              <a:schemeClr val="tx2"/>
            </a:solidFill>
            <a:round/>
            <a:headEnd/>
            <a:tailEnd/>
          </a:ln>
        </p:spPr>
        <p:txBody>
          <a:bodyPr/>
          <a:lstStyle/>
          <a:p>
            <a:endParaRPr lang="en-US"/>
          </a:p>
        </p:txBody>
      </p:sp>
      <p:sp>
        <p:nvSpPr>
          <p:cNvPr id="487" name="Freeform 1593"/>
          <p:cNvSpPr>
            <a:spLocks/>
          </p:cNvSpPr>
          <p:nvPr/>
        </p:nvSpPr>
        <p:spPr bwMode="auto">
          <a:xfrm>
            <a:off x="8482279" y="4375093"/>
            <a:ext cx="8600" cy="16558"/>
          </a:xfrm>
          <a:custGeom>
            <a:avLst/>
            <a:gdLst>
              <a:gd name="T0" fmla="*/ 0 w 22"/>
              <a:gd name="T1" fmla="*/ 2147483647 h 38"/>
              <a:gd name="T2" fmla="*/ 2147483647 w 22"/>
              <a:gd name="T3" fmla="*/ 2147483647 h 38"/>
              <a:gd name="T4" fmla="*/ 2147483647 w 22"/>
              <a:gd name="T5" fmla="*/ 2147483647 h 38"/>
              <a:gd name="T6" fmla="*/ 2147483647 w 22"/>
              <a:gd name="T7" fmla="*/ 0 h 38"/>
              <a:gd name="T8" fmla="*/ 2147483647 w 22"/>
              <a:gd name="T9" fmla="*/ 2147483647 h 38"/>
              <a:gd name="T10" fmla="*/ 2147483647 w 22"/>
              <a:gd name="T11" fmla="*/ 2147483647 h 38"/>
              <a:gd name="T12" fmla="*/ 2147483647 w 22"/>
              <a:gd name="T13" fmla="*/ 2147483647 h 38"/>
              <a:gd name="T14" fmla="*/ 0 w 22"/>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38"/>
              <a:gd name="T26" fmla="*/ 22 w 22"/>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38">
                <a:moveTo>
                  <a:pt x="0" y="26"/>
                </a:moveTo>
                <a:lnTo>
                  <a:pt x="3" y="25"/>
                </a:lnTo>
                <a:lnTo>
                  <a:pt x="2" y="15"/>
                </a:lnTo>
                <a:lnTo>
                  <a:pt x="15" y="0"/>
                </a:lnTo>
                <a:lnTo>
                  <a:pt x="22" y="2"/>
                </a:lnTo>
                <a:lnTo>
                  <a:pt x="22" y="18"/>
                </a:lnTo>
                <a:lnTo>
                  <a:pt x="9" y="38"/>
                </a:lnTo>
                <a:lnTo>
                  <a:pt x="0" y="26"/>
                </a:lnTo>
                <a:close/>
              </a:path>
            </a:pathLst>
          </a:custGeom>
          <a:solidFill>
            <a:schemeClr val="accent1"/>
          </a:solidFill>
          <a:ln w="6350">
            <a:solidFill>
              <a:schemeClr val="tx2"/>
            </a:solidFill>
            <a:round/>
            <a:headEnd/>
            <a:tailEnd/>
          </a:ln>
        </p:spPr>
        <p:txBody>
          <a:bodyPr/>
          <a:lstStyle/>
          <a:p>
            <a:endParaRPr lang="en-US"/>
          </a:p>
        </p:txBody>
      </p:sp>
      <p:sp>
        <p:nvSpPr>
          <p:cNvPr id="488" name="Freeform 1594"/>
          <p:cNvSpPr>
            <a:spLocks/>
          </p:cNvSpPr>
          <p:nvPr/>
        </p:nvSpPr>
        <p:spPr bwMode="auto">
          <a:xfrm>
            <a:off x="8450745" y="4387829"/>
            <a:ext cx="2866" cy="3821"/>
          </a:xfrm>
          <a:custGeom>
            <a:avLst/>
            <a:gdLst>
              <a:gd name="T0" fmla="*/ 0 w 8"/>
              <a:gd name="T1" fmla="*/ 2147483647 h 9"/>
              <a:gd name="T2" fmla="*/ 2147483647 w 8"/>
              <a:gd name="T3" fmla="*/ 0 h 9"/>
              <a:gd name="T4" fmla="*/ 2147483647 w 8"/>
              <a:gd name="T5" fmla="*/ 2147483647 h 9"/>
              <a:gd name="T6" fmla="*/ 2147483647 w 8"/>
              <a:gd name="T7" fmla="*/ 2147483647 h 9"/>
              <a:gd name="T8" fmla="*/ 0 w 8"/>
              <a:gd name="T9" fmla="*/ 2147483647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3"/>
                </a:moveTo>
                <a:lnTo>
                  <a:pt x="8" y="0"/>
                </a:lnTo>
                <a:lnTo>
                  <a:pt x="8" y="5"/>
                </a:lnTo>
                <a:lnTo>
                  <a:pt x="5" y="9"/>
                </a:lnTo>
                <a:lnTo>
                  <a:pt x="0" y="3"/>
                </a:lnTo>
                <a:close/>
              </a:path>
            </a:pathLst>
          </a:custGeom>
          <a:solidFill>
            <a:schemeClr val="accent1"/>
          </a:solidFill>
          <a:ln w="6350">
            <a:solidFill>
              <a:schemeClr val="tx2"/>
            </a:solidFill>
            <a:round/>
            <a:headEnd/>
            <a:tailEnd/>
          </a:ln>
        </p:spPr>
        <p:txBody>
          <a:bodyPr/>
          <a:lstStyle/>
          <a:p>
            <a:endParaRPr lang="en-US"/>
          </a:p>
        </p:txBody>
      </p:sp>
      <p:sp>
        <p:nvSpPr>
          <p:cNvPr id="489" name="Freeform 1595"/>
          <p:cNvSpPr>
            <a:spLocks/>
          </p:cNvSpPr>
          <p:nvPr/>
        </p:nvSpPr>
        <p:spPr bwMode="auto">
          <a:xfrm>
            <a:off x="8427812" y="4375093"/>
            <a:ext cx="2866" cy="1274"/>
          </a:xfrm>
          <a:custGeom>
            <a:avLst/>
            <a:gdLst>
              <a:gd name="T0" fmla="*/ 0 w 4"/>
              <a:gd name="T1" fmla="*/ 2147483647 h 4"/>
              <a:gd name="T2" fmla="*/ 2147483647 w 4"/>
              <a:gd name="T3" fmla="*/ 0 h 4"/>
              <a:gd name="T4" fmla="*/ 2147483647 w 4"/>
              <a:gd name="T5" fmla="*/ 2147483647 h 4"/>
              <a:gd name="T6" fmla="*/ 0 w 4"/>
              <a:gd name="T7" fmla="*/ 2147483647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2"/>
                </a:moveTo>
                <a:lnTo>
                  <a:pt x="4" y="0"/>
                </a:lnTo>
                <a:lnTo>
                  <a:pt x="4" y="4"/>
                </a:lnTo>
                <a:lnTo>
                  <a:pt x="0" y="2"/>
                </a:lnTo>
                <a:close/>
              </a:path>
            </a:pathLst>
          </a:custGeom>
          <a:solidFill>
            <a:schemeClr val="accent1"/>
          </a:solidFill>
          <a:ln w="6350">
            <a:solidFill>
              <a:schemeClr val="tx2"/>
            </a:solidFill>
            <a:round/>
            <a:headEnd/>
            <a:tailEnd/>
          </a:ln>
        </p:spPr>
        <p:txBody>
          <a:bodyPr/>
          <a:lstStyle/>
          <a:p>
            <a:endParaRPr lang="en-US"/>
          </a:p>
        </p:txBody>
      </p:sp>
      <p:sp>
        <p:nvSpPr>
          <p:cNvPr id="490" name="Freeform 1596"/>
          <p:cNvSpPr>
            <a:spLocks/>
          </p:cNvSpPr>
          <p:nvPr/>
        </p:nvSpPr>
        <p:spPr bwMode="auto">
          <a:xfrm>
            <a:off x="8373345" y="4382735"/>
            <a:ext cx="20066" cy="8916"/>
          </a:xfrm>
          <a:custGeom>
            <a:avLst/>
            <a:gdLst>
              <a:gd name="T0" fmla="*/ 2147483647 w 45"/>
              <a:gd name="T1" fmla="*/ 2147483647 h 22"/>
              <a:gd name="T2" fmla="*/ 0 w 45"/>
              <a:gd name="T3" fmla="*/ 2147483647 h 22"/>
              <a:gd name="T4" fmla="*/ 2147483647 w 45"/>
              <a:gd name="T5" fmla="*/ 2147483647 h 22"/>
              <a:gd name="T6" fmla="*/ 2147483647 w 45"/>
              <a:gd name="T7" fmla="*/ 2147483647 h 22"/>
              <a:gd name="T8" fmla="*/ 2147483647 w 45"/>
              <a:gd name="T9" fmla="*/ 0 h 22"/>
              <a:gd name="T10" fmla="*/ 2147483647 w 45"/>
              <a:gd name="T11" fmla="*/ 2147483647 h 22"/>
              <a:gd name="T12" fmla="*/ 2147483647 w 45"/>
              <a:gd name="T13" fmla="*/ 2147483647 h 22"/>
              <a:gd name="T14" fmla="*/ 2147483647 w 45"/>
              <a:gd name="T15" fmla="*/ 2147483647 h 22"/>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22"/>
              <a:gd name="T26" fmla="*/ 45 w 45"/>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22">
                <a:moveTo>
                  <a:pt x="4" y="22"/>
                </a:moveTo>
                <a:lnTo>
                  <a:pt x="0" y="17"/>
                </a:lnTo>
                <a:lnTo>
                  <a:pt x="6" y="7"/>
                </a:lnTo>
                <a:lnTo>
                  <a:pt x="20" y="7"/>
                </a:lnTo>
                <a:lnTo>
                  <a:pt x="34" y="0"/>
                </a:lnTo>
                <a:lnTo>
                  <a:pt x="45" y="8"/>
                </a:lnTo>
                <a:lnTo>
                  <a:pt x="30" y="19"/>
                </a:lnTo>
                <a:lnTo>
                  <a:pt x="4" y="22"/>
                </a:lnTo>
                <a:close/>
              </a:path>
            </a:pathLst>
          </a:custGeom>
          <a:solidFill>
            <a:schemeClr val="accent1"/>
          </a:solidFill>
          <a:ln w="6350">
            <a:solidFill>
              <a:schemeClr val="tx2"/>
            </a:solidFill>
            <a:round/>
            <a:headEnd/>
            <a:tailEnd/>
          </a:ln>
        </p:spPr>
        <p:txBody>
          <a:bodyPr/>
          <a:lstStyle/>
          <a:p>
            <a:endParaRPr lang="en-US"/>
          </a:p>
        </p:txBody>
      </p:sp>
      <p:sp>
        <p:nvSpPr>
          <p:cNvPr id="491" name="Freeform 1597"/>
          <p:cNvSpPr>
            <a:spLocks/>
          </p:cNvSpPr>
          <p:nvPr/>
        </p:nvSpPr>
        <p:spPr bwMode="auto">
          <a:xfrm>
            <a:off x="8324612" y="4398018"/>
            <a:ext cx="74534" cy="34390"/>
          </a:xfrm>
          <a:custGeom>
            <a:avLst/>
            <a:gdLst>
              <a:gd name="T0" fmla="*/ 2147483647 w 156"/>
              <a:gd name="T1" fmla="*/ 2147483647 h 86"/>
              <a:gd name="T2" fmla="*/ 2147483647 w 156"/>
              <a:gd name="T3" fmla="*/ 2147483647 h 86"/>
              <a:gd name="T4" fmla="*/ 2147483647 w 156"/>
              <a:gd name="T5" fmla="*/ 2147483647 h 86"/>
              <a:gd name="T6" fmla="*/ 2147483647 w 156"/>
              <a:gd name="T7" fmla="*/ 2147483647 h 86"/>
              <a:gd name="T8" fmla="*/ 2147483647 w 156"/>
              <a:gd name="T9" fmla="*/ 2147483647 h 86"/>
              <a:gd name="T10" fmla="*/ 0 w 156"/>
              <a:gd name="T11" fmla="*/ 2147483647 h 86"/>
              <a:gd name="T12" fmla="*/ 2147483647 w 156"/>
              <a:gd name="T13" fmla="*/ 2147483647 h 86"/>
              <a:gd name="T14" fmla="*/ 2147483647 w 156"/>
              <a:gd name="T15" fmla="*/ 2147483647 h 86"/>
              <a:gd name="T16" fmla="*/ 2147483647 w 156"/>
              <a:gd name="T17" fmla="*/ 2147483647 h 86"/>
              <a:gd name="T18" fmla="*/ 2147483647 w 156"/>
              <a:gd name="T19" fmla="*/ 2147483647 h 86"/>
              <a:gd name="T20" fmla="*/ 2147483647 w 156"/>
              <a:gd name="T21" fmla="*/ 2147483647 h 86"/>
              <a:gd name="T22" fmla="*/ 2147483647 w 156"/>
              <a:gd name="T23" fmla="*/ 0 h 86"/>
              <a:gd name="T24" fmla="*/ 2147483647 w 156"/>
              <a:gd name="T25" fmla="*/ 2147483647 h 86"/>
              <a:gd name="T26" fmla="*/ 2147483647 w 156"/>
              <a:gd name="T27" fmla="*/ 2147483647 h 86"/>
              <a:gd name="T28" fmla="*/ 2147483647 w 156"/>
              <a:gd name="T29" fmla="*/ 2147483647 h 86"/>
              <a:gd name="T30" fmla="*/ 2147483647 w 156"/>
              <a:gd name="T31" fmla="*/ 2147483647 h 86"/>
              <a:gd name="T32" fmla="*/ 2147483647 w 156"/>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6"/>
              <a:gd name="T52" fmla="*/ 0 h 86"/>
              <a:gd name="T53" fmla="*/ 156 w 156"/>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6" h="86">
                <a:moveTo>
                  <a:pt x="67" y="45"/>
                </a:moveTo>
                <a:lnTo>
                  <a:pt x="63" y="58"/>
                </a:lnTo>
                <a:lnTo>
                  <a:pt x="50" y="73"/>
                </a:lnTo>
                <a:lnTo>
                  <a:pt x="16" y="85"/>
                </a:lnTo>
                <a:lnTo>
                  <a:pt x="4" y="86"/>
                </a:lnTo>
                <a:lnTo>
                  <a:pt x="0" y="82"/>
                </a:lnTo>
                <a:lnTo>
                  <a:pt x="5" y="75"/>
                </a:lnTo>
                <a:lnTo>
                  <a:pt x="6" y="55"/>
                </a:lnTo>
                <a:lnTo>
                  <a:pt x="11" y="48"/>
                </a:lnTo>
                <a:lnTo>
                  <a:pt x="53" y="30"/>
                </a:lnTo>
                <a:lnTo>
                  <a:pt x="67" y="13"/>
                </a:lnTo>
                <a:lnTo>
                  <a:pt x="150" y="0"/>
                </a:lnTo>
                <a:lnTo>
                  <a:pt x="156" y="2"/>
                </a:lnTo>
                <a:lnTo>
                  <a:pt x="153" y="15"/>
                </a:lnTo>
                <a:lnTo>
                  <a:pt x="84" y="39"/>
                </a:lnTo>
                <a:lnTo>
                  <a:pt x="71" y="48"/>
                </a:lnTo>
                <a:lnTo>
                  <a:pt x="67" y="45"/>
                </a:lnTo>
                <a:close/>
              </a:path>
            </a:pathLst>
          </a:custGeom>
          <a:solidFill>
            <a:schemeClr val="accent1"/>
          </a:solidFill>
          <a:ln w="6350">
            <a:solidFill>
              <a:schemeClr val="tx2"/>
            </a:solidFill>
            <a:round/>
            <a:headEnd/>
            <a:tailEnd/>
          </a:ln>
        </p:spPr>
        <p:txBody>
          <a:bodyPr/>
          <a:lstStyle/>
          <a:p>
            <a:endParaRPr lang="en-US"/>
          </a:p>
        </p:txBody>
      </p:sp>
      <p:sp>
        <p:nvSpPr>
          <p:cNvPr id="492" name="Freeform 1598"/>
          <p:cNvSpPr>
            <a:spLocks/>
          </p:cNvSpPr>
          <p:nvPr/>
        </p:nvSpPr>
        <p:spPr bwMode="auto">
          <a:xfrm>
            <a:off x="8314578" y="4434955"/>
            <a:ext cx="8600" cy="7642"/>
          </a:xfrm>
          <a:custGeom>
            <a:avLst/>
            <a:gdLst>
              <a:gd name="T0" fmla="*/ 0 w 22"/>
              <a:gd name="T1" fmla="*/ 2147483647 h 18"/>
              <a:gd name="T2" fmla="*/ 0 w 22"/>
              <a:gd name="T3" fmla="*/ 2147483647 h 18"/>
              <a:gd name="T4" fmla="*/ 2147483647 w 22"/>
              <a:gd name="T5" fmla="*/ 0 h 18"/>
              <a:gd name="T6" fmla="*/ 2147483647 w 22"/>
              <a:gd name="T7" fmla="*/ 2147483647 h 18"/>
              <a:gd name="T8" fmla="*/ 2147483647 w 22"/>
              <a:gd name="T9" fmla="*/ 2147483647 h 18"/>
              <a:gd name="T10" fmla="*/ 0 w 22"/>
              <a:gd name="T11" fmla="*/ 2147483647 h 18"/>
              <a:gd name="T12" fmla="*/ 0 60000 65536"/>
              <a:gd name="T13" fmla="*/ 0 60000 65536"/>
              <a:gd name="T14" fmla="*/ 0 60000 65536"/>
              <a:gd name="T15" fmla="*/ 0 60000 65536"/>
              <a:gd name="T16" fmla="*/ 0 60000 65536"/>
              <a:gd name="T17" fmla="*/ 0 60000 65536"/>
              <a:gd name="T18" fmla="*/ 0 w 22"/>
              <a:gd name="T19" fmla="*/ 0 h 18"/>
              <a:gd name="T20" fmla="*/ 22 w 2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2" h="18">
                <a:moveTo>
                  <a:pt x="0" y="17"/>
                </a:moveTo>
                <a:lnTo>
                  <a:pt x="0" y="12"/>
                </a:lnTo>
                <a:lnTo>
                  <a:pt x="22" y="0"/>
                </a:lnTo>
                <a:lnTo>
                  <a:pt x="15" y="13"/>
                </a:lnTo>
                <a:lnTo>
                  <a:pt x="9" y="18"/>
                </a:lnTo>
                <a:lnTo>
                  <a:pt x="0" y="17"/>
                </a:lnTo>
                <a:close/>
              </a:path>
            </a:pathLst>
          </a:custGeom>
          <a:solidFill>
            <a:schemeClr val="accent1"/>
          </a:solidFill>
          <a:ln w="6350">
            <a:solidFill>
              <a:schemeClr val="tx2"/>
            </a:solidFill>
            <a:round/>
            <a:headEnd/>
            <a:tailEnd/>
          </a:ln>
        </p:spPr>
        <p:txBody>
          <a:bodyPr/>
          <a:lstStyle/>
          <a:p>
            <a:endParaRPr lang="en-US"/>
          </a:p>
        </p:txBody>
      </p:sp>
      <p:sp>
        <p:nvSpPr>
          <p:cNvPr id="493" name="Freeform 1599"/>
          <p:cNvSpPr>
            <a:spLocks/>
          </p:cNvSpPr>
          <p:nvPr/>
        </p:nvSpPr>
        <p:spPr bwMode="auto">
          <a:xfrm>
            <a:off x="8344678" y="4394198"/>
            <a:ext cx="14334" cy="5095"/>
          </a:xfrm>
          <a:custGeom>
            <a:avLst/>
            <a:gdLst>
              <a:gd name="T0" fmla="*/ 2147483647 w 28"/>
              <a:gd name="T1" fmla="*/ 2147483647 h 13"/>
              <a:gd name="T2" fmla="*/ 2147483647 w 28"/>
              <a:gd name="T3" fmla="*/ 0 h 13"/>
              <a:gd name="T4" fmla="*/ 2147483647 w 28"/>
              <a:gd name="T5" fmla="*/ 2147483647 h 13"/>
              <a:gd name="T6" fmla="*/ 2147483647 w 28"/>
              <a:gd name="T7" fmla="*/ 2147483647 h 13"/>
              <a:gd name="T8" fmla="*/ 2147483647 w 28"/>
              <a:gd name="T9" fmla="*/ 2147483647 h 13"/>
              <a:gd name="T10" fmla="*/ 0 w 28"/>
              <a:gd name="T11" fmla="*/ 2147483647 h 13"/>
              <a:gd name="T12" fmla="*/ 2147483647 w 28"/>
              <a:gd name="T13" fmla="*/ 2147483647 h 13"/>
              <a:gd name="T14" fmla="*/ 0 60000 65536"/>
              <a:gd name="T15" fmla="*/ 0 60000 65536"/>
              <a:gd name="T16" fmla="*/ 0 60000 65536"/>
              <a:gd name="T17" fmla="*/ 0 60000 65536"/>
              <a:gd name="T18" fmla="*/ 0 60000 65536"/>
              <a:gd name="T19" fmla="*/ 0 60000 65536"/>
              <a:gd name="T20" fmla="*/ 0 60000 65536"/>
              <a:gd name="T21" fmla="*/ 0 w 28"/>
              <a:gd name="T22" fmla="*/ 0 h 13"/>
              <a:gd name="T23" fmla="*/ 28 w 2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3">
                <a:moveTo>
                  <a:pt x="1" y="2"/>
                </a:moveTo>
                <a:lnTo>
                  <a:pt x="24" y="0"/>
                </a:lnTo>
                <a:lnTo>
                  <a:pt x="28" y="5"/>
                </a:lnTo>
                <a:lnTo>
                  <a:pt x="20" y="12"/>
                </a:lnTo>
                <a:lnTo>
                  <a:pt x="5" y="13"/>
                </a:lnTo>
                <a:lnTo>
                  <a:pt x="0" y="10"/>
                </a:lnTo>
                <a:lnTo>
                  <a:pt x="1" y="2"/>
                </a:lnTo>
                <a:close/>
              </a:path>
            </a:pathLst>
          </a:custGeom>
          <a:solidFill>
            <a:schemeClr val="accent1"/>
          </a:solidFill>
          <a:ln w="6350">
            <a:solidFill>
              <a:schemeClr val="tx2"/>
            </a:solidFill>
            <a:round/>
            <a:headEnd/>
            <a:tailEnd/>
          </a:ln>
        </p:spPr>
        <p:txBody>
          <a:bodyPr/>
          <a:lstStyle/>
          <a:p>
            <a:endParaRPr lang="en-US"/>
          </a:p>
        </p:txBody>
      </p:sp>
      <p:sp>
        <p:nvSpPr>
          <p:cNvPr id="494" name="Freeform 1600"/>
          <p:cNvSpPr>
            <a:spLocks/>
          </p:cNvSpPr>
          <p:nvPr/>
        </p:nvSpPr>
        <p:spPr bwMode="auto">
          <a:xfrm>
            <a:off x="8336078" y="4395471"/>
            <a:ext cx="2866" cy="5095"/>
          </a:xfrm>
          <a:custGeom>
            <a:avLst/>
            <a:gdLst>
              <a:gd name="T0" fmla="*/ 2147483647 w 11"/>
              <a:gd name="T1" fmla="*/ 2147483647 h 14"/>
              <a:gd name="T2" fmla="*/ 0 w 11"/>
              <a:gd name="T3" fmla="*/ 2147483647 h 14"/>
              <a:gd name="T4" fmla="*/ 2147483647 w 11"/>
              <a:gd name="T5" fmla="*/ 0 h 14"/>
              <a:gd name="T6" fmla="*/ 2147483647 w 11"/>
              <a:gd name="T7" fmla="*/ 2147483647 h 14"/>
              <a:gd name="T8" fmla="*/ 2147483647 w 11"/>
              <a:gd name="T9" fmla="*/ 2147483647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1" y="10"/>
                </a:moveTo>
                <a:lnTo>
                  <a:pt x="0" y="6"/>
                </a:lnTo>
                <a:lnTo>
                  <a:pt x="11" y="0"/>
                </a:lnTo>
                <a:lnTo>
                  <a:pt x="7" y="14"/>
                </a:lnTo>
                <a:lnTo>
                  <a:pt x="1" y="10"/>
                </a:lnTo>
                <a:close/>
              </a:path>
            </a:pathLst>
          </a:custGeom>
          <a:solidFill>
            <a:schemeClr val="accent1"/>
          </a:solidFill>
          <a:ln w="6350">
            <a:solidFill>
              <a:schemeClr val="tx2"/>
            </a:solidFill>
            <a:round/>
            <a:headEnd/>
            <a:tailEnd/>
          </a:ln>
        </p:spPr>
        <p:txBody>
          <a:bodyPr/>
          <a:lstStyle/>
          <a:p>
            <a:endParaRPr lang="en-US"/>
          </a:p>
        </p:txBody>
      </p:sp>
      <p:sp>
        <p:nvSpPr>
          <p:cNvPr id="495" name="Freeform 1601"/>
          <p:cNvSpPr>
            <a:spLocks/>
          </p:cNvSpPr>
          <p:nvPr/>
        </p:nvSpPr>
        <p:spPr bwMode="auto">
          <a:xfrm>
            <a:off x="8321746" y="4394198"/>
            <a:ext cx="8600" cy="7642"/>
          </a:xfrm>
          <a:custGeom>
            <a:avLst/>
            <a:gdLst>
              <a:gd name="T0" fmla="*/ 0 w 19"/>
              <a:gd name="T1" fmla="*/ 2147483647 h 17"/>
              <a:gd name="T2" fmla="*/ 2147483647 w 19"/>
              <a:gd name="T3" fmla="*/ 2147483647 h 17"/>
              <a:gd name="T4" fmla="*/ 2147483647 w 19"/>
              <a:gd name="T5" fmla="*/ 2147483647 h 17"/>
              <a:gd name="T6" fmla="*/ 2147483647 w 19"/>
              <a:gd name="T7" fmla="*/ 0 h 17"/>
              <a:gd name="T8" fmla="*/ 2147483647 w 19"/>
              <a:gd name="T9" fmla="*/ 2147483647 h 17"/>
              <a:gd name="T10" fmla="*/ 2147483647 w 19"/>
              <a:gd name="T11" fmla="*/ 2147483647 h 17"/>
              <a:gd name="T12" fmla="*/ 2147483647 w 19"/>
              <a:gd name="T13" fmla="*/ 2147483647 h 17"/>
              <a:gd name="T14" fmla="*/ 0 w 19"/>
              <a:gd name="T15" fmla="*/ 2147483647 h 17"/>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7"/>
              <a:gd name="T26" fmla="*/ 19 w 19"/>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7">
                <a:moveTo>
                  <a:pt x="0" y="15"/>
                </a:moveTo>
                <a:lnTo>
                  <a:pt x="4" y="2"/>
                </a:lnTo>
                <a:lnTo>
                  <a:pt x="9" y="7"/>
                </a:lnTo>
                <a:lnTo>
                  <a:pt x="17" y="0"/>
                </a:lnTo>
                <a:lnTo>
                  <a:pt x="19" y="4"/>
                </a:lnTo>
                <a:lnTo>
                  <a:pt x="12" y="14"/>
                </a:lnTo>
                <a:lnTo>
                  <a:pt x="7" y="17"/>
                </a:lnTo>
                <a:lnTo>
                  <a:pt x="0" y="15"/>
                </a:lnTo>
                <a:close/>
              </a:path>
            </a:pathLst>
          </a:custGeom>
          <a:solidFill>
            <a:schemeClr val="accent1"/>
          </a:solidFill>
          <a:ln w="6350">
            <a:solidFill>
              <a:schemeClr val="tx2"/>
            </a:solidFill>
            <a:round/>
            <a:headEnd/>
            <a:tailEnd/>
          </a:ln>
        </p:spPr>
        <p:txBody>
          <a:bodyPr/>
          <a:lstStyle/>
          <a:p>
            <a:endParaRPr lang="en-US"/>
          </a:p>
        </p:txBody>
      </p:sp>
      <p:sp>
        <p:nvSpPr>
          <p:cNvPr id="496" name="Freeform 1602"/>
          <p:cNvSpPr>
            <a:spLocks/>
          </p:cNvSpPr>
          <p:nvPr/>
        </p:nvSpPr>
        <p:spPr bwMode="auto">
          <a:xfrm>
            <a:off x="8252945" y="4391651"/>
            <a:ext cx="63067" cy="16557"/>
          </a:xfrm>
          <a:custGeom>
            <a:avLst/>
            <a:gdLst>
              <a:gd name="T0" fmla="*/ 2147483647 w 135"/>
              <a:gd name="T1" fmla="*/ 2147483647 h 39"/>
              <a:gd name="T2" fmla="*/ 2147483647 w 135"/>
              <a:gd name="T3" fmla="*/ 2147483647 h 39"/>
              <a:gd name="T4" fmla="*/ 2147483647 w 135"/>
              <a:gd name="T5" fmla="*/ 2147483647 h 39"/>
              <a:gd name="T6" fmla="*/ 2147483647 w 135"/>
              <a:gd name="T7" fmla="*/ 2147483647 h 39"/>
              <a:gd name="T8" fmla="*/ 2147483647 w 135"/>
              <a:gd name="T9" fmla="*/ 2147483647 h 39"/>
              <a:gd name="T10" fmla="*/ 2147483647 w 135"/>
              <a:gd name="T11" fmla="*/ 2147483647 h 39"/>
              <a:gd name="T12" fmla="*/ 2147483647 w 135"/>
              <a:gd name="T13" fmla="*/ 2147483647 h 39"/>
              <a:gd name="T14" fmla="*/ 2147483647 w 135"/>
              <a:gd name="T15" fmla="*/ 0 h 39"/>
              <a:gd name="T16" fmla="*/ 2147483647 w 135"/>
              <a:gd name="T17" fmla="*/ 2147483647 h 39"/>
              <a:gd name="T18" fmla="*/ 2147483647 w 135"/>
              <a:gd name="T19" fmla="*/ 2147483647 h 39"/>
              <a:gd name="T20" fmla="*/ 2147483647 w 135"/>
              <a:gd name="T21" fmla="*/ 2147483647 h 39"/>
              <a:gd name="T22" fmla="*/ 2147483647 w 135"/>
              <a:gd name="T23" fmla="*/ 2147483647 h 39"/>
              <a:gd name="T24" fmla="*/ 2147483647 w 135"/>
              <a:gd name="T25" fmla="*/ 2147483647 h 39"/>
              <a:gd name="T26" fmla="*/ 0 w 135"/>
              <a:gd name="T27" fmla="*/ 2147483647 h 39"/>
              <a:gd name="T28" fmla="*/ 2147483647 w 135"/>
              <a:gd name="T29" fmla="*/ 2147483647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5"/>
              <a:gd name="T46" fmla="*/ 0 h 39"/>
              <a:gd name="T47" fmla="*/ 135 w 135"/>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5" h="39">
                <a:moveTo>
                  <a:pt x="7" y="17"/>
                </a:moveTo>
                <a:lnTo>
                  <a:pt x="35" y="8"/>
                </a:lnTo>
                <a:lnTo>
                  <a:pt x="55" y="13"/>
                </a:lnTo>
                <a:lnTo>
                  <a:pt x="70" y="23"/>
                </a:lnTo>
                <a:lnTo>
                  <a:pt x="95" y="17"/>
                </a:lnTo>
                <a:lnTo>
                  <a:pt x="110" y="24"/>
                </a:lnTo>
                <a:lnTo>
                  <a:pt x="131" y="11"/>
                </a:lnTo>
                <a:lnTo>
                  <a:pt x="129" y="0"/>
                </a:lnTo>
                <a:lnTo>
                  <a:pt x="135" y="12"/>
                </a:lnTo>
                <a:lnTo>
                  <a:pt x="117" y="29"/>
                </a:lnTo>
                <a:lnTo>
                  <a:pt x="54" y="39"/>
                </a:lnTo>
                <a:lnTo>
                  <a:pt x="32" y="32"/>
                </a:lnTo>
                <a:lnTo>
                  <a:pt x="2" y="33"/>
                </a:lnTo>
                <a:lnTo>
                  <a:pt x="0" y="19"/>
                </a:lnTo>
                <a:lnTo>
                  <a:pt x="7" y="17"/>
                </a:lnTo>
                <a:close/>
              </a:path>
            </a:pathLst>
          </a:custGeom>
          <a:solidFill>
            <a:schemeClr val="accent1"/>
          </a:solidFill>
          <a:ln w="6350">
            <a:solidFill>
              <a:schemeClr val="tx2"/>
            </a:solidFill>
            <a:round/>
            <a:headEnd/>
            <a:tailEnd/>
          </a:ln>
        </p:spPr>
        <p:txBody>
          <a:bodyPr/>
          <a:lstStyle/>
          <a:p>
            <a:endParaRPr lang="en-US"/>
          </a:p>
        </p:txBody>
      </p:sp>
      <p:sp>
        <p:nvSpPr>
          <p:cNvPr id="497" name="Freeform 1603"/>
          <p:cNvSpPr>
            <a:spLocks/>
          </p:cNvSpPr>
          <p:nvPr/>
        </p:nvSpPr>
        <p:spPr bwMode="auto">
          <a:xfrm>
            <a:off x="8235744" y="4414576"/>
            <a:ext cx="35834" cy="16557"/>
          </a:xfrm>
          <a:custGeom>
            <a:avLst/>
            <a:gdLst>
              <a:gd name="T0" fmla="*/ 2147483647 w 76"/>
              <a:gd name="T1" fmla="*/ 0 h 44"/>
              <a:gd name="T2" fmla="*/ 2147483647 w 76"/>
              <a:gd name="T3" fmla="*/ 2147483647 h 44"/>
              <a:gd name="T4" fmla="*/ 2147483647 w 76"/>
              <a:gd name="T5" fmla="*/ 2147483647 h 44"/>
              <a:gd name="T6" fmla="*/ 2147483647 w 76"/>
              <a:gd name="T7" fmla="*/ 2147483647 h 44"/>
              <a:gd name="T8" fmla="*/ 2147483647 w 76"/>
              <a:gd name="T9" fmla="*/ 2147483647 h 44"/>
              <a:gd name="T10" fmla="*/ 2147483647 w 76"/>
              <a:gd name="T11" fmla="*/ 2147483647 h 44"/>
              <a:gd name="T12" fmla="*/ 2147483647 w 76"/>
              <a:gd name="T13" fmla="*/ 2147483647 h 44"/>
              <a:gd name="T14" fmla="*/ 0 w 76"/>
              <a:gd name="T15" fmla="*/ 2147483647 h 44"/>
              <a:gd name="T16" fmla="*/ 2147483647 w 76"/>
              <a:gd name="T17" fmla="*/ 0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44"/>
              <a:gd name="T29" fmla="*/ 76 w 76"/>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44">
                <a:moveTo>
                  <a:pt x="40" y="0"/>
                </a:moveTo>
                <a:lnTo>
                  <a:pt x="65" y="19"/>
                </a:lnTo>
                <a:lnTo>
                  <a:pt x="76" y="37"/>
                </a:lnTo>
                <a:lnTo>
                  <a:pt x="63" y="44"/>
                </a:lnTo>
                <a:lnTo>
                  <a:pt x="53" y="44"/>
                </a:lnTo>
                <a:lnTo>
                  <a:pt x="25" y="22"/>
                </a:lnTo>
                <a:lnTo>
                  <a:pt x="6" y="22"/>
                </a:lnTo>
                <a:lnTo>
                  <a:pt x="0" y="7"/>
                </a:lnTo>
                <a:lnTo>
                  <a:pt x="40" y="0"/>
                </a:lnTo>
                <a:close/>
              </a:path>
            </a:pathLst>
          </a:custGeom>
          <a:solidFill>
            <a:schemeClr val="accent1"/>
          </a:solidFill>
          <a:ln w="6350">
            <a:solidFill>
              <a:schemeClr val="tx2"/>
            </a:solidFill>
            <a:round/>
            <a:headEnd/>
            <a:tailEnd/>
          </a:ln>
        </p:spPr>
        <p:txBody>
          <a:bodyPr/>
          <a:lstStyle/>
          <a:p>
            <a:endParaRPr lang="en-US"/>
          </a:p>
        </p:txBody>
      </p:sp>
      <p:sp>
        <p:nvSpPr>
          <p:cNvPr id="498" name="Freeform 1604"/>
          <p:cNvSpPr>
            <a:spLocks/>
          </p:cNvSpPr>
          <p:nvPr/>
        </p:nvSpPr>
        <p:spPr bwMode="auto">
          <a:xfrm>
            <a:off x="8189878" y="4391651"/>
            <a:ext cx="48734" cy="19104"/>
          </a:xfrm>
          <a:custGeom>
            <a:avLst/>
            <a:gdLst>
              <a:gd name="T0" fmla="*/ 2147483647 w 102"/>
              <a:gd name="T1" fmla="*/ 2147483647 h 43"/>
              <a:gd name="T2" fmla="*/ 2147483647 w 102"/>
              <a:gd name="T3" fmla="*/ 2147483647 h 43"/>
              <a:gd name="T4" fmla="*/ 2147483647 w 102"/>
              <a:gd name="T5" fmla="*/ 2147483647 h 43"/>
              <a:gd name="T6" fmla="*/ 2147483647 w 102"/>
              <a:gd name="T7" fmla="*/ 2147483647 h 43"/>
              <a:gd name="T8" fmla="*/ 2147483647 w 102"/>
              <a:gd name="T9" fmla="*/ 2147483647 h 43"/>
              <a:gd name="T10" fmla="*/ 2147483647 w 102"/>
              <a:gd name="T11" fmla="*/ 2147483647 h 43"/>
              <a:gd name="T12" fmla="*/ 2147483647 w 102"/>
              <a:gd name="T13" fmla="*/ 0 h 43"/>
              <a:gd name="T14" fmla="*/ 2147483647 w 102"/>
              <a:gd name="T15" fmla="*/ 2147483647 h 43"/>
              <a:gd name="T16" fmla="*/ 2147483647 w 102"/>
              <a:gd name="T17" fmla="*/ 2147483647 h 43"/>
              <a:gd name="T18" fmla="*/ 2147483647 w 102"/>
              <a:gd name="T19" fmla="*/ 2147483647 h 43"/>
              <a:gd name="T20" fmla="*/ 2147483647 w 102"/>
              <a:gd name="T21" fmla="*/ 2147483647 h 43"/>
              <a:gd name="T22" fmla="*/ 2147483647 w 102"/>
              <a:gd name="T23" fmla="*/ 2147483647 h 43"/>
              <a:gd name="T24" fmla="*/ 2147483647 w 102"/>
              <a:gd name="T25" fmla="*/ 2147483647 h 43"/>
              <a:gd name="T26" fmla="*/ 2147483647 w 102"/>
              <a:gd name="T27" fmla="*/ 2147483647 h 43"/>
              <a:gd name="T28" fmla="*/ 2147483647 w 102"/>
              <a:gd name="T29" fmla="*/ 2147483647 h 43"/>
              <a:gd name="T30" fmla="*/ 2147483647 w 102"/>
              <a:gd name="T31" fmla="*/ 2147483647 h 43"/>
              <a:gd name="T32" fmla="*/ 2147483647 w 102"/>
              <a:gd name="T33" fmla="*/ 2147483647 h 43"/>
              <a:gd name="T34" fmla="*/ 2147483647 w 102"/>
              <a:gd name="T35" fmla="*/ 2147483647 h 43"/>
              <a:gd name="T36" fmla="*/ 2147483647 w 102"/>
              <a:gd name="T37" fmla="*/ 2147483647 h 43"/>
              <a:gd name="T38" fmla="*/ 0 w 102"/>
              <a:gd name="T39" fmla="*/ 2147483647 h 43"/>
              <a:gd name="T40" fmla="*/ 2147483647 w 102"/>
              <a:gd name="T41" fmla="*/ 2147483647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
              <a:gd name="T64" fmla="*/ 0 h 43"/>
              <a:gd name="T65" fmla="*/ 102 w 102"/>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 h="43">
                <a:moveTo>
                  <a:pt x="12" y="15"/>
                </a:moveTo>
                <a:lnTo>
                  <a:pt x="34" y="16"/>
                </a:lnTo>
                <a:lnTo>
                  <a:pt x="47" y="27"/>
                </a:lnTo>
                <a:lnTo>
                  <a:pt x="60" y="23"/>
                </a:lnTo>
                <a:lnTo>
                  <a:pt x="45" y="11"/>
                </a:lnTo>
                <a:lnTo>
                  <a:pt x="43" y="4"/>
                </a:lnTo>
                <a:lnTo>
                  <a:pt x="49" y="0"/>
                </a:lnTo>
                <a:lnTo>
                  <a:pt x="62" y="11"/>
                </a:lnTo>
                <a:lnTo>
                  <a:pt x="76" y="9"/>
                </a:lnTo>
                <a:lnTo>
                  <a:pt x="81" y="19"/>
                </a:lnTo>
                <a:lnTo>
                  <a:pt x="90" y="9"/>
                </a:lnTo>
                <a:lnTo>
                  <a:pt x="102" y="27"/>
                </a:lnTo>
                <a:lnTo>
                  <a:pt x="91" y="26"/>
                </a:lnTo>
                <a:lnTo>
                  <a:pt x="90" y="31"/>
                </a:lnTo>
                <a:lnTo>
                  <a:pt x="80" y="33"/>
                </a:lnTo>
                <a:lnTo>
                  <a:pt x="71" y="27"/>
                </a:lnTo>
                <a:lnTo>
                  <a:pt x="37" y="40"/>
                </a:lnTo>
                <a:lnTo>
                  <a:pt x="10" y="43"/>
                </a:lnTo>
                <a:lnTo>
                  <a:pt x="3" y="40"/>
                </a:lnTo>
                <a:lnTo>
                  <a:pt x="0" y="24"/>
                </a:lnTo>
                <a:lnTo>
                  <a:pt x="12" y="15"/>
                </a:lnTo>
                <a:close/>
              </a:path>
            </a:pathLst>
          </a:custGeom>
          <a:solidFill>
            <a:schemeClr val="accent1"/>
          </a:solidFill>
          <a:ln w="6350">
            <a:solidFill>
              <a:schemeClr val="tx2"/>
            </a:solidFill>
            <a:round/>
            <a:headEnd/>
            <a:tailEnd/>
          </a:ln>
        </p:spPr>
        <p:txBody>
          <a:bodyPr/>
          <a:lstStyle/>
          <a:p>
            <a:endParaRPr lang="en-US"/>
          </a:p>
        </p:txBody>
      </p:sp>
      <p:sp>
        <p:nvSpPr>
          <p:cNvPr id="499" name="Freeform 1605"/>
          <p:cNvSpPr>
            <a:spLocks/>
          </p:cNvSpPr>
          <p:nvPr/>
        </p:nvSpPr>
        <p:spPr bwMode="auto">
          <a:xfrm>
            <a:off x="8172678" y="4395471"/>
            <a:ext cx="14334" cy="11463"/>
          </a:xfrm>
          <a:custGeom>
            <a:avLst/>
            <a:gdLst>
              <a:gd name="T0" fmla="*/ 2147483647 w 32"/>
              <a:gd name="T1" fmla="*/ 2147483647 h 29"/>
              <a:gd name="T2" fmla="*/ 2147483647 w 32"/>
              <a:gd name="T3" fmla="*/ 0 h 29"/>
              <a:gd name="T4" fmla="*/ 2147483647 w 32"/>
              <a:gd name="T5" fmla="*/ 2147483647 h 29"/>
              <a:gd name="T6" fmla="*/ 2147483647 w 32"/>
              <a:gd name="T7" fmla="*/ 2147483647 h 29"/>
              <a:gd name="T8" fmla="*/ 0 w 32"/>
              <a:gd name="T9" fmla="*/ 2147483647 h 29"/>
              <a:gd name="T10" fmla="*/ 2147483647 w 32"/>
              <a:gd name="T11" fmla="*/ 2147483647 h 29"/>
              <a:gd name="T12" fmla="*/ 0 60000 65536"/>
              <a:gd name="T13" fmla="*/ 0 60000 65536"/>
              <a:gd name="T14" fmla="*/ 0 60000 65536"/>
              <a:gd name="T15" fmla="*/ 0 60000 65536"/>
              <a:gd name="T16" fmla="*/ 0 60000 65536"/>
              <a:gd name="T17" fmla="*/ 0 60000 65536"/>
              <a:gd name="T18" fmla="*/ 0 w 32"/>
              <a:gd name="T19" fmla="*/ 0 h 29"/>
              <a:gd name="T20" fmla="*/ 32 w 3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2" h="29">
                <a:moveTo>
                  <a:pt x="6" y="10"/>
                </a:moveTo>
                <a:lnTo>
                  <a:pt x="17" y="0"/>
                </a:lnTo>
                <a:lnTo>
                  <a:pt x="32" y="4"/>
                </a:lnTo>
                <a:lnTo>
                  <a:pt x="29" y="29"/>
                </a:lnTo>
                <a:lnTo>
                  <a:pt x="0" y="28"/>
                </a:lnTo>
                <a:lnTo>
                  <a:pt x="6" y="10"/>
                </a:lnTo>
                <a:close/>
              </a:path>
            </a:pathLst>
          </a:custGeom>
          <a:solidFill>
            <a:schemeClr val="accent1"/>
          </a:solidFill>
          <a:ln w="6350">
            <a:solidFill>
              <a:schemeClr val="tx2"/>
            </a:solidFill>
            <a:round/>
            <a:headEnd/>
            <a:tailEnd/>
          </a:ln>
        </p:spPr>
        <p:txBody>
          <a:bodyPr/>
          <a:lstStyle/>
          <a:p>
            <a:endParaRPr lang="en-US"/>
          </a:p>
        </p:txBody>
      </p:sp>
      <p:sp>
        <p:nvSpPr>
          <p:cNvPr id="500" name="Freeform 1606"/>
          <p:cNvSpPr>
            <a:spLocks/>
          </p:cNvSpPr>
          <p:nvPr/>
        </p:nvSpPr>
        <p:spPr bwMode="auto">
          <a:xfrm>
            <a:off x="8144011" y="4391651"/>
            <a:ext cx="22933" cy="14010"/>
          </a:xfrm>
          <a:custGeom>
            <a:avLst/>
            <a:gdLst>
              <a:gd name="T0" fmla="*/ 2147483647 w 48"/>
              <a:gd name="T1" fmla="*/ 2147483647 h 32"/>
              <a:gd name="T2" fmla="*/ 2147483647 w 48"/>
              <a:gd name="T3" fmla="*/ 2147483647 h 32"/>
              <a:gd name="T4" fmla="*/ 2147483647 w 48"/>
              <a:gd name="T5" fmla="*/ 2147483647 h 32"/>
              <a:gd name="T6" fmla="*/ 2147483647 w 48"/>
              <a:gd name="T7" fmla="*/ 2147483647 h 32"/>
              <a:gd name="T8" fmla="*/ 2147483647 w 48"/>
              <a:gd name="T9" fmla="*/ 2147483647 h 32"/>
              <a:gd name="T10" fmla="*/ 2147483647 w 48"/>
              <a:gd name="T11" fmla="*/ 2147483647 h 32"/>
              <a:gd name="T12" fmla="*/ 2147483647 w 48"/>
              <a:gd name="T13" fmla="*/ 2147483647 h 32"/>
              <a:gd name="T14" fmla="*/ 0 w 48"/>
              <a:gd name="T15" fmla="*/ 2147483647 h 32"/>
              <a:gd name="T16" fmla="*/ 2147483647 w 48"/>
              <a:gd name="T17" fmla="*/ 0 h 32"/>
              <a:gd name="T18" fmla="*/ 2147483647 w 48"/>
              <a:gd name="T19" fmla="*/ 214748364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32"/>
              <a:gd name="T32" fmla="*/ 48 w 48"/>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32">
                <a:moveTo>
                  <a:pt x="20" y="1"/>
                </a:moveTo>
                <a:lnTo>
                  <a:pt x="35" y="1"/>
                </a:lnTo>
                <a:lnTo>
                  <a:pt x="47" y="10"/>
                </a:lnTo>
                <a:lnTo>
                  <a:pt x="48" y="16"/>
                </a:lnTo>
                <a:lnTo>
                  <a:pt x="34" y="24"/>
                </a:lnTo>
                <a:lnTo>
                  <a:pt x="29" y="32"/>
                </a:lnTo>
                <a:lnTo>
                  <a:pt x="16" y="15"/>
                </a:lnTo>
                <a:lnTo>
                  <a:pt x="0" y="10"/>
                </a:lnTo>
                <a:lnTo>
                  <a:pt x="1" y="0"/>
                </a:lnTo>
                <a:lnTo>
                  <a:pt x="20" y="1"/>
                </a:lnTo>
                <a:close/>
              </a:path>
            </a:pathLst>
          </a:custGeom>
          <a:solidFill>
            <a:schemeClr val="accent1"/>
          </a:solidFill>
          <a:ln w="6350">
            <a:solidFill>
              <a:schemeClr val="tx2"/>
            </a:solidFill>
            <a:round/>
            <a:headEnd/>
            <a:tailEnd/>
          </a:ln>
        </p:spPr>
        <p:txBody>
          <a:bodyPr/>
          <a:lstStyle/>
          <a:p>
            <a:endParaRPr lang="en-US"/>
          </a:p>
        </p:txBody>
      </p:sp>
      <p:sp>
        <p:nvSpPr>
          <p:cNvPr id="501" name="Freeform 1607"/>
          <p:cNvSpPr>
            <a:spLocks/>
          </p:cNvSpPr>
          <p:nvPr/>
        </p:nvSpPr>
        <p:spPr bwMode="auto">
          <a:xfrm>
            <a:off x="8109610" y="4369998"/>
            <a:ext cx="24367" cy="6369"/>
          </a:xfrm>
          <a:custGeom>
            <a:avLst/>
            <a:gdLst>
              <a:gd name="T0" fmla="*/ 0 w 55"/>
              <a:gd name="T1" fmla="*/ 2147483647 h 16"/>
              <a:gd name="T2" fmla="*/ 2147483647 w 55"/>
              <a:gd name="T3" fmla="*/ 0 h 16"/>
              <a:gd name="T4" fmla="*/ 2147483647 w 55"/>
              <a:gd name="T5" fmla="*/ 2147483647 h 16"/>
              <a:gd name="T6" fmla="*/ 2147483647 w 55"/>
              <a:gd name="T7" fmla="*/ 2147483647 h 16"/>
              <a:gd name="T8" fmla="*/ 2147483647 w 55"/>
              <a:gd name="T9" fmla="*/ 2147483647 h 16"/>
              <a:gd name="T10" fmla="*/ 0 w 55"/>
              <a:gd name="T11" fmla="*/ 2147483647 h 16"/>
              <a:gd name="T12" fmla="*/ 0 60000 65536"/>
              <a:gd name="T13" fmla="*/ 0 60000 65536"/>
              <a:gd name="T14" fmla="*/ 0 60000 65536"/>
              <a:gd name="T15" fmla="*/ 0 60000 65536"/>
              <a:gd name="T16" fmla="*/ 0 60000 65536"/>
              <a:gd name="T17" fmla="*/ 0 60000 65536"/>
              <a:gd name="T18" fmla="*/ 0 w 55"/>
              <a:gd name="T19" fmla="*/ 0 h 16"/>
              <a:gd name="T20" fmla="*/ 55 w 5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55" h="16">
                <a:moveTo>
                  <a:pt x="0" y="3"/>
                </a:moveTo>
                <a:lnTo>
                  <a:pt x="49" y="0"/>
                </a:lnTo>
                <a:lnTo>
                  <a:pt x="55" y="8"/>
                </a:lnTo>
                <a:lnTo>
                  <a:pt x="30" y="16"/>
                </a:lnTo>
                <a:lnTo>
                  <a:pt x="6" y="13"/>
                </a:lnTo>
                <a:lnTo>
                  <a:pt x="0" y="3"/>
                </a:lnTo>
                <a:close/>
              </a:path>
            </a:pathLst>
          </a:custGeom>
          <a:solidFill>
            <a:schemeClr val="accent1"/>
          </a:solidFill>
          <a:ln w="6350">
            <a:solidFill>
              <a:schemeClr val="tx2"/>
            </a:solidFill>
            <a:round/>
            <a:headEnd/>
            <a:tailEnd/>
          </a:ln>
        </p:spPr>
        <p:txBody>
          <a:bodyPr/>
          <a:lstStyle/>
          <a:p>
            <a:endParaRPr lang="en-US"/>
          </a:p>
        </p:txBody>
      </p:sp>
      <p:sp>
        <p:nvSpPr>
          <p:cNvPr id="502" name="Freeform 1608"/>
          <p:cNvSpPr>
            <a:spLocks/>
          </p:cNvSpPr>
          <p:nvPr/>
        </p:nvSpPr>
        <p:spPr bwMode="auto">
          <a:xfrm>
            <a:off x="8158344" y="4368725"/>
            <a:ext cx="8600" cy="3820"/>
          </a:xfrm>
          <a:custGeom>
            <a:avLst/>
            <a:gdLst>
              <a:gd name="T0" fmla="*/ 0 w 14"/>
              <a:gd name="T1" fmla="*/ 2147483647 h 10"/>
              <a:gd name="T2" fmla="*/ 2147483647 w 14"/>
              <a:gd name="T3" fmla="*/ 0 h 10"/>
              <a:gd name="T4" fmla="*/ 2147483647 w 14"/>
              <a:gd name="T5" fmla="*/ 2147483647 h 10"/>
              <a:gd name="T6" fmla="*/ 2147483647 w 14"/>
              <a:gd name="T7" fmla="*/ 2147483647 h 10"/>
              <a:gd name="T8" fmla="*/ 0 w 14"/>
              <a:gd name="T9" fmla="*/ 2147483647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0" y="1"/>
                </a:moveTo>
                <a:lnTo>
                  <a:pt x="11" y="0"/>
                </a:lnTo>
                <a:lnTo>
                  <a:pt x="14" y="6"/>
                </a:lnTo>
                <a:lnTo>
                  <a:pt x="4" y="10"/>
                </a:lnTo>
                <a:lnTo>
                  <a:pt x="0" y="1"/>
                </a:lnTo>
                <a:close/>
              </a:path>
            </a:pathLst>
          </a:custGeom>
          <a:solidFill>
            <a:schemeClr val="accent1"/>
          </a:solidFill>
          <a:ln w="6350">
            <a:solidFill>
              <a:schemeClr val="tx2"/>
            </a:solidFill>
            <a:round/>
            <a:headEnd/>
            <a:tailEnd/>
          </a:ln>
        </p:spPr>
        <p:txBody>
          <a:bodyPr/>
          <a:lstStyle/>
          <a:p>
            <a:endParaRPr lang="en-US"/>
          </a:p>
        </p:txBody>
      </p:sp>
      <p:sp>
        <p:nvSpPr>
          <p:cNvPr id="503" name="Freeform 1609"/>
          <p:cNvSpPr>
            <a:spLocks/>
          </p:cNvSpPr>
          <p:nvPr/>
        </p:nvSpPr>
        <p:spPr bwMode="auto">
          <a:xfrm>
            <a:off x="8232878" y="4217159"/>
            <a:ext cx="126134" cy="132460"/>
          </a:xfrm>
          <a:custGeom>
            <a:avLst/>
            <a:gdLst>
              <a:gd name="T0" fmla="*/ 2147483647 w 270"/>
              <a:gd name="T1" fmla="*/ 2147483647 h 315"/>
              <a:gd name="T2" fmla="*/ 2147483647 w 270"/>
              <a:gd name="T3" fmla="*/ 2147483647 h 315"/>
              <a:gd name="T4" fmla="*/ 2147483647 w 270"/>
              <a:gd name="T5" fmla="*/ 2147483647 h 315"/>
              <a:gd name="T6" fmla="*/ 2147483647 w 270"/>
              <a:gd name="T7" fmla="*/ 2147483647 h 315"/>
              <a:gd name="T8" fmla="*/ 2147483647 w 270"/>
              <a:gd name="T9" fmla="*/ 2147483647 h 315"/>
              <a:gd name="T10" fmla="*/ 2147483647 w 270"/>
              <a:gd name="T11" fmla="*/ 2147483647 h 315"/>
              <a:gd name="T12" fmla="*/ 2147483647 w 270"/>
              <a:gd name="T13" fmla="*/ 2147483647 h 315"/>
              <a:gd name="T14" fmla="*/ 2147483647 w 270"/>
              <a:gd name="T15" fmla="*/ 2147483647 h 315"/>
              <a:gd name="T16" fmla="*/ 2147483647 w 270"/>
              <a:gd name="T17" fmla="*/ 2147483647 h 315"/>
              <a:gd name="T18" fmla="*/ 2147483647 w 270"/>
              <a:gd name="T19" fmla="*/ 2147483647 h 315"/>
              <a:gd name="T20" fmla="*/ 2147483647 w 270"/>
              <a:gd name="T21" fmla="*/ 2147483647 h 315"/>
              <a:gd name="T22" fmla="*/ 2147483647 w 270"/>
              <a:gd name="T23" fmla="*/ 2147483647 h 315"/>
              <a:gd name="T24" fmla="*/ 2147483647 w 270"/>
              <a:gd name="T25" fmla="*/ 2147483647 h 315"/>
              <a:gd name="T26" fmla="*/ 2147483647 w 270"/>
              <a:gd name="T27" fmla="*/ 2147483647 h 315"/>
              <a:gd name="T28" fmla="*/ 2147483647 w 270"/>
              <a:gd name="T29" fmla="*/ 2147483647 h 315"/>
              <a:gd name="T30" fmla="*/ 2147483647 w 270"/>
              <a:gd name="T31" fmla="*/ 2147483647 h 315"/>
              <a:gd name="T32" fmla="*/ 2147483647 w 270"/>
              <a:gd name="T33" fmla="*/ 2147483647 h 315"/>
              <a:gd name="T34" fmla="*/ 2147483647 w 270"/>
              <a:gd name="T35" fmla="*/ 2147483647 h 315"/>
              <a:gd name="T36" fmla="*/ 2147483647 w 270"/>
              <a:gd name="T37" fmla="*/ 2147483647 h 315"/>
              <a:gd name="T38" fmla="*/ 2147483647 w 270"/>
              <a:gd name="T39" fmla="*/ 2147483647 h 315"/>
              <a:gd name="T40" fmla="*/ 2147483647 w 270"/>
              <a:gd name="T41" fmla="*/ 2147483647 h 315"/>
              <a:gd name="T42" fmla="*/ 2147483647 w 270"/>
              <a:gd name="T43" fmla="*/ 2147483647 h 315"/>
              <a:gd name="T44" fmla="*/ 2147483647 w 270"/>
              <a:gd name="T45" fmla="*/ 2147483647 h 315"/>
              <a:gd name="T46" fmla="*/ 2147483647 w 270"/>
              <a:gd name="T47" fmla="*/ 2147483647 h 315"/>
              <a:gd name="T48" fmla="*/ 2147483647 w 270"/>
              <a:gd name="T49" fmla="*/ 2147483647 h 315"/>
              <a:gd name="T50" fmla="*/ 2147483647 w 270"/>
              <a:gd name="T51" fmla="*/ 2147483647 h 315"/>
              <a:gd name="T52" fmla="*/ 2147483647 w 270"/>
              <a:gd name="T53" fmla="*/ 2147483647 h 315"/>
              <a:gd name="T54" fmla="*/ 2147483647 w 270"/>
              <a:gd name="T55" fmla="*/ 2147483647 h 315"/>
              <a:gd name="T56" fmla="*/ 2147483647 w 270"/>
              <a:gd name="T57" fmla="*/ 2147483647 h 315"/>
              <a:gd name="T58" fmla="*/ 2147483647 w 270"/>
              <a:gd name="T59" fmla="*/ 2147483647 h 315"/>
              <a:gd name="T60" fmla="*/ 2147483647 w 270"/>
              <a:gd name="T61" fmla="*/ 2147483647 h 315"/>
              <a:gd name="T62" fmla="*/ 2147483647 w 270"/>
              <a:gd name="T63" fmla="*/ 2147483647 h 315"/>
              <a:gd name="T64" fmla="*/ 2147483647 w 270"/>
              <a:gd name="T65" fmla="*/ 2147483647 h 315"/>
              <a:gd name="T66" fmla="*/ 2147483647 w 270"/>
              <a:gd name="T67" fmla="*/ 2147483647 h 315"/>
              <a:gd name="T68" fmla="*/ 2147483647 w 270"/>
              <a:gd name="T69" fmla="*/ 2147483647 h 315"/>
              <a:gd name="T70" fmla="*/ 2147483647 w 270"/>
              <a:gd name="T71" fmla="*/ 2147483647 h 315"/>
              <a:gd name="T72" fmla="*/ 2147483647 w 270"/>
              <a:gd name="T73" fmla="*/ 2147483647 h 315"/>
              <a:gd name="T74" fmla="*/ 2147483647 w 270"/>
              <a:gd name="T75" fmla="*/ 2147483647 h 315"/>
              <a:gd name="T76" fmla="*/ 2147483647 w 270"/>
              <a:gd name="T77" fmla="*/ 2147483647 h 315"/>
              <a:gd name="T78" fmla="*/ 2147483647 w 270"/>
              <a:gd name="T79" fmla="*/ 2147483647 h 315"/>
              <a:gd name="T80" fmla="*/ 2147483647 w 270"/>
              <a:gd name="T81" fmla="*/ 2147483647 h 315"/>
              <a:gd name="T82" fmla="*/ 2147483647 w 270"/>
              <a:gd name="T83" fmla="*/ 2147483647 h 315"/>
              <a:gd name="T84" fmla="*/ 2147483647 w 270"/>
              <a:gd name="T85" fmla="*/ 2147483647 h 31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0"/>
              <a:gd name="T130" fmla="*/ 0 h 315"/>
              <a:gd name="T131" fmla="*/ 270 w 270"/>
              <a:gd name="T132" fmla="*/ 315 h 31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0" h="315">
                <a:moveTo>
                  <a:pt x="94" y="16"/>
                </a:moveTo>
                <a:lnTo>
                  <a:pt x="108" y="17"/>
                </a:lnTo>
                <a:lnTo>
                  <a:pt x="115" y="26"/>
                </a:lnTo>
                <a:lnTo>
                  <a:pt x="150" y="27"/>
                </a:lnTo>
                <a:lnTo>
                  <a:pt x="169" y="35"/>
                </a:lnTo>
                <a:lnTo>
                  <a:pt x="186" y="31"/>
                </a:lnTo>
                <a:lnTo>
                  <a:pt x="214" y="35"/>
                </a:lnTo>
                <a:lnTo>
                  <a:pt x="226" y="32"/>
                </a:lnTo>
                <a:lnTo>
                  <a:pt x="263" y="0"/>
                </a:lnTo>
                <a:lnTo>
                  <a:pt x="270" y="2"/>
                </a:lnTo>
                <a:lnTo>
                  <a:pt x="270" y="15"/>
                </a:lnTo>
                <a:lnTo>
                  <a:pt x="246" y="45"/>
                </a:lnTo>
                <a:lnTo>
                  <a:pt x="230" y="57"/>
                </a:lnTo>
                <a:lnTo>
                  <a:pt x="192" y="60"/>
                </a:lnTo>
                <a:lnTo>
                  <a:pt x="171" y="51"/>
                </a:lnTo>
                <a:lnTo>
                  <a:pt x="129" y="55"/>
                </a:lnTo>
                <a:lnTo>
                  <a:pt x="104" y="50"/>
                </a:lnTo>
                <a:lnTo>
                  <a:pt x="94" y="55"/>
                </a:lnTo>
                <a:lnTo>
                  <a:pt x="68" y="53"/>
                </a:lnTo>
                <a:lnTo>
                  <a:pt x="61" y="62"/>
                </a:lnTo>
                <a:lnTo>
                  <a:pt x="53" y="82"/>
                </a:lnTo>
                <a:lnTo>
                  <a:pt x="53" y="105"/>
                </a:lnTo>
                <a:lnTo>
                  <a:pt x="67" y="114"/>
                </a:lnTo>
                <a:lnTo>
                  <a:pt x="78" y="133"/>
                </a:lnTo>
                <a:lnTo>
                  <a:pt x="95" y="132"/>
                </a:lnTo>
                <a:lnTo>
                  <a:pt x="109" y="113"/>
                </a:lnTo>
                <a:lnTo>
                  <a:pt x="118" y="110"/>
                </a:lnTo>
                <a:lnTo>
                  <a:pt x="135" y="114"/>
                </a:lnTo>
                <a:lnTo>
                  <a:pt x="138" y="108"/>
                </a:lnTo>
                <a:lnTo>
                  <a:pt x="168" y="106"/>
                </a:lnTo>
                <a:lnTo>
                  <a:pt x="170" y="100"/>
                </a:lnTo>
                <a:lnTo>
                  <a:pt x="183" y="96"/>
                </a:lnTo>
                <a:lnTo>
                  <a:pt x="191" y="96"/>
                </a:lnTo>
                <a:lnTo>
                  <a:pt x="196" y="102"/>
                </a:lnTo>
                <a:lnTo>
                  <a:pt x="195" y="111"/>
                </a:lnTo>
                <a:lnTo>
                  <a:pt x="190" y="116"/>
                </a:lnTo>
                <a:lnTo>
                  <a:pt x="180" y="111"/>
                </a:lnTo>
                <a:lnTo>
                  <a:pt x="170" y="113"/>
                </a:lnTo>
                <a:lnTo>
                  <a:pt x="147" y="140"/>
                </a:lnTo>
                <a:lnTo>
                  <a:pt x="121" y="152"/>
                </a:lnTo>
                <a:lnTo>
                  <a:pt x="106" y="150"/>
                </a:lnTo>
                <a:lnTo>
                  <a:pt x="107" y="158"/>
                </a:lnTo>
                <a:lnTo>
                  <a:pt x="119" y="164"/>
                </a:lnTo>
                <a:lnTo>
                  <a:pt x="153" y="210"/>
                </a:lnTo>
                <a:lnTo>
                  <a:pt x="144" y="217"/>
                </a:lnTo>
                <a:lnTo>
                  <a:pt x="144" y="228"/>
                </a:lnTo>
                <a:lnTo>
                  <a:pt x="158" y="240"/>
                </a:lnTo>
                <a:lnTo>
                  <a:pt x="158" y="247"/>
                </a:lnTo>
                <a:lnTo>
                  <a:pt x="168" y="249"/>
                </a:lnTo>
                <a:lnTo>
                  <a:pt x="168" y="258"/>
                </a:lnTo>
                <a:lnTo>
                  <a:pt x="142" y="264"/>
                </a:lnTo>
                <a:lnTo>
                  <a:pt x="129" y="282"/>
                </a:lnTo>
                <a:lnTo>
                  <a:pt x="118" y="281"/>
                </a:lnTo>
                <a:lnTo>
                  <a:pt x="113" y="259"/>
                </a:lnTo>
                <a:lnTo>
                  <a:pt x="116" y="250"/>
                </a:lnTo>
                <a:lnTo>
                  <a:pt x="93" y="229"/>
                </a:lnTo>
                <a:lnTo>
                  <a:pt x="88" y="218"/>
                </a:lnTo>
                <a:lnTo>
                  <a:pt x="94" y="206"/>
                </a:lnTo>
                <a:lnTo>
                  <a:pt x="93" y="190"/>
                </a:lnTo>
                <a:lnTo>
                  <a:pt x="91" y="185"/>
                </a:lnTo>
                <a:lnTo>
                  <a:pt x="82" y="184"/>
                </a:lnTo>
                <a:lnTo>
                  <a:pt x="63" y="197"/>
                </a:lnTo>
                <a:lnTo>
                  <a:pt x="59" y="208"/>
                </a:lnTo>
                <a:lnTo>
                  <a:pt x="65" y="218"/>
                </a:lnTo>
                <a:lnTo>
                  <a:pt x="67" y="277"/>
                </a:lnTo>
                <a:lnTo>
                  <a:pt x="62" y="288"/>
                </a:lnTo>
                <a:lnTo>
                  <a:pt x="66" y="311"/>
                </a:lnTo>
                <a:lnTo>
                  <a:pt x="32" y="315"/>
                </a:lnTo>
                <a:lnTo>
                  <a:pt x="26" y="312"/>
                </a:lnTo>
                <a:lnTo>
                  <a:pt x="21" y="300"/>
                </a:lnTo>
                <a:lnTo>
                  <a:pt x="33" y="246"/>
                </a:lnTo>
                <a:lnTo>
                  <a:pt x="26" y="221"/>
                </a:lnTo>
                <a:lnTo>
                  <a:pt x="8" y="222"/>
                </a:lnTo>
                <a:lnTo>
                  <a:pt x="1" y="212"/>
                </a:lnTo>
                <a:lnTo>
                  <a:pt x="0" y="186"/>
                </a:lnTo>
                <a:lnTo>
                  <a:pt x="20" y="152"/>
                </a:lnTo>
                <a:lnTo>
                  <a:pt x="19" y="128"/>
                </a:lnTo>
                <a:lnTo>
                  <a:pt x="37" y="98"/>
                </a:lnTo>
                <a:lnTo>
                  <a:pt x="40" y="81"/>
                </a:lnTo>
                <a:lnTo>
                  <a:pt x="35" y="75"/>
                </a:lnTo>
                <a:lnTo>
                  <a:pt x="42" y="67"/>
                </a:lnTo>
                <a:lnTo>
                  <a:pt x="49" y="43"/>
                </a:lnTo>
                <a:lnTo>
                  <a:pt x="58" y="34"/>
                </a:lnTo>
                <a:lnTo>
                  <a:pt x="72" y="38"/>
                </a:lnTo>
                <a:lnTo>
                  <a:pt x="81" y="20"/>
                </a:lnTo>
                <a:lnTo>
                  <a:pt x="94" y="16"/>
                </a:lnTo>
                <a:close/>
              </a:path>
            </a:pathLst>
          </a:custGeom>
          <a:solidFill>
            <a:schemeClr val="accent1"/>
          </a:solidFill>
          <a:ln w="6350">
            <a:solidFill>
              <a:schemeClr val="tx2"/>
            </a:solidFill>
            <a:round/>
            <a:headEnd/>
            <a:tailEnd/>
          </a:ln>
        </p:spPr>
        <p:txBody>
          <a:bodyPr/>
          <a:lstStyle/>
          <a:p>
            <a:endParaRPr lang="en-US"/>
          </a:p>
        </p:txBody>
      </p:sp>
      <p:sp>
        <p:nvSpPr>
          <p:cNvPr id="504" name="Freeform 1610"/>
          <p:cNvSpPr>
            <a:spLocks/>
          </p:cNvSpPr>
          <p:nvPr/>
        </p:nvSpPr>
        <p:spPr bwMode="auto">
          <a:xfrm>
            <a:off x="8293079" y="4339430"/>
            <a:ext cx="2866" cy="6369"/>
          </a:xfrm>
          <a:custGeom>
            <a:avLst/>
            <a:gdLst>
              <a:gd name="T0" fmla="*/ 0 w 9"/>
              <a:gd name="T1" fmla="*/ 2147483647 h 13"/>
              <a:gd name="T2" fmla="*/ 2147483647 w 9"/>
              <a:gd name="T3" fmla="*/ 0 h 13"/>
              <a:gd name="T4" fmla="*/ 2147483647 w 9"/>
              <a:gd name="T5" fmla="*/ 2147483647 h 13"/>
              <a:gd name="T6" fmla="*/ 2147483647 w 9"/>
              <a:gd name="T7" fmla="*/ 2147483647 h 13"/>
              <a:gd name="T8" fmla="*/ 0 w 9"/>
              <a:gd name="T9" fmla="*/ 2147483647 h 13"/>
              <a:gd name="T10" fmla="*/ 0 60000 65536"/>
              <a:gd name="T11" fmla="*/ 0 60000 65536"/>
              <a:gd name="T12" fmla="*/ 0 60000 65536"/>
              <a:gd name="T13" fmla="*/ 0 60000 65536"/>
              <a:gd name="T14" fmla="*/ 0 60000 65536"/>
              <a:gd name="T15" fmla="*/ 0 w 9"/>
              <a:gd name="T16" fmla="*/ 0 h 13"/>
              <a:gd name="T17" fmla="*/ 9 w 9"/>
              <a:gd name="T18" fmla="*/ 13 h 13"/>
            </a:gdLst>
            <a:ahLst/>
            <a:cxnLst>
              <a:cxn ang="T10">
                <a:pos x="T0" y="T1"/>
              </a:cxn>
              <a:cxn ang="T11">
                <a:pos x="T2" y="T3"/>
              </a:cxn>
              <a:cxn ang="T12">
                <a:pos x="T4" y="T5"/>
              </a:cxn>
              <a:cxn ang="T13">
                <a:pos x="T6" y="T7"/>
              </a:cxn>
              <a:cxn ang="T14">
                <a:pos x="T8" y="T9"/>
              </a:cxn>
            </a:cxnLst>
            <a:rect l="T15" t="T16" r="T17" b="T18"/>
            <a:pathLst>
              <a:path w="9" h="13">
                <a:moveTo>
                  <a:pt x="0" y="3"/>
                </a:moveTo>
                <a:lnTo>
                  <a:pt x="7" y="0"/>
                </a:lnTo>
                <a:lnTo>
                  <a:pt x="9" y="12"/>
                </a:lnTo>
                <a:lnTo>
                  <a:pt x="6" y="13"/>
                </a:lnTo>
                <a:lnTo>
                  <a:pt x="0" y="3"/>
                </a:lnTo>
                <a:close/>
              </a:path>
            </a:pathLst>
          </a:custGeom>
          <a:solidFill>
            <a:schemeClr val="accent1"/>
          </a:solidFill>
          <a:ln w="6350">
            <a:solidFill>
              <a:schemeClr val="tx2"/>
            </a:solidFill>
            <a:round/>
            <a:headEnd/>
            <a:tailEnd/>
          </a:ln>
        </p:spPr>
        <p:txBody>
          <a:bodyPr/>
          <a:lstStyle/>
          <a:p>
            <a:endParaRPr lang="en-US"/>
          </a:p>
        </p:txBody>
      </p:sp>
      <p:sp>
        <p:nvSpPr>
          <p:cNvPr id="505" name="Freeform 1611"/>
          <p:cNvSpPr>
            <a:spLocks/>
          </p:cNvSpPr>
          <p:nvPr/>
        </p:nvSpPr>
        <p:spPr bwMode="auto">
          <a:xfrm>
            <a:off x="8300244" y="4331788"/>
            <a:ext cx="10034" cy="12737"/>
          </a:xfrm>
          <a:custGeom>
            <a:avLst/>
            <a:gdLst>
              <a:gd name="T0" fmla="*/ 2147483647 w 16"/>
              <a:gd name="T1" fmla="*/ 2147483647 h 31"/>
              <a:gd name="T2" fmla="*/ 2147483647 w 16"/>
              <a:gd name="T3" fmla="*/ 0 h 31"/>
              <a:gd name="T4" fmla="*/ 2147483647 w 16"/>
              <a:gd name="T5" fmla="*/ 2147483647 h 31"/>
              <a:gd name="T6" fmla="*/ 0 w 16"/>
              <a:gd name="T7" fmla="*/ 2147483647 h 31"/>
              <a:gd name="T8" fmla="*/ 2147483647 w 16"/>
              <a:gd name="T9" fmla="*/ 2147483647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2" y="3"/>
                </a:moveTo>
                <a:lnTo>
                  <a:pt x="16" y="0"/>
                </a:lnTo>
                <a:lnTo>
                  <a:pt x="13" y="31"/>
                </a:lnTo>
                <a:lnTo>
                  <a:pt x="0" y="29"/>
                </a:lnTo>
                <a:lnTo>
                  <a:pt x="2" y="3"/>
                </a:lnTo>
                <a:close/>
              </a:path>
            </a:pathLst>
          </a:custGeom>
          <a:solidFill>
            <a:schemeClr val="accent1"/>
          </a:solidFill>
          <a:ln w="6350">
            <a:solidFill>
              <a:schemeClr val="tx2"/>
            </a:solidFill>
            <a:round/>
            <a:headEnd/>
            <a:tailEnd/>
          </a:ln>
        </p:spPr>
        <p:txBody>
          <a:bodyPr/>
          <a:lstStyle/>
          <a:p>
            <a:endParaRPr lang="en-US"/>
          </a:p>
        </p:txBody>
      </p:sp>
      <p:sp>
        <p:nvSpPr>
          <p:cNvPr id="506" name="Freeform 1612"/>
          <p:cNvSpPr>
            <a:spLocks/>
          </p:cNvSpPr>
          <p:nvPr/>
        </p:nvSpPr>
        <p:spPr bwMode="auto">
          <a:xfrm>
            <a:off x="8308845" y="4325420"/>
            <a:ext cx="10034" cy="24199"/>
          </a:xfrm>
          <a:custGeom>
            <a:avLst/>
            <a:gdLst>
              <a:gd name="T0" fmla="*/ 2147483647 w 23"/>
              <a:gd name="T1" fmla="*/ 2147483647 h 58"/>
              <a:gd name="T2" fmla="*/ 2147483647 w 23"/>
              <a:gd name="T3" fmla="*/ 0 h 58"/>
              <a:gd name="T4" fmla="*/ 2147483647 w 23"/>
              <a:gd name="T5" fmla="*/ 2147483647 h 58"/>
              <a:gd name="T6" fmla="*/ 2147483647 w 23"/>
              <a:gd name="T7" fmla="*/ 2147483647 h 58"/>
              <a:gd name="T8" fmla="*/ 2147483647 w 23"/>
              <a:gd name="T9" fmla="*/ 2147483647 h 58"/>
              <a:gd name="T10" fmla="*/ 2147483647 w 23"/>
              <a:gd name="T11" fmla="*/ 2147483647 h 58"/>
              <a:gd name="T12" fmla="*/ 0 w 23"/>
              <a:gd name="T13" fmla="*/ 2147483647 h 58"/>
              <a:gd name="T14" fmla="*/ 2147483647 w 23"/>
              <a:gd name="T15" fmla="*/ 2147483647 h 58"/>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58"/>
              <a:gd name="T26" fmla="*/ 23 w 23"/>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58">
                <a:moveTo>
                  <a:pt x="5" y="30"/>
                </a:moveTo>
                <a:lnTo>
                  <a:pt x="13" y="0"/>
                </a:lnTo>
                <a:lnTo>
                  <a:pt x="23" y="19"/>
                </a:lnTo>
                <a:lnTo>
                  <a:pt x="14" y="28"/>
                </a:lnTo>
                <a:lnTo>
                  <a:pt x="22" y="45"/>
                </a:lnTo>
                <a:lnTo>
                  <a:pt x="5" y="58"/>
                </a:lnTo>
                <a:lnTo>
                  <a:pt x="0" y="48"/>
                </a:lnTo>
                <a:lnTo>
                  <a:pt x="5" y="30"/>
                </a:lnTo>
                <a:close/>
              </a:path>
            </a:pathLst>
          </a:custGeom>
          <a:solidFill>
            <a:schemeClr val="accent1"/>
          </a:solidFill>
          <a:ln w="6350">
            <a:solidFill>
              <a:schemeClr val="tx2"/>
            </a:solidFill>
            <a:round/>
            <a:headEnd/>
            <a:tailEnd/>
          </a:ln>
        </p:spPr>
        <p:txBody>
          <a:bodyPr/>
          <a:lstStyle/>
          <a:p>
            <a:endParaRPr lang="en-US"/>
          </a:p>
        </p:txBody>
      </p:sp>
      <p:sp>
        <p:nvSpPr>
          <p:cNvPr id="507" name="Freeform 1613"/>
          <p:cNvSpPr>
            <a:spLocks/>
          </p:cNvSpPr>
          <p:nvPr/>
        </p:nvSpPr>
        <p:spPr bwMode="auto">
          <a:xfrm>
            <a:off x="8316012" y="4319052"/>
            <a:ext cx="2866" cy="3821"/>
          </a:xfrm>
          <a:custGeom>
            <a:avLst/>
            <a:gdLst>
              <a:gd name="T0" fmla="*/ 0 w 8"/>
              <a:gd name="T1" fmla="*/ 0 h 9"/>
              <a:gd name="T2" fmla="*/ 2147483647 w 8"/>
              <a:gd name="T3" fmla="*/ 0 h 9"/>
              <a:gd name="T4" fmla="*/ 2147483647 w 8"/>
              <a:gd name="T5" fmla="*/ 2147483647 h 9"/>
              <a:gd name="T6" fmla="*/ 2147483647 w 8"/>
              <a:gd name="T7" fmla="*/ 2147483647 h 9"/>
              <a:gd name="T8" fmla="*/ 0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0"/>
                </a:moveTo>
                <a:lnTo>
                  <a:pt x="7" y="0"/>
                </a:lnTo>
                <a:lnTo>
                  <a:pt x="8" y="9"/>
                </a:lnTo>
                <a:lnTo>
                  <a:pt x="1" y="7"/>
                </a:lnTo>
                <a:lnTo>
                  <a:pt x="0" y="0"/>
                </a:lnTo>
                <a:close/>
              </a:path>
            </a:pathLst>
          </a:custGeom>
          <a:solidFill>
            <a:schemeClr val="accent1"/>
          </a:solidFill>
          <a:ln w="6350">
            <a:solidFill>
              <a:schemeClr val="tx2"/>
            </a:solidFill>
            <a:round/>
            <a:headEnd/>
            <a:tailEnd/>
          </a:ln>
        </p:spPr>
        <p:txBody>
          <a:bodyPr/>
          <a:lstStyle/>
          <a:p>
            <a:endParaRPr lang="en-US"/>
          </a:p>
        </p:txBody>
      </p:sp>
      <p:sp>
        <p:nvSpPr>
          <p:cNvPr id="508" name="Freeform 1614"/>
          <p:cNvSpPr>
            <a:spLocks/>
          </p:cNvSpPr>
          <p:nvPr/>
        </p:nvSpPr>
        <p:spPr bwMode="auto">
          <a:xfrm>
            <a:off x="8313145" y="4268105"/>
            <a:ext cx="5734" cy="7642"/>
          </a:xfrm>
          <a:custGeom>
            <a:avLst/>
            <a:gdLst>
              <a:gd name="T0" fmla="*/ 2147483647 w 14"/>
              <a:gd name="T1" fmla="*/ 0 h 18"/>
              <a:gd name="T2" fmla="*/ 2147483647 w 14"/>
              <a:gd name="T3" fmla="*/ 0 h 18"/>
              <a:gd name="T4" fmla="*/ 2147483647 w 14"/>
              <a:gd name="T5" fmla="*/ 2147483647 h 18"/>
              <a:gd name="T6" fmla="*/ 2147483647 w 14"/>
              <a:gd name="T7" fmla="*/ 2147483647 h 18"/>
              <a:gd name="T8" fmla="*/ 0 w 14"/>
              <a:gd name="T9" fmla="*/ 2147483647 h 18"/>
              <a:gd name="T10" fmla="*/ 0 w 14"/>
              <a:gd name="T11" fmla="*/ 2147483647 h 18"/>
              <a:gd name="T12" fmla="*/ 2147483647 w 14"/>
              <a:gd name="T13" fmla="*/ 0 h 18"/>
              <a:gd name="T14" fmla="*/ 0 60000 65536"/>
              <a:gd name="T15" fmla="*/ 0 60000 65536"/>
              <a:gd name="T16" fmla="*/ 0 60000 65536"/>
              <a:gd name="T17" fmla="*/ 0 60000 65536"/>
              <a:gd name="T18" fmla="*/ 0 60000 65536"/>
              <a:gd name="T19" fmla="*/ 0 60000 65536"/>
              <a:gd name="T20" fmla="*/ 0 60000 65536"/>
              <a:gd name="T21" fmla="*/ 0 w 14"/>
              <a:gd name="T22" fmla="*/ 0 h 18"/>
              <a:gd name="T23" fmla="*/ 14 w 1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8">
                <a:moveTo>
                  <a:pt x="9" y="0"/>
                </a:moveTo>
                <a:lnTo>
                  <a:pt x="14" y="0"/>
                </a:lnTo>
                <a:lnTo>
                  <a:pt x="14" y="6"/>
                </a:lnTo>
                <a:lnTo>
                  <a:pt x="6" y="18"/>
                </a:lnTo>
                <a:lnTo>
                  <a:pt x="0" y="17"/>
                </a:lnTo>
                <a:lnTo>
                  <a:pt x="0" y="5"/>
                </a:lnTo>
                <a:lnTo>
                  <a:pt x="9" y="0"/>
                </a:lnTo>
                <a:close/>
              </a:path>
            </a:pathLst>
          </a:custGeom>
          <a:solidFill>
            <a:schemeClr val="accent1"/>
          </a:solidFill>
          <a:ln w="6350">
            <a:solidFill>
              <a:schemeClr val="tx2"/>
            </a:solidFill>
            <a:round/>
            <a:headEnd/>
            <a:tailEnd/>
          </a:ln>
        </p:spPr>
        <p:txBody>
          <a:bodyPr/>
          <a:lstStyle/>
          <a:p>
            <a:endParaRPr lang="en-US"/>
          </a:p>
        </p:txBody>
      </p:sp>
      <p:sp>
        <p:nvSpPr>
          <p:cNvPr id="509" name="Freeform 1615"/>
          <p:cNvSpPr>
            <a:spLocks/>
          </p:cNvSpPr>
          <p:nvPr/>
        </p:nvSpPr>
        <p:spPr bwMode="auto">
          <a:xfrm>
            <a:off x="8318878" y="4270652"/>
            <a:ext cx="7166" cy="6369"/>
          </a:xfrm>
          <a:custGeom>
            <a:avLst/>
            <a:gdLst>
              <a:gd name="T0" fmla="*/ 0 w 13"/>
              <a:gd name="T1" fmla="*/ 2147483647 h 15"/>
              <a:gd name="T2" fmla="*/ 2147483647 w 13"/>
              <a:gd name="T3" fmla="*/ 0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0 w 13"/>
              <a:gd name="T13" fmla="*/ 2147483647 h 15"/>
              <a:gd name="T14" fmla="*/ 0 60000 65536"/>
              <a:gd name="T15" fmla="*/ 0 60000 65536"/>
              <a:gd name="T16" fmla="*/ 0 60000 65536"/>
              <a:gd name="T17" fmla="*/ 0 60000 65536"/>
              <a:gd name="T18" fmla="*/ 0 60000 65536"/>
              <a:gd name="T19" fmla="*/ 0 60000 65536"/>
              <a:gd name="T20" fmla="*/ 0 60000 65536"/>
              <a:gd name="T21" fmla="*/ 0 w 13"/>
              <a:gd name="T22" fmla="*/ 0 h 15"/>
              <a:gd name="T23" fmla="*/ 13 w 13"/>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5">
                <a:moveTo>
                  <a:pt x="0" y="6"/>
                </a:moveTo>
                <a:lnTo>
                  <a:pt x="7" y="0"/>
                </a:lnTo>
                <a:lnTo>
                  <a:pt x="13" y="2"/>
                </a:lnTo>
                <a:lnTo>
                  <a:pt x="10" y="14"/>
                </a:lnTo>
                <a:lnTo>
                  <a:pt x="4" y="11"/>
                </a:lnTo>
                <a:lnTo>
                  <a:pt x="2" y="15"/>
                </a:lnTo>
                <a:lnTo>
                  <a:pt x="0" y="6"/>
                </a:lnTo>
                <a:close/>
              </a:path>
            </a:pathLst>
          </a:custGeom>
          <a:solidFill>
            <a:schemeClr val="accent1"/>
          </a:solidFill>
          <a:ln w="6350">
            <a:solidFill>
              <a:schemeClr val="tx2"/>
            </a:solidFill>
            <a:round/>
            <a:headEnd/>
            <a:tailEnd/>
          </a:ln>
        </p:spPr>
        <p:txBody>
          <a:bodyPr/>
          <a:lstStyle/>
          <a:p>
            <a:endParaRPr lang="en-US"/>
          </a:p>
        </p:txBody>
      </p:sp>
      <p:sp>
        <p:nvSpPr>
          <p:cNvPr id="510" name="Freeform 1616"/>
          <p:cNvSpPr>
            <a:spLocks/>
          </p:cNvSpPr>
          <p:nvPr/>
        </p:nvSpPr>
        <p:spPr bwMode="auto">
          <a:xfrm>
            <a:off x="8341812" y="4278294"/>
            <a:ext cx="20066" cy="6369"/>
          </a:xfrm>
          <a:custGeom>
            <a:avLst/>
            <a:gdLst>
              <a:gd name="T0" fmla="*/ 0 w 37"/>
              <a:gd name="T1" fmla="*/ 0 h 15"/>
              <a:gd name="T2" fmla="*/ 2147483647 w 37"/>
              <a:gd name="T3" fmla="*/ 2147483647 h 15"/>
              <a:gd name="T4" fmla="*/ 2147483647 w 37"/>
              <a:gd name="T5" fmla="*/ 2147483647 h 15"/>
              <a:gd name="T6" fmla="*/ 2147483647 w 37"/>
              <a:gd name="T7" fmla="*/ 2147483647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37" y="6"/>
                </a:lnTo>
                <a:lnTo>
                  <a:pt x="9" y="15"/>
                </a:lnTo>
                <a:lnTo>
                  <a:pt x="4" y="14"/>
                </a:lnTo>
                <a:lnTo>
                  <a:pt x="0" y="0"/>
                </a:lnTo>
                <a:close/>
              </a:path>
            </a:pathLst>
          </a:custGeom>
          <a:solidFill>
            <a:schemeClr val="accent1"/>
          </a:solidFill>
          <a:ln w="6350">
            <a:solidFill>
              <a:schemeClr val="tx2"/>
            </a:solidFill>
            <a:round/>
            <a:headEnd/>
            <a:tailEnd/>
          </a:ln>
        </p:spPr>
        <p:txBody>
          <a:bodyPr/>
          <a:lstStyle/>
          <a:p>
            <a:endParaRPr lang="en-US"/>
          </a:p>
        </p:txBody>
      </p:sp>
      <p:sp>
        <p:nvSpPr>
          <p:cNvPr id="511" name="Freeform 1617"/>
          <p:cNvSpPr>
            <a:spLocks/>
          </p:cNvSpPr>
          <p:nvPr/>
        </p:nvSpPr>
        <p:spPr bwMode="auto">
          <a:xfrm>
            <a:off x="8364745" y="4279568"/>
            <a:ext cx="17201" cy="3820"/>
          </a:xfrm>
          <a:custGeom>
            <a:avLst/>
            <a:gdLst>
              <a:gd name="T0" fmla="*/ 0 w 38"/>
              <a:gd name="T1" fmla="*/ 2147483647 h 7"/>
              <a:gd name="T2" fmla="*/ 2147483647 w 38"/>
              <a:gd name="T3" fmla="*/ 0 h 7"/>
              <a:gd name="T4" fmla="*/ 2147483647 w 38"/>
              <a:gd name="T5" fmla="*/ 2147483647 h 7"/>
              <a:gd name="T6" fmla="*/ 0 w 38"/>
              <a:gd name="T7" fmla="*/ 2147483647 h 7"/>
              <a:gd name="T8" fmla="*/ 0 60000 65536"/>
              <a:gd name="T9" fmla="*/ 0 60000 65536"/>
              <a:gd name="T10" fmla="*/ 0 60000 65536"/>
              <a:gd name="T11" fmla="*/ 0 60000 65536"/>
              <a:gd name="T12" fmla="*/ 0 w 38"/>
              <a:gd name="T13" fmla="*/ 0 h 7"/>
              <a:gd name="T14" fmla="*/ 38 w 38"/>
              <a:gd name="T15" fmla="*/ 7 h 7"/>
            </a:gdLst>
            <a:ahLst/>
            <a:cxnLst>
              <a:cxn ang="T8">
                <a:pos x="T0" y="T1"/>
              </a:cxn>
              <a:cxn ang="T9">
                <a:pos x="T2" y="T3"/>
              </a:cxn>
              <a:cxn ang="T10">
                <a:pos x="T4" y="T5"/>
              </a:cxn>
              <a:cxn ang="T11">
                <a:pos x="T6" y="T7"/>
              </a:cxn>
            </a:cxnLst>
            <a:rect l="T12" t="T13" r="T14" b="T15"/>
            <a:pathLst>
              <a:path w="38" h="7">
                <a:moveTo>
                  <a:pt x="0" y="2"/>
                </a:moveTo>
                <a:lnTo>
                  <a:pt x="38" y="0"/>
                </a:lnTo>
                <a:lnTo>
                  <a:pt x="5" y="7"/>
                </a:lnTo>
                <a:lnTo>
                  <a:pt x="0" y="2"/>
                </a:lnTo>
                <a:close/>
              </a:path>
            </a:pathLst>
          </a:custGeom>
          <a:solidFill>
            <a:schemeClr val="accent1"/>
          </a:solidFill>
          <a:ln w="6350">
            <a:solidFill>
              <a:schemeClr val="tx2"/>
            </a:solidFill>
            <a:round/>
            <a:headEnd/>
            <a:tailEnd/>
          </a:ln>
        </p:spPr>
        <p:txBody>
          <a:bodyPr/>
          <a:lstStyle/>
          <a:p>
            <a:endParaRPr lang="en-US"/>
          </a:p>
        </p:txBody>
      </p:sp>
      <p:sp>
        <p:nvSpPr>
          <p:cNvPr id="512" name="Freeform 1618"/>
          <p:cNvSpPr>
            <a:spLocks/>
          </p:cNvSpPr>
          <p:nvPr/>
        </p:nvSpPr>
        <p:spPr bwMode="auto">
          <a:xfrm>
            <a:off x="8374778" y="4283390"/>
            <a:ext cx="2866" cy="7642"/>
          </a:xfrm>
          <a:custGeom>
            <a:avLst/>
            <a:gdLst>
              <a:gd name="T0" fmla="*/ 0 w 6"/>
              <a:gd name="T1" fmla="*/ 2147483647 h 20"/>
              <a:gd name="T2" fmla="*/ 2147483647 w 6"/>
              <a:gd name="T3" fmla="*/ 0 h 20"/>
              <a:gd name="T4" fmla="*/ 2147483647 w 6"/>
              <a:gd name="T5" fmla="*/ 2147483647 h 20"/>
              <a:gd name="T6" fmla="*/ 0 w 6"/>
              <a:gd name="T7" fmla="*/ 2147483647 h 20"/>
              <a:gd name="T8" fmla="*/ 0 60000 65536"/>
              <a:gd name="T9" fmla="*/ 0 60000 65536"/>
              <a:gd name="T10" fmla="*/ 0 60000 65536"/>
              <a:gd name="T11" fmla="*/ 0 60000 65536"/>
              <a:gd name="T12" fmla="*/ 0 w 6"/>
              <a:gd name="T13" fmla="*/ 0 h 20"/>
              <a:gd name="T14" fmla="*/ 6 w 6"/>
              <a:gd name="T15" fmla="*/ 20 h 20"/>
            </a:gdLst>
            <a:ahLst/>
            <a:cxnLst>
              <a:cxn ang="T8">
                <a:pos x="T0" y="T1"/>
              </a:cxn>
              <a:cxn ang="T9">
                <a:pos x="T2" y="T3"/>
              </a:cxn>
              <a:cxn ang="T10">
                <a:pos x="T4" y="T5"/>
              </a:cxn>
              <a:cxn ang="T11">
                <a:pos x="T6" y="T7"/>
              </a:cxn>
            </a:cxnLst>
            <a:rect l="T12" t="T13" r="T14" b="T15"/>
            <a:pathLst>
              <a:path w="6" h="20">
                <a:moveTo>
                  <a:pt x="0" y="2"/>
                </a:moveTo>
                <a:lnTo>
                  <a:pt x="2" y="0"/>
                </a:lnTo>
                <a:lnTo>
                  <a:pt x="6" y="20"/>
                </a:lnTo>
                <a:lnTo>
                  <a:pt x="0" y="2"/>
                </a:lnTo>
                <a:close/>
              </a:path>
            </a:pathLst>
          </a:custGeom>
          <a:solidFill>
            <a:schemeClr val="accent1"/>
          </a:solidFill>
          <a:ln w="6350">
            <a:solidFill>
              <a:schemeClr val="tx2"/>
            </a:solidFill>
            <a:round/>
            <a:headEnd/>
            <a:tailEnd/>
          </a:ln>
        </p:spPr>
        <p:txBody>
          <a:bodyPr/>
          <a:lstStyle/>
          <a:p>
            <a:endParaRPr lang="en-US"/>
          </a:p>
        </p:txBody>
      </p:sp>
      <p:sp>
        <p:nvSpPr>
          <p:cNvPr id="513" name="Freeform 1619"/>
          <p:cNvSpPr>
            <a:spLocks/>
          </p:cNvSpPr>
          <p:nvPr/>
        </p:nvSpPr>
        <p:spPr bwMode="auto">
          <a:xfrm>
            <a:off x="8376211" y="4301220"/>
            <a:ext cx="22933" cy="15284"/>
          </a:xfrm>
          <a:custGeom>
            <a:avLst/>
            <a:gdLst>
              <a:gd name="T0" fmla="*/ 0 w 50"/>
              <a:gd name="T1" fmla="*/ 2147483647 h 36"/>
              <a:gd name="T2" fmla="*/ 2147483647 w 50"/>
              <a:gd name="T3" fmla="*/ 2147483647 h 36"/>
              <a:gd name="T4" fmla="*/ 2147483647 w 50"/>
              <a:gd name="T5" fmla="*/ 0 h 36"/>
              <a:gd name="T6" fmla="*/ 2147483647 w 50"/>
              <a:gd name="T7" fmla="*/ 2147483647 h 36"/>
              <a:gd name="T8" fmla="*/ 2147483647 w 50"/>
              <a:gd name="T9" fmla="*/ 2147483647 h 36"/>
              <a:gd name="T10" fmla="*/ 2147483647 w 50"/>
              <a:gd name="T11" fmla="*/ 2147483647 h 36"/>
              <a:gd name="T12" fmla="*/ 2147483647 w 50"/>
              <a:gd name="T13" fmla="*/ 2147483647 h 36"/>
              <a:gd name="T14" fmla="*/ 2147483647 w 50"/>
              <a:gd name="T15" fmla="*/ 2147483647 h 36"/>
              <a:gd name="T16" fmla="*/ 2147483647 w 50"/>
              <a:gd name="T17" fmla="*/ 2147483647 h 36"/>
              <a:gd name="T18" fmla="*/ 0 w 5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36"/>
              <a:gd name="T32" fmla="*/ 50 w 50"/>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36">
                <a:moveTo>
                  <a:pt x="0" y="3"/>
                </a:moveTo>
                <a:lnTo>
                  <a:pt x="3" y="7"/>
                </a:lnTo>
                <a:lnTo>
                  <a:pt x="29" y="0"/>
                </a:lnTo>
                <a:lnTo>
                  <a:pt x="48" y="13"/>
                </a:lnTo>
                <a:lnTo>
                  <a:pt x="50" y="23"/>
                </a:lnTo>
                <a:lnTo>
                  <a:pt x="47" y="29"/>
                </a:lnTo>
                <a:lnTo>
                  <a:pt x="31" y="36"/>
                </a:lnTo>
                <a:lnTo>
                  <a:pt x="21" y="33"/>
                </a:lnTo>
                <a:lnTo>
                  <a:pt x="6" y="22"/>
                </a:lnTo>
                <a:lnTo>
                  <a:pt x="0" y="3"/>
                </a:lnTo>
                <a:close/>
              </a:path>
            </a:pathLst>
          </a:custGeom>
          <a:solidFill>
            <a:schemeClr val="accent1"/>
          </a:solidFill>
          <a:ln w="6350">
            <a:solidFill>
              <a:schemeClr val="tx2"/>
            </a:solidFill>
            <a:round/>
            <a:headEnd/>
            <a:tailEnd/>
          </a:ln>
        </p:spPr>
        <p:txBody>
          <a:bodyPr/>
          <a:lstStyle/>
          <a:p>
            <a:endParaRPr lang="en-US"/>
          </a:p>
        </p:txBody>
      </p:sp>
      <p:sp>
        <p:nvSpPr>
          <p:cNvPr id="514" name="Freeform 1620"/>
          <p:cNvSpPr>
            <a:spLocks/>
          </p:cNvSpPr>
          <p:nvPr/>
        </p:nvSpPr>
        <p:spPr bwMode="auto">
          <a:xfrm>
            <a:off x="8391978" y="4166213"/>
            <a:ext cx="2866" cy="10189"/>
          </a:xfrm>
          <a:custGeom>
            <a:avLst/>
            <a:gdLst>
              <a:gd name="T0" fmla="*/ 0 w 5"/>
              <a:gd name="T1" fmla="*/ 0 h 22"/>
              <a:gd name="T2" fmla="*/ 2147483647 w 5"/>
              <a:gd name="T3" fmla="*/ 2147483647 h 22"/>
              <a:gd name="T4" fmla="*/ 2147483647 w 5"/>
              <a:gd name="T5" fmla="*/ 2147483647 h 22"/>
              <a:gd name="T6" fmla="*/ 0 w 5"/>
              <a:gd name="T7" fmla="*/ 0 h 22"/>
              <a:gd name="T8" fmla="*/ 0 60000 65536"/>
              <a:gd name="T9" fmla="*/ 0 60000 65536"/>
              <a:gd name="T10" fmla="*/ 0 60000 65536"/>
              <a:gd name="T11" fmla="*/ 0 60000 65536"/>
              <a:gd name="T12" fmla="*/ 0 w 5"/>
              <a:gd name="T13" fmla="*/ 0 h 22"/>
              <a:gd name="T14" fmla="*/ 5 w 5"/>
              <a:gd name="T15" fmla="*/ 22 h 22"/>
            </a:gdLst>
            <a:ahLst/>
            <a:cxnLst>
              <a:cxn ang="T8">
                <a:pos x="T0" y="T1"/>
              </a:cxn>
              <a:cxn ang="T9">
                <a:pos x="T2" y="T3"/>
              </a:cxn>
              <a:cxn ang="T10">
                <a:pos x="T4" y="T5"/>
              </a:cxn>
              <a:cxn ang="T11">
                <a:pos x="T6" y="T7"/>
              </a:cxn>
            </a:cxnLst>
            <a:rect l="T12" t="T13" r="T14" b="T15"/>
            <a:pathLst>
              <a:path w="5" h="22">
                <a:moveTo>
                  <a:pt x="0" y="0"/>
                </a:moveTo>
                <a:lnTo>
                  <a:pt x="5" y="12"/>
                </a:lnTo>
                <a:lnTo>
                  <a:pt x="2" y="22"/>
                </a:lnTo>
                <a:lnTo>
                  <a:pt x="0" y="0"/>
                </a:lnTo>
                <a:close/>
              </a:path>
            </a:pathLst>
          </a:custGeom>
          <a:solidFill>
            <a:schemeClr val="accent1"/>
          </a:solidFill>
          <a:ln w="6350">
            <a:solidFill>
              <a:schemeClr val="tx2"/>
            </a:solidFill>
            <a:round/>
            <a:headEnd/>
            <a:tailEnd/>
          </a:ln>
        </p:spPr>
        <p:txBody>
          <a:bodyPr/>
          <a:lstStyle/>
          <a:p>
            <a:endParaRPr lang="en-US"/>
          </a:p>
        </p:txBody>
      </p:sp>
      <p:sp>
        <p:nvSpPr>
          <p:cNvPr id="515" name="Freeform 1621"/>
          <p:cNvSpPr>
            <a:spLocks/>
          </p:cNvSpPr>
          <p:nvPr/>
        </p:nvSpPr>
        <p:spPr bwMode="auto">
          <a:xfrm>
            <a:off x="8422078" y="4200602"/>
            <a:ext cx="7166" cy="11462"/>
          </a:xfrm>
          <a:custGeom>
            <a:avLst/>
            <a:gdLst>
              <a:gd name="T0" fmla="*/ 2147483647 w 16"/>
              <a:gd name="T1" fmla="*/ 0 h 26"/>
              <a:gd name="T2" fmla="*/ 2147483647 w 16"/>
              <a:gd name="T3" fmla="*/ 2147483647 h 26"/>
              <a:gd name="T4" fmla="*/ 2147483647 w 16"/>
              <a:gd name="T5" fmla="*/ 2147483647 h 26"/>
              <a:gd name="T6" fmla="*/ 2147483647 w 16"/>
              <a:gd name="T7" fmla="*/ 2147483647 h 26"/>
              <a:gd name="T8" fmla="*/ 0 w 16"/>
              <a:gd name="T9" fmla="*/ 2147483647 h 26"/>
              <a:gd name="T10" fmla="*/ 2147483647 w 16"/>
              <a:gd name="T11" fmla="*/ 0 h 26"/>
              <a:gd name="T12" fmla="*/ 0 60000 65536"/>
              <a:gd name="T13" fmla="*/ 0 60000 65536"/>
              <a:gd name="T14" fmla="*/ 0 60000 65536"/>
              <a:gd name="T15" fmla="*/ 0 60000 65536"/>
              <a:gd name="T16" fmla="*/ 0 60000 65536"/>
              <a:gd name="T17" fmla="*/ 0 60000 65536"/>
              <a:gd name="T18" fmla="*/ 0 w 16"/>
              <a:gd name="T19" fmla="*/ 0 h 26"/>
              <a:gd name="T20" fmla="*/ 16 w 1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6" h="26">
                <a:moveTo>
                  <a:pt x="12" y="0"/>
                </a:moveTo>
                <a:lnTo>
                  <a:pt x="16" y="15"/>
                </a:lnTo>
                <a:lnTo>
                  <a:pt x="10" y="26"/>
                </a:lnTo>
                <a:lnTo>
                  <a:pt x="2" y="26"/>
                </a:lnTo>
                <a:lnTo>
                  <a:pt x="0" y="9"/>
                </a:lnTo>
                <a:lnTo>
                  <a:pt x="12" y="0"/>
                </a:lnTo>
                <a:close/>
              </a:path>
            </a:pathLst>
          </a:custGeom>
          <a:solidFill>
            <a:schemeClr val="accent1"/>
          </a:solidFill>
          <a:ln w="6350">
            <a:solidFill>
              <a:schemeClr val="tx2"/>
            </a:solidFill>
            <a:round/>
            <a:headEnd/>
            <a:tailEnd/>
          </a:ln>
        </p:spPr>
        <p:txBody>
          <a:bodyPr/>
          <a:lstStyle/>
          <a:p>
            <a:endParaRPr lang="en-US"/>
          </a:p>
        </p:txBody>
      </p:sp>
      <p:sp>
        <p:nvSpPr>
          <p:cNvPr id="516" name="Freeform 1622"/>
          <p:cNvSpPr>
            <a:spLocks/>
          </p:cNvSpPr>
          <p:nvPr/>
        </p:nvSpPr>
        <p:spPr bwMode="auto">
          <a:xfrm>
            <a:off x="8402012" y="4208244"/>
            <a:ext cx="31533" cy="56041"/>
          </a:xfrm>
          <a:custGeom>
            <a:avLst/>
            <a:gdLst>
              <a:gd name="T0" fmla="*/ 2147483647 w 62"/>
              <a:gd name="T1" fmla="*/ 0 h 133"/>
              <a:gd name="T2" fmla="*/ 2147483647 w 62"/>
              <a:gd name="T3" fmla="*/ 2147483647 h 133"/>
              <a:gd name="T4" fmla="*/ 2147483647 w 62"/>
              <a:gd name="T5" fmla="*/ 2147483647 h 133"/>
              <a:gd name="T6" fmla="*/ 2147483647 w 62"/>
              <a:gd name="T7" fmla="*/ 2147483647 h 133"/>
              <a:gd name="T8" fmla="*/ 2147483647 w 62"/>
              <a:gd name="T9" fmla="*/ 2147483647 h 133"/>
              <a:gd name="T10" fmla="*/ 2147483647 w 62"/>
              <a:gd name="T11" fmla="*/ 2147483647 h 133"/>
              <a:gd name="T12" fmla="*/ 2147483647 w 62"/>
              <a:gd name="T13" fmla="*/ 2147483647 h 133"/>
              <a:gd name="T14" fmla="*/ 2147483647 w 62"/>
              <a:gd name="T15" fmla="*/ 2147483647 h 133"/>
              <a:gd name="T16" fmla="*/ 2147483647 w 62"/>
              <a:gd name="T17" fmla="*/ 2147483647 h 133"/>
              <a:gd name="T18" fmla="*/ 2147483647 w 62"/>
              <a:gd name="T19" fmla="*/ 2147483647 h 133"/>
              <a:gd name="T20" fmla="*/ 2147483647 w 62"/>
              <a:gd name="T21" fmla="*/ 2147483647 h 133"/>
              <a:gd name="T22" fmla="*/ 2147483647 w 62"/>
              <a:gd name="T23" fmla="*/ 2147483647 h 133"/>
              <a:gd name="T24" fmla="*/ 2147483647 w 62"/>
              <a:gd name="T25" fmla="*/ 2147483647 h 133"/>
              <a:gd name="T26" fmla="*/ 2147483647 w 62"/>
              <a:gd name="T27" fmla="*/ 2147483647 h 133"/>
              <a:gd name="T28" fmla="*/ 2147483647 w 62"/>
              <a:gd name="T29" fmla="*/ 2147483647 h 133"/>
              <a:gd name="T30" fmla="*/ 2147483647 w 62"/>
              <a:gd name="T31" fmla="*/ 2147483647 h 133"/>
              <a:gd name="T32" fmla="*/ 2147483647 w 62"/>
              <a:gd name="T33" fmla="*/ 2147483647 h 133"/>
              <a:gd name="T34" fmla="*/ 2147483647 w 62"/>
              <a:gd name="T35" fmla="*/ 2147483647 h 133"/>
              <a:gd name="T36" fmla="*/ 2147483647 w 62"/>
              <a:gd name="T37" fmla="*/ 2147483647 h 133"/>
              <a:gd name="T38" fmla="*/ 2147483647 w 62"/>
              <a:gd name="T39" fmla="*/ 2147483647 h 133"/>
              <a:gd name="T40" fmla="*/ 2147483647 w 62"/>
              <a:gd name="T41" fmla="*/ 2147483647 h 133"/>
              <a:gd name="T42" fmla="*/ 0 w 62"/>
              <a:gd name="T43" fmla="*/ 2147483647 h 133"/>
              <a:gd name="T44" fmla="*/ 2147483647 w 62"/>
              <a:gd name="T45" fmla="*/ 2147483647 h 133"/>
              <a:gd name="T46" fmla="*/ 2147483647 w 62"/>
              <a:gd name="T47" fmla="*/ 0 h 13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2"/>
              <a:gd name="T73" fmla="*/ 0 h 133"/>
              <a:gd name="T74" fmla="*/ 62 w 62"/>
              <a:gd name="T75" fmla="*/ 133 h 13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2" h="133">
                <a:moveTo>
                  <a:pt x="24" y="0"/>
                </a:moveTo>
                <a:lnTo>
                  <a:pt x="28" y="4"/>
                </a:lnTo>
                <a:lnTo>
                  <a:pt x="21" y="16"/>
                </a:lnTo>
                <a:lnTo>
                  <a:pt x="27" y="28"/>
                </a:lnTo>
                <a:lnTo>
                  <a:pt x="27" y="41"/>
                </a:lnTo>
                <a:lnTo>
                  <a:pt x="12" y="57"/>
                </a:lnTo>
                <a:lnTo>
                  <a:pt x="18" y="58"/>
                </a:lnTo>
                <a:lnTo>
                  <a:pt x="44" y="31"/>
                </a:lnTo>
                <a:lnTo>
                  <a:pt x="52" y="30"/>
                </a:lnTo>
                <a:lnTo>
                  <a:pt x="58" y="38"/>
                </a:lnTo>
                <a:lnTo>
                  <a:pt x="58" y="48"/>
                </a:lnTo>
                <a:lnTo>
                  <a:pt x="41" y="63"/>
                </a:lnTo>
                <a:lnTo>
                  <a:pt x="54" y="71"/>
                </a:lnTo>
                <a:lnTo>
                  <a:pt x="62" y="84"/>
                </a:lnTo>
                <a:lnTo>
                  <a:pt x="29" y="74"/>
                </a:lnTo>
                <a:lnTo>
                  <a:pt x="25" y="79"/>
                </a:lnTo>
                <a:lnTo>
                  <a:pt x="25" y="107"/>
                </a:lnTo>
                <a:lnTo>
                  <a:pt x="43" y="132"/>
                </a:lnTo>
                <a:lnTo>
                  <a:pt x="39" y="133"/>
                </a:lnTo>
                <a:lnTo>
                  <a:pt x="17" y="107"/>
                </a:lnTo>
                <a:lnTo>
                  <a:pt x="10" y="62"/>
                </a:lnTo>
                <a:lnTo>
                  <a:pt x="0" y="46"/>
                </a:lnTo>
                <a:lnTo>
                  <a:pt x="8" y="19"/>
                </a:lnTo>
                <a:lnTo>
                  <a:pt x="24" y="0"/>
                </a:lnTo>
                <a:close/>
              </a:path>
            </a:pathLst>
          </a:custGeom>
          <a:solidFill>
            <a:schemeClr val="accent1"/>
          </a:solidFill>
          <a:ln w="6350">
            <a:solidFill>
              <a:schemeClr val="tx2"/>
            </a:solidFill>
            <a:round/>
            <a:headEnd/>
            <a:tailEnd/>
          </a:ln>
        </p:spPr>
        <p:txBody>
          <a:bodyPr/>
          <a:lstStyle/>
          <a:p>
            <a:endParaRPr lang="en-US"/>
          </a:p>
        </p:txBody>
      </p:sp>
      <p:sp>
        <p:nvSpPr>
          <p:cNvPr id="517" name="Freeform 1623"/>
          <p:cNvSpPr>
            <a:spLocks/>
          </p:cNvSpPr>
          <p:nvPr/>
        </p:nvSpPr>
        <p:spPr bwMode="auto">
          <a:xfrm>
            <a:off x="8403445" y="4254095"/>
            <a:ext cx="10034" cy="8915"/>
          </a:xfrm>
          <a:custGeom>
            <a:avLst/>
            <a:gdLst>
              <a:gd name="T0" fmla="*/ 0 w 21"/>
              <a:gd name="T1" fmla="*/ 0 h 22"/>
              <a:gd name="T2" fmla="*/ 2147483647 w 21"/>
              <a:gd name="T3" fmla="*/ 0 h 22"/>
              <a:gd name="T4" fmla="*/ 2147483647 w 21"/>
              <a:gd name="T5" fmla="*/ 2147483647 h 22"/>
              <a:gd name="T6" fmla="*/ 2147483647 w 21"/>
              <a:gd name="T7" fmla="*/ 2147483647 h 22"/>
              <a:gd name="T8" fmla="*/ 2147483647 w 21"/>
              <a:gd name="T9" fmla="*/ 2147483647 h 22"/>
              <a:gd name="T10" fmla="*/ 0 w 21"/>
              <a:gd name="T11" fmla="*/ 0 h 22"/>
              <a:gd name="T12" fmla="*/ 0 60000 65536"/>
              <a:gd name="T13" fmla="*/ 0 60000 65536"/>
              <a:gd name="T14" fmla="*/ 0 60000 65536"/>
              <a:gd name="T15" fmla="*/ 0 60000 65536"/>
              <a:gd name="T16" fmla="*/ 0 60000 65536"/>
              <a:gd name="T17" fmla="*/ 0 60000 65536"/>
              <a:gd name="T18" fmla="*/ 0 w 21"/>
              <a:gd name="T19" fmla="*/ 0 h 22"/>
              <a:gd name="T20" fmla="*/ 21 w 2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1" h="22">
                <a:moveTo>
                  <a:pt x="0" y="0"/>
                </a:moveTo>
                <a:lnTo>
                  <a:pt x="8" y="0"/>
                </a:lnTo>
                <a:lnTo>
                  <a:pt x="21" y="18"/>
                </a:lnTo>
                <a:lnTo>
                  <a:pt x="19" y="22"/>
                </a:lnTo>
                <a:lnTo>
                  <a:pt x="8" y="19"/>
                </a:lnTo>
                <a:lnTo>
                  <a:pt x="0" y="0"/>
                </a:lnTo>
                <a:close/>
              </a:path>
            </a:pathLst>
          </a:custGeom>
          <a:solidFill>
            <a:schemeClr val="accent1"/>
          </a:solidFill>
          <a:ln w="6350">
            <a:solidFill>
              <a:schemeClr val="tx2"/>
            </a:solidFill>
            <a:round/>
            <a:headEnd/>
            <a:tailEnd/>
          </a:ln>
        </p:spPr>
        <p:txBody>
          <a:bodyPr/>
          <a:lstStyle/>
          <a:p>
            <a:endParaRPr lang="en-US"/>
          </a:p>
        </p:txBody>
      </p:sp>
      <p:sp>
        <p:nvSpPr>
          <p:cNvPr id="518" name="Freeform 1624"/>
          <p:cNvSpPr>
            <a:spLocks/>
          </p:cNvSpPr>
          <p:nvPr/>
        </p:nvSpPr>
        <p:spPr bwMode="auto">
          <a:xfrm>
            <a:off x="8402012" y="4273200"/>
            <a:ext cx="17201" cy="6369"/>
          </a:xfrm>
          <a:custGeom>
            <a:avLst/>
            <a:gdLst>
              <a:gd name="T0" fmla="*/ 0 w 33"/>
              <a:gd name="T1" fmla="*/ 2147483647 h 14"/>
              <a:gd name="T2" fmla="*/ 2147483647 w 33"/>
              <a:gd name="T3" fmla="*/ 0 h 14"/>
              <a:gd name="T4" fmla="*/ 2147483647 w 33"/>
              <a:gd name="T5" fmla="*/ 2147483647 h 14"/>
              <a:gd name="T6" fmla="*/ 2147483647 w 33"/>
              <a:gd name="T7" fmla="*/ 2147483647 h 14"/>
              <a:gd name="T8" fmla="*/ 2147483647 w 33"/>
              <a:gd name="T9" fmla="*/ 2147483647 h 14"/>
              <a:gd name="T10" fmla="*/ 0 w 33"/>
              <a:gd name="T11" fmla="*/ 2147483647 h 14"/>
              <a:gd name="T12" fmla="*/ 0 w 33"/>
              <a:gd name="T13" fmla="*/ 2147483647 h 14"/>
              <a:gd name="T14" fmla="*/ 0 60000 65536"/>
              <a:gd name="T15" fmla="*/ 0 60000 65536"/>
              <a:gd name="T16" fmla="*/ 0 60000 65536"/>
              <a:gd name="T17" fmla="*/ 0 60000 65536"/>
              <a:gd name="T18" fmla="*/ 0 60000 65536"/>
              <a:gd name="T19" fmla="*/ 0 60000 65536"/>
              <a:gd name="T20" fmla="*/ 0 60000 65536"/>
              <a:gd name="T21" fmla="*/ 0 w 33"/>
              <a:gd name="T22" fmla="*/ 0 h 14"/>
              <a:gd name="T23" fmla="*/ 33 w 3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14">
                <a:moveTo>
                  <a:pt x="0" y="2"/>
                </a:moveTo>
                <a:lnTo>
                  <a:pt x="17" y="0"/>
                </a:lnTo>
                <a:lnTo>
                  <a:pt x="33" y="8"/>
                </a:lnTo>
                <a:lnTo>
                  <a:pt x="31" y="12"/>
                </a:lnTo>
                <a:lnTo>
                  <a:pt x="7" y="14"/>
                </a:lnTo>
                <a:lnTo>
                  <a:pt x="0" y="11"/>
                </a:lnTo>
                <a:lnTo>
                  <a:pt x="0" y="2"/>
                </a:lnTo>
                <a:close/>
              </a:path>
            </a:pathLst>
          </a:custGeom>
          <a:solidFill>
            <a:schemeClr val="accent1"/>
          </a:solidFill>
          <a:ln w="6350">
            <a:solidFill>
              <a:schemeClr val="tx2"/>
            </a:solidFill>
            <a:round/>
            <a:headEnd/>
            <a:tailEnd/>
          </a:ln>
        </p:spPr>
        <p:txBody>
          <a:bodyPr/>
          <a:lstStyle/>
          <a:p>
            <a:endParaRPr lang="en-US"/>
          </a:p>
        </p:txBody>
      </p:sp>
      <p:sp>
        <p:nvSpPr>
          <p:cNvPr id="519" name="Freeform 1625"/>
          <p:cNvSpPr>
            <a:spLocks/>
          </p:cNvSpPr>
          <p:nvPr/>
        </p:nvSpPr>
        <p:spPr bwMode="auto">
          <a:xfrm>
            <a:off x="8419212" y="4310136"/>
            <a:ext cx="2866" cy="5095"/>
          </a:xfrm>
          <a:custGeom>
            <a:avLst/>
            <a:gdLst>
              <a:gd name="T0" fmla="*/ 2147483647 w 11"/>
              <a:gd name="T1" fmla="*/ 2147483647 h 13"/>
              <a:gd name="T2" fmla="*/ 0 w 11"/>
              <a:gd name="T3" fmla="*/ 2147483647 h 13"/>
              <a:gd name="T4" fmla="*/ 2147483647 w 11"/>
              <a:gd name="T5" fmla="*/ 0 h 13"/>
              <a:gd name="T6" fmla="*/ 2147483647 w 11"/>
              <a:gd name="T7" fmla="*/ 2147483647 h 13"/>
              <a:gd name="T8" fmla="*/ 2147483647 w 11"/>
              <a:gd name="T9" fmla="*/ 2147483647 h 13"/>
              <a:gd name="T10" fmla="*/ 0 60000 65536"/>
              <a:gd name="T11" fmla="*/ 0 60000 65536"/>
              <a:gd name="T12" fmla="*/ 0 60000 65536"/>
              <a:gd name="T13" fmla="*/ 0 60000 65536"/>
              <a:gd name="T14" fmla="*/ 0 60000 65536"/>
              <a:gd name="T15" fmla="*/ 0 w 11"/>
              <a:gd name="T16" fmla="*/ 0 h 13"/>
              <a:gd name="T17" fmla="*/ 11 w 11"/>
              <a:gd name="T18" fmla="*/ 13 h 13"/>
            </a:gdLst>
            <a:ahLst/>
            <a:cxnLst>
              <a:cxn ang="T10">
                <a:pos x="T0" y="T1"/>
              </a:cxn>
              <a:cxn ang="T11">
                <a:pos x="T2" y="T3"/>
              </a:cxn>
              <a:cxn ang="T12">
                <a:pos x="T4" y="T5"/>
              </a:cxn>
              <a:cxn ang="T13">
                <a:pos x="T6" y="T7"/>
              </a:cxn>
              <a:cxn ang="T14">
                <a:pos x="T8" y="T9"/>
              </a:cxn>
            </a:cxnLst>
            <a:rect l="T15" t="T16" r="T17" b="T18"/>
            <a:pathLst>
              <a:path w="11" h="13">
                <a:moveTo>
                  <a:pt x="1" y="13"/>
                </a:moveTo>
                <a:lnTo>
                  <a:pt x="0" y="5"/>
                </a:lnTo>
                <a:lnTo>
                  <a:pt x="11" y="0"/>
                </a:lnTo>
                <a:lnTo>
                  <a:pt x="9" y="10"/>
                </a:lnTo>
                <a:lnTo>
                  <a:pt x="1" y="13"/>
                </a:lnTo>
                <a:close/>
              </a:path>
            </a:pathLst>
          </a:custGeom>
          <a:solidFill>
            <a:schemeClr val="accent1"/>
          </a:solidFill>
          <a:ln w="6350">
            <a:solidFill>
              <a:schemeClr val="tx2"/>
            </a:solidFill>
            <a:round/>
            <a:headEnd/>
            <a:tailEnd/>
          </a:ln>
        </p:spPr>
        <p:txBody>
          <a:bodyPr/>
          <a:lstStyle/>
          <a:p>
            <a:endParaRPr lang="en-US"/>
          </a:p>
        </p:txBody>
      </p:sp>
      <p:sp>
        <p:nvSpPr>
          <p:cNvPr id="520" name="Freeform 1626"/>
          <p:cNvSpPr>
            <a:spLocks/>
          </p:cNvSpPr>
          <p:nvPr/>
        </p:nvSpPr>
        <p:spPr bwMode="auto">
          <a:xfrm>
            <a:off x="9451216" y="4400566"/>
            <a:ext cx="1432" cy="2547"/>
          </a:xfrm>
          <a:custGeom>
            <a:avLst/>
            <a:gdLst>
              <a:gd name="T0" fmla="*/ 2147483647 w 1"/>
              <a:gd name="T1" fmla="*/ 0 h 6"/>
              <a:gd name="T2" fmla="*/ 0 w 1"/>
              <a:gd name="T3" fmla="*/ 2147483647 h 6"/>
              <a:gd name="T4" fmla="*/ 2147483647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1" y="0"/>
                </a:moveTo>
                <a:lnTo>
                  <a:pt x="0" y="6"/>
                </a:lnTo>
                <a:lnTo>
                  <a:pt x="1" y="0"/>
                </a:lnTo>
                <a:close/>
              </a:path>
            </a:pathLst>
          </a:custGeom>
          <a:solidFill>
            <a:schemeClr val="accent1"/>
          </a:solidFill>
          <a:ln w="6350">
            <a:solidFill>
              <a:schemeClr val="tx2"/>
            </a:solidFill>
            <a:round/>
            <a:headEnd/>
            <a:tailEnd/>
          </a:ln>
        </p:spPr>
        <p:txBody>
          <a:bodyPr/>
          <a:lstStyle/>
          <a:p>
            <a:endParaRPr lang="en-US"/>
          </a:p>
        </p:txBody>
      </p:sp>
      <p:sp>
        <p:nvSpPr>
          <p:cNvPr id="521" name="Freeform 1627"/>
          <p:cNvSpPr>
            <a:spLocks/>
          </p:cNvSpPr>
          <p:nvPr/>
        </p:nvSpPr>
        <p:spPr bwMode="auto">
          <a:xfrm>
            <a:off x="9181749" y="4437502"/>
            <a:ext cx="5734" cy="5095"/>
          </a:xfrm>
          <a:custGeom>
            <a:avLst/>
            <a:gdLst>
              <a:gd name="T0" fmla="*/ 0 w 15"/>
              <a:gd name="T1" fmla="*/ 2147483647 h 10"/>
              <a:gd name="T2" fmla="*/ 2147483647 w 15"/>
              <a:gd name="T3" fmla="*/ 0 h 10"/>
              <a:gd name="T4" fmla="*/ 2147483647 w 15"/>
              <a:gd name="T5" fmla="*/ 2147483647 h 10"/>
              <a:gd name="T6" fmla="*/ 2147483647 w 15"/>
              <a:gd name="T7" fmla="*/ 2147483647 h 10"/>
              <a:gd name="T8" fmla="*/ 2147483647 w 15"/>
              <a:gd name="T9" fmla="*/ 2147483647 h 10"/>
              <a:gd name="T10" fmla="*/ 0 w 15"/>
              <a:gd name="T11" fmla="*/ 2147483647 h 10"/>
              <a:gd name="T12" fmla="*/ 0 60000 65536"/>
              <a:gd name="T13" fmla="*/ 0 60000 65536"/>
              <a:gd name="T14" fmla="*/ 0 60000 65536"/>
              <a:gd name="T15" fmla="*/ 0 60000 65536"/>
              <a:gd name="T16" fmla="*/ 0 60000 65536"/>
              <a:gd name="T17" fmla="*/ 0 60000 65536"/>
              <a:gd name="T18" fmla="*/ 0 w 15"/>
              <a:gd name="T19" fmla="*/ 0 h 10"/>
              <a:gd name="T20" fmla="*/ 15 w 1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5" h="10">
                <a:moveTo>
                  <a:pt x="0" y="7"/>
                </a:moveTo>
                <a:lnTo>
                  <a:pt x="5" y="0"/>
                </a:lnTo>
                <a:lnTo>
                  <a:pt x="14" y="3"/>
                </a:lnTo>
                <a:lnTo>
                  <a:pt x="15" y="6"/>
                </a:lnTo>
                <a:lnTo>
                  <a:pt x="4" y="10"/>
                </a:lnTo>
                <a:lnTo>
                  <a:pt x="0" y="7"/>
                </a:lnTo>
                <a:close/>
              </a:path>
            </a:pathLst>
          </a:custGeom>
          <a:solidFill>
            <a:schemeClr val="accent1"/>
          </a:solidFill>
          <a:ln w="6350">
            <a:solidFill>
              <a:schemeClr val="tx2"/>
            </a:solidFill>
            <a:round/>
            <a:headEnd/>
            <a:tailEnd/>
          </a:ln>
        </p:spPr>
        <p:txBody>
          <a:bodyPr/>
          <a:lstStyle/>
          <a:p>
            <a:endParaRPr lang="en-US"/>
          </a:p>
        </p:txBody>
      </p:sp>
      <p:sp>
        <p:nvSpPr>
          <p:cNvPr id="522" name="Freeform 1628"/>
          <p:cNvSpPr>
            <a:spLocks/>
          </p:cNvSpPr>
          <p:nvPr/>
        </p:nvSpPr>
        <p:spPr bwMode="auto">
          <a:xfrm>
            <a:off x="8176977" y="4306315"/>
            <a:ext cx="4300" cy="12737"/>
          </a:xfrm>
          <a:custGeom>
            <a:avLst/>
            <a:gdLst>
              <a:gd name="T0" fmla="*/ 2147483647 w 11"/>
              <a:gd name="T1" fmla="*/ 0 h 31"/>
              <a:gd name="T2" fmla="*/ 2147483647 w 11"/>
              <a:gd name="T3" fmla="*/ 2147483647 h 31"/>
              <a:gd name="T4" fmla="*/ 2147483647 w 11"/>
              <a:gd name="T5" fmla="*/ 2147483647 h 31"/>
              <a:gd name="T6" fmla="*/ 0 w 11"/>
              <a:gd name="T7" fmla="*/ 2147483647 h 31"/>
              <a:gd name="T8" fmla="*/ 2147483647 w 11"/>
              <a:gd name="T9" fmla="*/ 0 h 31"/>
              <a:gd name="T10" fmla="*/ 0 60000 65536"/>
              <a:gd name="T11" fmla="*/ 0 60000 65536"/>
              <a:gd name="T12" fmla="*/ 0 60000 65536"/>
              <a:gd name="T13" fmla="*/ 0 60000 65536"/>
              <a:gd name="T14" fmla="*/ 0 60000 65536"/>
              <a:gd name="T15" fmla="*/ 0 w 11"/>
              <a:gd name="T16" fmla="*/ 0 h 31"/>
              <a:gd name="T17" fmla="*/ 11 w 11"/>
              <a:gd name="T18" fmla="*/ 31 h 31"/>
            </a:gdLst>
            <a:ahLst/>
            <a:cxnLst>
              <a:cxn ang="T10">
                <a:pos x="T0" y="T1"/>
              </a:cxn>
              <a:cxn ang="T11">
                <a:pos x="T2" y="T3"/>
              </a:cxn>
              <a:cxn ang="T12">
                <a:pos x="T4" y="T5"/>
              </a:cxn>
              <a:cxn ang="T13">
                <a:pos x="T6" y="T7"/>
              </a:cxn>
              <a:cxn ang="T14">
                <a:pos x="T8" y="T9"/>
              </a:cxn>
            </a:cxnLst>
            <a:rect l="T15" t="T16" r="T17" b="T18"/>
            <a:pathLst>
              <a:path w="11" h="31">
                <a:moveTo>
                  <a:pt x="6" y="0"/>
                </a:moveTo>
                <a:lnTo>
                  <a:pt x="11" y="25"/>
                </a:lnTo>
                <a:lnTo>
                  <a:pt x="2" y="31"/>
                </a:lnTo>
                <a:lnTo>
                  <a:pt x="0" y="10"/>
                </a:lnTo>
                <a:lnTo>
                  <a:pt x="6" y="0"/>
                </a:lnTo>
                <a:close/>
              </a:path>
            </a:pathLst>
          </a:custGeom>
          <a:solidFill>
            <a:schemeClr val="accent1"/>
          </a:solidFill>
          <a:ln w="6350">
            <a:solidFill>
              <a:schemeClr val="tx2"/>
            </a:solidFill>
            <a:round/>
            <a:headEnd/>
            <a:tailEnd/>
          </a:ln>
        </p:spPr>
        <p:txBody>
          <a:bodyPr/>
          <a:lstStyle/>
          <a:p>
            <a:endParaRPr lang="en-US"/>
          </a:p>
        </p:txBody>
      </p:sp>
      <p:sp>
        <p:nvSpPr>
          <p:cNvPr id="523" name="Freeform 1629"/>
          <p:cNvSpPr>
            <a:spLocks/>
          </p:cNvSpPr>
          <p:nvPr/>
        </p:nvSpPr>
        <p:spPr bwMode="auto">
          <a:xfrm>
            <a:off x="7926144" y="4219706"/>
            <a:ext cx="5734" cy="3821"/>
          </a:xfrm>
          <a:custGeom>
            <a:avLst/>
            <a:gdLst>
              <a:gd name="T0" fmla="*/ 2147483647 w 13"/>
              <a:gd name="T1" fmla="*/ 2147483647 h 9"/>
              <a:gd name="T2" fmla="*/ 2147483647 w 13"/>
              <a:gd name="T3" fmla="*/ 0 h 9"/>
              <a:gd name="T4" fmla="*/ 0 w 13"/>
              <a:gd name="T5" fmla="*/ 2147483647 h 9"/>
              <a:gd name="T6" fmla="*/ 0 w 13"/>
              <a:gd name="T7" fmla="*/ 2147483647 h 9"/>
              <a:gd name="T8" fmla="*/ 2147483647 w 13"/>
              <a:gd name="T9" fmla="*/ 2147483647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13" y="5"/>
                </a:moveTo>
                <a:lnTo>
                  <a:pt x="8" y="0"/>
                </a:lnTo>
                <a:lnTo>
                  <a:pt x="0" y="3"/>
                </a:lnTo>
                <a:lnTo>
                  <a:pt x="0" y="9"/>
                </a:lnTo>
                <a:lnTo>
                  <a:pt x="13" y="5"/>
                </a:lnTo>
                <a:close/>
              </a:path>
            </a:pathLst>
          </a:custGeom>
          <a:solidFill>
            <a:schemeClr val="accent1"/>
          </a:solidFill>
          <a:ln w="6350">
            <a:solidFill>
              <a:schemeClr val="tx2"/>
            </a:solidFill>
            <a:round/>
            <a:headEnd/>
            <a:tailEnd/>
          </a:ln>
        </p:spPr>
        <p:txBody>
          <a:bodyPr/>
          <a:lstStyle/>
          <a:p>
            <a:endParaRPr lang="en-US"/>
          </a:p>
        </p:txBody>
      </p:sp>
      <p:sp>
        <p:nvSpPr>
          <p:cNvPr id="524" name="Freeform 1630"/>
          <p:cNvSpPr>
            <a:spLocks/>
          </p:cNvSpPr>
          <p:nvPr/>
        </p:nvSpPr>
        <p:spPr bwMode="auto">
          <a:xfrm>
            <a:off x="7817209" y="4102530"/>
            <a:ext cx="1432" cy="5095"/>
          </a:xfrm>
          <a:custGeom>
            <a:avLst/>
            <a:gdLst>
              <a:gd name="T0" fmla="*/ 0 w 4"/>
              <a:gd name="T1" fmla="*/ 0 h 12"/>
              <a:gd name="T2" fmla="*/ 0 w 4"/>
              <a:gd name="T3" fmla="*/ 2147483647 h 12"/>
              <a:gd name="T4" fmla="*/ 2147483647 w 4"/>
              <a:gd name="T5" fmla="*/ 2147483647 h 12"/>
              <a:gd name="T6" fmla="*/ 0 w 4"/>
              <a:gd name="T7" fmla="*/ 0 h 12"/>
              <a:gd name="T8" fmla="*/ 0 60000 65536"/>
              <a:gd name="T9" fmla="*/ 0 60000 65536"/>
              <a:gd name="T10" fmla="*/ 0 60000 65536"/>
              <a:gd name="T11" fmla="*/ 0 60000 65536"/>
              <a:gd name="T12" fmla="*/ 0 w 4"/>
              <a:gd name="T13" fmla="*/ 0 h 12"/>
              <a:gd name="T14" fmla="*/ 4 w 4"/>
              <a:gd name="T15" fmla="*/ 12 h 12"/>
            </a:gdLst>
            <a:ahLst/>
            <a:cxnLst>
              <a:cxn ang="T8">
                <a:pos x="T0" y="T1"/>
              </a:cxn>
              <a:cxn ang="T9">
                <a:pos x="T2" y="T3"/>
              </a:cxn>
              <a:cxn ang="T10">
                <a:pos x="T4" y="T5"/>
              </a:cxn>
              <a:cxn ang="T11">
                <a:pos x="T6" y="T7"/>
              </a:cxn>
            </a:cxnLst>
            <a:rect l="T12" t="T13" r="T14" b="T15"/>
            <a:pathLst>
              <a:path w="4" h="12">
                <a:moveTo>
                  <a:pt x="0" y="0"/>
                </a:moveTo>
                <a:lnTo>
                  <a:pt x="0" y="12"/>
                </a:lnTo>
                <a:lnTo>
                  <a:pt x="4" y="3"/>
                </a:lnTo>
                <a:lnTo>
                  <a:pt x="0" y="0"/>
                </a:lnTo>
                <a:close/>
              </a:path>
            </a:pathLst>
          </a:custGeom>
          <a:solidFill>
            <a:schemeClr val="accent1"/>
          </a:solidFill>
          <a:ln w="6350">
            <a:solidFill>
              <a:schemeClr val="tx2"/>
            </a:solidFill>
            <a:round/>
            <a:headEnd/>
            <a:tailEnd/>
          </a:ln>
        </p:spPr>
        <p:txBody>
          <a:bodyPr/>
          <a:lstStyle/>
          <a:p>
            <a:endParaRPr lang="en-US"/>
          </a:p>
        </p:txBody>
      </p:sp>
      <p:sp>
        <p:nvSpPr>
          <p:cNvPr id="525" name="Freeform 1631"/>
          <p:cNvSpPr>
            <a:spLocks/>
          </p:cNvSpPr>
          <p:nvPr/>
        </p:nvSpPr>
        <p:spPr bwMode="auto">
          <a:xfrm>
            <a:off x="7814343" y="4035026"/>
            <a:ext cx="5734" cy="5095"/>
          </a:xfrm>
          <a:custGeom>
            <a:avLst/>
            <a:gdLst>
              <a:gd name="T0" fmla="*/ 2147483647 w 10"/>
              <a:gd name="T1" fmla="*/ 0 h 11"/>
              <a:gd name="T2" fmla="*/ 0 w 10"/>
              <a:gd name="T3" fmla="*/ 2147483647 h 11"/>
              <a:gd name="T4" fmla="*/ 2147483647 w 10"/>
              <a:gd name="T5" fmla="*/ 2147483647 h 11"/>
              <a:gd name="T6" fmla="*/ 2147483647 w 10"/>
              <a:gd name="T7" fmla="*/ 0 h 11"/>
              <a:gd name="T8" fmla="*/ 0 60000 65536"/>
              <a:gd name="T9" fmla="*/ 0 60000 65536"/>
              <a:gd name="T10" fmla="*/ 0 60000 65536"/>
              <a:gd name="T11" fmla="*/ 0 60000 65536"/>
              <a:gd name="T12" fmla="*/ 0 w 10"/>
              <a:gd name="T13" fmla="*/ 0 h 11"/>
              <a:gd name="T14" fmla="*/ 10 w 10"/>
              <a:gd name="T15" fmla="*/ 11 h 11"/>
            </a:gdLst>
            <a:ahLst/>
            <a:cxnLst>
              <a:cxn ang="T8">
                <a:pos x="T0" y="T1"/>
              </a:cxn>
              <a:cxn ang="T9">
                <a:pos x="T2" y="T3"/>
              </a:cxn>
              <a:cxn ang="T10">
                <a:pos x="T4" y="T5"/>
              </a:cxn>
              <a:cxn ang="T11">
                <a:pos x="T6" y="T7"/>
              </a:cxn>
            </a:cxnLst>
            <a:rect l="T12" t="T13" r="T14" b="T15"/>
            <a:pathLst>
              <a:path w="10" h="11">
                <a:moveTo>
                  <a:pt x="8" y="0"/>
                </a:moveTo>
                <a:lnTo>
                  <a:pt x="0" y="11"/>
                </a:lnTo>
                <a:lnTo>
                  <a:pt x="10" y="11"/>
                </a:lnTo>
                <a:lnTo>
                  <a:pt x="8" y="0"/>
                </a:lnTo>
                <a:close/>
              </a:path>
            </a:pathLst>
          </a:custGeom>
          <a:solidFill>
            <a:schemeClr val="accent1"/>
          </a:solidFill>
          <a:ln w="6350">
            <a:solidFill>
              <a:schemeClr val="tx2"/>
            </a:solidFill>
            <a:round/>
            <a:headEnd/>
            <a:tailEnd/>
          </a:ln>
        </p:spPr>
        <p:txBody>
          <a:bodyPr/>
          <a:lstStyle/>
          <a:p>
            <a:endParaRPr lang="en-US"/>
          </a:p>
        </p:txBody>
      </p:sp>
      <p:sp>
        <p:nvSpPr>
          <p:cNvPr id="526" name="Freeform 1632"/>
          <p:cNvSpPr>
            <a:spLocks/>
          </p:cNvSpPr>
          <p:nvPr/>
        </p:nvSpPr>
        <p:spPr bwMode="auto">
          <a:xfrm>
            <a:off x="7814343" y="4036300"/>
            <a:ext cx="0" cy="5095"/>
          </a:xfrm>
          <a:custGeom>
            <a:avLst/>
            <a:gdLst>
              <a:gd name="T0" fmla="*/ 0 w 3"/>
              <a:gd name="T1" fmla="*/ 0 h 12"/>
              <a:gd name="T2" fmla="*/ 0 w 3"/>
              <a:gd name="T3" fmla="*/ 2147483647 h 12"/>
              <a:gd name="T4" fmla="*/ 0 w 3"/>
              <a:gd name="T5" fmla="*/ 0 h 12"/>
              <a:gd name="T6" fmla="*/ 0 60000 65536"/>
              <a:gd name="T7" fmla="*/ 0 60000 65536"/>
              <a:gd name="T8" fmla="*/ 0 60000 65536"/>
              <a:gd name="T9" fmla="*/ 0 w 3"/>
              <a:gd name="T10" fmla="*/ 0 h 12"/>
              <a:gd name="T11" fmla="*/ 0 w 3"/>
              <a:gd name="T12" fmla="*/ 12 h 12"/>
            </a:gdLst>
            <a:ahLst/>
            <a:cxnLst>
              <a:cxn ang="T6">
                <a:pos x="T0" y="T1"/>
              </a:cxn>
              <a:cxn ang="T7">
                <a:pos x="T2" y="T3"/>
              </a:cxn>
              <a:cxn ang="T8">
                <a:pos x="T4" y="T5"/>
              </a:cxn>
            </a:cxnLst>
            <a:rect l="T9" t="T10" r="T11" b="T12"/>
            <a:pathLst>
              <a:path w="3" h="12">
                <a:moveTo>
                  <a:pt x="3" y="0"/>
                </a:moveTo>
                <a:lnTo>
                  <a:pt x="0" y="12"/>
                </a:lnTo>
                <a:lnTo>
                  <a:pt x="3" y="0"/>
                </a:lnTo>
                <a:close/>
              </a:path>
            </a:pathLst>
          </a:custGeom>
          <a:solidFill>
            <a:schemeClr val="accent1"/>
          </a:solidFill>
          <a:ln w="6350">
            <a:solidFill>
              <a:schemeClr val="tx2"/>
            </a:solidFill>
            <a:round/>
            <a:headEnd/>
            <a:tailEnd/>
          </a:ln>
        </p:spPr>
        <p:txBody>
          <a:bodyPr/>
          <a:lstStyle/>
          <a:p>
            <a:endParaRPr lang="en-US"/>
          </a:p>
        </p:txBody>
      </p:sp>
      <p:sp>
        <p:nvSpPr>
          <p:cNvPr id="527" name="Freeform 1633"/>
          <p:cNvSpPr>
            <a:spLocks/>
          </p:cNvSpPr>
          <p:nvPr/>
        </p:nvSpPr>
        <p:spPr bwMode="auto">
          <a:xfrm>
            <a:off x="7817209" y="4019743"/>
            <a:ext cx="1432" cy="6368"/>
          </a:xfrm>
          <a:custGeom>
            <a:avLst/>
            <a:gdLst>
              <a:gd name="T0" fmla="*/ 0 w 4"/>
              <a:gd name="T1" fmla="*/ 0 h 14"/>
              <a:gd name="T2" fmla="*/ 2147483647 w 4"/>
              <a:gd name="T3" fmla="*/ 2147483647 h 14"/>
              <a:gd name="T4" fmla="*/ 2147483647 w 4"/>
              <a:gd name="T5" fmla="*/ 2147483647 h 14"/>
              <a:gd name="T6" fmla="*/ 0 w 4"/>
              <a:gd name="T7" fmla="*/ 0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0"/>
                </a:moveTo>
                <a:lnTo>
                  <a:pt x="1" y="14"/>
                </a:lnTo>
                <a:lnTo>
                  <a:pt x="4" y="11"/>
                </a:lnTo>
                <a:lnTo>
                  <a:pt x="0" y="0"/>
                </a:lnTo>
                <a:close/>
              </a:path>
            </a:pathLst>
          </a:custGeom>
          <a:solidFill>
            <a:schemeClr val="accent1"/>
          </a:solidFill>
          <a:ln w="6350">
            <a:solidFill>
              <a:schemeClr val="tx2"/>
            </a:solidFill>
            <a:round/>
            <a:headEnd/>
            <a:tailEnd/>
          </a:ln>
        </p:spPr>
        <p:txBody>
          <a:bodyPr/>
          <a:lstStyle/>
          <a:p>
            <a:endParaRPr lang="en-US"/>
          </a:p>
        </p:txBody>
      </p:sp>
      <p:sp>
        <p:nvSpPr>
          <p:cNvPr id="528" name="Freeform 1634"/>
          <p:cNvSpPr>
            <a:spLocks/>
          </p:cNvSpPr>
          <p:nvPr/>
        </p:nvSpPr>
        <p:spPr bwMode="auto">
          <a:xfrm>
            <a:off x="7722610" y="4117814"/>
            <a:ext cx="2866" cy="8916"/>
          </a:xfrm>
          <a:custGeom>
            <a:avLst/>
            <a:gdLst>
              <a:gd name="T0" fmla="*/ 2147483647 w 7"/>
              <a:gd name="T1" fmla="*/ 0 h 20"/>
              <a:gd name="T2" fmla="*/ 0 w 7"/>
              <a:gd name="T3" fmla="*/ 2147483647 h 20"/>
              <a:gd name="T4" fmla="*/ 2147483647 w 7"/>
              <a:gd name="T5" fmla="*/ 2147483647 h 20"/>
              <a:gd name="T6" fmla="*/ 2147483647 w 7"/>
              <a:gd name="T7" fmla="*/ 2147483647 h 20"/>
              <a:gd name="T8" fmla="*/ 2147483647 w 7"/>
              <a:gd name="T9" fmla="*/ 0 h 20"/>
              <a:gd name="T10" fmla="*/ 0 60000 65536"/>
              <a:gd name="T11" fmla="*/ 0 60000 65536"/>
              <a:gd name="T12" fmla="*/ 0 60000 65536"/>
              <a:gd name="T13" fmla="*/ 0 60000 65536"/>
              <a:gd name="T14" fmla="*/ 0 60000 65536"/>
              <a:gd name="T15" fmla="*/ 0 w 7"/>
              <a:gd name="T16" fmla="*/ 0 h 20"/>
              <a:gd name="T17" fmla="*/ 7 w 7"/>
              <a:gd name="T18" fmla="*/ 20 h 20"/>
            </a:gdLst>
            <a:ahLst/>
            <a:cxnLst>
              <a:cxn ang="T10">
                <a:pos x="T0" y="T1"/>
              </a:cxn>
              <a:cxn ang="T11">
                <a:pos x="T2" y="T3"/>
              </a:cxn>
              <a:cxn ang="T12">
                <a:pos x="T4" y="T5"/>
              </a:cxn>
              <a:cxn ang="T13">
                <a:pos x="T6" y="T7"/>
              </a:cxn>
              <a:cxn ang="T14">
                <a:pos x="T8" y="T9"/>
              </a:cxn>
            </a:cxnLst>
            <a:rect l="T15" t="T16" r="T17" b="T18"/>
            <a:pathLst>
              <a:path w="7" h="20">
                <a:moveTo>
                  <a:pt x="7" y="0"/>
                </a:moveTo>
                <a:lnTo>
                  <a:pt x="0" y="3"/>
                </a:lnTo>
                <a:lnTo>
                  <a:pt x="3" y="20"/>
                </a:lnTo>
                <a:lnTo>
                  <a:pt x="7" y="14"/>
                </a:lnTo>
                <a:lnTo>
                  <a:pt x="7" y="0"/>
                </a:lnTo>
                <a:close/>
              </a:path>
            </a:pathLst>
          </a:custGeom>
          <a:solidFill>
            <a:schemeClr val="accent1"/>
          </a:solidFill>
          <a:ln w="6350">
            <a:solidFill>
              <a:schemeClr val="tx2"/>
            </a:solidFill>
            <a:round/>
            <a:headEnd/>
            <a:tailEnd/>
          </a:ln>
        </p:spPr>
        <p:txBody>
          <a:bodyPr/>
          <a:lstStyle/>
          <a:p>
            <a:endParaRPr lang="en-US"/>
          </a:p>
        </p:txBody>
      </p:sp>
      <p:sp>
        <p:nvSpPr>
          <p:cNvPr id="529" name="Freeform 1635"/>
          <p:cNvSpPr>
            <a:spLocks/>
          </p:cNvSpPr>
          <p:nvPr/>
        </p:nvSpPr>
        <p:spPr bwMode="auto">
          <a:xfrm>
            <a:off x="7625142" y="4196781"/>
            <a:ext cx="220734" cy="206332"/>
          </a:xfrm>
          <a:custGeom>
            <a:avLst/>
            <a:gdLst>
              <a:gd name="T0" fmla="*/ 2147483647 w 465"/>
              <a:gd name="T1" fmla="*/ 0 h 491"/>
              <a:gd name="T2" fmla="*/ 2147483647 w 465"/>
              <a:gd name="T3" fmla="*/ 2147483647 h 491"/>
              <a:gd name="T4" fmla="*/ 2147483647 w 465"/>
              <a:gd name="T5" fmla="*/ 2147483647 h 491"/>
              <a:gd name="T6" fmla="*/ 2147483647 w 465"/>
              <a:gd name="T7" fmla="*/ 2147483647 h 491"/>
              <a:gd name="T8" fmla="*/ 2147483647 w 465"/>
              <a:gd name="T9" fmla="*/ 2147483647 h 491"/>
              <a:gd name="T10" fmla="*/ 2147483647 w 465"/>
              <a:gd name="T11" fmla="*/ 2147483647 h 491"/>
              <a:gd name="T12" fmla="*/ 2147483647 w 465"/>
              <a:gd name="T13" fmla="*/ 2147483647 h 491"/>
              <a:gd name="T14" fmla="*/ 2147483647 w 465"/>
              <a:gd name="T15" fmla="*/ 2147483647 h 491"/>
              <a:gd name="T16" fmla="*/ 2147483647 w 465"/>
              <a:gd name="T17" fmla="*/ 2147483647 h 491"/>
              <a:gd name="T18" fmla="*/ 2147483647 w 465"/>
              <a:gd name="T19" fmla="*/ 2147483647 h 491"/>
              <a:gd name="T20" fmla="*/ 2147483647 w 465"/>
              <a:gd name="T21" fmla="*/ 2147483647 h 491"/>
              <a:gd name="T22" fmla="*/ 2147483647 w 465"/>
              <a:gd name="T23" fmla="*/ 2147483647 h 491"/>
              <a:gd name="T24" fmla="*/ 2147483647 w 465"/>
              <a:gd name="T25" fmla="*/ 2147483647 h 491"/>
              <a:gd name="T26" fmla="*/ 2147483647 w 465"/>
              <a:gd name="T27" fmla="*/ 2147483647 h 491"/>
              <a:gd name="T28" fmla="*/ 2147483647 w 465"/>
              <a:gd name="T29" fmla="*/ 2147483647 h 491"/>
              <a:gd name="T30" fmla="*/ 2147483647 w 465"/>
              <a:gd name="T31" fmla="*/ 2147483647 h 491"/>
              <a:gd name="T32" fmla="*/ 2147483647 w 465"/>
              <a:gd name="T33" fmla="*/ 2147483647 h 491"/>
              <a:gd name="T34" fmla="*/ 2147483647 w 465"/>
              <a:gd name="T35" fmla="*/ 2147483647 h 491"/>
              <a:gd name="T36" fmla="*/ 2147483647 w 465"/>
              <a:gd name="T37" fmla="*/ 2147483647 h 491"/>
              <a:gd name="T38" fmla="*/ 2147483647 w 465"/>
              <a:gd name="T39" fmla="*/ 2147483647 h 491"/>
              <a:gd name="T40" fmla="*/ 2147483647 w 465"/>
              <a:gd name="T41" fmla="*/ 2147483647 h 491"/>
              <a:gd name="T42" fmla="*/ 2147483647 w 465"/>
              <a:gd name="T43" fmla="*/ 2147483647 h 491"/>
              <a:gd name="T44" fmla="*/ 2147483647 w 465"/>
              <a:gd name="T45" fmla="*/ 2147483647 h 491"/>
              <a:gd name="T46" fmla="*/ 2147483647 w 465"/>
              <a:gd name="T47" fmla="*/ 2147483647 h 491"/>
              <a:gd name="T48" fmla="*/ 2147483647 w 465"/>
              <a:gd name="T49" fmla="*/ 2147483647 h 491"/>
              <a:gd name="T50" fmla="*/ 2147483647 w 465"/>
              <a:gd name="T51" fmla="*/ 2147483647 h 491"/>
              <a:gd name="T52" fmla="*/ 2147483647 w 465"/>
              <a:gd name="T53" fmla="*/ 2147483647 h 491"/>
              <a:gd name="T54" fmla="*/ 2147483647 w 465"/>
              <a:gd name="T55" fmla="*/ 2147483647 h 491"/>
              <a:gd name="T56" fmla="*/ 2147483647 w 465"/>
              <a:gd name="T57" fmla="*/ 2147483647 h 491"/>
              <a:gd name="T58" fmla="*/ 2147483647 w 465"/>
              <a:gd name="T59" fmla="*/ 2147483647 h 491"/>
              <a:gd name="T60" fmla="*/ 2147483647 w 465"/>
              <a:gd name="T61" fmla="*/ 2147483647 h 491"/>
              <a:gd name="T62" fmla="*/ 2147483647 w 465"/>
              <a:gd name="T63" fmla="*/ 2147483647 h 491"/>
              <a:gd name="T64" fmla="*/ 2147483647 w 465"/>
              <a:gd name="T65" fmla="*/ 2147483647 h 491"/>
              <a:gd name="T66" fmla="*/ 2147483647 w 465"/>
              <a:gd name="T67" fmla="*/ 2147483647 h 491"/>
              <a:gd name="T68" fmla="*/ 2147483647 w 465"/>
              <a:gd name="T69" fmla="*/ 2147483647 h 491"/>
              <a:gd name="T70" fmla="*/ 2147483647 w 465"/>
              <a:gd name="T71" fmla="*/ 2147483647 h 491"/>
              <a:gd name="T72" fmla="*/ 0 w 465"/>
              <a:gd name="T73" fmla="*/ 0 h 4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65"/>
              <a:gd name="T112" fmla="*/ 0 h 491"/>
              <a:gd name="T113" fmla="*/ 465 w 465"/>
              <a:gd name="T114" fmla="*/ 491 h 4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65" h="491">
                <a:moveTo>
                  <a:pt x="0" y="0"/>
                </a:moveTo>
                <a:lnTo>
                  <a:pt x="21" y="0"/>
                </a:lnTo>
                <a:lnTo>
                  <a:pt x="32" y="11"/>
                </a:lnTo>
                <a:lnTo>
                  <a:pt x="47" y="16"/>
                </a:lnTo>
                <a:lnTo>
                  <a:pt x="101" y="20"/>
                </a:lnTo>
                <a:lnTo>
                  <a:pt x="113" y="30"/>
                </a:lnTo>
                <a:lnTo>
                  <a:pt x="134" y="62"/>
                </a:lnTo>
                <a:lnTo>
                  <a:pt x="153" y="79"/>
                </a:lnTo>
                <a:lnTo>
                  <a:pt x="181" y="92"/>
                </a:lnTo>
                <a:lnTo>
                  <a:pt x="203" y="114"/>
                </a:lnTo>
                <a:lnTo>
                  <a:pt x="206" y="122"/>
                </a:lnTo>
                <a:lnTo>
                  <a:pt x="216" y="125"/>
                </a:lnTo>
                <a:lnTo>
                  <a:pt x="232" y="145"/>
                </a:lnTo>
                <a:lnTo>
                  <a:pt x="241" y="150"/>
                </a:lnTo>
                <a:lnTo>
                  <a:pt x="244" y="143"/>
                </a:lnTo>
                <a:lnTo>
                  <a:pt x="251" y="143"/>
                </a:lnTo>
                <a:lnTo>
                  <a:pt x="265" y="165"/>
                </a:lnTo>
                <a:lnTo>
                  <a:pt x="292" y="176"/>
                </a:lnTo>
                <a:lnTo>
                  <a:pt x="300" y="189"/>
                </a:lnTo>
                <a:lnTo>
                  <a:pt x="303" y="190"/>
                </a:lnTo>
                <a:lnTo>
                  <a:pt x="304" y="182"/>
                </a:lnTo>
                <a:lnTo>
                  <a:pt x="316" y="194"/>
                </a:lnTo>
                <a:lnTo>
                  <a:pt x="337" y="196"/>
                </a:lnTo>
                <a:lnTo>
                  <a:pt x="338" y="203"/>
                </a:lnTo>
                <a:lnTo>
                  <a:pt x="332" y="205"/>
                </a:lnTo>
                <a:lnTo>
                  <a:pt x="336" y="221"/>
                </a:lnTo>
                <a:lnTo>
                  <a:pt x="353" y="217"/>
                </a:lnTo>
                <a:lnTo>
                  <a:pt x="362" y="225"/>
                </a:lnTo>
                <a:lnTo>
                  <a:pt x="367" y="237"/>
                </a:lnTo>
                <a:lnTo>
                  <a:pt x="356" y="247"/>
                </a:lnTo>
                <a:lnTo>
                  <a:pt x="364" y="251"/>
                </a:lnTo>
                <a:lnTo>
                  <a:pt x="354" y="268"/>
                </a:lnTo>
                <a:lnTo>
                  <a:pt x="357" y="274"/>
                </a:lnTo>
                <a:lnTo>
                  <a:pt x="372" y="282"/>
                </a:lnTo>
                <a:lnTo>
                  <a:pt x="382" y="285"/>
                </a:lnTo>
                <a:lnTo>
                  <a:pt x="393" y="285"/>
                </a:lnTo>
                <a:lnTo>
                  <a:pt x="400" y="320"/>
                </a:lnTo>
                <a:lnTo>
                  <a:pt x="417" y="328"/>
                </a:lnTo>
                <a:lnTo>
                  <a:pt x="412" y="340"/>
                </a:lnTo>
                <a:lnTo>
                  <a:pt x="419" y="341"/>
                </a:lnTo>
                <a:lnTo>
                  <a:pt x="448" y="343"/>
                </a:lnTo>
                <a:lnTo>
                  <a:pt x="463" y="366"/>
                </a:lnTo>
                <a:lnTo>
                  <a:pt x="465" y="374"/>
                </a:lnTo>
                <a:lnTo>
                  <a:pt x="458" y="399"/>
                </a:lnTo>
                <a:lnTo>
                  <a:pt x="461" y="405"/>
                </a:lnTo>
                <a:lnTo>
                  <a:pt x="454" y="488"/>
                </a:lnTo>
                <a:lnTo>
                  <a:pt x="435" y="476"/>
                </a:lnTo>
                <a:lnTo>
                  <a:pt x="431" y="485"/>
                </a:lnTo>
                <a:lnTo>
                  <a:pt x="426" y="487"/>
                </a:lnTo>
                <a:lnTo>
                  <a:pt x="410" y="476"/>
                </a:lnTo>
                <a:lnTo>
                  <a:pt x="404" y="477"/>
                </a:lnTo>
                <a:lnTo>
                  <a:pt x="410" y="489"/>
                </a:lnTo>
                <a:lnTo>
                  <a:pt x="406" y="491"/>
                </a:lnTo>
                <a:lnTo>
                  <a:pt x="369" y="453"/>
                </a:lnTo>
                <a:lnTo>
                  <a:pt x="313" y="415"/>
                </a:lnTo>
                <a:lnTo>
                  <a:pt x="301" y="392"/>
                </a:lnTo>
                <a:lnTo>
                  <a:pt x="248" y="339"/>
                </a:lnTo>
                <a:lnTo>
                  <a:pt x="244" y="320"/>
                </a:lnTo>
                <a:lnTo>
                  <a:pt x="230" y="290"/>
                </a:lnTo>
                <a:lnTo>
                  <a:pt x="217" y="266"/>
                </a:lnTo>
                <a:lnTo>
                  <a:pt x="202" y="253"/>
                </a:lnTo>
                <a:lnTo>
                  <a:pt x="195" y="239"/>
                </a:lnTo>
                <a:lnTo>
                  <a:pt x="174" y="228"/>
                </a:lnTo>
                <a:lnTo>
                  <a:pt x="155" y="168"/>
                </a:lnTo>
                <a:lnTo>
                  <a:pt x="141" y="152"/>
                </a:lnTo>
                <a:lnTo>
                  <a:pt x="108" y="140"/>
                </a:lnTo>
                <a:lnTo>
                  <a:pt x="102" y="116"/>
                </a:lnTo>
                <a:lnTo>
                  <a:pt x="96" y="114"/>
                </a:lnTo>
                <a:lnTo>
                  <a:pt x="80" y="92"/>
                </a:lnTo>
                <a:lnTo>
                  <a:pt x="66" y="80"/>
                </a:lnTo>
                <a:lnTo>
                  <a:pt x="58" y="80"/>
                </a:lnTo>
                <a:lnTo>
                  <a:pt x="13" y="36"/>
                </a:lnTo>
                <a:lnTo>
                  <a:pt x="2" y="17"/>
                </a:lnTo>
                <a:lnTo>
                  <a:pt x="0" y="0"/>
                </a:lnTo>
                <a:close/>
              </a:path>
            </a:pathLst>
          </a:custGeom>
          <a:solidFill>
            <a:schemeClr val="accent1"/>
          </a:solidFill>
          <a:ln w="6350">
            <a:solidFill>
              <a:schemeClr val="tx2"/>
            </a:solidFill>
            <a:round/>
            <a:headEnd/>
            <a:tailEnd/>
          </a:ln>
        </p:spPr>
        <p:txBody>
          <a:bodyPr/>
          <a:lstStyle/>
          <a:p>
            <a:endParaRPr lang="en-US"/>
          </a:p>
        </p:txBody>
      </p:sp>
      <p:sp>
        <p:nvSpPr>
          <p:cNvPr id="530" name="Freeform 1636"/>
          <p:cNvSpPr>
            <a:spLocks/>
          </p:cNvSpPr>
          <p:nvPr/>
        </p:nvSpPr>
        <p:spPr bwMode="auto">
          <a:xfrm>
            <a:off x="7765609" y="4195507"/>
            <a:ext cx="14334" cy="10189"/>
          </a:xfrm>
          <a:custGeom>
            <a:avLst/>
            <a:gdLst>
              <a:gd name="T0" fmla="*/ 0 w 30"/>
              <a:gd name="T1" fmla="*/ 2147483647 h 23"/>
              <a:gd name="T2" fmla="*/ 2147483647 w 30"/>
              <a:gd name="T3" fmla="*/ 0 h 23"/>
              <a:gd name="T4" fmla="*/ 2147483647 w 30"/>
              <a:gd name="T5" fmla="*/ 2147483647 h 23"/>
              <a:gd name="T6" fmla="*/ 2147483647 w 30"/>
              <a:gd name="T7" fmla="*/ 2147483647 h 23"/>
              <a:gd name="T8" fmla="*/ 0 w 30"/>
              <a:gd name="T9" fmla="*/ 2147483647 h 23"/>
              <a:gd name="T10" fmla="*/ 0 60000 65536"/>
              <a:gd name="T11" fmla="*/ 0 60000 65536"/>
              <a:gd name="T12" fmla="*/ 0 60000 65536"/>
              <a:gd name="T13" fmla="*/ 0 60000 65536"/>
              <a:gd name="T14" fmla="*/ 0 60000 65536"/>
              <a:gd name="T15" fmla="*/ 0 w 30"/>
              <a:gd name="T16" fmla="*/ 0 h 23"/>
              <a:gd name="T17" fmla="*/ 30 w 30"/>
              <a:gd name="T18" fmla="*/ 23 h 23"/>
            </a:gdLst>
            <a:ahLst/>
            <a:cxnLst>
              <a:cxn ang="T10">
                <a:pos x="T0" y="T1"/>
              </a:cxn>
              <a:cxn ang="T11">
                <a:pos x="T2" y="T3"/>
              </a:cxn>
              <a:cxn ang="T12">
                <a:pos x="T4" y="T5"/>
              </a:cxn>
              <a:cxn ang="T13">
                <a:pos x="T6" y="T7"/>
              </a:cxn>
              <a:cxn ang="T14">
                <a:pos x="T8" y="T9"/>
              </a:cxn>
            </a:cxnLst>
            <a:rect l="T15" t="T16" r="T17" b="T18"/>
            <a:pathLst>
              <a:path w="30" h="23">
                <a:moveTo>
                  <a:pt x="0" y="5"/>
                </a:moveTo>
                <a:lnTo>
                  <a:pt x="3" y="0"/>
                </a:lnTo>
                <a:lnTo>
                  <a:pt x="27" y="16"/>
                </a:lnTo>
                <a:lnTo>
                  <a:pt x="30" y="23"/>
                </a:lnTo>
                <a:lnTo>
                  <a:pt x="0" y="5"/>
                </a:lnTo>
                <a:close/>
              </a:path>
            </a:pathLst>
          </a:custGeom>
          <a:solidFill>
            <a:schemeClr val="accent1"/>
          </a:solidFill>
          <a:ln w="6350">
            <a:solidFill>
              <a:schemeClr val="tx2"/>
            </a:solidFill>
            <a:round/>
            <a:headEnd/>
            <a:tailEnd/>
          </a:ln>
        </p:spPr>
        <p:txBody>
          <a:bodyPr/>
          <a:lstStyle/>
          <a:p>
            <a:endParaRPr lang="en-US"/>
          </a:p>
        </p:txBody>
      </p:sp>
      <p:sp>
        <p:nvSpPr>
          <p:cNvPr id="531" name="Freeform 1637"/>
          <p:cNvSpPr>
            <a:spLocks/>
          </p:cNvSpPr>
          <p:nvPr/>
        </p:nvSpPr>
        <p:spPr bwMode="auto">
          <a:xfrm>
            <a:off x="7794276" y="4219706"/>
            <a:ext cx="14334" cy="16558"/>
          </a:xfrm>
          <a:custGeom>
            <a:avLst/>
            <a:gdLst>
              <a:gd name="T0" fmla="*/ 0 w 32"/>
              <a:gd name="T1" fmla="*/ 2147483647 h 39"/>
              <a:gd name="T2" fmla="*/ 2147483647 w 32"/>
              <a:gd name="T3" fmla="*/ 0 h 39"/>
              <a:gd name="T4" fmla="*/ 2147483647 w 32"/>
              <a:gd name="T5" fmla="*/ 2147483647 h 39"/>
              <a:gd name="T6" fmla="*/ 2147483647 w 32"/>
              <a:gd name="T7" fmla="*/ 2147483647 h 39"/>
              <a:gd name="T8" fmla="*/ 2147483647 w 32"/>
              <a:gd name="T9" fmla="*/ 2147483647 h 39"/>
              <a:gd name="T10" fmla="*/ 0 w 32"/>
              <a:gd name="T11" fmla="*/ 2147483647 h 39"/>
              <a:gd name="T12" fmla="*/ 0 60000 65536"/>
              <a:gd name="T13" fmla="*/ 0 60000 65536"/>
              <a:gd name="T14" fmla="*/ 0 60000 65536"/>
              <a:gd name="T15" fmla="*/ 0 60000 65536"/>
              <a:gd name="T16" fmla="*/ 0 60000 65536"/>
              <a:gd name="T17" fmla="*/ 0 60000 65536"/>
              <a:gd name="T18" fmla="*/ 0 w 32"/>
              <a:gd name="T19" fmla="*/ 0 h 39"/>
              <a:gd name="T20" fmla="*/ 32 w 32"/>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2" h="39">
                <a:moveTo>
                  <a:pt x="0" y="6"/>
                </a:moveTo>
                <a:lnTo>
                  <a:pt x="10" y="0"/>
                </a:lnTo>
                <a:lnTo>
                  <a:pt x="32" y="22"/>
                </a:lnTo>
                <a:lnTo>
                  <a:pt x="31" y="39"/>
                </a:lnTo>
                <a:lnTo>
                  <a:pt x="27" y="39"/>
                </a:lnTo>
                <a:lnTo>
                  <a:pt x="0" y="6"/>
                </a:lnTo>
                <a:close/>
              </a:path>
            </a:pathLst>
          </a:custGeom>
          <a:solidFill>
            <a:schemeClr val="accent1"/>
          </a:solidFill>
          <a:ln w="6350">
            <a:solidFill>
              <a:schemeClr val="tx2"/>
            </a:solidFill>
            <a:round/>
            <a:headEnd/>
            <a:tailEnd/>
          </a:ln>
        </p:spPr>
        <p:txBody>
          <a:bodyPr/>
          <a:lstStyle/>
          <a:p>
            <a:endParaRPr lang="en-US"/>
          </a:p>
        </p:txBody>
      </p:sp>
      <p:sp>
        <p:nvSpPr>
          <p:cNvPr id="532" name="Freeform 1638"/>
          <p:cNvSpPr>
            <a:spLocks/>
          </p:cNvSpPr>
          <p:nvPr/>
        </p:nvSpPr>
        <p:spPr bwMode="auto">
          <a:xfrm>
            <a:off x="7880276" y="4209517"/>
            <a:ext cx="8600" cy="6369"/>
          </a:xfrm>
          <a:custGeom>
            <a:avLst/>
            <a:gdLst>
              <a:gd name="T0" fmla="*/ 2147483647 w 14"/>
              <a:gd name="T1" fmla="*/ 2147483647 h 16"/>
              <a:gd name="T2" fmla="*/ 2147483647 w 14"/>
              <a:gd name="T3" fmla="*/ 2147483647 h 16"/>
              <a:gd name="T4" fmla="*/ 0 w 14"/>
              <a:gd name="T5" fmla="*/ 2147483647 h 16"/>
              <a:gd name="T6" fmla="*/ 2147483647 w 14"/>
              <a:gd name="T7" fmla="*/ 0 h 16"/>
              <a:gd name="T8" fmla="*/ 2147483647 w 14"/>
              <a:gd name="T9" fmla="*/ 2147483647 h 16"/>
              <a:gd name="T10" fmla="*/ 2147483647 w 14"/>
              <a:gd name="T11" fmla="*/ 2147483647 h 16"/>
              <a:gd name="T12" fmla="*/ 0 60000 65536"/>
              <a:gd name="T13" fmla="*/ 0 60000 65536"/>
              <a:gd name="T14" fmla="*/ 0 60000 65536"/>
              <a:gd name="T15" fmla="*/ 0 60000 65536"/>
              <a:gd name="T16" fmla="*/ 0 60000 65536"/>
              <a:gd name="T17" fmla="*/ 0 60000 65536"/>
              <a:gd name="T18" fmla="*/ 0 w 14"/>
              <a:gd name="T19" fmla="*/ 0 h 16"/>
              <a:gd name="T20" fmla="*/ 14 w 1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4" h="16">
                <a:moveTo>
                  <a:pt x="11" y="16"/>
                </a:moveTo>
                <a:lnTo>
                  <a:pt x="4" y="13"/>
                </a:lnTo>
                <a:lnTo>
                  <a:pt x="0" y="3"/>
                </a:lnTo>
                <a:lnTo>
                  <a:pt x="10" y="0"/>
                </a:lnTo>
                <a:lnTo>
                  <a:pt x="14" y="4"/>
                </a:lnTo>
                <a:lnTo>
                  <a:pt x="11" y="16"/>
                </a:lnTo>
                <a:close/>
              </a:path>
            </a:pathLst>
          </a:custGeom>
          <a:solidFill>
            <a:schemeClr val="accent1"/>
          </a:solidFill>
          <a:ln w="6350">
            <a:solidFill>
              <a:schemeClr val="tx2"/>
            </a:solidFill>
            <a:round/>
            <a:headEnd/>
            <a:tailEnd/>
          </a:ln>
        </p:spPr>
        <p:txBody>
          <a:bodyPr/>
          <a:lstStyle/>
          <a:p>
            <a:endParaRPr lang="en-US"/>
          </a:p>
        </p:txBody>
      </p:sp>
      <p:sp>
        <p:nvSpPr>
          <p:cNvPr id="533" name="Freeform 1639"/>
          <p:cNvSpPr>
            <a:spLocks/>
          </p:cNvSpPr>
          <p:nvPr/>
        </p:nvSpPr>
        <p:spPr bwMode="auto">
          <a:xfrm>
            <a:off x="7894611" y="4217159"/>
            <a:ext cx="7166" cy="6369"/>
          </a:xfrm>
          <a:custGeom>
            <a:avLst/>
            <a:gdLst>
              <a:gd name="T0" fmla="*/ 0 w 18"/>
              <a:gd name="T1" fmla="*/ 0 h 13"/>
              <a:gd name="T2" fmla="*/ 2147483647 w 18"/>
              <a:gd name="T3" fmla="*/ 2147483647 h 13"/>
              <a:gd name="T4" fmla="*/ 2147483647 w 18"/>
              <a:gd name="T5" fmla="*/ 2147483647 h 13"/>
              <a:gd name="T6" fmla="*/ 0 w 18"/>
              <a:gd name="T7" fmla="*/ 0 h 13"/>
              <a:gd name="T8" fmla="*/ 0 60000 65536"/>
              <a:gd name="T9" fmla="*/ 0 60000 65536"/>
              <a:gd name="T10" fmla="*/ 0 60000 65536"/>
              <a:gd name="T11" fmla="*/ 0 60000 65536"/>
              <a:gd name="T12" fmla="*/ 0 w 18"/>
              <a:gd name="T13" fmla="*/ 0 h 13"/>
              <a:gd name="T14" fmla="*/ 18 w 18"/>
              <a:gd name="T15" fmla="*/ 13 h 13"/>
            </a:gdLst>
            <a:ahLst/>
            <a:cxnLst>
              <a:cxn ang="T8">
                <a:pos x="T0" y="T1"/>
              </a:cxn>
              <a:cxn ang="T9">
                <a:pos x="T2" y="T3"/>
              </a:cxn>
              <a:cxn ang="T10">
                <a:pos x="T4" y="T5"/>
              </a:cxn>
              <a:cxn ang="T11">
                <a:pos x="T6" y="T7"/>
              </a:cxn>
            </a:cxnLst>
            <a:rect l="T12" t="T13" r="T14" b="T15"/>
            <a:pathLst>
              <a:path w="18" h="13">
                <a:moveTo>
                  <a:pt x="0" y="0"/>
                </a:moveTo>
                <a:lnTo>
                  <a:pt x="15" y="2"/>
                </a:lnTo>
                <a:lnTo>
                  <a:pt x="18" y="13"/>
                </a:lnTo>
                <a:lnTo>
                  <a:pt x="0" y="0"/>
                </a:lnTo>
                <a:close/>
              </a:path>
            </a:pathLst>
          </a:custGeom>
          <a:solidFill>
            <a:schemeClr val="accent1"/>
          </a:solidFill>
          <a:ln w="6350">
            <a:solidFill>
              <a:schemeClr val="tx2"/>
            </a:solidFill>
            <a:round/>
            <a:headEnd/>
            <a:tailEnd/>
          </a:ln>
        </p:spPr>
        <p:txBody>
          <a:bodyPr/>
          <a:lstStyle/>
          <a:p>
            <a:endParaRPr lang="en-US"/>
          </a:p>
        </p:txBody>
      </p:sp>
      <p:sp>
        <p:nvSpPr>
          <p:cNvPr id="534" name="Freeform 1640"/>
          <p:cNvSpPr>
            <a:spLocks/>
          </p:cNvSpPr>
          <p:nvPr/>
        </p:nvSpPr>
        <p:spPr bwMode="auto">
          <a:xfrm>
            <a:off x="7822943" y="4264284"/>
            <a:ext cx="14334" cy="14010"/>
          </a:xfrm>
          <a:custGeom>
            <a:avLst/>
            <a:gdLst>
              <a:gd name="T0" fmla="*/ 2147483647 w 27"/>
              <a:gd name="T1" fmla="*/ 0 h 34"/>
              <a:gd name="T2" fmla="*/ 2147483647 w 27"/>
              <a:gd name="T3" fmla="*/ 2147483647 h 34"/>
              <a:gd name="T4" fmla="*/ 2147483647 w 27"/>
              <a:gd name="T5" fmla="*/ 2147483647 h 34"/>
              <a:gd name="T6" fmla="*/ 2147483647 w 27"/>
              <a:gd name="T7" fmla="*/ 2147483647 h 34"/>
              <a:gd name="T8" fmla="*/ 2147483647 w 27"/>
              <a:gd name="T9" fmla="*/ 2147483647 h 34"/>
              <a:gd name="T10" fmla="*/ 0 w 27"/>
              <a:gd name="T11" fmla="*/ 2147483647 h 34"/>
              <a:gd name="T12" fmla="*/ 2147483647 w 27"/>
              <a:gd name="T13" fmla="*/ 0 h 34"/>
              <a:gd name="T14" fmla="*/ 0 60000 65536"/>
              <a:gd name="T15" fmla="*/ 0 60000 65536"/>
              <a:gd name="T16" fmla="*/ 0 60000 65536"/>
              <a:gd name="T17" fmla="*/ 0 60000 65536"/>
              <a:gd name="T18" fmla="*/ 0 60000 65536"/>
              <a:gd name="T19" fmla="*/ 0 60000 65536"/>
              <a:gd name="T20" fmla="*/ 0 60000 65536"/>
              <a:gd name="T21" fmla="*/ 0 w 27"/>
              <a:gd name="T22" fmla="*/ 0 h 34"/>
              <a:gd name="T23" fmla="*/ 27 w 27"/>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34">
                <a:moveTo>
                  <a:pt x="3" y="0"/>
                </a:moveTo>
                <a:lnTo>
                  <a:pt x="14" y="1"/>
                </a:lnTo>
                <a:lnTo>
                  <a:pt x="27" y="34"/>
                </a:lnTo>
                <a:lnTo>
                  <a:pt x="17" y="34"/>
                </a:lnTo>
                <a:lnTo>
                  <a:pt x="6" y="24"/>
                </a:lnTo>
                <a:lnTo>
                  <a:pt x="0" y="8"/>
                </a:lnTo>
                <a:lnTo>
                  <a:pt x="3" y="0"/>
                </a:lnTo>
                <a:close/>
              </a:path>
            </a:pathLst>
          </a:custGeom>
          <a:solidFill>
            <a:schemeClr val="accent1"/>
          </a:solidFill>
          <a:ln w="6350">
            <a:solidFill>
              <a:schemeClr val="tx2"/>
            </a:solidFill>
            <a:round/>
            <a:headEnd/>
            <a:tailEnd/>
          </a:ln>
        </p:spPr>
        <p:txBody>
          <a:bodyPr/>
          <a:lstStyle/>
          <a:p>
            <a:endParaRPr lang="en-US"/>
          </a:p>
        </p:txBody>
      </p:sp>
      <p:sp>
        <p:nvSpPr>
          <p:cNvPr id="535" name="Freeform 1641"/>
          <p:cNvSpPr>
            <a:spLocks/>
          </p:cNvSpPr>
          <p:nvPr/>
        </p:nvSpPr>
        <p:spPr bwMode="auto">
          <a:xfrm>
            <a:off x="7937610" y="4226075"/>
            <a:ext cx="8600" cy="5095"/>
          </a:xfrm>
          <a:custGeom>
            <a:avLst/>
            <a:gdLst>
              <a:gd name="T0" fmla="*/ 2147483647 w 15"/>
              <a:gd name="T1" fmla="*/ 2147483647 h 13"/>
              <a:gd name="T2" fmla="*/ 2147483647 w 15"/>
              <a:gd name="T3" fmla="*/ 2147483647 h 13"/>
              <a:gd name="T4" fmla="*/ 2147483647 w 15"/>
              <a:gd name="T5" fmla="*/ 2147483647 h 13"/>
              <a:gd name="T6" fmla="*/ 0 w 15"/>
              <a:gd name="T7" fmla="*/ 0 h 13"/>
              <a:gd name="T8" fmla="*/ 2147483647 w 15"/>
              <a:gd name="T9" fmla="*/ 2147483647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1" y="1"/>
                </a:moveTo>
                <a:lnTo>
                  <a:pt x="15" y="8"/>
                </a:lnTo>
                <a:lnTo>
                  <a:pt x="10" y="13"/>
                </a:lnTo>
                <a:lnTo>
                  <a:pt x="0" y="0"/>
                </a:lnTo>
                <a:lnTo>
                  <a:pt x="11" y="1"/>
                </a:lnTo>
                <a:close/>
              </a:path>
            </a:pathLst>
          </a:custGeom>
          <a:solidFill>
            <a:schemeClr val="accent1"/>
          </a:solidFill>
          <a:ln w="6350">
            <a:solidFill>
              <a:schemeClr val="tx2"/>
            </a:solidFill>
            <a:round/>
            <a:headEnd/>
            <a:tailEnd/>
          </a:ln>
        </p:spPr>
        <p:txBody>
          <a:bodyPr/>
          <a:lstStyle/>
          <a:p>
            <a:endParaRPr lang="en-US"/>
          </a:p>
        </p:txBody>
      </p:sp>
      <p:sp>
        <p:nvSpPr>
          <p:cNvPr id="536" name="Freeform 1642"/>
          <p:cNvSpPr>
            <a:spLocks/>
          </p:cNvSpPr>
          <p:nvPr/>
        </p:nvSpPr>
        <p:spPr bwMode="auto">
          <a:xfrm>
            <a:off x="7940477" y="4254095"/>
            <a:ext cx="2866" cy="3820"/>
          </a:xfrm>
          <a:custGeom>
            <a:avLst/>
            <a:gdLst>
              <a:gd name="T0" fmla="*/ 0 w 11"/>
              <a:gd name="T1" fmla="*/ 2147483647 h 10"/>
              <a:gd name="T2" fmla="*/ 2147483647 w 11"/>
              <a:gd name="T3" fmla="*/ 0 h 10"/>
              <a:gd name="T4" fmla="*/ 2147483647 w 11"/>
              <a:gd name="T5" fmla="*/ 0 h 10"/>
              <a:gd name="T6" fmla="*/ 2147483647 w 11"/>
              <a:gd name="T7" fmla="*/ 2147483647 h 10"/>
              <a:gd name="T8" fmla="*/ 2147483647 w 11"/>
              <a:gd name="T9" fmla="*/ 2147483647 h 10"/>
              <a:gd name="T10" fmla="*/ 2147483647 w 11"/>
              <a:gd name="T11" fmla="*/ 2147483647 h 10"/>
              <a:gd name="T12" fmla="*/ 0 w 11"/>
              <a:gd name="T13" fmla="*/ 2147483647 h 10"/>
              <a:gd name="T14" fmla="*/ 0 60000 65536"/>
              <a:gd name="T15" fmla="*/ 0 60000 65536"/>
              <a:gd name="T16" fmla="*/ 0 60000 65536"/>
              <a:gd name="T17" fmla="*/ 0 60000 65536"/>
              <a:gd name="T18" fmla="*/ 0 60000 65536"/>
              <a:gd name="T19" fmla="*/ 0 60000 65536"/>
              <a:gd name="T20" fmla="*/ 0 60000 65536"/>
              <a:gd name="T21" fmla="*/ 0 w 11"/>
              <a:gd name="T22" fmla="*/ 0 h 10"/>
              <a:gd name="T23" fmla="*/ 11 w 11"/>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0">
                <a:moveTo>
                  <a:pt x="0" y="5"/>
                </a:moveTo>
                <a:lnTo>
                  <a:pt x="5" y="0"/>
                </a:lnTo>
                <a:lnTo>
                  <a:pt x="9" y="0"/>
                </a:lnTo>
                <a:lnTo>
                  <a:pt x="11" y="5"/>
                </a:lnTo>
                <a:lnTo>
                  <a:pt x="9" y="10"/>
                </a:lnTo>
                <a:lnTo>
                  <a:pt x="2" y="9"/>
                </a:lnTo>
                <a:lnTo>
                  <a:pt x="0" y="5"/>
                </a:lnTo>
                <a:close/>
              </a:path>
            </a:pathLst>
          </a:custGeom>
          <a:solidFill>
            <a:schemeClr val="accent1"/>
          </a:solidFill>
          <a:ln w="6350">
            <a:solidFill>
              <a:schemeClr val="tx2"/>
            </a:solidFill>
            <a:round/>
            <a:headEnd/>
            <a:tailEnd/>
          </a:ln>
        </p:spPr>
        <p:txBody>
          <a:bodyPr/>
          <a:lstStyle/>
          <a:p>
            <a:endParaRPr lang="en-US"/>
          </a:p>
        </p:txBody>
      </p:sp>
      <p:sp>
        <p:nvSpPr>
          <p:cNvPr id="537" name="Freeform 1643"/>
          <p:cNvSpPr>
            <a:spLocks/>
          </p:cNvSpPr>
          <p:nvPr/>
        </p:nvSpPr>
        <p:spPr bwMode="auto">
          <a:xfrm>
            <a:off x="7957676" y="4274475"/>
            <a:ext cx="30100" cy="28020"/>
          </a:xfrm>
          <a:custGeom>
            <a:avLst/>
            <a:gdLst>
              <a:gd name="T0" fmla="*/ 0 w 66"/>
              <a:gd name="T1" fmla="*/ 2147483647 h 67"/>
              <a:gd name="T2" fmla="*/ 2147483647 w 66"/>
              <a:gd name="T3" fmla="*/ 2147483647 h 67"/>
              <a:gd name="T4" fmla="*/ 2147483647 w 66"/>
              <a:gd name="T5" fmla="*/ 2147483647 h 67"/>
              <a:gd name="T6" fmla="*/ 2147483647 w 66"/>
              <a:gd name="T7" fmla="*/ 2147483647 h 67"/>
              <a:gd name="T8" fmla="*/ 2147483647 w 66"/>
              <a:gd name="T9" fmla="*/ 0 h 67"/>
              <a:gd name="T10" fmla="*/ 2147483647 w 66"/>
              <a:gd name="T11" fmla="*/ 0 h 67"/>
              <a:gd name="T12" fmla="*/ 2147483647 w 66"/>
              <a:gd name="T13" fmla="*/ 2147483647 h 67"/>
              <a:gd name="T14" fmla="*/ 2147483647 w 66"/>
              <a:gd name="T15" fmla="*/ 2147483647 h 67"/>
              <a:gd name="T16" fmla="*/ 2147483647 w 66"/>
              <a:gd name="T17" fmla="*/ 2147483647 h 67"/>
              <a:gd name="T18" fmla="*/ 2147483647 w 66"/>
              <a:gd name="T19" fmla="*/ 2147483647 h 67"/>
              <a:gd name="T20" fmla="*/ 2147483647 w 66"/>
              <a:gd name="T21" fmla="*/ 2147483647 h 67"/>
              <a:gd name="T22" fmla="*/ 2147483647 w 66"/>
              <a:gd name="T23" fmla="*/ 2147483647 h 67"/>
              <a:gd name="T24" fmla="*/ 0 w 66"/>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
              <a:gd name="T40" fmla="*/ 0 h 67"/>
              <a:gd name="T41" fmla="*/ 66 w 66"/>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 h="67">
                <a:moveTo>
                  <a:pt x="0" y="17"/>
                </a:moveTo>
                <a:lnTo>
                  <a:pt x="11" y="3"/>
                </a:lnTo>
                <a:lnTo>
                  <a:pt x="20" y="3"/>
                </a:lnTo>
                <a:lnTo>
                  <a:pt x="25" y="9"/>
                </a:lnTo>
                <a:lnTo>
                  <a:pt x="27" y="0"/>
                </a:lnTo>
                <a:lnTo>
                  <a:pt x="32" y="0"/>
                </a:lnTo>
                <a:lnTo>
                  <a:pt x="48" y="38"/>
                </a:lnTo>
                <a:lnTo>
                  <a:pt x="66" y="43"/>
                </a:lnTo>
                <a:lnTo>
                  <a:pt x="65" y="65"/>
                </a:lnTo>
                <a:lnTo>
                  <a:pt x="61" y="67"/>
                </a:lnTo>
                <a:lnTo>
                  <a:pt x="41" y="55"/>
                </a:lnTo>
                <a:lnTo>
                  <a:pt x="26" y="27"/>
                </a:lnTo>
                <a:lnTo>
                  <a:pt x="0" y="17"/>
                </a:lnTo>
                <a:close/>
              </a:path>
            </a:pathLst>
          </a:custGeom>
          <a:solidFill>
            <a:schemeClr val="accent1"/>
          </a:solidFill>
          <a:ln w="6350">
            <a:solidFill>
              <a:schemeClr val="tx2"/>
            </a:solidFill>
            <a:round/>
            <a:headEnd/>
            <a:tailEnd/>
          </a:ln>
        </p:spPr>
        <p:txBody>
          <a:bodyPr/>
          <a:lstStyle/>
          <a:p>
            <a:endParaRPr lang="en-US"/>
          </a:p>
        </p:txBody>
      </p:sp>
      <p:sp>
        <p:nvSpPr>
          <p:cNvPr id="538" name="Freeform 1644"/>
          <p:cNvSpPr>
            <a:spLocks/>
          </p:cNvSpPr>
          <p:nvPr/>
        </p:nvSpPr>
        <p:spPr bwMode="auto">
          <a:xfrm>
            <a:off x="8004976" y="4292305"/>
            <a:ext cx="14334" cy="11462"/>
          </a:xfrm>
          <a:custGeom>
            <a:avLst/>
            <a:gdLst>
              <a:gd name="T0" fmla="*/ 2147483647 w 29"/>
              <a:gd name="T1" fmla="*/ 0 h 27"/>
              <a:gd name="T2" fmla="*/ 2147483647 w 29"/>
              <a:gd name="T3" fmla="*/ 0 h 27"/>
              <a:gd name="T4" fmla="*/ 2147483647 w 29"/>
              <a:gd name="T5" fmla="*/ 2147483647 h 27"/>
              <a:gd name="T6" fmla="*/ 2147483647 w 29"/>
              <a:gd name="T7" fmla="*/ 2147483647 h 27"/>
              <a:gd name="T8" fmla="*/ 2147483647 w 29"/>
              <a:gd name="T9" fmla="*/ 2147483647 h 27"/>
              <a:gd name="T10" fmla="*/ 0 w 29"/>
              <a:gd name="T11" fmla="*/ 2147483647 h 27"/>
              <a:gd name="T12" fmla="*/ 2147483647 w 29"/>
              <a:gd name="T13" fmla="*/ 0 h 27"/>
              <a:gd name="T14" fmla="*/ 0 60000 65536"/>
              <a:gd name="T15" fmla="*/ 0 60000 65536"/>
              <a:gd name="T16" fmla="*/ 0 60000 65536"/>
              <a:gd name="T17" fmla="*/ 0 60000 65536"/>
              <a:gd name="T18" fmla="*/ 0 60000 65536"/>
              <a:gd name="T19" fmla="*/ 0 60000 65536"/>
              <a:gd name="T20" fmla="*/ 0 60000 65536"/>
              <a:gd name="T21" fmla="*/ 0 w 29"/>
              <a:gd name="T22" fmla="*/ 0 h 27"/>
              <a:gd name="T23" fmla="*/ 29 w 29"/>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7">
                <a:moveTo>
                  <a:pt x="5" y="0"/>
                </a:moveTo>
                <a:lnTo>
                  <a:pt x="16" y="0"/>
                </a:lnTo>
                <a:lnTo>
                  <a:pt x="29" y="9"/>
                </a:lnTo>
                <a:lnTo>
                  <a:pt x="25" y="27"/>
                </a:lnTo>
                <a:lnTo>
                  <a:pt x="3" y="24"/>
                </a:lnTo>
                <a:lnTo>
                  <a:pt x="0" y="12"/>
                </a:lnTo>
                <a:lnTo>
                  <a:pt x="5" y="0"/>
                </a:lnTo>
                <a:close/>
              </a:path>
            </a:pathLst>
          </a:custGeom>
          <a:solidFill>
            <a:schemeClr val="accent1"/>
          </a:solidFill>
          <a:ln w="6350">
            <a:solidFill>
              <a:schemeClr val="tx2"/>
            </a:solidFill>
            <a:round/>
            <a:headEnd/>
            <a:tailEnd/>
          </a:ln>
        </p:spPr>
        <p:txBody>
          <a:bodyPr/>
          <a:lstStyle/>
          <a:p>
            <a:endParaRPr lang="en-US"/>
          </a:p>
        </p:txBody>
      </p:sp>
      <p:sp>
        <p:nvSpPr>
          <p:cNvPr id="539" name="Freeform 1647"/>
          <p:cNvSpPr>
            <a:spLocks/>
          </p:cNvSpPr>
          <p:nvPr/>
        </p:nvSpPr>
        <p:spPr bwMode="auto">
          <a:xfrm>
            <a:off x="7699676" y="4004459"/>
            <a:ext cx="8600" cy="36935"/>
          </a:xfrm>
          <a:custGeom>
            <a:avLst/>
            <a:gdLst>
              <a:gd name="T0" fmla="*/ 2147483647 w 20"/>
              <a:gd name="T1" fmla="*/ 0 h 88"/>
              <a:gd name="T2" fmla="*/ 2147483647 w 20"/>
              <a:gd name="T3" fmla="*/ 2147483647 h 88"/>
              <a:gd name="T4" fmla="*/ 0 w 20"/>
              <a:gd name="T5" fmla="*/ 2147483647 h 88"/>
              <a:gd name="T6" fmla="*/ 2147483647 w 20"/>
              <a:gd name="T7" fmla="*/ 2147483647 h 88"/>
              <a:gd name="T8" fmla="*/ 2147483647 w 20"/>
              <a:gd name="T9" fmla="*/ 2147483647 h 88"/>
              <a:gd name="T10" fmla="*/ 2147483647 w 20"/>
              <a:gd name="T11" fmla="*/ 2147483647 h 88"/>
              <a:gd name="T12" fmla="*/ 2147483647 w 20"/>
              <a:gd name="T13" fmla="*/ 2147483647 h 88"/>
              <a:gd name="T14" fmla="*/ 2147483647 w 20"/>
              <a:gd name="T15" fmla="*/ 0 h 88"/>
              <a:gd name="T16" fmla="*/ 2147483647 w 20"/>
              <a:gd name="T17" fmla="*/ 0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88"/>
              <a:gd name="T29" fmla="*/ 20 w 20"/>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88">
                <a:moveTo>
                  <a:pt x="16" y="0"/>
                </a:moveTo>
                <a:lnTo>
                  <a:pt x="7" y="57"/>
                </a:lnTo>
                <a:lnTo>
                  <a:pt x="0" y="72"/>
                </a:lnTo>
                <a:lnTo>
                  <a:pt x="5" y="88"/>
                </a:lnTo>
                <a:lnTo>
                  <a:pt x="9" y="86"/>
                </a:lnTo>
                <a:lnTo>
                  <a:pt x="15" y="23"/>
                </a:lnTo>
                <a:lnTo>
                  <a:pt x="19" y="20"/>
                </a:lnTo>
                <a:lnTo>
                  <a:pt x="20" y="0"/>
                </a:lnTo>
                <a:lnTo>
                  <a:pt x="16" y="0"/>
                </a:lnTo>
                <a:close/>
              </a:path>
            </a:pathLst>
          </a:custGeom>
          <a:solidFill>
            <a:schemeClr val="accent1"/>
          </a:solidFill>
          <a:ln w="6350">
            <a:solidFill>
              <a:schemeClr val="tx2"/>
            </a:solidFill>
            <a:round/>
            <a:headEnd/>
            <a:tailEnd/>
          </a:ln>
        </p:spPr>
        <p:txBody>
          <a:bodyPr/>
          <a:lstStyle/>
          <a:p>
            <a:endParaRPr lang="en-US"/>
          </a:p>
        </p:txBody>
      </p:sp>
      <p:sp>
        <p:nvSpPr>
          <p:cNvPr id="540" name="Freeform 1648"/>
          <p:cNvSpPr>
            <a:spLocks/>
          </p:cNvSpPr>
          <p:nvPr/>
        </p:nvSpPr>
        <p:spPr bwMode="auto">
          <a:xfrm>
            <a:off x="7438809" y="4073236"/>
            <a:ext cx="43001" cy="68777"/>
          </a:xfrm>
          <a:custGeom>
            <a:avLst/>
            <a:gdLst>
              <a:gd name="T0" fmla="*/ 2147483647 w 92"/>
              <a:gd name="T1" fmla="*/ 0 h 166"/>
              <a:gd name="T2" fmla="*/ 2147483647 w 92"/>
              <a:gd name="T3" fmla="*/ 2147483647 h 166"/>
              <a:gd name="T4" fmla="*/ 2147483647 w 92"/>
              <a:gd name="T5" fmla="*/ 2147483647 h 166"/>
              <a:gd name="T6" fmla="*/ 2147483647 w 92"/>
              <a:gd name="T7" fmla="*/ 2147483647 h 166"/>
              <a:gd name="T8" fmla="*/ 2147483647 w 92"/>
              <a:gd name="T9" fmla="*/ 2147483647 h 166"/>
              <a:gd name="T10" fmla="*/ 0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0 h 1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2"/>
              <a:gd name="T49" fmla="*/ 0 h 166"/>
              <a:gd name="T50" fmla="*/ 92 w 92"/>
              <a:gd name="T51" fmla="*/ 166 h 1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2" h="166">
                <a:moveTo>
                  <a:pt x="15" y="0"/>
                </a:moveTo>
                <a:lnTo>
                  <a:pt x="11" y="2"/>
                </a:lnTo>
                <a:lnTo>
                  <a:pt x="26" y="14"/>
                </a:lnTo>
                <a:lnTo>
                  <a:pt x="17" y="19"/>
                </a:lnTo>
                <a:lnTo>
                  <a:pt x="6" y="74"/>
                </a:lnTo>
                <a:lnTo>
                  <a:pt x="0" y="74"/>
                </a:lnTo>
                <a:lnTo>
                  <a:pt x="6" y="131"/>
                </a:lnTo>
                <a:lnTo>
                  <a:pt x="23" y="164"/>
                </a:lnTo>
                <a:lnTo>
                  <a:pt x="46" y="166"/>
                </a:lnTo>
                <a:lnTo>
                  <a:pt x="79" y="147"/>
                </a:lnTo>
                <a:lnTo>
                  <a:pt x="88" y="134"/>
                </a:lnTo>
                <a:lnTo>
                  <a:pt x="92" y="99"/>
                </a:lnTo>
                <a:lnTo>
                  <a:pt x="73" y="58"/>
                </a:lnTo>
                <a:lnTo>
                  <a:pt x="50" y="26"/>
                </a:lnTo>
                <a:lnTo>
                  <a:pt x="28" y="3"/>
                </a:lnTo>
                <a:lnTo>
                  <a:pt x="15" y="0"/>
                </a:lnTo>
                <a:close/>
              </a:path>
            </a:pathLst>
          </a:custGeom>
          <a:solidFill>
            <a:schemeClr val="accent1"/>
          </a:solidFill>
          <a:ln w="6350">
            <a:solidFill>
              <a:schemeClr val="tx2"/>
            </a:solidFill>
            <a:round/>
            <a:headEnd/>
            <a:tailEnd/>
          </a:ln>
        </p:spPr>
        <p:txBody>
          <a:bodyPr/>
          <a:lstStyle/>
          <a:p>
            <a:endParaRPr lang="en-US"/>
          </a:p>
        </p:txBody>
      </p:sp>
      <p:sp>
        <p:nvSpPr>
          <p:cNvPr id="541" name="Freeform 1815"/>
          <p:cNvSpPr>
            <a:spLocks/>
          </p:cNvSpPr>
          <p:nvPr/>
        </p:nvSpPr>
        <p:spPr bwMode="auto">
          <a:xfrm>
            <a:off x="7900343" y="4056678"/>
            <a:ext cx="2866" cy="6369"/>
          </a:xfrm>
          <a:custGeom>
            <a:avLst/>
            <a:gdLst>
              <a:gd name="T0" fmla="*/ 0 w 7"/>
              <a:gd name="T1" fmla="*/ 2147483647 h 15"/>
              <a:gd name="T2" fmla="*/ 2147483647 w 7"/>
              <a:gd name="T3" fmla="*/ 2147483647 h 15"/>
              <a:gd name="T4" fmla="*/ 2147483647 w 7"/>
              <a:gd name="T5" fmla="*/ 0 h 15"/>
              <a:gd name="T6" fmla="*/ 0 w 7"/>
              <a:gd name="T7" fmla="*/ 2147483647 h 15"/>
              <a:gd name="T8" fmla="*/ 0 60000 65536"/>
              <a:gd name="T9" fmla="*/ 0 60000 65536"/>
              <a:gd name="T10" fmla="*/ 0 60000 65536"/>
              <a:gd name="T11" fmla="*/ 0 60000 65536"/>
              <a:gd name="T12" fmla="*/ 0 w 7"/>
              <a:gd name="T13" fmla="*/ 0 h 15"/>
              <a:gd name="T14" fmla="*/ 7 w 7"/>
              <a:gd name="T15" fmla="*/ 15 h 15"/>
            </a:gdLst>
            <a:ahLst/>
            <a:cxnLst>
              <a:cxn ang="T8">
                <a:pos x="T0" y="T1"/>
              </a:cxn>
              <a:cxn ang="T9">
                <a:pos x="T2" y="T3"/>
              </a:cxn>
              <a:cxn ang="T10">
                <a:pos x="T4" y="T5"/>
              </a:cxn>
              <a:cxn ang="T11">
                <a:pos x="T6" y="T7"/>
              </a:cxn>
            </a:cxnLst>
            <a:rect l="T12" t="T13" r="T14" b="T15"/>
            <a:pathLst>
              <a:path w="7" h="15">
                <a:moveTo>
                  <a:pt x="0" y="5"/>
                </a:moveTo>
                <a:lnTo>
                  <a:pt x="7" y="15"/>
                </a:lnTo>
                <a:lnTo>
                  <a:pt x="4" y="0"/>
                </a:lnTo>
                <a:lnTo>
                  <a:pt x="0" y="5"/>
                </a:lnTo>
                <a:close/>
              </a:path>
            </a:pathLst>
          </a:custGeom>
          <a:solidFill>
            <a:schemeClr val="accent1"/>
          </a:solidFill>
          <a:ln w="6350">
            <a:solidFill>
              <a:schemeClr val="tx2"/>
            </a:solidFill>
            <a:round/>
            <a:headEnd/>
            <a:tailEnd/>
          </a:ln>
        </p:spPr>
        <p:txBody>
          <a:bodyPr/>
          <a:lstStyle/>
          <a:p>
            <a:endParaRPr lang="en-US"/>
          </a:p>
        </p:txBody>
      </p:sp>
      <p:sp>
        <p:nvSpPr>
          <p:cNvPr id="542" name="Freeform 1374"/>
          <p:cNvSpPr>
            <a:spLocks/>
          </p:cNvSpPr>
          <p:nvPr/>
        </p:nvSpPr>
        <p:spPr bwMode="auto">
          <a:xfrm>
            <a:off x="6481338" y="3658025"/>
            <a:ext cx="7166" cy="7642"/>
          </a:xfrm>
          <a:custGeom>
            <a:avLst/>
            <a:gdLst>
              <a:gd name="T0" fmla="*/ 2147483647 w 16"/>
              <a:gd name="T1" fmla="*/ 2147483647 h 20"/>
              <a:gd name="T2" fmla="*/ 2147483647 w 16"/>
              <a:gd name="T3" fmla="*/ 2147483647 h 20"/>
              <a:gd name="T4" fmla="*/ 2147483647 w 16"/>
              <a:gd name="T5" fmla="*/ 2147483647 h 20"/>
              <a:gd name="T6" fmla="*/ 2147483647 w 16"/>
              <a:gd name="T7" fmla="*/ 2147483647 h 20"/>
              <a:gd name="T8" fmla="*/ 2147483647 w 16"/>
              <a:gd name="T9" fmla="*/ 0 h 20"/>
              <a:gd name="T10" fmla="*/ 0 w 16"/>
              <a:gd name="T11" fmla="*/ 2147483647 h 20"/>
              <a:gd name="T12" fmla="*/ 2147483647 w 16"/>
              <a:gd name="T13" fmla="*/ 2147483647 h 20"/>
              <a:gd name="T14" fmla="*/ 0 60000 65536"/>
              <a:gd name="T15" fmla="*/ 0 60000 65536"/>
              <a:gd name="T16" fmla="*/ 0 60000 65536"/>
              <a:gd name="T17" fmla="*/ 0 60000 65536"/>
              <a:gd name="T18" fmla="*/ 0 60000 65536"/>
              <a:gd name="T19" fmla="*/ 0 60000 65536"/>
              <a:gd name="T20" fmla="*/ 0 60000 65536"/>
              <a:gd name="T21" fmla="*/ 0 w 16"/>
              <a:gd name="T22" fmla="*/ 0 h 20"/>
              <a:gd name="T23" fmla="*/ 16 w 16"/>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0">
                <a:moveTo>
                  <a:pt x="2" y="20"/>
                </a:moveTo>
                <a:lnTo>
                  <a:pt x="7" y="17"/>
                </a:lnTo>
                <a:lnTo>
                  <a:pt x="7" y="13"/>
                </a:lnTo>
                <a:lnTo>
                  <a:pt x="16" y="4"/>
                </a:lnTo>
                <a:lnTo>
                  <a:pt x="13" y="0"/>
                </a:lnTo>
                <a:lnTo>
                  <a:pt x="0" y="12"/>
                </a:lnTo>
                <a:lnTo>
                  <a:pt x="2" y="20"/>
                </a:lnTo>
                <a:close/>
              </a:path>
            </a:pathLst>
          </a:custGeom>
          <a:solidFill>
            <a:schemeClr val="accent1"/>
          </a:solidFill>
          <a:ln w="6350">
            <a:solidFill>
              <a:schemeClr val="tx2"/>
            </a:solidFill>
            <a:round/>
            <a:headEnd/>
            <a:tailEnd/>
          </a:ln>
        </p:spPr>
        <p:txBody>
          <a:bodyPr/>
          <a:lstStyle/>
          <a:p>
            <a:endParaRPr lang="en-US"/>
          </a:p>
        </p:txBody>
      </p:sp>
      <p:sp>
        <p:nvSpPr>
          <p:cNvPr id="543" name="Freeform 1375"/>
          <p:cNvSpPr>
            <a:spLocks/>
          </p:cNvSpPr>
          <p:nvPr/>
        </p:nvSpPr>
        <p:spPr bwMode="auto">
          <a:xfrm>
            <a:off x="6481338" y="3621088"/>
            <a:ext cx="30100" cy="82788"/>
          </a:xfrm>
          <a:custGeom>
            <a:avLst/>
            <a:gdLst>
              <a:gd name="T0" fmla="*/ 0 w 62"/>
              <a:gd name="T1" fmla="*/ 2147483647 h 197"/>
              <a:gd name="T2" fmla="*/ 2147483647 w 62"/>
              <a:gd name="T3" fmla="*/ 2147483647 h 197"/>
              <a:gd name="T4" fmla="*/ 2147483647 w 62"/>
              <a:gd name="T5" fmla="*/ 2147483647 h 197"/>
              <a:gd name="T6" fmla="*/ 2147483647 w 62"/>
              <a:gd name="T7" fmla="*/ 2147483647 h 197"/>
              <a:gd name="T8" fmla="*/ 2147483647 w 62"/>
              <a:gd name="T9" fmla="*/ 2147483647 h 197"/>
              <a:gd name="T10" fmla="*/ 2147483647 w 62"/>
              <a:gd name="T11" fmla="*/ 2147483647 h 197"/>
              <a:gd name="T12" fmla="*/ 2147483647 w 62"/>
              <a:gd name="T13" fmla="*/ 2147483647 h 197"/>
              <a:gd name="T14" fmla="*/ 2147483647 w 62"/>
              <a:gd name="T15" fmla="*/ 2147483647 h 197"/>
              <a:gd name="T16" fmla="*/ 2147483647 w 62"/>
              <a:gd name="T17" fmla="*/ 2147483647 h 197"/>
              <a:gd name="T18" fmla="*/ 2147483647 w 62"/>
              <a:gd name="T19" fmla="*/ 0 h 197"/>
              <a:gd name="T20" fmla="*/ 2147483647 w 62"/>
              <a:gd name="T21" fmla="*/ 2147483647 h 197"/>
              <a:gd name="T22" fmla="*/ 2147483647 w 62"/>
              <a:gd name="T23" fmla="*/ 2147483647 h 197"/>
              <a:gd name="T24" fmla="*/ 2147483647 w 62"/>
              <a:gd name="T25" fmla="*/ 2147483647 h 197"/>
              <a:gd name="T26" fmla="*/ 2147483647 w 62"/>
              <a:gd name="T27" fmla="*/ 2147483647 h 197"/>
              <a:gd name="T28" fmla="*/ 2147483647 w 62"/>
              <a:gd name="T29" fmla="*/ 2147483647 h 197"/>
              <a:gd name="T30" fmla="*/ 2147483647 w 62"/>
              <a:gd name="T31" fmla="*/ 2147483647 h 197"/>
              <a:gd name="T32" fmla="*/ 2147483647 w 62"/>
              <a:gd name="T33" fmla="*/ 2147483647 h 197"/>
              <a:gd name="T34" fmla="*/ 2147483647 w 62"/>
              <a:gd name="T35" fmla="*/ 2147483647 h 197"/>
              <a:gd name="T36" fmla="*/ 2147483647 w 62"/>
              <a:gd name="T37" fmla="*/ 2147483647 h 197"/>
              <a:gd name="T38" fmla="*/ 2147483647 w 62"/>
              <a:gd name="T39" fmla="*/ 2147483647 h 197"/>
              <a:gd name="T40" fmla="*/ 2147483647 w 62"/>
              <a:gd name="T41" fmla="*/ 2147483647 h 197"/>
              <a:gd name="T42" fmla="*/ 2147483647 w 62"/>
              <a:gd name="T43" fmla="*/ 2147483647 h 197"/>
              <a:gd name="T44" fmla="*/ 2147483647 w 62"/>
              <a:gd name="T45" fmla="*/ 2147483647 h 197"/>
              <a:gd name="T46" fmla="*/ 2147483647 w 62"/>
              <a:gd name="T47" fmla="*/ 2147483647 h 197"/>
              <a:gd name="T48" fmla="*/ 2147483647 w 62"/>
              <a:gd name="T49" fmla="*/ 2147483647 h 197"/>
              <a:gd name="T50" fmla="*/ 2147483647 w 62"/>
              <a:gd name="T51" fmla="*/ 2147483647 h 197"/>
              <a:gd name="T52" fmla="*/ 2147483647 w 62"/>
              <a:gd name="T53" fmla="*/ 2147483647 h 197"/>
              <a:gd name="T54" fmla="*/ 2147483647 w 62"/>
              <a:gd name="T55" fmla="*/ 2147483647 h 197"/>
              <a:gd name="T56" fmla="*/ 2147483647 w 62"/>
              <a:gd name="T57" fmla="*/ 2147483647 h 197"/>
              <a:gd name="T58" fmla="*/ 2147483647 w 62"/>
              <a:gd name="T59" fmla="*/ 2147483647 h 197"/>
              <a:gd name="T60" fmla="*/ 0 w 62"/>
              <a:gd name="T61" fmla="*/ 2147483647 h 19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2"/>
              <a:gd name="T94" fmla="*/ 0 h 197"/>
              <a:gd name="T95" fmla="*/ 62 w 62"/>
              <a:gd name="T96" fmla="*/ 197 h 19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2" h="197">
                <a:moveTo>
                  <a:pt x="0" y="108"/>
                </a:moveTo>
                <a:lnTo>
                  <a:pt x="5" y="105"/>
                </a:lnTo>
                <a:lnTo>
                  <a:pt x="5" y="101"/>
                </a:lnTo>
                <a:lnTo>
                  <a:pt x="14" y="92"/>
                </a:lnTo>
                <a:lnTo>
                  <a:pt x="11" y="88"/>
                </a:lnTo>
                <a:lnTo>
                  <a:pt x="17" y="80"/>
                </a:lnTo>
                <a:lnTo>
                  <a:pt x="21" y="68"/>
                </a:lnTo>
                <a:lnTo>
                  <a:pt x="38" y="9"/>
                </a:lnTo>
                <a:lnTo>
                  <a:pt x="58" y="11"/>
                </a:lnTo>
                <a:lnTo>
                  <a:pt x="59" y="0"/>
                </a:lnTo>
                <a:lnTo>
                  <a:pt x="62" y="2"/>
                </a:lnTo>
                <a:lnTo>
                  <a:pt x="59" y="30"/>
                </a:lnTo>
                <a:lnTo>
                  <a:pt x="59" y="45"/>
                </a:lnTo>
                <a:lnTo>
                  <a:pt x="52" y="38"/>
                </a:lnTo>
                <a:lnTo>
                  <a:pt x="42" y="38"/>
                </a:lnTo>
                <a:lnTo>
                  <a:pt x="33" y="53"/>
                </a:lnTo>
                <a:lnTo>
                  <a:pt x="34" y="73"/>
                </a:lnTo>
                <a:lnTo>
                  <a:pt x="45" y="75"/>
                </a:lnTo>
                <a:lnTo>
                  <a:pt x="36" y="79"/>
                </a:lnTo>
                <a:lnTo>
                  <a:pt x="30" y="97"/>
                </a:lnTo>
                <a:lnTo>
                  <a:pt x="33" y="100"/>
                </a:lnTo>
                <a:lnTo>
                  <a:pt x="50" y="91"/>
                </a:lnTo>
                <a:lnTo>
                  <a:pt x="55" y="93"/>
                </a:lnTo>
                <a:lnTo>
                  <a:pt x="54" y="112"/>
                </a:lnTo>
                <a:lnTo>
                  <a:pt x="42" y="139"/>
                </a:lnTo>
                <a:lnTo>
                  <a:pt x="34" y="195"/>
                </a:lnTo>
                <a:lnTo>
                  <a:pt x="31" y="197"/>
                </a:lnTo>
                <a:lnTo>
                  <a:pt x="22" y="174"/>
                </a:lnTo>
                <a:lnTo>
                  <a:pt x="15" y="149"/>
                </a:lnTo>
                <a:lnTo>
                  <a:pt x="6" y="124"/>
                </a:lnTo>
                <a:lnTo>
                  <a:pt x="0" y="108"/>
                </a:lnTo>
                <a:close/>
              </a:path>
            </a:pathLst>
          </a:custGeom>
          <a:solidFill>
            <a:schemeClr val="accent1"/>
          </a:solidFill>
          <a:ln w="6350">
            <a:solidFill>
              <a:schemeClr val="tx2"/>
            </a:solidFill>
            <a:round/>
            <a:headEnd/>
            <a:tailEnd/>
          </a:ln>
        </p:spPr>
        <p:txBody>
          <a:bodyPr/>
          <a:lstStyle/>
          <a:p>
            <a:endParaRPr lang="en-US"/>
          </a:p>
        </p:txBody>
      </p:sp>
      <p:sp>
        <p:nvSpPr>
          <p:cNvPr id="544" name="Freeform 1377"/>
          <p:cNvSpPr>
            <a:spLocks/>
          </p:cNvSpPr>
          <p:nvPr/>
        </p:nvSpPr>
        <p:spPr bwMode="auto">
          <a:xfrm>
            <a:off x="6287837" y="3655478"/>
            <a:ext cx="226468" cy="198690"/>
          </a:xfrm>
          <a:custGeom>
            <a:avLst/>
            <a:gdLst>
              <a:gd name="T0" fmla="*/ 2147483647 w 481"/>
              <a:gd name="T1" fmla="*/ 2147483647 h 474"/>
              <a:gd name="T2" fmla="*/ 2147483647 w 481"/>
              <a:gd name="T3" fmla="*/ 2147483647 h 474"/>
              <a:gd name="T4" fmla="*/ 2147483647 w 481"/>
              <a:gd name="T5" fmla="*/ 2147483647 h 474"/>
              <a:gd name="T6" fmla="*/ 2147483647 w 481"/>
              <a:gd name="T7" fmla="*/ 2147483647 h 474"/>
              <a:gd name="T8" fmla="*/ 2147483647 w 481"/>
              <a:gd name="T9" fmla="*/ 2147483647 h 474"/>
              <a:gd name="T10" fmla="*/ 2147483647 w 481"/>
              <a:gd name="T11" fmla="*/ 2147483647 h 474"/>
              <a:gd name="T12" fmla="*/ 2147483647 w 481"/>
              <a:gd name="T13" fmla="*/ 2147483647 h 474"/>
              <a:gd name="T14" fmla="*/ 2147483647 w 481"/>
              <a:gd name="T15" fmla="*/ 2147483647 h 474"/>
              <a:gd name="T16" fmla="*/ 2147483647 w 481"/>
              <a:gd name="T17" fmla="*/ 2147483647 h 474"/>
              <a:gd name="T18" fmla="*/ 2147483647 w 481"/>
              <a:gd name="T19" fmla="*/ 2147483647 h 474"/>
              <a:gd name="T20" fmla="*/ 2147483647 w 481"/>
              <a:gd name="T21" fmla="*/ 2147483647 h 474"/>
              <a:gd name="T22" fmla="*/ 2147483647 w 481"/>
              <a:gd name="T23" fmla="*/ 2147483647 h 474"/>
              <a:gd name="T24" fmla="*/ 2147483647 w 481"/>
              <a:gd name="T25" fmla="*/ 2147483647 h 474"/>
              <a:gd name="T26" fmla="*/ 2147483647 w 481"/>
              <a:gd name="T27" fmla="*/ 2147483647 h 474"/>
              <a:gd name="T28" fmla="*/ 2147483647 w 481"/>
              <a:gd name="T29" fmla="*/ 2147483647 h 474"/>
              <a:gd name="T30" fmla="*/ 2147483647 w 481"/>
              <a:gd name="T31" fmla="*/ 2147483647 h 474"/>
              <a:gd name="T32" fmla="*/ 2147483647 w 481"/>
              <a:gd name="T33" fmla="*/ 2147483647 h 474"/>
              <a:gd name="T34" fmla="*/ 2147483647 w 481"/>
              <a:gd name="T35" fmla="*/ 2147483647 h 474"/>
              <a:gd name="T36" fmla="*/ 2147483647 w 481"/>
              <a:gd name="T37" fmla="*/ 2147483647 h 474"/>
              <a:gd name="T38" fmla="*/ 2147483647 w 481"/>
              <a:gd name="T39" fmla="*/ 2147483647 h 474"/>
              <a:gd name="T40" fmla="*/ 2147483647 w 481"/>
              <a:gd name="T41" fmla="*/ 2147483647 h 474"/>
              <a:gd name="T42" fmla="*/ 2147483647 w 481"/>
              <a:gd name="T43" fmla="*/ 2147483647 h 474"/>
              <a:gd name="T44" fmla="*/ 2147483647 w 481"/>
              <a:gd name="T45" fmla="*/ 2147483647 h 474"/>
              <a:gd name="T46" fmla="*/ 2147483647 w 481"/>
              <a:gd name="T47" fmla="*/ 2147483647 h 474"/>
              <a:gd name="T48" fmla="*/ 2147483647 w 481"/>
              <a:gd name="T49" fmla="*/ 2147483647 h 474"/>
              <a:gd name="T50" fmla="*/ 2147483647 w 481"/>
              <a:gd name="T51" fmla="*/ 2147483647 h 474"/>
              <a:gd name="T52" fmla="*/ 2147483647 w 481"/>
              <a:gd name="T53" fmla="*/ 2147483647 h 474"/>
              <a:gd name="T54" fmla="*/ 2147483647 w 481"/>
              <a:gd name="T55" fmla="*/ 2147483647 h 474"/>
              <a:gd name="T56" fmla="*/ 2147483647 w 481"/>
              <a:gd name="T57" fmla="*/ 2147483647 h 474"/>
              <a:gd name="T58" fmla="*/ 2147483647 w 481"/>
              <a:gd name="T59" fmla="*/ 2147483647 h 474"/>
              <a:gd name="T60" fmla="*/ 2147483647 w 481"/>
              <a:gd name="T61" fmla="*/ 2147483647 h 474"/>
              <a:gd name="T62" fmla="*/ 2147483647 w 481"/>
              <a:gd name="T63" fmla="*/ 2147483647 h 474"/>
              <a:gd name="T64" fmla="*/ 2147483647 w 481"/>
              <a:gd name="T65" fmla="*/ 2147483647 h 474"/>
              <a:gd name="T66" fmla="*/ 2147483647 w 481"/>
              <a:gd name="T67" fmla="*/ 2147483647 h 474"/>
              <a:gd name="T68" fmla="*/ 2147483647 w 481"/>
              <a:gd name="T69" fmla="*/ 2147483647 h 474"/>
              <a:gd name="T70" fmla="*/ 2147483647 w 481"/>
              <a:gd name="T71" fmla="*/ 2147483647 h 474"/>
              <a:gd name="T72" fmla="*/ 2147483647 w 481"/>
              <a:gd name="T73" fmla="*/ 2147483647 h 474"/>
              <a:gd name="T74" fmla="*/ 2147483647 w 481"/>
              <a:gd name="T75" fmla="*/ 2147483647 h 474"/>
              <a:gd name="T76" fmla="*/ 2147483647 w 481"/>
              <a:gd name="T77" fmla="*/ 2147483647 h 474"/>
              <a:gd name="T78" fmla="*/ 2147483647 w 481"/>
              <a:gd name="T79" fmla="*/ 2147483647 h 4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81"/>
              <a:gd name="T121" fmla="*/ 0 h 474"/>
              <a:gd name="T122" fmla="*/ 481 w 481"/>
              <a:gd name="T123" fmla="*/ 474 h 47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81" h="474">
                <a:moveTo>
                  <a:pt x="412" y="25"/>
                </a:moveTo>
                <a:lnTo>
                  <a:pt x="410" y="17"/>
                </a:lnTo>
                <a:lnTo>
                  <a:pt x="386" y="30"/>
                </a:lnTo>
                <a:lnTo>
                  <a:pt x="368" y="32"/>
                </a:lnTo>
                <a:lnTo>
                  <a:pt x="364" y="27"/>
                </a:lnTo>
                <a:lnTo>
                  <a:pt x="342" y="31"/>
                </a:lnTo>
                <a:lnTo>
                  <a:pt x="335" y="23"/>
                </a:lnTo>
                <a:lnTo>
                  <a:pt x="327" y="20"/>
                </a:lnTo>
                <a:lnTo>
                  <a:pt x="327" y="21"/>
                </a:lnTo>
                <a:lnTo>
                  <a:pt x="315" y="4"/>
                </a:lnTo>
                <a:lnTo>
                  <a:pt x="305" y="10"/>
                </a:lnTo>
                <a:lnTo>
                  <a:pt x="284" y="9"/>
                </a:lnTo>
                <a:lnTo>
                  <a:pt x="278" y="6"/>
                </a:lnTo>
                <a:lnTo>
                  <a:pt x="255" y="17"/>
                </a:lnTo>
                <a:lnTo>
                  <a:pt x="263" y="8"/>
                </a:lnTo>
                <a:lnTo>
                  <a:pt x="245" y="11"/>
                </a:lnTo>
                <a:lnTo>
                  <a:pt x="188" y="41"/>
                </a:lnTo>
                <a:lnTo>
                  <a:pt x="98" y="10"/>
                </a:lnTo>
                <a:lnTo>
                  <a:pt x="54" y="2"/>
                </a:lnTo>
                <a:lnTo>
                  <a:pt x="28" y="6"/>
                </a:lnTo>
                <a:lnTo>
                  <a:pt x="21" y="0"/>
                </a:lnTo>
                <a:lnTo>
                  <a:pt x="15" y="1"/>
                </a:lnTo>
                <a:lnTo>
                  <a:pt x="7" y="16"/>
                </a:lnTo>
                <a:lnTo>
                  <a:pt x="11" y="66"/>
                </a:lnTo>
                <a:lnTo>
                  <a:pt x="0" y="79"/>
                </a:lnTo>
                <a:lnTo>
                  <a:pt x="2" y="95"/>
                </a:lnTo>
                <a:lnTo>
                  <a:pt x="9" y="106"/>
                </a:lnTo>
                <a:lnTo>
                  <a:pt x="7" y="116"/>
                </a:lnTo>
                <a:lnTo>
                  <a:pt x="20" y="129"/>
                </a:lnTo>
                <a:lnTo>
                  <a:pt x="20" y="172"/>
                </a:lnTo>
                <a:lnTo>
                  <a:pt x="20" y="214"/>
                </a:lnTo>
                <a:lnTo>
                  <a:pt x="20" y="257"/>
                </a:lnTo>
                <a:lnTo>
                  <a:pt x="20" y="299"/>
                </a:lnTo>
                <a:lnTo>
                  <a:pt x="20" y="340"/>
                </a:lnTo>
                <a:lnTo>
                  <a:pt x="20" y="382"/>
                </a:lnTo>
                <a:lnTo>
                  <a:pt x="21" y="422"/>
                </a:lnTo>
                <a:lnTo>
                  <a:pt x="21" y="463"/>
                </a:lnTo>
                <a:lnTo>
                  <a:pt x="54" y="463"/>
                </a:lnTo>
                <a:lnTo>
                  <a:pt x="87" y="463"/>
                </a:lnTo>
                <a:lnTo>
                  <a:pt x="121" y="463"/>
                </a:lnTo>
                <a:lnTo>
                  <a:pt x="154" y="463"/>
                </a:lnTo>
                <a:lnTo>
                  <a:pt x="188" y="463"/>
                </a:lnTo>
                <a:lnTo>
                  <a:pt x="220" y="463"/>
                </a:lnTo>
                <a:lnTo>
                  <a:pt x="254" y="463"/>
                </a:lnTo>
                <a:lnTo>
                  <a:pt x="287" y="463"/>
                </a:lnTo>
                <a:lnTo>
                  <a:pt x="294" y="454"/>
                </a:lnTo>
                <a:lnTo>
                  <a:pt x="300" y="455"/>
                </a:lnTo>
                <a:lnTo>
                  <a:pt x="296" y="463"/>
                </a:lnTo>
                <a:lnTo>
                  <a:pt x="333" y="464"/>
                </a:lnTo>
                <a:lnTo>
                  <a:pt x="372" y="464"/>
                </a:lnTo>
                <a:lnTo>
                  <a:pt x="386" y="474"/>
                </a:lnTo>
                <a:lnTo>
                  <a:pt x="408" y="473"/>
                </a:lnTo>
                <a:lnTo>
                  <a:pt x="413" y="454"/>
                </a:lnTo>
                <a:lnTo>
                  <a:pt x="437" y="448"/>
                </a:lnTo>
                <a:lnTo>
                  <a:pt x="447" y="424"/>
                </a:lnTo>
                <a:lnTo>
                  <a:pt x="458" y="427"/>
                </a:lnTo>
                <a:lnTo>
                  <a:pt x="474" y="412"/>
                </a:lnTo>
                <a:lnTo>
                  <a:pt x="468" y="376"/>
                </a:lnTo>
                <a:lnTo>
                  <a:pt x="481" y="374"/>
                </a:lnTo>
                <a:lnTo>
                  <a:pt x="456" y="348"/>
                </a:lnTo>
                <a:lnTo>
                  <a:pt x="407" y="254"/>
                </a:lnTo>
                <a:lnTo>
                  <a:pt x="397" y="220"/>
                </a:lnTo>
                <a:lnTo>
                  <a:pt x="385" y="201"/>
                </a:lnTo>
                <a:lnTo>
                  <a:pt x="384" y="183"/>
                </a:lnTo>
                <a:lnTo>
                  <a:pt x="361" y="161"/>
                </a:lnTo>
                <a:lnTo>
                  <a:pt x="349" y="138"/>
                </a:lnTo>
                <a:lnTo>
                  <a:pt x="346" y="118"/>
                </a:lnTo>
                <a:lnTo>
                  <a:pt x="336" y="103"/>
                </a:lnTo>
                <a:lnTo>
                  <a:pt x="343" y="83"/>
                </a:lnTo>
                <a:lnTo>
                  <a:pt x="351" y="107"/>
                </a:lnTo>
                <a:lnTo>
                  <a:pt x="372" y="138"/>
                </a:lnTo>
                <a:lnTo>
                  <a:pt x="375" y="153"/>
                </a:lnTo>
                <a:lnTo>
                  <a:pt x="408" y="190"/>
                </a:lnTo>
                <a:lnTo>
                  <a:pt x="424" y="184"/>
                </a:lnTo>
                <a:lnTo>
                  <a:pt x="425" y="167"/>
                </a:lnTo>
                <a:lnTo>
                  <a:pt x="443" y="114"/>
                </a:lnTo>
                <a:lnTo>
                  <a:pt x="434" y="91"/>
                </a:lnTo>
                <a:lnTo>
                  <a:pt x="427" y="66"/>
                </a:lnTo>
                <a:lnTo>
                  <a:pt x="418" y="41"/>
                </a:lnTo>
                <a:lnTo>
                  <a:pt x="412" y="25"/>
                </a:lnTo>
                <a:close/>
              </a:path>
            </a:pathLst>
          </a:custGeom>
          <a:solidFill>
            <a:schemeClr val="accent1"/>
          </a:solidFill>
          <a:ln w="6350">
            <a:solidFill>
              <a:schemeClr val="tx2"/>
            </a:solidFill>
            <a:round/>
            <a:headEnd/>
            <a:tailEnd/>
          </a:ln>
        </p:spPr>
        <p:txBody>
          <a:bodyPr/>
          <a:lstStyle/>
          <a:p>
            <a:endParaRPr lang="en-US"/>
          </a:p>
        </p:txBody>
      </p:sp>
      <p:sp>
        <p:nvSpPr>
          <p:cNvPr id="545" name="Freeform 1384"/>
          <p:cNvSpPr>
            <a:spLocks/>
          </p:cNvSpPr>
          <p:nvPr/>
        </p:nvSpPr>
        <p:spPr bwMode="auto">
          <a:xfrm>
            <a:off x="6039870" y="4157298"/>
            <a:ext cx="385569" cy="333697"/>
          </a:xfrm>
          <a:custGeom>
            <a:avLst/>
            <a:gdLst>
              <a:gd name="T0" fmla="*/ 2147483647 w 820"/>
              <a:gd name="T1" fmla="*/ 2147483647 h 798"/>
              <a:gd name="T2" fmla="*/ 2147483647 w 820"/>
              <a:gd name="T3" fmla="*/ 2147483647 h 798"/>
              <a:gd name="T4" fmla="*/ 2147483647 w 820"/>
              <a:gd name="T5" fmla="*/ 2147483647 h 798"/>
              <a:gd name="T6" fmla="*/ 2147483647 w 820"/>
              <a:gd name="T7" fmla="*/ 2147483647 h 798"/>
              <a:gd name="T8" fmla="*/ 2147483647 w 820"/>
              <a:gd name="T9" fmla="*/ 2147483647 h 798"/>
              <a:gd name="T10" fmla="*/ 2147483647 w 820"/>
              <a:gd name="T11" fmla="*/ 2147483647 h 798"/>
              <a:gd name="T12" fmla="*/ 2147483647 w 820"/>
              <a:gd name="T13" fmla="*/ 2147483647 h 798"/>
              <a:gd name="T14" fmla="*/ 2147483647 w 820"/>
              <a:gd name="T15" fmla="*/ 2147483647 h 798"/>
              <a:gd name="T16" fmla="*/ 2147483647 w 820"/>
              <a:gd name="T17" fmla="*/ 0 h 798"/>
              <a:gd name="T18" fmla="*/ 2147483647 w 820"/>
              <a:gd name="T19" fmla="*/ 2147483647 h 798"/>
              <a:gd name="T20" fmla="*/ 2147483647 w 820"/>
              <a:gd name="T21" fmla="*/ 2147483647 h 798"/>
              <a:gd name="T22" fmla="*/ 2147483647 w 820"/>
              <a:gd name="T23" fmla="*/ 2147483647 h 798"/>
              <a:gd name="T24" fmla="*/ 2147483647 w 820"/>
              <a:gd name="T25" fmla="*/ 2147483647 h 798"/>
              <a:gd name="T26" fmla="*/ 2147483647 w 820"/>
              <a:gd name="T27" fmla="*/ 2147483647 h 798"/>
              <a:gd name="T28" fmla="*/ 2147483647 w 820"/>
              <a:gd name="T29" fmla="*/ 2147483647 h 798"/>
              <a:gd name="T30" fmla="*/ 2147483647 w 820"/>
              <a:gd name="T31" fmla="*/ 2147483647 h 798"/>
              <a:gd name="T32" fmla="*/ 2147483647 w 820"/>
              <a:gd name="T33" fmla="*/ 2147483647 h 798"/>
              <a:gd name="T34" fmla="*/ 2147483647 w 820"/>
              <a:gd name="T35" fmla="*/ 2147483647 h 798"/>
              <a:gd name="T36" fmla="*/ 2147483647 w 820"/>
              <a:gd name="T37" fmla="*/ 2147483647 h 798"/>
              <a:gd name="T38" fmla="*/ 2147483647 w 820"/>
              <a:gd name="T39" fmla="*/ 2147483647 h 798"/>
              <a:gd name="T40" fmla="*/ 2147483647 w 820"/>
              <a:gd name="T41" fmla="*/ 2147483647 h 798"/>
              <a:gd name="T42" fmla="*/ 2147483647 w 820"/>
              <a:gd name="T43" fmla="*/ 2147483647 h 798"/>
              <a:gd name="T44" fmla="*/ 2147483647 w 820"/>
              <a:gd name="T45" fmla="*/ 2147483647 h 798"/>
              <a:gd name="T46" fmla="*/ 2147483647 w 820"/>
              <a:gd name="T47" fmla="*/ 2147483647 h 798"/>
              <a:gd name="T48" fmla="*/ 2147483647 w 820"/>
              <a:gd name="T49" fmla="*/ 2147483647 h 798"/>
              <a:gd name="T50" fmla="*/ 2147483647 w 820"/>
              <a:gd name="T51" fmla="*/ 2147483647 h 798"/>
              <a:gd name="T52" fmla="*/ 2147483647 w 820"/>
              <a:gd name="T53" fmla="*/ 2147483647 h 798"/>
              <a:gd name="T54" fmla="*/ 0 w 820"/>
              <a:gd name="T55" fmla="*/ 2147483647 h 798"/>
              <a:gd name="T56" fmla="*/ 2147483647 w 820"/>
              <a:gd name="T57" fmla="*/ 2147483647 h 798"/>
              <a:gd name="T58" fmla="*/ 2147483647 w 820"/>
              <a:gd name="T59" fmla="*/ 2147483647 h 798"/>
              <a:gd name="T60" fmla="*/ 2147483647 w 820"/>
              <a:gd name="T61" fmla="*/ 2147483647 h 798"/>
              <a:gd name="T62" fmla="*/ 2147483647 w 820"/>
              <a:gd name="T63" fmla="*/ 2147483647 h 798"/>
              <a:gd name="T64" fmla="*/ 2147483647 w 820"/>
              <a:gd name="T65" fmla="*/ 2147483647 h 798"/>
              <a:gd name="T66" fmla="*/ 2147483647 w 820"/>
              <a:gd name="T67" fmla="*/ 2147483647 h 798"/>
              <a:gd name="T68" fmla="*/ 2147483647 w 820"/>
              <a:gd name="T69" fmla="*/ 2147483647 h 798"/>
              <a:gd name="T70" fmla="*/ 2147483647 w 820"/>
              <a:gd name="T71" fmla="*/ 2147483647 h 798"/>
              <a:gd name="T72" fmla="*/ 2147483647 w 820"/>
              <a:gd name="T73" fmla="*/ 2147483647 h 798"/>
              <a:gd name="T74" fmla="*/ 2147483647 w 820"/>
              <a:gd name="T75" fmla="*/ 2147483647 h 798"/>
              <a:gd name="T76" fmla="*/ 2147483647 w 820"/>
              <a:gd name="T77" fmla="*/ 2147483647 h 798"/>
              <a:gd name="T78" fmla="*/ 2147483647 w 820"/>
              <a:gd name="T79" fmla="*/ 2147483647 h 798"/>
              <a:gd name="T80" fmla="*/ 2147483647 w 820"/>
              <a:gd name="T81" fmla="*/ 2147483647 h 798"/>
              <a:gd name="T82" fmla="*/ 2147483647 w 820"/>
              <a:gd name="T83" fmla="*/ 2147483647 h 798"/>
              <a:gd name="T84" fmla="*/ 2147483647 w 820"/>
              <a:gd name="T85" fmla="*/ 2147483647 h 798"/>
              <a:gd name="T86" fmla="*/ 2147483647 w 820"/>
              <a:gd name="T87" fmla="*/ 2147483647 h 798"/>
              <a:gd name="T88" fmla="*/ 2147483647 w 820"/>
              <a:gd name="T89" fmla="*/ 2147483647 h 798"/>
              <a:gd name="T90" fmla="*/ 2147483647 w 820"/>
              <a:gd name="T91" fmla="*/ 2147483647 h 798"/>
              <a:gd name="T92" fmla="*/ 2147483647 w 820"/>
              <a:gd name="T93" fmla="*/ 2147483647 h 798"/>
              <a:gd name="T94" fmla="*/ 2147483647 w 820"/>
              <a:gd name="T95" fmla="*/ 2147483647 h 798"/>
              <a:gd name="T96" fmla="*/ 2147483647 w 820"/>
              <a:gd name="T97" fmla="*/ 2147483647 h 798"/>
              <a:gd name="T98" fmla="*/ 2147483647 w 820"/>
              <a:gd name="T99" fmla="*/ 2147483647 h 798"/>
              <a:gd name="T100" fmla="*/ 2147483647 w 820"/>
              <a:gd name="T101" fmla="*/ 2147483647 h 798"/>
              <a:gd name="T102" fmla="*/ 2147483647 w 820"/>
              <a:gd name="T103" fmla="*/ 2147483647 h 798"/>
              <a:gd name="T104" fmla="*/ 2147483647 w 820"/>
              <a:gd name="T105" fmla="*/ 2147483647 h 798"/>
              <a:gd name="T106" fmla="*/ 2147483647 w 820"/>
              <a:gd name="T107" fmla="*/ 2147483647 h 798"/>
              <a:gd name="T108" fmla="*/ 2147483647 w 820"/>
              <a:gd name="T109" fmla="*/ 2147483647 h 798"/>
              <a:gd name="T110" fmla="*/ 2147483647 w 820"/>
              <a:gd name="T111" fmla="*/ 2147483647 h 798"/>
              <a:gd name="T112" fmla="*/ 2147483647 w 820"/>
              <a:gd name="T113" fmla="*/ 2147483647 h 798"/>
              <a:gd name="T114" fmla="*/ 2147483647 w 820"/>
              <a:gd name="T115" fmla="*/ 2147483647 h 798"/>
              <a:gd name="T116" fmla="*/ 2147483647 w 820"/>
              <a:gd name="T117" fmla="*/ 2147483647 h 798"/>
              <a:gd name="T118" fmla="*/ 2147483647 w 820"/>
              <a:gd name="T119" fmla="*/ 2147483647 h 798"/>
              <a:gd name="T120" fmla="*/ 2147483647 w 820"/>
              <a:gd name="T121" fmla="*/ 2147483647 h 798"/>
              <a:gd name="T122" fmla="*/ 2147483647 w 820"/>
              <a:gd name="T123" fmla="*/ 2147483647 h 798"/>
              <a:gd name="T124" fmla="*/ 2147483647 w 820"/>
              <a:gd name="T125" fmla="*/ 2147483647 h 7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20"/>
              <a:gd name="T190" fmla="*/ 0 h 798"/>
              <a:gd name="T191" fmla="*/ 820 w 820"/>
              <a:gd name="T192" fmla="*/ 798 h 7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20" h="798">
                <a:moveTo>
                  <a:pt x="786" y="173"/>
                </a:moveTo>
                <a:lnTo>
                  <a:pt x="786" y="161"/>
                </a:lnTo>
                <a:lnTo>
                  <a:pt x="820" y="131"/>
                </a:lnTo>
                <a:lnTo>
                  <a:pt x="805" y="121"/>
                </a:lnTo>
                <a:lnTo>
                  <a:pt x="799" y="111"/>
                </a:lnTo>
                <a:lnTo>
                  <a:pt x="803" y="70"/>
                </a:lnTo>
                <a:lnTo>
                  <a:pt x="799" y="70"/>
                </a:lnTo>
                <a:lnTo>
                  <a:pt x="748" y="28"/>
                </a:lnTo>
                <a:lnTo>
                  <a:pt x="738" y="36"/>
                </a:lnTo>
                <a:lnTo>
                  <a:pt x="709" y="32"/>
                </a:lnTo>
                <a:lnTo>
                  <a:pt x="699" y="41"/>
                </a:lnTo>
                <a:lnTo>
                  <a:pt x="680" y="34"/>
                </a:lnTo>
                <a:lnTo>
                  <a:pt x="658" y="4"/>
                </a:lnTo>
                <a:lnTo>
                  <a:pt x="636" y="4"/>
                </a:lnTo>
                <a:lnTo>
                  <a:pt x="630" y="13"/>
                </a:lnTo>
                <a:lnTo>
                  <a:pt x="619" y="7"/>
                </a:lnTo>
                <a:lnTo>
                  <a:pt x="615" y="13"/>
                </a:lnTo>
                <a:lnTo>
                  <a:pt x="604" y="0"/>
                </a:lnTo>
                <a:lnTo>
                  <a:pt x="574" y="7"/>
                </a:lnTo>
                <a:lnTo>
                  <a:pt x="558" y="3"/>
                </a:lnTo>
                <a:lnTo>
                  <a:pt x="556" y="13"/>
                </a:lnTo>
                <a:lnTo>
                  <a:pt x="540" y="15"/>
                </a:lnTo>
                <a:lnTo>
                  <a:pt x="530" y="8"/>
                </a:lnTo>
                <a:lnTo>
                  <a:pt x="478" y="26"/>
                </a:lnTo>
                <a:lnTo>
                  <a:pt x="457" y="19"/>
                </a:lnTo>
                <a:lnTo>
                  <a:pt x="446" y="26"/>
                </a:lnTo>
                <a:lnTo>
                  <a:pt x="445" y="39"/>
                </a:lnTo>
                <a:lnTo>
                  <a:pt x="439" y="41"/>
                </a:lnTo>
                <a:lnTo>
                  <a:pt x="399" y="41"/>
                </a:lnTo>
                <a:lnTo>
                  <a:pt x="369" y="29"/>
                </a:lnTo>
                <a:lnTo>
                  <a:pt x="363" y="35"/>
                </a:lnTo>
                <a:lnTo>
                  <a:pt x="357" y="34"/>
                </a:lnTo>
                <a:lnTo>
                  <a:pt x="333" y="6"/>
                </a:lnTo>
                <a:lnTo>
                  <a:pt x="311" y="4"/>
                </a:lnTo>
                <a:lnTo>
                  <a:pt x="284" y="33"/>
                </a:lnTo>
                <a:lnTo>
                  <a:pt x="282" y="65"/>
                </a:lnTo>
                <a:lnTo>
                  <a:pt x="273" y="67"/>
                </a:lnTo>
                <a:lnTo>
                  <a:pt x="270" y="96"/>
                </a:lnTo>
                <a:lnTo>
                  <a:pt x="247" y="143"/>
                </a:lnTo>
                <a:lnTo>
                  <a:pt x="233" y="253"/>
                </a:lnTo>
                <a:lnTo>
                  <a:pt x="193" y="287"/>
                </a:lnTo>
                <a:lnTo>
                  <a:pt x="175" y="315"/>
                </a:lnTo>
                <a:lnTo>
                  <a:pt x="168" y="331"/>
                </a:lnTo>
                <a:lnTo>
                  <a:pt x="166" y="364"/>
                </a:lnTo>
                <a:lnTo>
                  <a:pt x="153" y="392"/>
                </a:lnTo>
                <a:lnTo>
                  <a:pt x="113" y="427"/>
                </a:lnTo>
                <a:lnTo>
                  <a:pt x="96" y="433"/>
                </a:lnTo>
                <a:lnTo>
                  <a:pt x="87" y="431"/>
                </a:lnTo>
                <a:lnTo>
                  <a:pt x="84" y="412"/>
                </a:lnTo>
                <a:lnTo>
                  <a:pt x="64" y="416"/>
                </a:lnTo>
                <a:lnTo>
                  <a:pt x="53" y="432"/>
                </a:lnTo>
                <a:lnTo>
                  <a:pt x="43" y="434"/>
                </a:lnTo>
                <a:lnTo>
                  <a:pt x="29" y="427"/>
                </a:lnTo>
                <a:lnTo>
                  <a:pt x="13" y="440"/>
                </a:lnTo>
                <a:lnTo>
                  <a:pt x="7" y="473"/>
                </a:lnTo>
                <a:lnTo>
                  <a:pt x="0" y="476"/>
                </a:lnTo>
                <a:lnTo>
                  <a:pt x="1" y="494"/>
                </a:lnTo>
                <a:lnTo>
                  <a:pt x="41" y="476"/>
                </a:lnTo>
                <a:lnTo>
                  <a:pt x="74" y="476"/>
                </a:lnTo>
                <a:lnTo>
                  <a:pt x="105" y="475"/>
                </a:lnTo>
                <a:lnTo>
                  <a:pt x="138" y="475"/>
                </a:lnTo>
                <a:lnTo>
                  <a:pt x="169" y="474"/>
                </a:lnTo>
                <a:lnTo>
                  <a:pt x="185" y="487"/>
                </a:lnTo>
                <a:lnTo>
                  <a:pt x="199" y="539"/>
                </a:lnTo>
                <a:lnTo>
                  <a:pt x="225" y="570"/>
                </a:lnTo>
                <a:lnTo>
                  <a:pt x="235" y="574"/>
                </a:lnTo>
                <a:lnTo>
                  <a:pt x="273" y="567"/>
                </a:lnTo>
                <a:lnTo>
                  <a:pt x="302" y="568"/>
                </a:lnTo>
                <a:lnTo>
                  <a:pt x="312" y="525"/>
                </a:lnTo>
                <a:lnTo>
                  <a:pt x="366" y="521"/>
                </a:lnTo>
                <a:lnTo>
                  <a:pt x="363" y="538"/>
                </a:lnTo>
                <a:lnTo>
                  <a:pt x="403" y="538"/>
                </a:lnTo>
                <a:lnTo>
                  <a:pt x="408" y="547"/>
                </a:lnTo>
                <a:lnTo>
                  <a:pt x="413" y="608"/>
                </a:lnTo>
                <a:lnTo>
                  <a:pt x="410" y="631"/>
                </a:lnTo>
                <a:lnTo>
                  <a:pt x="422" y="679"/>
                </a:lnTo>
                <a:lnTo>
                  <a:pt x="417" y="703"/>
                </a:lnTo>
                <a:lnTo>
                  <a:pt x="431" y="712"/>
                </a:lnTo>
                <a:lnTo>
                  <a:pt x="441" y="698"/>
                </a:lnTo>
                <a:lnTo>
                  <a:pt x="467" y="697"/>
                </a:lnTo>
                <a:lnTo>
                  <a:pt x="498" y="696"/>
                </a:lnTo>
                <a:lnTo>
                  <a:pt x="506" y="691"/>
                </a:lnTo>
                <a:lnTo>
                  <a:pt x="518" y="689"/>
                </a:lnTo>
                <a:lnTo>
                  <a:pt x="527" y="712"/>
                </a:lnTo>
                <a:lnTo>
                  <a:pt x="555" y="702"/>
                </a:lnTo>
                <a:lnTo>
                  <a:pt x="567" y="721"/>
                </a:lnTo>
                <a:lnTo>
                  <a:pt x="600" y="736"/>
                </a:lnTo>
                <a:lnTo>
                  <a:pt x="638" y="730"/>
                </a:lnTo>
                <a:lnTo>
                  <a:pt x="653" y="745"/>
                </a:lnTo>
                <a:lnTo>
                  <a:pt x="681" y="753"/>
                </a:lnTo>
                <a:lnTo>
                  <a:pt x="694" y="773"/>
                </a:lnTo>
                <a:lnTo>
                  <a:pt x="715" y="790"/>
                </a:lnTo>
                <a:lnTo>
                  <a:pt x="730" y="793"/>
                </a:lnTo>
                <a:lnTo>
                  <a:pt x="740" y="791"/>
                </a:lnTo>
                <a:lnTo>
                  <a:pt x="751" y="798"/>
                </a:lnTo>
                <a:lnTo>
                  <a:pt x="749" y="751"/>
                </a:lnTo>
                <a:lnTo>
                  <a:pt x="719" y="752"/>
                </a:lnTo>
                <a:lnTo>
                  <a:pt x="701" y="732"/>
                </a:lnTo>
                <a:lnTo>
                  <a:pt x="716" y="673"/>
                </a:lnTo>
                <a:lnTo>
                  <a:pt x="717" y="654"/>
                </a:lnTo>
                <a:lnTo>
                  <a:pt x="714" y="624"/>
                </a:lnTo>
                <a:lnTo>
                  <a:pt x="714" y="613"/>
                </a:lnTo>
                <a:lnTo>
                  <a:pt x="721" y="606"/>
                </a:lnTo>
                <a:lnTo>
                  <a:pt x="723" y="595"/>
                </a:lnTo>
                <a:lnTo>
                  <a:pt x="728" y="590"/>
                </a:lnTo>
                <a:lnTo>
                  <a:pt x="786" y="577"/>
                </a:lnTo>
                <a:lnTo>
                  <a:pt x="781" y="549"/>
                </a:lnTo>
                <a:lnTo>
                  <a:pt x="752" y="527"/>
                </a:lnTo>
                <a:lnTo>
                  <a:pt x="737" y="501"/>
                </a:lnTo>
                <a:lnTo>
                  <a:pt x="736" y="469"/>
                </a:lnTo>
                <a:lnTo>
                  <a:pt x="732" y="457"/>
                </a:lnTo>
                <a:lnTo>
                  <a:pt x="727" y="445"/>
                </a:lnTo>
                <a:lnTo>
                  <a:pt x="732" y="413"/>
                </a:lnTo>
                <a:lnTo>
                  <a:pt x="730" y="405"/>
                </a:lnTo>
                <a:lnTo>
                  <a:pt x="727" y="407"/>
                </a:lnTo>
                <a:lnTo>
                  <a:pt x="727" y="394"/>
                </a:lnTo>
                <a:lnTo>
                  <a:pt x="735" y="368"/>
                </a:lnTo>
                <a:lnTo>
                  <a:pt x="733" y="349"/>
                </a:lnTo>
                <a:lnTo>
                  <a:pt x="727" y="340"/>
                </a:lnTo>
                <a:lnTo>
                  <a:pt x="722" y="326"/>
                </a:lnTo>
                <a:lnTo>
                  <a:pt x="733" y="308"/>
                </a:lnTo>
                <a:lnTo>
                  <a:pt x="751" y="280"/>
                </a:lnTo>
                <a:lnTo>
                  <a:pt x="753" y="242"/>
                </a:lnTo>
                <a:lnTo>
                  <a:pt x="755" y="231"/>
                </a:lnTo>
                <a:lnTo>
                  <a:pt x="761" y="206"/>
                </a:lnTo>
                <a:lnTo>
                  <a:pt x="786" y="173"/>
                </a:lnTo>
                <a:close/>
              </a:path>
            </a:pathLst>
          </a:custGeom>
          <a:solidFill>
            <a:schemeClr val="accent1"/>
          </a:solidFill>
          <a:ln w="6350">
            <a:solidFill>
              <a:schemeClr val="tx2"/>
            </a:solidFill>
            <a:round/>
            <a:headEnd/>
            <a:tailEnd/>
          </a:ln>
        </p:spPr>
        <p:txBody>
          <a:bodyPr/>
          <a:lstStyle/>
          <a:p>
            <a:endParaRPr lang="en-US"/>
          </a:p>
        </p:txBody>
      </p:sp>
      <p:sp>
        <p:nvSpPr>
          <p:cNvPr id="546" name="Freeform 1385"/>
          <p:cNvSpPr>
            <a:spLocks/>
          </p:cNvSpPr>
          <p:nvPr/>
        </p:nvSpPr>
        <p:spPr bwMode="auto">
          <a:xfrm>
            <a:off x="6123003" y="4652749"/>
            <a:ext cx="332534" cy="258552"/>
          </a:xfrm>
          <a:custGeom>
            <a:avLst/>
            <a:gdLst>
              <a:gd name="T0" fmla="*/ 2147483647 w 705"/>
              <a:gd name="T1" fmla="*/ 2147483647 h 620"/>
              <a:gd name="T2" fmla="*/ 2147483647 w 705"/>
              <a:gd name="T3" fmla="*/ 2147483647 h 620"/>
              <a:gd name="T4" fmla="*/ 2147483647 w 705"/>
              <a:gd name="T5" fmla="*/ 2147483647 h 620"/>
              <a:gd name="T6" fmla="*/ 0 w 705"/>
              <a:gd name="T7" fmla="*/ 2147483647 h 620"/>
              <a:gd name="T8" fmla="*/ 2147483647 w 705"/>
              <a:gd name="T9" fmla="*/ 2147483647 h 620"/>
              <a:gd name="T10" fmla="*/ 2147483647 w 705"/>
              <a:gd name="T11" fmla="*/ 2147483647 h 620"/>
              <a:gd name="T12" fmla="*/ 2147483647 w 705"/>
              <a:gd name="T13" fmla="*/ 2147483647 h 620"/>
              <a:gd name="T14" fmla="*/ 2147483647 w 705"/>
              <a:gd name="T15" fmla="*/ 2147483647 h 620"/>
              <a:gd name="T16" fmla="*/ 2147483647 w 705"/>
              <a:gd name="T17" fmla="*/ 2147483647 h 620"/>
              <a:gd name="T18" fmla="*/ 2147483647 w 705"/>
              <a:gd name="T19" fmla="*/ 2147483647 h 620"/>
              <a:gd name="T20" fmla="*/ 2147483647 w 705"/>
              <a:gd name="T21" fmla="*/ 2147483647 h 620"/>
              <a:gd name="T22" fmla="*/ 2147483647 w 705"/>
              <a:gd name="T23" fmla="*/ 2147483647 h 620"/>
              <a:gd name="T24" fmla="*/ 2147483647 w 705"/>
              <a:gd name="T25" fmla="*/ 2147483647 h 620"/>
              <a:gd name="T26" fmla="*/ 2147483647 w 705"/>
              <a:gd name="T27" fmla="*/ 2147483647 h 620"/>
              <a:gd name="T28" fmla="*/ 2147483647 w 705"/>
              <a:gd name="T29" fmla="*/ 2147483647 h 620"/>
              <a:gd name="T30" fmla="*/ 2147483647 w 705"/>
              <a:gd name="T31" fmla="*/ 2147483647 h 620"/>
              <a:gd name="T32" fmla="*/ 2147483647 w 705"/>
              <a:gd name="T33" fmla="*/ 2147483647 h 620"/>
              <a:gd name="T34" fmla="*/ 2147483647 w 705"/>
              <a:gd name="T35" fmla="*/ 2147483647 h 620"/>
              <a:gd name="T36" fmla="*/ 2147483647 w 705"/>
              <a:gd name="T37" fmla="*/ 2147483647 h 620"/>
              <a:gd name="T38" fmla="*/ 2147483647 w 705"/>
              <a:gd name="T39" fmla="*/ 2147483647 h 620"/>
              <a:gd name="T40" fmla="*/ 2147483647 w 705"/>
              <a:gd name="T41" fmla="*/ 2147483647 h 620"/>
              <a:gd name="T42" fmla="*/ 2147483647 w 705"/>
              <a:gd name="T43" fmla="*/ 2147483647 h 620"/>
              <a:gd name="T44" fmla="*/ 2147483647 w 705"/>
              <a:gd name="T45" fmla="*/ 2147483647 h 620"/>
              <a:gd name="T46" fmla="*/ 2147483647 w 705"/>
              <a:gd name="T47" fmla="*/ 2147483647 h 620"/>
              <a:gd name="T48" fmla="*/ 2147483647 w 705"/>
              <a:gd name="T49" fmla="*/ 2147483647 h 620"/>
              <a:gd name="T50" fmla="*/ 2147483647 w 705"/>
              <a:gd name="T51" fmla="*/ 2147483647 h 620"/>
              <a:gd name="T52" fmla="*/ 2147483647 w 705"/>
              <a:gd name="T53" fmla="*/ 0 h 620"/>
              <a:gd name="T54" fmla="*/ 2147483647 w 705"/>
              <a:gd name="T55" fmla="*/ 2147483647 h 620"/>
              <a:gd name="T56" fmla="*/ 2147483647 w 705"/>
              <a:gd name="T57" fmla="*/ 2147483647 h 620"/>
              <a:gd name="T58" fmla="*/ 2147483647 w 705"/>
              <a:gd name="T59" fmla="*/ 2147483647 h 620"/>
              <a:gd name="T60" fmla="*/ 2147483647 w 705"/>
              <a:gd name="T61" fmla="*/ 2147483647 h 620"/>
              <a:gd name="T62" fmla="*/ 2147483647 w 705"/>
              <a:gd name="T63" fmla="*/ 2147483647 h 620"/>
              <a:gd name="T64" fmla="*/ 2147483647 w 705"/>
              <a:gd name="T65" fmla="*/ 2147483647 h 620"/>
              <a:gd name="T66" fmla="*/ 2147483647 w 705"/>
              <a:gd name="T67" fmla="*/ 2147483647 h 620"/>
              <a:gd name="T68" fmla="*/ 2147483647 w 705"/>
              <a:gd name="T69" fmla="*/ 2147483647 h 620"/>
              <a:gd name="T70" fmla="*/ 2147483647 w 705"/>
              <a:gd name="T71" fmla="*/ 2147483647 h 620"/>
              <a:gd name="T72" fmla="*/ 2147483647 w 705"/>
              <a:gd name="T73" fmla="*/ 2147483647 h 6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05"/>
              <a:gd name="T112" fmla="*/ 0 h 620"/>
              <a:gd name="T113" fmla="*/ 705 w 705"/>
              <a:gd name="T114" fmla="*/ 620 h 62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05" h="620">
                <a:moveTo>
                  <a:pt x="109" y="331"/>
                </a:moveTo>
                <a:lnTo>
                  <a:pt x="53" y="331"/>
                </a:lnTo>
                <a:lnTo>
                  <a:pt x="45" y="321"/>
                </a:lnTo>
                <a:lnTo>
                  <a:pt x="45" y="312"/>
                </a:lnTo>
                <a:lnTo>
                  <a:pt x="25" y="298"/>
                </a:lnTo>
                <a:lnTo>
                  <a:pt x="16" y="298"/>
                </a:lnTo>
                <a:lnTo>
                  <a:pt x="7" y="313"/>
                </a:lnTo>
                <a:lnTo>
                  <a:pt x="0" y="315"/>
                </a:lnTo>
                <a:lnTo>
                  <a:pt x="40" y="414"/>
                </a:lnTo>
                <a:lnTo>
                  <a:pt x="76" y="477"/>
                </a:lnTo>
                <a:lnTo>
                  <a:pt x="78" y="509"/>
                </a:lnTo>
                <a:lnTo>
                  <a:pt x="70" y="522"/>
                </a:lnTo>
                <a:lnTo>
                  <a:pt x="61" y="518"/>
                </a:lnTo>
                <a:lnTo>
                  <a:pt x="59" y="532"/>
                </a:lnTo>
                <a:lnTo>
                  <a:pt x="66" y="536"/>
                </a:lnTo>
                <a:lnTo>
                  <a:pt x="65" y="542"/>
                </a:lnTo>
                <a:lnTo>
                  <a:pt x="83" y="570"/>
                </a:lnTo>
                <a:lnTo>
                  <a:pt x="80" y="588"/>
                </a:lnTo>
                <a:lnTo>
                  <a:pt x="85" y="604"/>
                </a:lnTo>
                <a:lnTo>
                  <a:pt x="87" y="589"/>
                </a:lnTo>
                <a:lnTo>
                  <a:pt x="100" y="589"/>
                </a:lnTo>
                <a:lnTo>
                  <a:pt x="99" y="603"/>
                </a:lnTo>
                <a:lnTo>
                  <a:pt x="117" y="604"/>
                </a:lnTo>
                <a:lnTo>
                  <a:pt x="120" y="613"/>
                </a:lnTo>
                <a:lnTo>
                  <a:pt x="130" y="618"/>
                </a:lnTo>
                <a:lnTo>
                  <a:pt x="152" y="620"/>
                </a:lnTo>
                <a:lnTo>
                  <a:pt x="167" y="609"/>
                </a:lnTo>
                <a:lnTo>
                  <a:pt x="231" y="603"/>
                </a:lnTo>
                <a:lnTo>
                  <a:pt x="232" y="597"/>
                </a:lnTo>
                <a:lnTo>
                  <a:pt x="247" y="587"/>
                </a:lnTo>
                <a:lnTo>
                  <a:pt x="261" y="585"/>
                </a:lnTo>
                <a:lnTo>
                  <a:pt x="286" y="591"/>
                </a:lnTo>
                <a:lnTo>
                  <a:pt x="309" y="584"/>
                </a:lnTo>
                <a:lnTo>
                  <a:pt x="360" y="594"/>
                </a:lnTo>
                <a:lnTo>
                  <a:pt x="366" y="584"/>
                </a:lnTo>
                <a:lnTo>
                  <a:pt x="398" y="588"/>
                </a:lnTo>
                <a:lnTo>
                  <a:pt x="396" y="576"/>
                </a:lnTo>
                <a:lnTo>
                  <a:pt x="402" y="572"/>
                </a:lnTo>
                <a:lnTo>
                  <a:pt x="442" y="570"/>
                </a:lnTo>
                <a:lnTo>
                  <a:pt x="460" y="560"/>
                </a:lnTo>
                <a:lnTo>
                  <a:pt x="521" y="512"/>
                </a:lnTo>
                <a:lnTo>
                  <a:pt x="560" y="463"/>
                </a:lnTo>
                <a:lnTo>
                  <a:pt x="586" y="440"/>
                </a:lnTo>
                <a:lnTo>
                  <a:pt x="643" y="343"/>
                </a:lnTo>
                <a:lnTo>
                  <a:pt x="686" y="305"/>
                </a:lnTo>
                <a:lnTo>
                  <a:pt x="705" y="221"/>
                </a:lnTo>
                <a:lnTo>
                  <a:pt x="671" y="221"/>
                </a:lnTo>
                <a:lnTo>
                  <a:pt x="669" y="176"/>
                </a:lnTo>
                <a:lnTo>
                  <a:pt x="665" y="104"/>
                </a:lnTo>
                <a:lnTo>
                  <a:pt x="650" y="28"/>
                </a:lnTo>
                <a:lnTo>
                  <a:pt x="632" y="14"/>
                </a:lnTo>
                <a:lnTo>
                  <a:pt x="617" y="9"/>
                </a:lnTo>
                <a:lnTo>
                  <a:pt x="588" y="9"/>
                </a:lnTo>
                <a:lnTo>
                  <a:pt x="562" y="0"/>
                </a:lnTo>
                <a:lnTo>
                  <a:pt x="553" y="3"/>
                </a:lnTo>
                <a:lnTo>
                  <a:pt x="503" y="32"/>
                </a:lnTo>
                <a:lnTo>
                  <a:pt x="475" y="55"/>
                </a:lnTo>
                <a:lnTo>
                  <a:pt x="453" y="83"/>
                </a:lnTo>
                <a:lnTo>
                  <a:pt x="437" y="102"/>
                </a:lnTo>
                <a:lnTo>
                  <a:pt x="404" y="131"/>
                </a:lnTo>
                <a:lnTo>
                  <a:pt x="389" y="163"/>
                </a:lnTo>
                <a:lnTo>
                  <a:pt x="355" y="172"/>
                </a:lnTo>
                <a:lnTo>
                  <a:pt x="315" y="157"/>
                </a:lnTo>
                <a:lnTo>
                  <a:pt x="295" y="159"/>
                </a:lnTo>
                <a:lnTo>
                  <a:pt x="245" y="218"/>
                </a:lnTo>
                <a:lnTo>
                  <a:pt x="218" y="225"/>
                </a:lnTo>
                <a:lnTo>
                  <a:pt x="182" y="220"/>
                </a:lnTo>
                <a:lnTo>
                  <a:pt x="179" y="212"/>
                </a:lnTo>
                <a:lnTo>
                  <a:pt x="188" y="186"/>
                </a:lnTo>
                <a:lnTo>
                  <a:pt x="185" y="168"/>
                </a:lnTo>
                <a:lnTo>
                  <a:pt x="146" y="126"/>
                </a:lnTo>
                <a:lnTo>
                  <a:pt x="146" y="177"/>
                </a:lnTo>
                <a:lnTo>
                  <a:pt x="146" y="231"/>
                </a:lnTo>
                <a:lnTo>
                  <a:pt x="146" y="307"/>
                </a:lnTo>
                <a:lnTo>
                  <a:pt x="109" y="331"/>
                </a:lnTo>
                <a:close/>
              </a:path>
            </a:pathLst>
          </a:custGeom>
          <a:solidFill>
            <a:schemeClr val="accent1"/>
          </a:solidFill>
          <a:ln w="6350">
            <a:solidFill>
              <a:schemeClr val="tx2"/>
            </a:solidFill>
            <a:round/>
            <a:headEnd/>
            <a:tailEnd/>
          </a:ln>
        </p:spPr>
        <p:txBody>
          <a:bodyPr/>
          <a:lstStyle/>
          <a:p>
            <a:endParaRPr lang="en-US"/>
          </a:p>
        </p:txBody>
      </p:sp>
      <p:sp>
        <p:nvSpPr>
          <p:cNvPr id="547" name="Freeform 1386"/>
          <p:cNvSpPr>
            <a:spLocks/>
          </p:cNvSpPr>
          <p:nvPr/>
        </p:nvSpPr>
        <p:spPr bwMode="auto">
          <a:xfrm>
            <a:off x="6237670" y="4398018"/>
            <a:ext cx="235068" cy="178312"/>
          </a:xfrm>
          <a:custGeom>
            <a:avLst/>
            <a:gdLst>
              <a:gd name="T0" fmla="*/ 2147483647 w 502"/>
              <a:gd name="T1" fmla="*/ 2147483647 h 433"/>
              <a:gd name="T2" fmla="*/ 2147483647 w 502"/>
              <a:gd name="T3" fmla="*/ 2147483647 h 433"/>
              <a:gd name="T4" fmla="*/ 2147483647 w 502"/>
              <a:gd name="T5" fmla="*/ 2147483647 h 433"/>
              <a:gd name="T6" fmla="*/ 2147483647 w 502"/>
              <a:gd name="T7" fmla="*/ 2147483647 h 433"/>
              <a:gd name="T8" fmla="*/ 2147483647 w 502"/>
              <a:gd name="T9" fmla="*/ 2147483647 h 433"/>
              <a:gd name="T10" fmla="*/ 2147483647 w 502"/>
              <a:gd name="T11" fmla="*/ 2147483647 h 433"/>
              <a:gd name="T12" fmla="*/ 2147483647 w 502"/>
              <a:gd name="T13" fmla="*/ 2147483647 h 433"/>
              <a:gd name="T14" fmla="*/ 2147483647 w 502"/>
              <a:gd name="T15" fmla="*/ 2147483647 h 433"/>
              <a:gd name="T16" fmla="*/ 2147483647 w 502"/>
              <a:gd name="T17" fmla="*/ 2147483647 h 433"/>
              <a:gd name="T18" fmla="*/ 2147483647 w 502"/>
              <a:gd name="T19" fmla="*/ 2147483647 h 433"/>
              <a:gd name="T20" fmla="*/ 2147483647 w 502"/>
              <a:gd name="T21" fmla="*/ 2147483647 h 433"/>
              <a:gd name="T22" fmla="*/ 2147483647 w 502"/>
              <a:gd name="T23" fmla="*/ 2147483647 h 433"/>
              <a:gd name="T24" fmla="*/ 2147483647 w 502"/>
              <a:gd name="T25" fmla="*/ 2147483647 h 433"/>
              <a:gd name="T26" fmla="*/ 2147483647 w 502"/>
              <a:gd name="T27" fmla="*/ 2147483647 h 433"/>
              <a:gd name="T28" fmla="*/ 2147483647 w 502"/>
              <a:gd name="T29" fmla="*/ 2147483647 h 433"/>
              <a:gd name="T30" fmla="*/ 2147483647 w 502"/>
              <a:gd name="T31" fmla="*/ 2147483647 h 433"/>
              <a:gd name="T32" fmla="*/ 2147483647 w 502"/>
              <a:gd name="T33" fmla="*/ 0 h 433"/>
              <a:gd name="T34" fmla="*/ 2147483647 w 502"/>
              <a:gd name="T35" fmla="*/ 2147483647 h 433"/>
              <a:gd name="T36" fmla="*/ 2147483647 w 502"/>
              <a:gd name="T37" fmla="*/ 2147483647 h 433"/>
              <a:gd name="T38" fmla="*/ 2147483647 w 502"/>
              <a:gd name="T39" fmla="*/ 2147483647 h 433"/>
              <a:gd name="T40" fmla="*/ 2147483647 w 502"/>
              <a:gd name="T41" fmla="*/ 2147483647 h 433"/>
              <a:gd name="T42" fmla="*/ 2147483647 w 502"/>
              <a:gd name="T43" fmla="*/ 2147483647 h 433"/>
              <a:gd name="T44" fmla="*/ 2147483647 w 502"/>
              <a:gd name="T45" fmla="*/ 2147483647 h 433"/>
              <a:gd name="T46" fmla="*/ 2147483647 w 502"/>
              <a:gd name="T47" fmla="*/ 2147483647 h 433"/>
              <a:gd name="T48" fmla="*/ 2147483647 w 502"/>
              <a:gd name="T49" fmla="*/ 2147483647 h 433"/>
              <a:gd name="T50" fmla="*/ 2147483647 w 502"/>
              <a:gd name="T51" fmla="*/ 2147483647 h 433"/>
              <a:gd name="T52" fmla="*/ 2147483647 w 502"/>
              <a:gd name="T53" fmla="*/ 2147483647 h 433"/>
              <a:gd name="T54" fmla="*/ 2147483647 w 502"/>
              <a:gd name="T55" fmla="*/ 2147483647 h 433"/>
              <a:gd name="T56" fmla="*/ 2147483647 w 502"/>
              <a:gd name="T57" fmla="*/ 2147483647 h 433"/>
              <a:gd name="T58" fmla="*/ 2147483647 w 502"/>
              <a:gd name="T59" fmla="*/ 2147483647 h 433"/>
              <a:gd name="T60" fmla="*/ 2147483647 w 502"/>
              <a:gd name="T61" fmla="*/ 2147483647 h 433"/>
              <a:gd name="T62" fmla="*/ 0 w 502"/>
              <a:gd name="T63" fmla="*/ 2147483647 h 433"/>
              <a:gd name="T64" fmla="*/ 0 w 502"/>
              <a:gd name="T65" fmla="*/ 2147483647 h 433"/>
              <a:gd name="T66" fmla="*/ 2147483647 w 502"/>
              <a:gd name="T67" fmla="*/ 2147483647 h 433"/>
              <a:gd name="T68" fmla="*/ 2147483647 w 502"/>
              <a:gd name="T69" fmla="*/ 2147483647 h 433"/>
              <a:gd name="T70" fmla="*/ 2147483647 w 502"/>
              <a:gd name="T71" fmla="*/ 2147483647 h 433"/>
              <a:gd name="T72" fmla="*/ 2147483647 w 502"/>
              <a:gd name="T73" fmla="*/ 2147483647 h 433"/>
              <a:gd name="T74" fmla="*/ 2147483647 w 502"/>
              <a:gd name="T75" fmla="*/ 2147483647 h 43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433"/>
              <a:gd name="T116" fmla="*/ 502 w 502"/>
              <a:gd name="T117" fmla="*/ 433 h 43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433">
                <a:moveTo>
                  <a:pt x="213" y="425"/>
                </a:moveTo>
                <a:lnTo>
                  <a:pt x="243" y="380"/>
                </a:lnTo>
                <a:lnTo>
                  <a:pt x="254" y="378"/>
                </a:lnTo>
                <a:lnTo>
                  <a:pt x="268" y="366"/>
                </a:lnTo>
                <a:lnTo>
                  <a:pt x="285" y="366"/>
                </a:lnTo>
                <a:lnTo>
                  <a:pt x="286" y="359"/>
                </a:lnTo>
                <a:lnTo>
                  <a:pt x="288" y="340"/>
                </a:lnTo>
                <a:lnTo>
                  <a:pt x="329" y="322"/>
                </a:lnTo>
                <a:lnTo>
                  <a:pt x="343" y="326"/>
                </a:lnTo>
                <a:lnTo>
                  <a:pt x="355" y="323"/>
                </a:lnTo>
                <a:lnTo>
                  <a:pt x="344" y="299"/>
                </a:lnTo>
                <a:lnTo>
                  <a:pt x="377" y="288"/>
                </a:lnTo>
                <a:lnTo>
                  <a:pt x="411" y="277"/>
                </a:lnTo>
                <a:lnTo>
                  <a:pt x="448" y="264"/>
                </a:lnTo>
                <a:lnTo>
                  <a:pt x="480" y="253"/>
                </a:lnTo>
                <a:lnTo>
                  <a:pt x="471" y="251"/>
                </a:lnTo>
                <a:lnTo>
                  <a:pt x="462" y="238"/>
                </a:lnTo>
                <a:lnTo>
                  <a:pt x="473" y="218"/>
                </a:lnTo>
                <a:lnTo>
                  <a:pt x="476" y="195"/>
                </a:lnTo>
                <a:lnTo>
                  <a:pt x="494" y="186"/>
                </a:lnTo>
                <a:lnTo>
                  <a:pt x="486" y="174"/>
                </a:lnTo>
                <a:lnTo>
                  <a:pt x="486" y="145"/>
                </a:lnTo>
                <a:lnTo>
                  <a:pt x="491" y="117"/>
                </a:lnTo>
                <a:lnTo>
                  <a:pt x="502" y="107"/>
                </a:lnTo>
                <a:lnTo>
                  <a:pt x="487" y="70"/>
                </a:lnTo>
                <a:lnTo>
                  <a:pt x="482" y="64"/>
                </a:lnTo>
                <a:lnTo>
                  <a:pt x="475" y="64"/>
                </a:lnTo>
                <a:lnTo>
                  <a:pt x="473" y="52"/>
                </a:lnTo>
                <a:lnTo>
                  <a:pt x="422" y="33"/>
                </a:lnTo>
                <a:lnTo>
                  <a:pt x="405" y="17"/>
                </a:lnTo>
                <a:lnTo>
                  <a:pt x="393" y="16"/>
                </a:lnTo>
                <a:lnTo>
                  <a:pt x="387" y="26"/>
                </a:lnTo>
                <a:lnTo>
                  <a:pt x="370" y="16"/>
                </a:lnTo>
                <a:lnTo>
                  <a:pt x="367" y="0"/>
                </a:lnTo>
                <a:lnTo>
                  <a:pt x="309" y="13"/>
                </a:lnTo>
                <a:lnTo>
                  <a:pt x="304" y="18"/>
                </a:lnTo>
                <a:lnTo>
                  <a:pt x="302" y="29"/>
                </a:lnTo>
                <a:lnTo>
                  <a:pt x="295" y="36"/>
                </a:lnTo>
                <a:lnTo>
                  <a:pt x="295" y="47"/>
                </a:lnTo>
                <a:lnTo>
                  <a:pt x="298" y="77"/>
                </a:lnTo>
                <a:lnTo>
                  <a:pt x="297" y="96"/>
                </a:lnTo>
                <a:lnTo>
                  <a:pt x="282" y="155"/>
                </a:lnTo>
                <a:lnTo>
                  <a:pt x="300" y="175"/>
                </a:lnTo>
                <a:lnTo>
                  <a:pt x="330" y="174"/>
                </a:lnTo>
                <a:lnTo>
                  <a:pt x="332" y="221"/>
                </a:lnTo>
                <a:lnTo>
                  <a:pt x="321" y="214"/>
                </a:lnTo>
                <a:lnTo>
                  <a:pt x="311" y="216"/>
                </a:lnTo>
                <a:lnTo>
                  <a:pt x="296" y="213"/>
                </a:lnTo>
                <a:lnTo>
                  <a:pt x="275" y="196"/>
                </a:lnTo>
                <a:lnTo>
                  <a:pt x="262" y="176"/>
                </a:lnTo>
                <a:lnTo>
                  <a:pt x="234" y="168"/>
                </a:lnTo>
                <a:lnTo>
                  <a:pt x="219" y="153"/>
                </a:lnTo>
                <a:lnTo>
                  <a:pt x="181" y="159"/>
                </a:lnTo>
                <a:lnTo>
                  <a:pt x="148" y="144"/>
                </a:lnTo>
                <a:lnTo>
                  <a:pt x="136" y="125"/>
                </a:lnTo>
                <a:lnTo>
                  <a:pt x="108" y="135"/>
                </a:lnTo>
                <a:lnTo>
                  <a:pt x="99" y="112"/>
                </a:lnTo>
                <a:lnTo>
                  <a:pt x="87" y="114"/>
                </a:lnTo>
                <a:lnTo>
                  <a:pt x="90" y="120"/>
                </a:lnTo>
                <a:lnTo>
                  <a:pt x="83" y="200"/>
                </a:lnTo>
                <a:lnTo>
                  <a:pt x="94" y="208"/>
                </a:lnTo>
                <a:lnTo>
                  <a:pt x="61" y="208"/>
                </a:lnTo>
                <a:lnTo>
                  <a:pt x="31" y="208"/>
                </a:lnTo>
                <a:lnTo>
                  <a:pt x="0" y="208"/>
                </a:lnTo>
                <a:lnTo>
                  <a:pt x="0" y="239"/>
                </a:lnTo>
                <a:lnTo>
                  <a:pt x="0" y="273"/>
                </a:lnTo>
                <a:lnTo>
                  <a:pt x="1" y="316"/>
                </a:lnTo>
                <a:lnTo>
                  <a:pt x="1" y="367"/>
                </a:lnTo>
                <a:lnTo>
                  <a:pt x="51" y="413"/>
                </a:lnTo>
                <a:lnTo>
                  <a:pt x="91" y="403"/>
                </a:lnTo>
                <a:lnTo>
                  <a:pt x="120" y="408"/>
                </a:lnTo>
                <a:lnTo>
                  <a:pt x="135" y="423"/>
                </a:lnTo>
                <a:lnTo>
                  <a:pt x="166" y="429"/>
                </a:lnTo>
                <a:lnTo>
                  <a:pt x="189" y="426"/>
                </a:lnTo>
                <a:lnTo>
                  <a:pt x="197" y="433"/>
                </a:lnTo>
                <a:lnTo>
                  <a:pt x="208" y="430"/>
                </a:lnTo>
                <a:lnTo>
                  <a:pt x="213" y="425"/>
                </a:lnTo>
                <a:close/>
              </a:path>
            </a:pathLst>
          </a:custGeom>
          <a:solidFill>
            <a:schemeClr val="accent1"/>
          </a:solidFill>
          <a:ln w="6350">
            <a:solidFill>
              <a:schemeClr val="tx2"/>
            </a:solidFill>
            <a:round/>
            <a:headEnd/>
            <a:tailEnd/>
          </a:ln>
        </p:spPr>
        <p:txBody>
          <a:bodyPr/>
          <a:lstStyle/>
          <a:p>
            <a:endParaRPr lang="en-US"/>
          </a:p>
        </p:txBody>
      </p:sp>
      <p:sp>
        <p:nvSpPr>
          <p:cNvPr id="548" name="Freeform 1393"/>
          <p:cNvSpPr>
            <a:spLocks/>
          </p:cNvSpPr>
          <p:nvPr/>
        </p:nvSpPr>
        <p:spPr bwMode="auto">
          <a:xfrm>
            <a:off x="6653339" y="3906387"/>
            <a:ext cx="209268" cy="118450"/>
          </a:xfrm>
          <a:custGeom>
            <a:avLst/>
            <a:gdLst>
              <a:gd name="T0" fmla="*/ 2147483647 w 448"/>
              <a:gd name="T1" fmla="*/ 0 h 283"/>
              <a:gd name="T2" fmla="*/ 2147483647 w 448"/>
              <a:gd name="T3" fmla="*/ 2147483647 h 283"/>
              <a:gd name="T4" fmla="*/ 2147483647 w 448"/>
              <a:gd name="T5" fmla="*/ 2147483647 h 283"/>
              <a:gd name="T6" fmla="*/ 2147483647 w 448"/>
              <a:gd name="T7" fmla="*/ 2147483647 h 283"/>
              <a:gd name="T8" fmla="*/ 2147483647 w 448"/>
              <a:gd name="T9" fmla="*/ 2147483647 h 283"/>
              <a:gd name="T10" fmla="*/ 2147483647 w 448"/>
              <a:gd name="T11" fmla="*/ 2147483647 h 283"/>
              <a:gd name="T12" fmla="*/ 2147483647 w 448"/>
              <a:gd name="T13" fmla="*/ 2147483647 h 283"/>
              <a:gd name="T14" fmla="*/ 2147483647 w 448"/>
              <a:gd name="T15" fmla="*/ 2147483647 h 283"/>
              <a:gd name="T16" fmla="*/ 2147483647 w 448"/>
              <a:gd name="T17" fmla="*/ 2147483647 h 283"/>
              <a:gd name="T18" fmla="*/ 2147483647 w 448"/>
              <a:gd name="T19" fmla="*/ 2147483647 h 283"/>
              <a:gd name="T20" fmla="*/ 2147483647 w 448"/>
              <a:gd name="T21" fmla="*/ 2147483647 h 283"/>
              <a:gd name="T22" fmla="*/ 2147483647 w 448"/>
              <a:gd name="T23" fmla="*/ 2147483647 h 283"/>
              <a:gd name="T24" fmla="*/ 2147483647 w 448"/>
              <a:gd name="T25" fmla="*/ 2147483647 h 283"/>
              <a:gd name="T26" fmla="*/ 2147483647 w 448"/>
              <a:gd name="T27" fmla="*/ 2147483647 h 283"/>
              <a:gd name="T28" fmla="*/ 2147483647 w 448"/>
              <a:gd name="T29" fmla="*/ 2147483647 h 283"/>
              <a:gd name="T30" fmla="*/ 2147483647 w 448"/>
              <a:gd name="T31" fmla="*/ 2147483647 h 283"/>
              <a:gd name="T32" fmla="*/ 2147483647 w 448"/>
              <a:gd name="T33" fmla="*/ 2147483647 h 283"/>
              <a:gd name="T34" fmla="*/ 2147483647 w 448"/>
              <a:gd name="T35" fmla="*/ 2147483647 h 283"/>
              <a:gd name="T36" fmla="*/ 2147483647 w 448"/>
              <a:gd name="T37" fmla="*/ 2147483647 h 283"/>
              <a:gd name="T38" fmla="*/ 0 w 448"/>
              <a:gd name="T39" fmla="*/ 2147483647 h 283"/>
              <a:gd name="T40" fmla="*/ 2147483647 w 448"/>
              <a:gd name="T41" fmla="*/ 2147483647 h 283"/>
              <a:gd name="T42" fmla="*/ 2147483647 w 448"/>
              <a:gd name="T43" fmla="*/ 2147483647 h 283"/>
              <a:gd name="T44" fmla="*/ 2147483647 w 448"/>
              <a:gd name="T45" fmla="*/ 2147483647 h 283"/>
              <a:gd name="T46" fmla="*/ 2147483647 w 448"/>
              <a:gd name="T47" fmla="*/ 2147483647 h 283"/>
              <a:gd name="T48" fmla="*/ 2147483647 w 448"/>
              <a:gd name="T49" fmla="*/ 2147483647 h 283"/>
              <a:gd name="T50" fmla="*/ 2147483647 w 448"/>
              <a:gd name="T51" fmla="*/ 2147483647 h 283"/>
              <a:gd name="T52" fmla="*/ 2147483647 w 448"/>
              <a:gd name="T53" fmla="*/ 2147483647 h 283"/>
              <a:gd name="T54" fmla="*/ 2147483647 w 448"/>
              <a:gd name="T55" fmla="*/ 2147483647 h 283"/>
              <a:gd name="T56" fmla="*/ 2147483647 w 448"/>
              <a:gd name="T57" fmla="*/ 2147483647 h 283"/>
              <a:gd name="T58" fmla="*/ 2147483647 w 448"/>
              <a:gd name="T59" fmla="*/ 2147483647 h 283"/>
              <a:gd name="T60" fmla="*/ 2147483647 w 448"/>
              <a:gd name="T61" fmla="*/ 2147483647 h 283"/>
              <a:gd name="T62" fmla="*/ 2147483647 w 448"/>
              <a:gd name="T63" fmla="*/ 2147483647 h 283"/>
              <a:gd name="T64" fmla="*/ 2147483647 w 448"/>
              <a:gd name="T65" fmla="*/ 2147483647 h 283"/>
              <a:gd name="T66" fmla="*/ 2147483647 w 448"/>
              <a:gd name="T67" fmla="*/ 2147483647 h 283"/>
              <a:gd name="T68" fmla="*/ 2147483647 w 448"/>
              <a:gd name="T69" fmla="*/ 2147483647 h 283"/>
              <a:gd name="T70" fmla="*/ 2147483647 w 448"/>
              <a:gd name="T71" fmla="*/ 2147483647 h 283"/>
              <a:gd name="T72" fmla="*/ 2147483647 w 448"/>
              <a:gd name="T73" fmla="*/ 2147483647 h 283"/>
              <a:gd name="T74" fmla="*/ 2147483647 w 448"/>
              <a:gd name="T75" fmla="*/ 2147483647 h 283"/>
              <a:gd name="T76" fmla="*/ 2147483647 w 448"/>
              <a:gd name="T77" fmla="*/ 2147483647 h 283"/>
              <a:gd name="T78" fmla="*/ 2147483647 w 448"/>
              <a:gd name="T79" fmla="*/ 2147483647 h 283"/>
              <a:gd name="T80" fmla="*/ 2147483647 w 448"/>
              <a:gd name="T81" fmla="*/ 2147483647 h 283"/>
              <a:gd name="T82" fmla="*/ 2147483647 w 448"/>
              <a:gd name="T83" fmla="*/ 2147483647 h 283"/>
              <a:gd name="T84" fmla="*/ 2147483647 w 448"/>
              <a:gd name="T85" fmla="*/ 2147483647 h 283"/>
              <a:gd name="T86" fmla="*/ 2147483647 w 448"/>
              <a:gd name="T87" fmla="*/ 0 h 2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8"/>
              <a:gd name="T133" fmla="*/ 0 h 283"/>
              <a:gd name="T134" fmla="*/ 448 w 448"/>
              <a:gd name="T135" fmla="*/ 283 h 2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8" h="283">
                <a:moveTo>
                  <a:pt x="404" y="0"/>
                </a:moveTo>
                <a:lnTo>
                  <a:pt x="370" y="8"/>
                </a:lnTo>
                <a:lnTo>
                  <a:pt x="335" y="16"/>
                </a:lnTo>
                <a:lnTo>
                  <a:pt x="301" y="24"/>
                </a:lnTo>
                <a:lnTo>
                  <a:pt x="266" y="32"/>
                </a:lnTo>
                <a:lnTo>
                  <a:pt x="240" y="62"/>
                </a:lnTo>
                <a:lnTo>
                  <a:pt x="212" y="92"/>
                </a:lnTo>
                <a:lnTo>
                  <a:pt x="186" y="123"/>
                </a:lnTo>
                <a:lnTo>
                  <a:pt x="157" y="152"/>
                </a:lnTo>
                <a:lnTo>
                  <a:pt x="157" y="104"/>
                </a:lnTo>
                <a:lnTo>
                  <a:pt x="118" y="90"/>
                </a:lnTo>
                <a:lnTo>
                  <a:pt x="79" y="76"/>
                </a:lnTo>
                <a:lnTo>
                  <a:pt x="35" y="87"/>
                </a:lnTo>
                <a:lnTo>
                  <a:pt x="16" y="102"/>
                </a:lnTo>
                <a:lnTo>
                  <a:pt x="11" y="113"/>
                </a:lnTo>
                <a:lnTo>
                  <a:pt x="3" y="117"/>
                </a:lnTo>
                <a:lnTo>
                  <a:pt x="6" y="139"/>
                </a:lnTo>
                <a:lnTo>
                  <a:pt x="1" y="147"/>
                </a:lnTo>
                <a:lnTo>
                  <a:pt x="4" y="164"/>
                </a:lnTo>
                <a:lnTo>
                  <a:pt x="0" y="166"/>
                </a:lnTo>
                <a:lnTo>
                  <a:pt x="9" y="177"/>
                </a:lnTo>
                <a:lnTo>
                  <a:pt x="18" y="221"/>
                </a:lnTo>
                <a:lnTo>
                  <a:pt x="24" y="231"/>
                </a:lnTo>
                <a:lnTo>
                  <a:pt x="26" y="260"/>
                </a:lnTo>
                <a:lnTo>
                  <a:pt x="38" y="280"/>
                </a:lnTo>
                <a:lnTo>
                  <a:pt x="55" y="283"/>
                </a:lnTo>
                <a:lnTo>
                  <a:pt x="97" y="278"/>
                </a:lnTo>
                <a:lnTo>
                  <a:pt x="122" y="266"/>
                </a:lnTo>
                <a:lnTo>
                  <a:pt x="136" y="251"/>
                </a:lnTo>
                <a:lnTo>
                  <a:pt x="180" y="251"/>
                </a:lnTo>
                <a:lnTo>
                  <a:pt x="199" y="244"/>
                </a:lnTo>
                <a:lnTo>
                  <a:pt x="224" y="227"/>
                </a:lnTo>
                <a:lnTo>
                  <a:pt x="255" y="226"/>
                </a:lnTo>
                <a:lnTo>
                  <a:pt x="263" y="221"/>
                </a:lnTo>
                <a:lnTo>
                  <a:pt x="278" y="201"/>
                </a:lnTo>
                <a:lnTo>
                  <a:pt x="300" y="191"/>
                </a:lnTo>
                <a:lnTo>
                  <a:pt x="374" y="170"/>
                </a:lnTo>
                <a:lnTo>
                  <a:pt x="390" y="159"/>
                </a:lnTo>
                <a:lnTo>
                  <a:pt x="413" y="153"/>
                </a:lnTo>
                <a:lnTo>
                  <a:pt x="413" y="139"/>
                </a:lnTo>
                <a:lnTo>
                  <a:pt x="418" y="127"/>
                </a:lnTo>
                <a:lnTo>
                  <a:pt x="448" y="107"/>
                </a:lnTo>
                <a:lnTo>
                  <a:pt x="426" y="54"/>
                </a:lnTo>
                <a:lnTo>
                  <a:pt x="404" y="0"/>
                </a:lnTo>
                <a:close/>
              </a:path>
            </a:pathLst>
          </a:custGeom>
          <a:solidFill>
            <a:schemeClr val="accent1"/>
          </a:solidFill>
          <a:ln w="6350">
            <a:solidFill>
              <a:schemeClr val="tx2"/>
            </a:solidFill>
            <a:round/>
            <a:headEnd/>
            <a:tailEnd/>
          </a:ln>
        </p:spPr>
        <p:txBody>
          <a:bodyPr/>
          <a:lstStyle/>
          <a:p>
            <a:endParaRPr lang="en-US"/>
          </a:p>
        </p:txBody>
      </p:sp>
      <p:sp>
        <p:nvSpPr>
          <p:cNvPr id="549" name="Freeform 1394"/>
          <p:cNvSpPr>
            <a:spLocks/>
          </p:cNvSpPr>
          <p:nvPr/>
        </p:nvSpPr>
        <p:spPr bwMode="auto">
          <a:xfrm>
            <a:off x="6398203" y="4437502"/>
            <a:ext cx="217867" cy="306950"/>
          </a:xfrm>
          <a:custGeom>
            <a:avLst/>
            <a:gdLst>
              <a:gd name="T0" fmla="*/ 2147483647 w 460"/>
              <a:gd name="T1" fmla="*/ 2147483647 h 740"/>
              <a:gd name="T2" fmla="*/ 2147483647 w 460"/>
              <a:gd name="T3" fmla="*/ 2147483647 h 740"/>
              <a:gd name="T4" fmla="*/ 2147483647 w 460"/>
              <a:gd name="T5" fmla="*/ 2147483647 h 740"/>
              <a:gd name="T6" fmla="*/ 2147483647 w 460"/>
              <a:gd name="T7" fmla="*/ 2147483647 h 740"/>
              <a:gd name="T8" fmla="*/ 2147483647 w 460"/>
              <a:gd name="T9" fmla="*/ 2147483647 h 740"/>
              <a:gd name="T10" fmla="*/ 2147483647 w 460"/>
              <a:gd name="T11" fmla="*/ 2147483647 h 740"/>
              <a:gd name="T12" fmla="*/ 2147483647 w 460"/>
              <a:gd name="T13" fmla="*/ 2147483647 h 740"/>
              <a:gd name="T14" fmla="*/ 2147483647 w 460"/>
              <a:gd name="T15" fmla="*/ 2147483647 h 740"/>
              <a:gd name="T16" fmla="*/ 2147483647 w 460"/>
              <a:gd name="T17" fmla="*/ 2147483647 h 740"/>
              <a:gd name="T18" fmla="*/ 2147483647 w 460"/>
              <a:gd name="T19" fmla="*/ 2147483647 h 740"/>
              <a:gd name="T20" fmla="*/ 2147483647 w 460"/>
              <a:gd name="T21" fmla="*/ 2147483647 h 740"/>
              <a:gd name="T22" fmla="*/ 2147483647 w 460"/>
              <a:gd name="T23" fmla="*/ 2147483647 h 740"/>
              <a:gd name="T24" fmla="*/ 2147483647 w 460"/>
              <a:gd name="T25" fmla="*/ 2147483647 h 740"/>
              <a:gd name="T26" fmla="*/ 2147483647 w 460"/>
              <a:gd name="T27" fmla="*/ 2147483647 h 740"/>
              <a:gd name="T28" fmla="*/ 2147483647 w 460"/>
              <a:gd name="T29" fmla="*/ 2147483647 h 740"/>
              <a:gd name="T30" fmla="*/ 2147483647 w 460"/>
              <a:gd name="T31" fmla="*/ 2147483647 h 740"/>
              <a:gd name="T32" fmla="*/ 2147483647 w 460"/>
              <a:gd name="T33" fmla="*/ 2147483647 h 740"/>
              <a:gd name="T34" fmla="*/ 2147483647 w 460"/>
              <a:gd name="T35" fmla="*/ 2147483647 h 740"/>
              <a:gd name="T36" fmla="*/ 2147483647 w 460"/>
              <a:gd name="T37" fmla="*/ 2147483647 h 740"/>
              <a:gd name="T38" fmla="*/ 2147483647 w 460"/>
              <a:gd name="T39" fmla="*/ 2147483647 h 740"/>
              <a:gd name="T40" fmla="*/ 2147483647 w 460"/>
              <a:gd name="T41" fmla="*/ 2147483647 h 740"/>
              <a:gd name="T42" fmla="*/ 2147483647 w 460"/>
              <a:gd name="T43" fmla="*/ 2147483647 h 740"/>
              <a:gd name="T44" fmla="*/ 2147483647 w 460"/>
              <a:gd name="T45" fmla="*/ 2147483647 h 740"/>
              <a:gd name="T46" fmla="*/ 2147483647 w 460"/>
              <a:gd name="T47" fmla="*/ 2147483647 h 740"/>
              <a:gd name="T48" fmla="*/ 2147483647 w 460"/>
              <a:gd name="T49" fmla="*/ 2147483647 h 740"/>
              <a:gd name="T50" fmla="*/ 2147483647 w 460"/>
              <a:gd name="T51" fmla="*/ 2147483647 h 740"/>
              <a:gd name="T52" fmla="*/ 2147483647 w 460"/>
              <a:gd name="T53" fmla="*/ 2147483647 h 740"/>
              <a:gd name="T54" fmla="*/ 2147483647 w 460"/>
              <a:gd name="T55" fmla="*/ 2147483647 h 740"/>
              <a:gd name="T56" fmla="*/ 2147483647 w 460"/>
              <a:gd name="T57" fmla="*/ 2147483647 h 740"/>
              <a:gd name="T58" fmla="*/ 2147483647 w 460"/>
              <a:gd name="T59" fmla="*/ 2147483647 h 740"/>
              <a:gd name="T60" fmla="*/ 2147483647 w 460"/>
              <a:gd name="T61" fmla="*/ 2147483647 h 740"/>
              <a:gd name="T62" fmla="*/ 2147483647 w 460"/>
              <a:gd name="T63" fmla="*/ 2147483647 h 740"/>
              <a:gd name="T64" fmla="*/ 2147483647 w 460"/>
              <a:gd name="T65" fmla="*/ 2147483647 h 740"/>
              <a:gd name="T66" fmla="*/ 2147483647 w 460"/>
              <a:gd name="T67" fmla="*/ 2147483647 h 740"/>
              <a:gd name="T68" fmla="*/ 2147483647 w 460"/>
              <a:gd name="T69" fmla="*/ 2147483647 h 740"/>
              <a:gd name="T70" fmla="*/ 2147483647 w 460"/>
              <a:gd name="T71" fmla="*/ 2147483647 h 740"/>
              <a:gd name="T72" fmla="*/ 2147483647 w 460"/>
              <a:gd name="T73" fmla="*/ 2147483647 h 740"/>
              <a:gd name="T74" fmla="*/ 2147483647 w 460"/>
              <a:gd name="T75" fmla="*/ 2147483647 h 740"/>
              <a:gd name="T76" fmla="*/ 2147483647 w 460"/>
              <a:gd name="T77" fmla="*/ 2147483647 h 740"/>
              <a:gd name="T78" fmla="*/ 2147483647 w 460"/>
              <a:gd name="T79" fmla="*/ 2147483647 h 740"/>
              <a:gd name="T80" fmla="*/ 2147483647 w 460"/>
              <a:gd name="T81" fmla="*/ 2147483647 h 740"/>
              <a:gd name="T82" fmla="*/ 0 w 460"/>
              <a:gd name="T83" fmla="*/ 2147483647 h 740"/>
              <a:gd name="T84" fmla="*/ 2147483647 w 460"/>
              <a:gd name="T85" fmla="*/ 2147483647 h 740"/>
              <a:gd name="T86" fmla="*/ 2147483647 w 460"/>
              <a:gd name="T87" fmla="*/ 2147483647 h 740"/>
              <a:gd name="T88" fmla="*/ 2147483647 w 460"/>
              <a:gd name="T89" fmla="*/ 2147483647 h 740"/>
              <a:gd name="T90" fmla="*/ 2147483647 w 460"/>
              <a:gd name="T91" fmla="*/ 2147483647 h 740"/>
              <a:gd name="T92" fmla="*/ 2147483647 w 460"/>
              <a:gd name="T93" fmla="*/ 2147483647 h 740"/>
              <a:gd name="T94" fmla="*/ 2147483647 w 460"/>
              <a:gd name="T95" fmla="*/ 2147483647 h 740"/>
              <a:gd name="T96" fmla="*/ 2147483647 w 460"/>
              <a:gd name="T97" fmla="*/ 2147483647 h 740"/>
              <a:gd name="T98" fmla="*/ 2147483647 w 460"/>
              <a:gd name="T99" fmla="*/ 2147483647 h 740"/>
              <a:gd name="T100" fmla="*/ 2147483647 w 460"/>
              <a:gd name="T101" fmla="*/ 2147483647 h 740"/>
              <a:gd name="T102" fmla="*/ 2147483647 w 460"/>
              <a:gd name="T103" fmla="*/ 2147483647 h 740"/>
              <a:gd name="T104" fmla="*/ 2147483647 w 460"/>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0"/>
              <a:gd name="T160" fmla="*/ 0 h 740"/>
              <a:gd name="T161" fmla="*/ 460 w 460"/>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0" h="740">
                <a:moveTo>
                  <a:pt x="210" y="137"/>
                </a:moveTo>
                <a:lnTo>
                  <a:pt x="203" y="89"/>
                </a:lnTo>
                <a:lnTo>
                  <a:pt x="215" y="51"/>
                </a:lnTo>
                <a:lnTo>
                  <a:pt x="246" y="52"/>
                </a:lnTo>
                <a:lnTo>
                  <a:pt x="261" y="47"/>
                </a:lnTo>
                <a:lnTo>
                  <a:pt x="278" y="57"/>
                </a:lnTo>
                <a:lnTo>
                  <a:pt x="299" y="51"/>
                </a:lnTo>
                <a:lnTo>
                  <a:pt x="330" y="51"/>
                </a:lnTo>
                <a:lnTo>
                  <a:pt x="343" y="40"/>
                </a:lnTo>
                <a:lnTo>
                  <a:pt x="361" y="37"/>
                </a:lnTo>
                <a:lnTo>
                  <a:pt x="371" y="42"/>
                </a:lnTo>
                <a:lnTo>
                  <a:pt x="386" y="41"/>
                </a:lnTo>
                <a:lnTo>
                  <a:pt x="430" y="24"/>
                </a:lnTo>
                <a:lnTo>
                  <a:pt x="451" y="8"/>
                </a:lnTo>
                <a:lnTo>
                  <a:pt x="452" y="0"/>
                </a:lnTo>
                <a:lnTo>
                  <a:pt x="454" y="8"/>
                </a:lnTo>
                <a:lnTo>
                  <a:pt x="460" y="11"/>
                </a:lnTo>
                <a:lnTo>
                  <a:pt x="460" y="26"/>
                </a:lnTo>
                <a:lnTo>
                  <a:pt x="445" y="61"/>
                </a:lnTo>
                <a:lnTo>
                  <a:pt x="449" y="106"/>
                </a:lnTo>
                <a:lnTo>
                  <a:pt x="443" y="110"/>
                </a:lnTo>
                <a:lnTo>
                  <a:pt x="448" y="118"/>
                </a:lnTo>
                <a:lnTo>
                  <a:pt x="448" y="166"/>
                </a:lnTo>
                <a:lnTo>
                  <a:pt x="454" y="166"/>
                </a:lnTo>
                <a:lnTo>
                  <a:pt x="457" y="172"/>
                </a:lnTo>
                <a:lnTo>
                  <a:pt x="452" y="178"/>
                </a:lnTo>
                <a:lnTo>
                  <a:pt x="459" y="181"/>
                </a:lnTo>
                <a:lnTo>
                  <a:pt x="459" y="188"/>
                </a:lnTo>
                <a:lnTo>
                  <a:pt x="446" y="211"/>
                </a:lnTo>
                <a:lnTo>
                  <a:pt x="452" y="213"/>
                </a:lnTo>
                <a:lnTo>
                  <a:pt x="450" y="225"/>
                </a:lnTo>
                <a:lnTo>
                  <a:pt x="426" y="252"/>
                </a:lnTo>
                <a:lnTo>
                  <a:pt x="414" y="259"/>
                </a:lnTo>
                <a:lnTo>
                  <a:pt x="418" y="263"/>
                </a:lnTo>
                <a:lnTo>
                  <a:pt x="414" y="270"/>
                </a:lnTo>
                <a:lnTo>
                  <a:pt x="390" y="285"/>
                </a:lnTo>
                <a:lnTo>
                  <a:pt x="386" y="293"/>
                </a:lnTo>
                <a:lnTo>
                  <a:pt x="351" y="302"/>
                </a:lnTo>
                <a:lnTo>
                  <a:pt x="317" y="319"/>
                </a:lnTo>
                <a:lnTo>
                  <a:pt x="295" y="336"/>
                </a:lnTo>
                <a:lnTo>
                  <a:pt x="293" y="343"/>
                </a:lnTo>
                <a:lnTo>
                  <a:pt x="280" y="348"/>
                </a:lnTo>
                <a:lnTo>
                  <a:pt x="285" y="353"/>
                </a:lnTo>
                <a:lnTo>
                  <a:pt x="266" y="376"/>
                </a:lnTo>
                <a:lnTo>
                  <a:pt x="263" y="375"/>
                </a:lnTo>
                <a:lnTo>
                  <a:pt x="260" y="367"/>
                </a:lnTo>
                <a:lnTo>
                  <a:pt x="255" y="379"/>
                </a:lnTo>
                <a:lnTo>
                  <a:pt x="209" y="422"/>
                </a:lnTo>
                <a:lnTo>
                  <a:pt x="201" y="424"/>
                </a:lnTo>
                <a:lnTo>
                  <a:pt x="200" y="455"/>
                </a:lnTo>
                <a:lnTo>
                  <a:pt x="213" y="468"/>
                </a:lnTo>
                <a:lnTo>
                  <a:pt x="214" y="472"/>
                </a:lnTo>
                <a:lnTo>
                  <a:pt x="228" y="529"/>
                </a:lnTo>
                <a:lnTo>
                  <a:pt x="232" y="524"/>
                </a:lnTo>
                <a:lnTo>
                  <a:pt x="235" y="528"/>
                </a:lnTo>
                <a:lnTo>
                  <a:pt x="232" y="574"/>
                </a:lnTo>
                <a:lnTo>
                  <a:pt x="223" y="611"/>
                </a:lnTo>
                <a:lnTo>
                  <a:pt x="224" y="619"/>
                </a:lnTo>
                <a:lnTo>
                  <a:pt x="232" y="605"/>
                </a:lnTo>
                <a:lnTo>
                  <a:pt x="230" y="618"/>
                </a:lnTo>
                <a:lnTo>
                  <a:pt x="214" y="641"/>
                </a:lnTo>
                <a:lnTo>
                  <a:pt x="203" y="650"/>
                </a:lnTo>
                <a:lnTo>
                  <a:pt x="151" y="668"/>
                </a:lnTo>
                <a:lnTo>
                  <a:pt x="118" y="686"/>
                </a:lnTo>
                <a:lnTo>
                  <a:pt x="104" y="706"/>
                </a:lnTo>
                <a:lnTo>
                  <a:pt x="115" y="719"/>
                </a:lnTo>
                <a:lnTo>
                  <a:pt x="123" y="710"/>
                </a:lnTo>
                <a:lnTo>
                  <a:pt x="121" y="740"/>
                </a:lnTo>
                <a:lnTo>
                  <a:pt x="87" y="740"/>
                </a:lnTo>
                <a:lnTo>
                  <a:pt x="85" y="695"/>
                </a:lnTo>
                <a:lnTo>
                  <a:pt x="81" y="623"/>
                </a:lnTo>
                <a:lnTo>
                  <a:pt x="66" y="547"/>
                </a:lnTo>
                <a:lnTo>
                  <a:pt x="69" y="524"/>
                </a:lnTo>
                <a:lnTo>
                  <a:pt x="88" y="505"/>
                </a:lnTo>
                <a:lnTo>
                  <a:pt x="123" y="426"/>
                </a:lnTo>
                <a:lnTo>
                  <a:pt x="115" y="380"/>
                </a:lnTo>
                <a:lnTo>
                  <a:pt x="127" y="347"/>
                </a:lnTo>
                <a:lnTo>
                  <a:pt x="128" y="311"/>
                </a:lnTo>
                <a:lnTo>
                  <a:pt x="119" y="276"/>
                </a:lnTo>
                <a:lnTo>
                  <a:pt x="113" y="268"/>
                </a:lnTo>
                <a:lnTo>
                  <a:pt x="55" y="246"/>
                </a:lnTo>
                <a:lnTo>
                  <a:pt x="11" y="244"/>
                </a:lnTo>
                <a:lnTo>
                  <a:pt x="11" y="228"/>
                </a:lnTo>
                <a:lnTo>
                  <a:pt x="0" y="204"/>
                </a:lnTo>
                <a:lnTo>
                  <a:pt x="33" y="193"/>
                </a:lnTo>
                <a:lnTo>
                  <a:pt x="67" y="182"/>
                </a:lnTo>
                <a:lnTo>
                  <a:pt x="104" y="169"/>
                </a:lnTo>
                <a:lnTo>
                  <a:pt x="136" y="158"/>
                </a:lnTo>
                <a:lnTo>
                  <a:pt x="155" y="183"/>
                </a:lnTo>
                <a:lnTo>
                  <a:pt x="189" y="178"/>
                </a:lnTo>
                <a:lnTo>
                  <a:pt x="195" y="183"/>
                </a:lnTo>
                <a:lnTo>
                  <a:pt x="199" y="213"/>
                </a:lnTo>
                <a:lnTo>
                  <a:pt x="187" y="242"/>
                </a:lnTo>
                <a:lnTo>
                  <a:pt x="193" y="258"/>
                </a:lnTo>
                <a:lnTo>
                  <a:pt x="222" y="286"/>
                </a:lnTo>
                <a:lnTo>
                  <a:pt x="220" y="295"/>
                </a:lnTo>
                <a:lnTo>
                  <a:pt x="229" y="295"/>
                </a:lnTo>
                <a:lnTo>
                  <a:pt x="230" y="281"/>
                </a:lnTo>
                <a:lnTo>
                  <a:pt x="225" y="270"/>
                </a:lnTo>
                <a:lnTo>
                  <a:pt x="229" y="258"/>
                </a:lnTo>
                <a:lnTo>
                  <a:pt x="252" y="245"/>
                </a:lnTo>
                <a:lnTo>
                  <a:pt x="255" y="222"/>
                </a:lnTo>
                <a:lnTo>
                  <a:pt x="252" y="211"/>
                </a:lnTo>
                <a:lnTo>
                  <a:pt x="256" y="198"/>
                </a:lnTo>
                <a:lnTo>
                  <a:pt x="251" y="182"/>
                </a:lnTo>
                <a:lnTo>
                  <a:pt x="210" y="137"/>
                </a:lnTo>
                <a:close/>
              </a:path>
            </a:pathLst>
          </a:custGeom>
          <a:solidFill>
            <a:schemeClr val="accent1"/>
          </a:solidFill>
          <a:ln w="6350">
            <a:solidFill>
              <a:schemeClr val="tx2"/>
            </a:solidFill>
            <a:round/>
            <a:headEnd/>
            <a:tailEnd/>
          </a:ln>
        </p:spPr>
        <p:txBody>
          <a:bodyPr/>
          <a:lstStyle/>
          <a:p>
            <a:endParaRPr lang="en-US"/>
          </a:p>
        </p:txBody>
      </p:sp>
      <p:sp>
        <p:nvSpPr>
          <p:cNvPr id="550" name="Freeform 1395"/>
          <p:cNvSpPr>
            <a:spLocks/>
          </p:cNvSpPr>
          <p:nvPr/>
        </p:nvSpPr>
        <p:spPr bwMode="auto">
          <a:xfrm>
            <a:off x="6455537" y="4419671"/>
            <a:ext cx="64500" cy="140103"/>
          </a:xfrm>
          <a:custGeom>
            <a:avLst/>
            <a:gdLst>
              <a:gd name="T0" fmla="*/ 2147483647 w 138"/>
              <a:gd name="T1" fmla="*/ 2147483647 h 338"/>
              <a:gd name="T2" fmla="*/ 2147483647 w 138"/>
              <a:gd name="T3" fmla="*/ 2147483647 h 338"/>
              <a:gd name="T4" fmla="*/ 2147483647 w 138"/>
              <a:gd name="T5" fmla="*/ 2147483647 h 338"/>
              <a:gd name="T6" fmla="*/ 2147483647 w 138"/>
              <a:gd name="T7" fmla="*/ 2147483647 h 338"/>
              <a:gd name="T8" fmla="*/ 2147483647 w 138"/>
              <a:gd name="T9" fmla="*/ 2147483647 h 338"/>
              <a:gd name="T10" fmla="*/ 2147483647 w 138"/>
              <a:gd name="T11" fmla="*/ 2147483647 h 338"/>
              <a:gd name="T12" fmla="*/ 2147483647 w 138"/>
              <a:gd name="T13" fmla="*/ 2147483647 h 338"/>
              <a:gd name="T14" fmla="*/ 2147483647 w 138"/>
              <a:gd name="T15" fmla="*/ 2147483647 h 338"/>
              <a:gd name="T16" fmla="*/ 2147483647 w 138"/>
              <a:gd name="T17" fmla="*/ 2147483647 h 338"/>
              <a:gd name="T18" fmla="*/ 2147483647 w 138"/>
              <a:gd name="T19" fmla="*/ 2147483647 h 338"/>
              <a:gd name="T20" fmla="*/ 2147483647 w 138"/>
              <a:gd name="T21" fmla="*/ 2147483647 h 338"/>
              <a:gd name="T22" fmla="*/ 2147483647 w 138"/>
              <a:gd name="T23" fmla="*/ 2147483647 h 338"/>
              <a:gd name="T24" fmla="*/ 2147483647 w 138"/>
              <a:gd name="T25" fmla="*/ 2147483647 h 338"/>
              <a:gd name="T26" fmla="*/ 2147483647 w 138"/>
              <a:gd name="T27" fmla="*/ 2147483647 h 338"/>
              <a:gd name="T28" fmla="*/ 2147483647 w 138"/>
              <a:gd name="T29" fmla="*/ 2147483647 h 338"/>
              <a:gd name="T30" fmla="*/ 2147483647 w 138"/>
              <a:gd name="T31" fmla="*/ 2147483647 h 338"/>
              <a:gd name="T32" fmla="*/ 2147483647 w 138"/>
              <a:gd name="T33" fmla="*/ 2147483647 h 338"/>
              <a:gd name="T34" fmla="*/ 2147483647 w 138"/>
              <a:gd name="T35" fmla="*/ 0 h 338"/>
              <a:gd name="T36" fmla="*/ 2147483647 w 138"/>
              <a:gd name="T37" fmla="*/ 2147483647 h 338"/>
              <a:gd name="T38" fmla="*/ 2147483647 w 138"/>
              <a:gd name="T39" fmla="*/ 2147483647 h 338"/>
              <a:gd name="T40" fmla="*/ 2147483647 w 138"/>
              <a:gd name="T41" fmla="*/ 2147483647 h 338"/>
              <a:gd name="T42" fmla="*/ 2147483647 w 138"/>
              <a:gd name="T43" fmla="*/ 2147483647 h 338"/>
              <a:gd name="T44" fmla="*/ 2147483647 w 138"/>
              <a:gd name="T45" fmla="*/ 2147483647 h 338"/>
              <a:gd name="T46" fmla="*/ 2147483647 w 138"/>
              <a:gd name="T47" fmla="*/ 2147483647 h 338"/>
              <a:gd name="T48" fmla="*/ 2147483647 w 138"/>
              <a:gd name="T49" fmla="*/ 2147483647 h 338"/>
              <a:gd name="T50" fmla="*/ 2147483647 w 138"/>
              <a:gd name="T51" fmla="*/ 2147483647 h 338"/>
              <a:gd name="T52" fmla="*/ 2147483647 w 138"/>
              <a:gd name="T53" fmla="*/ 2147483647 h 338"/>
              <a:gd name="T54" fmla="*/ 2147483647 w 138"/>
              <a:gd name="T55" fmla="*/ 2147483647 h 338"/>
              <a:gd name="T56" fmla="*/ 0 w 138"/>
              <a:gd name="T57" fmla="*/ 2147483647 h 338"/>
              <a:gd name="T58" fmla="*/ 2147483647 w 138"/>
              <a:gd name="T59" fmla="*/ 2147483647 h 338"/>
              <a:gd name="T60" fmla="*/ 2147483647 w 138"/>
              <a:gd name="T61" fmla="*/ 2147483647 h 338"/>
              <a:gd name="T62" fmla="*/ 2147483647 w 138"/>
              <a:gd name="T63" fmla="*/ 2147483647 h 338"/>
              <a:gd name="T64" fmla="*/ 2147483647 w 138"/>
              <a:gd name="T65" fmla="*/ 2147483647 h 338"/>
              <a:gd name="T66" fmla="*/ 2147483647 w 138"/>
              <a:gd name="T67" fmla="*/ 2147483647 h 338"/>
              <a:gd name="T68" fmla="*/ 2147483647 w 138"/>
              <a:gd name="T69" fmla="*/ 2147483647 h 338"/>
              <a:gd name="T70" fmla="*/ 2147483647 w 138"/>
              <a:gd name="T71" fmla="*/ 2147483647 h 338"/>
              <a:gd name="T72" fmla="*/ 2147483647 w 138"/>
              <a:gd name="T73" fmla="*/ 2147483647 h 338"/>
              <a:gd name="T74" fmla="*/ 2147483647 w 138"/>
              <a:gd name="T75" fmla="*/ 2147483647 h 338"/>
              <a:gd name="T76" fmla="*/ 2147483647 w 138"/>
              <a:gd name="T77" fmla="*/ 2147483647 h 338"/>
              <a:gd name="T78" fmla="*/ 2147483647 w 138"/>
              <a:gd name="T79" fmla="*/ 2147483647 h 338"/>
              <a:gd name="T80" fmla="*/ 2147483647 w 138"/>
              <a:gd name="T81" fmla="*/ 2147483647 h 338"/>
              <a:gd name="T82" fmla="*/ 2147483647 w 138"/>
              <a:gd name="T83" fmla="*/ 2147483647 h 338"/>
              <a:gd name="T84" fmla="*/ 2147483647 w 138"/>
              <a:gd name="T85" fmla="*/ 2147483647 h 338"/>
              <a:gd name="T86" fmla="*/ 2147483647 w 138"/>
              <a:gd name="T87" fmla="*/ 2147483647 h 338"/>
              <a:gd name="T88" fmla="*/ 2147483647 w 138"/>
              <a:gd name="T89" fmla="*/ 2147483647 h 338"/>
              <a:gd name="T90" fmla="*/ 2147483647 w 138"/>
              <a:gd name="T91" fmla="*/ 2147483647 h 338"/>
              <a:gd name="T92" fmla="*/ 2147483647 w 138"/>
              <a:gd name="T93" fmla="*/ 2147483647 h 338"/>
              <a:gd name="T94" fmla="*/ 2147483647 w 138"/>
              <a:gd name="T95" fmla="*/ 2147483647 h 338"/>
              <a:gd name="T96" fmla="*/ 2147483647 w 138"/>
              <a:gd name="T97" fmla="*/ 2147483647 h 33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8"/>
              <a:gd name="T148" fmla="*/ 0 h 338"/>
              <a:gd name="T149" fmla="*/ 138 w 138"/>
              <a:gd name="T150" fmla="*/ 338 h 33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8" h="338">
                <a:moveTo>
                  <a:pt x="92" y="180"/>
                </a:moveTo>
                <a:lnTo>
                  <a:pt x="92" y="189"/>
                </a:lnTo>
                <a:lnTo>
                  <a:pt x="100" y="194"/>
                </a:lnTo>
                <a:lnTo>
                  <a:pt x="107" y="219"/>
                </a:lnTo>
                <a:lnTo>
                  <a:pt x="92" y="204"/>
                </a:lnTo>
                <a:lnTo>
                  <a:pt x="88" y="211"/>
                </a:lnTo>
                <a:lnTo>
                  <a:pt x="79" y="208"/>
                </a:lnTo>
                <a:lnTo>
                  <a:pt x="80" y="191"/>
                </a:lnTo>
                <a:lnTo>
                  <a:pt x="72" y="181"/>
                </a:lnTo>
                <a:lnTo>
                  <a:pt x="64" y="147"/>
                </a:lnTo>
                <a:lnTo>
                  <a:pt x="54" y="127"/>
                </a:lnTo>
                <a:lnTo>
                  <a:pt x="66" y="100"/>
                </a:lnTo>
                <a:lnTo>
                  <a:pt x="65" y="44"/>
                </a:lnTo>
                <a:lnTo>
                  <a:pt x="50" y="25"/>
                </a:lnTo>
                <a:lnTo>
                  <a:pt x="53" y="12"/>
                </a:lnTo>
                <a:lnTo>
                  <a:pt x="45" y="8"/>
                </a:lnTo>
                <a:lnTo>
                  <a:pt x="33" y="11"/>
                </a:lnTo>
                <a:lnTo>
                  <a:pt x="11" y="0"/>
                </a:lnTo>
                <a:lnTo>
                  <a:pt x="13" y="12"/>
                </a:lnTo>
                <a:lnTo>
                  <a:pt x="20" y="12"/>
                </a:lnTo>
                <a:lnTo>
                  <a:pt x="25" y="18"/>
                </a:lnTo>
                <a:lnTo>
                  <a:pt x="40" y="55"/>
                </a:lnTo>
                <a:lnTo>
                  <a:pt x="29" y="65"/>
                </a:lnTo>
                <a:lnTo>
                  <a:pt x="24" y="93"/>
                </a:lnTo>
                <a:lnTo>
                  <a:pt x="24" y="122"/>
                </a:lnTo>
                <a:lnTo>
                  <a:pt x="32" y="134"/>
                </a:lnTo>
                <a:lnTo>
                  <a:pt x="14" y="143"/>
                </a:lnTo>
                <a:lnTo>
                  <a:pt x="11" y="166"/>
                </a:lnTo>
                <a:lnTo>
                  <a:pt x="0" y="186"/>
                </a:lnTo>
                <a:lnTo>
                  <a:pt x="9" y="199"/>
                </a:lnTo>
                <a:lnTo>
                  <a:pt x="18" y="201"/>
                </a:lnTo>
                <a:lnTo>
                  <a:pt x="37" y="226"/>
                </a:lnTo>
                <a:lnTo>
                  <a:pt x="71" y="221"/>
                </a:lnTo>
                <a:lnTo>
                  <a:pt x="77" y="226"/>
                </a:lnTo>
                <a:lnTo>
                  <a:pt x="81" y="256"/>
                </a:lnTo>
                <a:lnTo>
                  <a:pt x="69" y="285"/>
                </a:lnTo>
                <a:lnTo>
                  <a:pt x="75" y="301"/>
                </a:lnTo>
                <a:lnTo>
                  <a:pt x="104" y="329"/>
                </a:lnTo>
                <a:lnTo>
                  <a:pt x="102" y="338"/>
                </a:lnTo>
                <a:lnTo>
                  <a:pt x="111" y="338"/>
                </a:lnTo>
                <a:lnTo>
                  <a:pt x="112" y="324"/>
                </a:lnTo>
                <a:lnTo>
                  <a:pt x="107" y="313"/>
                </a:lnTo>
                <a:lnTo>
                  <a:pt x="111" y="301"/>
                </a:lnTo>
                <a:lnTo>
                  <a:pt x="134" y="288"/>
                </a:lnTo>
                <a:lnTo>
                  <a:pt x="137" y="265"/>
                </a:lnTo>
                <a:lnTo>
                  <a:pt x="134" y="254"/>
                </a:lnTo>
                <a:lnTo>
                  <a:pt x="138" y="241"/>
                </a:lnTo>
                <a:lnTo>
                  <a:pt x="133" y="225"/>
                </a:lnTo>
                <a:lnTo>
                  <a:pt x="92" y="180"/>
                </a:lnTo>
                <a:close/>
              </a:path>
            </a:pathLst>
          </a:custGeom>
          <a:solidFill>
            <a:schemeClr val="accent1"/>
          </a:solidFill>
          <a:ln w="6350">
            <a:solidFill>
              <a:schemeClr val="tx2"/>
            </a:solidFill>
            <a:round/>
            <a:headEnd/>
            <a:tailEnd/>
          </a:ln>
        </p:spPr>
        <p:txBody>
          <a:bodyPr/>
          <a:lstStyle/>
          <a:p>
            <a:endParaRPr lang="en-US"/>
          </a:p>
        </p:txBody>
      </p:sp>
      <p:sp>
        <p:nvSpPr>
          <p:cNvPr id="551" name="Freeform 1396"/>
          <p:cNvSpPr>
            <a:spLocks/>
          </p:cNvSpPr>
          <p:nvPr/>
        </p:nvSpPr>
        <p:spPr bwMode="auto">
          <a:xfrm>
            <a:off x="6478471" y="4168760"/>
            <a:ext cx="160534" cy="165576"/>
          </a:xfrm>
          <a:custGeom>
            <a:avLst/>
            <a:gdLst>
              <a:gd name="T0" fmla="*/ 2147483647 w 342"/>
              <a:gd name="T1" fmla="*/ 2147483647 h 396"/>
              <a:gd name="T2" fmla="*/ 2147483647 w 342"/>
              <a:gd name="T3" fmla="*/ 2147483647 h 396"/>
              <a:gd name="T4" fmla="*/ 2147483647 w 342"/>
              <a:gd name="T5" fmla="*/ 2147483647 h 396"/>
              <a:gd name="T6" fmla="*/ 2147483647 w 342"/>
              <a:gd name="T7" fmla="*/ 2147483647 h 396"/>
              <a:gd name="T8" fmla="*/ 2147483647 w 342"/>
              <a:gd name="T9" fmla="*/ 2147483647 h 396"/>
              <a:gd name="T10" fmla="*/ 2147483647 w 342"/>
              <a:gd name="T11" fmla="*/ 2147483647 h 396"/>
              <a:gd name="T12" fmla="*/ 2147483647 w 342"/>
              <a:gd name="T13" fmla="*/ 2147483647 h 396"/>
              <a:gd name="T14" fmla="*/ 2147483647 w 342"/>
              <a:gd name="T15" fmla="*/ 2147483647 h 396"/>
              <a:gd name="T16" fmla="*/ 2147483647 w 342"/>
              <a:gd name="T17" fmla="*/ 2147483647 h 396"/>
              <a:gd name="T18" fmla="*/ 2147483647 w 342"/>
              <a:gd name="T19" fmla="*/ 2147483647 h 396"/>
              <a:gd name="T20" fmla="*/ 2147483647 w 342"/>
              <a:gd name="T21" fmla="*/ 2147483647 h 396"/>
              <a:gd name="T22" fmla="*/ 2147483647 w 342"/>
              <a:gd name="T23" fmla="*/ 2147483647 h 396"/>
              <a:gd name="T24" fmla="*/ 2147483647 w 342"/>
              <a:gd name="T25" fmla="*/ 2147483647 h 396"/>
              <a:gd name="T26" fmla="*/ 2147483647 w 342"/>
              <a:gd name="T27" fmla="*/ 2147483647 h 396"/>
              <a:gd name="T28" fmla="*/ 2147483647 w 342"/>
              <a:gd name="T29" fmla="*/ 2147483647 h 396"/>
              <a:gd name="T30" fmla="*/ 2147483647 w 342"/>
              <a:gd name="T31" fmla="*/ 2147483647 h 396"/>
              <a:gd name="T32" fmla="*/ 2147483647 w 342"/>
              <a:gd name="T33" fmla="*/ 2147483647 h 396"/>
              <a:gd name="T34" fmla="*/ 2147483647 w 342"/>
              <a:gd name="T35" fmla="*/ 2147483647 h 396"/>
              <a:gd name="T36" fmla="*/ 2147483647 w 342"/>
              <a:gd name="T37" fmla="*/ 2147483647 h 396"/>
              <a:gd name="T38" fmla="*/ 0 w 342"/>
              <a:gd name="T39" fmla="*/ 2147483647 h 396"/>
              <a:gd name="T40" fmla="*/ 2147483647 w 342"/>
              <a:gd name="T41" fmla="*/ 2147483647 h 396"/>
              <a:gd name="T42" fmla="*/ 2147483647 w 342"/>
              <a:gd name="T43" fmla="*/ 0 h 396"/>
              <a:gd name="T44" fmla="*/ 2147483647 w 342"/>
              <a:gd name="T45" fmla="*/ 2147483647 h 396"/>
              <a:gd name="T46" fmla="*/ 2147483647 w 342"/>
              <a:gd name="T47" fmla="*/ 2147483647 h 396"/>
              <a:gd name="T48" fmla="*/ 2147483647 w 342"/>
              <a:gd name="T49" fmla="*/ 2147483647 h 396"/>
              <a:gd name="T50" fmla="*/ 2147483647 w 342"/>
              <a:gd name="T51" fmla="*/ 2147483647 h 396"/>
              <a:gd name="T52" fmla="*/ 2147483647 w 342"/>
              <a:gd name="T53" fmla="*/ 2147483647 h 396"/>
              <a:gd name="T54" fmla="*/ 2147483647 w 342"/>
              <a:gd name="T55" fmla="*/ 2147483647 h 396"/>
              <a:gd name="T56" fmla="*/ 2147483647 w 342"/>
              <a:gd name="T57" fmla="*/ 2147483647 h 396"/>
              <a:gd name="T58" fmla="*/ 2147483647 w 342"/>
              <a:gd name="T59" fmla="*/ 2147483647 h 396"/>
              <a:gd name="T60" fmla="*/ 2147483647 w 342"/>
              <a:gd name="T61" fmla="*/ 2147483647 h 396"/>
              <a:gd name="T62" fmla="*/ 2147483647 w 342"/>
              <a:gd name="T63" fmla="*/ 2147483647 h 396"/>
              <a:gd name="T64" fmla="*/ 2147483647 w 342"/>
              <a:gd name="T65" fmla="*/ 2147483647 h 396"/>
              <a:gd name="T66" fmla="*/ 2147483647 w 342"/>
              <a:gd name="T67" fmla="*/ 2147483647 h 396"/>
              <a:gd name="T68" fmla="*/ 2147483647 w 342"/>
              <a:gd name="T69" fmla="*/ 2147483647 h 396"/>
              <a:gd name="T70" fmla="*/ 2147483647 w 342"/>
              <a:gd name="T71" fmla="*/ 2147483647 h 396"/>
              <a:gd name="T72" fmla="*/ 2147483647 w 342"/>
              <a:gd name="T73" fmla="*/ 2147483647 h 396"/>
              <a:gd name="T74" fmla="*/ 2147483647 w 342"/>
              <a:gd name="T75" fmla="*/ 2147483647 h 396"/>
              <a:gd name="T76" fmla="*/ 2147483647 w 342"/>
              <a:gd name="T77" fmla="*/ 2147483647 h 396"/>
              <a:gd name="T78" fmla="*/ 2147483647 w 342"/>
              <a:gd name="T79" fmla="*/ 2147483647 h 396"/>
              <a:gd name="T80" fmla="*/ 2147483647 w 342"/>
              <a:gd name="T81" fmla="*/ 2147483647 h 396"/>
              <a:gd name="T82" fmla="*/ 2147483647 w 342"/>
              <a:gd name="T83" fmla="*/ 2147483647 h 396"/>
              <a:gd name="T84" fmla="*/ 2147483647 w 342"/>
              <a:gd name="T85" fmla="*/ 2147483647 h 396"/>
              <a:gd name="T86" fmla="*/ 2147483647 w 342"/>
              <a:gd name="T87" fmla="*/ 2147483647 h 396"/>
              <a:gd name="T88" fmla="*/ 2147483647 w 342"/>
              <a:gd name="T89" fmla="*/ 2147483647 h 396"/>
              <a:gd name="T90" fmla="*/ 2147483647 w 342"/>
              <a:gd name="T91" fmla="*/ 2147483647 h 396"/>
              <a:gd name="T92" fmla="*/ 2147483647 w 342"/>
              <a:gd name="T93" fmla="*/ 2147483647 h 396"/>
              <a:gd name="T94" fmla="*/ 2147483647 w 342"/>
              <a:gd name="T95" fmla="*/ 2147483647 h 39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2"/>
              <a:gd name="T145" fmla="*/ 0 h 396"/>
              <a:gd name="T146" fmla="*/ 342 w 342"/>
              <a:gd name="T147" fmla="*/ 396 h 39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2" h="396">
                <a:moveTo>
                  <a:pt x="12" y="237"/>
                </a:moveTo>
                <a:lnTo>
                  <a:pt x="6" y="230"/>
                </a:lnTo>
                <a:lnTo>
                  <a:pt x="12" y="220"/>
                </a:lnTo>
                <a:lnTo>
                  <a:pt x="21" y="220"/>
                </a:lnTo>
                <a:lnTo>
                  <a:pt x="28" y="215"/>
                </a:lnTo>
                <a:lnTo>
                  <a:pt x="37" y="211"/>
                </a:lnTo>
                <a:lnTo>
                  <a:pt x="37" y="208"/>
                </a:lnTo>
                <a:lnTo>
                  <a:pt x="29" y="207"/>
                </a:lnTo>
                <a:lnTo>
                  <a:pt x="21" y="209"/>
                </a:lnTo>
                <a:lnTo>
                  <a:pt x="16" y="211"/>
                </a:lnTo>
                <a:lnTo>
                  <a:pt x="9" y="212"/>
                </a:lnTo>
                <a:lnTo>
                  <a:pt x="7" y="205"/>
                </a:lnTo>
                <a:lnTo>
                  <a:pt x="1" y="198"/>
                </a:lnTo>
                <a:lnTo>
                  <a:pt x="2" y="187"/>
                </a:lnTo>
                <a:lnTo>
                  <a:pt x="43" y="132"/>
                </a:lnTo>
                <a:lnTo>
                  <a:pt x="46" y="105"/>
                </a:lnTo>
                <a:lnTo>
                  <a:pt x="43" y="78"/>
                </a:lnTo>
                <a:lnTo>
                  <a:pt x="25" y="64"/>
                </a:lnTo>
                <a:lnTo>
                  <a:pt x="16" y="28"/>
                </a:lnTo>
                <a:lnTo>
                  <a:pt x="0" y="22"/>
                </a:lnTo>
                <a:lnTo>
                  <a:pt x="23" y="1"/>
                </a:lnTo>
                <a:lnTo>
                  <a:pt x="82" y="0"/>
                </a:lnTo>
                <a:lnTo>
                  <a:pt x="116" y="3"/>
                </a:lnTo>
                <a:lnTo>
                  <a:pt x="168" y="35"/>
                </a:lnTo>
                <a:lnTo>
                  <a:pt x="215" y="47"/>
                </a:lnTo>
                <a:lnTo>
                  <a:pt x="233" y="47"/>
                </a:lnTo>
                <a:lnTo>
                  <a:pt x="252" y="37"/>
                </a:lnTo>
                <a:lnTo>
                  <a:pt x="263" y="24"/>
                </a:lnTo>
                <a:lnTo>
                  <a:pt x="295" y="17"/>
                </a:lnTo>
                <a:lnTo>
                  <a:pt x="320" y="30"/>
                </a:lnTo>
                <a:lnTo>
                  <a:pt x="342" y="29"/>
                </a:lnTo>
                <a:lnTo>
                  <a:pt x="323" y="58"/>
                </a:lnTo>
                <a:lnTo>
                  <a:pt x="304" y="77"/>
                </a:lnTo>
                <a:lnTo>
                  <a:pt x="304" y="117"/>
                </a:lnTo>
                <a:lnTo>
                  <a:pt x="304" y="155"/>
                </a:lnTo>
                <a:lnTo>
                  <a:pt x="304" y="195"/>
                </a:lnTo>
                <a:lnTo>
                  <a:pt x="304" y="234"/>
                </a:lnTo>
                <a:lnTo>
                  <a:pt x="327" y="267"/>
                </a:lnTo>
                <a:lnTo>
                  <a:pt x="316" y="280"/>
                </a:lnTo>
                <a:lnTo>
                  <a:pt x="305" y="283"/>
                </a:lnTo>
                <a:lnTo>
                  <a:pt x="297" y="299"/>
                </a:lnTo>
                <a:lnTo>
                  <a:pt x="284" y="306"/>
                </a:lnTo>
                <a:lnTo>
                  <a:pt x="277" y="312"/>
                </a:lnTo>
                <a:lnTo>
                  <a:pt x="247" y="381"/>
                </a:lnTo>
                <a:lnTo>
                  <a:pt x="233" y="396"/>
                </a:lnTo>
                <a:lnTo>
                  <a:pt x="172" y="358"/>
                </a:lnTo>
                <a:lnTo>
                  <a:pt x="163" y="325"/>
                </a:lnTo>
                <a:lnTo>
                  <a:pt x="12" y="237"/>
                </a:lnTo>
                <a:close/>
              </a:path>
            </a:pathLst>
          </a:custGeom>
          <a:solidFill>
            <a:schemeClr val="accent1"/>
          </a:solidFill>
          <a:ln w="6350">
            <a:solidFill>
              <a:schemeClr val="tx2"/>
            </a:solidFill>
            <a:round/>
            <a:headEnd/>
            <a:tailEnd/>
          </a:ln>
        </p:spPr>
        <p:txBody>
          <a:bodyPr/>
          <a:lstStyle/>
          <a:p>
            <a:endParaRPr lang="en-US"/>
          </a:p>
        </p:txBody>
      </p:sp>
      <p:sp>
        <p:nvSpPr>
          <p:cNvPr id="552" name="Freeform 1397"/>
          <p:cNvSpPr>
            <a:spLocks/>
          </p:cNvSpPr>
          <p:nvPr/>
        </p:nvSpPr>
        <p:spPr bwMode="auto">
          <a:xfrm>
            <a:off x="6393904" y="4268105"/>
            <a:ext cx="216435" cy="193596"/>
          </a:xfrm>
          <a:custGeom>
            <a:avLst/>
            <a:gdLst>
              <a:gd name="T0" fmla="*/ 2147483647 w 466"/>
              <a:gd name="T1" fmla="*/ 2147483647 h 463"/>
              <a:gd name="T2" fmla="*/ 2147483647 w 466"/>
              <a:gd name="T3" fmla="*/ 2147483647 h 463"/>
              <a:gd name="T4" fmla="*/ 2147483647 w 466"/>
              <a:gd name="T5" fmla="*/ 2147483647 h 463"/>
              <a:gd name="T6" fmla="*/ 2147483647 w 466"/>
              <a:gd name="T7" fmla="*/ 2147483647 h 463"/>
              <a:gd name="T8" fmla="*/ 0 w 466"/>
              <a:gd name="T9" fmla="*/ 2147483647 h 463"/>
              <a:gd name="T10" fmla="*/ 2147483647 w 466"/>
              <a:gd name="T11" fmla="*/ 2147483647 h 463"/>
              <a:gd name="T12" fmla="*/ 2147483647 w 466"/>
              <a:gd name="T13" fmla="*/ 2147483647 h 463"/>
              <a:gd name="T14" fmla="*/ 2147483647 w 466"/>
              <a:gd name="T15" fmla="*/ 2147483647 h 463"/>
              <a:gd name="T16" fmla="*/ 2147483647 w 466"/>
              <a:gd name="T17" fmla="*/ 0 h 463"/>
              <a:gd name="T18" fmla="*/ 2147483647 w 466"/>
              <a:gd name="T19" fmla="*/ 2147483647 h 463"/>
              <a:gd name="T20" fmla="*/ 2147483647 w 466"/>
              <a:gd name="T21" fmla="*/ 2147483647 h 463"/>
              <a:gd name="T22" fmla="*/ 2147483647 w 466"/>
              <a:gd name="T23" fmla="*/ 2147483647 h 463"/>
              <a:gd name="T24" fmla="*/ 2147483647 w 466"/>
              <a:gd name="T25" fmla="*/ 2147483647 h 463"/>
              <a:gd name="T26" fmla="*/ 2147483647 w 466"/>
              <a:gd name="T27" fmla="*/ 2147483647 h 463"/>
              <a:gd name="T28" fmla="*/ 2147483647 w 466"/>
              <a:gd name="T29" fmla="*/ 2147483647 h 463"/>
              <a:gd name="T30" fmla="*/ 2147483647 w 466"/>
              <a:gd name="T31" fmla="*/ 2147483647 h 463"/>
              <a:gd name="T32" fmla="*/ 2147483647 w 466"/>
              <a:gd name="T33" fmla="*/ 2147483647 h 463"/>
              <a:gd name="T34" fmla="*/ 2147483647 w 466"/>
              <a:gd name="T35" fmla="*/ 2147483647 h 463"/>
              <a:gd name="T36" fmla="*/ 2147483647 w 466"/>
              <a:gd name="T37" fmla="*/ 2147483647 h 463"/>
              <a:gd name="T38" fmla="*/ 2147483647 w 466"/>
              <a:gd name="T39" fmla="*/ 2147483647 h 463"/>
              <a:gd name="T40" fmla="*/ 2147483647 w 466"/>
              <a:gd name="T41" fmla="*/ 2147483647 h 463"/>
              <a:gd name="T42" fmla="*/ 2147483647 w 466"/>
              <a:gd name="T43" fmla="*/ 2147483647 h 463"/>
              <a:gd name="T44" fmla="*/ 2147483647 w 466"/>
              <a:gd name="T45" fmla="*/ 2147483647 h 463"/>
              <a:gd name="T46" fmla="*/ 2147483647 w 466"/>
              <a:gd name="T47" fmla="*/ 2147483647 h 463"/>
              <a:gd name="T48" fmla="*/ 2147483647 w 466"/>
              <a:gd name="T49" fmla="*/ 2147483647 h 463"/>
              <a:gd name="T50" fmla="*/ 2147483647 w 466"/>
              <a:gd name="T51" fmla="*/ 2147483647 h 463"/>
              <a:gd name="T52" fmla="*/ 2147483647 w 466"/>
              <a:gd name="T53" fmla="*/ 2147483647 h 463"/>
              <a:gd name="T54" fmla="*/ 2147483647 w 466"/>
              <a:gd name="T55" fmla="*/ 2147483647 h 463"/>
              <a:gd name="T56" fmla="*/ 2147483647 w 466"/>
              <a:gd name="T57" fmla="*/ 2147483647 h 463"/>
              <a:gd name="T58" fmla="*/ 2147483647 w 466"/>
              <a:gd name="T59" fmla="*/ 2147483647 h 463"/>
              <a:gd name="T60" fmla="*/ 2147483647 w 466"/>
              <a:gd name="T61" fmla="*/ 2147483647 h 463"/>
              <a:gd name="T62" fmla="*/ 2147483647 w 466"/>
              <a:gd name="T63" fmla="*/ 2147483647 h 463"/>
              <a:gd name="T64" fmla="*/ 2147483647 w 466"/>
              <a:gd name="T65" fmla="*/ 2147483647 h 463"/>
              <a:gd name="T66" fmla="*/ 2147483647 w 466"/>
              <a:gd name="T67" fmla="*/ 2147483647 h 463"/>
              <a:gd name="T68" fmla="*/ 2147483647 w 466"/>
              <a:gd name="T69" fmla="*/ 2147483647 h 463"/>
              <a:gd name="T70" fmla="*/ 2147483647 w 466"/>
              <a:gd name="T71" fmla="*/ 2147483647 h 463"/>
              <a:gd name="T72" fmla="*/ 2147483647 w 466"/>
              <a:gd name="T73" fmla="*/ 2147483647 h 463"/>
              <a:gd name="T74" fmla="*/ 2147483647 w 466"/>
              <a:gd name="T75" fmla="*/ 2147483647 h 463"/>
              <a:gd name="T76" fmla="*/ 2147483647 w 466"/>
              <a:gd name="T77" fmla="*/ 2147483647 h 463"/>
              <a:gd name="T78" fmla="*/ 2147483647 w 466"/>
              <a:gd name="T79" fmla="*/ 2147483647 h 463"/>
              <a:gd name="T80" fmla="*/ 2147483647 w 466"/>
              <a:gd name="T81" fmla="*/ 2147483647 h 463"/>
              <a:gd name="T82" fmla="*/ 2147483647 w 466"/>
              <a:gd name="T83" fmla="*/ 2147483647 h 463"/>
              <a:gd name="T84" fmla="*/ 2147483647 w 466"/>
              <a:gd name="T85" fmla="*/ 2147483647 h 463"/>
              <a:gd name="T86" fmla="*/ 2147483647 w 466"/>
              <a:gd name="T87" fmla="*/ 2147483647 h 463"/>
              <a:gd name="T88" fmla="*/ 2147483647 w 466"/>
              <a:gd name="T89" fmla="*/ 2147483647 h 463"/>
              <a:gd name="T90" fmla="*/ 2147483647 w 466"/>
              <a:gd name="T91" fmla="*/ 2147483647 h 463"/>
              <a:gd name="T92" fmla="*/ 2147483647 w 466"/>
              <a:gd name="T93" fmla="*/ 2147483647 h 463"/>
              <a:gd name="T94" fmla="*/ 2147483647 w 466"/>
              <a:gd name="T95" fmla="*/ 2147483647 h 463"/>
              <a:gd name="T96" fmla="*/ 2147483647 w 466"/>
              <a:gd name="T97" fmla="*/ 2147483647 h 463"/>
              <a:gd name="T98" fmla="*/ 2147483647 w 466"/>
              <a:gd name="T99" fmla="*/ 2147483647 h 463"/>
              <a:gd name="T100" fmla="*/ 2147483647 w 466"/>
              <a:gd name="T101" fmla="*/ 2147483647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6"/>
              <a:gd name="T154" fmla="*/ 0 h 463"/>
              <a:gd name="T155" fmla="*/ 466 w 466"/>
              <a:gd name="T156" fmla="*/ 463 h 4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6" h="463">
                <a:moveTo>
                  <a:pt x="63" y="327"/>
                </a:moveTo>
                <a:lnTo>
                  <a:pt x="39" y="276"/>
                </a:lnTo>
                <a:lnTo>
                  <a:pt x="39" y="259"/>
                </a:lnTo>
                <a:lnTo>
                  <a:pt x="25" y="244"/>
                </a:lnTo>
                <a:lnTo>
                  <a:pt x="8" y="234"/>
                </a:lnTo>
                <a:lnTo>
                  <a:pt x="4" y="223"/>
                </a:lnTo>
                <a:lnTo>
                  <a:pt x="12" y="213"/>
                </a:lnTo>
                <a:lnTo>
                  <a:pt x="8" y="182"/>
                </a:lnTo>
                <a:lnTo>
                  <a:pt x="1" y="175"/>
                </a:lnTo>
                <a:lnTo>
                  <a:pt x="0" y="146"/>
                </a:lnTo>
                <a:lnTo>
                  <a:pt x="23" y="139"/>
                </a:lnTo>
                <a:lnTo>
                  <a:pt x="50" y="95"/>
                </a:lnTo>
                <a:lnTo>
                  <a:pt x="48" y="83"/>
                </a:lnTo>
                <a:lnTo>
                  <a:pt x="38" y="74"/>
                </a:lnTo>
                <a:lnTo>
                  <a:pt x="43" y="60"/>
                </a:lnTo>
                <a:lnTo>
                  <a:pt x="54" y="42"/>
                </a:lnTo>
                <a:lnTo>
                  <a:pt x="35" y="2"/>
                </a:lnTo>
                <a:lnTo>
                  <a:pt x="93" y="0"/>
                </a:lnTo>
                <a:lnTo>
                  <a:pt x="94" y="4"/>
                </a:lnTo>
                <a:lnTo>
                  <a:pt x="93" y="21"/>
                </a:lnTo>
                <a:lnTo>
                  <a:pt x="90" y="31"/>
                </a:lnTo>
                <a:lnTo>
                  <a:pt x="89" y="47"/>
                </a:lnTo>
                <a:lnTo>
                  <a:pt x="92" y="64"/>
                </a:lnTo>
                <a:lnTo>
                  <a:pt x="92" y="70"/>
                </a:lnTo>
                <a:lnTo>
                  <a:pt x="96" y="77"/>
                </a:lnTo>
                <a:lnTo>
                  <a:pt x="102" y="74"/>
                </a:lnTo>
                <a:lnTo>
                  <a:pt x="105" y="68"/>
                </a:lnTo>
                <a:lnTo>
                  <a:pt x="109" y="68"/>
                </a:lnTo>
                <a:lnTo>
                  <a:pt x="108" y="61"/>
                </a:lnTo>
                <a:lnTo>
                  <a:pt x="112" y="56"/>
                </a:lnTo>
                <a:lnTo>
                  <a:pt x="116" y="58"/>
                </a:lnTo>
                <a:lnTo>
                  <a:pt x="123" y="67"/>
                </a:lnTo>
                <a:lnTo>
                  <a:pt x="128" y="70"/>
                </a:lnTo>
                <a:lnTo>
                  <a:pt x="133" y="67"/>
                </a:lnTo>
                <a:lnTo>
                  <a:pt x="137" y="68"/>
                </a:lnTo>
                <a:lnTo>
                  <a:pt x="139" y="83"/>
                </a:lnTo>
                <a:lnTo>
                  <a:pt x="144" y="79"/>
                </a:lnTo>
                <a:lnTo>
                  <a:pt x="143" y="73"/>
                </a:lnTo>
                <a:lnTo>
                  <a:pt x="146" y="66"/>
                </a:lnTo>
                <a:lnTo>
                  <a:pt x="149" y="65"/>
                </a:lnTo>
                <a:lnTo>
                  <a:pt x="158" y="65"/>
                </a:lnTo>
                <a:lnTo>
                  <a:pt x="162" y="64"/>
                </a:lnTo>
                <a:lnTo>
                  <a:pt x="168" y="62"/>
                </a:lnTo>
                <a:lnTo>
                  <a:pt x="176" y="56"/>
                </a:lnTo>
                <a:lnTo>
                  <a:pt x="177" y="54"/>
                </a:lnTo>
                <a:lnTo>
                  <a:pt x="175" y="50"/>
                </a:lnTo>
                <a:lnTo>
                  <a:pt x="164" y="51"/>
                </a:lnTo>
                <a:lnTo>
                  <a:pt x="157" y="48"/>
                </a:lnTo>
                <a:lnTo>
                  <a:pt x="159" y="46"/>
                </a:lnTo>
                <a:lnTo>
                  <a:pt x="166" y="41"/>
                </a:lnTo>
                <a:lnTo>
                  <a:pt x="164" y="38"/>
                </a:lnTo>
                <a:lnTo>
                  <a:pt x="166" y="36"/>
                </a:lnTo>
                <a:lnTo>
                  <a:pt x="171" y="36"/>
                </a:lnTo>
                <a:lnTo>
                  <a:pt x="172" y="33"/>
                </a:lnTo>
                <a:lnTo>
                  <a:pt x="176" y="27"/>
                </a:lnTo>
                <a:lnTo>
                  <a:pt x="177" y="24"/>
                </a:lnTo>
                <a:lnTo>
                  <a:pt x="182" y="23"/>
                </a:lnTo>
                <a:lnTo>
                  <a:pt x="184" y="15"/>
                </a:lnTo>
                <a:lnTo>
                  <a:pt x="188" y="17"/>
                </a:lnTo>
                <a:lnTo>
                  <a:pt x="189" y="13"/>
                </a:lnTo>
                <a:lnTo>
                  <a:pt x="186" y="8"/>
                </a:lnTo>
                <a:lnTo>
                  <a:pt x="189" y="3"/>
                </a:lnTo>
                <a:lnTo>
                  <a:pt x="197" y="0"/>
                </a:lnTo>
                <a:lnTo>
                  <a:pt x="348" y="88"/>
                </a:lnTo>
                <a:lnTo>
                  <a:pt x="357" y="121"/>
                </a:lnTo>
                <a:lnTo>
                  <a:pt x="418" y="159"/>
                </a:lnTo>
                <a:lnTo>
                  <a:pt x="397" y="220"/>
                </a:lnTo>
                <a:lnTo>
                  <a:pt x="398" y="230"/>
                </a:lnTo>
                <a:lnTo>
                  <a:pt x="428" y="264"/>
                </a:lnTo>
                <a:lnTo>
                  <a:pt x="420" y="289"/>
                </a:lnTo>
                <a:lnTo>
                  <a:pt x="422" y="299"/>
                </a:lnTo>
                <a:lnTo>
                  <a:pt x="422" y="310"/>
                </a:lnTo>
                <a:lnTo>
                  <a:pt x="417" y="311"/>
                </a:lnTo>
                <a:lnTo>
                  <a:pt x="416" y="316"/>
                </a:lnTo>
                <a:lnTo>
                  <a:pt x="426" y="337"/>
                </a:lnTo>
                <a:lnTo>
                  <a:pt x="423" y="341"/>
                </a:lnTo>
                <a:lnTo>
                  <a:pt x="433" y="356"/>
                </a:lnTo>
                <a:lnTo>
                  <a:pt x="441" y="390"/>
                </a:lnTo>
                <a:lnTo>
                  <a:pt x="466" y="406"/>
                </a:lnTo>
                <a:lnTo>
                  <a:pt x="465" y="414"/>
                </a:lnTo>
                <a:lnTo>
                  <a:pt x="444" y="430"/>
                </a:lnTo>
                <a:lnTo>
                  <a:pt x="400" y="447"/>
                </a:lnTo>
                <a:lnTo>
                  <a:pt x="385" y="448"/>
                </a:lnTo>
                <a:lnTo>
                  <a:pt x="375" y="443"/>
                </a:lnTo>
                <a:lnTo>
                  <a:pt x="357" y="446"/>
                </a:lnTo>
                <a:lnTo>
                  <a:pt x="344" y="457"/>
                </a:lnTo>
                <a:lnTo>
                  <a:pt x="313" y="457"/>
                </a:lnTo>
                <a:lnTo>
                  <a:pt x="292" y="463"/>
                </a:lnTo>
                <a:lnTo>
                  <a:pt x="275" y="453"/>
                </a:lnTo>
                <a:lnTo>
                  <a:pt x="260" y="458"/>
                </a:lnTo>
                <a:lnTo>
                  <a:pt x="229" y="457"/>
                </a:lnTo>
                <a:lnTo>
                  <a:pt x="217" y="440"/>
                </a:lnTo>
                <a:lnTo>
                  <a:pt x="209" y="388"/>
                </a:lnTo>
                <a:lnTo>
                  <a:pt x="196" y="374"/>
                </a:lnTo>
                <a:lnTo>
                  <a:pt x="187" y="371"/>
                </a:lnTo>
                <a:lnTo>
                  <a:pt x="185" y="375"/>
                </a:lnTo>
                <a:lnTo>
                  <a:pt x="177" y="371"/>
                </a:lnTo>
                <a:lnTo>
                  <a:pt x="165" y="374"/>
                </a:lnTo>
                <a:lnTo>
                  <a:pt x="143" y="363"/>
                </a:lnTo>
                <a:lnTo>
                  <a:pt x="92" y="344"/>
                </a:lnTo>
                <a:lnTo>
                  <a:pt x="75" y="328"/>
                </a:lnTo>
                <a:lnTo>
                  <a:pt x="63" y="327"/>
                </a:lnTo>
                <a:close/>
              </a:path>
            </a:pathLst>
          </a:custGeom>
          <a:solidFill>
            <a:schemeClr val="accent1"/>
          </a:solidFill>
          <a:ln w="6350">
            <a:solidFill>
              <a:schemeClr val="tx2"/>
            </a:solidFill>
            <a:round/>
            <a:headEnd/>
            <a:tailEnd/>
          </a:ln>
        </p:spPr>
        <p:txBody>
          <a:bodyPr/>
          <a:lstStyle/>
          <a:p>
            <a:endParaRPr lang="en-US"/>
          </a:p>
        </p:txBody>
      </p:sp>
      <p:sp>
        <p:nvSpPr>
          <p:cNvPr id="553" name="Freeform 1398"/>
          <p:cNvSpPr>
            <a:spLocks/>
          </p:cNvSpPr>
          <p:nvPr/>
        </p:nvSpPr>
        <p:spPr bwMode="auto">
          <a:xfrm>
            <a:off x="6026969" y="4355988"/>
            <a:ext cx="255134" cy="220342"/>
          </a:xfrm>
          <a:custGeom>
            <a:avLst/>
            <a:gdLst>
              <a:gd name="T0" fmla="*/ 2147483647 w 544"/>
              <a:gd name="T1" fmla="*/ 2147483647 h 536"/>
              <a:gd name="T2" fmla="*/ 2147483647 w 544"/>
              <a:gd name="T3" fmla="*/ 2147483647 h 536"/>
              <a:gd name="T4" fmla="*/ 2147483647 w 544"/>
              <a:gd name="T5" fmla="*/ 2147483647 h 536"/>
              <a:gd name="T6" fmla="*/ 2147483647 w 544"/>
              <a:gd name="T7" fmla="*/ 2147483647 h 536"/>
              <a:gd name="T8" fmla="*/ 2147483647 w 544"/>
              <a:gd name="T9" fmla="*/ 2147483647 h 536"/>
              <a:gd name="T10" fmla="*/ 0 w 544"/>
              <a:gd name="T11" fmla="*/ 2147483647 h 536"/>
              <a:gd name="T12" fmla="*/ 2147483647 w 544"/>
              <a:gd name="T13" fmla="*/ 2147483647 h 536"/>
              <a:gd name="T14" fmla="*/ 2147483647 w 544"/>
              <a:gd name="T15" fmla="*/ 2147483647 h 536"/>
              <a:gd name="T16" fmla="*/ 2147483647 w 544"/>
              <a:gd name="T17" fmla="*/ 2147483647 h 536"/>
              <a:gd name="T18" fmla="*/ 2147483647 w 544"/>
              <a:gd name="T19" fmla="*/ 2147483647 h 536"/>
              <a:gd name="T20" fmla="*/ 2147483647 w 544"/>
              <a:gd name="T21" fmla="*/ 2147483647 h 536"/>
              <a:gd name="T22" fmla="*/ 2147483647 w 544"/>
              <a:gd name="T23" fmla="*/ 2147483647 h 536"/>
              <a:gd name="T24" fmla="*/ 2147483647 w 544"/>
              <a:gd name="T25" fmla="*/ 2147483647 h 536"/>
              <a:gd name="T26" fmla="*/ 2147483647 w 544"/>
              <a:gd name="T27" fmla="*/ 2147483647 h 536"/>
              <a:gd name="T28" fmla="*/ 2147483647 w 544"/>
              <a:gd name="T29" fmla="*/ 2147483647 h 536"/>
              <a:gd name="T30" fmla="*/ 2147483647 w 544"/>
              <a:gd name="T31" fmla="*/ 2147483647 h 536"/>
              <a:gd name="T32" fmla="*/ 2147483647 w 544"/>
              <a:gd name="T33" fmla="*/ 2147483647 h 536"/>
              <a:gd name="T34" fmla="*/ 2147483647 w 544"/>
              <a:gd name="T35" fmla="*/ 2147483647 h 536"/>
              <a:gd name="T36" fmla="*/ 2147483647 w 544"/>
              <a:gd name="T37" fmla="*/ 2147483647 h 536"/>
              <a:gd name="T38" fmla="*/ 2147483647 w 544"/>
              <a:gd name="T39" fmla="*/ 2147483647 h 536"/>
              <a:gd name="T40" fmla="*/ 2147483647 w 544"/>
              <a:gd name="T41" fmla="*/ 2147483647 h 536"/>
              <a:gd name="T42" fmla="*/ 2147483647 w 544"/>
              <a:gd name="T43" fmla="*/ 2147483647 h 536"/>
              <a:gd name="T44" fmla="*/ 2147483647 w 544"/>
              <a:gd name="T45" fmla="*/ 2147483647 h 536"/>
              <a:gd name="T46" fmla="*/ 2147483647 w 544"/>
              <a:gd name="T47" fmla="*/ 2147483647 h 536"/>
              <a:gd name="T48" fmla="*/ 2147483647 w 544"/>
              <a:gd name="T49" fmla="*/ 2147483647 h 536"/>
              <a:gd name="T50" fmla="*/ 2147483647 w 544"/>
              <a:gd name="T51" fmla="*/ 2147483647 h 536"/>
              <a:gd name="T52" fmla="*/ 2147483647 w 544"/>
              <a:gd name="T53" fmla="*/ 2147483647 h 536"/>
              <a:gd name="T54" fmla="*/ 2147483647 w 544"/>
              <a:gd name="T55" fmla="*/ 2147483647 h 536"/>
              <a:gd name="T56" fmla="*/ 2147483647 w 544"/>
              <a:gd name="T57" fmla="*/ 2147483647 h 536"/>
              <a:gd name="T58" fmla="*/ 2147483647 w 544"/>
              <a:gd name="T59" fmla="*/ 2147483647 h 536"/>
              <a:gd name="T60" fmla="*/ 2147483647 w 544"/>
              <a:gd name="T61" fmla="*/ 2147483647 h 536"/>
              <a:gd name="T62" fmla="*/ 2147483647 w 544"/>
              <a:gd name="T63" fmla="*/ 2147483647 h 536"/>
              <a:gd name="T64" fmla="*/ 2147483647 w 544"/>
              <a:gd name="T65" fmla="*/ 2147483647 h 536"/>
              <a:gd name="T66" fmla="*/ 2147483647 w 544"/>
              <a:gd name="T67" fmla="*/ 2147483647 h 536"/>
              <a:gd name="T68" fmla="*/ 2147483647 w 544"/>
              <a:gd name="T69" fmla="*/ 2147483647 h 536"/>
              <a:gd name="T70" fmla="*/ 2147483647 w 544"/>
              <a:gd name="T71" fmla="*/ 2147483647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290" y="504"/>
                </a:moveTo>
                <a:lnTo>
                  <a:pt x="242" y="504"/>
                </a:lnTo>
                <a:lnTo>
                  <a:pt x="194" y="504"/>
                </a:lnTo>
                <a:lnTo>
                  <a:pt x="147" y="504"/>
                </a:lnTo>
                <a:lnTo>
                  <a:pt x="99" y="504"/>
                </a:lnTo>
                <a:lnTo>
                  <a:pt x="74" y="485"/>
                </a:lnTo>
                <a:lnTo>
                  <a:pt x="66" y="484"/>
                </a:lnTo>
                <a:lnTo>
                  <a:pt x="48" y="484"/>
                </a:lnTo>
                <a:lnTo>
                  <a:pt x="28" y="497"/>
                </a:lnTo>
                <a:lnTo>
                  <a:pt x="21" y="492"/>
                </a:lnTo>
                <a:lnTo>
                  <a:pt x="2" y="503"/>
                </a:lnTo>
                <a:lnTo>
                  <a:pt x="0" y="474"/>
                </a:lnTo>
                <a:lnTo>
                  <a:pt x="5" y="481"/>
                </a:lnTo>
                <a:lnTo>
                  <a:pt x="5" y="440"/>
                </a:lnTo>
                <a:lnTo>
                  <a:pt x="12" y="434"/>
                </a:lnTo>
                <a:lnTo>
                  <a:pt x="20" y="407"/>
                </a:lnTo>
                <a:lnTo>
                  <a:pt x="34" y="346"/>
                </a:lnTo>
                <a:lnTo>
                  <a:pt x="42" y="326"/>
                </a:lnTo>
                <a:lnTo>
                  <a:pt x="54" y="315"/>
                </a:lnTo>
                <a:lnTo>
                  <a:pt x="55" y="305"/>
                </a:lnTo>
                <a:lnTo>
                  <a:pt x="71" y="297"/>
                </a:lnTo>
                <a:lnTo>
                  <a:pt x="86" y="279"/>
                </a:lnTo>
                <a:lnTo>
                  <a:pt x="91" y="258"/>
                </a:lnTo>
                <a:lnTo>
                  <a:pt x="92" y="226"/>
                </a:lnTo>
                <a:lnTo>
                  <a:pt x="96" y="220"/>
                </a:lnTo>
                <a:lnTo>
                  <a:pt x="93" y="205"/>
                </a:lnTo>
                <a:lnTo>
                  <a:pt x="75" y="182"/>
                </a:lnTo>
                <a:lnTo>
                  <a:pt x="64" y="146"/>
                </a:lnTo>
                <a:lnTo>
                  <a:pt x="74" y="130"/>
                </a:lnTo>
                <a:lnTo>
                  <a:pt x="71" y="106"/>
                </a:lnTo>
                <a:lnTo>
                  <a:pt x="52" y="54"/>
                </a:lnTo>
                <a:lnTo>
                  <a:pt x="32" y="20"/>
                </a:lnTo>
                <a:lnTo>
                  <a:pt x="72" y="2"/>
                </a:lnTo>
                <a:lnTo>
                  <a:pt x="105" y="2"/>
                </a:lnTo>
                <a:lnTo>
                  <a:pt x="136" y="1"/>
                </a:lnTo>
                <a:lnTo>
                  <a:pt x="169" y="1"/>
                </a:lnTo>
                <a:lnTo>
                  <a:pt x="200" y="0"/>
                </a:lnTo>
                <a:lnTo>
                  <a:pt x="216" y="13"/>
                </a:lnTo>
                <a:lnTo>
                  <a:pt x="230" y="65"/>
                </a:lnTo>
                <a:lnTo>
                  <a:pt x="256" y="96"/>
                </a:lnTo>
                <a:lnTo>
                  <a:pt x="266" y="100"/>
                </a:lnTo>
                <a:lnTo>
                  <a:pt x="304" y="93"/>
                </a:lnTo>
                <a:lnTo>
                  <a:pt x="333" y="94"/>
                </a:lnTo>
                <a:lnTo>
                  <a:pt x="343" y="51"/>
                </a:lnTo>
                <a:lnTo>
                  <a:pt x="397" y="47"/>
                </a:lnTo>
                <a:lnTo>
                  <a:pt x="394" y="64"/>
                </a:lnTo>
                <a:lnTo>
                  <a:pt x="434" y="64"/>
                </a:lnTo>
                <a:lnTo>
                  <a:pt x="439" y="73"/>
                </a:lnTo>
                <a:lnTo>
                  <a:pt x="444" y="134"/>
                </a:lnTo>
                <a:lnTo>
                  <a:pt x="441" y="157"/>
                </a:lnTo>
                <a:lnTo>
                  <a:pt x="453" y="205"/>
                </a:lnTo>
                <a:lnTo>
                  <a:pt x="448" y="229"/>
                </a:lnTo>
                <a:lnTo>
                  <a:pt x="462" y="238"/>
                </a:lnTo>
                <a:lnTo>
                  <a:pt x="472" y="224"/>
                </a:lnTo>
                <a:lnTo>
                  <a:pt x="498" y="223"/>
                </a:lnTo>
                <a:lnTo>
                  <a:pt x="529" y="222"/>
                </a:lnTo>
                <a:lnTo>
                  <a:pt x="537" y="217"/>
                </a:lnTo>
                <a:lnTo>
                  <a:pt x="540" y="223"/>
                </a:lnTo>
                <a:lnTo>
                  <a:pt x="533" y="303"/>
                </a:lnTo>
                <a:lnTo>
                  <a:pt x="544" y="311"/>
                </a:lnTo>
                <a:lnTo>
                  <a:pt x="511" y="311"/>
                </a:lnTo>
                <a:lnTo>
                  <a:pt x="481" y="311"/>
                </a:lnTo>
                <a:lnTo>
                  <a:pt x="450" y="311"/>
                </a:lnTo>
                <a:lnTo>
                  <a:pt x="450" y="344"/>
                </a:lnTo>
                <a:lnTo>
                  <a:pt x="450" y="376"/>
                </a:lnTo>
                <a:lnTo>
                  <a:pt x="451" y="419"/>
                </a:lnTo>
                <a:lnTo>
                  <a:pt x="451" y="470"/>
                </a:lnTo>
                <a:lnTo>
                  <a:pt x="501" y="516"/>
                </a:lnTo>
                <a:lnTo>
                  <a:pt x="425" y="536"/>
                </a:lnTo>
                <a:lnTo>
                  <a:pt x="364" y="524"/>
                </a:lnTo>
                <a:lnTo>
                  <a:pt x="320" y="525"/>
                </a:lnTo>
                <a:lnTo>
                  <a:pt x="307" y="521"/>
                </a:lnTo>
                <a:lnTo>
                  <a:pt x="290" y="504"/>
                </a:lnTo>
                <a:close/>
              </a:path>
            </a:pathLst>
          </a:custGeom>
          <a:solidFill>
            <a:schemeClr val="accent1"/>
          </a:solidFill>
          <a:ln w="6350">
            <a:solidFill>
              <a:schemeClr val="tx2"/>
            </a:solidFill>
            <a:round/>
            <a:headEnd/>
            <a:tailEnd/>
          </a:ln>
        </p:spPr>
        <p:txBody>
          <a:bodyPr/>
          <a:lstStyle/>
          <a:p>
            <a:endParaRPr lang="en-US"/>
          </a:p>
        </p:txBody>
      </p:sp>
      <p:sp>
        <p:nvSpPr>
          <p:cNvPr id="554" name="Freeform 1399"/>
          <p:cNvSpPr>
            <a:spLocks/>
          </p:cNvSpPr>
          <p:nvPr/>
        </p:nvSpPr>
        <p:spPr bwMode="auto">
          <a:xfrm>
            <a:off x="6300737" y="4531753"/>
            <a:ext cx="157668" cy="132460"/>
          </a:xfrm>
          <a:custGeom>
            <a:avLst/>
            <a:gdLst>
              <a:gd name="T0" fmla="*/ 2147483647 w 337"/>
              <a:gd name="T1" fmla="*/ 2147483647 h 320"/>
              <a:gd name="T2" fmla="*/ 2147483647 w 337"/>
              <a:gd name="T3" fmla="*/ 2147483647 h 320"/>
              <a:gd name="T4" fmla="*/ 2147483647 w 337"/>
              <a:gd name="T5" fmla="*/ 2147483647 h 320"/>
              <a:gd name="T6" fmla="*/ 2147483647 w 337"/>
              <a:gd name="T7" fmla="*/ 2147483647 h 320"/>
              <a:gd name="T8" fmla="*/ 2147483647 w 337"/>
              <a:gd name="T9" fmla="*/ 2147483647 h 320"/>
              <a:gd name="T10" fmla="*/ 2147483647 w 337"/>
              <a:gd name="T11" fmla="*/ 2147483647 h 320"/>
              <a:gd name="T12" fmla="*/ 2147483647 w 337"/>
              <a:gd name="T13" fmla="*/ 2147483647 h 320"/>
              <a:gd name="T14" fmla="*/ 2147483647 w 337"/>
              <a:gd name="T15" fmla="*/ 2147483647 h 320"/>
              <a:gd name="T16" fmla="*/ 2147483647 w 337"/>
              <a:gd name="T17" fmla="*/ 2147483647 h 320"/>
              <a:gd name="T18" fmla="*/ 2147483647 w 337"/>
              <a:gd name="T19" fmla="*/ 2147483647 h 320"/>
              <a:gd name="T20" fmla="*/ 2147483647 w 337"/>
              <a:gd name="T21" fmla="*/ 2147483647 h 320"/>
              <a:gd name="T22" fmla="*/ 2147483647 w 337"/>
              <a:gd name="T23" fmla="*/ 0 h 320"/>
              <a:gd name="T24" fmla="*/ 2147483647 w 337"/>
              <a:gd name="T25" fmla="*/ 2147483647 h 320"/>
              <a:gd name="T26" fmla="*/ 2147483647 w 337"/>
              <a:gd name="T27" fmla="*/ 2147483647 h 320"/>
              <a:gd name="T28" fmla="*/ 2147483647 w 337"/>
              <a:gd name="T29" fmla="*/ 2147483647 h 320"/>
              <a:gd name="T30" fmla="*/ 2147483647 w 337"/>
              <a:gd name="T31" fmla="*/ 2147483647 h 320"/>
              <a:gd name="T32" fmla="*/ 2147483647 w 337"/>
              <a:gd name="T33" fmla="*/ 2147483647 h 320"/>
              <a:gd name="T34" fmla="*/ 2147483647 w 337"/>
              <a:gd name="T35" fmla="*/ 2147483647 h 320"/>
              <a:gd name="T36" fmla="*/ 2147483647 w 337"/>
              <a:gd name="T37" fmla="*/ 2147483647 h 320"/>
              <a:gd name="T38" fmla="*/ 2147483647 w 337"/>
              <a:gd name="T39" fmla="*/ 2147483647 h 320"/>
              <a:gd name="T40" fmla="*/ 2147483647 w 337"/>
              <a:gd name="T41" fmla="*/ 2147483647 h 320"/>
              <a:gd name="T42" fmla="*/ 2147483647 w 337"/>
              <a:gd name="T43" fmla="*/ 2147483647 h 320"/>
              <a:gd name="T44" fmla="*/ 2147483647 w 337"/>
              <a:gd name="T45" fmla="*/ 2147483647 h 320"/>
              <a:gd name="T46" fmla="*/ 2147483647 w 337"/>
              <a:gd name="T47" fmla="*/ 2147483647 h 320"/>
              <a:gd name="T48" fmla="*/ 2147483647 w 337"/>
              <a:gd name="T49" fmla="*/ 2147483647 h 320"/>
              <a:gd name="T50" fmla="*/ 2147483647 w 337"/>
              <a:gd name="T51" fmla="*/ 2147483647 h 320"/>
              <a:gd name="T52" fmla="*/ 2147483647 w 337"/>
              <a:gd name="T53" fmla="*/ 2147483647 h 320"/>
              <a:gd name="T54" fmla="*/ 2147483647 w 337"/>
              <a:gd name="T55" fmla="*/ 2147483647 h 320"/>
              <a:gd name="T56" fmla="*/ 2147483647 w 337"/>
              <a:gd name="T57" fmla="*/ 2147483647 h 320"/>
              <a:gd name="T58" fmla="*/ 2147483647 w 337"/>
              <a:gd name="T59" fmla="*/ 2147483647 h 320"/>
              <a:gd name="T60" fmla="*/ 2147483647 w 337"/>
              <a:gd name="T61" fmla="*/ 2147483647 h 320"/>
              <a:gd name="T62" fmla="*/ 2147483647 w 337"/>
              <a:gd name="T63" fmla="*/ 2147483647 h 320"/>
              <a:gd name="T64" fmla="*/ 2147483647 w 337"/>
              <a:gd name="T65" fmla="*/ 2147483647 h 320"/>
              <a:gd name="T66" fmla="*/ 2147483647 w 337"/>
              <a:gd name="T67" fmla="*/ 2147483647 h 320"/>
              <a:gd name="T68" fmla="*/ 2147483647 w 337"/>
              <a:gd name="T69" fmla="*/ 2147483647 h 320"/>
              <a:gd name="T70" fmla="*/ 2147483647 w 337"/>
              <a:gd name="T71" fmla="*/ 2147483647 h 320"/>
              <a:gd name="T72" fmla="*/ 2147483647 w 337"/>
              <a:gd name="T73" fmla="*/ 2147483647 h 320"/>
              <a:gd name="T74" fmla="*/ 2147483647 w 337"/>
              <a:gd name="T75" fmla="*/ 2147483647 h 320"/>
              <a:gd name="T76" fmla="*/ 2147483647 w 337"/>
              <a:gd name="T77" fmla="*/ 2147483647 h 320"/>
              <a:gd name="T78" fmla="*/ 0 w 337"/>
              <a:gd name="T79" fmla="*/ 2147483647 h 320"/>
              <a:gd name="T80" fmla="*/ 2147483647 w 337"/>
              <a:gd name="T81" fmla="*/ 2147483647 h 320"/>
              <a:gd name="T82" fmla="*/ 2147483647 w 337"/>
              <a:gd name="T83" fmla="*/ 2147483647 h 320"/>
              <a:gd name="T84" fmla="*/ 2147483647 w 337"/>
              <a:gd name="T85" fmla="*/ 2147483647 h 320"/>
              <a:gd name="T86" fmla="*/ 2147483647 w 337"/>
              <a:gd name="T87" fmla="*/ 2147483647 h 320"/>
              <a:gd name="T88" fmla="*/ 2147483647 w 337"/>
              <a:gd name="T89" fmla="*/ 2147483647 h 3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37"/>
              <a:gd name="T136" fmla="*/ 0 h 320"/>
              <a:gd name="T137" fmla="*/ 337 w 337"/>
              <a:gd name="T138" fmla="*/ 320 h 3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37" h="320">
                <a:moveTo>
                  <a:pt x="78" y="103"/>
                </a:moveTo>
                <a:lnTo>
                  <a:pt x="88" y="99"/>
                </a:lnTo>
                <a:lnTo>
                  <a:pt x="106" y="77"/>
                </a:lnTo>
                <a:lnTo>
                  <a:pt x="122" y="68"/>
                </a:lnTo>
                <a:lnTo>
                  <a:pt x="124" y="61"/>
                </a:lnTo>
                <a:lnTo>
                  <a:pt x="141" y="54"/>
                </a:lnTo>
                <a:lnTo>
                  <a:pt x="153" y="57"/>
                </a:lnTo>
                <a:lnTo>
                  <a:pt x="159" y="49"/>
                </a:lnTo>
                <a:lnTo>
                  <a:pt x="150" y="44"/>
                </a:lnTo>
                <a:lnTo>
                  <a:pt x="151" y="37"/>
                </a:lnTo>
                <a:lnTo>
                  <a:pt x="153" y="18"/>
                </a:lnTo>
                <a:lnTo>
                  <a:pt x="194" y="0"/>
                </a:lnTo>
                <a:lnTo>
                  <a:pt x="208" y="4"/>
                </a:lnTo>
                <a:lnTo>
                  <a:pt x="220" y="1"/>
                </a:lnTo>
                <a:lnTo>
                  <a:pt x="220" y="17"/>
                </a:lnTo>
                <a:lnTo>
                  <a:pt x="264" y="19"/>
                </a:lnTo>
                <a:lnTo>
                  <a:pt x="322" y="41"/>
                </a:lnTo>
                <a:lnTo>
                  <a:pt x="328" y="49"/>
                </a:lnTo>
                <a:lnTo>
                  <a:pt x="337" y="84"/>
                </a:lnTo>
                <a:lnTo>
                  <a:pt x="336" y="120"/>
                </a:lnTo>
                <a:lnTo>
                  <a:pt x="324" y="153"/>
                </a:lnTo>
                <a:lnTo>
                  <a:pt x="332" y="199"/>
                </a:lnTo>
                <a:lnTo>
                  <a:pt x="297" y="278"/>
                </a:lnTo>
                <a:lnTo>
                  <a:pt x="278" y="297"/>
                </a:lnTo>
                <a:lnTo>
                  <a:pt x="275" y="320"/>
                </a:lnTo>
                <a:lnTo>
                  <a:pt x="257" y="306"/>
                </a:lnTo>
                <a:lnTo>
                  <a:pt x="242" y="301"/>
                </a:lnTo>
                <a:lnTo>
                  <a:pt x="213" y="301"/>
                </a:lnTo>
                <a:lnTo>
                  <a:pt x="187" y="292"/>
                </a:lnTo>
                <a:lnTo>
                  <a:pt x="178" y="295"/>
                </a:lnTo>
                <a:lnTo>
                  <a:pt x="152" y="281"/>
                </a:lnTo>
                <a:lnTo>
                  <a:pt x="131" y="280"/>
                </a:lnTo>
                <a:lnTo>
                  <a:pt x="117" y="269"/>
                </a:lnTo>
                <a:lnTo>
                  <a:pt x="109" y="228"/>
                </a:lnTo>
                <a:lnTo>
                  <a:pt x="74" y="198"/>
                </a:lnTo>
                <a:lnTo>
                  <a:pt x="61" y="195"/>
                </a:lnTo>
                <a:lnTo>
                  <a:pt x="38" y="171"/>
                </a:lnTo>
                <a:lnTo>
                  <a:pt x="21" y="136"/>
                </a:lnTo>
                <a:lnTo>
                  <a:pt x="2" y="112"/>
                </a:lnTo>
                <a:lnTo>
                  <a:pt x="0" y="101"/>
                </a:lnTo>
                <a:lnTo>
                  <a:pt x="31" y="107"/>
                </a:lnTo>
                <a:lnTo>
                  <a:pt x="54" y="104"/>
                </a:lnTo>
                <a:lnTo>
                  <a:pt x="62" y="111"/>
                </a:lnTo>
                <a:lnTo>
                  <a:pt x="73" y="108"/>
                </a:lnTo>
                <a:lnTo>
                  <a:pt x="78" y="103"/>
                </a:lnTo>
                <a:close/>
              </a:path>
            </a:pathLst>
          </a:custGeom>
          <a:solidFill>
            <a:schemeClr val="accent1"/>
          </a:solidFill>
          <a:ln w="6350">
            <a:solidFill>
              <a:schemeClr val="tx2"/>
            </a:solidFill>
            <a:round/>
            <a:headEnd/>
            <a:tailEnd/>
          </a:ln>
        </p:spPr>
        <p:txBody>
          <a:bodyPr/>
          <a:lstStyle/>
          <a:p>
            <a:endParaRPr lang="en-US"/>
          </a:p>
        </p:txBody>
      </p:sp>
      <p:sp>
        <p:nvSpPr>
          <p:cNvPr id="555" name="Freeform 1400"/>
          <p:cNvSpPr>
            <a:spLocks/>
          </p:cNvSpPr>
          <p:nvPr/>
        </p:nvSpPr>
        <p:spPr bwMode="auto">
          <a:xfrm>
            <a:off x="6191804" y="4571235"/>
            <a:ext cx="192067" cy="175765"/>
          </a:xfrm>
          <a:custGeom>
            <a:avLst/>
            <a:gdLst>
              <a:gd name="T0" fmla="*/ 2147483647 w 407"/>
              <a:gd name="T1" fmla="*/ 2147483647 h 418"/>
              <a:gd name="T2" fmla="*/ 2147483647 w 407"/>
              <a:gd name="T3" fmla="*/ 2147483647 h 418"/>
              <a:gd name="T4" fmla="*/ 2147483647 w 407"/>
              <a:gd name="T5" fmla="*/ 2147483647 h 418"/>
              <a:gd name="T6" fmla="*/ 2147483647 w 407"/>
              <a:gd name="T7" fmla="*/ 2147483647 h 418"/>
              <a:gd name="T8" fmla="*/ 2147483647 w 407"/>
              <a:gd name="T9" fmla="*/ 2147483647 h 418"/>
              <a:gd name="T10" fmla="*/ 2147483647 w 407"/>
              <a:gd name="T11" fmla="*/ 2147483647 h 418"/>
              <a:gd name="T12" fmla="*/ 2147483647 w 407"/>
              <a:gd name="T13" fmla="*/ 2147483647 h 418"/>
              <a:gd name="T14" fmla="*/ 2147483647 w 407"/>
              <a:gd name="T15" fmla="*/ 2147483647 h 418"/>
              <a:gd name="T16" fmla="*/ 2147483647 w 407"/>
              <a:gd name="T17" fmla="*/ 2147483647 h 418"/>
              <a:gd name="T18" fmla="*/ 2147483647 w 407"/>
              <a:gd name="T19" fmla="*/ 2147483647 h 418"/>
              <a:gd name="T20" fmla="*/ 2147483647 w 407"/>
              <a:gd name="T21" fmla="*/ 2147483647 h 418"/>
              <a:gd name="T22" fmla="*/ 2147483647 w 407"/>
              <a:gd name="T23" fmla="*/ 0 h 418"/>
              <a:gd name="T24" fmla="*/ 2147483647 w 407"/>
              <a:gd name="T25" fmla="*/ 2147483647 h 418"/>
              <a:gd name="T26" fmla="*/ 2147483647 w 407"/>
              <a:gd name="T27" fmla="*/ 2147483647 h 418"/>
              <a:gd name="T28" fmla="*/ 2147483647 w 407"/>
              <a:gd name="T29" fmla="*/ 2147483647 h 418"/>
              <a:gd name="T30" fmla="*/ 2147483647 w 407"/>
              <a:gd name="T31" fmla="*/ 2147483647 h 418"/>
              <a:gd name="T32" fmla="*/ 2147483647 w 407"/>
              <a:gd name="T33" fmla="*/ 2147483647 h 418"/>
              <a:gd name="T34" fmla="*/ 2147483647 w 407"/>
              <a:gd name="T35" fmla="*/ 2147483647 h 418"/>
              <a:gd name="T36" fmla="*/ 2147483647 w 407"/>
              <a:gd name="T37" fmla="*/ 2147483647 h 418"/>
              <a:gd name="T38" fmla="*/ 2147483647 w 407"/>
              <a:gd name="T39" fmla="*/ 2147483647 h 418"/>
              <a:gd name="T40" fmla="*/ 2147483647 w 407"/>
              <a:gd name="T41" fmla="*/ 2147483647 h 418"/>
              <a:gd name="T42" fmla="*/ 2147483647 w 407"/>
              <a:gd name="T43" fmla="*/ 2147483647 h 418"/>
              <a:gd name="T44" fmla="*/ 2147483647 w 407"/>
              <a:gd name="T45" fmla="*/ 2147483647 h 418"/>
              <a:gd name="T46" fmla="*/ 2147483647 w 407"/>
              <a:gd name="T47" fmla="*/ 2147483647 h 418"/>
              <a:gd name="T48" fmla="*/ 2147483647 w 407"/>
              <a:gd name="T49" fmla="*/ 2147483647 h 418"/>
              <a:gd name="T50" fmla="*/ 0 w 407"/>
              <a:gd name="T51" fmla="*/ 2147483647 h 418"/>
              <a:gd name="T52" fmla="*/ 2147483647 w 407"/>
              <a:gd name="T53" fmla="*/ 2147483647 h 418"/>
              <a:gd name="T54" fmla="*/ 2147483647 w 407"/>
              <a:gd name="T55" fmla="*/ 2147483647 h 418"/>
              <a:gd name="T56" fmla="*/ 2147483647 w 407"/>
              <a:gd name="T57" fmla="*/ 2147483647 h 418"/>
              <a:gd name="T58" fmla="*/ 2147483647 w 407"/>
              <a:gd name="T59" fmla="*/ 2147483647 h 418"/>
              <a:gd name="T60" fmla="*/ 2147483647 w 407"/>
              <a:gd name="T61" fmla="*/ 2147483647 h 418"/>
              <a:gd name="T62" fmla="*/ 2147483647 w 407"/>
              <a:gd name="T63" fmla="*/ 2147483647 h 418"/>
              <a:gd name="T64" fmla="*/ 2147483647 w 407"/>
              <a:gd name="T65" fmla="*/ 2147483647 h 418"/>
              <a:gd name="T66" fmla="*/ 2147483647 w 407"/>
              <a:gd name="T67" fmla="*/ 2147483647 h 418"/>
              <a:gd name="T68" fmla="*/ 2147483647 w 407"/>
              <a:gd name="T69" fmla="*/ 2147483647 h 418"/>
              <a:gd name="T70" fmla="*/ 2147483647 w 407"/>
              <a:gd name="T71" fmla="*/ 2147483647 h 418"/>
              <a:gd name="T72" fmla="*/ 2147483647 w 407"/>
              <a:gd name="T73" fmla="*/ 2147483647 h 418"/>
              <a:gd name="T74" fmla="*/ 2147483647 w 407"/>
              <a:gd name="T75" fmla="*/ 2147483647 h 418"/>
              <a:gd name="T76" fmla="*/ 2147483647 w 407"/>
              <a:gd name="T77" fmla="*/ 2147483647 h 418"/>
              <a:gd name="T78" fmla="*/ 2147483647 w 407"/>
              <a:gd name="T79" fmla="*/ 2147483647 h 418"/>
              <a:gd name="T80" fmla="*/ 2147483647 w 407"/>
              <a:gd name="T81" fmla="*/ 2147483647 h 418"/>
              <a:gd name="T82" fmla="*/ 2147483647 w 407"/>
              <a:gd name="T83" fmla="*/ 2147483647 h 4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7"/>
              <a:gd name="T127" fmla="*/ 0 h 418"/>
              <a:gd name="T128" fmla="*/ 407 w 407"/>
              <a:gd name="T129" fmla="*/ 418 h 4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7" h="418">
                <a:moveTo>
                  <a:pt x="407" y="196"/>
                </a:moveTo>
                <a:lnTo>
                  <a:pt x="381" y="182"/>
                </a:lnTo>
                <a:lnTo>
                  <a:pt x="360" y="181"/>
                </a:lnTo>
                <a:lnTo>
                  <a:pt x="346" y="170"/>
                </a:lnTo>
                <a:lnTo>
                  <a:pt x="338" y="129"/>
                </a:lnTo>
                <a:lnTo>
                  <a:pt x="303" y="99"/>
                </a:lnTo>
                <a:lnTo>
                  <a:pt x="290" y="96"/>
                </a:lnTo>
                <a:lnTo>
                  <a:pt x="267" y="72"/>
                </a:lnTo>
                <a:lnTo>
                  <a:pt x="250" y="37"/>
                </a:lnTo>
                <a:lnTo>
                  <a:pt x="231" y="13"/>
                </a:lnTo>
                <a:lnTo>
                  <a:pt x="229" y="2"/>
                </a:lnTo>
                <a:lnTo>
                  <a:pt x="214" y="0"/>
                </a:lnTo>
                <a:lnTo>
                  <a:pt x="205" y="8"/>
                </a:lnTo>
                <a:lnTo>
                  <a:pt x="184" y="14"/>
                </a:lnTo>
                <a:lnTo>
                  <a:pt x="159" y="38"/>
                </a:lnTo>
                <a:lnTo>
                  <a:pt x="151" y="17"/>
                </a:lnTo>
                <a:lnTo>
                  <a:pt x="130" y="13"/>
                </a:lnTo>
                <a:lnTo>
                  <a:pt x="44" y="31"/>
                </a:lnTo>
                <a:lnTo>
                  <a:pt x="44" y="73"/>
                </a:lnTo>
                <a:lnTo>
                  <a:pt x="44" y="105"/>
                </a:lnTo>
                <a:lnTo>
                  <a:pt x="44" y="144"/>
                </a:lnTo>
                <a:lnTo>
                  <a:pt x="44" y="189"/>
                </a:lnTo>
                <a:lnTo>
                  <a:pt x="5" y="187"/>
                </a:lnTo>
                <a:lnTo>
                  <a:pt x="1" y="191"/>
                </a:lnTo>
                <a:lnTo>
                  <a:pt x="1" y="256"/>
                </a:lnTo>
                <a:lnTo>
                  <a:pt x="0" y="319"/>
                </a:lnTo>
                <a:lnTo>
                  <a:pt x="39" y="361"/>
                </a:lnTo>
                <a:lnTo>
                  <a:pt x="42" y="379"/>
                </a:lnTo>
                <a:lnTo>
                  <a:pt x="33" y="405"/>
                </a:lnTo>
                <a:lnTo>
                  <a:pt x="36" y="413"/>
                </a:lnTo>
                <a:lnTo>
                  <a:pt x="72" y="418"/>
                </a:lnTo>
                <a:lnTo>
                  <a:pt x="99" y="411"/>
                </a:lnTo>
                <a:lnTo>
                  <a:pt x="149" y="352"/>
                </a:lnTo>
                <a:lnTo>
                  <a:pt x="169" y="350"/>
                </a:lnTo>
                <a:lnTo>
                  <a:pt x="209" y="365"/>
                </a:lnTo>
                <a:lnTo>
                  <a:pt x="243" y="356"/>
                </a:lnTo>
                <a:lnTo>
                  <a:pt x="258" y="324"/>
                </a:lnTo>
                <a:lnTo>
                  <a:pt x="291" y="295"/>
                </a:lnTo>
                <a:lnTo>
                  <a:pt x="307" y="276"/>
                </a:lnTo>
                <a:lnTo>
                  <a:pt x="329" y="248"/>
                </a:lnTo>
                <a:lnTo>
                  <a:pt x="357" y="225"/>
                </a:lnTo>
                <a:lnTo>
                  <a:pt x="407" y="196"/>
                </a:lnTo>
                <a:close/>
              </a:path>
            </a:pathLst>
          </a:custGeom>
          <a:solidFill>
            <a:schemeClr val="accent1"/>
          </a:solidFill>
          <a:ln w="6350">
            <a:solidFill>
              <a:schemeClr val="tx2"/>
            </a:solidFill>
            <a:round/>
            <a:headEnd/>
            <a:tailEnd/>
          </a:ln>
        </p:spPr>
        <p:txBody>
          <a:bodyPr/>
          <a:lstStyle/>
          <a:p>
            <a:endParaRPr lang="en-US"/>
          </a:p>
        </p:txBody>
      </p:sp>
      <p:sp>
        <p:nvSpPr>
          <p:cNvPr id="556" name="Freeform 1401"/>
          <p:cNvSpPr>
            <a:spLocks/>
          </p:cNvSpPr>
          <p:nvPr/>
        </p:nvSpPr>
        <p:spPr bwMode="auto">
          <a:xfrm>
            <a:off x="6026969" y="4555952"/>
            <a:ext cx="273768" cy="234353"/>
          </a:xfrm>
          <a:custGeom>
            <a:avLst/>
            <a:gdLst>
              <a:gd name="T0" fmla="*/ 2147483647 w 583"/>
              <a:gd name="T1" fmla="*/ 2147483647 h 564"/>
              <a:gd name="T2" fmla="*/ 2147483647 w 583"/>
              <a:gd name="T3" fmla="*/ 2147483647 h 564"/>
              <a:gd name="T4" fmla="*/ 2147483647 w 583"/>
              <a:gd name="T5" fmla="*/ 2147483647 h 564"/>
              <a:gd name="T6" fmla="*/ 2147483647 w 583"/>
              <a:gd name="T7" fmla="*/ 2147483647 h 564"/>
              <a:gd name="T8" fmla="*/ 2147483647 w 583"/>
              <a:gd name="T9" fmla="*/ 2147483647 h 564"/>
              <a:gd name="T10" fmla="*/ 2147483647 w 583"/>
              <a:gd name="T11" fmla="*/ 2147483647 h 564"/>
              <a:gd name="T12" fmla="*/ 2147483647 w 583"/>
              <a:gd name="T13" fmla="*/ 0 h 564"/>
              <a:gd name="T14" fmla="*/ 2147483647 w 583"/>
              <a:gd name="T15" fmla="*/ 0 h 564"/>
              <a:gd name="T16" fmla="*/ 2147483647 w 583"/>
              <a:gd name="T17" fmla="*/ 2147483647 h 564"/>
              <a:gd name="T18" fmla="*/ 2147483647 w 583"/>
              <a:gd name="T19" fmla="*/ 2147483647 h 564"/>
              <a:gd name="T20" fmla="*/ 0 w 583"/>
              <a:gd name="T21" fmla="*/ 2147483647 h 564"/>
              <a:gd name="T22" fmla="*/ 2147483647 w 583"/>
              <a:gd name="T23" fmla="*/ 2147483647 h 564"/>
              <a:gd name="T24" fmla="*/ 2147483647 w 583"/>
              <a:gd name="T25" fmla="*/ 2147483647 h 564"/>
              <a:gd name="T26" fmla="*/ 2147483647 w 583"/>
              <a:gd name="T27" fmla="*/ 2147483647 h 564"/>
              <a:gd name="T28" fmla="*/ 2147483647 w 583"/>
              <a:gd name="T29" fmla="*/ 2147483647 h 564"/>
              <a:gd name="T30" fmla="*/ 2147483647 w 583"/>
              <a:gd name="T31" fmla="*/ 2147483647 h 564"/>
              <a:gd name="T32" fmla="*/ 2147483647 w 583"/>
              <a:gd name="T33" fmla="*/ 2147483647 h 564"/>
              <a:gd name="T34" fmla="*/ 2147483647 w 583"/>
              <a:gd name="T35" fmla="*/ 2147483647 h 564"/>
              <a:gd name="T36" fmla="*/ 2147483647 w 583"/>
              <a:gd name="T37" fmla="*/ 2147483647 h 564"/>
              <a:gd name="T38" fmla="*/ 2147483647 w 583"/>
              <a:gd name="T39" fmla="*/ 2147483647 h 564"/>
              <a:gd name="T40" fmla="*/ 2147483647 w 583"/>
              <a:gd name="T41" fmla="*/ 2147483647 h 564"/>
              <a:gd name="T42" fmla="*/ 2147483647 w 583"/>
              <a:gd name="T43" fmla="*/ 2147483647 h 564"/>
              <a:gd name="T44" fmla="*/ 2147483647 w 583"/>
              <a:gd name="T45" fmla="*/ 2147483647 h 564"/>
              <a:gd name="T46" fmla="*/ 2147483647 w 583"/>
              <a:gd name="T47" fmla="*/ 2147483647 h 564"/>
              <a:gd name="T48" fmla="*/ 2147483647 w 583"/>
              <a:gd name="T49" fmla="*/ 2147483647 h 564"/>
              <a:gd name="T50" fmla="*/ 2147483647 w 583"/>
              <a:gd name="T51" fmla="*/ 2147483647 h 564"/>
              <a:gd name="T52" fmla="*/ 2147483647 w 583"/>
              <a:gd name="T53" fmla="*/ 2147483647 h 564"/>
              <a:gd name="T54" fmla="*/ 2147483647 w 583"/>
              <a:gd name="T55" fmla="*/ 2147483647 h 564"/>
              <a:gd name="T56" fmla="*/ 2147483647 w 583"/>
              <a:gd name="T57" fmla="*/ 2147483647 h 564"/>
              <a:gd name="T58" fmla="*/ 2147483647 w 583"/>
              <a:gd name="T59" fmla="*/ 2147483647 h 564"/>
              <a:gd name="T60" fmla="*/ 2147483647 w 583"/>
              <a:gd name="T61" fmla="*/ 2147483647 h 564"/>
              <a:gd name="T62" fmla="*/ 2147483647 w 583"/>
              <a:gd name="T63" fmla="*/ 2147483647 h 564"/>
              <a:gd name="T64" fmla="*/ 2147483647 w 583"/>
              <a:gd name="T65" fmla="*/ 2147483647 h 564"/>
              <a:gd name="T66" fmla="*/ 2147483647 w 583"/>
              <a:gd name="T67" fmla="*/ 2147483647 h 564"/>
              <a:gd name="T68" fmla="*/ 2147483647 w 583"/>
              <a:gd name="T69" fmla="*/ 2147483647 h 564"/>
              <a:gd name="T70" fmla="*/ 2147483647 w 583"/>
              <a:gd name="T71" fmla="*/ 2147483647 h 564"/>
              <a:gd name="T72" fmla="*/ 2147483647 w 583"/>
              <a:gd name="T73" fmla="*/ 2147483647 h 564"/>
              <a:gd name="T74" fmla="*/ 2147483647 w 583"/>
              <a:gd name="T75" fmla="*/ 2147483647 h 564"/>
              <a:gd name="T76" fmla="*/ 2147483647 w 583"/>
              <a:gd name="T77" fmla="*/ 2147483647 h 564"/>
              <a:gd name="T78" fmla="*/ 2147483647 w 583"/>
              <a:gd name="T79" fmla="*/ 2147483647 h 564"/>
              <a:gd name="T80" fmla="*/ 2147483647 w 583"/>
              <a:gd name="T81" fmla="*/ 2147483647 h 564"/>
              <a:gd name="T82" fmla="*/ 2147483647 w 583"/>
              <a:gd name="T83" fmla="*/ 2147483647 h 564"/>
              <a:gd name="T84" fmla="*/ 2147483647 w 583"/>
              <a:gd name="T85" fmla="*/ 2147483647 h 564"/>
              <a:gd name="T86" fmla="*/ 2147483647 w 583"/>
              <a:gd name="T87" fmla="*/ 2147483647 h 564"/>
              <a:gd name="T88" fmla="*/ 2147483647 w 583"/>
              <a:gd name="T89" fmla="*/ 2147483647 h 564"/>
              <a:gd name="T90" fmla="*/ 2147483647 w 583"/>
              <a:gd name="T91" fmla="*/ 2147483647 h 564"/>
              <a:gd name="T92" fmla="*/ 2147483647 w 583"/>
              <a:gd name="T93" fmla="*/ 2147483647 h 564"/>
              <a:gd name="T94" fmla="*/ 2147483647 w 583"/>
              <a:gd name="T95" fmla="*/ 2147483647 h 564"/>
              <a:gd name="T96" fmla="*/ 2147483647 w 583"/>
              <a:gd name="T97" fmla="*/ 2147483647 h 564"/>
              <a:gd name="T98" fmla="*/ 2147483647 w 583"/>
              <a:gd name="T99" fmla="*/ 2147483647 h 564"/>
              <a:gd name="T100" fmla="*/ 2147483647 w 583"/>
              <a:gd name="T101" fmla="*/ 2147483647 h 564"/>
              <a:gd name="T102" fmla="*/ 2147483647 w 583"/>
              <a:gd name="T103" fmla="*/ 2147483647 h 564"/>
              <a:gd name="T104" fmla="*/ 2147483647 w 583"/>
              <a:gd name="T105" fmla="*/ 2147483647 h 564"/>
              <a:gd name="T106" fmla="*/ 2147483647 w 583"/>
              <a:gd name="T107" fmla="*/ 2147483647 h 564"/>
              <a:gd name="T108" fmla="*/ 2147483647 w 583"/>
              <a:gd name="T109" fmla="*/ 2147483647 h 5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3"/>
              <a:gd name="T166" fmla="*/ 0 h 564"/>
              <a:gd name="T167" fmla="*/ 583 w 583"/>
              <a:gd name="T168" fmla="*/ 564 h 5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3" h="564">
                <a:moveTo>
                  <a:pt x="288" y="20"/>
                </a:moveTo>
                <a:lnTo>
                  <a:pt x="240" y="20"/>
                </a:lnTo>
                <a:lnTo>
                  <a:pt x="192" y="20"/>
                </a:lnTo>
                <a:lnTo>
                  <a:pt x="145" y="20"/>
                </a:lnTo>
                <a:lnTo>
                  <a:pt x="97" y="20"/>
                </a:lnTo>
                <a:lnTo>
                  <a:pt x="72" y="1"/>
                </a:lnTo>
                <a:lnTo>
                  <a:pt x="64" y="0"/>
                </a:lnTo>
                <a:lnTo>
                  <a:pt x="46" y="0"/>
                </a:lnTo>
                <a:lnTo>
                  <a:pt x="26" y="13"/>
                </a:lnTo>
                <a:lnTo>
                  <a:pt x="19" y="8"/>
                </a:lnTo>
                <a:lnTo>
                  <a:pt x="0" y="19"/>
                </a:lnTo>
                <a:lnTo>
                  <a:pt x="2" y="57"/>
                </a:lnTo>
                <a:lnTo>
                  <a:pt x="43" y="117"/>
                </a:lnTo>
                <a:lnTo>
                  <a:pt x="76" y="186"/>
                </a:lnTo>
                <a:lnTo>
                  <a:pt x="118" y="258"/>
                </a:lnTo>
                <a:lnTo>
                  <a:pt x="119" y="331"/>
                </a:lnTo>
                <a:lnTo>
                  <a:pt x="134" y="372"/>
                </a:lnTo>
                <a:lnTo>
                  <a:pt x="136" y="408"/>
                </a:lnTo>
                <a:lnTo>
                  <a:pt x="153" y="486"/>
                </a:lnTo>
                <a:lnTo>
                  <a:pt x="175" y="521"/>
                </a:lnTo>
                <a:lnTo>
                  <a:pt x="208" y="548"/>
                </a:lnTo>
                <a:lnTo>
                  <a:pt x="215" y="546"/>
                </a:lnTo>
                <a:lnTo>
                  <a:pt x="224" y="531"/>
                </a:lnTo>
                <a:lnTo>
                  <a:pt x="233" y="531"/>
                </a:lnTo>
                <a:lnTo>
                  <a:pt x="253" y="545"/>
                </a:lnTo>
                <a:lnTo>
                  <a:pt x="253" y="554"/>
                </a:lnTo>
                <a:lnTo>
                  <a:pt x="261" y="564"/>
                </a:lnTo>
                <a:lnTo>
                  <a:pt x="317" y="564"/>
                </a:lnTo>
                <a:lnTo>
                  <a:pt x="354" y="540"/>
                </a:lnTo>
                <a:lnTo>
                  <a:pt x="354" y="464"/>
                </a:lnTo>
                <a:lnTo>
                  <a:pt x="354" y="410"/>
                </a:lnTo>
                <a:lnTo>
                  <a:pt x="354" y="359"/>
                </a:lnTo>
                <a:lnTo>
                  <a:pt x="355" y="296"/>
                </a:lnTo>
                <a:lnTo>
                  <a:pt x="355" y="231"/>
                </a:lnTo>
                <a:lnTo>
                  <a:pt x="359" y="227"/>
                </a:lnTo>
                <a:lnTo>
                  <a:pt x="398" y="229"/>
                </a:lnTo>
                <a:lnTo>
                  <a:pt x="398" y="184"/>
                </a:lnTo>
                <a:lnTo>
                  <a:pt x="398" y="144"/>
                </a:lnTo>
                <a:lnTo>
                  <a:pt x="398" y="115"/>
                </a:lnTo>
                <a:lnTo>
                  <a:pt x="398" y="71"/>
                </a:lnTo>
                <a:lnTo>
                  <a:pt x="484" y="53"/>
                </a:lnTo>
                <a:lnTo>
                  <a:pt x="505" y="57"/>
                </a:lnTo>
                <a:lnTo>
                  <a:pt x="513" y="78"/>
                </a:lnTo>
                <a:lnTo>
                  <a:pt x="538" y="54"/>
                </a:lnTo>
                <a:lnTo>
                  <a:pt x="559" y="48"/>
                </a:lnTo>
                <a:lnTo>
                  <a:pt x="568" y="40"/>
                </a:lnTo>
                <a:lnTo>
                  <a:pt x="583" y="42"/>
                </a:lnTo>
                <a:lnTo>
                  <a:pt x="568" y="27"/>
                </a:lnTo>
                <a:lnTo>
                  <a:pt x="539" y="22"/>
                </a:lnTo>
                <a:lnTo>
                  <a:pt x="499" y="32"/>
                </a:lnTo>
                <a:lnTo>
                  <a:pt x="423" y="52"/>
                </a:lnTo>
                <a:lnTo>
                  <a:pt x="362" y="40"/>
                </a:lnTo>
                <a:lnTo>
                  <a:pt x="318" y="41"/>
                </a:lnTo>
                <a:lnTo>
                  <a:pt x="305" y="37"/>
                </a:lnTo>
                <a:lnTo>
                  <a:pt x="288" y="20"/>
                </a:lnTo>
                <a:close/>
              </a:path>
            </a:pathLst>
          </a:custGeom>
          <a:solidFill>
            <a:schemeClr val="accent1"/>
          </a:solidFill>
          <a:ln w="6350">
            <a:solidFill>
              <a:schemeClr val="tx2"/>
            </a:solidFill>
            <a:round/>
            <a:headEnd/>
            <a:tailEnd/>
          </a:ln>
        </p:spPr>
        <p:txBody>
          <a:bodyPr/>
          <a:lstStyle/>
          <a:p>
            <a:endParaRPr lang="en-US"/>
          </a:p>
        </p:txBody>
      </p:sp>
      <p:sp>
        <p:nvSpPr>
          <p:cNvPr id="557" name="Freeform 1402"/>
          <p:cNvSpPr>
            <a:spLocks/>
          </p:cNvSpPr>
          <p:nvPr/>
        </p:nvSpPr>
        <p:spPr bwMode="auto">
          <a:xfrm>
            <a:off x="5793335" y="3819778"/>
            <a:ext cx="322501" cy="221616"/>
          </a:xfrm>
          <a:custGeom>
            <a:avLst/>
            <a:gdLst>
              <a:gd name="T0" fmla="*/ 2147483647 w 685"/>
              <a:gd name="T1" fmla="*/ 2147483647 h 530"/>
              <a:gd name="T2" fmla="*/ 2147483647 w 685"/>
              <a:gd name="T3" fmla="*/ 2147483647 h 530"/>
              <a:gd name="T4" fmla="*/ 2147483647 w 685"/>
              <a:gd name="T5" fmla="*/ 2147483647 h 530"/>
              <a:gd name="T6" fmla="*/ 2147483647 w 685"/>
              <a:gd name="T7" fmla="*/ 2147483647 h 530"/>
              <a:gd name="T8" fmla="*/ 2147483647 w 685"/>
              <a:gd name="T9" fmla="*/ 2147483647 h 530"/>
              <a:gd name="T10" fmla="*/ 0 w 685"/>
              <a:gd name="T11" fmla="*/ 2147483647 h 530"/>
              <a:gd name="T12" fmla="*/ 2147483647 w 685"/>
              <a:gd name="T13" fmla="*/ 2147483647 h 530"/>
              <a:gd name="T14" fmla="*/ 2147483647 w 685"/>
              <a:gd name="T15" fmla="*/ 2147483647 h 530"/>
              <a:gd name="T16" fmla="*/ 2147483647 w 685"/>
              <a:gd name="T17" fmla="*/ 2147483647 h 530"/>
              <a:gd name="T18" fmla="*/ 2147483647 w 685"/>
              <a:gd name="T19" fmla="*/ 2147483647 h 530"/>
              <a:gd name="T20" fmla="*/ 2147483647 w 685"/>
              <a:gd name="T21" fmla="*/ 2147483647 h 530"/>
              <a:gd name="T22" fmla="*/ 2147483647 w 685"/>
              <a:gd name="T23" fmla="*/ 2147483647 h 530"/>
              <a:gd name="T24" fmla="*/ 2147483647 w 685"/>
              <a:gd name="T25" fmla="*/ 2147483647 h 530"/>
              <a:gd name="T26" fmla="*/ 2147483647 w 685"/>
              <a:gd name="T27" fmla="*/ 2147483647 h 530"/>
              <a:gd name="T28" fmla="*/ 2147483647 w 685"/>
              <a:gd name="T29" fmla="*/ 2147483647 h 530"/>
              <a:gd name="T30" fmla="*/ 2147483647 w 685"/>
              <a:gd name="T31" fmla="*/ 2147483647 h 530"/>
              <a:gd name="T32" fmla="*/ 2147483647 w 685"/>
              <a:gd name="T33" fmla="*/ 2147483647 h 530"/>
              <a:gd name="T34" fmla="*/ 2147483647 w 685"/>
              <a:gd name="T35" fmla="*/ 2147483647 h 530"/>
              <a:gd name="T36" fmla="*/ 2147483647 w 685"/>
              <a:gd name="T37" fmla="*/ 2147483647 h 530"/>
              <a:gd name="T38" fmla="*/ 2147483647 w 685"/>
              <a:gd name="T39" fmla="*/ 2147483647 h 530"/>
              <a:gd name="T40" fmla="*/ 2147483647 w 685"/>
              <a:gd name="T41" fmla="*/ 2147483647 h 530"/>
              <a:gd name="T42" fmla="*/ 2147483647 w 685"/>
              <a:gd name="T43" fmla="*/ 2147483647 h 530"/>
              <a:gd name="T44" fmla="*/ 2147483647 w 685"/>
              <a:gd name="T45" fmla="*/ 2147483647 h 530"/>
              <a:gd name="T46" fmla="*/ 2147483647 w 685"/>
              <a:gd name="T47" fmla="*/ 2147483647 h 530"/>
              <a:gd name="T48" fmla="*/ 2147483647 w 685"/>
              <a:gd name="T49" fmla="*/ 2147483647 h 530"/>
              <a:gd name="T50" fmla="*/ 2147483647 w 685"/>
              <a:gd name="T51" fmla="*/ 2147483647 h 530"/>
              <a:gd name="T52" fmla="*/ 2147483647 w 685"/>
              <a:gd name="T53" fmla="*/ 2147483647 h 530"/>
              <a:gd name="T54" fmla="*/ 2147483647 w 685"/>
              <a:gd name="T55" fmla="*/ 2147483647 h 530"/>
              <a:gd name="T56" fmla="*/ 2147483647 w 685"/>
              <a:gd name="T57" fmla="*/ 2147483647 h 530"/>
              <a:gd name="T58" fmla="*/ 2147483647 w 685"/>
              <a:gd name="T59" fmla="*/ 2147483647 h 530"/>
              <a:gd name="T60" fmla="*/ 2147483647 w 685"/>
              <a:gd name="T61" fmla="*/ 0 h 530"/>
              <a:gd name="T62" fmla="*/ 2147483647 w 685"/>
              <a:gd name="T63" fmla="*/ 2147483647 h 530"/>
              <a:gd name="T64" fmla="*/ 2147483647 w 685"/>
              <a:gd name="T65" fmla="*/ 2147483647 h 530"/>
              <a:gd name="T66" fmla="*/ 2147483647 w 685"/>
              <a:gd name="T67" fmla="*/ 2147483647 h 530"/>
              <a:gd name="T68" fmla="*/ 2147483647 w 685"/>
              <a:gd name="T69" fmla="*/ 2147483647 h 530"/>
              <a:gd name="T70" fmla="*/ 2147483647 w 685"/>
              <a:gd name="T71" fmla="*/ 2147483647 h 530"/>
              <a:gd name="T72" fmla="*/ 2147483647 w 685"/>
              <a:gd name="T73" fmla="*/ 2147483647 h 530"/>
              <a:gd name="T74" fmla="*/ 2147483647 w 685"/>
              <a:gd name="T75" fmla="*/ 2147483647 h 5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85"/>
              <a:gd name="T115" fmla="*/ 0 h 530"/>
              <a:gd name="T116" fmla="*/ 685 w 685"/>
              <a:gd name="T117" fmla="*/ 530 h 5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85" h="530">
                <a:moveTo>
                  <a:pt x="173" y="200"/>
                </a:moveTo>
                <a:lnTo>
                  <a:pt x="174" y="235"/>
                </a:lnTo>
                <a:lnTo>
                  <a:pt x="175" y="270"/>
                </a:lnTo>
                <a:lnTo>
                  <a:pt x="175" y="305"/>
                </a:lnTo>
                <a:lnTo>
                  <a:pt x="175" y="340"/>
                </a:lnTo>
                <a:lnTo>
                  <a:pt x="164" y="345"/>
                </a:lnTo>
                <a:lnTo>
                  <a:pt x="145" y="370"/>
                </a:lnTo>
                <a:lnTo>
                  <a:pt x="100" y="370"/>
                </a:lnTo>
                <a:lnTo>
                  <a:pt x="53" y="370"/>
                </a:lnTo>
                <a:lnTo>
                  <a:pt x="33" y="385"/>
                </a:lnTo>
                <a:lnTo>
                  <a:pt x="5" y="385"/>
                </a:lnTo>
                <a:lnTo>
                  <a:pt x="0" y="406"/>
                </a:lnTo>
                <a:lnTo>
                  <a:pt x="9" y="415"/>
                </a:lnTo>
                <a:lnTo>
                  <a:pt x="12" y="429"/>
                </a:lnTo>
                <a:lnTo>
                  <a:pt x="35" y="451"/>
                </a:lnTo>
                <a:lnTo>
                  <a:pt x="56" y="485"/>
                </a:lnTo>
                <a:lnTo>
                  <a:pt x="69" y="491"/>
                </a:lnTo>
                <a:lnTo>
                  <a:pt x="80" y="486"/>
                </a:lnTo>
                <a:lnTo>
                  <a:pt x="88" y="488"/>
                </a:lnTo>
                <a:lnTo>
                  <a:pt x="93" y="498"/>
                </a:lnTo>
                <a:lnTo>
                  <a:pt x="86" y="500"/>
                </a:lnTo>
                <a:lnTo>
                  <a:pt x="86" y="506"/>
                </a:lnTo>
                <a:lnTo>
                  <a:pt x="99" y="519"/>
                </a:lnTo>
                <a:lnTo>
                  <a:pt x="105" y="516"/>
                </a:lnTo>
                <a:lnTo>
                  <a:pt x="99" y="506"/>
                </a:lnTo>
                <a:lnTo>
                  <a:pt x="119" y="500"/>
                </a:lnTo>
                <a:lnTo>
                  <a:pt x="151" y="530"/>
                </a:lnTo>
                <a:lnTo>
                  <a:pt x="151" y="497"/>
                </a:lnTo>
                <a:lnTo>
                  <a:pt x="166" y="482"/>
                </a:lnTo>
                <a:lnTo>
                  <a:pt x="175" y="454"/>
                </a:lnTo>
                <a:lnTo>
                  <a:pt x="203" y="440"/>
                </a:lnTo>
                <a:lnTo>
                  <a:pt x="239" y="438"/>
                </a:lnTo>
                <a:lnTo>
                  <a:pt x="269" y="452"/>
                </a:lnTo>
                <a:lnTo>
                  <a:pt x="295" y="475"/>
                </a:lnTo>
                <a:lnTo>
                  <a:pt x="302" y="475"/>
                </a:lnTo>
                <a:lnTo>
                  <a:pt x="321" y="462"/>
                </a:lnTo>
                <a:lnTo>
                  <a:pt x="338" y="460"/>
                </a:lnTo>
                <a:lnTo>
                  <a:pt x="370" y="478"/>
                </a:lnTo>
                <a:lnTo>
                  <a:pt x="398" y="483"/>
                </a:lnTo>
                <a:lnTo>
                  <a:pt x="408" y="482"/>
                </a:lnTo>
                <a:lnTo>
                  <a:pt x="440" y="460"/>
                </a:lnTo>
                <a:lnTo>
                  <a:pt x="497" y="456"/>
                </a:lnTo>
                <a:lnTo>
                  <a:pt x="528" y="466"/>
                </a:lnTo>
                <a:lnTo>
                  <a:pt x="546" y="450"/>
                </a:lnTo>
                <a:lnTo>
                  <a:pt x="556" y="449"/>
                </a:lnTo>
                <a:lnTo>
                  <a:pt x="563" y="437"/>
                </a:lnTo>
                <a:lnTo>
                  <a:pt x="578" y="437"/>
                </a:lnTo>
                <a:lnTo>
                  <a:pt x="573" y="414"/>
                </a:lnTo>
                <a:lnTo>
                  <a:pt x="572" y="405"/>
                </a:lnTo>
                <a:lnTo>
                  <a:pt x="582" y="401"/>
                </a:lnTo>
                <a:lnTo>
                  <a:pt x="586" y="381"/>
                </a:lnTo>
                <a:lnTo>
                  <a:pt x="658" y="300"/>
                </a:lnTo>
                <a:lnTo>
                  <a:pt x="663" y="223"/>
                </a:lnTo>
                <a:lnTo>
                  <a:pt x="674" y="160"/>
                </a:lnTo>
                <a:lnTo>
                  <a:pt x="685" y="141"/>
                </a:lnTo>
                <a:lnTo>
                  <a:pt x="657" y="123"/>
                </a:lnTo>
                <a:lnTo>
                  <a:pt x="645" y="93"/>
                </a:lnTo>
                <a:lnTo>
                  <a:pt x="643" y="21"/>
                </a:lnTo>
                <a:lnTo>
                  <a:pt x="629" y="25"/>
                </a:lnTo>
                <a:lnTo>
                  <a:pt x="621" y="15"/>
                </a:lnTo>
                <a:lnTo>
                  <a:pt x="596" y="1"/>
                </a:lnTo>
                <a:lnTo>
                  <a:pt x="501" y="0"/>
                </a:lnTo>
                <a:lnTo>
                  <a:pt x="481" y="14"/>
                </a:lnTo>
                <a:lnTo>
                  <a:pt x="461" y="27"/>
                </a:lnTo>
                <a:lnTo>
                  <a:pt x="441" y="42"/>
                </a:lnTo>
                <a:lnTo>
                  <a:pt x="419" y="55"/>
                </a:lnTo>
                <a:lnTo>
                  <a:pt x="399" y="69"/>
                </a:lnTo>
                <a:lnTo>
                  <a:pt x="379" y="82"/>
                </a:lnTo>
                <a:lnTo>
                  <a:pt x="358" y="95"/>
                </a:lnTo>
                <a:lnTo>
                  <a:pt x="337" y="110"/>
                </a:lnTo>
                <a:lnTo>
                  <a:pt x="313" y="128"/>
                </a:lnTo>
                <a:lnTo>
                  <a:pt x="288" y="146"/>
                </a:lnTo>
                <a:lnTo>
                  <a:pt x="265" y="164"/>
                </a:lnTo>
                <a:lnTo>
                  <a:pt x="240" y="183"/>
                </a:lnTo>
                <a:lnTo>
                  <a:pt x="207" y="191"/>
                </a:lnTo>
                <a:lnTo>
                  <a:pt x="173" y="200"/>
                </a:lnTo>
                <a:close/>
              </a:path>
            </a:pathLst>
          </a:custGeom>
          <a:solidFill>
            <a:schemeClr val="accent1"/>
          </a:solidFill>
          <a:ln w="6350">
            <a:solidFill>
              <a:schemeClr val="tx2"/>
            </a:solidFill>
            <a:round/>
            <a:headEnd/>
            <a:tailEnd/>
          </a:ln>
        </p:spPr>
        <p:txBody>
          <a:bodyPr/>
          <a:lstStyle/>
          <a:p>
            <a:endParaRPr lang="en-US"/>
          </a:p>
        </p:txBody>
      </p:sp>
      <p:sp>
        <p:nvSpPr>
          <p:cNvPr id="558" name="Freeform 1429"/>
          <p:cNvSpPr>
            <a:spLocks/>
          </p:cNvSpPr>
          <p:nvPr/>
        </p:nvSpPr>
        <p:spPr bwMode="auto">
          <a:xfrm>
            <a:off x="6574504" y="3528111"/>
            <a:ext cx="199234" cy="180859"/>
          </a:xfrm>
          <a:custGeom>
            <a:avLst/>
            <a:gdLst>
              <a:gd name="T0" fmla="*/ 2147483647 w 428"/>
              <a:gd name="T1" fmla="*/ 2147483647 h 430"/>
              <a:gd name="T2" fmla="*/ 2147483647 w 428"/>
              <a:gd name="T3" fmla="*/ 2147483647 h 430"/>
              <a:gd name="T4" fmla="*/ 2147483647 w 428"/>
              <a:gd name="T5" fmla="*/ 2147483647 h 430"/>
              <a:gd name="T6" fmla="*/ 2147483647 w 428"/>
              <a:gd name="T7" fmla="*/ 2147483647 h 430"/>
              <a:gd name="T8" fmla="*/ 2147483647 w 428"/>
              <a:gd name="T9" fmla="*/ 2147483647 h 430"/>
              <a:gd name="T10" fmla="*/ 2147483647 w 428"/>
              <a:gd name="T11" fmla="*/ 2147483647 h 430"/>
              <a:gd name="T12" fmla="*/ 2147483647 w 428"/>
              <a:gd name="T13" fmla="*/ 2147483647 h 430"/>
              <a:gd name="T14" fmla="*/ 2147483647 w 428"/>
              <a:gd name="T15" fmla="*/ 2147483647 h 430"/>
              <a:gd name="T16" fmla="*/ 2147483647 w 428"/>
              <a:gd name="T17" fmla="*/ 2147483647 h 430"/>
              <a:gd name="T18" fmla="*/ 2147483647 w 428"/>
              <a:gd name="T19" fmla="*/ 2147483647 h 430"/>
              <a:gd name="T20" fmla="*/ 2147483647 w 428"/>
              <a:gd name="T21" fmla="*/ 2147483647 h 430"/>
              <a:gd name="T22" fmla="*/ 2147483647 w 428"/>
              <a:gd name="T23" fmla="*/ 2147483647 h 430"/>
              <a:gd name="T24" fmla="*/ 2147483647 w 428"/>
              <a:gd name="T25" fmla="*/ 2147483647 h 430"/>
              <a:gd name="T26" fmla="*/ 2147483647 w 428"/>
              <a:gd name="T27" fmla="*/ 2147483647 h 430"/>
              <a:gd name="T28" fmla="*/ 2147483647 w 428"/>
              <a:gd name="T29" fmla="*/ 2147483647 h 430"/>
              <a:gd name="T30" fmla="*/ 2147483647 w 428"/>
              <a:gd name="T31" fmla="*/ 2147483647 h 430"/>
              <a:gd name="T32" fmla="*/ 2147483647 w 428"/>
              <a:gd name="T33" fmla="*/ 2147483647 h 430"/>
              <a:gd name="T34" fmla="*/ 2147483647 w 428"/>
              <a:gd name="T35" fmla="*/ 2147483647 h 430"/>
              <a:gd name="T36" fmla="*/ 2147483647 w 428"/>
              <a:gd name="T37" fmla="*/ 2147483647 h 430"/>
              <a:gd name="T38" fmla="*/ 2147483647 w 428"/>
              <a:gd name="T39" fmla="*/ 2147483647 h 430"/>
              <a:gd name="T40" fmla="*/ 2147483647 w 428"/>
              <a:gd name="T41" fmla="*/ 2147483647 h 430"/>
              <a:gd name="T42" fmla="*/ 2147483647 w 428"/>
              <a:gd name="T43" fmla="*/ 2147483647 h 430"/>
              <a:gd name="T44" fmla="*/ 2147483647 w 428"/>
              <a:gd name="T45" fmla="*/ 2147483647 h 430"/>
              <a:gd name="T46" fmla="*/ 2147483647 w 428"/>
              <a:gd name="T47" fmla="*/ 2147483647 h 430"/>
              <a:gd name="T48" fmla="*/ 2147483647 w 428"/>
              <a:gd name="T49" fmla="*/ 2147483647 h 430"/>
              <a:gd name="T50" fmla="*/ 2147483647 w 428"/>
              <a:gd name="T51" fmla="*/ 2147483647 h 430"/>
              <a:gd name="T52" fmla="*/ 2147483647 w 428"/>
              <a:gd name="T53" fmla="*/ 2147483647 h 430"/>
              <a:gd name="T54" fmla="*/ 2147483647 w 428"/>
              <a:gd name="T55" fmla="*/ 2147483647 h 430"/>
              <a:gd name="T56" fmla="*/ 2147483647 w 428"/>
              <a:gd name="T57" fmla="*/ 2147483647 h 430"/>
              <a:gd name="T58" fmla="*/ 2147483647 w 428"/>
              <a:gd name="T59" fmla="*/ 2147483647 h 430"/>
              <a:gd name="T60" fmla="*/ 2147483647 w 428"/>
              <a:gd name="T61" fmla="*/ 2147483647 h 430"/>
              <a:gd name="T62" fmla="*/ 2147483647 w 428"/>
              <a:gd name="T63" fmla="*/ 2147483647 h 430"/>
              <a:gd name="T64" fmla="*/ 2147483647 w 428"/>
              <a:gd name="T65" fmla="*/ 2147483647 h 430"/>
              <a:gd name="T66" fmla="*/ 2147483647 w 428"/>
              <a:gd name="T67" fmla="*/ 0 h 430"/>
              <a:gd name="T68" fmla="*/ 2147483647 w 428"/>
              <a:gd name="T69" fmla="*/ 2147483647 h 430"/>
              <a:gd name="T70" fmla="*/ 2147483647 w 428"/>
              <a:gd name="T71" fmla="*/ 2147483647 h 430"/>
              <a:gd name="T72" fmla="*/ 2147483647 w 428"/>
              <a:gd name="T73" fmla="*/ 2147483647 h 430"/>
              <a:gd name="T74" fmla="*/ 2147483647 w 428"/>
              <a:gd name="T75" fmla="*/ 2147483647 h 430"/>
              <a:gd name="T76" fmla="*/ 2147483647 w 428"/>
              <a:gd name="T77" fmla="*/ 2147483647 h 430"/>
              <a:gd name="T78" fmla="*/ 2147483647 w 428"/>
              <a:gd name="T79" fmla="*/ 2147483647 h 430"/>
              <a:gd name="T80" fmla="*/ 0 w 428"/>
              <a:gd name="T81" fmla="*/ 2147483647 h 430"/>
              <a:gd name="T82" fmla="*/ 2147483647 w 428"/>
              <a:gd name="T83" fmla="*/ 2147483647 h 430"/>
              <a:gd name="T84" fmla="*/ 2147483647 w 428"/>
              <a:gd name="T85" fmla="*/ 2147483647 h 430"/>
              <a:gd name="T86" fmla="*/ 2147483647 w 428"/>
              <a:gd name="T87" fmla="*/ 2147483647 h 430"/>
              <a:gd name="T88" fmla="*/ 2147483647 w 428"/>
              <a:gd name="T89" fmla="*/ 2147483647 h 430"/>
              <a:gd name="T90" fmla="*/ 2147483647 w 428"/>
              <a:gd name="T91" fmla="*/ 2147483647 h 430"/>
              <a:gd name="T92" fmla="*/ 2147483647 w 428"/>
              <a:gd name="T93" fmla="*/ 2147483647 h 430"/>
              <a:gd name="T94" fmla="*/ 2147483647 w 428"/>
              <a:gd name="T95" fmla="*/ 2147483647 h 430"/>
              <a:gd name="T96" fmla="*/ 2147483647 w 428"/>
              <a:gd name="T97" fmla="*/ 2147483647 h 430"/>
              <a:gd name="T98" fmla="*/ 2147483647 w 428"/>
              <a:gd name="T99" fmla="*/ 2147483647 h 4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8"/>
              <a:gd name="T151" fmla="*/ 0 h 430"/>
              <a:gd name="T152" fmla="*/ 428 w 428"/>
              <a:gd name="T153" fmla="*/ 430 h 4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8" h="430">
                <a:moveTo>
                  <a:pt x="340" y="430"/>
                </a:moveTo>
                <a:lnTo>
                  <a:pt x="354" y="418"/>
                </a:lnTo>
                <a:lnTo>
                  <a:pt x="371" y="389"/>
                </a:lnTo>
                <a:lnTo>
                  <a:pt x="382" y="384"/>
                </a:lnTo>
                <a:lnTo>
                  <a:pt x="403" y="388"/>
                </a:lnTo>
                <a:lnTo>
                  <a:pt x="407" y="386"/>
                </a:lnTo>
                <a:lnTo>
                  <a:pt x="421" y="393"/>
                </a:lnTo>
                <a:lnTo>
                  <a:pt x="428" y="385"/>
                </a:lnTo>
                <a:lnTo>
                  <a:pt x="403" y="363"/>
                </a:lnTo>
                <a:lnTo>
                  <a:pt x="396" y="341"/>
                </a:lnTo>
                <a:lnTo>
                  <a:pt x="385" y="336"/>
                </a:lnTo>
                <a:lnTo>
                  <a:pt x="388" y="298"/>
                </a:lnTo>
                <a:lnTo>
                  <a:pt x="372" y="266"/>
                </a:lnTo>
                <a:lnTo>
                  <a:pt x="315" y="230"/>
                </a:lnTo>
                <a:lnTo>
                  <a:pt x="314" y="221"/>
                </a:lnTo>
                <a:lnTo>
                  <a:pt x="301" y="200"/>
                </a:lnTo>
                <a:lnTo>
                  <a:pt x="290" y="196"/>
                </a:lnTo>
                <a:lnTo>
                  <a:pt x="288" y="185"/>
                </a:lnTo>
                <a:lnTo>
                  <a:pt x="296" y="157"/>
                </a:lnTo>
                <a:lnTo>
                  <a:pt x="305" y="150"/>
                </a:lnTo>
                <a:lnTo>
                  <a:pt x="305" y="144"/>
                </a:lnTo>
                <a:lnTo>
                  <a:pt x="322" y="119"/>
                </a:lnTo>
                <a:lnTo>
                  <a:pt x="318" y="105"/>
                </a:lnTo>
                <a:lnTo>
                  <a:pt x="328" y="87"/>
                </a:lnTo>
                <a:lnTo>
                  <a:pt x="299" y="83"/>
                </a:lnTo>
                <a:lnTo>
                  <a:pt x="291" y="75"/>
                </a:lnTo>
                <a:lnTo>
                  <a:pt x="286" y="57"/>
                </a:lnTo>
                <a:lnTo>
                  <a:pt x="269" y="37"/>
                </a:lnTo>
                <a:lnTo>
                  <a:pt x="264" y="11"/>
                </a:lnTo>
                <a:lnTo>
                  <a:pt x="258" y="16"/>
                </a:lnTo>
                <a:lnTo>
                  <a:pt x="246" y="16"/>
                </a:lnTo>
                <a:lnTo>
                  <a:pt x="239" y="6"/>
                </a:lnTo>
                <a:lnTo>
                  <a:pt x="203" y="6"/>
                </a:lnTo>
                <a:lnTo>
                  <a:pt x="185" y="0"/>
                </a:lnTo>
                <a:lnTo>
                  <a:pt x="160" y="21"/>
                </a:lnTo>
                <a:lnTo>
                  <a:pt x="155" y="24"/>
                </a:lnTo>
                <a:lnTo>
                  <a:pt x="140" y="48"/>
                </a:lnTo>
                <a:lnTo>
                  <a:pt x="116" y="57"/>
                </a:lnTo>
                <a:lnTo>
                  <a:pt x="110" y="140"/>
                </a:lnTo>
                <a:lnTo>
                  <a:pt x="103" y="160"/>
                </a:lnTo>
                <a:lnTo>
                  <a:pt x="0" y="220"/>
                </a:lnTo>
                <a:lnTo>
                  <a:pt x="20" y="277"/>
                </a:lnTo>
                <a:lnTo>
                  <a:pt x="85" y="294"/>
                </a:lnTo>
                <a:lnTo>
                  <a:pt x="133" y="331"/>
                </a:lnTo>
                <a:lnTo>
                  <a:pt x="177" y="347"/>
                </a:lnTo>
                <a:lnTo>
                  <a:pt x="188" y="365"/>
                </a:lnTo>
                <a:lnTo>
                  <a:pt x="211" y="367"/>
                </a:lnTo>
                <a:lnTo>
                  <a:pt x="215" y="404"/>
                </a:lnTo>
                <a:lnTo>
                  <a:pt x="263" y="426"/>
                </a:lnTo>
                <a:lnTo>
                  <a:pt x="340" y="430"/>
                </a:lnTo>
                <a:close/>
              </a:path>
            </a:pathLst>
          </a:custGeom>
          <a:solidFill>
            <a:schemeClr val="accent1"/>
          </a:solidFill>
          <a:ln w="6350">
            <a:solidFill>
              <a:schemeClr val="tx2"/>
            </a:solidFill>
            <a:round/>
            <a:headEnd/>
            <a:tailEnd/>
          </a:ln>
        </p:spPr>
        <p:txBody>
          <a:bodyPr/>
          <a:lstStyle/>
          <a:p>
            <a:endParaRPr lang="en-US"/>
          </a:p>
        </p:txBody>
      </p:sp>
      <p:sp>
        <p:nvSpPr>
          <p:cNvPr id="559" name="Freeform 1433"/>
          <p:cNvSpPr>
            <a:spLocks/>
          </p:cNvSpPr>
          <p:nvPr/>
        </p:nvSpPr>
        <p:spPr bwMode="auto">
          <a:xfrm>
            <a:off x="6495671" y="3621088"/>
            <a:ext cx="87433" cy="86608"/>
          </a:xfrm>
          <a:custGeom>
            <a:avLst/>
            <a:gdLst>
              <a:gd name="T0" fmla="*/ 2147483647 w 186"/>
              <a:gd name="T1" fmla="*/ 2147483647 h 209"/>
              <a:gd name="T2" fmla="*/ 2147483647 w 186"/>
              <a:gd name="T3" fmla="*/ 2147483647 h 209"/>
              <a:gd name="T4" fmla="*/ 2147483647 w 186"/>
              <a:gd name="T5" fmla="*/ 2147483647 h 209"/>
              <a:gd name="T6" fmla="*/ 2147483647 w 186"/>
              <a:gd name="T7" fmla="*/ 2147483647 h 209"/>
              <a:gd name="T8" fmla="*/ 2147483647 w 186"/>
              <a:gd name="T9" fmla="*/ 2147483647 h 209"/>
              <a:gd name="T10" fmla="*/ 2147483647 w 186"/>
              <a:gd name="T11" fmla="*/ 2147483647 h 209"/>
              <a:gd name="T12" fmla="*/ 2147483647 w 186"/>
              <a:gd name="T13" fmla="*/ 2147483647 h 209"/>
              <a:gd name="T14" fmla="*/ 2147483647 w 186"/>
              <a:gd name="T15" fmla="*/ 2147483647 h 209"/>
              <a:gd name="T16" fmla="*/ 2147483647 w 186"/>
              <a:gd name="T17" fmla="*/ 2147483647 h 209"/>
              <a:gd name="T18" fmla="*/ 2147483647 w 186"/>
              <a:gd name="T19" fmla="*/ 2147483647 h 209"/>
              <a:gd name="T20" fmla="*/ 2147483647 w 186"/>
              <a:gd name="T21" fmla="*/ 2147483647 h 209"/>
              <a:gd name="T22" fmla="*/ 2147483647 w 186"/>
              <a:gd name="T23" fmla="*/ 0 h 209"/>
              <a:gd name="T24" fmla="*/ 2147483647 w 186"/>
              <a:gd name="T25" fmla="*/ 2147483647 h 209"/>
              <a:gd name="T26" fmla="*/ 2147483647 w 186"/>
              <a:gd name="T27" fmla="*/ 2147483647 h 209"/>
              <a:gd name="T28" fmla="*/ 2147483647 w 186"/>
              <a:gd name="T29" fmla="*/ 2147483647 h 209"/>
              <a:gd name="T30" fmla="*/ 2147483647 w 186"/>
              <a:gd name="T31" fmla="*/ 2147483647 h 209"/>
              <a:gd name="T32" fmla="*/ 2147483647 w 186"/>
              <a:gd name="T33" fmla="*/ 2147483647 h 209"/>
              <a:gd name="T34" fmla="*/ 2147483647 w 186"/>
              <a:gd name="T35" fmla="*/ 2147483647 h 209"/>
              <a:gd name="T36" fmla="*/ 2147483647 w 186"/>
              <a:gd name="T37" fmla="*/ 2147483647 h 209"/>
              <a:gd name="T38" fmla="*/ 2147483647 w 186"/>
              <a:gd name="T39" fmla="*/ 2147483647 h 209"/>
              <a:gd name="T40" fmla="*/ 2147483647 w 186"/>
              <a:gd name="T41" fmla="*/ 2147483647 h 209"/>
              <a:gd name="T42" fmla="*/ 2147483647 w 186"/>
              <a:gd name="T43" fmla="*/ 2147483647 h 209"/>
              <a:gd name="T44" fmla="*/ 2147483647 w 186"/>
              <a:gd name="T45" fmla="*/ 2147483647 h 209"/>
              <a:gd name="T46" fmla="*/ 0 w 186"/>
              <a:gd name="T47" fmla="*/ 2147483647 h 209"/>
              <a:gd name="T48" fmla="*/ 2147483647 w 186"/>
              <a:gd name="T49" fmla="*/ 2147483647 h 209"/>
              <a:gd name="T50" fmla="*/ 2147483647 w 186"/>
              <a:gd name="T51" fmla="*/ 2147483647 h 209"/>
              <a:gd name="T52" fmla="*/ 2147483647 w 186"/>
              <a:gd name="T53" fmla="*/ 2147483647 h 209"/>
              <a:gd name="T54" fmla="*/ 2147483647 w 186"/>
              <a:gd name="T55" fmla="*/ 2147483647 h 209"/>
              <a:gd name="T56" fmla="*/ 2147483647 w 186"/>
              <a:gd name="T57" fmla="*/ 2147483647 h 209"/>
              <a:gd name="T58" fmla="*/ 2147483647 w 186"/>
              <a:gd name="T59" fmla="*/ 2147483647 h 209"/>
              <a:gd name="T60" fmla="*/ 2147483647 w 186"/>
              <a:gd name="T61" fmla="*/ 2147483647 h 20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209"/>
              <a:gd name="T95" fmla="*/ 186 w 186"/>
              <a:gd name="T96" fmla="*/ 209 h 20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209">
                <a:moveTo>
                  <a:pt x="4" y="196"/>
                </a:moveTo>
                <a:lnTo>
                  <a:pt x="6" y="203"/>
                </a:lnTo>
                <a:lnTo>
                  <a:pt x="54" y="209"/>
                </a:lnTo>
                <a:lnTo>
                  <a:pt x="67" y="196"/>
                </a:lnTo>
                <a:lnTo>
                  <a:pt x="80" y="173"/>
                </a:lnTo>
                <a:lnTo>
                  <a:pt x="113" y="169"/>
                </a:lnTo>
                <a:lnTo>
                  <a:pt x="119" y="147"/>
                </a:lnTo>
                <a:lnTo>
                  <a:pt x="137" y="136"/>
                </a:lnTo>
                <a:lnTo>
                  <a:pt x="89" y="89"/>
                </a:lnTo>
                <a:lnTo>
                  <a:pt x="173" y="72"/>
                </a:lnTo>
                <a:lnTo>
                  <a:pt x="186" y="57"/>
                </a:lnTo>
                <a:lnTo>
                  <a:pt x="166" y="0"/>
                </a:lnTo>
                <a:lnTo>
                  <a:pt x="73" y="52"/>
                </a:lnTo>
                <a:lnTo>
                  <a:pt x="59" y="48"/>
                </a:lnTo>
                <a:lnTo>
                  <a:pt x="41" y="31"/>
                </a:lnTo>
                <a:lnTo>
                  <a:pt x="29" y="32"/>
                </a:lnTo>
                <a:lnTo>
                  <a:pt x="29" y="47"/>
                </a:lnTo>
                <a:lnTo>
                  <a:pt x="22" y="40"/>
                </a:lnTo>
                <a:lnTo>
                  <a:pt x="12" y="40"/>
                </a:lnTo>
                <a:lnTo>
                  <a:pt x="3" y="55"/>
                </a:lnTo>
                <a:lnTo>
                  <a:pt x="4" y="75"/>
                </a:lnTo>
                <a:lnTo>
                  <a:pt x="15" y="77"/>
                </a:lnTo>
                <a:lnTo>
                  <a:pt x="6" y="81"/>
                </a:lnTo>
                <a:lnTo>
                  <a:pt x="0" y="99"/>
                </a:lnTo>
                <a:lnTo>
                  <a:pt x="3" y="102"/>
                </a:lnTo>
                <a:lnTo>
                  <a:pt x="20" y="93"/>
                </a:lnTo>
                <a:lnTo>
                  <a:pt x="25" y="95"/>
                </a:lnTo>
                <a:lnTo>
                  <a:pt x="24" y="114"/>
                </a:lnTo>
                <a:lnTo>
                  <a:pt x="12" y="141"/>
                </a:lnTo>
                <a:lnTo>
                  <a:pt x="4" y="197"/>
                </a:lnTo>
                <a:lnTo>
                  <a:pt x="4" y="196"/>
                </a:lnTo>
                <a:close/>
              </a:path>
            </a:pathLst>
          </a:custGeom>
          <a:solidFill>
            <a:schemeClr val="accent1"/>
          </a:solidFill>
          <a:ln w="6350">
            <a:solidFill>
              <a:schemeClr val="tx2"/>
            </a:solidFill>
            <a:round/>
            <a:headEnd/>
            <a:tailEnd/>
          </a:ln>
        </p:spPr>
        <p:txBody>
          <a:bodyPr/>
          <a:lstStyle/>
          <a:p>
            <a:endParaRPr lang="en-US"/>
          </a:p>
        </p:txBody>
      </p:sp>
      <p:sp>
        <p:nvSpPr>
          <p:cNvPr id="560" name="Freeform 1435"/>
          <p:cNvSpPr>
            <a:spLocks/>
          </p:cNvSpPr>
          <p:nvPr/>
        </p:nvSpPr>
        <p:spPr bwMode="auto">
          <a:xfrm>
            <a:off x="6510005" y="3531932"/>
            <a:ext cx="139034" cy="110808"/>
          </a:xfrm>
          <a:custGeom>
            <a:avLst/>
            <a:gdLst>
              <a:gd name="T0" fmla="*/ 2147483647 w 297"/>
              <a:gd name="T1" fmla="*/ 2147483647 h 264"/>
              <a:gd name="T2" fmla="*/ 2147483647 w 297"/>
              <a:gd name="T3" fmla="*/ 2147483647 h 264"/>
              <a:gd name="T4" fmla="*/ 2147483647 w 297"/>
              <a:gd name="T5" fmla="*/ 0 h 264"/>
              <a:gd name="T6" fmla="*/ 2147483647 w 297"/>
              <a:gd name="T7" fmla="*/ 2147483647 h 264"/>
              <a:gd name="T8" fmla="*/ 2147483647 w 297"/>
              <a:gd name="T9" fmla="*/ 2147483647 h 264"/>
              <a:gd name="T10" fmla="*/ 2147483647 w 297"/>
              <a:gd name="T11" fmla="*/ 2147483647 h 264"/>
              <a:gd name="T12" fmla="*/ 2147483647 w 297"/>
              <a:gd name="T13" fmla="*/ 2147483647 h 264"/>
              <a:gd name="T14" fmla="*/ 2147483647 w 297"/>
              <a:gd name="T15" fmla="*/ 2147483647 h 264"/>
              <a:gd name="T16" fmla="*/ 2147483647 w 297"/>
              <a:gd name="T17" fmla="*/ 2147483647 h 264"/>
              <a:gd name="T18" fmla="*/ 2147483647 w 297"/>
              <a:gd name="T19" fmla="*/ 2147483647 h 264"/>
              <a:gd name="T20" fmla="*/ 2147483647 w 297"/>
              <a:gd name="T21" fmla="*/ 2147483647 h 264"/>
              <a:gd name="T22" fmla="*/ 2147483647 w 297"/>
              <a:gd name="T23" fmla="*/ 2147483647 h 264"/>
              <a:gd name="T24" fmla="*/ 2147483647 w 297"/>
              <a:gd name="T25" fmla="*/ 2147483647 h 264"/>
              <a:gd name="T26" fmla="*/ 2147483647 w 297"/>
              <a:gd name="T27" fmla="*/ 2147483647 h 264"/>
              <a:gd name="T28" fmla="*/ 2147483647 w 297"/>
              <a:gd name="T29" fmla="*/ 2147483647 h 264"/>
              <a:gd name="T30" fmla="*/ 2147483647 w 297"/>
              <a:gd name="T31" fmla="*/ 2147483647 h 264"/>
              <a:gd name="T32" fmla="*/ 2147483647 w 297"/>
              <a:gd name="T33" fmla="*/ 2147483647 h 264"/>
              <a:gd name="T34" fmla="*/ 2147483647 w 297"/>
              <a:gd name="T35" fmla="*/ 2147483647 h 264"/>
              <a:gd name="T36" fmla="*/ 2147483647 w 297"/>
              <a:gd name="T37" fmla="*/ 2147483647 h 264"/>
              <a:gd name="T38" fmla="*/ 2147483647 w 297"/>
              <a:gd name="T39" fmla="*/ 2147483647 h 264"/>
              <a:gd name="T40" fmla="*/ 2147483647 w 297"/>
              <a:gd name="T41" fmla="*/ 2147483647 h 264"/>
              <a:gd name="T42" fmla="*/ 2147483647 w 297"/>
              <a:gd name="T43" fmla="*/ 2147483647 h 264"/>
              <a:gd name="T44" fmla="*/ 2147483647 w 297"/>
              <a:gd name="T45" fmla="*/ 2147483647 h 264"/>
              <a:gd name="T46" fmla="*/ 2147483647 w 297"/>
              <a:gd name="T47" fmla="*/ 2147483647 h 264"/>
              <a:gd name="T48" fmla="*/ 2147483647 w 297"/>
              <a:gd name="T49" fmla="*/ 2147483647 h 264"/>
              <a:gd name="T50" fmla="*/ 2147483647 w 297"/>
              <a:gd name="T51" fmla="*/ 2147483647 h 264"/>
              <a:gd name="T52" fmla="*/ 2147483647 w 297"/>
              <a:gd name="T53" fmla="*/ 2147483647 h 264"/>
              <a:gd name="T54" fmla="*/ 2147483647 w 297"/>
              <a:gd name="T55" fmla="*/ 2147483647 h 264"/>
              <a:gd name="T56" fmla="*/ 2147483647 w 297"/>
              <a:gd name="T57" fmla="*/ 2147483647 h 264"/>
              <a:gd name="T58" fmla="*/ 2147483647 w 297"/>
              <a:gd name="T59" fmla="*/ 2147483647 h 264"/>
              <a:gd name="T60" fmla="*/ 2147483647 w 297"/>
              <a:gd name="T61" fmla="*/ 2147483647 h 264"/>
              <a:gd name="T62" fmla="*/ 2147483647 w 297"/>
              <a:gd name="T63" fmla="*/ 2147483647 h 264"/>
              <a:gd name="T64" fmla="*/ 0 w 297"/>
              <a:gd name="T65" fmla="*/ 2147483647 h 264"/>
              <a:gd name="T66" fmla="*/ 2147483647 w 297"/>
              <a:gd name="T67" fmla="*/ 2147483647 h 264"/>
              <a:gd name="T68" fmla="*/ 2147483647 w 297"/>
              <a:gd name="T69" fmla="*/ 2147483647 h 264"/>
              <a:gd name="T70" fmla="*/ 2147483647 w 297"/>
              <a:gd name="T71" fmla="*/ 2147483647 h 264"/>
              <a:gd name="T72" fmla="*/ 2147483647 w 297"/>
              <a:gd name="T73" fmla="*/ 2147483647 h 264"/>
              <a:gd name="T74" fmla="*/ 2147483647 w 297"/>
              <a:gd name="T75" fmla="*/ 2147483647 h 264"/>
              <a:gd name="T76" fmla="*/ 2147483647 w 297"/>
              <a:gd name="T77" fmla="*/ 2147483647 h 264"/>
              <a:gd name="T78" fmla="*/ 2147483647 w 297"/>
              <a:gd name="T79" fmla="*/ 2147483647 h 264"/>
              <a:gd name="T80" fmla="*/ 2147483647 w 297"/>
              <a:gd name="T81" fmla="*/ 2147483647 h 264"/>
              <a:gd name="T82" fmla="*/ 2147483647 w 297"/>
              <a:gd name="T83" fmla="*/ 2147483647 h 264"/>
              <a:gd name="T84" fmla="*/ 2147483647 w 297"/>
              <a:gd name="T85" fmla="*/ 2147483647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7"/>
              <a:gd name="T130" fmla="*/ 0 h 264"/>
              <a:gd name="T131" fmla="*/ 297 w 297"/>
              <a:gd name="T132" fmla="*/ 264 h 26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7" h="264">
                <a:moveTo>
                  <a:pt x="297" y="13"/>
                </a:moveTo>
                <a:lnTo>
                  <a:pt x="296" y="9"/>
                </a:lnTo>
                <a:lnTo>
                  <a:pt x="291" y="0"/>
                </a:lnTo>
                <a:lnTo>
                  <a:pt x="270" y="11"/>
                </a:lnTo>
                <a:lnTo>
                  <a:pt x="229" y="10"/>
                </a:lnTo>
                <a:lnTo>
                  <a:pt x="162" y="35"/>
                </a:lnTo>
                <a:lnTo>
                  <a:pt x="140" y="32"/>
                </a:lnTo>
                <a:lnTo>
                  <a:pt x="126" y="21"/>
                </a:lnTo>
                <a:lnTo>
                  <a:pt x="88" y="37"/>
                </a:lnTo>
                <a:lnTo>
                  <a:pt x="69" y="36"/>
                </a:lnTo>
                <a:lnTo>
                  <a:pt x="68" y="31"/>
                </a:lnTo>
                <a:lnTo>
                  <a:pt x="53" y="26"/>
                </a:lnTo>
                <a:lnTo>
                  <a:pt x="47" y="46"/>
                </a:lnTo>
                <a:lnTo>
                  <a:pt x="54" y="58"/>
                </a:lnTo>
                <a:lnTo>
                  <a:pt x="40" y="61"/>
                </a:lnTo>
                <a:lnTo>
                  <a:pt x="39" y="70"/>
                </a:lnTo>
                <a:lnTo>
                  <a:pt x="30" y="80"/>
                </a:lnTo>
                <a:lnTo>
                  <a:pt x="28" y="85"/>
                </a:lnTo>
                <a:lnTo>
                  <a:pt x="20" y="83"/>
                </a:lnTo>
                <a:lnTo>
                  <a:pt x="16" y="94"/>
                </a:lnTo>
                <a:lnTo>
                  <a:pt x="23" y="107"/>
                </a:lnTo>
                <a:lnTo>
                  <a:pt x="23" y="139"/>
                </a:lnTo>
                <a:lnTo>
                  <a:pt x="44" y="139"/>
                </a:lnTo>
                <a:lnTo>
                  <a:pt x="40" y="147"/>
                </a:lnTo>
                <a:lnTo>
                  <a:pt x="49" y="152"/>
                </a:lnTo>
                <a:lnTo>
                  <a:pt x="52" y="165"/>
                </a:lnTo>
                <a:lnTo>
                  <a:pt x="37" y="178"/>
                </a:lnTo>
                <a:lnTo>
                  <a:pt x="41" y="185"/>
                </a:lnTo>
                <a:lnTo>
                  <a:pt x="25" y="186"/>
                </a:lnTo>
                <a:lnTo>
                  <a:pt x="21" y="195"/>
                </a:lnTo>
                <a:lnTo>
                  <a:pt x="25" y="201"/>
                </a:lnTo>
                <a:lnTo>
                  <a:pt x="3" y="216"/>
                </a:lnTo>
                <a:lnTo>
                  <a:pt x="0" y="244"/>
                </a:lnTo>
                <a:lnTo>
                  <a:pt x="12" y="243"/>
                </a:lnTo>
                <a:lnTo>
                  <a:pt x="30" y="260"/>
                </a:lnTo>
                <a:lnTo>
                  <a:pt x="44" y="264"/>
                </a:lnTo>
                <a:lnTo>
                  <a:pt x="137" y="212"/>
                </a:lnTo>
                <a:lnTo>
                  <a:pt x="240" y="152"/>
                </a:lnTo>
                <a:lnTo>
                  <a:pt x="247" y="132"/>
                </a:lnTo>
                <a:lnTo>
                  <a:pt x="253" y="49"/>
                </a:lnTo>
                <a:lnTo>
                  <a:pt x="277" y="40"/>
                </a:lnTo>
                <a:lnTo>
                  <a:pt x="292" y="16"/>
                </a:lnTo>
                <a:lnTo>
                  <a:pt x="297" y="13"/>
                </a:lnTo>
                <a:close/>
              </a:path>
            </a:pathLst>
          </a:custGeom>
          <a:solidFill>
            <a:schemeClr val="accent1"/>
          </a:solidFill>
          <a:ln w="6350">
            <a:solidFill>
              <a:schemeClr val="tx2"/>
            </a:solidFill>
            <a:round/>
            <a:headEnd/>
            <a:tailEnd/>
          </a:ln>
        </p:spPr>
        <p:txBody>
          <a:bodyPr/>
          <a:lstStyle/>
          <a:p>
            <a:endParaRPr lang="en-US"/>
          </a:p>
        </p:txBody>
      </p:sp>
      <p:sp>
        <p:nvSpPr>
          <p:cNvPr id="561" name="Freeform 1436"/>
          <p:cNvSpPr>
            <a:spLocks/>
          </p:cNvSpPr>
          <p:nvPr/>
        </p:nvSpPr>
        <p:spPr bwMode="auto">
          <a:xfrm>
            <a:off x="6498538" y="3589247"/>
            <a:ext cx="34400" cy="36935"/>
          </a:xfrm>
          <a:custGeom>
            <a:avLst/>
            <a:gdLst>
              <a:gd name="T0" fmla="*/ 0 w 73"/>
              <a:gd name="T1" fmla="*/ 2147483647 h 86"/>
              <a:gd name="T2" fmla="*/ 2147483647 w 73"/>
              <a:gd name="T3" fmla="*/ 2147483647 h 86"/>
              <a:gd name="T4" fmla="*/ 2147483647 w 73"/>
              <a:gd name="T5" fmla="*/ 2147483647 h 86"/>
              <a:gd name="T6" fmla="*/ 2147483647 w 73"/>
              <a:gd name="T7" fmla="*/ 0 h 86"/>
              <a:gd name="T8" fmla="*/ 2147483647 w 73"/>
              <a:gd name="T9" fmla="*/ 0 h 86"/>
              <a:gd name="T10" fmla="*/ 2147483647 w 73"/>
              <a:gd name="T11" fmla="*/ 2147483647 h 86"/>
              <a:gd name="T12" fmla="*/ 2147483647 w 73"/>
              <a:gd name="T13" fmla="*/ 2147483647 h 86"/>
              <a:gd name="T14" fmla="*/ 2147483647 w 73"/>
              <a:gd name="T15" fmla="*/ 2147483647 h 86"/>
              <a:gd name="T16" fmla="*/ 2147483647 w 73"/>
              <a:gd name="T17" fmla="*/ 2147483647 h 86"/>
              <a:gd name="T18" fmla="*/ 2147483647 w 73"/>
              <a:gd name="T19" fmla="*/ 2147483647 h 86"/>
              <a:gd name="T20" fmla="*/ 2147483647 w 73"/>
              <a:gd name="T21" fmla="*/ 2147483647 h 86"/>
              <a:gd name="T22" fmla="*/ 2147483647 w 73"/>
              <a:gd name="T23" fmla="*/ 2147483647 h 86"/>
              <a:gd name="T24" fmla="*/ 2147483647 w 73"/>
              <a:gd name="T25" fmla="*/ 2147483647 h 86"/>
              <a:gd name="T26" fmla="*/ 2147483647 w 73"/>
              <a:gd name="T27" fmla="*/ 2147483647 h 86"/>
              <a:gd name="T28" fmla="*/ 2147483647 w 73"/>
              <a:gd name="T29" fmla="*/ 2147483647 h 86"/>
              <a:gd name="T30" fmla="*/ 2147483647 w 73"/>
              <a:gd name="T31" fmla="*/ 2147483647 h 86"/>
              <a:gd name="T32" fmla="*/ 0 w 73"/>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
              <a:gd name="T52" fmla="*/ 0 h 86"/>
              <a:gd name="T53" fmla="*/ 73 w 73"/>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 h="86">
                <a:moveTo>
                  <a:pt x="0" y="84"/>
                </a:moveTo>
                <a:lnTo>
                  <a:pt x="31" y="19"/>
                </a:lnTo>
                <a:lnTo>
                  <a:pt x="45" y="8"/>
                </a:lnTo>
                <a:lnTo>
                  <a:pt x="44" y="0"/>
                </a:lnTo>
                <a:lnTo>
                  <a:pt x="65" y="0"/>
                </a:lnTo>
                <a:lnTo>
                  <a:pt x="61" y="8"/>
                </a:lnTo>
                <a:lnTo>
                  <a:pt x="70" y="13"/>
                </a:lnTo>
                <a:lnTo>
                  <a:pt x="73" y="26"/>
                </a:lnTo>
                <a:lnTo>
                  <a:pt x="58" y="39"/>
                </a:lnTo>
                <a:lnTo>
                  <a:pt x="62" y="46"/>
                </a:lnTo>
                <a:lnTo>
                  <a:pt x="46" y="47"/>
                </a:lnTo>
                <a:lnTo>
                  <a:pt x="42" y="56"/>
                </a:lnTo>
                <a:lnTo>
                  <a:pt x="46" y="62"/>
                </a:lnTo>
                <a:lnTo>
                  <a:pt x="24" y="77"/>
                </a:lnTo>
                <a:lnTo>
                  <a:pt x="21" y="75"/>
                </a:lnTo>
                <a:lnTo>
                  <a:pt x="20" y="86"/>
                </a:lnTo>
                <a:lnTo>
                  <a:pt x="0" y="84"/>
                </a:lnTo>
                <a:close/>
              </a:path>
            </a:pathLst>
          </a:custGeom>
          <a:solidFill>
            <a:schemeClr val="accent1"/>
          </a:solidFill>
          <a:ln w="6350">
            <a:solidFill>
              <a:schemeClr val="tx2"/>
            </a:solidFill>
            <a:round/>
            <a:headEnd/>
            <a:tailEnd/>
          </a:ln>
        </p:spPr>
        <p:txBody>
          <a:bodyPr/>
          <a:lstStyle/>
          <a:p>
            <a:endParaRPr lang="en-US"/>
          </a:p>
        </p:txBody>
      </p:sp>
      <p:sp>
        <p:nvSpPr>
          <p:cNvPr id="562" name="Freeform 1464"/>
          <p:cNvSpPr>
            <a:spLocks/>
          </p:cNvSpPr>
          <p:nvPr/>
        </p:nvSpPr>
        <p:spPr bwMode="auto">
          <a:xfrm>
            <a:off x="5940969" y="3531932"/>
            <a:ext cx="78833" cy="151566"/>
          </a:xfrm>
          <a:custGeom>
            <a:avLst/>
            <a:gdLst>
              <a:gd name="T0" fmla="*/ 2147483647 w 171"/>
              <a:gd name="T1" fmla="*/ 2147483647 h 363"/>
              <a:gd name="T2" fmla="*/ 2147483647 w 171"/>
              <a:gd name="T3" fmla="*/ 2147483647 h 363"/>
              <a:gd name="T4" fmla="*/ 2147483647 w 171"/>
              <a:gd name="T5" fmla="*/ 2147483647 h 363"/>
              <a:gd name="T6" fmla="*/ 2147483647 w 171"/>
              <a:gd name="T7" fmla="*/ 2147483647 h 363"/>
              <a:gd name="T8" fmla="*/ 2147483647 w 171"/>
              <a:gd name="T9" fmla="*/ 2147483647 h 363"/>
              <a:gd name="T10" fmla="*/ 2147483647 w 171"/>
              <a:gd name="T11" fmla="*/ 2147483647 h 363"/>
              <a:gd name="T12" fmla="*/ 0 w 171"/>
              <a:gd name="T13" fmla="*/ 2147483647 h 363"/>
              <a:gd name="T14" fmla="*/ 2147483647 w 171"/>
              <a:gd name="T15" fmla="*/ 2147483647 h 363"/>
              <a:gd name="T16" fmla="*/ 2147483647 w 171"/>
              <a:gd name="T17" fmla="*/ 2147483647 h 363"/>
              <a:gd name="T18" fmla="*/ 2147483647 w 171"/>
              <a:gd name="T19" fmla="*/ 2147483647 h 363"/>
              <a:gd name="T20" fmla="*/ 2147483647 w 171"/>
              <a:gd name="T21" fmla="*/ 2147483647 h 363"/>
              <a:gd name="T22" fmla="*/ 2147483647 w 171"/>
              <a:gd name="T23" fmla="*/ 2147483647 h 363"/>
              <a:gd name="T24" fmla="*/ 2147483647 w 171"/>
              <a:gd name="T25" fmla="*/ 2147483647 h 363"/>
              <a:gd name="T26" fmla="*/ 2147483647 w 171"/>
              <a:gd name="T27" fmla="*/ 2147483647 h 363"/>
              <a:gd name="T28" fmla="*/ 2147483647 w 171"/>
              <a:gd name="T29" fmla="*/ 2147483647 h 363"/>
              <a:gd name="T30" fmla="*/ 2147483647 w 171"/>
              <a:gd name="T31" fmla="*/ 2147483647 h 363"/>
              <a:gd name="T32" fmla="*/ 2147483647 w 171"/>
              <a:gd name="T33" fmla="*/ 2147483647 h 363"/>
              <a:gd name="T34" fmla="*/ 2147483647 w 171"/>
              <a:gd name="T35" fmla="*/ 2147483647 h 363"/>
              <a:gd name="T36" fmla="*/ 2147483647 w 171"/>
              <a:gd name="T37" fmla="*/ 2147483647 h 363"/>
              <a:gd name="T38" fmla="*/ 2147483647 w 171"/>
              <a:gd name="T39" fmla="*/ 2147483647 h 363"/>
              <a:gd name="T40" fmla="*/ 2147483647 w 171"/>
              <a:gd name="T41" fmla="*/ 2147483647 h 363"/>
              <a:gd name="T42" fmla="*/ 2147483647 w 171"/>
              <a:gd name="T43" fmla="*/ 2147483647 h 363"/>
              <a:gd name="T44" fmla="*/ 2147483647 w 171"/>
              <a:gd name="T45" fmla="*/ 2147483647 h 363"/>
              <a:gd name="T46" fmla="*/ 2147483647 w 171"/>
              <a:gd name="T47" fmla="*/ 2147483647 h 363"/>
              <a:gd name="T48" fmla="*/ 2147483647 w 171"/>
              <a:gd name="T49" fmla="*/ 2147483647 h 363"/>
              <a:gd name="T50" fmla="*/ 2147483647 w 171"/>
              <a:gd name="T51" fmla="*/ 2147483647 h 363"/>
              <a:gd name="T52" fmla="*/ 2147483647 w 171"/>
              <a:gd name="T53" fmla="*/ 2147483647 h 363"/>
              <a:gd name="T54" fmla="*/ 2147483647 w 171"/>
              <a:gd name="T55" fmla="*/ 2147483647 h 363"/>
              <a:gd name="T56" fmla="*/ 2147483647 w 171"/>
              <a:gd name="T57" fmla="*/ 2147483647 h 363"/>
              <a:gd name="T58" fmla="*/ 2147483647 w 171"/>
              <a:gd name="T59" fmla="*/ 2147483647 h 363"/>
              <a:gd name="T60" fmla="*/ 2147483647 w 171"/>
              <a:gd name="T61" fmla="*/ 2147483647 h 363"/>
              <a:gd name="T62" fmla="*/ 2147483647 w 171"/>
              <a:gd name="T63" fmla="*/ 2147483647 h 363"/>
              <a:gd name="T64" fmla="*/ 2147483647 w 171"/>
              <a:gd name="T65" fmla="*/ 2147483647 h 363"/>
              <a:gd name="T66" fmla="*/ 2147483647 w 171"/>
              <a:gd name="T67" fmla="*/ 2147483647 h 363"/>
              <a:gd name="T68" fmla="*/ 2147483647 w 171"/>
              <a:gd name="T69" fmla="*/ 2147483647 h 363"/>
              <a:gd name="T70" fmla="*/ 2147483647 w 171"/>
              <a:gd name="T71" fmla="*/ 2147483647 h 363"/>
              <a:gd name="T72" fmla="*/ 2147483647 w 171"/>
              <a:gd name="T73" fmla="*/ 2147483647 h 363"/>
              <a:gd name="T74" fmla="*/ 2147483647 w 171"/>
              <a:gd name="T75" fmla="*/ 2147483647 h 363"/>
              <a:gd name="T76" fmla="*/ 2147483647 w 171"/>
              <a:gd name="T77" fmla="*/ 2147483647 h 363"/>
              <a:gd name="T78" fmla="*/ 2147483647 w 171"/>
              <a:gd name="T79" fmla="*/ 2147483647 h 363"/>
              <a:gd name="T80" fmla="*/ 2147483647 w 171"/>
              <a:gd name="T81" fmla="*/ 2147483647 h 363"/>
              <a:gd name="T82" fmla="*/ 2147483647 w 171"/>
              <a:gd name="T83" fmla="*/ 2147483647 h 363"/>
              <a:gd name="T84" fmla="*/ 2147483647 w 171"/>
              <a:gd name="T85" fmla="*/ 2147483647 h 363"/>
              <a:gd name="T86" fmla="*/ 2147483647 w 171"/>
              <a:gd name="T87" fmla="*/ 0 h 363"/>
              <a:gd name="T88" fmla="*/ 2147483647 w 171"/>
              <a:gd name="T89" fmla="*/ 2147483647 h 363"/>
              <a:gd name="T90" fmla="*/ 2147483647 w 171"/>
              <a:gd name="T91" fmla="*/ 2147483647 h 3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1"/>
              <a:gd name="T139" fmla="*/ 0 h 363"/>
              <a:gd name="T140" fmla="*/ 171 w 171"/>
              <a:gd name="T141" fmla="*/ 363 h 3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1" h="363">
                <a:moveTo>
                  <a:pt x="58" y="20"/>
                </a:moveTo>
                <a:lnTo>
                  <a:pt x="39" y="43"/>
                </a:lnTo>
                <a:lnTo>
                  <a:pt x="46" y="48"/>
                </a:lnTo>
                <a:lnTo>
                  <a:pt x="41" y="80"/>
                </a:lnTo>
                <a:lnTo>
                  <a:pt x="47" y="115"/>
                </a:lnTo>
                <a:lnTo>
                  <a:pt x="39" y="145"/>
                </a:lnTo>
                <a:lnTo>
                  <a:pt x="0" y="178"/>
                </a:lnTo>
                <a:lnTo>
                  <a:pt x="10" y="213"/>
                </a:lnTo>
                <a:lnTo>
                  <a:pt x="28" y="223"/>
                </a:lnTo>
                <a:lnTo>
                  <a:pt x="36" y="240"/>
                </a:lnTo>
                <a:lnTo>
                  <a:pt x="36" y="254"/>
                </a:lnTo>
                <a:lnTo>
                  <a:pt x="72" y="274"/>
                </a:lnTo>
                <a:lnTo>
                  <a:pt x="87" y="363"/>
                </a:lnTo>
                <a:lnTo>
                  <a:pt x="106" y="355"/>
                </a:lnTo>
                <a:lnTo>
                  <a:pt x="118" y="340"/>
                </a:lnTo>
                <a:lnTo>
                  <a:pt x="114" y="311"/>
                </a:lnTo>
                <a:lnTo>
                  <a:pt x="118" y="296"/>
                </a:lnTo>
                <a:lnTo>
                  <a:pt x="167" y="259"/>
                </a:lnTo>
                <a:lnTo>
                  <a:pt x="171" y="251"/>
                </a:lnTo>
                <a:lnTo>
                  <a:pt x="170" y="219"/>
                </a:lnTo>
                <a:lnTo>
                  <a:pt x="158" y="217"/>
                </a:lnTo>
                <a:lnTo>
                  <a:pt x="150" y="197"/>
                </a:lnTo>
                <a:lnTo>
                  <a:pt x="139" y="202"/>
                </a:lnTo>
                <a:lnTo>
                  <a:pt x="134" y="193"/>
                </a:lnTo>
                <a:lnTo>
                  <a:pt x="119" y="193"/>
                </a:lnTo>
                <a:lnTo>
                  <a:pt x="111" y="187"/>
                </a:lnTo>
                <a:lnTo>
                  <a:pt x="108" y="178"/>
                </a:lnTo>
                <a:lnTo>
                  <a:pt x="108" y="170"/>
                </a:lnTo>
                <a:lnTo>
                  <a:pt x="117" y="172"/>
                </a:lnTo>
                <a:lnTo>
                  <a:pt x="119" y="159"/>
                </a:lnTo>
                <a:lnTo>
                  <a:pt x="151" y="136"/>
                </a:lnTo>
                <a:lnTo>
                  <a:pt x="162" y="111"/>
                </a:lnTo>
                <a:lnTo>
                  <a:pt x="158" y="91"/>
                </a:lnTo>
                <a:lnTo>
                  <a:pt x="142" y="80"/>
                </a:lnTo>
                <a:lnTo>
                  <a:pt x="135" y="62"/>
                </a:lnTo>
                <a:lnTo>
                  <a:pt x="138" y="52"/>
                </a:lnTo>
                <a:lnTo>
                  <a:pt x="153" y="43"/>
                </a:lnTo>
                <a:lnTo>
                  <a:pt x="162" y="25"/>
                </a:lnTo>
                <a:lnTo>
                  <a:pt x="158" y="15"/>
                </a:lnTo>
                <a:lnTo>
                  <a:pt x="134" y="31"/>
                </a:lnTo>
                <a:lnTo>
                  <a:pt x="126" y="28"/>
                </a:lnTo>
                <a:lnTo>
                  <a:pt x="123" y="12"/>
                </a:lnTo>
                <a:lnTo>
                  <a:pt x="122" y="6"/>
                </a:lnTo>
                <a:lnTo>
                  <a:pt x="100" y="0"/>
                </a:lnTo>
                <a:lnTo>
                  <a:pt x="81" y="5"/>
                </a:lnTo>
                <a:lnTo>
                  <a:pt x="58" y="20"/>
                </a:lnTo>
                <a:close/>
              </a:path>
            </a:pathLst>
          </a:custGeom>
          <a:solidFill>
            <a:schemeClr val="accent1"/>
          </a:solidFill>
          <a:ln w="6350">
            <a:solidFill>
              <a:schemeClr val="tx2"/>
            </a:solidFill>
            <a:round/>
            <a:headEnd/>
            <a:tailEnd/>
          </a:ln>
        </p:spPr>
        <p:txBody>
          <a:bodyPr/>
          <a:lstStyle/>
          <a:p>
            <a:endParaRPr lang="en-US"/>
          </a:p>
        </p:txBody>
      </p:sp>
      <p:sp>
        <p:nvSpPr>
          <p:cNvPr id="563" name="Freeform 1465"/>
          <p:cNvSpPr>
            <a:spLocks/>
          </p:cNvSpPr>
          <p:nvPr/>
        </p:nvSpPr>
        <p:spPr bwMode="auto">
          <a:xfrm>
            <a:off x="6527205" y="3924217"/>
            <a:ext cx="134734" cy="104440"/>
          </a:xfrm>
          <a:custGeom>
            <a:avLst/>
            <a:gdLst>
              <a:gd name="T0" fmla="*/ 2147483647 w 283"/>
              <a:gd name="T1" fmla="*/ 0 h 252"/>
              <a:gd name="T2" fmla="*/ 2147483647 w 283"/>
              <a:gd name="T3" fmla="*/ 2147483647 h 252"/>
              <a:gd name="T4" fmla="*/ 2147483647 w 283"/>
              <a:gd name="T5" fmla="*/ 2147483647 h 252"/>
              <a:gd name="T6" fmla="*/ 2147483647 w 283"/>
              <a:gd name="T7" fmla="*/ 2147483647 h 252"/>
              <a:gd name="T8" fmla="*/ 2147483647 w 283"/>
              <a:gd name="T9" fmla="*/ 2147483647 h 252"/>
              <a:gd name="T10" fmla="*/ 0 w 283"/>
              <a:gd name="T11" fmla="*/ 2147483647 h 252"/>
              <a:gd name="T12" fmla="*/ 2147483647 w 283"/>
              <a:gd name="T13" fmla="*/ 2147483647 h 252"/>
              <a:gd name="T14" fmla="*/ 2147483647 w 283"/>
              <a:gd name="T15" fmla="*/ 2147483647 h 252"/>
              <a:gd name="T16" fmla="*/ 2147483647 w 283"/>
              <a:gd name="T17" fmla="*/ 2147483647 h 252"/>
              <a:gd name="T18" fmla="*/ 2147483647 w 283"/>
              <a:gd name="T19" fmla="*/ 2147483647 h 252"/>
              <a:gd name="T20" fmla="*/ 2147483647 w 283"/>
              <a:gd name="T21" fmla="*/ 2147483647 h 252"/>
              <a:gd name="T22" fmla="*/ 2147483647 w 283"/>
              <a:gd name="T23" fmla="*/ 2147483647 h 252"/>
              <a:gd name="T24" fmla="*/ 2147483647 w 283"/>
              <a:gd name="T25" fmla="*/ 2147483647 h 252"/>
              <a:gd name="T26" fmla="*/ 2147483647 w 283"/>
              <a:gd name="T27" fmla="*/ 2147483647 h 252"/>
              <a:gd name="T28" fmla="*/ 2147483647 w 283"/>
              <a:gd name="T29" fmla="*/ 2147483647 h 252"/>
              <a:gd name="T30" fmla="*/ 2147483647 w 283"/>
              <a:gd name="T31" fmla="*/ 2147483647 h 252"/>
              <a:gd name="T32" fmla="*/ 2147483647 w 283"/>
              <a:gd name="T33" fmla="*/ 2147483647 h 252"/>
              <a:gd name="T34" fmla="*/ 2147483647 w 283"/>
              <a:gd name="T35" fmla="*/ 2147483647 h 252"/>
              <a:gd name="T36" fmla="*/ 2147483647 w 283"/>
              <a:gd name="T37" fmla="*/ 2147483647 h 252"/>
              <a:gd name="T38" fmla="*/ 2147483647 w 283"/>
              <a:gd name="T39" fmla="*/ 2147483647 h 252"/>
              <a:gd name="T40" fmla="*/ 2147483647 w 283"/>
              <a:gd name="T41" fmla="*/ 2147483647 h 252"/>
              <a:gd name="T42" fmla="*/ 2147483647 w 283"/>
              <a:gd name="T43" fmla="*/ 2147483647 h 252"/>
              <a:gd name="T44" fmla="*/ 2147483647 w 283"/>
              <a:gd name="T45" fmla="*/ 2147483647 h 252"/>
              <a:gd name="T46" fmla="*/ 2147483647 w 283"/>
              <a:gd name="T47" fmla="*/ 2147483647 h 252"/>
              <a:gd name="T48" fmla="*/ 2147483647 w 283"/>
              <a:gd name="T49" fmla="*/ 2147483647 h 252"/>
              <a:gd name="T50" fmla="*/ 2147483647 w 283"/>
              <a:gd name="T51" fmla="*/ 2147483647 h 252"/>
              <a:gd name="T52" fmla="*/ 2147483647 w 283"/>
              <a:gd name="T53" fmla="*/ 2147483647 h 252"/>
              <a:gd name="T54" fmla="*/ 2147483647 w 283"/>
              <a:gd name="T55" fmla="*/ 2147483647 h 252"/>
              <a:gd name="T56" fmla="*/ 2147483647 w 283"/>
              <a:gd name="T57" fmla="*/ 2147483647 h 252"/>
              <a:gd name="T58" fmla="*/ 2147483647 w 283"/>
              <a:gd name="T59" fmla="*/ 2147483647 h 252"/>
              <a:gd name="T60" fmla="*/ 2147483647 w 283"/>
              <a:gd name="T61" fmla="*/ 2147483647 h 252"/>
              <a:gd name="T62" fmla="*/ 2147483647 w 283"/>
              <a:gd name="T63" fmla="*/ 2147483647 h 252"/>
              <a:gd name="T64" fmla="*/ 2147483647 w 283"/>
              <a:gd name="T65" fmla="*/ 2147483647 h 252"/>
              <a:gd name="T66" fmla="*/ 2147483647 w 283"/>
              <a:gd name="T67" fmla="*/ 2147483647 h 252"/>
              <a:gd name="T68" fmla="*/ 2147483647 w 283"/>
              <a:gd name="T69" fmla="*/ 2147483647 h 252"/>
              <a:gd name="T70" fmla="*/ 2147483647 w 283"/>
              <a:gd name="T71" fmla="*/ 2147483647 h 252"/>
              <a:gd name="T72" fmla="*/ 2147483647 w 283"/>
              <a:gd name="T73" fmla="*/ 2147483647 h 252"/>
              <a:gd name="T74" fmla="*/ 2147483647 w 283"/>
              <a:gd name="T75" fmla="*/ 2147483647 h 252"/>
              <a:gd name="T76" fmla="*/ 2147483647 w 283"/>
              <a:gd name="T77" fmla="*/ 2147483647 h 252"/>
              <a:gd name="T78" fmla="*/ 2147483647 w 283"/>
              <a:gd name="T79" fmla="*/ 2147483647 h 252"/>
              <a:gd name="T80" fmla="*/ 2147483647 w 283"/>
              <a:gd name="T81" fmla="*/ 2147483647 h 252"/>
              <a:gd name="T82" fmla="*/ 2147483647 w 283"/>
              <a:gd name="T83" fmla="*/ 2147483647 h 252"/>
              <a:gd name="T84" fmla="*/ 2147483647 w 283"/>
              <a:gd name="T85" fmla="*/ 2147483647 h 252"/>
              <a:gd name="T86" fmla="*/ 2147483647 w 283"/>
              <a:gd name="T87" fmla="*/ 2147483647 h 252"/>
              <a:gd name="T88" fmla="*/ 2147483647 w 283"/>
              <a:gd name="T89" fmla="*/ 2147483647 h 252"/>
              <a:gd name="T90" fmla="*/ 2147483647 w 283"/>
              <a:gd name="T91" fmla="*/ 0 h 25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83"/>
              <a:gd name="T139" fmla="*/ 0 h 252"/>
              <a:gd name="T140" fmla="*/ 283 w 283"/>
              <a:gd name="T141" fmla="*/ 252 h 25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83" h="252">
                <a:moveTo>
                  <a:pt x="86" y="0"/>
                </a:moveTo>
                <a:lnTo>
                  <a:pt x="78" y="19"/>
                </a:lnTo>
                <a:lnTo>
                  <a:pt x="46" y="33"/>
                </a:lnTo>
                <a:lnTo>
                  <a:pt x="35" y="42"/>
                </a:lnTo>
                <a:lnTo>
                  <a:pt x="24" y="43"/>
                </a:lnTo>
                <a:lnTo>
                  <a:pt x="0" y="141"/>
                </a:lnTo>
                <a:lnTo>
                  <a:pt x="2" y="169"/>
                </a:lnTo>
                <a:lnTo>
                  <a:pt x="21" y="171"/>
                </a:lnTo>
                <a:lnTo>
                  <a:pt x="26" y="163"/>
                </a:lnTo>
                <a:lnTo>
                  <a:pt x="32" y="163"/>
                </a:lnTo>
                <a:lnTo>
                  <a:pt x="44" y="178"/>
                </a:lnTo>
                <a:lnTo>
                  <a:pt x="59" y="144"/>
                </a:lnTo>
                <a:lnTo>
                  <a:pt x="74" y="153"/>
                </a:lnTo>
                <a:lnTo>
                  <a:pt x="81" y="164"/>
                </a:lnTo>
                <a:lnTo>
                  <a:pt x="102" y="161"/>
                </a:lnTo>
                <a:lnTo>
                  <a:pt x="106" y="154"/>
                </a:lnTo>
                <a:lnTo>
                  <a:pt x="116" y="163"/>
                </a:lnTo>
                <a:lnTo>
                  <a:pt x="128" y="158"/>
                </a:lnTo>
                <a:lnTo>
                  <a:pt x="144" y="164"/>
                </a:lnTo>
                <a:lnTo>
                  <a:pt x="157" y="162"/>
                </a:lnTo>
                <a:lnTo>
                  <a:pt x="182" y="175"/>
                </a:lnTo>
                <a:lnTo>
                  <a:pt x="201" y="199"/>
                </a:lnTo>
                <a:lnTo>
                  <a:pt x="223" y="216"/>
                </a:lnTo>
                <a:lnTo>
                  <a:pt x="234" y="234"/>
                </a:lnTo>
                <a:lnTo>
                  <a:pt x="254" y="252"/>
                </a:lnTo>
                <a:lnTo>
                  <a:pt x="283" y="234"/>
                </a:lnTo>
                <a:lnTo>
                  <a:pt x="256" y="217"/>
                </a:lnTo>
                <a:lnTo>
                  <a:pt x="249" y="200"/>
                </a:lnTo>
                <a:lnTo>
                  <a:pt x="241" y="197"/>
                </a:lnTo>
                <a:lnTo>
                  <a:pt x="236" y="188"/>
                </a:lnTo>
                <a:lnTo>
                  <a:pt x="225" y="185"/>
                </a:lnTo>
                <a:lnTo>
                  <a:pt x="207" y="157"/>
                </a:lnTo>
                <a:lnTo>
                  <a:pt x="185" y="150"/>
                </a:lnTo>
                <a:lnTo>
                  <a:pt x="174" y="139"/>
                </a:lnTo>
                <a:lnTo>
                  <a:pt x="160" y="141"/>
                </a:lnTo>
                <a:lnTo>
                  <a:pt x="153" y="129"/>
                </a:lnTo>
                <a:lnTo>
                  <a:pt x="153" y="120"/>
                </a:lnTo>
                <a:lnTo>
                  <a:pt x="147" y="116"/>
                </a:lnTo>
                <a:lnTo>
                  <a:pt x="142" y="119"/>
                </a:lnTo>
                <a:lnTo>
                  <a:pt x="145" y="130"/>
                </a:lnTo>
                <a:lnTo>
                  <a:pt x="139" y="129"/>
                </a:lnTo>
                <a:lnTo>
                  <a:pt x="134" y="113"/>
                </a:lnTo>
                <a:lnTo>
                  <a:pt x="128" y="110"/>
                </a:lnTo>
                <a:lnTo>
                  <a:pt x="118" y="93"/>
                </a:lnTo>
                <a:lnTo>
                  <a:pt x="102" y="24"/>
                </a:lnTo>
                <a:lnTo>
                  <a:pt x="86" y="0"/>
                </a:lnTo>
                <a:close/>
              </a:path>
            </a:pathLst>
          </a:custGeom>
          <a:solidFill>
            <a:schemeClr val="accent1"/>
          </a:solidFill>
          <a:ln w="6350">
            <a:solidFill>
              <a:schemeClr val="tx2"/>
            </a:solidFill>
            <a:round/>
            <a:headEnd/>
            <a:tailEnd/>
          </a:ln>
        </p:spPr>
        <p:txBody>
          <a:bodyPr/>
          <a:lstStyle/>
          <a:p>
            <a:endParaRPr lang="en-US"/>
          </a:p>
        </p:txBody>
      </p:sp>
      <p:sp>
        <p:nvSpPr>
          <p:cNvPr id="564" name="Freeform 1466"/>
          <p:cNvSpPr>
            <a:spLocks/>
          </p:cNvSpPr>
          <p:nvPr/>
        </p:nvSpPr>
        <p:spPr bwMode="auto">
          <a:xfrm>
            <a:off x="6636138" y="4021016"/>
            <a:ext cx="31533" cy="35662"/>
          </a:xfrm>
          <a:custGeom>
            <a:avLst/>
            <a:gdLst>
              <a:gd name="T0" fmla="*/ 2147483647 w 65"/>
              <a:gd name="T1" fmla="*/ 0 h 82"/>
              <a:gd name="T2" fmla="*/ 2147483647 w 65"/>
              <a:gd name="T3" fmla="*/ 2147483647 h 82"/>
              <a:gd name="T4" fmla="*/ 2147483647 w 65"/>
              <a:gd name="T5" fmla="*/ 2147483647 h 82"/>
              <a:gd name="T6" fmla="*/ 2147483647 w 65"/>
              <a:gd name="T7" fmla="*/ 2147483647 h 82"/>
              <a:gd name="T8" fmla="*/ 0 w 65"/>
              <a:gd name="T9" fmla="*/ 2147483647 h 82"/>
              <a:gd name="T10" fmla="*/ 2147483647 w 65"/>
              <a:gd name="T11" fmla="*/ 2147483647 h 82"/>
              <a:gd name="T12" fmla="*/ 2147483647 w 65"/>
              <a:gd name="T13" fmla="*/ 2147483647 h 82"/>
              <a:gd name="T14" fmla="*/ 2147483647 w 65"/>
              <a:gd name="T15" fmla="*/ 2147483647 h 82"/>
              <a:gd name="T16" fmla="*/ 2147483647 w 65"/>
              <a:gd name="T17" fmla="*/ 2147483647 h 82"/>
              <a:gd name="T18" fmla="*/ 2147483647 w 65"/>
              <a:gd name="T19" fmla="*/ 2147483647 h 82"/>
              <a:gd name="T20" fmla="*/ 2147483647 w 65"/>
              <a:gd name="T21" fmla="*/ 2147483647 h 82"/>
              <a:gd name="T22" fmla="*/ 2147483647 w 65"/>
              <a:gd name="T23" fmla="*/ 2147483647 h 82"/>
              <a:gd name="T24" fmla="*/ 2147483647 w 65"/>
              <a:gd name="T25" fmla="*/ 2147483647 h 82"/>
              <a:gd name="T26" fmla="*/ 2147483647 w 65"/>
              <a:gd name="T27" fmla="*/ 2147483647 h 82"/>
              <a:gd name="T28" fmla="*/ 2147483647 w 65"/>
              <a:gd name="T29" fmla="*/ 2147483647 h 82"/>
              <a:gd name="T30" fmla="*/ 2147483647 w 65"/>
              <a:gd name="T31" fmla="*/ 2147483647 h 82"/>
              <a:gd name="T32" fmla="*/ 2147483647 w 65"/>
              <a:gd name="T33" fmla="*/ 2147483647 h 82"/>
              <a:gd name="T34" fmla="*/ 2147483647 w 65"/>
              <a:gd name="T35" fmla="*/ 0 h 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5"/>
              <a:gd name="T55" fmla="*/ 0 h 82"/>
              <a:gd name="T56" fmla="*/ 65 w 65"/>
              <a:gd name="T57" fmla="*/ 82 h 8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5" h="82">
                <a:moveTo>
                  <a:pt x="51" y="0"/>
                </a:moveTo>
                <a:lnTo>
                  <a:pt x="22" y="18"/>
                </a:lnTo>
                <a:lnTo>
                  <a:pt x="17" y="22"/>
                </a:lnTo>
                <a:lnTo>
                  <a:pt x="11" y="49"/>
                </a:lnTo>
                <a:lnTo>
                  <a:pt x="0" y="68"/>
                </a:lnTo>
                <a:lnTo>
                  <a:pt x="6" y="81"/>
                </a:lnTo>
                <a:lnTo>
                  <a:pt x="23" y="81"/>
                </a:lnTo>
                <a:lnTo>
                  <a:pt x="35" y="75"/>
                </a:lnTo>
                <a:lnTo>
                  <a:pt x="46" y="82"/>
                </a:lnTo>
                <a:lnTo>
                  <a:pt x="60" y="58"/>
                </a:lnTo>
                <a:lnTo>
                  <a:pt x="55" y="54"/>
                </a:lnTo>
                <a:lnTo>
                  <a:pt x="34" y="59"/>
                </a:lnTo>
                <a:lnTo>
                  <a:pt x="29" y="55"/>
                </a:lnTo>
                <a:lnTo>
                  <a:pt x="36" y="55"/>
                </a:lnTo>
                <a:lnTo>
                  <a:pt x="41" y="46"/>
                </a:lnTo>
                <a:lnTo>
                  <a:pt x="65" y="34"/>
                </a:lnTo>
                <a:lnTo>
                  <a:pt x="64" y="17"/>
                </a:lnTo>
                <a:lnTo>
                  <a:pt x="51" y="0"/>
                </a:lnTo>
                <a:close/>
              </a:path>
            </a:pathLst>
          </a:custGeom>
          <a:solidFill>
            <a:schemeClr val="accent1"/>
          </a:solidFill>
          <a:ln w="6350">
            <a:solidFill>
              <a:schemeClr val="tx2"/>
            </a:solidFill>
            <a:round/>
            <a:headEnd/>
            <a:tailEnd/>
          </a:ln>
        </p:spPr>
        <p:txBody>
          <a:bodyPr/>
          <a:lstStyle/>
          <a:p>
            <a:endParaRPr lang="en-US"/>
          </a:p>
        </p:txBody>
      </p:sp>
      <p:sp>
        <p:nvSpPr>
          <p:cNvPr id="565" name="Freeform 1467"/>
          <p:cNvSpPr>
            <a:spLocks/>
          </p:cNvSpPr>
          <p:nvPr/>
        </p:nvSpPr>
        <p:spPr bwMode="auto">
          <a:xfrm>
            <a:off x="5844936" y="4003185"/>
            <a:ext cx="237934" cy="173217"/>
          </a:xfrm>
          <a:custGeom>
            <a:avLst/>
            <a:gdLst>
              <a:gd name="T0" fmla="*/ 2147483647 w 504"/>
              <a:gd name="T1" fmla="*/ 2147483647 h 418"/>
              <a:gd name="T2" fmla="*/ 2147483647 w 504"/>
              <a:gd name="T3" fmla="*/ 2147483647 h 418"/>
              <a:gd name="T4" fmla="*/ 2147483647 w 504"/>
              <a:gd name="T5" fmla="*/ 2147483647 h 418"/>
              <a:gd name="T6" fmla="*/ 2147483647 w 504"/>
              <a:gd name="T7" fmla="*/ 2147483647 h 418"/>
              <a:gd name="T8" fmla="*/ 2147483647 w 504"/>
              <a:gd name="T9" fmla="*/ 2147483647 h 418"/>
              <a:gd name="T10" fmla="*/ 2147483647 w 504"/>
              <a:gd name="T11" fmla="*/ 2147483647 h 418"/>
              <a:gd name="T12" fmla="*/ 2147483647 w 504"/>
              <a:gd name="T13" fmla="*/ 2147483647 h 418"/>
              <a:gd name="T14" fmla="*/ 2147483647 w 504"/>
              <a:gd name="T15" fmla="*/ 2147483647 h 418"/>
              <a:gd name="T16" fmla="*/ 2147483647 w 504"/>
              <a:gd name="T17" fmla="*/ 2147483647 h 418"/>
              <a:gd name="T18" fmla="*/ 2147483647 w 504"/>
              <a:gd name="T19" fmla="*/ 2147483647 h 418"/>
              <a:gd name="T20" fmla="*/ 2147483647 w 504"/>
              <a:gd name="T21" fmla="*/ 2147483647 h 418"/>
              <a:gd name="T22" fmla="*/ 2147483647 w 504"/>
              <a:gd name="T23" fmla="*/ 2147483647 h 418"/>
              <a:gd name="T24" fmla="*/ 2147483647 w 504"/>
              <a:gd name="T25" fmla="*/ 2147483647 h 418"/>
              <a:gd name="T26" fmla="*/ 2147483647 w 504"/>
              <a:gd name="T27" fmla="*/ 2147483647 h 418"/>
              <a:gd name="T28" fmla="*/ 2147483647 w 504"/>
              <a:gd name="T29" fmla="*/ 2147483647 h 418"/>
              <a:gd name="T30" fmla="*/ 2147483647 w 504"/>
              <a:gd name="T31" fmla="*/ 2147483647 h 418"/>
              <a:gd name="T32" fmla="*/ 2147483647 w 504"/>
              <a:gd name="T33" fmla="*/ 2147483647 h 418"/>
              <a:gd name="T34" fmla="*/ 2147483647 w 504"/>
              <a:gd name="T35" fmla="*/ 2147483647 h 418"/>
              <a:gd name="T36" fmla="*/ 2147483647 w 504"/>
              <a:gd name="T37" fmla="*/ 0 h 418"/>
              <a:gd name="T38" fmla="*/ 2147483647 w 504"/>
              <a:gd name="T39" fmla="*/ 2147483647 h 418"/>
              <a:gd name="T40" fmla="*/ 2147483647 w 504"/>
              <a:gd name="T41" fmla="*/ 2147483647 h 418"/>
              <a:gd name="T42" fmla="*/ 2147483647 w 504"/>
              <a:gd name="T43" fmla="*/ 2147483647 h 418"/>
              <a:gd name="T44" fmla="*/ 2147483647 w 504"/>
              <a:gd name="T45" fmla="*/ 2147483647 h 418"/>
              <a:gd name="T46" fmla="*/ 2147483647 w 504"/>
              <a:gd name="T47" fmla="*/ 2147483647 h 418"/>
              <a:gd name="T48" fmla="*/ 2147483647 w 504"/>
              <a:gd name="T49" fmla="*/ 2147483647 h 418"/>
              <a:gd name="T50" fmla="*/ 2147483647 w 504"/>
              <a:gd name="T51" fmla="*/ 2147483647 h 418"/>
              <a:gd name="T52" fmla="*/ 2147483647 w 504"/>
              <a:gd name="T53" fmla="*/ 2147483647 h 418"/>
              <a:gd name="T54" fmla="*/ 2147483647 w 504"/>
              <a:gd name="T55" fmla="*/ 2147483647 h 418"/>
              <a:gd name="T56" fmla="*/ 2147483647 w 504"/>
              <a:gd name="T57" fmla="*/ 2147483647 h 418"/>
              <a:gd name="T58" fmla="*/ 2147483647 w 504"/>
              <a:gd name="T59" fmla="*/ 2147483647 h 418"/>
              <a:gd name="T60" fmla="*/ 2147483647 w 504"/>
              <a:gd name="T61" fmla="*/ 2147483647 h 418"/>
              <a:gd name="T62" fmla="*/ 2147483647 w 504"/>
              <a:gd name="T63" fmla="*/ 2147483647 h 418"/>
              <a:gd name="T64" fmla="*/ 2147483647 w 504"/>
              <a:gd name="T65" fmla="*/ 2147483647 h 418"/>
              <a:gd name="T66" fmla="*/ 0 w 504"/>
              <a:gd name="T67" fmla="*/ 2147483647 h 4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4"/>
              <a:gd name="T103" fmla="*/ 0 h 418"/>
              <a:gd name="T104" fmla="*/ 504 w 504"/>
              <a:gd name="T105" fmla="*/ 418 h 4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4" h="418">
                <a:moveTo>
                  <a:pt x="5" y="328"/>
                </a:moveTo>
                <a:lnTo>
                  <a:pt x="68" y="327"/>
                </a:lnTo>
                <a:lnTo>
                  <a:pt x="91" y="337"/>
                </a:lnTo>
                <a:lnTo>
                  <a:pt x="99" y="349"/>
                </a:lnTo>
                <a:lnTo>
                  <a:pt x="110" y="365"/>
                </a:lnTo>
                <a:lnTo>
                  <a:pt x="118" y="367"/>
                </a:lnTo>
                <a:lnTo>
                  <a:pt x="114" y="369"/>
                </a:lnTo>
                <a:lnTo>
                  <a:pt x="118" y="393"/>
                </a:lnTo>
                <a:lnTo>
                  <a:pt x="132" y="409"/>
                </a:lnTo>
                <a:lnTo>
                  <a:pt x="144" y="412"/>
                </a:lnTo>
                <a:lnTo>
                  <a:pt x="149" y="411"/>
                </a:lnTo>
                <a:lnTo>
                  <a:pt x="151" y="418"/>
                </a:lnTo>
                <a:lnTo>
                  <a:pt x="165" y="411"/>
                </a:lnTo>
                <a:lnTo>
                  <a:pt x="177" y="411"/>
                </a:lnTo>
                <a:lnTo>
                  <a:pt x="189" y="399"/>
                </a:lnTo>
                <a:lnTo>
                  <a:pt x="208" y="407"/>
                </a:lnTo>
                <a:lnTo>
                  <a:pt x="235" y="406"/>
                </a:lnTo>
                <a:lnTo>
                  <a:pt x="239" y="390"/>
                </a:lnTo>
                <a:lnTo>
                  <a:pt x="246" y="396"/>
                </a:lnTo>
                <a:lnTo>
                  <a:pt x="261" y="371"/>
                </a:lnTo>
                <a:lnTo>
                  <a:pt x="264" y="348"/>
                </a:lnTo>
                <a:lnTo>
                  <a:pt x="278" y="327"/>
                </a:lnTo>
                <a:lnTo>
                  <a:pt x="291" y="317"/>
                </a:lnTo>
                <a:lnTo>
                  <a:pt x="295" y="305"/>
                </a:lnTo>
                <a:lnTo>
                  <a:pt x="338" y="301"/>
                </a:lnTo>
                <a:lnTo>
                  <a:pt x="359" y="321"/>
                </a:lnTo>
                <a:lnTo>
                  <a:pt x="375" y="319"/>
                </a:lnTo>
                <a:lnTo>
                  <a:pt x="402" y="265"/>
                </a:lnTo>
                <a:lnTo>
                  <a:pt x="412" y="235"/>
                </a:lnTo>
                <a:lnTo>
                  <a:pt x="433" y="216"/>
                </a:lnTo>
                <a:lnTo>
                  <a:pt x="443" y="171"/>
                </a:lnTo>
                <a:lnTo>
                  <a:pt x="462" y="125"/>
                </a:lnTo>
                <a:lnTo>
                  <a:pt x="472" y="113"/>
                </a:lnTo>
                <a:lnTo>
                  <a:pt x="504" y="95"/>
                </a:lnTo>
                <a:lnTo>
                  <a:pt x="503" y="70"/>
                </a:lnTo>
                <a:lnTo>
                  <a:pt x="490" y="58"/>
                </a:lnTo>
                <a:lnTo>
                  <a:pt x="490" y="30"/>
                </a:lnTo>
                <a:lnTo>
                  <a:pt x="465" y="0"/>
                </a:lnTo>
                <a:lnTo>
                  <a:pt x="450" y="0"/>
                </a:lnTo>
                <a:lnTo>
                  <a:pt x="443" y="12"/>
                </a:lnTo>
                <a:lnTo>
                  <a:pt x="433" y="13"/>
                </a:lnTo>
                <a:lnTo>
                  <a:pt x="415" y="29"/>
                </a:lnTo>
                <a:lnTo>
                  <a:pt x="384" y="19"/>
                </a:lnTo>
                <a:lnTo>
                  <a:pt x="327" y="23"/>
                </a:lnTo>
                <a:lnTo>
                  <a:pt x="295" y="45"/>
                </a:lnTo>
                <a:lnTo>
                  <a:pt x="285" y="46"/>
                </a:lnTo>
                <a:lnTo>
                  <a:pt x="257" y="41"/>
                </a:lnTo>
                <a:lnTo>
                  <a:pt x="225" y="23"/>
                </a:lnTo>
                <a:lnTo>
                  <a:pt x="208" y="25"/>
                </a:lnTo>
                <a:lnTo>
                  <a:pt x="189" y="38"/>
                </a:lnTo>
                <a:lnTo>
                  <a:pt x="182" y="38"/>
                </a:lnTo>
                <a:lnTo>
                  <a:pt x="156" y="15"/>
                </a:lnTo>
                <a:lnTo>
                  <a:pt x="126" y="1"/>
                </a:lnTo>
                <a:lnTo>
                  <a:pt x="90" y="3"/>
                </a:lnTo>
                <a:lnTo>
                  <a:pt x="62" y="17"/>
                </a:lnTo>
                <a:lnTo>
                  <a:pt x="53" y="45"/>
                </a:lnTo>
                <a:lnTo>
                  <a:pt x="38" y="60"/>
                </a:lnTo>
                <a:lnTo>
                  <a:pt x="38" y="93"/>
                </a:lnTo>
                <a:lnTo>
                  <a:pt x="34" y="106"/>
                </a:lnTo>
                <a:lnTo>
                  <a:pt x="43" y="121"/>
                </a:lnTo>
                <a:lnTo>
                  <a:pt x="46" y="146"/>
                </a:lnTo>
                <a:lnTo>
                  <a:pt x="37" y="154"/>
                </a:lnTo>
                <a:lnTo>
                  <a:pt x="41" y="164"/>
                </a:lnTo>
                <a:lnTo>
                  <a:pt x="38" y="171"/>
                </a:lnTo>
                <a:lnTo>
                  <a:pt x="20" y="187"/>
                </a:lnTo>
                <a:lnTo>
                  <a:pt x="18" y="207"/>
                </a:lnTo>
                <a:lnTo>
                  <a:pt x="5" y="231"/>
                </a:lnTo>
                <a:lnTo>
                  <a:pt x="0" y="295"/>
                </a:lnTo>
                <a:lnTo>
                  <a:pt x="5" y="328"/>
                </a:lnTo>
                <a:close/>
              </a:path>
            </a:pathLst>
          </a:custGeom>
          <a:solidFill>
            <a:schemeClr val="accent1"/>
          </a:solidFill>
          <a:ln w="6350">
            <a:solidFill>
              <a:schemeClr val="tx2"/>
            </a:solidFill>
            <a:round/>
            <a:headEnd/>
            <a:tailEnd/>
          </a:ln>
        </p:spPr>
        <p:txBody>
          <a:bodyPr/>
          <a:lstStyle/>
          <a:p>
            <a:endParaRPr lang="en-US"/>
          </a:p>
        </p:txBody>
      </p:sp>
      <p:sp>
        <p:nvSpPr>
          <p:cNvPr id="566" name="Freeform 1468"/>
          <p:cNvSpPr>
            <a:spLocks/>
          </p:cNvSpPr>
          <p:nvPr/>
        </p:nvSpPr>
        <p:spPr bwMode="auto">
          <a:xfrm>
            <a:off x="5959603" y="4014648"/>
            <a:ext cx="157668" cy="207606"/>
          </a:xfrm>
          <a:custGeom>
            <a:avLst/>
            <a:gdLst>
              <a:gd name="T0" fmla="*/ 2147483647 w 330"/>
              <a:gd name="T1" fmla="*/ 2147483647 h 499"/>
              <a:gd name="T2" fmla="*/ 2147483647 w 330"/>
              <a:gd name="T3" fmla="*/ 2147483647 h 499"/>
              <a:gd name="T4" fmla="*/ 2147483647 w 330"/>
              <a:gd name="T5" fmla="*/ 2147483647 h 499"/>
              <a:gd name="T6" fmla="*/ 2147483647 w 330"/>
              <a:gd name="T7" fmla="*/ 2147483647 h 499"/>
              <a:gd name="T8" fmla="*/ 2147483647 w 330"/>
              <a:gd name="T9" fmla="*/ 2147483647 h 499"/>
              <a:gd name="T10" fmla="*/ 2147483647 w 330"/>
              <a:gd name="T11" fmla="*/ 2147483647 h 499"/>
              <a:gd name="T12" fmla="*/ 2147483647 w 330"/>
              <a:gd name="T13" fmla="*/ 2147483647 h 499"/>
              <a:gd name="T14" fmla="*/ 2147483647 w 330"/>
              <a:gd name="T15" fmla="*/ 2147483647 h 499"/>
              <a:gd name="T16" fmla="*/ 2147483647 w 330"/>
              <a:gd name="T17" fmla="*/ 2147483647 h 499"/>
              <a:gd name="T18" fmla="*/ 2147483647 w 330"/>
              <a:gd name="T19" fmla="*/ 2147483647 h 499"/>
              <a:gd name="T20" fmla="*/ 2147483647 w 330"/>
              <a:gd name="T21" fmla="*/ 2147483647 h 499"/>
              <a:gd name="T22" fmla="*/ 2147483647 w 330"/>
              <a:gd name="T23" fmla="*/ 2147483647 h 499"/>
              <a:gd name="T24" fmla="*/ 2147483647 w 330"/>
              <a:gd name="T25" fmla="*/ 2147483647 h 499"/>
              <a:gd name="T26" fmla="*/ 2147483647 w 330"/>
              <a:gd name="T27" fmla="*/ 2147483647 h 499"/>
              <a:gd name="T28" fmla="*/ 2147483647 w 330"/>
              <a:gd name="T29" fmla="*/ 2147483647 h 499"/>
              <a:gd name="T30" fmla="*/ 2147483647 w 330"/>
              <a:gd name="T31" fmla="*/ 2147483647 h 499"/>
              <a:gd name="T32" fmla="*/ 2147483647 w 330"/>
              <a:gd name="T33" fmla="*/ 2147483647 h 499"/>
              <a:gd name="T34" fmla="*/ 2147483647 w 330"/>
              <a:gd name="T35" fmla="*/ 2147483647 h 499"/>
              <a:gd name="T36" fmla="*/ 2147483647 w 330"/>
              <a:gd name="T37" fmla="*/ 2147483647 h 499"/>
              <a:gd name="T38" fmla="*/ 2147483647 w 330"/>
              <a:gd name="T39" fmla="*/ 2147483647 h 499"/>
              <a:gd name="T40" fmla="*/ 2147483647 w 330"/>
              <a:gd name="T41" fmla="*/ 2147483647 h 499"/>
              <a:gd name="T42" fmla="*/ 2147483647 w 330"/>
              <a:gd name="T43" fmla="*/ 2147483647 h 499"/>
              <a:gd name="T44" fmla="*/ 2147483647 w 330"/>
              <a:gd name="T45" fmla="*/ 2147483647 h 499"/>
              <a:gd name="T46" fmla="*/ 2147483647 w 330"/>
              <a:gd name="T47" fmla="*/ 2147483647 h 499"/>
              <a:gd name="T48" fmla="*/ 2147483647 w 330"/>
              <a:gd name="T49" fmla="*/ 2147483647 h 499"/>
              <a:gd name="T50" fmla="*/ 2147483647 w 330"/>
              <a:gd name="T51" fmla="*/ 2147483647 h 499"/>
              <a:gd name="T52" fmla="*/ 2147483647 w 330"/>
              <a:gd name="T53" fmla="*/ 2147483647 h 499"/>
              <a:gd name="T54" fmla="*/ 2147483647 w 330"/>
              <a:gd name="T55" fmla="*/ 0 h 499"/>
              <a:gd name="T56" fmla="*/ 2147483647 w 330"/>
              <a:gd name="T57" fmla="*/ 0 h 499"/>
              <a:gd name="T58" fmla="*/ 2147483647 w 330"/>
              <a:gd name="T59" fmla="*/ 2147483647 h 499"/>
              <a:gd name="T60" fmla="*/ 2147483647 w 330"/>
              <a:gd name="T61" fmla="*/ 2147483647 h 499"/>
              <a:gd name="T62" fmla="*/ 2147483647 w 330"/>
              <a:gd name="T63" fmla="*/ 2147483647 h 499"/>
              <a:gd name="T64" fmla="*/ 2147483647 w 330"/>
              <a:gd name="T65" fmla="*/ 2147483647 h 499"/>
              <a:gd name="T66" fmla="*/ 2147483647 w 330"/>
              <a:gd name="T67" fmla="*/ 2147483647 h 499"/>
              <a:gd name="T68" fmla="*/ 2147483647 w 330"/>
              <a:gd name="T69" fmla="*/ 2147483647 h 499"/>
              <a:gd name="T70" fmla="*/ 2147483647 w 330"/>
              <a:gd name="T71" fmla="*/ 2147483647 h 499"/>
              <a:gd name="T72" fmla="*/ 2147483647 w 330"/>
              <a:gd name="T73" fmla="*/ 2147483647 h 499"/>
              <a:gd name="T74" fmla="*/ 2147483647 w 330"/>
              <a:gd name="T75" fmla="*/ 2147483647 h 499"/>
              <a:gd name="T76" fmla="*/ 2147483647 w 330"/>
              <a:gd name="T77" fmla="*/ 2147483647 h 499"/>
              <a:gd name="T78" fmla="*/ 2147483647 w 330"/>
              <a:gd name="T79" fmla="*/ 2147483647 h 499"/>
              <a:gd name="T80" fmla="*/ 2147483647 w 330"/>
              <a:gd name="T81" fmla="*/ 2147483647 h 499"/>
              <a:gd name="T82" fmla="*/ 2147483647 w 330"/>
              <a:gd name="T83" fmla="*/ 2147483647 h 499"/>
              <a:gd name="T84" fmla="*/ 2147483647 w 330"/>
              <a:gd name="T85" fmla="*/ 2147483647 h 499"/>
              <a:gd name="T86" fmla="*/ 2147483647 w 330"/>
              <a:gd name="T87" fmla="*/ 2147483647 h 499"/>
              <a:gd name="T88" fmla="*/ 2147483647 w 330"/>
              <a:gd name="T89" fmla="*/ 2147483647 h 499"/>
              <a:gd name="T90" fmla="*/ 2147483647 w 330"/>
              <a:gd name="T91" fmla="*/ 2147483647 h 499"/>
              <a:gd name="T92" fmla="*/ 0 w 330"/>
              <a:gd name="T93" fmla="*/ 2147483647 h 499"/>
              <a:gd name="T94" fmla="*/ 2147483647 w 330"/>
              <a:gd name="T95" fmla="*/ 2147483647 h 499"/>
              <a:gd name="T96" fmla="*/ 2147483647 w 330"/>
              <a:gd name="T97" fmla="*/ 2147483647 h 499"/>
              <a:gd name="T98" fmla="*/ 2147483647 w 330"/>
              <a:gd name="T99" fmla="*/ 2147483647 h 499"/>
              <a:gd name="T100" fmla="*/ 2147483647 w 330"/>
              <a:gd name="T101" fmla="*/ 2147483647 h 499"/>
              <a:gd name="T102" fmla="*/ 2147483647 w 330"/>
              <a:gd name="T103" fmla="*/ 2147483647 h 499"/>
              <a:gd name="T104" fmla="*/ 2147483647 w 330"/>
              <a:gd name="T105" fmla="*/ 2147483647 h 499"/>
              <a:gd name="T106" fmla="*/ 2147483647 w 330"/>
              <a:gd name="T107" fmla="*/ 2147483647 h 499"/>
              <a:gd name="T108" fmla="*/ 2147483647 w 330"/>
              <a:gd name="T109" fmla="*/ 2147483647 h 499"/>
              <a:gd name="T110" fmla="*/ 2147483647 w 330"/>
              <a:gd name="T111" fmla="*/ 2147483647 h 499"/>
              <a:gd name="T112" fmla="*/ 2147483647 w 330"/>
              <a:gd name="T113" fmla="*/ 2147483647 h 4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30"/>
              <a:gd name="T172" fmla="*/ 0 h 499"/>
              <a:gd name="T173" fmla="*/ 330 w 330"/>
              <a:gd name="T174" fmla="*/ 499 h 4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30" h="499">
                <a:moveTo>
                  <a:pt x="123" y="472"/>
                </a:moveTo>
                <a:lnTo>
                  <a:pt x="161" y="469"/>
                </a:lnTo>
                <a:lnTo>
                  <a:pt x="208" y="474"/>
                </a:lnTo>
                <a:lnTo>
                  <a:pt x="267" y="474"/>
                </a:lnTo>
                <a:lnTo>
                  <a:pt x="306" y="485"/>
                </a:lnTo>
                <a:lnTo>
                  <a:pt x="324" y="499"/>
                </a:lnTo>
                <a:lnTo>
                  <a:pt x="330" y="489"/>
                </a:lnTo>
                <a:lnTo>
                  <a:pt x="330" y="446"/>
                </a:lnTo>
                <a:lnTo>
                  <a:pt x="324" y="446"/>
                </a:lnTo>
                <a:lnTo>
                  <a:pt x="298" y="421"/>
                </a:lnTo>
                <a:lnTo>
                  <a:pt x="263" y="362"/>
                </a:lnTo>
                <a:lnTo>
                  <a:pt x="261" y="314"/>
                </a:lnTo>
                <a:lnTo>
                  <a:pt x="277" y="294"/>
                </a:lnTo>
                <a:lnTo>
                  <a:pt x="298" y="250"/>
                </a:lnTo>
                <a:lnTo>
                  <a:pt x="283" y="195"/>
                </a:lnTo>
                <a:lnTo>
                  <a:pt x="275" y="186"/>
                </a:lnTo>
                <a:lnTo>
                  <a:pt x="253" y="177"/>
                </a:lnTo>
                <a:lnTo>
                  <a:pt x="243" y="157"/>
                </a:lnTo>
                <a:lnTo>
                  <a:pt x="244" y="145"/>
                </a:lnTo>
                <a:lnTo>
                  <a:pt x="250" y="139"/>
                </a:lnTo>
                <a:lnTo>
                  <a:pt x="292" y="141"/>
                </a:lnTo>
                <a:lnTo>
                  <a:pt x="296" y="137"/>
                </a:lnTo>
                <a:lnTo>
                  <a:pt x="294" y="125"/>
                </a:lnTo>
                <a:lnTo>
                  <a:pt x="275" y="93"/>
                </a:lnTo>
                <a:lnTo>
                  <a:pt x="279" y="53"/>
                </a:lnTo>
                <a:lnTo>
                  <a:pt x="265" y="16"/>
                </a:lnTo>
                <a:lnTo>
                  <a:pt x="257" y="10"/>
                </a:lnTo>
                <a:lnTo>
                  <a:pt x="254" y="0"/>
                </a:lnTo>
                <a:lnTo>
                  <a:pt x="244" y="0"/>
                </a:lnTo>
                <a:lnTo>
                  <a:pt x="244" y="28"/>
                </a:lnTo>
                <a:lnTo>
                  <a:pt x="257" y="40"/>
                </a:lnTo>
                <a:lnTo>
                  <a:pt x="258" y="65"/>
                </a:lnTo>
                <a:lnTo>
                  <a:pt x="226" y="83"/>
                </a:lnTo>
                <a:lnTo>
                  <a:pt x="216" y="95"/>
                </a:lnTo>
                <a:lnTo>
                  <a:pt x="197" y="141"/>
                </a:lnTo>
                <a:lnTo>
                  <a:pt x="187" y="186"/>
                </a:lnTo>
                <a:lnTo>
                  <a:pt x="166" y="205"/>
                </a:lnTo>
                <a:lnTo>
                  <a:pt x="156" y="235"/>
                </a:lnTo>
                <a:lnTo>
                  <a:pt x="129" y="289"/>
                </a:lnTo>
                <a:lnTo>
                  <a:pt x="113" y="291"/>
                </a:lnTo>
                <a:lnTo>
                  <a:pt x="92" y="271"/>
                </a:lnTo>
                <a:lnTo>
                  <a:pt x="49" y="275"/>
                </a:lnTo>
                <a:lnTo>
                  <a:pt x="45" y="287"/>
                </a:lnTo>
                <a:lnTo>
                  <a:pt x="32" y="297"/>
                </a:lnTo>
                <a:lnTo>
                  <a:pt x="18" y="318"/>
                </a:lnTo>
                <a:lnTo>
                  <a:pt x="15" y="341"/>
                </a:lnTo>
                <a:lnTo>
                  <a:pt x="0" y="366"/>
                </a:lnTo>
                <a:lnTo>
                  <a:pt x="5" y="375"/>
                </a:lnTo>
                <a:lnTo>
                  <a:pt x="18" y="374"/>
                </a:lnTo>
                <a:lnTo>
                  <a:pt x="25" y="393"/>
                </a:lnTo>
                <a:lnTo>
                  <a:pt x="41" y="399"/>
                </a:lnTo>
                <a:lnTo>
                  <a:pt x="53" y="397"/>
                </a:lnTo>
                <a:lnTo>
                  <a:pt x="49" y="410"/>
                </a:lnTo>
                <a:lnTo>
                  <a:pt x="54" y="416"/>
                </a:lnTo>
                <a:lnTo>
                  <a:pt x="64" y="430"/>
                </a:lnTo>
                <a:lnTo>
                  <a:pt x="55" y="475"/>
                </a:lnTo>
                <a:lnTo>
                  <a:pt x="123" y="472"/>
                </a:lnTo>
                <a:close/>
              </a:path>
            </a:pathLst>
          </a:custGeom>
          <a:solidFill>
            <a:schemeClr val="accent1"/>
          </a:solidFill>
          <a:ln w="6350">
            <a:solidFill>
              <a:schemeClr val="tx2"/>
            </a:solidFill>
            <a:round/>
            <a:headEnd/>
            <a:tailEnd/>
          </a:ln>
        </p:spPr>
        <p:txBody>
          <a:bodyPr/>
          <a:lstStyle/>
          <a:p>
            <a:endParaRPr lang="en-US"/>
          </a:p>
        </p:txBody>
      </p:sp>
      <p:sp>
        <p:nvSpPr>
          <p:cNvPr id="567" name="Freeform 1469"/>
          <p:cNvSpPr>
            <a:spLocks/>
          </p:cNvSpPr>
          <p:nvPr/>
        </p:nvSpPr>
        <p:spPr bwMode="auto">
          <a:xfrm>
            <a:off x="6379570" y="4269380"/>
            <a:ext cx="38701" cy="30568"/>
          </a:xfrm>
          <a:custGeom>
            <a:avLst/>
            <a:gdLst>
              <a:gd name="T0" fmla="*/ 2147483647 w 81"/>
              <a:gd name="T1" fmla="*/ 0 h 75"/>
              <a:gd name="T2" fmla="*/ 2147483647 w 81"/>
              <a:gd name="T3" fmla="*/ 2147483647 h 75"/>
              <a:gd name="T4" fmla="*/ 2147483647 w 81"/>
              <a:gd name="T5" fmla="*/ 2147483647 h 75"/>
              <a:gd name="T6" fmla="*/ 2147483647 w 81"/>
              <a:gd name="T7" fmla="*/ 2147483647 h 75"/>
              <a:gd name="T8" fmla="*/ 2147483647 w 81"/>
              <a:gd name="T9" fmla="*/ 2147483647 h 75"/>
              <a:gd name="T10" fmla="*/ 0 w 81"/>
              <a:gd name="T11" fmla="*/ 2147483647 h 75"/>
              <a:gd name="T12" fmla="*/ 2147483647 w 81"/>
              <a:gd name="T13" fmla="*/ 2147483647 h 75"/>
              <a:gd name="T14" fmla="*/ 2147483647 w 81"/>
              <a:gd name="T15" fmla="*/ 2147483647 h 75"/>
              <a:gd name="T16" fmla="*/ 2147483647 w 81"/>
              <a:gd name="T17" fmla="*/ 2147483647 h 75"/>
              <a:gd name="T18" fmla="*/ 2147483647 w 81"/>
              <a:gd name="T19" fmla="*/ 2147483647 h 75"/>
              <a:gd name="T20" fmla="*/ 2147483647 w 81"/>
              <a:gd name="T21" fmla="*/ 2147483647 h 75"/>
              <a:gd name="T22" fmla="*/ 2147483647 w 81"/>
              <a:gd name="T23" fmla="*/ 2147483647 h 75"/>
              <a:gd name="T24" fmla="*/ 2147483647 w 81"/>
              <a:gd name="T25" fmla="*/ 2147483647 h 75"/>
              <a:gd name="T26" fmla="*/ 2147483647 w 81"/>
              <a:gd name="T27" fmla="*/ 2147483647 h 75"/>
              <a:gd name="T28" fmla="*/ 2147483647 w 81"/>
              <a:gd name="T29" fmla="*/ 2147483647 h 75"/>
              <a:gd name="T30" fmla="*/ 2147483647 w 81"/>
              <a:gd name="T31" fmla="*/ 0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75"/>
              <a:gd name="T50" fmla="*/ 81 w 81"/>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75">
                <a:moveTo>
                  <a:pt x="62" y="0"/>
                </a:moveTo>
                <a:lnTo>
                  <a:pt x="52" y="4"/>
                </a:lnTo>
                <a:lnTo>
                  <a:pt x="45" y="16"/>
                </a:lnTo>
                <a:lnTo>
                  <a:pt x="29" y="12"/>
                </a:lnTo>
                <a:lnTo>
                  <a:pt x="11" y="40"/>
                </a:lnTo>
                <a:lnTo>
                  <a:pt x="0" y="58"/>
                </a:lnTo>
                <a:lnTo>
                  <a:pt x="5" y="72"/>
                </a:lnTo>
                <a:lnTo>
                  <a:pt x="9" y="62"/>
                </a:lnTo>
                <a:lnTo>
                  <a:pt x="14" y="63"/>
                </a:lnTo>
                <a:lnTo>
                  <a:pt x="22" y="75"/>
                </a:lnTo>
                <a:lnTo>
                  <a:pt x="37" y="72"/>
                </a:lnTo>
                <a:lnTo>
                  <a:pt x="43" y="58"/>
                </a:lnTo>
                <a:lnTo>
                  <a:pt x="64" y="55"/>
                </a:lnTo>
                <a:lnTo>
                  <a:pt x="70" y="58"/>
                </a:lnTo>
                <a:lnTo>
                  <a:pt x="81" y="40"/>
                </a:lnTo>
                <a:lnTo>
                  <a:pt x="62" y="0"/>
                </a:lnTo>
                <a:close/>
              </a:path>
            </a:pathLst>
          </a:custGeom>
          <a:solidFill>
            <a:schemeClr val="accent1"/>
          </a:solidFill>
          <a:ln w="6350">
            <a:solidFill>
              <a:schemeClr val="tx2"/>
            </a:solidFill>
            <a:round/>
            <a:headEnd/>
            <a:tailEnd/>
          </a:ln>
        </p:spPr>
        <p:txBody>
          <a:bodyPr/>
          <a:lstStyle/>
          <a:p>
            <a:endParaRPr lang="en-US"/>
          </a:p>
        </p:txBody>
      </p:sp>
      <p:sp>
        <p:nvSpPr>
          <p:cNvPr id="568" name="Freeform 1470"/>
          <p:cNvSpPr>
            <a:spLocks/>
          </p:cNvSpPr>
          <p:nvPr/>
        </p:nvSpPr>
        <p:spPr bwMode="auto">
          <a:xfrm>
            <a:off x="6082870" y="4052858"/>
            <a:ext cx="266601" cy="147744"/>
          </a:xfrm>
          <a:custGeom>
            <a:avLst/>
            <a:gdLst>
              <a:gd name="T0" fmla="*/ 2147483647 w 564"/>
              <a:gd name="T1" fmla="*/ 2147483647 h 354"/>
              <a:gd name="T2" fmla="*/ 2147483647 w 564"/>
              <a:gd name="T3" fmla="*/ 2147483647 h 354"/>
              <a:gd name="T4" fmla="*/ 2147483647 w 564"/>
              <a:gd name="T5" fmla="*/ 2147483647 h 354"/>
              <a:gd name="T6" fmla="*/ 2147483647 w 564"/>
              <a:gd name="T7" fmla="*/ 2147483647 h 354"/>
              <a:gd name="T8" fmla="*/ 2147483647 w 564"/>
              <a:gd name="T9" fmla="*/ 2147483647 h 354"/>
              <a:gd name="T10" fmla="*/ 2147483647 w 564"/>
              <a:gd name="T11" fmla="*/ 2147483647 h 354"/>
              <a:gd name="T12" fmla="*/ 2147483647 w 564"/>
              <a:gd name="T13" fmla="*/ 2147483647 h 354"/>
              <a:gd name="T14" fmla="*/ 2147483647 w 564"/>
              <a:gd name="T15" fmla="*/ 2147483647 h 354"/>
              <a:gd name="T16" fmla="*/ 2147483647 w 564"/>
              <a:gd name="T17" fmla="*/ 2147483647 h 354"/>
              <a:gd name="T18" fmla="*/ 2147483647 w 564"/>
              <a:gd name="T19" fmla="*/ 2147483647 h 354"/>
              <a:gd name="T20" fmla="*/ 2147483647 w 564"/>
              <a:gd name="T21" fmla="*/ 2147483647 h 354"/>
              <a:gd name="T22" fmla="*/ 2147483647 w 564"/>
              <a:gd name="T23" fmla="*/ 2147483647 h 354"/>
              <a:gd name="T24" fmla="*/ 2147483647 w 564"/>
              <a:gd name="T25" fmla="*/ 2147483647 h 354"/>
              <a:gd name="T26" fmla="*/ 2147483647 w 564"/>
              <a:gd name="T27" fmla="*/ 2147483647 h 354"/>
              <a:gd name="T28" fmla="*/ 2147483647 w 564"/>
              <a:gd name="T29" fmla="*/ 2147483647 h 354"/>
              <a:gd name="T30" fmla="*/ 2147483647 w 564"/>
              <a:gd name="T31" fmla="*/ 2147483647 h 354"/>
              <a:gd name="T32" fmla="*/ 0 w 564"/>
              <a:gd name="T33" fmla="*/ 2147483647 h 354"/>
              <a:gd name="T34" fmla="*/ 2147483647 w 564"/>
              <a:gd name="T35" fmla="*/ 2147483647 h 354"/>
              <a:gd name="T36" fmla="*/ 2147483647 w 564"/>
              <a:gd name="T37" fmla="*/ 2147483647 h 354"/>
              <a:gd name="T38" fmla="*/ 2147483647 w 564"/>
              <a:gd name="T39" fmla="*/ 2147483647 h 354"/>
              <a:gd name="T40" fmla="*/ 2147483647 w 564"/>
              <a:gd name="T41" fmla="*/ 2147483647 h 354"/>
              <a:gd name="T42" fmla="*/ 2147483647 w 564"/>
              <a:gd name="T43" fmla="*/ 2147483647 h 354"/>
              <a:gd name="T44" fmla="*/ 2147483647 w 564"/>
              <a:gd name="T45" fmla="*/ 2147483647 h 354"/>
              <a:gd name="T46" fmla="*/ 2147483647 w 564"/>
              <a:gd name="T47" fmla="*/ 2147483647 h 354"/>
              <a:gd name="T48" fmla="*/ 2147483647 w 564"/>
              <a:gd name="T49" fmla="*/ 2147483647 h 354"/>
              <a:gd name="T50" fmla="*/ 2147483647 w 564"/>
              <a:gd name="T51" fmla="*/ 2147483647 h 354"/>
              <a:gd name="T52" fmla="*/ 2147483647 w 564"/>
              <a:gd name="T53" fmla="*/ 2147483647 h 354"/>
              <a:gd name="T54" fmla="*/ 2147483647 w 564"/>
              <a:gd name="T55" fmla="*/ 2147483647 h 354"/>
              <a:gd name="T56" fmla="*/ 2147483647 w 564"/>
              <a:gd name="T57" fmla="*/ 2147483647 h 354"/>
              <a:gd name="T58" fmla="*/ 2147483647 w 564"/>
              <a:gd name="T59" fmla="*/ 2147483647 h 354"/>
              <a:gd name="T60" fmla="*/ 2147483647 w 564"/>
              <a:gd name="T61" fmla="*/ 2147483647 h 354"/>
              <a:gd name="T62" fmla="*/ 2147483647 w 564"/>
              <a:gd name="T63" fmla="*/ 2147483647 h 354"/>
              <a:gd name="T64" fmla="*/ 2147483647 w 564"/>
              <a:gd name="T65" fmla="*/ 2147483647 h 3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4"/>
              <a:gd name="T100" fmla="*/ 0 h 354"/>
              <a:gd name="T101" fmla="*/ 564 w 564"/>
              <a:gd name="T102" fmla="*/ 354 h 3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4" h="354">
                <a:moveTo>
                  <a:pt x="564" y="254"/>
                </a:moveTo>
                <a:lnTo>
                  <a:pt x="542" y="254"/>
                </a:lnTo>
                <a:lnTo>
                  <a:pt x="536" y="263"/>
                </a:lnTo>
                <a:lnTo>
                  <a:pt x="525" y="257"/>
                </a:lnTo>
                <a:lnTo>
                  <a:pt x="521" y="263"/>
                </a:lnTo>
                <a:lnTo>
                  <a:pt x="510" y="250"/>
                </a:lnTo>
                <a:lnTo>
                  <a:pt x="480" y="257"/>
                </a:lnTo>
                <a:lnTo>
                  <a:pt x="464" y="253"/>
                </a:lnTo>
                <a:lnTo>
                  <a:pt x="462" y="263"/>
                </a:lnTo>
                <a:lnTo>
                  <a:pt x="446" y="265"/>
                </a:lnTo>
                <a:lnTo>
                  <a:pt x="436" y="258"/>
                </a:lnTo>
                <a:lnTo>
                  <a:pt x="384" y="276"/>
                </a:lnTo>
                <a:lnTo>
                  <a:pt x="363" y="269"/>
                </a:lnTo>
                <a:lnTo>
                  <a:pt x="352" y="276"/>
                </a:lnTo>
                <a:lnTo>
                  <a:pt x="351" y="289"/>
                </a:lnTo>
                <a:lnTo>
                  <a:pt x="345" y="291"/>
                </a:lnTo>
                <a:lnTo>
                  <a:pt x="305" y="291"/>
                </a:lnTo>
                <a:lnTo>
                  <a:pt x="275" y="279"/>
                </a:lnTo>
                <a:lnTo>
                  <a:pt x="269" y="285"/>
                </a:lnTo>
                <a:lnTo>
                  <a:pt x="263" y="284"/>
                </a:lnTo>
                <a:lnTo>
                  <a:pt x="239" y="256"/>
                </a:lnTo>
                <a:lnTo>
                  <a:pt x="217" y="254"/>
                </a:lnTo>
                <a:lnTo>
                  <a:pt x="190" y="283"/>
                </a:lnTo>
                <a:lnTo>
                  <a:pt x="188" y="315"/>
                </a:lnTo>
                <a:lnTo>
                  <a:pt x="179" y="317"/>
                </a:lnTo>
                <a:lnTo>
                  <a:pt x="150" y="330"/>
                </a:lnTo>
                <a:lnTo>
                  <a:pt x="123" y="317"/>
                </a:lnTo>
                <a:lnTo>
                  <a:pt x="108" y="319"/>
                </a:lnTo>
                <a:lnTo>
                  <a:pt x="89" y="331"/>
                </a:lnTo>
                <a:lnTo>
                  <a:pt x="69" y="354"/>
                </a:lnTo>
                <a:lnTo>
                  <a:pt x="63" y="354"/>
                </a:lnTo>
                <a:lnTo>
                  <a:pt x="37" y="329"/>
                </a:lnTo>
                <a:lnTo>
                  <a:pt x="2" y="270"/>
                </a:lnTo>
                <a:lnTo>
                  <a:pt x="0" y="222"/>
                </a:lnTo>
                <a:lnTo>
                  <a:pt x="16" y="202"/>
                </a:lnTo>
                <a:lnTo>
                  <a:pt x="37" y="158"/>
                </a:lnTo>
                <a:lnTo>
                  <a:pt x="64" y="155"/>
                </a:lnTo>
                <a:lnTo>
                  <a:pt x="83" y="146"/>
                </a:lnTo>
                <a:lnTo>
                  <a:pt x="89" y="139"/>
                </a:lnTo>
                <a:lnTo>
                  <a:pt x="104" y="151"/>
                </a:lnTo>
                <a:lnTo>
                  <a:pt x="143" y="132"/>
                </a:lnTo>
                <a:lnTo>
                  <a:pt x="180" y="130"/>
                </a:lnTo>
                <a:lnTo>
                  <a:pt x="199" y="106"/>
                </a:lnTo>
                <a:lnTo>
                  <a:pt x="192" y="97"/>
                </a:lnTo>
                <a:lnTo>
                  <a:pt x="194" y="91"/>
                </a:lnTo>
                <a:lnTo>
                  <a:pt x="257" y="82"/>
                </a:lnTo>
                <a:lnTo>
                  <a:pt x="263" y="74"/>
                </a:lnTo>
                <a:lnTo>
                  <a:pt x="280" y="68"/>
                </a:lnTo>
                <a:lnTo>
                  <a:pt x="285" y="58"/>
                </a:lnTo>
                <a:lnTo>
                  <a:pt x="314" y="32"/>
                </a:lnTo>
                <a:lnTo>
                  <a:pt x="314" y="20"/>
                </a:lnTo>
                <a:lnTo>
                  <a:pt x="323" y="7"/>
                </a:lnTo>
                <a:lnTo>
                  <a:pt x="356" y="0"/>
                </a:lnTo>
                <a:lnTo>
                  <a:pt x="389" y="44"/>
                </a:lnTo>
                <a:lnTo>
                  <a:pt x="393" y="56"/>
                </a:lnTo>
                <a:lnTo>
                  <a:pt x="389" y="93"/>
                </a:lnTo>
                <a:lnTo>
                  <a:pt x="397" y="100"/>
                </a:lnTo>
                <a:lnTo>
                  <a:pt x="416" y="103"/>
                </a:lnTo>
                <a:lnTo>
                  <a:pt x="421" y="115"/>
                </a:lnTo>
                <a:lnTo>
                  <a:pt x="446" y="120"/>
                </a:lnTo>
                <a:lnTo>
                  <a:pt x="460" y="130"/>
                </a:lnTo>
                <a:lnTo>
                  <a:pt x="465" y="150"/>
                </a:lnTo>
                <a:lnTo>
                  <a:pt x="509" y="183"/>
                </a:lnTo>
                <a:lnTo>
                  <a:pt x="522" y="215"/>
                </a:lnTo>
                <a:lnTo>
                  <a:pt x="554" y="232"/>
                </a:lnTo>
                <a:lnTo>
                  <a:pt x="564" y="254"/>
                </a:lnTo>
                <a:close/>
              </a:path>
            </a:pathLst>
          </a:custGeom>
          <a:solidFill>
            <a:schemeClr val="accent1"/>
          </a:solidFill>
          <a:ln w="6350">
            <a:solidFill>
              <a:schemeClr val="tx2"/>
            </a:solidFill>
            <a:round/>
            <a:headEnd/>
            <a:tailEnd/>
          </a:ln>
        </p:spPr>
        <p:txBody>
          <a:bodyPr/>
          <a:lstStyle/>
          <a:p>
            <a:endParaRPr lang="en-US"/>
          </a:p>
        </p:txBody>
      </p:sp>
      <p:sp>
        <p:nvSpPr>
          <p:cNvPr id="569" name="Freeform 1471"/>
          <p:cNvSpPr>
            <a:spLocks/>
          </p:cNvSpPr>
          <p:nvPr/>
        </p:nvSpPr>
        <p:spPr bwMode="auto">
          <a:xfrm>
            <a:off x="6034136" y="4330515"/>
            <a:ext cx="20066" cy="25473"/>
          </a:xfrm>
          <a:custGeom>
            <a:avLst/>
            <a:gdLst>
              <a:gd name="T0" fmla="*/ 2147483647 w 42"/>
              <a:gd name="T1" fmla="*/ 2147483647 h 62"/>
              <a:gd name="T2" fmla="*/ 2147483647 w 42"/>
              <a:gd name="T3" fmla="*/ 2147483647 h 62"/>
              <a:gd name="T4" fmla="*/ 2147483647 w 42"/>
              <a:gd name="T5" fmla="*/ 2147483647 h 62"/>
              <a:gd name="T6" fmla="*/ 0 w 42"/>
              <a:gd name="T7" fmla="*/ 2147483647 h 62"/>
              <a:gd name="T8" fmla="*/ 2147483647 w 42"/>
              <a:gd name="T9" fmla="*/ 2147483647 h 62"/>
              <a:gd name="T10" fmla="*/ 2147483647 w 42"/>
              <a:gd name="T11" fmla="*/ 2147483647 h 62"/>
              <a:gd name="T12" fmla="*/ 2147483647 w 42"/>
              <a:gd name="T13" fmla="*/ 0 h 62"/>
              <a:gd name="T14" fmla="*/ 2147483647 w 42"/>
              <a:gd name="T15" fmla="*/ 2147483647 h 62"/>
              <a:gd name="T16" fmla="*/ 2147483647 w 42"/>
              <a:gd name="T17" fmla="*/ 2147483647 h 62"/>
              <a:gd name="T18" fmla="*/ 2147483647 w 42"/>
              <a:gd name="T19" fmla="*/ 2147483647 h 62"/>
              <a:gd name="T20" fmla="*/ 2147483647 w 42"/>
              <a:gd name="T21" fmla="*/ 2147483647 h 62"/>
              <a:gd name="T22" fmla="*/ 2147483647 w 42"/>
              <a:gd name="T23" fmla="*/ 2147483647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62"/>
              <a:gd name="T38" fmla="*/ 42 w 42"/>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62">
                <a:moveTo>
                  <a:pt x="13" y="62"/>
                </a:moveTo>
                <a:lnTo>
                  <a:pt x="7" y="57"/>
                </a:lnTo>
                <a:lnTo>
                  <a:pt x="4" y="33"/>
                </a:lnTo>
                <a:lnTo>
                  <a:pt x="0" y="29"/>
                </a:lnTo>
                <a:lnTo>
                  <a:pt x="19" y="17"/>
                </a:lnTo>
                <a:lnTo>
                  <a:pt x="24" y="4"/>
                </a:lnTo>
                <a:lnTo>
                  <a:pt x="32" y="0"/>
                </a:lnTo>
                <a:lnTo>
                  <a:pt x="39" y="3"/>
                </a:lnTo>
                <a:lnTo>
                  <a:pt x="42" y="13"/>
                </a:lnTo>
                <a:lnTo>
                  <a:pt x="26" y="26"/>
                </a:lnTo>
                <a:lnTo>
                  <a:pt x="20" y="59"/>
                </a:lnTo>
                <a:lnTo>
                  <a:pt x="13" y="62"/>
                </a:lnTo>
                <a:close/>
              </a:path>
            </a:pathLst>
          </a:custGeom>
          <a:solidFill>
            <a:schemeClr val="accent1"/>
          </a:solidFill>
          <a:ln w="6350">
            <a:solidFill>
              <a:schemeClr val="tx2"/>
            </a:solidFill>
            <a:round/>
            <a:headEnd/>
            <a:tailEnd/>
          </a:ln>
        </p:spPr>
        <p:txBody>
          <a:bodyPr/>
          <a:lstStyle/>
          <a:p>
            <a:endParaRPr lang="en-US"/>
          </a:p>
        </p:txBody>
      </p:sp>
      <p:sp>
        <p:nvSpPr>
          <p:cNvPr id="570" name="Freeform 1472"/>
          <p:cNvSpPr>
            <a:spLocks/>
          </p:cNvSpPr>
          <p:nvPr/>
        </p:nvSpPr>
        <p:spPr bwMode="auto">
          <a:xfrm>
            <a:off x="5971069" y="4210791"/>
            <a:ext cx="110367" cy="110807"/>
          </a:xfrm>
          <a:custGeom>
            <a:avLst/>
            <a:gdLst>
              <a:gd name="T0" fmla="*/ 2147483647 w 237"/>
              <a:gd name="T1" fmla="*/ 2147483647 h 268"/>
              <a:gd name="T2" fmla="*/ 2147483647 w 237"/>
              <a:gd name="T3" fmla="*/ 2147483647 h 268"/>
              <a:gd name="T4" fmla="*/ 2147483647 w 237"/>
              <a:gd name="T5" fmla="*/ 2147483647 h 268"/>
              <a:gd name="T6" fmla="*/ 2147483647 w 237"/>
              <a:gd name="T7" fmla="*/ 2147483647 h 268"/>
              <a:gd name="T8" fmla="*/ 2147483647 w 237"/>
              <a:gd name="T9" fmla="*/ 2147483647 h 268"/>
              <a:gd name="T10" fmla="*/ 2147483647 w 237"/>
              <a:gd name="T11" fmla="*/ 2147483647 h 268"/>
              <a:gd name="T12" fmla="*/ 2147483647 w 237"/>
              <a:gd name="T13" fmla="*/ 2147483647 h 268"/>
              <a:gd name="T14" fmla="*/ 2147483647 w 237"/>
              <a:gd name="T15" fmla="*/ 2147483647 h 268"/>
              <a:gd name="T16" fmla="*/ 2147483647 w 237"/>
              <a:gd name="T17" fmla="*/ 2147483647 h 268"/>
              <a:gd name="T18" fmla="*/ 2147483647 w 237"/>
              <a:gd name="T19" fmla="*/ 2147483647 h 268"/>
              <a:gd name="T20" fmla="*/ 2147483647 w 237"/>
              <a:gd name="T21" fmla="*/ 2147483647 h 268"/>
              <a:gd name="T22" fmla="*/ 2147483647 w 237"/>
              <a:gd name="T23" fmla="*/ 2147483647 h 268"/>
              <a:gd name="T24" fmla="*/ 0 w 237"/>
              <a:gd name="T25" fmla="*/ 2147483647 h 268"/>
              <a:gd name="T26" fmla="*/ 2147483647 w 237"/>
              <a:gd name="T27" fmla="*/ 2147483647 h 268"/>
              <a:gd name="T28" fmla="*/ 2147483647 w 237"/>
              <a:gd name="T29" fmla="*/ 2147483647 h 268"/>
              <a:gd name="T30" fmla="*/ 2147483647 w 237"/>
              <a:gd name="T31" fmla="*/ 2147483647 h 268"/>
              <a:gd name="T32" fmla="*/ 2147483647 w 237"/>
              <a:gd name="T33" fmla="*/ 2147483647 h 268"/>
              <a:gd name="T34" fmla="*/ 2147483647 w 237"/>
              <a:gd name="T35" fmla="*/ 2147483647 h 268"/>
              <a:gd name="T36" fmla="*/ 2147483647 w 237"/>
              <a:gd name="T37" fmla="*/ 2147483647 h 268"/>
              <a:gd name="T38" fmla="*/ 2147483647 w 237"/>
              <a:gd name="T39" fmla="*/ 2147483647 h 268"/>
              <a:gd name="T40" fmla="*/ 2147483647 w 237"/>
              <a:gd name="T41" fmla="*/ 2147483647 h 268"/>
              <a:gd name="T42" fmla="*/ 2147483647 w 237"/>
              <a:gd name="T43" fmla="*/ 2147483647 h 268"/>
              <a:gd name="T44" fmla="*/ 2147483647 w 237"/>
              <a:gd name="T45" fmla="*/ 2147483647 h 268"/>
              <a:gd name="T46" fmla="*/ 2147483647 w 237"/>
              <a:gd name="T47" fmla="*/ 2147483647 h 268"/>
              <a:gd name="T48" fmla="*/ 2147483647 w 237"/>
              <a:gd name="T49" fmla="*/ 2147483647 h 268"/>
              <a:gd name="T50" fmla="*/ 2147483647 w 237"/>
              <a:gd name="T51" fmla="*/ 2147483647 h 268"/>
              <a:gd name="T52" fmla="*/ 2147483647 w 237"/>
              <a:gd name="T53" fmla="*/ 2147483647 h 268"/>
              <a:gd name="T54" fmla="*/ 2147483647 w 237"/>
              <a:gd name="T55" fmla="*/ 2147483647 h 268"/>
              <a:gd name="T56" fmla="*/ 2147483647 w 237"/>
              <a:gd name="T57" fmla="*/ 2147483647 h 268"/>
              <a:gd name="T58" fmla="*/ 2147483647 w 237"/>
              <a:gd name="T59" fmla="*/ 2147483647 h 268"/>
              <a:gd name="T60" fmla="*/ 2147483647 w 237"/>
              <a:gd name="T61" fmla="*/ 2147483647 h 268"/>
              <a:gd name="T62" fmla="*/ 2147483647 w 237"/>
              <a:gd name="T63" fmla="*/ 2147483647 h 268"/>
              <a:gd name="T64" fmla="*/ 2147483647 w 237"/>
              <a:gd name="T65" fmla="*/ 2147483647 h 268"/>
              <a:gd name="T66" fmla="*/ 2147483647 w 237"/>
              <a:gd name="T67" fmla="*/ 2147483647 h 268"/>
              <a:gd name="T68" fmla="*/ 2147483647 w 237"/>
              <a:gd name="T69" fmla="*/ 2147483647 h 268"/>
              <a:gd name="T70" fmla="*/ 2147483647 w 237"/>
              <a:gd name="T71" fmla="*/ 2147483647 h 268"/>
              <a:gd name="T72" fmla="*/ 2147483647 w 237"/>
              <a:gd name="T73" fmla="*/ 2147483647 h 268"/>
              <a:gd name="T74" fmla="*/ 2147483647 w 237"/>
              <a:gd name="T75" fmla="*/ 2147483647 h 268"/>
              <a:gd name="T76" fmla="*/ 2147483647 w 237"/>
              <a:gd name="T77" fmla="*/ 2147483647 h 268"/>
              <a:gd name="T78" fmla="*/ 2147483647 w 237"/>
              <a:gd name="T79" fmla="*/ 2147483647 h 268"/>
              <a:gd name="T80" fmla="*/ 2147483647 w 237"/>
              <a:gd name="T81" fmla="*/ 0 h 268"/>
              <a:gd name="T82" fmla="*/ 2147483647 w 237"/>
              <a:gd name="T83" fmla="*/ 2147483647 h 2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7"/>
              <a:gd name="T127" fmla="*/ 0 h 268"/>
              <a:gd name="T128" fmla="*/ 237 w 237"/>
              <a:gd name="T129" fmla="*/ 268 h 26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7" h="268">
                <a:moveTo>
                  <a:pt x="107" y="3"/>
                </a:moveTo>
                <a:lnTo>
                  <a:pt x="102" y="16"/>
                </a:lnTo>
                <a:lnTo>
                  <a:pt x="107" y="51"/>
                </a:lnTo>
                <a:lnTo>
                  <a:pt x="51" y="52"/>
                </a:lnTo>
                <a:lnTo>
                  <a:pt x="32" y="57"/>
                </a:lnTo>
                <a:lnTo>
                  <a:pt x="33" y="69"/>
                </a:lnTo>
                <a:lnTo>
                  <a:pt x="23" y="77"/>
                </a:lnTo>
                <a:lnTo>
                  <a:pt x="46" y="93"/>
                </a:lnTo>
                <a:lnTo>
                  <a:pt x="35" y="95"/>
                </a:lnTo>
                <a:lnTo>
                  <a:pt x="21" y="89"/>
                </a:lnTo>
                <a:lnTo>
                  <a:pt x="19" y="117"/>
                </a:lnTo>
                <a:lnTo>
                  <a:pt x="8" y="128"/>
                </a:lnTo>
                <a:lnTo>
                  <a:pt x="0" y="131"/>
                </a:lnTo>
                <a:lnTo>
                  <a:pt x="4" y="139"/>
                </a:lnTo>
                <a:lnTo>
                  <a:pt x="21" y="181"/>
                </a:lnTo>
                <a:lnTo>
                  <a:pt x="47" y="214"/>
                </a:lnTo>
                <a:lnTo>
                  <a:pt x="94" y="257"/>
                </a:lnTo>
                <a:lnTo>
                  <a:pt x="99" y="268"/>
                </a:lnTo>
                <a:lnTo>
                  <a:pt x="105" y="251"/>
                </a:lnTo>
                <a:lnTo>
                  <a:pt x="122" y="249"/>
                </a:lnTo>
                <a:lnTo>
                  <a:pt x="125" y="245"/>
                </a:lnTo>
                <a:lnTo>
                  <a:pt x="119" y="223"/>
                </a:lnTo>
                <a:lnTo>
                  <a:pt x="123" y="207"/>
                </a:lnTo>
                <a:lnTo>
                  <a:pt x="150" y="194"/>
                </a:lnTo>
                <a:lnTo>
                  <a:pt x="165" y="179"/>
                </a:lnTo>
                <a:lnTo>
                  <a:pt x="178" y="191"/>
                </a:lnTo>
                <a:lnTo>
                  <a:pt x="199" y="189"/>
                </a:lnTo>
                <a:lnTo>
                  <a:pt x="213" y="202"/>
                </a:lnTo>
                <a:lnTo>
                  <a:pt x="225" y="197"/>
                </a:lnTo>
                <a:lnTo>
                  <a:pt x="235" y="133"/>
                </a:lnTo>
                <a:lnTo>
                  <a:pt x="223" y="100"/>
                </a:lnTo>
                <a:lnTo>
                  <a:pt x="224" y="87"/>
                </a:lnTo>
                <a:lnTo>
                  <a:pt x="237" y="63"/>
                </a:lnTo>
                <a:lnTo>
                  <a:pt x="237" y="47"/>
                </a:lnTo>
                <a:lnTo>
                  <a:pt x="229" y="37"/>
                </a:lnTo>
                <a:lnTo>
                  <a:pt x="206" y="32"/>
                </a:lnTo>
                <a:lnTo>
                  <a:pt x="194" y="50"/>
                </a:lnTo>
                <a:lnTo>
                  <a:pt x="186" y="46"/>
                </a:lnTo>
                <a:lnTo>
                  <a:pt x="186" y="17"/>
                </a:lnTo>
                <a:lnTo>
                  <a:pt x="192" y="5"/>
                </a:lnTo>
                <a:lnTo>
                  <a:pt x="145" y="0"/>
                </a:lnTo>
                <a:lnTo>
                  <a:pt x="107" y="3"/>
                </a:lnTo>
                <a:close/>
              </a:path>
            </a:pathLst>
          </a:custGeom>
          <a:solidFill>
            <a:schemeClr val="accent1"/>
          </a:solidFill>
          <a:ln w="6350">
            <a:solidFill>
              <a:schemeClr val="tx2"/>
            </a:solidFill>
            <a:round/>
            <a:headEnd/>
            <a:tailEnd/>
          </a:ln>
        </p:spPr>
        <p:txBody>
          <a:bodyPr/>
          <a:lstStyle/>
          <a:p>
            <a:endParaRPr lang="en-US"/>
          </a:p>
        </p:txBody>
      </p:sp>
      <p:sp>
        <p:nvSpPr>
          <p:cNvPr id="571" name="Freeform 1473"/>
          <p:cNvSpPr>
            <a:spLocks/>
          </p:cNvSpPr>
          <p:nvPr/>
        </p:nvSpPr>
        <p:spPr bwMode="auto">
          <a:xfrm>
            <a:off x="6015502" y="4185318"/>
            <a:ext cx="153368" cy="156660"/>
          </a:xfrm>
          <a:custGeom>
            <a:avLst/>
            <a:gdLst>
              <a:gd name="T0" fmla="*/ 2147483647 w 325"/>
              <a:gd name="T1" fmla="*/ 0 h 376"/>
              <a:gd name="T2" fmla="*/ 2147483647 w 325"/>
              <a:gd name="T3" fmla="*/ 2147483647 h 376"/>
              <a:gd name="T4" fmla="*/ 2147483647 w 325"/>
              <a:gd name="T5" fmla="*/ 0 h 376"/>
              <a:gd name="T6" fmla="*/ 2147483647 w 325"/>
              <a:gd name="T7" fmla="*/ 2147483647 h 376"/>
              <a:gd name="T8" fmla="*/ 2147483647 w 325"/>
              <a:gd name="T9" fmla="*/ 2147483647 h 376"/>
              <a:gd name="T10" fmla="*/ 2147483647 w 325"/>
              <a:gd name="T11" fmla="*/ 2147483647 h 376"/>
              <a:gd name="T12" fmla="*/ 2147483647 w 325"/>
              <a:gd name="T13" fmla="*/ 2147483647 h 376"/>
              <a:gd name="T14" fmla="*/ 2147483647 w 325"/>
              <a:gd name="T15" fmla="*/ 2147483647 h 376"/>
              <a:gd name="T16" fmla="*/ 2147483647 w 325"/>
              <a:gd name="T17" fmla="*/ 2147483647 h 376"/>
              <a:gd name="T18" fmla="*/ 2147483647 w 325"/>
              <a:gd name="T19" fmla="*/ 2147483647 h 376"/>
              <a:gd name="T20" fmla="*/ 2147483647 w 325"/>
              <a:gd name="T21" fmla="*/ 2147483647 h 376"/>
              <a:gd name="T22" fmla="*/ 2147483647 w 325"/>
              <a:gd name="T23" fmla="*/ 2147483647 h 376"/>
              <a:gd name="T24" fmla="*/ 2147483647 w 325"/>
              <a:gd name="T25" fmla="*/ 2147483647 h 376"/>
              <a:gd name="T26" fmla="*/ 2147483647 w 325"/>
              <a:gd name="T27" fmla="*/ 2147483647 h 376"/>
              <a:gd name="T28" fmla="*/ 2147483647 w 325"/>
              <a:gd name="T29" fmla="*/ 2147483647 h 376"/>
              <a:gd name="T30" fmla="*/ 2147483647 w 325"/>
              <a:gd name="T31" fmla="*/ 2147483647 h 376"/>
              <a:gd name="T32" fmla="*/ 2147483647 w 325"/>
              <a:gd name="T33" fmla="*/ 2147483647 h 376"/>
              <a:gd name="T34" fmla="*/ 2147483647 w 325"/>
              <a:gd name="T35" fmla="*/ 2147483647 h 376"/>
              <a:gd name="T36" fmla="*/ 2147483647 w 325"/>
              <a:gd name="T37" fmla="*/ 2147483647 h 376"/>
              <a:gd name="T38" fmla="*/ 2147483647 w 325"/>
              <a:gd name="T39" fmla="*/ 2147483647 h 376"/>
              <a:gd name="T40" fmla="*/ 2147483647 w 325"/>
              <a:gd name="T41" fmla="*/ 2147483647 h 376"/>
              <a:gd name="T42" fmla="*/ 2147483647 w 325"/>
              <a:gd name="T43" fmla="*/ 2147483647 h 376"/>
              <a:gd name="T44" fmla="*/ 2147483647 w 325"/>
              <a:gd name="T45" fmla="*/ 2147483647 h 376"/>
              <a:gd name="T46" fmla="*/ 2147483647 w 325"/>
              <a:gd name="T47" fmla="*/ 2147483647 h 376"/>
              <a:gd name="T48" fmla="*/ 2147483647 w 325"/>
              <a:gd name="T49" fmla="*/ 2147483647 h 376"/>
              <a:gd name="T50" fmla="*/ 2147483647 w 325"/>
              <a:gd name="T51" fmla="*/ 2147483647 h 376"/>
              <a:gd name="T52" fmla="*/ 2147483647 w 325"/>
              <a:gd name="T53" fmla="*/ 2147483647 h 376"/>
              <a:gd name="T54" fmla="*/ 2147483647 w 325"/>
              <a:gd name="T55" fmla="*/ 2147483647 h 376"/>
              <a:gd name="T56" fmla="*/ 2147483647 w 325"/>
              <a:gd name="T57" fmla="*/ 2147483647 h 376"/>
              <a:gd name="T58" fmla="*/ 2147483647 w 325"/>
              <a:gd name="T59" fmla="*/ 2147483647 h 376"/>
              <a:gd name="T60" fmla="*/ 2147483647 w 325"/>
              <a:gd name="T61" fmla="*/ 2147483647 h 376"/>
              <a:gd name="T62" fmla="*/ 2147483647 w 325"/>
              <a:gd name="T63" fmla="*/ 2147483647 h 376"/>
              <a:gd name="T64" fmla="*/ 0 w 325"/>
              <a:gd name="T65" fmla="*/ 2147483647 h 376"/>
              <a:gd name="T66" fmla="*/ 2147483647 w 325"/>
              <a:gd name="T67" fmla="*/ 2147483647 h 376"/>
              <a:gd name="T68" fmla="*/ 2147483647 w 325"/>
              <a:gd name="T69" fmla="*/ 2147483647 h 376"/>
              <a:gd name="T70" fmla="*/ 2147483647 w 325"/>
              <a:gd name="T71" fmla="*/ 2147483647 h 376"/>
              <a:gd name="T72" fmla="*/ 2147483647 w 325"/>
              <a:gd name="T73" fmla="*/ 2147483647 h 376"/>
              <a:gd name="T74" fmla="*/ 2147483647 w 325"/>
              <a:gd name="T75" fmla="*/ 2147483647 h 376"/>
              <a:gd name="T76" fmla="*/ 2147483647 w 325"/>
              <a:gd name="T77" fmla="*/ 2147483647 h 376"/>
              <a:gd name="T78" fmla="*/ 2147483647 w 325"/>
              <a:gd name="T79" fmla="*/ 2147483647 h 376"/>
              <a:gd name="T80" fmla="*/ 2147483647 w 325"/>
              <a:gd name="T81" fmla="*/ 2147483647 h 376"/>
              <a:gd name="T82" fmla="*/ 2147483647 w 325"/>
              <a:gd name="T83" fmla="*/ 2147483647 h 376"/>
              <a:gd name="T84" fmla="*/ 2147483647 w 325"/>
              <a:gd name="T85" fmla="*/ 2147483647 h 376"/>
              <a:gd name="T86" fmla="*/ 2147483647 w 325"/>
              <a:gd name="T87" fmla="*/ 2147483647 h 376"/>
              <a:gd name="T88" fmla="*/ 2147483647 w 325"/>
              <a:gd name="T89" fmla="*/ 2147483647 h 376"/>
              <a:gd name="T90" fmla="*/ 2147483647 w 325"/>
              <a:gd name="T91" fmla="*/ 2147483647 h 376"/>
              <a:gd name="T92" fmla="*/ 2147483647 w 325"/>
              <a:gd name="T93" fmla="*/ 2147483647 h 376"/>
              <a:gd name="T94" fmla="*/ 2147483647 w 325"/>
              <a:gd name="T95" fmla="*/ 2147483647 h 376"/>
              <a:gd name="T96" fmla="*/ 2147483647 w 325"/>
              <a:gd name="T97" fmla="*/ 2147483647 h 376"/>
              <a:gd name="T98" fmla="*/ 2147483647 w 325"/>
              <a:gd name="T99" fmla="*/ 2147483647 h 376"/>
              <a:gd name="T100" fmla="*/ 2147483647 w 325"/>
              <a:gd name="T101" fmla="*/ 2147483647 h 376"/>
              <a:gd name="T102" fmla="*/ 2147483647 w 325"/>
              <a:gd name="T103" fmla="*/ 2147483647 h 376"/>
              <a:gd name="T104" fmla="*/ 2147483647 w 325"/>
              <a:gd name="T105" fmla="*/ 2147483647 h 376"/>
              <a:gd name="T106" fmla="*/ 2147483647 w 325"/>
              <a:gd name="T107" fmla="*/ 2147483647 h 376"/>
              <a:gd name="T108" fmla="*/ 2147483647 w 325"/>
              <a:gd name="T109" fmla="*/ 2147483647 h 376"/>
              <a:gd name="T110" fmla="*/ 2147483647 w 325"/>
              <a:gd name="T111" fmla="*/ 2147483647 h 376"/>
              <a:gd name="T112" fmla="*/ 2147483647 w 325"/>
              <a:gd name="T113" fmla="*/ 0 h 37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5"/>
              <a:gd name="T172" fmla="*/ 0 h 376"/>
              <a:gd name="T173" fmla="*/ 325 w 325"/>
              <a:gd name="T174" fmla="*/ 376 h 37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5" h="376">
                <a:moveTo>
                  <a:pt x="325" y="0"/>
                </a:moveTo>
                <a:lnTo>
                  <a:pt x="296" y="13"/>
                </a:lnTo>
                <a:lnTo>
                  <a:pt x="269" y="0"/>
                </a:lnTo>
                <a:lnTo>
                  <a:pt x="254" y="2"/>
                </a:lnTo>
                <a:lnTo>
                  <a:pt x="235" y="14"/>
                </a:lnTo>
                <a:lnTo>
                  <a:pt x="215" y="37"/>
                </a:lnTo>
                <a:lnTo>
                  <a:pt x="215" y="80"/>
                </a:lnTo>
                <a:lnTo>
                  <a:pt x="209" y="90"/>
                </a:lnTo>
                <a:lnTo>
                  <a:pt x="191" y="76"/>
                </a:lnTo>
                <a:lnTo>
                  <a:pt x="152" y="65"/>
                </a:lnTo>
                <a:lnTo>
                  <a:pt x="93" y="65"/>
                </a:lnTo>
                <a:lnTo>
                  <a:pt x="87" y="77"/>
                </a:lnTo>
                <a:lnTo>
                  <a:pt x="87" y="106"/>
                </a:lnTo>
                <a:lnTo>
                  <a:pt x="95" y="110"/>
                </a:lnTo>
                <a:lnTo>
                  <a:pt x="107" y="92"/>
                </a:lnTo>
                <a:lnTo>
                  <a:pt x="130" y="97"/>
                </a:lnTo>
                <a:lnTo>
                  <a:pt x="138" y="107"/>
                </a:lnTo>
                <a:lnTo>
                  <a:pt x="138" y="123"/>
                </a:lnTo>
                <a:lnTo>
                  <a:pt x="125" y="147"/>
                </a:lnTo>
                <a:lnTo>
                  <a:pt x="124" y="160"/>
                </a:lnTo>
                <a:lnTo>
                  <a:pt x="136" y="193"/>
                </a:lnTo>
                <a:lnTo>
                  <a:pt x="126" y="257"/>
                </a:lnTo>
                <a:lnTo>
                  <a:pt x="114" y="262"/>
                </a:lnTo>
                <a:lnTo>
                  <a:pt x="100" y="249"/>
                </a:lnTo>
                <a:lnTo>
                  <a:pt x="79" y="251"/>
                </a:lnTo>
                <a:lnTo>
                  <a:pt x="66" y="239"/>
                </a:lnTo>
                <a:lnTo>
                  <a:pt x="51" y="254"/>
                </a:lnTo>
                <a:lnTo>
                  <a:pt x="24" y="267"/>
                </a:lnTo>
                <a:lnTo>
                  <a:pt x="20" y="283"/>
                </a:lnTo>
                <a:lnTo>
                  <a:pt x="26" y="305"/>
                </a:lnTo>
                <a:lnTo>
                  <a:pt x="23" y="309"/>
                </a:lnTo>
                <a:lnTo>
                  <a:pt x="6" y="311"/>
                </a:lnTo>
                <a:lnTo>
                  <a:pt x="0" y="328"/>
                </a:lnTo>
                <a:lnTo>
                  <a:pt x="9" y="332"/>
                </a:lnTo>
                <a:lnTo>
                  <a:pt x="26" y="350"/>
                </a:lnTo>
                <a:lnTo>
                  <a:pt x="39" y="376"/>
                </a:lnTo>
                <a:lnTo>
                  <a:pt x="58" y="364"/>
                </a:lnTo>
                <a:lnTo>
                  <a:pt x="63" y="351"/>
                </a:lnTo>
                <a:lnTo>
                  <a:pt x="71" y="347"/>
                </a:lnTo>
                <a:lnTo>
                  <a:pt x="78" y="350"/>
                </a:lnTo>
                <a:lnTo>
                  <a:pt x="81" y="360"/>
                </a:lnTo>
                <a:lnTo>
                  <a:pt x="95" y="367"/>
                </a:lnTo>
                <a:lnTo>
                  <a:pt x="105" y="365"/>
                </a:lnTo>
                <a:lnTo>
                  <a:pt x="116" y="349"/>
                </a:lnTo>
                <a:lnTo>
                  <a:pt x="136" y="345"/>
                </a:lnTo>
                <a:lnTo>
                  <a:pt x="139" y="364"/>
                </a:lnTo>
                <a:lnTo>
                  <a:pt x="148" y="366"/>
                </a:lnTo>
                <a:lnTo>
                  <a:pt x="165" y="360"/>
                </a:lnTo>
                <a:lnTo>
                  <a:pt x="205" y="325"/>
                </a:lnTo>
                <a:lnTo>
                  <a:pt x="218" y="297"/>
                </a:lnTo>
                <a:lnTo>
                  <a:pt x="220" y="264"/>
                </a:lnTo>
                <a:lnTo>
                  <a:pt x="227" y="248"/>
                </a:lnTo>
                <a:lnTo>
                  <a:pt x="245" y="220"/>
                </a:lnTo>
                <a:lnTo>
                  <a:pt x="285" y="186"/>
                </a:lnTo>
                <a:lnTo>
                  <a:pt x="299" y="76"/>
                </a:lnTo>
                <a:lnTo>
                  <a:pt x="322" y="29"/>
                </a:lnTo>
                <a:lnTo>
                  <a:pt x="325" y="0"/>
                </a:lnTo>
                <a:close/>
              </a:path>
            </a:pathLst>
          </a:custGeom>
          <a:solidFill>
            <a:schemeClr val="accent1"/>
          </a:solidFill>
          <a:ln w="6350">
            <a:solidFill>
              <a:schemeClr val="tx2"/>
            </a:solidFill>
            <a:round/>
            <a:headEnd/>
            <a:tailEnd/>
          </a:ln>
        </p:spPr>
        <p:txBody>
          <a:bodyPr/>
          <a:lstStyle/>
          <a:p>
            <a:endParaRPr lang="en-US"/>
          </a:p>
        </p:txBody>
      </p:sp>
      <p:sp>
        <p:nvSpPr>
          <p:cNvPr id="572" name="Freeform 1474"/>
          <p:cNvSpPr>
            <a:spLocks/>
          </p:cNvSpPr>
          <p:nvPr/>
        </p:nvSpPr>
        <p:spPr bwMode="auto">
          <a:xfrm>
            <a:off x="6381004" y="4291032"/>
            <a:ext cx="34400" cy="38210"/>
          </a:xfrm>
          <a:custGeom>
            <a:avLst/>
            <a:gdLst>
              <a:gd name="T0" fmla="*/ 2147483647 w 72"/>
              <a:gd name="T1" fmla="*/ 2147483647 h 89"/>
              <a:gd name="T2" fmla="*/ 2147483647 w 72"/>
              <a:gd name="T3" fmla="*/ 2147483647 h 89"/>
              <a:gd name="T4" fmla="*/ 2147483647 w 72"/>
              <a:gd name="T5" fmla="*/ 2147483647 h 89"/>
              <a:gd name="T6" fmla="*/ 2147483647 w 72"/>
              <a:gd name="T7" fmla="*/ 2147483647 h 89"/>
              <a:gd name="T8" fmla="*/ 0 w 72"/>
              <a:gd name="T9" fmla="*/ 2147483647 h 89"/>
              <a:gd name="T10" fmla="*/ 2147483647 w 72"/>
              <a:gd name="T11" fmla="*/ 2147483647 h 89"/>
              <a:gd name="T12" fmla="*/ 2147483647 w 72"/>
              <a:gd name="T13" fmla="*/ 2147483647 h 89"/>
              <a:gd name="T14" fmla="*/ 2147483647 w 72"/>
              <a:gd name="T15" fmla="*/ 2147483647 h 89"/>
              <a:gd name="T16" fmla="*/ 2147483647 w 72"/>
              <a:gd name="T17" fmla="*/ 2147483647 h 89"/>
              <a:gd name="T18" fmla="*/ 2147483647 w 72"/>
              <a:gd name="T19" fmla="*/ 2147483647 h 89"/>
              <a:gd name="T20" fmla="*/ 2147483647 w 72"/>
              <a:gd name="T21" fmla="*/ 0 h 89"/>
              <a:gd name="T22" fmla="*/ 2147483647 w 72"/>
              <a:gd name="T23" fmla="*/ 2147483647 h 89"/>
              <a:gd name="T24" fmla="*/ 2147483647 w 72"/>
              <a:gd name="T25" fmla="*/ 2147483647 h 89"/>
              <a:gd name="T26" fmla="*/ 2147483647 w 72"/>
              <a:gd name="T27" fmla="*/ 2147483647 h 89"/>
              <a:gd name="T28" fmla="*/ 2147483647 w 72"/>
              <a:gd name="T29" fmla="*/ 2147483647 h 89"/>
              <a:gd name="T30" fmla="*/ 2147483647 w 72"/>
              <a:gd name="T31" fmla="*/ 2147483647 h 89"/>
              <a:gd name="T32" fmla="*/ 2147483647 w 72"/>
              <a:gd name="T33" fmla="*/ 2147483647 h 89"/>
              <a:gd name="T34" fmla="*/ 2147483647 w 72"/>
              <a:gd name="T35" fmla="*/ 2147483647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89"/>
              <a:gd name="T56" fmla="*/ 72 w 72"/>
              <a:gd name="T57" fmla="*/ 89 h 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89">
                <a:moveTo>
                  <a:pt x="16" y="88"/>
                </a:moveTo>
                <a:lnTo>
                  <a:pt x="7" y="66"/>
                </a:lnTo>
                <a:lnTo>
                  <a:pt x="8" y="45"/>
                </a:lnTo>
                <a:lnTo>
                  <a:pt x="6" y="26"/>
                </a:lnTo>
                <a:lnTo>
                  <a:pt x="0" y="17"/>
                </a:lnTo>
                <a:lnTo>
                  <a:pt x="4" y="7"/>
                </a:lnTo>
                <a:lnTo>
                  <a:pt x="9" y="8"/>
                </a:lnTo>
                <a:lnTo>
                  <a:pt x="17" y="20"/>
                </a:lnTo>
                <a:lnTo>
                  <a:pt x="32" y="17"/>
                </a:lnTo>
                <a:lnTo>
                  <a:pt x="38" y="3"/>
                </a:lnTo>
                <a:lnTo>
                  <a:pt x="59" y="0"/>
                </a:lnTo>
                <a:lnTo>
                  <a:pt x="65" y="3"/>
                </a:lnTo>
                <a:lnTo>
                  <a:pt x="60" y="17"/>
                </a:lnTo>
                <a:lnTo>
                  <a:pt x="70" y="26"/>
                </a:lnTo>
                <a:lnTo>
                  <a:pt x="72" y="38"/>
                </a:lnTo>
                <a:lnTo>
                  <a:pt x="45" y="82"/>
                </a:lnTo>
                <a:lnTo>
                  <a:pt x="22" y="89"/>
                </a:lnTo>
                <a:lnTo>
                  <a:pt x="16" y="88"/>
                </a:lnTo>
                <a:close/>
              </a:path>
            </a:pathLst>
          </a:custGeom>
          <a:solidFill>
            <a:schemeClr val="accent1"/>
          </a:solidFill>
          <a:ln w="6350">
            <a:solidFill>
              <a:schemeClr val="tx2"/>
            </a:solidFill>
            <a:round/>
            <a:headEnd/>
            <a:tailEnd/>
          </a:ln>
        </p:spPr>
        <p:txBody>
          <a:bodyPr/>
          <a:lstStyle/>
          <a:p>
            <a:endParaRPr lang="en-US"/>
          </a:p>
        </p:txBody>
      </p:sp>
      <p:sp>
        <p:nvSpPr>
          <p:cNvPr id="573" name="Freeform 1475"/>
          <p:cNvSpPr>
            <a:spLocks/>
          </p:cNvSpPr>
          <p:nvPr/>
        </p:nvSpPr>
        <p:spPr bwMode="auto">
          <a:xfrm>
            <a:off x="6034136" y="4330515"/>
            <a:ext cx="20066" cy="25473"/>
          </a:xfrm>
          <a:custGeom>
            <a:avLst/>
            <a:gdLst>
              <a:gd name="T0" fmla="*/ 2147483647 w 42"/>
              <a:gd name="T1" fmla="*/ 2147483647 h 62"/>
              <a:gd name="T2" fmla="*/ 2147483647 w 42"/>
              <a:gd name="T3" fmla="*/ 2147483647 h 62"/>
              <a:gd name="T4" fmla="*/ 2147483647 w 42"/>
              <a:gd name="T5" fmla="*/ 2147483647 h 62"/>
              <a:gd name="T6" fmla="*/ 0 w 42"/>
              <a:gd name="T7" fmla="*/ 2147483647 h 62"/>
              <a:gd name="T8" fmla="*/ 2147483647 w 42"/>
              <a:gd name="T9" fmla="*/ 2147483647 h 62"/>
              <a:gd name="T10" fmla="*/ 2147483647 w 42"/>
              <a:gd name="T11" fmla="*/ 2147483647 h 62"/>
              <a:gd name="T12" fmla="*/ 2147483647 w 42"/>
              <a:gd name="T13" fmla="*/ 0 h 62"/>
              <a:gd name="T14" fmla="*/ 2147483647 w 42"/>
              <a:gd name="T15" fmla="*/ 2147483647 h 62"/>
              <a:gd name="T16" fmla="*/ 2147483647 w 42"/>
              <a:gd name="T17" fmla="*/ 2147483647 h 62"/>
              <a:gd name="T18" fmla="*/ 2147483647 w 42"/>
              <a:gd name="T19" fmla="*/ 2147483647 h 62"/>
              <a:gd name="T20" fmla="*/ 2147483647 w 42"/>
              <a:gd name="T21" fmla="*/ 2147483647 h 62"/>
              <a:gd name="T22" fmla="*/ 2147483647 w 42"/>
              <a:gd name="T23" fmla="*/ 2147483647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62"/>
              <a:gd name="T38" fmla="*/ 42 w 42"/>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62">
                <a:moveTo>
                  <a:pt x="13" y="62"/>
                </a:moveTo>
                <a:lnTo>
                  <a:pt x="7" y="57"/>
                </a:lnTo>
                <a:lnTo>
                  <a:pt x="4" y="33"/>
                </a:lnTo>
                <a:lnTo>
                  <a:pt x="0" y="29"/>
                </a:lnTo>
                <a:lnTo>
                  <a:pt x="19" y="17"/>
                </a:lnTo>
                <a:lnTo>
                  <a:pt x="24" y="4"/>
                </a:lnTo>
                <a:lnTo>
                  <a:pt x="32" y="0"/>
                </a:lnTo>
                <a:lnTo>
                  <a:pt x="39" y="3"/>
                </a:lnTo>
                <a:lnTo>
                  <a:pt x="42" y="13"/>
                </a:lnTo>
                <a:lnTo>
                  <a:pt x="26" y="26"/>
                </a:lnTo>
                <a:lnTo>
                  <a:pt x="20" y="59"/>
                </a:lnTo>
                <a:lnTo>
                  <a:pt x="13" y="62"/>
                </a:lnTo>
                <a:close/>
              </a:path>
            </a:pathLst>
          </a:custGeom>
          <a:solidFill>
            <a:schemeClr val="accent1"/>
          </a:solidFill>
          <a:ln w="6350">
            <a:solidFill>
              <a:schemeClr val="tx2"/>
            </a:solidFill>
            <a:round/>
            <a:headEnd/>
            <a:tailEnd/>
          </a:ln>
        </p:spPr>
        <p:txBody>
          <a:bodyPr/>
          <a:lstStyle/>
          <a:p>
            <a:endParaRPr lang="en-US"/>
          </a:p>
        </p:txBody>
      </p:sp>
      <p:sp>
        <p:nvSpPr>
          <p:cNvPr id="574" name="Freeform 1476"/>
          <p:cNvSpPr>
            <a:spLocks/>
          </p:cNvSpPr>
          <p:nvPr/>
        </p:nvSpPr>
        <p:spPr bwMode="auto">
          <a:xfrm>
            <a:off x="5979669" y="4212064"/>
            <a:ext cx="37267" cy="21653"/>
          </a:xfrm>
          <a:custGeom>
            <a:avLst/>
            <a:gdLst>
              <a:gd name="T0" fmla="*/ 2147483647 w 84"/>
              <a:gd name="T1" fmla="*/ 0 h 54"/>
              <a:gd name="T2" fmla="*/ 2147483647 w 84"/>
              <a:gd name="T3" fmla="*/ 2147483647 h 54"/>
              <a:gd name="T4" fmla="*/ 2147483647 w 84"/>
              <a:gd name="T5" fmla="*/ 2147483647 h 54"/>
              <a:gd name="T6" fmla="*/ 0 w 84"/>
              <a:gd name="T7" fmla="*/ 2147483647 h 54"/>
              <a:gd name="T8" fmla="*/ 2147483647 w 84"/>
              <a:gd name="T9" fmla="*/ 2147483647 h 54"/>
              <a:gd name="T10" fmla="*/ 2147483647 w 84"/>
              <a:gd name="T11" fmla="*/ 2147483647 h 54"/>
              <a:gd name="T12" fmla="*/ 2147483647 w 84"/>
              <a:gd name="T13" fmla="*/ 2147483647 h 54"/>
              <a:gd name="T14" fmla="*/ 2147483647 w 84"/>
              <a:gd name="T15" fmla="*/ 2147483647 h 54"/>
              <a:gd name="T16" fmla="*/ 2147483647 w 84"/>
              <a:gd name="T17" fmla="*/ 2147483647 h 54"/>
              <a:gd name="T18" fmla="*/ 2147483647 w 84"/>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4"/>
              <a:gd name="T31" fmla="*/ 0 h 54"/>
              <a:gd name="T32" fmla="*/ 84 w 84"/>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4" h="54">
                <a:moveTo>
                  <a:pt x="84" y="0"/>
                </a:moveTo>
                <a:lnTo>
                  <a:pt x="16" y="3"/>
                </a:lnTo>
                <a:lnTo>
                  <a:pt x="9" y="30"/>
                </a:lnTo>
                <a:lnTo>
                  <a:pt x="0" y="44"/>
                </a:lnTo>
                <a:lnTo>
                  <a:pt x="11" y="50"/>
                </a:lnTo>
                <a:lnTo>
                  <a:pt x="9" y="54"/>
                </a:lnTo>
                <a:lnTo>
                  <a:pt x="28" y="49"/>
                </a:lnTo>
                <a:lnTo>
                  <a:pt x="84" y="48"/>
                </a:lnTo>
                <a:lnTo>
                  <a:pt x="79" y="13"/>
                </a:lnTo>
                <a:lnTo>
                  <a:pt x="84" y="0"/>
                </a:lnTo>
                <a:close/>
              </a:path>
            </a:pathLst>
          </a:custGeom>
          <a:solidFill>
            <a:schemeClr val="accent1"/>
          </a:solidFill>
          <a:ln w="6350">
            <a:solidFill>
              <a:schemeClr val="tx2"/>
            </a:solidFill>
            <a:round/>
            <a:headEnd/>
            <a:tailEnd/>
          </a:ln>
        </p:spPr>
        <p:txBody>
          <a:bodyPr/>
          <a:lstStyle/>
          <a:p>
            <a:endParaRPr lang="en-US"/>
          </a:p>
        </p:txBody>
      </p:sp>
      <p:sp>
        <p:nvSpPr>
          <p:cNvPr id="575" name="Freeform 1477"/>
          <p:cNvSpPr>
            <a:spLocks/>
          </p:cNvSpPr>
          <p:nvPr/>
        </p:nvSpPr>
        <p:spPr bwMode="auto">
          <a:xfrm>
            <a:off x="6340870" y="4781390"/>
            <a:ext cx="45867" cy="42030"/>
          </a:xfrm>
          <a:custGeom>
            <a:avLst/>
            <a:gdLst>
              <a:gd name="T0" fmla="*/ 2147483647 w 99"/>
              <a:gd name="T1" fmla="*/ 2147483647 h 102"/>
              <a:gd name="T2" fmla="*/ 2147483647 w 99"/>
              <a:gd name="T3" fmla="*/ 2147483647 h 102"/>
              <a:gd name="T4" fmla="*/ 2147483647 w 99"/>
              <a:gd name="T5" fmla="*/ 2147483647 h 102"/>
              <a:gd name="T6" fmla="*/ 2147483647 w 99"/>
              <a:gd name="T7" fmla="*/ 2147483647 h 102"/>
              <a:gd name="T8" fmla="*/ 2147483647 w 99"/>
              <a:gd name="T9" fmla="*/ 2147483647 h 102"/>
              <a:gd name="T10" fmla="*/ 2147483647 w 99"/>
              <a:gd name="T11" fmla="*/ 2147483647 h 102"/>
              <a:gd name="T12" fmla="*/ 2147483647 w 99"/>
              <a:gd name="T13" fmla="*/ 2147483647 h 102"/>
              <a:gd name="T14" fmla="*/ 0 w 99"/>
              <a:gd name="T15" fmla="*/ 2147483647 h 102"/>
              <a:gd name="T16" fmla="*/ 2147483647 w 99"/>
              <a:gd name="T17" fmla="*/ 2147483647 h 102"/>
              <a:gd name="T18" fmla="*/ 2147483647 w 99"/>
              <a:gd name="T19" fmla="*/ 2147483647 h 102"/>
              <a:gd name="T20" fmla="*/ 2147483647 w 99"/>
              <a:gd name="T21" fmla="*/ 0 h 102"/>
              <a:gd name="T22" fmla="*/ 2147483647 w 99"/>
              <a:gd name="T23" fmla="*/ 2147483647 h 102"/>
              <a:gd name="T24" fmla="*/ 2147483647 w 99"/>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9"/>
              <a:gd name="T40" fmla="*/ 0 h 102"/>
              <a:gd name="T41" fmla="*/ 99 w 99"/>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9" h="102">
                <a:moveTo>
                  <a:pt x="98" y="40"/>
                </a:moveTo>
                <a:lnTo>
                  <a:pt x="99" y="45"/>
                </a:lnTo>
                <a:lnTo>
                  <a:pt x="80" y="77"/>
                </a:lnTo>
                <a:lnTo>
                  <a:pt x="58" y="86"/>
                </a:lnTo>
                <a:lnTo>
                  <a:pt x="42" y="101"/>
                </a:lnTo>
                <a:lnTo>
                  <a:pt x="33" y="102"/>
                </a:lnTo>
                <a:lnTo>
                  <a:pt x="18" y="89"/>
                </a:lnTo>
                <a:lnTo>
                  <a:pt x="0" y="58"/>
                </a:lnTo>
                <a:lnTo>
                  <a:pt x="21" y="21"/>
                </a:lnTo>
                <a:lnTo>
                  <a:pt x="54" y="1"/>
                </a:lnTo>
                <a:lnTo>
                  <a:pt x="66" y="0"/>
                </a:lnTo>
                <a:lnTo>
                  <a:pt x="75" y="5"/>
                </a:lnTo>
                <a:lnTo>
                  <a:pt x="98" y="40"/>
                </a:lnTo>
                <a:close/>
              </a:path>
            </a:pathLst>
          </a:custGeom>
          <a:solidFill>
            <a:schemeClr val="accent1"/>
          </a:solidFill>
          <a:ln w="6350">
            <a:solidFill>
              <a:schemeClr val="tx2"/>
            </a:solidFill>
            <a:round/>
            <a:headEnd/>
            <a:tailEnd/>
          </a:ln>
        </p:spPr>
        <p:txBody>
          <a:bodyPr/>
          <a:lstStyle/>
          <a:p>
            <a:endParaRPr lang="en-US"/>
          </a:p>
        </p:txBody>
      </p:sp>
      <p:sp>
        <p:nvSpPr>
          <p:cNvPr id="576" name="Freeform 1478"/>
          <p:cNvSpPr>
            <a:spLocks/>
          </p:cNvSpPr>
          <p:nvPr/>
        </p:nvSpPr>
        <p:spPr bwMode="auto">
          <a:xfrm>
            <a:off x="6415404" y="4724075"/>
            <a:ext cx="22933" cy="29294"/>
          </a:xfrm>
          <a:custGeom>
            <a:avLst/>
            <a:gdLst>
              <a:gd name="T0" fmla="*/ 2147483647 w 52"/>
              <a:gd name="T1" fmla="*/ 2147483647 h 71"/>
              <a:gd name="T2" fmla="*/ 2147483647 w 52"/>
              <a:gd name="T3" fmla="*/ 2147483647 h 71"/>
              <a:gd name="T4" fmla="*/ 2147483647 w 52"/>
              <a:gd name="T5" fmla="*/ 2147483647 h 71"/>
              <a:gd name="T6" fmla="*/ 2147483647 w 52"/>
              <a:gd name="T7" fmla="*/ 0 h 71"/>
              <a:gd name="T8" fmla="*/ 2147483647 w 52"/>
              <a:gd name="T9" fmla="*/ 2147483647 h 71"/>
              <a:gd name="T10" fmla="*/ 0 w 52"/>
              <a:gd name="T11" fmla="*/ 2147483647 h 71"/>
              <a:gd name="T12" fmla="*/ 2147483647 w 52"/>
              <a:gd name="T13" fmla="*/ 2147483647 h 71"/>
              <a:gd name="T14" fmla="*/ 2147483647 w 52"/>
              <a:gd name="T15" fmla="*/ 2147483647 h 71"/>
              <a:gd name="T16" fmla="*/ 2147483647 w 52"/>
              <a:gd name="T17" fmla="*/ 2147483647 h 71"/>
              <a:gd name="T18" fmla="*/ 2147483647 w 52"/>
              <a:gd name="T19" fmla="*/ 2147483647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71"/>
              <a:gd name="T32" fmla="*/ 52 w 52"/>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71">
                <a:moveTo>
                  <a:pt x="52" y="50"/>
                </a:moveTo>
                <a:lnTo>
                  <a:pt x="50" y="5"/>
                </a:lnTo>
                <a:lnTo>
                  <a:pt x="44" y="12"/>
                </a:lnTo>
                <a:lnTo>
                  <a:pt x="26" y="0"/>
                </a:lnTo>
                <a:lnTo>
                  <a:pt x="15" y="7"/>
                </a:lnTo>
                <a:lnTo>
                  <a:pt x="0" y="43"/>
                </a:lnTo>
                <a:lnTo>
                  <a:pt x="9" y="68"/>
                </a:lnTo>
                <a:lnTo>
                  <a:pt x="28" y="70"/>
                </a:lnTo>
                <a:lnTo>
                  <a:pt x="38" y="71"/>
                </a:lnTo>
                <a:lnTo>
                  <a:pt x="52" y="50"/>
                </a:lnTo>
                <a:close/>
              </a:path>
            </a:pathLst>
          </a:custGeom>
          <a:solidFill>
            <a:schemeClr val="accent1"/>
          </a:solidFill>
          <a:ln w="6350">
            <a:solidFill>
              <a:schemeClr val="tx2"/>
            </a:solidFill>
            <a:round/>
            <a:headEnd/>
            <a:tailEnd/>
          </a:ln>
        </p:spPr>
        <p:txBody>
          <a:bodyPr/>
          <a:lstStyle/>
          <a:p>
            <a:endParaRPr lang="en-US"/>
          </a:p>
        </p:txBody>
      </p:sp>
      <p:sp>
        <p:nvSpPr>
          <p:cNvPr id="577" name="Freeform 1479"/>
          <p:cNvSpPr>
            <a:spLocks/>
          </p:cNvSpPr>
          <p:nvPr/>
        </p:nvSpPr>
        <p:spPr bwMode="auto">
          <a:xfrm>
            <a:off x="5618468" y="4059225"/>
            <a:ext cx="123267" cy="114630"/>
          </a:xfrm>
          <a:custGeom>
            <a:avLst/>
            <a:gdLst>
              <a:gd name="T0" fmla="*/ 2147483647 w 265"/>
              <a:gd name="T1" fmla="*/ 2147483647 h 277"/>
              <a:gd name="T2" fmla="*/ 2147483647 w 265"/>
              <a:gd name="T3" fmla="*/ 2147483647 h 277"/>
              <a:gd name="T4" fmla="*/ 2147483647 w 265"/>
              <a:gd name="T5" fmla="*/ 2147483647 h 277"/>
              <a:gd name="T6" fmla="*/ 2147483647 w 265"/>
              <a:gd name="T7" fmla="*/ 2147483647 h 277"/>
              <a:gd name="T8" fmla="*/ 2147483647 w 265"/>
              <a:gd name="T9" fmla="*/ 2147483647 h 277"/>
              <a:gd name="T10" fmla="*/ 2147483647 w 265"/>
              <a:gd name="T11" fmla="*/ 2147483647 h 277"/>
              <a:gd name="T12" fmla="*/ 2147483647 w 265"/>
              <a:gd name="T13" fmla="*/ 2147483647 h 277"/>
              <a:gd name="T14" fmla="*/ 2147483647 w 265"/>
              <a:gd name="T15" fmla="*/ 2147483647 h 277"/>
              <a:gd name="T16" fmla="*/ 2147483647 w 265"/>
              <a:gd name="T17" fmla="*/ 2147483647 h 277"/>
              <a:gd name="T18" fmla="*/ 0 w 265"/>
              <a:gd name="T19" fmla="*/ 2147483647 h 277"/>
              <a:gd name="T20" fmla="*/ 2147483647 w 265"/>
              <a:gd name="T21" fmla="*/ 2147483647 h 277"/>
              <a:gd name="T22" fmla="*/ 2147483647 w 265"/>
              <a:gd name="T23" fmla="*/ 2147483647 h 277"/>
              <a:gd name="T24" fmla="*/ 2147483647 w 265"/>
              <a:gd name="T25" fmla="*/ 2147483647 h 277"/>
              <a:gd name="T26" fmla="*/ 2147483647 w 265"/>
              <a:gd name="T27" fmla="*/ 2147483647 h 277"/>
              <a:gd name="T28" fmla="*/ 2147483647 w 265"/>
              <a:gd name="T29" fmla="*/ 2147483647 h 277"/>
              <a:gd name="T30" fmla="*/ 2147483647 w 265"/>
              <a:gd name="T31" fmla="*/ 2147483647 h 277"/>
              <a:gd name="T32" fmla="*/ 2147483647 w 265"/>
              <a:gd name="T33" fmla="*/ 2147483647 h 277"/>
              <a:gd name="T34" fmla="*/ 2147483647 w 265"/>
              <a:gd name="T35" fmla="*/ 2147483647 h 277"/>
              <a:gd name="T36" fmla="*/ 2147483647 w 265"/>
              <a:gd name="T37" fmla="*/ 2147483647 h 277"/>
              <a:gd name="T38" fmla="*/ 2147483647 w 265"/>
              <a:gd name="T39" fmla="*/ 2147483647 h 277"/>
              <a:gd name="T40" fmla="*/ 2147483647 w 265"/>
              <a:gd name="T41" fmla="*/ 2147483647 h 277"/>
              <a:gd name="T42" fmla="*/ 2147483647 w 265"/>
              <a:gd name="T43" fmla="*/ 2147483647 h 277"/>
              <a:gd name="T44" fmla="*/ 2147483647 w 265"/>
              <a:gd name="T45" fmla="*/ 2147483647 h 277"/>
              <a:gd name="T46" fmla="*/ 2147483647 w 265"/>
              <a:gd name="T47" fmla="*/ 2147483647 h 277"/>
              <a:gd name="T48" fmla="*/ 2147483647 w 265"/>
              <a:gd name="T49" fmla="*/ 2147483647 h 277"/>
              <a:gd name="T50" fmla="*/ 2147483647 w 265"/>
              <a:gd name="T51" fmla="*/ 2147483647 h 277"/>
              <a:gd name="T52" fmla="*/ 2147483647 w 265"/>
              <a:gd name="T53" fmla="*/ 2147483647 h 277"/>
              <a:gd name="T54" fmla="*/ 2147483647 w 265"/>
              <a:gd name="T55" fmla="*/ 2147483647 h 277"/>
              <a:gd name="T56" fmla="*/ 2147483647 w 265"/>
              <a:gd name="T57" fmla="*/ 2147483647 h 277"/>
              <a:gd name="T58" fmla="*/ 2147483647 w 265"/>
              <a:gd name="T59" fmla="*/ 0 h 277"/>
              <a:gd name="T60" fmla="*/ 2147483647 w 265"/>
              <a:gd name="T61" fmla="*/ 2147483647 h 277"/>
              <a:gd name="T62" fmla="*/ 2147483647 w 265"/>
              <a:gd name="T63" fmla="*/ 2147483647 h 277"/>
              <a:gd name="T64" fmla="*/ 2147483647 w 265"/>
              <a:gd name="T65" fmla="*/ 2147483647 h 277"/>
              <a:gd name="T66" fmla="*/ 2147483647 w 265"/>
              <a:gd name="T67" fmla="*/ 2147483647 h 277"/>
              <a:gd name="T68" fmla="*/ 2147483647 w 265"/>
              <a:gd name="T69" fmla="*/ 2147483647 h 2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5"/>
              <a:gd name="T106" fmla="*/ 0 h 277"/>
              <a:gd name="T107" fmla="*/ 265 w 265"/>
              <a:gd name="T108" fmla="*/ 277 h 2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5" h="277">
                <a:moveTo>
                  <a:pt x="25" y="22"/>
                </a:moveTo>
                <a:lnTo>
                  <a:pt x="17" y="35"/>
                </a:lnTo>
                <a:lnTo>
                  <a:pt x="17" y="54"/>
                </a:lnTo>
                <a:lnTo>
                  <a:pt x="29" y="59"/>
                </a:lnTo>
                <a:lnTo>
                  <a:pt x="28" y="69"/>
                </a:lnTo>
                <a:lnTo>
                  <a:pt x="35" y="74"/>
                </a:lnTo>
                <a:lnTo>
                  <a:pt x="27" y="85"/>
                </a:lnTo>
                <a:lnTo>
                  <a:pt x="34" y="86"/>
                </a:lnTo>
                <a:lnTo>
                  <a:pt x="38" y="105"/>
                </a:lnTo>
                <a:lnTo>
                  <a:pt x="26" y="98"/>
                </a:lnTo>
                <a:lnTo>
                  <a:pt x="13" y="100"/>
                </a:lnTo>
                <a:lnTo>
                  <a:pt x="13" y="109"/>
                </a:lnTo>
                <a:lnTo>
                  <a:pt x="22" y="111"/>
                </a:lnTo>
                <a:lnTo>
                  <a:pt x="25" y="117"/>
                </a:lnTo>
                <a:lnTo>
                  <a:pt x="17" y="138"/>
                </a:lnTo>
                <a:lnTo>
                  <a:pt x="3" y="140"/>
                </a:lnTo>
                <a:lnTo>
                  <a:pt x="5" y="151"/>
                </a:lnTo>
                <a:lnTo>
                  <a:pt x="13" y="158"/>
                </a:lnTo>
                <a:lnTo>
                  <a:pt x="10" y="171"/>
                </a:lnTo>
                <a:lnTo>
                  <a:pt x="0" y="185"/>
                </a:lnTo>
                <a:lnTo>
                  <a:pt x="26" y="193"/>
                </a:lnTo>
                <a:lnTo>
                  <a:pt x="36" y="208"/>
                </a:lnTo>
                <a:lnTo>
                  <a:pt x="48" y="212"/>
                </a:lnTo>
                <a:lnTo>
                  <a:pt x="52" y="234"/>
                </a:lnTo>
                <a:lnTo>
                  <a:pt x="44" y="246"/>
                </a:lnTo>
                <a:lnTo>
                  <a:pt x="44" y="274"/>
                </a:lnTo>
                <a:lnTo>
                  <a:pt x="57" y="277"/>
                </a:lnTo>
                <a:lnTo>
                  <a:pt x="106" y="255"/>
                </a:lnTo>
                <a:lnTo>
                  <a:pt x="164" y="244"/>
                </a:lnTo>
                <a:lnTo>
                  <a:pt x="203" y="241"/>
                </a:lnTo>
                <a:lnTo>
                  <a:pt x="236" y="247"/>
                </a:lnTo>
                <a:lnTo>
                  <a:pt x="242" y="242"/>
                </a:lnTo>
                <a:lnTo>
                  <a:pt x="254" y="242"/>
                </a:lnTo>
                <a:lnTo>
                  <a:pt x="252" y="221"/>
                </a:lnTo>
                <a:lnTo>
                  <a:pt x="242" y="215"/>
                </a:lnTo>
                <a:lnTo>
                  <a:pt x="233" y="181"/>
                </a:lnTo>
                <a:lnTo>
                  <a:pt x="234" y="166"/>
                </a:lnTo>
                <a:lnTo>
                  <a:pt x="244" y="152"/>
                </a:lnTo>
                <a:lnTo>
                  <a:pt x="253" y="119"/>
                </a:lnTo>
                <a:lnTo>
                  <a:pt x="265" y="108"/>
                </a:lnTo>
                <a:lnTo>
                  <a:pt x="257" y="73"/>
                </a:lnTo>
                <a:lnTo>
                  <a:pt x="252" y="70"/>
                </a:lnTo>
                <a:lnTo>
                  <a:pt x="256" y="64"/>
                </a:lnTo>
                <a:lnTo>
                  <a:pt x="255" y="53"/>
                </a:lnTo>
                <a:lnTo>
                  <a:pt x="246" y="53"/>
                </a:lnTo>
                <a:lnTo>
                  <a:pt x="233" y="34"/>
                </a:lnTo>
                <a:lnTo>
                  <a:pt x="229" y="37"/>
                </a:lnTo>
                <a:lnTo>
                  <a:pt x="213" y="33"/>
                </a:lnTo>
                <a:lnTo>
                  <a:pt x="186" y="41"/>
                </a:lnTo>
                <a:lnTo>
                  <a:pt x="181" y="48"/>
                </a:lnTo>
                <a:lnTo>
                  <a:pt x="174" y="42"/>
                </a:lnTo>
                <a:lnTo>
                  <a:pt x="168" y="45"/>
                </a:lnTo>
                <a:lnTo>
                  <a:pt x="155" y="36"/>
                </a:lnTo>
                <a:lnTo>
                  <a:pt x="144" y="17"/>
                </a:lnTo>
                <a:lnTo>
                  <a:pt x="135" y="18"/>
                </a:lnTo>
                <a:lnTo>
                  <a:pt x="128" y="11"/>
                </a:lnTo>
                <a:lnTo>
                  <a:pt x="120" y="11"/>
                </a:lnTo>
                <a:lnTo>
                  <a:pt x="109" y="21"/>
                </a:lnTo>
                <a:lnTo>
                  <a:pt x="102" y="20"/>
                </a:lnTo>
                <a:lnTo>
                  <a:pt x="100" y="0"/>
                </a:lnTo>
                <a:lnTo>
                  <a:pt x="92" y="1"/>
                </a:lnTo>
                <a:lnTo>
                  <a:pt x="90" y="6"/>
                </a:lnTo>
                <a:lnTo>
                  <a:pt x="82" y="3"/>
                </a:lnTo>
                <a:lnTo>
                  <a:pt x="80" y="16"/>
                </a:lnTo>
                <a:lnTo>
                  <a:pt x="67" y="18"/>
                </a:lnTo>
                <a:lnTo>
                  <a:pt x="65" y="24"/>
                </a:lnTo>
                <a:lnTo>
                  <a:pt x="56" y="18"/>
                </a:lnTo>
                <a:lnTo>
                  <a:pt x="51" y="21"/>
                </a:lnTo>
                <a:lnTo>
                  <a:pt x="44" y="11"/>
                </a:lnTo>
                <a:lnTo>
                  <a:pt x="25" y="22"/>
                </a:lnTo>
                <a:close/>
              </a:path>
            </a:pathLst>
          </a:custGeom>
          <a:solidFill>
            <a:schemeClr val="accent1"/>
          </a:solidFill>
          <a:ln w="6350">
            <a:solidFill>
              <a:schemeClr val="tx2"/>
            </a:solidFill>
            <a:round/>
            <a:headEnd/>
            <a:tailEnd/>
          </a:ln>
        </p:spPr>
        <p:txBody>
          <a:bodyPr/>
          <a:lstStyle/>
          <a:p>
            <a:endParaRPr lang="en-US"/>
          </a:p>
        </p:txBody>
      </p:sp>
      <p:sp>
        <p:nvSpPr>
          <p:cNvPr id="578" name="Freeform 1480"/>
          <p:cNvSpPr>
            <a:spLocks/>
          </p:cNvSpPr>
          <p:nvPr/>
        </p:nvSpPr>
        <p:spPr bwMode="auto">
          <a:xfrm>
            <a:off x="5806234" y="4028658"/>
            <a:ext cx="61634" cy="112082"/>
          </a:xfrm>
          <a:custGeom>
            <a:avLst/>
            <a:gdLst>
              <a:gd name="T0" fmla="*/ 2147483647 w 130"/>
              <a:gd name="T1" fmla="*/ 2147483647 h 268"/>
              <a:gd name="T2" fmla="*/ 2147483647 w 130"/>
              <a:gd name="T3" fmla="*/ 2147483647 h 268"/>
              <a:gd name="T4" fmla="*/ 2147483647 w 130"/>
              <a:gd name="T5" fmla="*/ 2147483647 h 268"/>
              <a:gd name="T6" fmla="*/ 2147483647 w 130"/>
              <a:gd name="T7" fmla="*/ 2147483647 h 268"/>
              <a:gd name="T8" fmla="*/ 2147483647 w 130"/>
              <a:gd name="T9" fmla="*/ 2147483647 h 268"/>
              <a:gd name="T10" fmla="*/ 2147483647 w 130"/>
              <a:gd name="T11" fmla="*/ 2147483647 h 268"/>
              <a:gd name="T12" fmla="*/ 2147483647 w 130"/>
              <a:gd name="T13" fmla="*/ 2147483647 h 268"/>
              <a:gd name="T14" fmla="*/ 0 w 130"/>
              <a:gd name="T15" fmla="*/ 2147483647 h 268"/>
              <a:gd name="T16" fmla="*/ 2147483647 w 130"/>
              <a:gd name="T17" fmla="*/ 2147483647 h 268"/>
              <a:gd name="T18" fmla="*/ 2147483647 w 130"/>
              <a:gd name="T19" fmla="*/ 2147483647 h 268"/>
              <a:gd name="T20" fmla="*/ 2147483647 w 130"/>
              <a:gd name="T21" fmla="*/ 2147483647 h 268"/>
              <a:gd name="T22" fmla="*/ 2147483647 w 130"/>
              <a:gd name="T23" fmla="*/ 2147483647 h 268"/>
              <a:gd name="T24" fmla="*/ 2147483647 w 130"/>
              <a:gd name="T25" fmla="*/ 2147483647 h 268"/>
              <a:gd name="T26" fmla="*/ 2147483647 w 130"/>
              <a:gd name="T27" fmla="*/ 2147483647 h 268"/>
              <a:gd name="T28" fmla="*/ 2147483647 w 130"/>
              <a:gd name="T29" fmla="*/ 0 h 268"/>
              <a:gd name="T30" fmla="*/ 2147483647 w 130"/>
              <a:gd name="T31" fmla="*/ 2147483647 h 268"/>
              <a:gd name="T32" fmla="*/ 2147483647 w 130"/>
              <a:gd name="T33" fmla="*/ 2147483647 h 268"/>
              <a:gd name="T34" fmla="*/ 2147483647 w 130"/>
              <a:gd name="T35" fmla="*/ 2147483647 h 268"/>
              <a:gd name="T36" fmla="*/ 2147483647 w 130"/>
              <a:gd name="T37" fmla="*/ 2147483647 h 268"/>
              <a:gd name="T38" fmla="*/ 2147483647 w 130"/>
              <a:gd name="T39" fmla="*/ 2147483647 h 268"/>
              <a:gd name="T40" fmla="*/ 2147483647 w 130"/>
              <a:gd name="T41" fmla="*/ 2147483647 h 268"/>
              <a:gd name="T42" fmla="*/ 2147483647 w 130"/>
              <a:gd name="T43" fmla="*/ 2147483647 h 268"/>
              <a:gd name="T44" fmla="*/ 2147483647 w 130"/>
              <a:gd name="T45" fmla="*/ 2147483647 h 268"/>
              <a:gd name="T46" fmla="*/ 2147483647 w 130"/>
              <a:gd name="T47" fmla="*/ 2147483647 h 268"/>
              <a:gd name="T48" fmla="*/ 2147483647 w 130"/>
              <a:gd name="T49" fmla="*/ 2147483647 h 268"/>
              <a:gd name="T50" fmla="*/ 2147483647 w 130"/>
              <a:gd name="T51" fmla="*/ 2147483647 h 268"/>
              <a:gd name="T52" fmla="*/ 2147483647 w 130"/>
              <a:gd name="T53" fmla="*/ 2147483647 h 268"/>
              <a:gd name="T54" fmla="*/ 2147483647 w 130"/>
              <a:gd name="T55" fmla="*/ 2147483647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0"/>
              <a:gd name="T85" fmla="*/ 0 h 268"/>
              <a:gd name="T86" fmla="*/ 130 w 130"/>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0" h="268">
                <a:moveTo>
                  <a:pt x="53" y="268"/>
                </a:moveTo>
                <a:lnTo>
                  <a:pt x="48" y="266"/>
                </a:lnTo>
                <a:lnTo>
                  <a:pt x="43" y="250"/>
                </a:lnTo>
                <a:lnTo>
                  <a:pt x="46" y="224"/>
                </a:lnTo>
                <a:lnTo>
                  <a:pt x="43" y="160"/>
                </a:lnTo>
                <a:lnTo>
                  <a:pt x="26" y="109"/>
                </a:lnTo>
                <a:lnTo>
                  <a:pt x="15" y="97"/>
                </a:lnTo>
                <a:lnTo>
                  <a:pt x="0" y="89"/>
                </a:lnTo>
                <a:lnTo>
                  <a:pt x="6" y="61"/>
                </a:lnTo>
                <a:lnTo>
                  <a:pt x="30" y="39"/>
                </a:lnTo>
                <a:lnTo>
                  <a:pt x="56" y="40"/>
                </a:lnTo>
                <a:lnTo>
                  <a:pt x="70" y="19"/>
                </a:lnTo>
                <a:lnTo>
                  <a:pt x="76" y="16"/>
                </a:lnTo>
                <a:lnTo>
                  <a:pt x="70" y="6"/>
                </a:lnTo>
                <a:lnTo>
                  <a:pt x="90" y="0"/>
                </a:lnTo>
                <a:lnTo>
                  <a:pt x="122" y="30"/>
                </a:lnTo>
                <a:lnTo>
                  <a:pt x="118" y="43"/>
                </a:lnTo>
                <a:lnTo>
                  <a:pt x="127" y="58"/>
                </a:lnTo>
                <a:lnTo>
                  <a:pt x="130" y="83"/>
                </a:lnTo>
                <a:lnTo>
                  <a:pt x="121" y="91"/>
                </a:lnTo>
                <a:lnTo>
                  <a:pt x="125" y="101"/>
                </a:lnTo>
                <a:lnTo>
                  <a:pt x="122" y="108"/>
                </a:lnTo>
                <a:lnTo>
                  <a:pt x="104" y="124"/>
                </a:lnTo>
                <a:lnTo>
                  <a:pt x="102" y="144"/>
                </a:lnTo>
                <a:lnTo>
                  <a:pt x="89" y="168"/>
                </a:lnTo>
                <a:lnTo>
                  <a:pt x="84" y="232"/>
                </a:lnTo>
                <a:lnTo>
                  <a:pt x="89" y="265"/>
                </a:lnTo>
                <a:lnTo>
                  <a:pt x="53" y="268"/>
                </a:lnTo>
                <a:close/>
              </a:path>
            </a:pathLst>
          </a:custGeom>
          <a:solidFill>
            <a:schemeClr val="accent1"/>
          </a:solidFill>
          <a:ln w="6350">
            <a:solidFill>
              <a:schemeClr val="tx2"/>
            </a:solidFill>
            <a:round/>
            <a:headEnd/>
            <a:tailEnd/>
          </a:ln>
        </p:spPr>
        <p:txBody>
          <a:bodyPr/>
          <a:lstStyle/>
          <a:p>
            <a:endParaRPr lang="en-US"/>
          </a:p>
        </p:txBody>
      </p:sp>
      <p:sp>
        <p:nvSpPr>
          <p:cNvPr id="579" name="Freeform 1481"/>
          <p:cNvSpPr>
            <a:spLocks/>
          </p:cNvSpPr>
          <p:nvPr/>
        </p:nvSpPr>
        <p:spPr bwMode="auto">
          <a:xfrm>
            <a:off x="5559701" y="4097435"/>
            <a:ext cx="83134" cy="75146"/>
          </a:xfrm>
          <a:custGeom>
            <a:avLst/>
            <a:gdLst>
              <a:gd name="T0" fmla="*/ 0 w 177"/>
              <a:gd name="T1" fmla="*/ 2147483647 h 180"/>
              <a:gd name="T2" fmla="*/ 2147483647 w 177"/>
              <a:gd name="T3" fmla="*/ 2147483647 h 180"/>
              <a:gd name="T4" fmla="*/ 2147483647 w 177"/>
              <a:gd name="T5" fmla="*/ 2147483647 h 180"/>
              <a:gd name="T6" fmla="*/ 2147483647 w 177"/>
              <a:gd name="T7" fmla="*/ 2147483647 h 180"/>
              <a:gd name="T8" fmla="*/ 2147483647 w 177"/>
              <a:gd name="T9" fmla="*/ 2147483647 h 180"/>
              <a:gd name="T10" fmla="*/ 2147483647 w 177"/>
              <a:gd name="T11" fmla="*/ 2147483647 h 180"/>
              <a:gd name="T12" fmla="*/ 2147483647 w 177"/>
              <a:gd name="T13" fmla="*/ 0 h 180"/>
              <a:gd name="T14" fmla="*/ 2147483647 w 177"/>
              <a:gd name="T15" fmla="*/ 2147483647 h 180"/>
              <a:gd name="T16" fmla="*/ 2147483647 w 177"/>
              <a:gd name="T17" fmla="*/ 2147483647 h 180"/>
              <a:gd name="T18" fmla="*/ 2147483647 w 177"/>
              <a:gd name="T19" fmla="*/ 2147483647 h 180"/>
              <a:gd name="T20" fmla="*/ 2147483647 w 177"/>
              <a:gd name="T21" fmla="*/ 2147483647 h 180"/>
              <a:gd name="T22" fmla="*/ 2147483647 w 177"/>
              <a:gd name="T23" fmla="*/ 2147483647 h 180"/>
              <a:gd name="T24" fmla="*/ 2147483647 w 177"/>
              <a:gd name="T25" fmla="*/ 2147483647 h 180"/>
              <a:gd name="T26" fmla="*/ 2147483647 w 177"/>
              <a:gd name="T27" fmla="*/ 2147483647 h 180"/>
              <a:gd name="T28" fmla="*/ 2147483647 w 177"/>
              <a:gd name="T29" fmla="*/ 2147483647 h 180"/>
              <a:gd name="T30" fmla="*/ 2147483647 w 177"/>
              <a:gd name="T31" fmla="*/ 2147483647 h 180"/>
              <a:gd name="T32" fmla="*/ 2147483647 w 177"/>
              <a:gd name="T33" fmla="*/ 2147483647 h 180"/>
              <a:gd name="T34" fmla="*/ 2147483647 w 177"/>
              <a:gd name="T35" fmla="*/ 2147483647 h 180"/>
              <a:gd name="T36" fmla="*/ 2147483647 w 177"/>
              <a:gd name="T37" fmla="*/ 2147483647 h 180"/>
              <a:gd name="T38" fmla="*/ 2147483647 w 177"/>
              <a:gd name="T39" fmla="*/ 2147483647 h 180"/>
              <a:gd name="T40" fmla="*/ 2147483647 w 177"/>
              <a:gd name="T41" fmla="*/ 2147483647 h 180"/>
              <a:gd name="T42" fmla="*/ 2147483647 w 177"/>
              <a:gd name="T43" fmla="*/ 2147483647 h 180"/>
              <a:gd name="T44" fmla="*/ 2147483647 w 177"/>
              <a:gd name="T45" fmla="*/ 2147483647 h 180"/>
              <a:gd name="T46" fmla="*/ 2147483647 w 177"/>
              <a:gd name="T47" fmla="*/ 2147483647 h 180"/>
              <a:gd name="T48" fmla="*/ 2147483647 w 177"/>
              <a:gd name="T49" fmla="*/ 2147483647 h 180"/>
              <a:gd name="T50" fmla="*/ 2147483647 w 177"/>
              <a:gd name="T51" fmla="*/ 2147483647 h 180"/>
              <a:gd name="T52" fmla="*/ 2147483647 w 177"/>
              <a:gd name="T53" fmla="*/ 2147483647 h 180"/>
              <a:gd name="T54" fmla="*/ 2147483647 w 177"/>
              <a:gd name="T55" fmla="*/ 2147483647 h 180"/>
              <a:gd name="T56" fmla="*/ 2147483647 w 177"/>
              <a:gd name="T57" fmla="*/ 2147483647 h 180"/>
              <a:gd name="T58" fmla="*/ 2147483647 w 177"/>
              <a:gd name="T59" fmla="*/ 2147483647 h 180"/>
              <a:gd name="T60" fmla="*/ 2147483647 w 177"/>
              <a:gd name="T61" fmla="*/ 2147483647 h 180"/>
              <a:gd name="T62" fmla="*/ 0 w 177"/>
              <a:gd name="T63" fmla="*/ 2147483647 h 18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180"/>
              <a:gd name="T98" fmla="*/ 177 w 177"/>
              <a:gd name="T99" fmla="*/ 180 h 18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180">
                <a:moveTo>
                  <a:pt x="0" y="69"/>
                </a:moveTo>
                <a:lnTo>
                  <a:pt x="9" y="56"/>
                </a:lnTo>
                <a:lnTo>
                  <a:pt x="38" y="34"/>
                </a:lnTo>
                <a:lnTo>
                  <a:pt x="38" y="22"/>
                </a:lnTo>
                <a:lnTo>
                  <a:pt x="51" y="16"/>
                </a:lnTo>
                <a:lnTo>
                  <a:pt x="49" y="8"/>
                </a:lnTo>
                <a:lnTo>
                  <a:pt x="58" y="0"/>
                </a:lnTo>
                <a:lnTo>
                  <a:pt x="64" y="6"/>
                </a:lnTo>
                <a:lnTo>
                  <a:pt x="74" y="1"/>
                </a:lnTo>
                <a:lnTo>
                  <a:pt x="84" y="11"/>
                </a:lnTo>
                <a:lnTo>
                  <a:pt x="90" y="34"/>
                </a:lnTo>
                <a:lnTo>
                  <a:pt x="85" y="54"/>
                </a:lnTo>
                <a:lnTo>
                  <a:pt x="94" y="51"/>
                </a:lnTo>
                <a:lnTo>
                  <a:pt x="106" y="59"/>
                </a:lnTo>
                <a:lnTo>
                  <a:pt x="113" y="57"/>
                </a:lnTo>
                <a:lnTo>
                  <a:pt x="120" y="39"/>
                </a:lnTo>
                <a:lnTo>
                  <a:pt x="128" y="46"/>
                </a:lnTo>
                <a:lnTo>
                  <a:pt x="130" y="57"/>
                </a:lnTo>
                <a:lnTo>
                  <a:pt x="138" y="64"/>
                </a:lnTo>
                <a:lnTo>
                  <a:pt x="135" y="77"/>
                </a:lnTo>
                <a:lnTo>
                  <a:pt x="125" y="91"/>
                </a:lnTo>
                <a:lnTo>
                  <a:pt x="151" y="99"/>
                </a:lnTo>
                <a:lnTo>
                  <a:pt x="161" y="114"/>
                </a:lnTo>
                <a:lnTo>
                  <a:pt x="173" y="118"/>
                </a:lnTo>
                <a:lnTo>
                  <a:pt x="177" y="140"/>
                </a:lnTo>
                <a:lnTo>
                  <a:pt x="169" y="152"/>
                </a:lnTo>
                <a:lnTo>
                  <a:pt x="169" y="180"/>
                </a:lnTo>
                <a:lnTo>
                  <a:pt x="130" y="170"/>
                </a:lnTo>
                <a:lnTo>
                  <a:pt x="93" y="149"/>
                </a:lnTo>
                <a:lnTo>
                  <a:pt x="48" y="107"/>
                </a:lnTo>
                <a:lnTo>
                  <a:pt x="26" y="98"/>
                </a:lnTo>
                <a:lnTo>
                  <a:pt x="0" y="69"/>
                </a:lnTo>
                <a:close/>
              </a:path>
            </a:pathLst>
          </a:custGeom>
          <a:solidFill>
            <a:schemeClr val="accent1"/>
          </a:solidFill>
          <a:ln w="6350">
            <a:solidFill>
              <a:schemeClr val="tx2"/>
            </a:solidFill>
            <a:round/>
            <a:headEnd/>
            <a:tailEnd/>
          </a:ln>
        </p:spPr>
        <p:txBody>
          <a:bodyPr/>
          <a:lstStyle/>
          <a:p>
            <a:endParaRPr lang="en-US"/>
          </a:p>
        </p:txBody>
      </p:sp>
      <p:sp>
        <p:nvSpPr>
          <p:cNvPr id="580" name="Freeform 1482"/>
          <p:cNvSpPr>
            <a:spLocks/>
          </p:cNvSpPr>
          <p:nvPr/>
        </p:nvSpPr>
        <p:spPr bwMode="auto">
          <a:xfrm>
            <a:off x="5789035" y="4054131"/>
            <a:ext cx="43001" cy="90430"/>
          </a:xfrm>
          <a:custGeom>
            <a:avLst/>
            <a:gdLst>
              <a:gd name="T0" fmla="*/ 2147483647 w 89"/>
              <a:gd name="T1" fmla="*/ 2147483647 h 215"/>
              <a:gd name="T2" fmla="*/ 2147483647 w 89"/>
              <a:gd name="T3" fmla="*/ 2147483647 h 215"/>
              <a:gd name="T4" fmla="*/ 2147483647 w 89"/>
              <a:gd name="T5" fmla="*/ 2147483647 h 215"/>
              <a:gd name="T6" fmla="*/ 2147483647 w 89"/>
              <a:gd name="T7" fmla="*/ 2147483647 h 215"/>
              <a:gd name="T8" fmla="*/ 2147483647 w 89"/>
              <a:gd name="T9" fmla="*/ 2147483647 h 215"/>
              <a:gd name="T10" fmla="*/ 2147483647 w 89"/>
              <a:gd name="T11" fmla="*/ 2147483647 h 215"/>
              <a:gd name="T12" fmla="*/ 0 w 89"/>
              <a:gd name="T13" fmla="*/ 2147483647 h 215"/>
              <a:gd name="T14" fmla="*/ 2147483647 w 89"/>
              <a:gd name="T15" fmla="*/ 2147483647 h 215"/>
              <a:gd name="T16" fmla="*/ 2147483647 w 89"/>
              <a:gd name="T17" fmla="*/ 2147483647 h 215"/>
              <a:gd name="T18" fmla="*/ 0 w 89"/>
              <a:gd name="T19" fmla="*/ 2147483647 h 215"/>
              <a:gd name="T20" fmla="*/ 2147483647 w 89"/>
              <a:gd name="T21" fmla="*/ 2147483647 h 215"/>
              <a:gd name="T22" fmla="*/ 2147483647 w 89"/>
              <a:gd name="T23" fmla="*/ 2147483647 h 215"/>
              <a:gd name="T24" fmla="*/ 2147483647 w 89"/>
              <a:gd name="T25" fmla="*/ 0 h 215"/>
              <a:gd name="T26" fmla="*/ 2147483647 w 89"/>
              <a:gd name="T27" fmla="*/ 2147483647 h 215"/>
              <a:gd name="T28" fmla="*/ 2147483647 w 89"/>
              <a:gd name="T29" fmla="*/ 2147483647 h 215"/>
              <a:gd name="T30" fmla="*/ 2147483647 w 89"/>
              <a:gd name="T31" fmla="*/ 2147483647 h 215"/>
              <a:gd name="T32" fmla="*/ 2147483647 w 89"/>
              <a:gd name="T33" fmla="*/ 2147483647 h 215"/>
              <a:gd name="T34" fmla="*/ 2147483647 w 89"/>
              <a:gd name="T35" fmla="*/ 2147483647 h 215"/>
              <a:gd name="T36" fmla="*/ 2147483647 w 89"/>
              <a:gd name="T37" fmla="*/ 2147483647 h 215"/>
              <a:gd name="T38" fmla="*/ 2147483647 w 89"/>
              <a:gd name="T39" fmla="*/ 2147483647 h 215"/>
              <a:gd name="T40" fmla="*/ 2147483647 w 89"/>
              <a:gd name="T41" fmla="*/ 2147483647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9"/>
              <a:gd name="T64" fmla="*/ 0 h 215"/>
              <a:gd name="T65" fmla="*/ 89 w 89"/>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9" h="215">
                <a:moveTo>
                  <a:pt x="89" y="207"/>
                </a:moveTo>
                <a:lnTo>
                  <a:pt x="59" y="215"/>
                </a:lnTo>
                <a:lnTo>
                  <a:pt x="42" y="200"/>
                </a:lnTo>
                <a:lnTo>
                  <a:pt x="33" y="184"/>
                </a:lnTo>
                <a:lnTo>
                  <a:pt x="27" y="73"/>
                </a:lnTo>
                <a:lnTo>
                  <a:pt x="18" y="35"/>
                </a:lnTo>
                <a:lnTo>
                  <a:pt x="0" y="15"/>
                </a:lnTo>
                <a:lnTo>
                  <a:pt x="6" y="4"/>
                </a:lnTo>
                <a:lnTo>
                  <a:pt x="1" y="3"/>
                </a:lnTo>
                <a:lnTo>
                  <a:pt x="0" y="1"/>
                </a:lnTo>
                <a:lnTo>
                  <a:pt x="15" y="2"/>
                </a:lnTo>
                <a:lnTo>
                  <a:pt x="26" y="3"/>
                </a:lnTo>
                <a:lnTo>
                  <a:pt x="42" y="0"/>
                </a:lnTo>
                <a:lnTo>
                  <a:pt x="36" y="28"/>
                </a:lnTo>
                <a:lnTo>
                  <a:pt x="51" y="36"/>
                </a:lnTo>
                <a:lnTo>
                  <a:pt x="62" y="48"/>
                </a:lnTo>
                <a:lnTo>
                  <a:pt x="79" y="99"/>
                </a:lnTo>
                <a:lnTo>
                  <a:pt x="82" y="163"/>
                </a:lnTo>
                <a:lnTo>
                  <a:pt x="79" y="189"/>
                </a:lnTo>
                <a:lnTo>
                  <a:pt x="84" y="205"/>
                </a:lnTo>
                <a:lnTo>
                  <a:pt x="89" y="207"/>
                </a:lnTo>
                <a:close/>
              </a:path>
            </a:pathLst>
          </a:custGeom>
          <a:solidFill>
            <a:schemeClr val="accent1"/>
          </a:solidFill>
          <a:ln w="6350">
            <a:solidFill>
              <a:schemeClr val="tx2"/>
            </a:solidFill>
            <a:round/>
            <a:headEnd/>
            <a:tailEnd/>
          </a:ln>
        </p:spPr>
        <p:txBody>
          <a:bodyPr/>
          <a:lstStyle/>
          <a:p>
            <a:endParaRPr lang="en-US"/>
          </a:p>
        </p:txBody>
      </p:sp>
      <p:sp>
        <p:nvSpPr>
          <p:cNvPr id="581" name="Freeform 1483"/>
          <p:cNvSpPr>
            <a:spLocks/>
          </p:cNvSpPr>
          <p:nvPr/>
        </p:nvSpPr>
        <p:spPr bwMode="auto">
          <a:xfrm>
            <a:off x="5486600" y="4022290"/>
            <a:ext cx="149067" cy="100619"/>
          </a:xfrm>
          <a:custGeom>
            <a:avLst/>
            <a:gdLst>
              <a:gd name="T0" fmla="*/ 2147483647 w 317"/>
              <a:gd name="T1" fmla="*/ 2147483647 h 240"/>
              <a:gd name="T2" fmla="*/ 2147483647 w 317"/>
              <a:gd name="T3" fmla="*/ 2147483647 h 240"/>
              <a:gd name="T4" fmla="*/ 2147483647 w 317"/>
              <a:gd name="T5" fmla="*/ 2147483647 h 240"/>
              <a:gd name="T6" fmla="*/ 2147483647 w 317"/>
              <a:gd name="T7" fmla="*/ 2147483647 h 240"/>
              <a:gd name="T8" fmla="*/ 2147483647 w 317"/>
              <a:gd name="T9" fmla="*/ 2147483647 h 240"/>
              <a:gd name="T10" fmla="*/ 2147483647 w 317"/>
              <a:gd name="T11" fmla="*/ 2147483647 h 240"/>
              <a:gd name="T12" fmla="*/ 2147483647 w 317"/>
              <a:gd name="T13" fmla="*/ 2147483647 h 240"/>
              <a:gd name="T14" fmla="*/ 2147483647 w 317"/>
              <a:gd name="T15" fmla="*/ 2147483647 h 240"/>
              <a:gd name="T16" fmla="*/ 2147483647 w 317"/>
              <a:gd name="T17" fmla="*/ 2147483647 h 240"/>
              <a:gd name="T18" fmla="*/ 2147483647 w 317"/>
              <a:gd name="T19" fmla="*/ 2147483647 h 240"/>
              <a:gd name="T20" fmla="*/ 2147483647 w 317"/>
              <a:gd name="T21" fmla="*/ 2147483647 h 240"/>
              <a:gd name="T22" fmla="*/ 2147483647 w 317"/>
              <a:gd name="T23" fmla="*/ 2147483647 h 240"/>
              <a:gd name="T24" fmla="*/ 2147483647 w 317"/>
              <a:gd name="T25" fmla="*/ 2147483647 h 240"/>
              <a:gd name="T26" fmla="*/ 2147483647 w 317"/>
              <a:gd name="T27" fmla="*/ 2147483647 h 240"/>
              <a:gd name="T28" fmla="*/ 2147483647 w 317"/>
              <a:gd name="T29" fmla="*/ 2147483647 h 240"/>
              <a:gd name="T30" fmla="*/ 2147483647 w 317"/>
              <a:gd name="T31" fmla="*/ 2147483647 h 240"/>
              <a:gd name="T32" fmla="*/ 2147483647 w 317"/>
              <a:gd name="T33" fmla="*/ 2147483647 h 240"/>
              <a:gd name="T34" fmla="*/ 2147483647 w 317"/>
              <a:gd name="T35" fmla="*/ 2147483647 h 240"/>
              <a:gd name="T36" fmla="*/ 2147483647 w 317"/>
              <a:gd name="T37" fmla="*/ 2147483647 h 240"/>
              <a:gd name="T38" fmla="*/ 2147483647 w 317"/>
              <a:gd name="T39" fmla="*/ 2147483647 h 240"/>
              <a:gd name="T40" fmla="*/ 2147483647 w 317"/>
              <a:gd name="T41" fmla="*/ 2147483647 h 240"/>
              <a:gd name="T42" fmla="*/ 2147483647 w 317"/>
              <a:gd name="T43" fmla="*/ 2147483647 h 240"/>
              <a:gd name="T44" fmla="*/ 2147483647 w 317"/>
              <a:gd name="T45" fmla="*/ 2147483647 h 240"/>
              <a:gd name="T46" fmla="*/ 2147483647 w 317"/>
              <a:gd name="T47" fmla="*/ 2147483647 h 240"/>
              <a:gd name="T48" fmla="*/ 2147483647 w 317"/>
              <a:gd name="T49" fmla="*/ 2147483647 h 240"/>
              <a:gd name="T50" fmla="*/ 2147483647 w 317"/>
              <a:gd name="T51" fmla="*/ 2147483647 h 240"/>
              <a:gd name="T52" fmla="*/ 2147483647 w 317"/>
              <a:gd name="T53" fmla="*/ 2147483647 h 240"/>
              <a:gd name="T54" fmla="*/ 2147483647 w 317"/>
              <a:gd name="T55" fmla="*/ 2147483647 h 240"/>
              <a:gd name="T56" fmla="*/ 2147483647 w 317"/>
              <a:gd name="T57" fmla="*/ 2147483647 h 240"/>
              <a:gd name="T58" fmla="*/ 2147483647 w 317"/>
              <a:gd name="T59" fmla="*/ 2147483647 h 240"/>
              <a:gd name="T60" fmla="*/ 2147483647 w 317"/>
              <a:gd name="T61" fmla="*/ 2147483647 h 240"/>
              <a:gd name="T62" fmla="*/ 2147483647 w 317"/>
              <a:gd name="T63" fmla="*/ 2147483647 h 240"/>
              <a:gd name="T64" fmla="*/ 2147483647 w 317"/>
              <a:gd name="T65" fmla="*/ 2147483647 h 240"/>
              <a:gd name="T66" fmla="*/ 2147483647 w 317"/>
              <a:gd name="T67" fmla="*/ 2147483647 h 240"/>
              <a:gd name="T68" fmla="*/ 2147483647 w 317"/>
              <a:gd name="T69" fmla="*/ 2147483647 h 240"/>
              <a:gd name="T70" fmla="*/ 2147483647 w 317"/>
              <a:gd name="T71" fmla="*/ 2147483647 h 240"/>
              <a:gd name="T72" fmla="*/ 2147483647 w 317"/>
              <a:gd name="T73" fmla="*/ 2147483647 h 240"/>
              <a:gd name="T74" fmla="*/ 2147483647 w 317"/>
              <a:gd name="T75" fmla="*/ 2147483647 h 240"/>
              <a:gd name="T76" fmla="*/ 2147483647 w 317"/>
              <a:gd name="T77" fmla="*/ 2147483647 h 240"/>
              <a:gd name="T78" fmla="*/ 2147483647 w 317"/>
              <a:gd name="T79" fmla="*/ 2147483647 h 240"/>
              <a:gd name="T80" fmla="*/ 2147483647 w 317"/>
              <a:gd name="T81" fmla="*/ 2147483647 h 240"/>
              <a:gd name="T82" fmla="*/ 2147483647 w 317"/>
              <a:gd name="T83" fmla="*/ 2147483647 h 240"/>
              <a:gd name="T84" fmla="*/ 2147483647 w 317"/>
              <a:gd name="T85" fmla="*/ 0 h 2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7"/>
              <a:gd name="T130" fmla="*/ 0 h 240"/>
              <a:gd name="T131" fmla="*/ 317 w 317"/>
              <a:gd name="T132" fmla="*/ 240 h 2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7" h="240">
                <a:moveTo>
                  <a:pt x="59" y="0"/>
                </a:moveTo>
                <a:lnTo>
                  <a:pt x="85" y="3"/>
                </a:lnTo>
                <a:lnTo>
                  <a:pt x="87" y="11"/>
                </a:lnTo>
                <a:lnTo>
                  <a:pt x="94" y="8"/>
                </a:lnTo>
                <a:lnTo>
                  <a:pt x="118" y="16"/>
                </a:lnTo>
                <a:lnTo>
                  <a:pt x="160" y="13"/>
                </a:lnTo>
                <a:lnTo>
                  <a:pt x="155" y="24"/>
                </a:lnTo>
                <a:lnTo>
                  <a:pt x="158" y="28"/>
                </a:lnTo>
                <a:lnTo>
                  <a:pt x="166" y="29"/>
                </a:lnTo>
                <a:lnTo>
                  <a:pt x="177" y="22"/>
                </a:lnTo>
                <a:lnTo>
                  <a:pt x="191" y="34"/>
                </a:lnTo>
                <a:lnTo>
                  <a:pt x="205" y="21"/>
                </a:lnTo>
                <a:lnTo>
                  <a:pt x="230" y="30"/>
                </a:lnTo>
                <a:lnTo>
                  <a:pt x="231" y="22"/>
                </a:lnTo>
                <a:lnTo>
                  <a:pt x="244" y="16"/>
                </a:lnTo>
                <a:lnTo>
                  <a:pt x="245" y="9"/>
                </a:lnTo>
                <a:lnTo>
                  <a:pt x="258" y="9"/>
                </a:lnTo>
                <a:lnTo>
                  <a:pt x="260" y="22"/>
                </a:lnTo>
                <a:lnTo>
                  <a:pt x="266" y="23"/>
                </a:lnTo>
                <a:lnTo>
                  <a:pt x="268" y="32"/>
                </a:lnTo>
                <a:lnTo>
                  <a:pt x="268" y="47"/>
                </a:lnTo>
                <a:lnTo>
                  <a:pt x="273" y="46"/>
                </a:lnTo>
                <a:lnTo>
                  <a:pt x="277" y="53"/>
                </a:lnTo>
                <a:lnTo>
                  <a:pt x="287" y="58"/>
                </a:lnTo>
                <a:lnTo>
                  <a:pt x="287" y="63"/>
                </a:lnTo>
                <a:lnTo>
                  <a:pt x="275" y="72"/>
                </a:lnTo>
                <a:lnTo>
                  <a:pt x="275" y="78"/>
                </a:lnTo>
                <a:lnTo>
                  <a:pt x="281" y="72"/>
                </a:lnTo>
                <a:lnTo>
                  <a:pt x="288" y="73"/>
                </a:lnTo>
                <a:lnTo>
                  <a:pt x="290" y="94"/>
                </a:lnTo>
                <a:lnTo>
                  <a:pt x="304" y="109"/>
                </a:lnTo>
                <a:lnTo>
                  <a:pt x="296" y="122"/>
                </a:lnTo>
                <a:lnTo>
                  <a:pt x="296" y="141"/>
                </a:lnTo>
                <a:lnTo>
                  <a:pt x="308" y="146"/>
                </a:lnTo>
                <a:lnTo>
                  <a:pt x="307" y="156"/>
                </a:lnTo>
                <a:lnTo>
                  <a:pt x="314" y="161"/>
                </a:lnTo>
                <a:lnTo>
                  <a:pt x="306" y="172"/>
                </a:lnTo>
                <a:lnTo>
                  <a:pt x="313" y="173"/>
                </a:lnTo>
                <a:lnTo>
                  <a:pt x="317" y="192"/>
                </a:lnTo>
                <a:lnTo>
                  <a:pt x="305" y="185"/>
                </a:lnTo>
                <a:lnTo>
                  <a:pt x="292" y="187"/>
                </a:lnTo>
                <a:lnTo>
                  <a:pt x="292" y="196"/>
                </a:lnTo>
                <a:lnTo>
                  <a:pt x="301" y="198"/>
                </a:lnTo>
                <a:lnTo>
                  <a:pt x="304" y="204"/>
                </a:lnTo>
                <a:lnTo>
                  <a:pt x="296" y="225"/>
                </a:lnTo>
                <a:lnTo>
                  <a:pt x="282" y="227"/>
                </a:lnTo>
                <a:lnTo>
                  <a:pt x="274" y="220"/>
                </a:lnTo>
                <a:lnTo>
                  <a:pt x="267" y="238"/>
                </a:lnTo>
                <a:lnTo>
                  <a:pt x="260" y="240"/>
                </a:lnTo>
                <a:lnTo>
                  <a:pt x="248" y="232"/>
                </a:lnTo>
                <a:lnTo>
                  <a:pt x="239" y="235"/>
                </a:lnTo>
                <a:lnTo>
                  <a:pt x="244" y="215"/>
                </a:lnTo>
                <a:lnTo>
                  <a:pt x="238" y="192"/>
                </a:lnTo>
                <a:lnTo>
                  <a:pt x="228" y="182"/>
                </a:lnTo>
                <a:lnTo>
                  <a:pt x="218" y="187"/>
                </a:lnTo>
                <a:lnTo>
                  <a:pt x="212" y="181"/>
                </a:lnTo>
                <a:lnTo>
                  <a:pt x="203" y="189"/>
                </a:lnTo>
                <a:lnTo>
                  <a:pt x="202" y="183"/>
                </a:lnTo>
                <a:lnTo>
                  <a:pt x="187" y="192"/>
                </a:lnTo>
                <a:lnTo>
                  <a:pt x="191" y="176"/>
                </a:lnTo>
                <a:lnTo>
                  <a:pt x="196" y="174"/>
                </a:lnTo>
                <a:lnTo>
                  <a:pt x="195" y="165"/>
                </a:lnTo>
                <a:lnTo>
                  <a:pt x="189" y="159"/>
                </a:lnTo>
                <a:lnTo>
                  <a:pt x="189" y="147"/>
                </a:lnTo>
                <a:lnTo>
                  <a:pt x="180" y="144"/>
                </a:lnTo>
                <a:lnTo>
                  <a:pt x="178" y="135"/>
                </a:lnTo>
                <a:lnTo>
                  <a:pt x="165" y="121"/>
                </a:lnTo>
                <a:lnTo>
                  <a:pt x="112" y="124"/>
                </a:lnTo>
                <a:lnTo>
                  <a:pt x="107" y="137"/>
                </a:lnTo>
                <a:lnTo>
                  <a:pt x="89" y="157"/>
                </a:lnTo>
                <a:lnTo>
                  <a:pt x="77" y="158"/>
                </a:lnTo>
                <a:lnTo>
                  <a:pt x="58" y="140"/>
                </a:lnTo>
                <a:lnTo>
                  <a:pt x="51" y="125"/>
                </a:lnTo>
                <a:lnTo>
                  <a:pt x="30" y="115"/>
                </a:lnTo>
                <a:lnTo>
                  <a:pt x="23" y="91"/>
                </a:lnTo>
                <a:lnTo>
                  <a:pt x="16" y="90"/>
                </a:lnTo>
                <a:lnTo>
                  <a:pt x="13" y="79"/>
                </a:lnTo>
                <a:lnTo>
                  <a:pt x="3" y="86"/>
                </a:lnTo>
                <a:lnTo>
                  <a:pt x="0" y="78"/>
                </a:lnTo>
                <a:lnTo>
                  <a:pt x="8" y="73"/>
                </a:lnTo>
                <a:lnTo>
                  <a:pt x="21" y="53"/>
                </a:lnTo>
                <a:lnTo>
                  <a:pt x="59" y="45"/>
                </a:lnTo>
                <a:lnTo>
                  <a:pt x="58" y="30"/>
                </a:lnTo>
                <a:lnTo>
                  <a:pt x="50" y="24"/>
                </a:lnTo>
                <a:lnTo>
                  <a:pt x="63" y="15"/>
                </a:lnTo>
                <a:lnTo>
                  <a:pt x="59" y="0"/>
                </a:lnTo>
                <a:close/>
              </a:path>
            </a:pathLst>
          </a:custGeom>
          <a:solidFill>
            <a:schemeClr val="accent1"/>
          </a:solidFill>
          <a:ln w="6350">
            <a:solidFill>
              <a:schemeClr val="tx2"/>
            </a:solidFill>
            <a:round/>
            <a:headEnd/>
            <a:tailEnd/>
          </a:ln>
        </p:spPr>
        <p:txBody>
          <a:bodyPr/>
          <a:lstStyle/>
          <a:p>
            <a:endParaRPr lang="en-US"/>
          </a:p>
        </p:txBody>
      </p:sp>
      <p:sp>
        <p:nvSpPr>
          <p:cNvPr id="582" name="Freeform 1484"/>
          <p:cNvSpPr>
            <a:spLocks/>
          </p:cNvSpPr>
          <p:nvPr/>
        </p:nvSpPr>
        <p:spPr bwMode="auto">
          <a:xfrm>
            <a:off x="5728834" y="4054131"/>
            <a:ext cx="88867" cy="113355"/>
          </a:xfrm>
          <a:custGeom>
            <a:avLst/>
            <a:gdLst>
              <a:gd name="T0" fmla="*/ 2147483647 w 190"/>
              <a:gd name="T1" fmla="*/ 2147483647 h 274"/>
              <a:gd name="T2" fmla="*/ 2147483647 w 190"/>
              <a:gd name="T3" fmla="*/ 2147483647 h 274"/>
              <a:gd name="T4" fmla="*/ 2147483647 w 190"/>
              <a:gd name="T5" fmla="*/ 2147483647 h 274"/>
              <a:gd name="T6" fmla="*/ 2147483647 w 190"/>
              <a:gd name="T7" fmla="*/ 2147483647 h 274"/>
              <a:gd name="T8" fmla="*/ 2147483647 w 190"/>
              <a:gd name="T9" fmla="*/ 2147483647 h 274"/>
              <a:gd name="T10" fmla="*/ 2147483647 w 190"/>
              <a:gd name="T11" fmla="*/ 2147483647 h 274"/>
              <a:gd name="T12" fmla="*/ 2147483647 w 190"/>
              <a:gd name="T13" fmla="*/ 2147483647 h 274"/>
              <a:gd name="T14" fmla="*/ 2147483647 w 190"/>
              <a:gd name="T15" fmla="*/ 2147483647 h 274"/>
              <a:gd name="T16" fmla="*/ 2147483647 w 190"/>
              <a:gd name="T17" fmla="*/ 2147483647 h 274"/>
              <a:gd name="T18" fmla="*/ 2147483647 w 190"/>
              <a:gd name="T19" fmla="*/ 2147483647 h 274"/>
              <a:gd name="T20" fmla="*/ 2147483647 w 190"/>
              <a:gd name="T21" fmla="*/ 0 h 274"/>
              <a:gd name="T22" fmla="*/ 2147483647 w 190"/>
              <a:gd name="T23" fmla="*/ 2147483647 h 274"/>
              <a:gd name="T24" fmla="*/ 2147483647 w 190"/>
              <a:gd name="T25" fmla="*/ 2147483647 h 274"/>
              <a:gd name="T26" fmla="*/ 2147483647 w 190"/>
              <a:gd name="T27" fmla="*/ 2147483647 h 274"/>
              <a:gd name="T28" fmla="*/ 2147483647 w 190"/>
              <a:gd name="T29" fmla="*/ 2147483647 h 274"/>
              <a:gd name="T30" fmla="*/ 2147483647 w 190"/>
              <a:gd name="T31" fmla="*/ 2147483647 h 274"/>
              <a:gd name="T32" fmla="*/ 2147483647 w 190"/>
              <a:gd name="T33" fmla="*/ 2147483647 h 274"/>
              <a:gd name="T34" fmla="*/ 2147483647 w 190"/>
              <a:gd name="T35" fmla="*/ 2147483647 h 274"/>
              <a:gd name="T36" fmla="*/ 2147483647 w 190"/>
              <a:gd name="T37" fmla="*/ 2147483647 h 274"/>
              <a:gd name="T38" fmla="*/ 2147483647 w 190"/>
              <a:gd name="T39" fmla="*/ 2147483647 h 274"/>
              <a:gd name="T40" fmla="*/ 2147483647 w 190"/>
              <a:gd name="T41" fmla="*/ 2147483647 h 274"/>
              <a:gd name="T42" fmla="*/ 0 w 190"/>
              <a:gd name="T43" fmla="*/ 2147483647 h 274"/>
              <a:gd name="T44" fmla="*/ 2147483647 w 190"/>
              <a:gd name="T45" fmla="*/ 2147483647 h 274"/>
              <a:gd name="T46" fmla="*/ 2147483647 w 190"/>
              <a:gd name="T47" fmla="*/ 2147483647 h 274"/>
              <a:gd name="T48" fmla="*/ 2147483647 w 190"/>
              <a:gd name="T49" fmla="*/ 2147483647 h 274"/>
              <a:gd name="T50" fmla="*/ 2147483647 w 190"/>
              <a:gd name="T51" fmla="*/ 2147483647 h 274"/>
              <a:gd name="T52" fmla="*/ 2147483647 w 190"/>
              <a:gd name="T53" fmla="*/ 2147483647 h 274"/>
              <a:gd name="T54" fmla="*/ 2147483647 w 190"/>
              <a:gd name="T55" fmla="*/ 2147483647 h 274"/>
              <a:gd name="T56" fmla="*/ 2147483647 w 190"/>
              <a:gd name="T57" fmla="*/ 2147483647 h 274"/>
              <a:gd name="T58" fmla="*/ 2147483647 w 190"/>
              <a:gd name="T59" fmla="*/ 2147483647 h 274"/>
              <a:gd name="T60" fmla="*/ 2147483647 w 190"/>
              <a:gd name="T61" fmla="*/ 2147483647 h 274"/>
              <a:gd name="T62" fmla="*/ 2147483647 w 190"/>
              <a:gd name="T63" fmla="*/ 2147483647 h 274"/>
              <a:gd name="T64" fmla="*/ 2147483647 w 190"/>
              <a:gd name="T65" fmla="*/ 2147483647 h 274"/>
              <a:gd name="T66" fmla="*/ 2147483647 w 190"/>
              <a:gd name="T67" fmla="*/ 2147483647 h 2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0"/>
              <a:gd name="T103" fmla="*/ 0 h 274"/>
              <a:gd name="T104" fmla="*/ 190 w 190"/>
              <a:gd name="T105" fmla="*/ 274 h 2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0" h="274">
                <a:moveTo>
                  <a:pt x="190" y="215"/>
                </a:moveTo>
                <a:lnTo>
                  <a:pt x="173" y="200"/>
                </a:lnTo>
                <a:lnTo>
                  <a:pt x="164" y="184"/>
                </a:lnTo>
                <a:lnTo>
                  <a:pt x="158" y="73"/>
                </a:lnTo>
                <a:lnTo>
                  <a:pt x="149" y="35"/>
                </a:lnTo>
                <a:lnTo>
                  <a:pt x="131" y="15"/>
                </a:lnTo>
                <a:lnTo>
                  <a:pt x="137" y="4"/>
                </a:lnTo>
                <a:lnTo>
                  <a:pt x="132" y="3"/>
                </a:lnTo>
                <a:lnTo>
                  <a:pt x="131" y="1"/>
                </a:lnTo>
                <a:lnTo>
                  <a:pt x="101" y="3"/>
                </a:lnTo>
                <a:lnTo>
                  <a:pt x="14" y="0"/>
                </a:lnTo>
                <a:lnTo>
                  <a:pt x="11" y="12"/>
                </a:lnTo>
                <a:lnTo>
                  <a:pt x="18" y="28"/>
                </a:lnTo>
                <a:lnTo>
                  <a:pt x="22" y="64"/>
                </a:lnTo>
                <a:lnTo>
                  <a:pt x="23" y="75"/>
                </a:lnTo>
                <a:lnTo>
                  <a:pt x="19" y="81"/>
                </a:lnTo>
                <a:lnTo>
                  <a:pt x="24" y="84"/>
                </a:lnTo>
                <a:lnTo>
                  <a:pt x="32" y="119"/>
                </a:lnTo>
                <a:lnTo>
                  <a:pt x="20" y="130"/>
                </a:lnTo>
                <a:lnTo>
                  <a:pt x="11" y="163"/>
                </a:lnTo>
                <a:lnTo>
                  <a:pt x="1" y="177"/>
                </a:lnTo>
                <a:lnTo>
                  <a:pt x="0" y="192"/>
                </a:lnTo>
                <a:lnTo>
                  <a:pt x="9" y="226"/>
                </a:lnTo>
                <a:lnTo>
                  <a:pt x="19" y="232"/>
                </a:lnTo>
                <a:lnTo>
                  <a:pt x="21" y="253"/>
                </a:lnTo>
                <a:lnTo>
                  <a:pt x="9" y="253"/>
                </a:lnTo>
                <a:lnTo>
                  <a:pt x="3" y="258"/>
                </a:lnTo>
                <a:lnTo>
                  <a:pt x="51" y="274"/>
                </a:lnTo>
                <a:lnTo>
                  <a:pt x="74" y="260"/>
                </a:lnTo>
                <a:lnTo>
                  <a:pt x="107" y="252"/>
                </a:lnTo>
                <a:lnTo>
                  <a:pt x="144" y="231"/>
                </a:lnTo>
                <a:lnTo>
                  <a:pt x="148" y="230"/>
                </a:lnTo>
                <a:lnTo>
                  <a:pt x="178" y="228"/>
                </a:lnTo>
                <a:lnTo>
                  <a:pt x="190" y="215"/>
                </a:lnTo>
                <a:close/>
              </a:path>
            </a:pathLst>
          </a:custGeom>
          <a:solidFill>
            <a:schemeClr val="accent1"/>
          </a:solidFill>
          <a:ln w="6350">
            <a:solidFill>
              <a:schemeClr val="tx2"/>
            </a:solidFill>
            <a:round/>
            <a:headEnd/>
            <a:tailEnd/>
          </a:ln>
        </p:spPr>
        <p:txBody>
          <a:bodyPr/>
          <a:lstStyle/>
          <a:p>
            <a:endParaRPr lang="en-US"/>
          </a:p>
        </p:txBody>
      </p:sp>
      <p:sp>
        <p:nvSpPr>
          <p:cNvPr id="583" name="Freeform 1485"/>
          <p:cNvSpPr>
            <a:spLocks/>
          </p:cNvSpPr>
          <p:nvPr/>
        </p:nvSpPr>
        <p:spPr bwMode="auto">
          <a:xfrm>
            <a:off x="5452201" y="4001912"/>
            <a:ext cx="60200" cy="14010"/>
          </a:xfrm>
          <a:custGeom>
            <a:avLst/>
            <a:gdLst>
              <a:gd name="T0" fmla="*/ 2147483647 w 132"/>
              <a:gd name="T1" fmla="*/ 2147483647 h 36"/>
              <a:gd name="T2" fmla="*/ 2147483647 w 132"/>
              <a:gd name="T3" fmla="*/ 2147483647 h 36"/>
              <a:gd name="T4" fmla="*/ 2147483647 w 132"/>
              <a:gd name="T5" fmla="*/ 2147483647 h 36"/>
              <a:gd name="T6" fmla="*/ 2147483647 w 132"/>
              <a:gd name="T7" fmla="*/ 0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2147483647 h 36"/>
              <a:gd name="T20" fmla="*/ 2147483647 w 132"/>
              <a:gd name="T21" fmla="*/ 2147483647 h 36"/>
              <a:gd name="T22" fmla="*/ 2147483647 w 132"/>
              <a:gd name="T23" fmla="*/ 2147483647 h 36"/>
              <a:gd name="T24" fmla="*/ 2147483647 w 132"/>
              <a:gd name="T25" fmla="*/ 2147483647 h 36"/>
              <a:gd name="T26" fmla="*/ 2147483647 w 132"/>
              <a:gd name="T27" fmla="*/ 2147483647 h 36"/>
              <a:gd name="T28" fmla="*/ 0 w 132"/>
              <a:gd name="T29" fmla="*/ 2147483647 h 36"/>
              <a:gd name="T30" fmla="*/ 2147483647 w 132"/>
              <a:gd name="T31" fmla="*/ 2147483647 h 36"/>
              <a:gd name="T32" fmla="*/ 2147483647 w 132"/>
              <a:gd name="T33" fmla="*/ 2147483647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2"/>
              <a:gd name="T52" fmla="*/ 0 h 36"/>
              <a:gd name="T53" fmla="*/ 132 w 132"/>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2" h="36">
                <a:moveTo>
                  <a:pt x="12" y="11"/>
                </a:moveTo>
                <a:lnTo>
                  <a:pt x="55" y="11"/>
                </a:lnTo>
                <a:lnTo>
                  <a:pt x="64" y="3"/>
                </a:lnTo>
                <a:lnTo>
                  <a:pt x="76" y="0"/>
                </a:lnTo>
                <a:lnTo>
                  <a:pt x="106" y="16"/>
                </a:lnTo>
                <a:lnTo>
                  <a:pt x="131" y="13"/>
                </a:lnTo>
                <a:lnTo>
                  <a:pt x="132" y="20"/>
                </a:lnTo>
                <a:lnTo>
                  <a:pt x="114" y="28"/>
                </a:lnTo>
                <a:lnTo>
                  <a:pt x="74" y="13"/>
                </a:lnTo>
                <a:lnTo>
                  <a:pt x="61" y="21"/>
                </a:lnTo>
                <a:lnTo>
                  <a:pt x="46" y="21"/>
                </a:lnTo>
                <a:lnTo>
                  <a:pt x="42" y="29"/>
                </a:lnTo>
                <a:lnTo>
                  <a:pt x="6" y="31"/>
                </a:lnTo>
                <a:lnTo>
                  <a:pt x="3" y="36"/>
                </a:lnTo>
                <a:lnTo>
                  <a:pt x="0" y="22"/>
                </a:lnTo>
                <a:lnTo>
                  <a:pt x="11" y="17"/>
                </a:lnTo>
                <a:lnTo>
                  <a:pt x="12" y="11"/>
                </a:lnTo>
                <a:close/>
              </a:path>
            </a:pathLst>
          </a:custGeom>
          <a:solidFill>
            <a:schemeClr val="accent1"/>
          </a:solidFill>
          <a:ln w="6350">
            <a:solidFill>
              <a:schemeClr val="tx2"/>
            </a:solidFill>
            <a:round/>
            <a:headEnd/>
            <a:tailEnd/>
          </a:ln>
        </p:spPr>
        <p:txBody>
          <a:bodyPr/>
          <a:lstStyle/>
          <a:p>
            <a:endParaRPr lang="en-US"/>
          </a:p>
        </p:txBody>
      </p:sp>
      <p:sp>
        <p:nvSpPr>
          <p:cNvPr id="584" name="Freeform 1486"/>
          <p:cNvSpPr>
            <a:spLocks/>
          </p:cNvSpPr>
          <p:nvPr/>
        </p:nvSpPr>
        <p:spPr bwMode="auto">
          <a:xfrm>
            <a:off x="5452201" y="4022290"/>
            <a:ext cx="65933" cy="33115"/>
          </a:xfrm>
          <a:custGeom>
            <a:avLst/>
            <a:gdLst>
              <a:gd name="T0" fmla="*/ 2147483647 w 135"/>
              <a:gd name="T1" fmla="*/ 2147483647 h 78"/>
              <a:gd name="T2" fmla="*/ 2147483647 w 135"/>
              <a:gd name="T3" fmla="*/ 2147483647 h 78"/>
              <a:gd name="T4" fmla="*/ 2147483647 w 135"/>
              <a:gd name="T5" fmla="*/ 2147483647 h 78"/>
              <a:gd name="T6" fmla="*/ 2147483647 w 135"/>
              <a:gd name="T7" fmla="*/ 2147483647 h 78"/>
              <a:gd name="T8" fmla="*/ 2147483647 w 135"/>
              <a:gd name="T9" fmla="*/ 2147483647 h 78"/>
              <a:gd name="T10" fmla="*/ 2147483647 w 135"/>
              <a:gd name="T11" fmla="*/ 2147483647 h 78"/>
              <a:gd name="T12" fmla="*/ 2147483647 w 135"/>
              <a:gd name="T13" fmla="*/ 2147483647 h 78"/>
              <a:gd name="T14" fmla="*/ 2147483647 w 135"/>
              <a:gd name="T15" fmla="*/ 0 h 78"/>
              <a:gd name="T16" fmla="*/ 2147483647 w 135"/>
              <a:gd name="T17" fmla="*/ 2147483647 h 78"/>
              <a:gd name="T18" fmla="*/ 2147483647 w 135"/>
              <a:gd name="T19" fmla="*/ 2147483647 h 78"/>
              <a:gd name="T20" fmla="*/ 2147483647 w 135"/>
              <a:gd name="T21" fmla="*/ 2147483647 h 78"/>
              <a:gd name="T22" fmla="*/ 2147483647 w 135"/>
              <a:gd name="T23" fmla="*/ 2147483647 h 78"/>
              <a:gd name="T24" fmla="*/ 0 w 135"/>
              <a:gd name="T25" fmla="*/ 2147483647 h 78"/>
              <a:gd name="T26" fmla="*/ 2147483647 w 135"/>
              <a:gd name="T27" fmla="*/ 2147483647 h 78"/>
              <a:gd name="T28" fmla="*/ 2147483647 w 135"/>
              <a:gd name="T29" fmla="*/ 2147483647 h 78"/>
              <a:gd name="T30" fmla="*/ 2147483647 w 135"/>
              <a:gd name="T31" fmla="*/ 2147483647 h 78"/>
              <a:gd name="T32" fmla="*/ 2147483647 w 135"/>
              <a:gd name="T33" fmla="*/ 2147483647 h 78"/>
              <a:gd name="T34" fmla="*/ 2147483647 w 135"/>
              <a:gd name="T35" fmla="*/ 2147483647 h 78"/>
              <a:gd name="T36" fmla="*/ 2147483647 w 135"/>
              <a:gd name="T37" fmla="*/ 2147483647 h 78"/>
              <a:gd name="T38" fmla="*/ 2147483647 w 135"/>
              <a:gd name="T39" fmla="*/ 2147483647 h 78"/>
              <a:gd name="T40" fmla="*/ 2147483647 w 135"/>
              <a:gd name="T41" fmla="*/ 2147483647 h 78"/>
              <a:gd name="T42" fmla="*/ 2147483647 w 135"/>
              <a:gd name="T43" fmla="*/ 2147483647 h 78"/>
              <a:gd name="T44" fmla="*/ 2147483647 w 135"/>
              <a:gd name="T45" fmla="*/ 2147483647 h 78"/>
              <a:gd name="T46" fmla="*/ 2147483647 w 135"/>
              <a:gd name="T47" fmla="*/ 2147483647 h 78"/>
              <a:gd name="T48" fmla="*/ 2147483647 w 135"/>
              <a:gd name="T49" fmla="*/ 2147483647 h 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78"/>
              <a:gd name="T77" fmla="*/ 135 w 135"/>
              <a:gd name="T78" fmla="*/ 78 h 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78">
                <a:moveTo>
                  <a:pt x="72" y="78"/>
                </a:moveTo>
                <a:lnTo>
                  <a:pt x="80" y="73"/>
                </a:lnTo>
                <a:lnTo>
                  <a:pt x="93" y="53"/>
                </a:lnTo>
                <a:lnTo>
                  <a:pt x="131" y="45"/>
                </a:lnTo>
                <a:lnTo>
                  <a:pt x="130" y="30"/>
                </a:lnTo>
                <a:lnTo>
                  <a:pt x="122" y="24"/>
                </a:lnTo>
                <a:lnTo>
                  <a:pt x="135" y="15"/>
                </a:lnTo>
                <a:lnTo>
                  <a:pt x="131" y="0"/>
                </a:lnTo>
                <a:lnTo>
                  <a:pt x="71" y="1"/>
                </a:lnTo>
                <a:lnTo>
                  <a:pt x="44" y="12"/>
                </a:lnTo>
                <a:lnTo>
                  <a:pt x="22" y="11"/>
                </a:lnTo>
                <a:lnTo>
                  <a:pt x="10" y="16"/>
                </a:lnTo>
                <a:lnTo>
                  <a:pt x="0" y="13"/>
                </a:lnTo>
                <a:lnTo>
                  <a:pt x="3" y="22"/>
                </a:lnTo>
                <a:lnTo>
                  <a:pt x="19" y="27"/>
                </a:lnTo>
                <a:lnTo>
                  <a:pt x="22" y="37"/>
                </a:lnTo>
                <a:lnTo>
                  <a:pt x="35" y="38"/>
                </a:lnTo>
                <a:lnTo>
                  <a:pt x="38" y="46"/>
                </a:lnTo>
                <a:lnTo>
                  <a:pt x="81" y="35"/>
                </a:lnTo>
                <a:lnTo>
                  <a:pt x="80" y="39"/>
                </a:lnTo>
                <a:lnTo>
                  <a:pt x="54" y="47"/>
                </a:lnTo>
                <a:lnTo>
                  <a:pt x="58" y="68"/>
                </a:lnTo>
                <a:lnTo>
                  <a:pt x="62" y="73"/>
                </a:lnTo>
                <a:lnTo>
                  <a:pt x="73" y="73"/>
                </a:lnTo>
                <a:lnTo>
                  <a:pt x="72" y="78"/>
                </a:lnTo>
                <a:close/>
              </a:path>
            </a:pathLst>
          </a:custGeom>
          <a:solidFill>
            <a:schemeClr val="accent1"/>
          </a:solidFill>
          <a:ln w="6350">
            <a:solidFill>
              <a:schemeClr val="tx2"/>
            </a:solidFill>
            <a:round/>
            <a:headEnd/>
            <a:tailEnd/>
          </a:ln>
        </p:spPr>
        <p:txBody>
          <a:bodyPr/>
          <a:lstStyle/>
          <a:p>
            <a:endParaRPr lang="en-US"/>
          </a:p>
        </p:txBody>
      </p:sp>
      <p:sp>
        <p:nvSpPr>
          <p:cNvPr id="585" name="Freeform 1487"/>
          <p:cNvSpPr>
            <a:spLocks/>
          </p:cNvSpPr>
          <p:nvPr/>
        </p:nvSpPr>
        <p:spPr bwMode="auto">
          <a:xfrm>
            <a:off x="5523867" y="4073236"/>
            <a:ext cx="60200" cy="53493"/>
          </a:xfrm>
          <a:custGeom>
            <a:avLst/>
            <a:gdLst>
              <a:gd name="T0" fmla="*/ 2147483647 w 128"/>
              <a:gd name="T1" fmla="*/ 2147483647 h 129"/>
              <a:gd name="T2" fmla="*/ 2147483647 w 128"/>
              <a:gd name="T3" fmla="*/ 2147483647 h 129"/>
              <a:gd name="T4" fmla="*/ 2147483647 w 128"/>
              <a:gd name="T5" fmla="*/ 2147483647 h 129"/>
              <a:gd name="T6" fmla="*/ 2147483647 w 128"/>
              <a:gd name="T7" fmla="*/ 2147483647 h 129"/>
              <a:gd name="T8" fmla="*/ 2147483647 w 128"/>
              <a:gd name="T9" fmla="*/ 2147483647 h 129"/>
              <a:gd name="T10" fmla="*/ 2147483647 w 128"/>
              <a:gd name="T11" fmla="*/ 2147483647 h 129"/>
              <a:gd name="T12" fmla="*/ 2147483647 w 128"/>
              <a:gd name="T13" fmla="*/ 2147483647 h 129"/>
              <a:gd name="T14" fmla="*/ 2147483647 w 128"/>
              <a:gd name="T15" fmla="*/ 2147483647 h 129"/>
              <a:gd name="T16" fmla="*/ 2147483647 w 128"/>
              <a:gd name="T17" fmla="*/ 2147483647 h 129"/>
              <a:gd name="T18" fmla="*/ 2147483647 w 128"/>
              <a:gd name="T19" fmla="*/ 2147483647 h 129"/>
              <a:gd name="T20" fmla="*/ 2147483647 w 128"/>
              <a:gd name="T21" fmla="*/ 2147483647 h 129"/>
              <a:gd name="T22" fmla="*/ 2147483647 w 128"/>
              <a:gd name="T23" fmla="*/ 2147483647 h 129"/>
              <a:gd name="T24" fmla="*/ 2147483647 w 128"/>
              <a:gd name="T25" fmla="*/ 2147483647 h 129"/>
              <a:gd name="T26" fmla="*/ 2147483647 w 128"/>
              <a:gd name="T27" fmla="*/ 2147483647 h 129"/>
              <a:gd name="T28" fmla="*/ 2147483647 w 128"/>
              <a:gd name="T29" fmla="*/ 2147483647 h 129"/>
              <a:gd name="T30" fmla="*/ 2147483647 w 128"/>
              <a:gd name="T31" fmla="*/ 0 h 129"/>
              <a:gd name="T32" fmla="*/ 2147483647 w 128"/>
              <a:gd name="T33" fmla="*/ 2147483647 h 129"/>
              <a:gd name="T34" fmla="*/ 2147483647 w 128"/>
              <a:gd name="T35" fmla="*/ 2147483647 h 129"/>
              <a:gd name="T36" fmla="*/ 2147483647 w 128"/>
              <a:gd name="T37" fmla="*/ 2147483647 h 129"/>
              <a:gd name="T38" fmla="*/ 0 w 128"/>
              <a:gd name="T39" fmla="*/ 2147483647 h 129"/>
              <a:gd name="T40" fmla="*/ 2147483647 w 128"/>
              <a:gd name="T41" fmla="*/ 2147483647 h 129"/>
              <a:gd name="T42" fmla="*/ 2147483647 w 128"/>
              <a:gd name="T43" fmla="*/ 2147483647 h 129"/>
              <a:gd name="T44" fmla="*/ 2147483647 w 128"/>
              <a:gd name="T45" fmla="*/ 2147483647 h 129"/>
              <a:gd name="T46" fmla="*/ 2147483647 w 128"/>
              <a:gd name="T47" fmla="*/ 2147483647 h 129"/>
              <a:gd name="T48" fmla="*/ 2147483647 w 128"/>
              <a:gd name="T49" fmla="*/ 2147483647 h 129"/>
              <a:gd name="T50" fmla="*/ 2147483647 w 128"/>
              <a:gd name="T51" fmla="*/ 2147483647 h 129"/>
              <a:gd name="T52" fmla="*/ 2147483647 w 128"/>
              <a:gd name="T53" fmla="*/ 2147483647 h 129"/>
              <a:gd name="T54" fmla="*/ 2147483647 w 128"/>
              <a:gd name="T55" fmla="*/ 2147483647 h 129"/>
              <a:gd name="T56" fmla="*/ 2147483647 w 128"/>
              <a:gd name="T57" fmla="*/ 2147483647 h 1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8"/>
              <a:gd name="T88" fmla="*/ 0 h 129"/>
              <a:gd name="T89" fmla="*/ 128 w 128"/>
              <a:gd name="T90" fmla="*/ 129 h 12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8" h="129">
                <a:moveTo>
                  <a:pt x="77" y="129"/>
                </a:moveTo>
                <a:lnTo>
                  <a:pt x="86" y="116"/>
                </a:lnTo>
                <a:lnTo>
                  <a:pt x="115" y="94"/>
                </a:lnTo>
                <a:lnTo>
                  <a:pt x="115" y="82"/>
                </a:lnTo>
                <a:lnTo>
                  <a:pt x="128" y="76"/>
                </a:lnTo>
                <a:lnTo>
                  <a:pt x="126" y="68"/>
                </a:lnTo>
                <a:lnTo>
                  <a:pt x="125" y="62"/>
                </a:lnTo>
                <a:lnTo>
                  <a:pt x="110" y="71"/>
                </a:lnTo>
                <a:lnTo>
                  <a:pt x="114" y="55"/>
                </a:lnTo>
                <a:lnTo>
                  <a:pt x="119" y="53"/>
                </a:lnTo>
                <a:lnTo>
                  <a:pt x="118" y="44"/>
                </a:lnTo>
                <a:lnTo>
                  <a:pt x="112" y="38"/>
                </a:lnTo>
                <a:lnTo>
                  <a:pt x="112" y="26"/>
                </a:lnTo>
                <a:lnTo>
                  <a:pt x="103" y="23"/>
                </a:lnTo>
                <a:lnTo>
                  <a:pt x="101" y="14"/>
                </a:lnTo>
                <a:lnTo>
                  <a:pt x="88" y="0"/>
                </a:lnTo>
                <a:lnTo>
                  <a:pt x="35" y="3"/>
                </a:lnTo>
                <a:lnTo>
                  <a:pt x="30" y="16"/>
                </a:lnTo>
                <a:lnTo>
                  <a:pt x="12" y="36"/>
                </a:lnTo>
                <a:lnTo>
                  <a:pt x="0" y="37"/>
                </a:lnTo>
                <a:lnTo>
                  <a:pt x="1" y="59"/>
                </a:lnTo>
                <a:lnTo>
                  <a:pt x="8" y="65"/>
                </a:lnTo>
                <a:lnTo>
                  <a:pt x="2" y="66"/>
                </a:lnTo>
                <a:lnTo>
                  <a:pt x="2" y="71"/>
                </a:lnTo>
                <a:lnTo>
                  <a:pt x="14" y="82"/>
                </a:lnTo>
                <a:lnTo>
                  <a:pt x="15" y="91"/>
                </a:lnTo>
                <a:lnTo>
                  <a:pt x="34" y="104"/>
                </a:lnTo>
                <a:lnTo>
                  <a:pt x="38" y="113"/>
                </a:lnTo>
                <a:lnTo>
                  <a:pt x="77" y="129"/>
                </a:lnTo>
                <a:close/>
              </a:path>
            </a:pathLst>
          </a:custGeom>
          <a:solidFill>
            <a:schemeClr val="accent1"/>
          </a:solidFill>
          <a:ln w="6350">
            <a:solidFill>
              <a:schemeClr val="tx2"/>
            </a:solidFill>
            <a:round/>
            <a:headEnd/>
            <a:tailEnd/>
          </a:ln>
        </p:spPr>
        <p:txBody>
          <a:bodyPr/>
          <a:lstStyle/>
          <a:p>
            <a:endParaRPr lang="en-US"/>
          </a:p>
        </p:txBody>
      </p:sp>
      <p:sp>
        <p:nvSpPr>
          <p:cNvPr id="586" name="Freeform 1488"/>
          <p:cNvSpPr>
            <a:spLocks/>
          </p:cNvSpPr>
          <p:nvPr/>
        </p:nvSpPr>
        <p:spPr bwMode="auto">
          <a:xfrm>
            <a:off x="5437867" y="3948418"/>
            <a:ext cx="123267" cy="80240"/>
          </a:xfrm>
          <a:custGeom>
            <a:avLst/>
            <a:gdLst>
              <a:gd name="T0" fmla="*/ 2147483647 w 268"/>
              <a:gd name="T1" fmla="*/ 2147483647 h 191"/>
              <a:gd name="T2" fmla="*/ 2147483647 w 268"/>
              <a:gd name="T3" fmla="*/ 2147483647 h 191"/>
              <a:gd name="T4" fmla="*/ 2147483647 w 268"/>
              <a:gd name="T5" fmla="*/ 2147483647 h 191"/>
              <a:gd name="T6" fmla="*/ 2147483647 w 268"/>
              <a:gd name="T7" fmla="*/ 2147483647 h 191"/>
              <a:gd name="T8" fmla="*/ 2147483647 w 268"/>
              <a:gd name="T9" fmla="*/ 2147483647 h 191"/>
              <a:gd name="T10" fmla="*/ 2147483647 w 268"/>
              <a:gd name="T11" fmla="*/ 2147483647 h 191"/>
              <a:gd name="T12" fmla="*/ 2147483647 w 268"/>
              <a:gd name="T13" fmla="*/ 2147483647 h 191"/>
              <a:gd name="T14" fmla="*/ 2147483647 w 268"/>
              <a:gd name="T15" fmla="*/ 2147483647 h 191"/>
              <a:gd name="T16" fmla="*/ 2147483647 w 268"/>
              <a:gd name="T17" fmla="*/ 2147483647 h 191"/>
              <a:gd name="T18" fmla="*/ 2147483647 w 268"/>
              <a:gd name="T19" fmla="*/ 2147483647 h 191"/>
              <a:gd name="T20" fmla="*/ 2147483647 w 268"/>
              <a:gd name="T21" fmla="*/ 2147483647 h 191"/>
              <a:gd name="T22" fmla="*/ 2147483647 w 268"/>
              <a:gd name="T23" fmla="*/ 2147483647 h 191"/>
              <a:gd name="T24" fmla="*/ 2147483647 w 268"/>
              <a:gd name="T25" fmla="*/ 2147483647 h 191"/>
              <a:gd name="T26" fmla="*/ 2147483647 w 268"/>
              <a:gd name="T27" fmla="*/ 2147483647 h 191"/>
              <a:gd name="T28" fmla="*/ 2147483647 w 268"/>
              <a:gd name="T29" fmla="*/ 2147483647 h 191"/>
              <a:gd name="T30" fmla="*/ 2147483647 w 268"/>
              <a:gd name="T31" fmla="*/ 2147483647 h 191"/>
              <a:gd name="T32" fmla="*/ 2147483647 w 268"/>
              <a:gd name="T33" fmla="*/ 2147483647 h 191"/>
              <a:gd name="T34" fmla="*/ 0 w 268"/>
              <a:gd name="T35" fmla="*/ 2147483647 h 191"/>
              <a:gd name="T36" fmla="*/ 2147483647 w 268"/>
              <a:gd name="T37" fmla="*/ 2147483647 h 191"/>
              <a:gd name="T38" fmla="*/ 2147483647 w 268"/>
              <a:gd name="T39" fmla="*/ 2147483647 h 191"/>
              <a:gd name="T40" fmla="*/ 2147483647 w 268"/>
              <a:gd name="T41" fmla="*/ 2147483647 h 191"/>
              <a:gd name="T42" fmla="*/ 2147483647 w 268"/>
              <a:gd name="T43" fmla="*/ 2147483647 h 191"/>
              <a:gd name="T44" fmla="*/ 2147483647 w 268"/>
              <a:gd name="T45" fmla="*/ 2147483647 h 191"/>
              <a:gd name="T46" fmla="*/ 2147483647 w 268"/>
              <a:gd name="T47" fmla="*/ 2147483647 h 191"/>
              <a:gd name="T48" fmla="*/ 2147483647 w 268"/>
              <a:gd name="T49" fmla="*/ 0 h 191"/>
              <a:gd name="T50" fmla="*/ 2147483647 w 268"/>
              <a:gd name="T51" fmla="*/ 2147483647 h 191"/>
              <a:gd name="T52" fmla="*/ 2147483647 w 268"/>
              <a:gd name="T53" fmla="*/ 2147483647 h 191"/>
              <a:gd name="T54" fmla="*/ 2147483647 w 268"/>
              <a:gd name="T55" fmla="*/ 2147483647 h 191"/>
              <a:gd name="T56" fmla="*/ 2147483647 w 268"/>
              <a:gd name="T57" fmla="*/ 2147483647 h 191"/>
              <a:gd name="T58" fmla="*/ 2147483647 w 268"/>
              <a:gd name="T59" fmla="*/ 2147483647 h 191"/>
              <a:gd name="T60" fmla="*/ 2147483647 w 268"/>
              <a:gd name="T61" fmla="*/ 2147483647 h 191"/>
              <a:gd name="T62" fmla="*/ 2147483647 w 268"/>
              <a:gd name="T63" fmla="*/ 2147483647 h 191"/>
              <a:gd name="T64" fmla="*/ 2147483647 w 268"/>
              <a:gd name="T65" fmla="*/ 2147483647 h 191"/>
              <a:gd name="T66" fmla="*/ 2147483647 w 268"/>
              <a:gd name="T67" fmla="*/ 2147483647 h 191"/>
              <a:gd name="T68" fmla="*/ 2147483647 w 268"/>
              <a:gd name="T69" fmla="*/ 2147483647 h 191"/>
              <a:gd name="T70" fmla="*/ 2147483647 w 268"/>
              <a:gd name="T71" fmla="*/ 2147483647 h 191"/>
              <a:gd name="T72" fmla="*/ 2147483647 w 268"/>
              <a:gd name="T73" fmla="*/ 2147483647 h 191"/>
              <a:gd name="T74" fmla="*/ 2147483647 w 268"/>
              <a:gd name="T75" fmla="*/ 2147483647 h 191"/>
              <a:gd name="T76" fmla="*/ 2147483647 w 268"/>
              <a:gd name="T77" fmla="*/ 2147483647 h 191"/>
              <a:gd name="T78" fmla="*/ 2147483647 w 268"/>
              <a:gd name="T79" fmla="*/ 2147483647 h 191"/>
              <a:gd name="T80" fmla="*/ 2147483647 w 268"/>
              <a:gd name="T81" fmla="*/ 2147483647 h 191"/>
              <a:gd name="T82" fmla="*/ 2147483647 w 268"/>
              <a:gd name="T83" fmla="*/ 2147483647 h 191"/>
              <a:gd name="T84" fmla="*/ 2147483647 w 268"/>
              <a:gd name="T85" fmla="*/ 2147483647 h 191"/>
              <a:gd name="T86" fmla="*/ 2147483647 w 268"/>
              <a:gd name="T87" fmla="*/ 2147483647 h 191"/>
              <a:gd name="T88" fmla="*/ 2147483647 w 268"/>
              <a:gd name="T89" fmla="*/ 2147483647 h 191"/>
              <a:gd name="T90" fmla="*/ 2147483647 w 268"/>
              <a:gd name="T91" fmla="*/ 2147483647 h 191"/>
              <a:gd name="T92" fmla="*/ 2147483647 w 268"/>
              <a:gd name="T93" fmla="*/ 2147483647 h 191"/>
              <a:gd name="T94" fmla="*/ 2147483647 w 268"/>
              <a:gd name="T95" fmla="*/ 2147483647 h 191"/>
              <a:gd name="T96" fmla="*/ 2147483647 w 268"/>
              <a:gd name="T97" fmla="*/ 2147483647 h 191"/>
              <a:gd name="T98" fmla="*/ 2147483647 w 268"/>
              <a:gd name="T99" fmla="*/ 2147483647 h 191"/>
              <a:gd name="T100" fmla="*/ 2147483647 w 268"/>
              <a:gd name="T101" fmla="*/ 2147483647 h 1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8"/>
              <a:gd name="T154" fmla="*/ 0 h 191"/>
              <a:gd name="T155" fmla="*/ 268 w 268"/>
              <a:gd name="T156" fmla="*/ 191 h 1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8" h="191">
                <a:moveTo>
                  <a:pt x="36" y="188"/>
                </a:moveTo>
                <a:lnTo>
                  <a:pt x="35" y="161"/>
                </a:lnTo>
                <a:lnTo>
                  <a:pt x="38" y="156"/>
                </a:lnTo>
                <a:lnTo>
                  <a:pt x="74" y="154"/>
                </a:lnTo>
                <a:lnTo>
                  <a:pt x="78" y="146"/>
                </a:lnTo>
                <a:lnTo>
                  <a:pt x="93" y="146"/>
                </a:lnTo>
                <a:lnTo>
                  <a:pt x="106" y="138"/>
                </a:lnTo>
                <a:lnTo>
                  <a:pt x="146" y="153"/>
                </a:lnTo>
                <a:lnTo>
                  <a:pt x="164" y="145"/>
                </a:lnTo>
                <a:lnTo>
                  <a:pt x="163" y="138"/>
                </a:lnTo>
                <a:lnTo>
                  <a:pt x="138" y="141"/>
                </a:lnTo>
                <a:lnTo>
                  <a:pt x="108" y="125"/>
                </a:lnTo>
                <a:lnTo>
                  <a:pt x="96" y="128"/>
                </a:lnTo>
                <a:lnTo>
                  <a:pt x="87" y="136"/>
                </a:lnTo>
                <a:lnTo>
                  <a:pt x="44" y="136"/>
                </a:lnTo>
                <a:lnTo>
                  <a:pt x="12" y="87"/>
                </a:lnTo>
                <a:lnTo>
                  <a:pt x="4" y="91"/>
                </a:lnTo>
                <a:lnTo>
                  <a:pt x="0" y="86"/>
                </a:lnTo>
                <a:lnTo>
                  <a:pt x="14" y="81"/>
                </a:lnTo>
                <a:lnTo>
                  <a:pt x="28" y="67"/>
                </a:lnTo>
                <a:lnTo>
                  <a:pt x="44" y="44"/>
                </a:lnTo>
                <a:lnTo>
                  <a:pt x="45" y="26"/>
                </a:lnTo>
                <a:lnTo>
                  <a:pt x="55" y="6"/>
                </a:lnTo>
                <a:lnTo>
                  <a:pt x="80" y="9"/>
                </a:lnTo>
                <a:lnTo>
                  <a:pt x="106" y="0"/>
                </a:lnTo>
                <a:lnTo>
                  <a:pt x="137" y="1"/>
                </a:lnTo>
                <a:lnTo>
                  <a:pt x="159" y="24"/>
                </a:lnTo>
                <a:lnTo>
                  <a:pt x="176" y="24"/>
                </a:lnTo>
                <a:lnTo>
                  <a:pt x="187" y="45"/>
                </a:lnTo>
                <a:lnTo>
                  <a:pt x="199" y="52"/>
                </a:lnTo>
                <a:lnTo>
                  <a:pt x="204" y="61"/>
                </a:lnTo>
                <a:lnTo>
                  <a:pt x="202" y="63"/>
                </a:lnTo>
                <a:lnTo>
                  <a:pt x="233" y="86"/>
                </a:lnTo>
                <a:lnTo>
                  <a:pt x="234" y="101"/>
                </a:lnTo>
                <a:lnTo>
                  <a:pt x="240" y="107"/>
                </a:lnTo>
                <a:lnTo>
                  <a:pt x="244" y="122"/>
                </a:lnTo>
                <a:lnTo>
                  <a:pt x="240" y="133"/>
                </a:lnTo>
                <a:lnTo>
                  <a:pt x="248" y="145"/>
                </a:lnTo>
                <a:lnTo>
                  <a:pt x="257" y="145"/>
                </a:lnTo>
                <a:lnTo>
                  <a:pt x="268" y="163"/>
                </a:lnTo>
                <a:lnTo>
                  <a:pt x="268" y="188"/>
                </a:lnTo>
                <a:lnTo>
                  <a:pt x="226" y="191"/>
                </a:lnTo>
                <a:lnTo>
                  <a:pt x="202" y="183"/>
                </a:lnTo>
                <a:lnTo>
                  <a:pt x="195" y="186"/>
                </a:lnTo>
                <a:lnTo>
                  <a:pt x="193" y="178"/>
                </a:lnTo>
                <a:lnTo>
                  <a:pt x="167" y="175"/>
                </a:lnTo>
                <a:lnTo>
                  <a:pt x="107" y="176"/>
                </a:lnTo>
                <a:lnTo>
                  <a:pt x="80" y="187"/>
                </a:lnTo>
                <a:lnTo>
                  <a:pt x="58" y="186"/>
                </a:lnTo>
                <a:lnTo>
                  <a:pt x="46" y="191"/>
                </a:lnTo>
                <a:lnTo>
                  <a:pt x="36" y="188"/>
                </a:lnTo>
                <a:close/>
              </a:path>
            </a:pathLst>
          </a:custGeom>
          <a:solidFill>
            <a:schemeClr val="accent1"/>
          </a:solidFill>
          <a:ln w="6350">
            <a:solidFill>
              <a:schemeClr val="tx2"/>
            </a:solidFill>
            <a:round/>
            <a:headEnd/>
            <a:tailEnd/>
          </a:ln>
        </p:spPr>
        <p:txBody>
          <a:bodyPr/>
          <a:lstStyle/>
          <a:p>
            <a:endParaRPr lang="en-US"/>
          </a:p>
        </p:txBody>
      </p:sp>
      <p:sp>
        <p:nvSpPr>
          <p:cNvPr id="587" name="Freeform 1493"/>
          <p:cNvSpPr>
            <a:spLocks/>
          </p:cNvSpPr>
          <p:nvPr/>
        </p:nvSpPr>
        <p:spPr bwMode="auto">
          <a:xfrm>
            <a:off x="5976802" y="3623635"/>
            <a:ext cx="321068" cy="273836"/>
          </a:xfrm>
          <a:custGeom>
            <a:avLst/>
            <a:gdLst>
              <a:gd name="T0" fmla="*/ 2147483647 w 683"/>
              <a:gd name="T1" fmla="*/ 2147483647 h 655"/>
              <a:gd name="T2" fmla="*/ 2147483647 w 683"/>
              <a:gd name="T3" fmla="*/ 2147483647 h 655"/>
              <a:gd name="T4" fmla="*/ 2147483647 w 683"/>
              <a:gd name="T5" fmla="*/ 2147483647 h 655"/>
              <a:gd name="T6" fmla="*/ 2147483647 w 683"/>
              <a:gd name="T7" fmla="*/ 2147483647 h 655"/>
              <a:gd name="T8" fmla="*/ 2147483647 w 683"/>
              <a:gd name="T9" fmla="*/ 2147483647 h 655"/>
              <a:gd name="T10" fmla="*/ 2147483647 w 683"/>
              <a:gd name="T11" fmla="*/ 2147483647 h 655"/>
              <a:gd name="T12" fmla="*/ 2147483647 w 683"/>
              <a:gd name="T13" fmla="*/ 2147483647 h 655"/>
              <a:gd name="T14" fmla="*/ 2147483647 w 683"/>
              <a:gd name="T15" fmla="*/ 2147483647 h 655"/>
              <a:gd name="T16" fmla="*/ 2147483647 w 683"/>
              <a:gd name="T17" fmla="*/ 2147483647 h 655"/>
              <a:gd name="T18" fmla="*/ 2147483647 w 683"/>
              <a:gd name="T19" fmla="*/ 2147483647 h 655"/>
              <a:gd name="T20" fmla="*/ 2147483647 w 683"/>
              <a:gd name="T21" fmla="*/ 2147483647 h 655"/>
              <a:gd name="T22" fmla="*/ 2147483647 w 683"/>
              <a:gd name="T23" fmla="*/ 2147483647 h 655"/>
              <a:gd name="T24" fmla="*/ 2147483647 w 683"/>
              <a:gd name="T25" fmla="*/ 2147483647 h 655"/>
              <a:gd name="T26" fmla="*/ 2147483647 w 683"/>
              <a:gd name="T27" fmla="*/ 2147483647 h 655"/>
              <a:gd name="T28" fmla="*/ 2147483647 w 683"/>
              <a:gd name="T29" fmla="*/ 2147483647 h 655"/>
              <a:gd name="T30" fmla="*/ 2147483647 w 683"/>
              <a:gd name="T31" fmla="*/ 2147483647 h 655"/>
              <a:gd name="T32" fmla="*/ 2147483647 w 683"/>
              <a:gd name="T33" fmla="*/ 0 h 655"/>
              <a:gd name="T34" fmla="*/ 2147483647 w 683"/>
              <a:gd name="T35" fmla="*/ 2147483647 h 655"/>
              <a:gd name="T36" fmla="*/ 2147483647 w 683"/>
              <a:gd name="T37" fmla="*/ 2147483647 h 655"/>
              <a:gd name="T38" fmla="*/ 2147483647 w 683"/>
              <a:gd name="T39" fmla="*/ 2147483647 h 655"/>
              <a:gd name="T40" fmla="*/ 2147483647 w 683"/>
              <a:gd name="T41" fmla="*/ 2147483647 h 655"/>
              <a:gd name="T42" fmla="*/ 2147483647 w 683"/>
              <a:gd name="T43" fmla="*/ 2147483647 h 655"/>
              <a:gd name="T44" fmla="*/ 2147483647 w 683"/>
              <a:gd name="T45" fmla="*/ 2147483647 h 655"/>
              <a:gd name="T46" fmla="*/ 2147483647 w 683"/>
              <a:gd name="T47" fmla="*/ 2147483647 h 655"/>
              <a:gd name="T48" fmla="*/ 2147483647 w 683"/>
              <a:gd name="T49" fmla="*/ 2147483647 h 655"/>
              <a:gd name="T50" fmla="*/ 2147483647 w 683"/>
              <a:gd name="T51" fmla="*/ 2147483647 h 655"/>
              <a:gd name="T52" fmla="*/ 2147483647 w 683"/>
              <a:gd name="T53" fmla="*/ 2147483647 h 655"/>
              <a:gd name="T54" fmla="*/ 2147483647 w 683"/>
              <a:gd name="T55" fmla="*/ 2147483647 h 655"/>
              <a:gd name="T56" fmla="*/ 2147483647 w 683"/>
              <a:gd name="T57" fmla="*/ 2147483647 h 655"/>
              <a:gd name="T58" fmla="*/ 2147483647 w 683"/>
              <a:gd name="T59" fmla="*/ 2147483647 h 655"/>
              <a:gd name="T60" fmla="*/ 2147483647 w 683"/>
              <a:gd name="T61" fmla="*/ 2147483647 h 655"/>
              <a:gd name="T62" fmla="*/ 2147483647 w 683"/>
              <a:gd name="T63" fmla="*/ 2147483647 h 655"/>
              <a:gd name="T64" fmla="*/ 2147483647 w 683"/>
              <a:gd name="T65" fmla="*/ 2147483647 h 655"/>
              <a:gd name="T66" fmla="*/ 2147483647 w 683"/>
              <a:gd name="T67" fmla="*/ 2147483647 h 655"/>
              <a:gd name="T68" fmla="*/ 2147483647 w 683"/>
              <a:gd name="T69" fmla="*/ 2147483647 h 655"/>
              <a:gd name="T70" fmla="*/ 2147483647 w 683"/>
              <a:gd name="T71" fmla="*/ 2147483647 h 655"/>
              <a:gd name="T72" fmla="*/ 2147483647 w 683"/>
              <a:gd name="T73" fmla="*/ 2147483647 h 655"/>
              <a:gd name="T74" fmla="*/ 2147483647 w 683"/>
              <a:gd name="T75" fmla="*/ 2147483647 h 655"/>
              <a:gd name="T76" fmla="*/ 2147483647 w 683"/>
              <a:gd name="T77" fmla="*/ 2147483647 h 655"/>
              <a:gd name="T78" fmla="*/ 2147483647 w 683"/>
              <a:gd name="T79" fmla="*/ 2147483647 h 65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3"/>
              <a:gd name="T121" fmla="*/ 0 h 655"/>
              <a:gd name="T122" fmla="*/ 683 w 683"/>
              <a:gd name="T123" fmla="*/ 655 h 65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3" h="655">
                <a:moveTo>
                  <a:pt x="641" y="655"/>
                </a:moveTo>
                <a:lnTo>
                  <a:pt x="598" y="632"/>
                </a:lnTo>
                <a:lnTo>
                  <a:pt x="554" y="610"/>
                </a:lnTo>
                <a:lnTo>
                  <a:pt x="512" y="589"/>
                </a:lnTo>
                <a:lnTo>
                  <a:pt x="468" y="566"/>
                </a:lnTo>
                <a:lnTo>
                  <a:pt x="424" y="544"/>
                </a:lnTo>
                <a:lnTo>
                  <a:pt x="382" y="522"/>
                </a:lnTo>
                <a:lnTo>
                  <a:pt x="339" y="499"/>
                </a:lnTo>
                <a:lnTo>
                  <a:pt x="295" y="477"/>
                </a:lnTo>
                <a:lnTo>
                  <a:pt x="251" y="491"/>
                </a:lnTo>
                <a:lnTo>
                  <a:pt x="237" y="495"/>
                </a:lnTo>
                <a:lnTo>
                  <a:pt x="229" y="485"/>
                </a:lnTo>
                <a:lnTo>
                  <a:pt x="204" y="471"/>
                </a:lnTo>
                <a:lnTo>
                  <a:pt x="109" y="470"/>
                </a:lnTo>
                <a:lnTo>
                  <a:pt x="91" y="431"/>
                </a:lnTo>
                <a:lnTo>
                  <a:pt x="68" y="421"/>
                </a:lnTo>
                <a:lnTo>
                  <a:pt x="44" y="420"/>
                </a:lnTo>
                <a:lnTo>
                  <a:pt x="33" y="408"/>
                </a:lnTo>
                <a:lnTo>
                  <a:pt x="30" y="384"/>
                </a:lnTo>
                <a:lnTo>
                  <a:pt x="4" y="344"/>
                </a:lnTo>
                <a:lnTo>
                  <a:pt x="5" y="337"/>
                </a:lnTo>
                <a:lnTo>
                  <a:pt x="20" y="330"/>
                </a:lnTo>
                <a:lnTo>
                  <a:pt x="24" y="269"/>
                </a:lnTo>
                <a:lnTo>
                  <a:pt x="17" y="192"/>
                </a:lnTo>
                <a:lnTo>
                  <a:pt x="0" y="165"/>
                </a:lnTo>
                <a:lnTo>
                  <a:pt x="1" y="151"/>
                </a:lnTo>
                <a:lnTo>
                  <a:pt x="9" y="144"/>
                </a:lnTo>
                <a:lnTo>
                  <a:pt x="28" y="136"/>
                </a:lnTo>
                <a:lnTo>
                  <a:pt x="40" y="121"/>
                </a:lnTo>
                <a:lnTo>
                  <a:pt x="36" y="92"/>
                </a:lnTo>
                <a:lnTo>
                  <a:pt x="40" y="77"/>
                </a:lnTo>
                <a:lnTo>
                  <a:pt x="89" y="40"/>
                </a:lnTo>
                <a:lnTo>
                  <a:pt x="93" y="32"/>
                </a:lnTo>
                <a:lnTo>
                  <a:pt x="92" y="0"/>
                </a:lnTo>
                <a:lnTo>
                  <a:pt x="132" y="18"/>
                </a:lnTo>
                <a:lnTo>
                  <a:pt x="164" y="15"/>
                </a:lnTo>
                <a:lnTo>
                  <a:pt x="196" y="20"/>
                </a:lnTo>
                <a:lnTo>
                  <a:pt x="253" y="43"/>
                </a:lnTo>
                <a:lnTo>
                  <a:pt x="258" y="47"/>
                </a:lnTo>
                <a:lnTo>
                  <a:pt x="261" y="67"/>
                </a:lnTo>
                <a:lnTo>
                  <a:pt x="280" y="92"/>
                </a:lnTo>
                <a:lnTo>
                  <a:pt x="291" y="96"/>
                </a:lnTo>
                <a:lnTo>
                  <a:pt x="360" y="111"/>
                </a:lnTo>
                <a:lnTo>
                  <a:pt x="384" y="122"/>
                </a:lnTo>
                <a:lnTo>
                  <a:pt x="402" y="140"/>
                </a:lnTo>
                <a:lnTo>
                  <a:pt x="414" y="146"/>
                </a:lnTo>
                <a:lnTo>
                  <a:pt x="440" y="139"/>
                </a:lnTo>
                <a:lnTo>
                  <a:pt x="455" y="126"/>
                </a:lnTo>
                <a:lnTo>
                  <a:pt x="465" y="103"/>
                </a:lnTo>
                <a:lnTo>
                  <a:pt x="456" y="78"/>
                </a:lnTo>
                <a:lnTo>
                  <a:pt x="458" y="56"/>
                </a:lnTo>
                <a:lnTo>
                  <a:pt x="503" y="20"/>
                </a:lnTo>
                <a:lnTo>
                  <a:pt x="550" y="13"/>
                </a:lnTo>
                <a:lnTo>
                  <a:pt x="585" y="25"/>
                </a:lnTo>
                <a:lnTo>
                  <a:pt x="592" y="29"/>
                </a:lnTo>
                <a:lnTo>
                  <a:pt x="591" y="43"/>
                </a:lnTo>
                <a:lnTo>
                  <a:pt x="599" y="49"/>
                </a:lnTo>
                <a:lnTo>
                  <a:pt x="625" y="54"/>
                </a:lnTo>
                <a:lnTo>
                  <a:pt x="672" y="62"/>
                </a:lnTo>
                <a:lnTo>
                  <a:pt x="683" y="77"/>
                </a:lnTo>
                <a:lnTo>
                  <a:pt x="677" y="78"/>
                </a:lnTo>
                <a:lnTo>
                  <a:pt x="669" y="93"/>
                </a:lnTo>
                <a:lnTo>
                  <a:pt x="673" y="143"/>
                </a:lnTo>
                <a:lnTo>
                  <a:pt x="662" y="156"/>
                </a:lnTo>
                <a:lnTo>
                  <a:pt x="664" y="172"/>
                </a:lnTo>
                <a:lnTo>
                  <a:pt x="671" y="183"/>
                </a:lnTo>
                <a:lnTo>
                  <a:pt x="669" y="193"/>
                </a:lnTo>
                <a:lnTo>
                  <a:pt x="682" y="206"/>
                </a:lnTo>
                <a:lnTo>
                  <a:pt x="682" y="249"/>
                </a:lnTo>
                <a:lnTo>
                  <a:pt x="682" y="291"/>
                </a:lnTo>
                <a:lnTo>
                  <a:pt x="682" y="334"/>
                </a:lnTo>
                <a:lnTo>
                  <a:pt x="682" y="376"/>
                </a:lnTo>
                <a:lnTo>
                  <a:pt x="682" y="417"/>
                </a:lnTo>
                <a:lnTo>
                  <a:pt x="682" y="459"/>
                </a:lnTo>
                <a:lnTo>
                  <a:pt x="683" y="499"/>
                </a:lnTo>
                <a:lnTo>
                  <a:pt x="683" y="540"/>
                </a:lnTo>
                <a:lnTo>
                  <a:pt x="682" y="583"/>
                </a:lnTo>
                <a:lnTo>
                  <a:pt x="682" y="628"/>
                </a:lnTo>
                <a:lnTo>
                  <a:pt x="641" y="628"/>
                </a:lnTo>
                <a:lnTo>
                  <a:pt x="641" y="655"/>
                </a:lnTo>
                <a:close/>
              </a:path>
            </a:pathLst>
          </a:custGeom>
          <a:solidFill>
            <a:schemeClr val="accent1"/>
          </a:solidFill>
          <a:ln w="6350">
            <a:solidFill>
              <a:schemeClr val="tx2"/>
            </a:solidFill>
            <a:round/>
            <a:headEnd/>
            <a:tailEnd/>
          </a:ln>
        </p:spPr>
        <p:txBody>
          <a:bodyPr/>
          <a:lstStyle/>
          <a:p>
            <a:endParaRPr lang="en-US"/>
          </a:p>
        </p:txBody>
      </p:sp>
      <p:sp>
        <p:nvSpPr>
          <p:cNvPr id="588" name="Freeform 1494"/>
          <p:cNvSpPr>
            <a:spLocks/>
          </p:cNvSpPr>
          <p:nvPr/>
        </p:nvSpPr>
        <p:spPr bwMode="auto">
          <a:xfrm>
            <a:off x="6059936" y="3822325"/>
            <a:ext cx="217867" cy="296763"/>
          </a:xfrm>
          <a:custGeom>
            <a:avLst/>
            <a:gdLst>
              <a:gd name="T0" fmla="*/ 2147483647 w 461"/>
              <a:gd name="T1" fmla="*/ 2147483647 h 710"/>
              <a:gd name="T2" fmla="*/ 2147483647 w 461"/>
              <a:gd name="T3" fmla="*/ 2147483647 h 710"/>
              <a:gd name="T4" fmla="*/ 2147483647 w 461"/>
              <a:gd name="T5" fmla="*/ 2147483647 h 710"/>
              <a:gd name="T6" fmla="*/ 2147483647 w 461"/>
              <a:gd name="T7" fmla="*/ 2147483647 h 710"/>
              <a:gd name="T8" fmla="*/ 2147483647 w 461"/>
              <a:gd name="T9" fmla="*/ 2147483647 h 710"/>
              <a:gd name="T10" fmla="*/ 2147483647 w 461"/>
              <a:gd name="T11" fmla="*/ 2147483647 h 710"/>
              <a:gd name="T12" fmla="*/ 2147483647 w 461"/>
              <a:gd name="T13" fmla="*/ 2147483647 h 710"/>
              <a:gd name="T14" fmla="*/ 2147483647 w 461"/>
              <a:gd name="T15" fmla="*/ 2147483647 h 710"/>
              <a:gd name="T16" fmla="*/ 2147483647 w 461"/>
              <a:gd name="T17" fmla="*/ 2147483647 h 710"/>
              <a:gd name="T18" fmla="*/ 2147483647 w 461"/>
              <a:gd name="T19" fmla="*/ 2147483647 h 710"/>
              <a:gd name="T20" fmla="*/ 2147483647 w 461"/>
              <a:gd name="T21" fmla="*/ 2147483647 h 710"/>
              <a:gd name="T22" fmla="*/ 2147483647 w 461"/>
              <a:gd name="T23" fmla="*/ 2147483647 h 710"/>
              <a:gd name="T24" fmla="*/ 2147483647 w 461"/>
              <a:gd name="T25" fmla="*/ 2147483647 h 710"/>
              <a:gd name="T26" fmla="*/ 2147483647 w 461"/>
              <a:gd name="T27" fmla="*/ 2147483647 h 710"/>
              <a:gd name="T28" fmla="*/ 2147483647 w 461"/>
              <a:gd name="T29" fmla="*/ 2147483647 h 710"/>
              <a:gd name="T30" fmla="*/ 2147483647 w 461"/>
              <a:gd name="T31" fmla="*/ 2147483647 h 710"/>
              <a:gd name="T32" fmla="*/ 2147483647 w 461"/>
              <a:gd name="T33" fmla="*/ 2147483647 h 710"/>
              <a:gd name="T34" fmla="*/ 2147483647 w 461"/>
              <a:gd name="T35" fmla="*/ 2147483647 h 710"/>
              <a:gd name="T36" fmla="*/ 2147483647 w 461"/>
              <a:gd name="T37" fmla="*/ 2147483647 h 710"/>
              <a:gd name="T38" fmla="*/ 2147483647 w 461"/>
              <a:gd name="T39" fmla="*/ 2147483647 h 710"/>
              <a:gd name="T40" fmla="*/ 2147483647 w 461"/>
              <a:gd name="T41" fmla="*/ 2147483647 h 710"/>
              <a:gd name="T42" fmla="*/ 2147483647 w 461"/>
              <a:gd name="T43" fmla="*/ 2147483647 h 710"/>
              <a:gd name="T44" fmla="*/ 2147483647 w 461"/>
              <a:gd name="T45" fmla="*/ 2147483647 h 710"/>
              <a:gd name="T46" fmla="*/ 2147483647 w 461"/>
              <a:gd name="T47" fmla="*/ 2147483647 h 710"/>
              <a:gd name="T48" fmla="*/ 2147483647 w 461"/>
              <a:gd name="T49" fmla="*/ 2147483647 h 710"/>
              <a:gd name="T50" fmla="*/ 2147483647 w 461"/>
              <a:gd name="T51" fmla="*/ 2147483647 h 710"/>
              <a:gd name="T52" fmla="*/ 2147483647 w 461"/>
              <a:gd name="T53" fmla="*/ 2147483647 h 710"/>
              <a:gd name="T54" fmla="*/ 2147483647 w 461"/>
              <a:gd name="T55" fmla="*/ 2147483647 h 710"/>
              <a:gd name="T56" fmla="*/ 2147483647 w 461"/>
              <a:gd name="T57" fmla="*/ 2147483647 h 710"/>
              <a:gd name="T58" fmla="*/ 2147483647 w 461"/>
              <a:gd name="T59" fmla="*/ 2147483647 h 710"/>
              <a:gd name="T60" fmla="*/ 2147483647 w 461"/>
              <a:gd name="T61" fmla="*/ 2147483647 h 710"/>
              <a:gd name="T62" fmla="*/ 2147483647 w 461"/>
              <a:gd name="T63" fmla="*/ 2147483647 h 710"/>
              <a:gd name="T64" fmla="*/ 2147483647 w 461"/>
              <a:gd name="T65" fmla="*/ 2147483647 h 710"/>
              <a:gd name="T66" fmla="*/ 2147483647 w 461"/>
              <a:gd name="T67" fmla="*/ 2147483647 h 710"/>
              <a:gd name="T68" fmla="*/ 2147483647 w 461"/>
              <a:gd name="T69" fmla="*/ 2147483647 h 7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1"/>
              <a:gd name="T106" fmla="*/ 0 h 710"/>
              <a:gd name="T107" fmla="*/ 461 w 461"/>
              <a:gd name="T108" fmla="*/ 710 h 7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1" h="710">
                <a:moveTo>
                  <a:pt x="461" y="178"/>
                </a:moveTo>
                <a:lnTo>
                  <a:pt x="461" y="220"/>
                </a:lnTo>
                <a:lnTo>
                  <a:pt x="461" y="262"/>
                </a:lnTo>
                <a:lnTo>
                  <a:pt x="460" y="303"/>
                </a:lnTo>
                <a:lnTo>
                  <a:pt x="460" y="345"/>
                </a:lnTo>
                <a:lnTo>
                  <a:pt x="415" y="349"/>
                </a:lnTo>
                <a:lnTo>
                  <a:pt x="408" y="372"/>
                </a:lnTo>
                <a:lnTo>
                  <a:pt x="387" y="401"/>
                </a:lnTo>
                <a:lnTo>
                  <a:pt x="387" y="421"/>
                </a:lnTo>
                <a:lnTo>
                  <a:pt x="377" y="428"/>
                </a:lnTo>
                <a:lnTo>
                  <a:pt x="376" y="448"/>
                </a:lnTo>
                <a:lnTo>
                  <a:pt x="368" y="468"/>
                </a:lnTo>
                <a:lnTo>
                  <a:pt x="368" y="480"/>
                </a:lnTo>
                <a:lnTo>
                  <a:pt x="388" y="476"/>
                </a:lnTo>
                <a:lnTo>
                  <a:pt x="391" y="501"/>
                </a:lnTo>
                <a:lnTo>
                  <a:pt x="411" y="543"/>
                </a:lnTo>
                <a:lnTo>
                  <a:pt x="411" y="549"/>
                </a:lnTo>
                <a:lnTo>
                  <a:pt x="404" y="552"/>
                </a:lnTo>
                <a:lnTo>
                  <a:pt x="371" y="559"/>
                </a:lnTo>
                <a:lnTo>
                  <a:pt x="362" y="572"/>
                </a:lnTo>
                <a:lnTo>
                  <a:pt x="362" y="584"/>
                </a:lnTo>
                <a:lnTo>
                  <a:pt x="333" y="610"/>
                </a:lnTo>
                <a:lnTo>
                  <a:pt x="328" y="620"/>
                </a:lnTo>
                <a:lnTo>
                  <a:pt x="311" y="626"/>
                </a:lnTo>
                <a:lnTo>
                  <a:pt x="305" y="634"/>
                </a:lnTo>
                <a:lnTo>
                  <a:pt x="242" y="643"/>
                </a:lnTo>
                <a:lnTo>
                  <a:pt x="240" y="649"/>
                </a:lnTo>
                <a:lnTo>
                  <a:pt x="247" y="658"/>
                </a:lnTo>
                <a:lnTo>
                  <a:pt x="228" y="682"/>
                </a:lnTo>
                <a:lnTo>
                  <a:pt x="191" y="684"/>
                </a:lnTo>
                <a:lnTo>
                  <a:pt x="152" y="703"/>
                </a:lnTo>
                <a:lnTo>
                  <a:pt x="137" y="691"/>
                </a:lnTo>
                <a:lnTo>
                  <a:pt x="131" y="698"/>
                </a:lnTo>
                <a:lnTo>
                  <a:pt x="112" y="707"/>
                </a:lnTo>
                <a:lnTo>
                  <a:pt x="85" y="710"/>
                </a:lnTo>
                <a:lnTo>
                  <a:pt x="70" y="655"/>
                </a:lnTo>
                <a:lnTo>
                  <a:pt x="62" y="646"/>
                </a:lnTo>
                <a:lnTo>
                  <a:pt x="40" y="637"/>
                </a:lnTo>
                <a:lnTo>
                  <a:pt x="30" y="617"/>
                </a:lnTo>
                <a:lnTo>
                  <a:pt x="31" y="605"/>
                </a:lnTo>
                <a:lnTo>
                  <a:pt x="37" y="599"/>
                </a:lnTo>
                <a:lnTo>
                  <a:pt x="79" y="601"/>
                </a:lnTo>
                <a:lnTo>
                  <a:pt x="83" y="597"/>
                </a:lnTo>
                <a:lnTo>
                  <a:pt x="81" y="585"/>
                </a:lnTo>
                <a:lnTo>
                  <a:pt x="62" y="553"/>
                </a:lnTo>
                <a:lnTo>
                  <a:pt x="66" y="513"/>
                </a:lnTo>
                <a:lnTo>
                  <a:pt x="52" y="476"/>
                </a:lnTo>
                <a:lnTo>
                  <a:pt x="44" y="470"/>
                </a:lnTo>
                <a:lnTo>
                  <a:pt x="41" y="460"/>
                </a:lnTo>
                <a:lnTo>
                  <a:pt x="31" y="460"/>
                </a:lnTo>
                <a:lnTo>
                  <a:pt x="6" y="430"/>
                </a:lnTo>
                <a:lnTo>
                  <a:pt x="1" y="407"/>
                </a:lnTo>
                <a:lnTo>
                  <a:pt x="0" y="398"/>
                </a:lnTo>
                <a:lnTo>
                  <a:pt x="10" y="394"/>
                </a:lnTo>
                <a:lnTo>
                  <a:pt x="14" y="374"/>
                </a:lnTo>
                <a:lnTo>
                  <a:pt x="86" y="293"/>
                </a:lnTo>
                <a:lnTo>
                  <a:pt x="91" y="216"/>
                </a:lnTo>
                <a:lnTo>
                  <a:pt x="102" y="153"/>
                </a:lnTo>
                <a:lnTo>
                  <a:pt x="113" y="134"/>
                </a:lnTo>
                <a:lnTo>
                  <a:pt x="85" y="116"/>
                </a:lnTo>
                <a:lnTo>
                  <a:pt x="73" y="86"/>
                </a:lnTo>
                <a:lnTo>
                  <a:pt x="71" y="14"/>
                </a:lnTo>
                <a:lnTo>
                  <a:pt x="115" y="0"/>
                </a:lnTo>
                <a:lnTo>
                  <a:pt x="159" y="22"/>
                </a:lnTo>
                <a:lnTo>
                  <a:pt x="202" y="45"/>
                </a:lnTo>
                <a:lnTo>
                  <a:pt x="244" y="67"/>
                </a:lnTo>
                <a:lnTo>
                  <a:pt x="288" y="89"/>
                </a:lnTo>
                <a:lnTo>
                  <a:pt x="332" y="112"/>
                </a:lnTo>
                <a:lnTo>
                  <a:pt x="374" y="133"/>
                </a:lnTo>
                <a:lnTo>
                  <a:pt x="418" y="155"/>
                </a:lnTo>
                <a:lnTo>
                  <a:pt x="461" y="178"/>
                </a:lnTo>
                <a:close/>
              </a:path>
            </a:pathLst>
          </a:custGeom>
          <a:solidFill>
            <a:schemeClr val="accent1"/>
          </a:solidFill>
          <a:ln w="6350">
            <a:solidFill>
              <a:schemeClr val="tx2"/>
            </a:solidFill>
            <a:round/>
            <a:headEnd/>
            <a:tailEnd/>
          </a:ln>
        </p:spPr>
        <p:txBody>
          <a:bodyPr/>
          <a:lstStyle/>
          <a:p>
            <a:endParaRPr lang="en-US"/>
          </a:p>
        </p:txBody>
      </p:sp>
      <p:sp>
        <p:nvSpPr>
          <p:cNvPr id="589" name="Freeform 1495"/>
          <p:cNvSpPr>
            <a:spLocks/>
          </p:cNvSpPr>
          <p:nvPr/>
        </p:nvSpPr>
        <p:spPr bwMode="auto">
          <a:xfrm>
            <a:off x="5529601" y="3565047"/>
            <a:ext cx="243668" cy="170670"/>
          </a:xfrm>
          <a:custGeom>
            <a:avLst/>
            <a:gdLst>
              <a:gd name="T0" fmla="*/ 2147483647 w 515"/>
              <a:gd name="T1" fmla="*/ 2147483647 h 413"/>
              <a:gd name="T2" fmla="*/ 2147483647 w 515"/>
              <a:gd name="T3" fmla="*/ 2147483647 h 413"/>
              <a:gd name="T4" fmla="*/ 2147483647 w 515"/>
              <a:gd name="T5" fmla="*/ 2147483647 h 413"/>
              <a:gd name="T6" fmla="*/ 2147483647 w 515"/>
              <a:gd name="T7" fmla="*/ 2147483647 h 413"/>
              <a:gd name="T8" fmla="*/ 0 w 515"/>
              <a:gd name="T9" fmla="*/ 2147483647 h 413"/>
              <a:gd name="T10" fmla="*/ 2147483647 w 515"/>
              <a:gd name="T11" fmla="*/ 2147483647 h 413"/>
              <a:gd name="T12" fmla="*/ 2147483647 w 515"/>
              <a:gd name="T13" fmla="*/ 2147483647 h 413"/>
              <a:gd name="T14" fmla="*/ 2147483647 w 515"/>
              <a:gd name="T15" fmla="*/ 2147483647 h 413"/>
              <a:gd name="T16" fmla="*/ 2147483647 w 515"/>
              <a:gd name="T17" fmla="*/ 2147483647 h 413"/>
              <a:gd name="T18" fmla="*/ 2147483647 w 515"/>
              <a:gd name="T19" fmla="*/ 2147483647 h 413"/>
              <a:gd name="T20" fmla="*/ 2147483647 w 515"/>
              <a:gd name="T21" fmla="*/ 2147483647 h 413"/>
              <a:gd name="T22" fmla="*/ 2147483647 w 515"/>
              <a:gd name="T23" fmla="*/ 2147483647 h 413"/>
              <a:gd name="T24" fmla="*/ 2147483647 w 515"/>
              <a:gd name="T25" fmla="*/ 2147483647 h 413"/>
              <a:gd name="T26" fmla="*/ 2147483647 w 515"/>
              <a:gd name="T27" fmla="*/ 2147483647 h 413"/>
              <a:gd name="T28" fmla="*/ 2147483647 w 515"/>
              <a:gd name="T29" fmla="*/ 2147483647 h 413"/>
              <a:gd name="T30" fmla="*/ 2147483647 w 515"/>
              <a:gd name="T31" fmla="*/ 2147483647 h 413"/>
              <a:gd name="T32" fmla="*/ 2147483647 w 515"/>
              <a:gd name="T33" fmla="*/ 2147483647 h 413"/>
              <a:gd name="T34" fmla="*/ 2147483647 w 515"/>
              <a:gd name="T35" fmla="*/ 2147483647 h 413"/>
              <a:gd name="T36" fmla="*/ 2147483647 w 515"/>
              <a:gd name="T37" fmla="*/ 2147483647 h 413"/>
              <a:gd name="T38" fmla="*/ 2147483647 w 515"/>
              <a:gd name="T39" fmla="*/ 2147483647 h 413"/>
              <a:gd name="T40" fmla="*/ 2147483647 w 515"/>
              <a:gd name="T41" fmla="*/ 2147483647 h 413"/>
              <a:gd name="T42" fmla="*/ 2147483647 w 515"/>
              <a:gd name="T43" fmla="*/ 2147483647 h 413"/>
              <a:gd name="T44" fmla="*/ 2147483647 w 515"/>
              <a:gd name="T45" fmla="*/ 0 h 413"/>
              <a:gd name="T46" fmla="*/ 2147483647 w 515"/>
              <a:gd name="T47" fmla="*/ 2147483647 h 413"/>
              <a:gd name="T48" fmla="*/ 2147483647 w 515"/>
              <a:gd name="T49" fmla="*/ 2147483647 h 413"/>
              <a:gd name="T50" fmla="*/ 2147483647 w 515"/>
              <a:gd name="T51" fmla="*/ 2147483647 h 413"/>
              <a:gd name="T52" fmla="*/ 2147483647 w 515"/>
              <a:gd name="T53" fmla="*/ 2147483647 h 413"/>
              <a:gd name="T54" fmla="*/ 2147483647 w 515"/>
              <a:gd name="T55" fmla="*/ 2147483647 h 413"/>
              <a:gd name="T56" fmla="*/ 2147483647 w 515"/>
              <a:gd name="T57" fmla="*/ 2147483647 h 413"/>
              <a:gd name="T58" fmla="*/ 2147483647 w 515"/>
              <a:gd name="T59" fmla="*/ 2147483647 h 413"/>
              <a:gd name="T60" fmla="*/ 2147483647 w 515"/>
              <a:gd name="T61" fmla="*/ 2147483647 h 413"/>
              <a:gd name="T62" fmla="*/ 2147483647 w 515"/>
              <a:gd name="T63" fmla="*/ 2147483647 h 413"/>
              <a:gd name="T64" fmla="*/ 2147483647 w 515"/>
              <a:gd name="T65" fmla="*/ 2147483647 h 413"/>
              <a:gd name="T66" fmla="*/ 2147483647 w 515"/>
              <a:gd name="T67" fmla="*/ 2147483647 h 413"/>
              <a:gd name="T68" fmla="*/ 2147483647 w 515"/>
              <a:gd name="T69" fmla="*/ 2147483647 h 413"/>
              <a:gd name="T70" fmla="*/ 2147483647 w 515"/>
              <a:gd name="T71" fmla="*/ 2147483647 h 413"/>
              <a:gd name="T72" fmla="*/ 2147483647 w 515"/>
              <a:gd name="T73" fmla="*/ 2147483647 h 413"/>
              <a:gd name="T74" fmla="*/ 2147483647 w 515"/>
              <a:gd name="T75" fmla="*/ 2147483647 h 413"/>
              <a:gd name="T76" fmla="*/ 2147483647 w 515"/>
              <a:gd name="T77" fmla="*/ 2147483647 h 413"/>
              <a:gd name="T78" fmla="*/ 2147483647 w 515"/>
              <a:gd name="T79" fmla="*/ 2147483647 h 413"/>
              <a:gd name="T80" fmla="*/ 2147483647 w 515"/>
              <a:gd name="T81" fmla="*/ 2147483647 h 413"/>
              <a:gd name="T82" fmla="*/ 2147483647 w 515"/>
              <a:gd name="T83" fmla="*/ 2147483647 h 413"/>
              <a:gd name="T84" fmla="*/ 2147483647 w 515"/>
              <a:gd name="T85" fmla="*/ 2147483647 h 413"/>
              <a:gd name="T86" fmla="*/ 2147483647 w 515"/>
              <a:gd name="T87" fmla="*/ 2147483647 h 413"/>
              <a:gd name="T88" fmla="*/ 2147483647 w 515"/>
              <a:gd name="T89" fmla="*/ 2147483647 h 413"/>
              <a:gd name="T90" fmla="*/ 2147483647 w 515"/>
              <a:gd name="T91" fmla="*/ 2147483647 h 413"/>
              <a:gd name="T92" fmla="*/ 2147483647 w 515"/>
              <a:gd name="T93" fmla="*/ 2147483647 h 413"/>
              <a:gd name="T94" fmla="*/ 2147483647 w 515"/>
              <a:gd name="T95" fmla="*/ 2147483647 h 413"/>
              <a:gd name="T96" fmla="*/ 2147483647 w 515"/>
              <a:gd name="T97" fmla="*/ 2147483647 h 413"/>
              <a:gd name="T98" fmla="*/ 2147483647 w 515"/>
              <a:gd name="T99" fmla="*/ 2147483647 h 413"/>
              <a:gd name="T100" fmla="*/ 2147483647 w 515"/>
              <a:gd name="T101" fmla="*/ 2147483647 h 413"/>
              <a:gd name="T102" fmla="*/ 2147483647 w 515"/>
              <a:gd name="T103" fmla="*/ 2147483647 h 413"/>
              <a:gd name="T104" fmla="*/ 2147483647 w 515"/>
              <a:gd name="T105" fmla="*/ 2147483647 h 413"/>
              <a:gd name="T106" fmla="*/ 2147483647 w 515"/>
              <a:gd name="T107" fmla="*/ 2147483647 h 413"/>
              <a:gd name="T108" fmla="*/ 2147483647 w 515"/>
              <a:gd name="T109" fmla="*/ 2147483647 h 413"/>
              <a:gd name="T110" fmla="*/ 2147483647 w 515"/>
              <a:gd name="T111" fmla="*/ 2147483647 h 413"/>
              <a:gd name="T112" fmla="*/ 2147483647 w 515"/>
              <a:gd name="T113" fmla="*/ 2147483647 h 413"/>
              <a:gd name="T114" fmla="*/ 2147483647 w 515"/>
              <a:gd name="T115" fmla="*/ 2147483647 h 413"/>
              <a:gd name="T116" fmla="*/ 2147483647 w 515"/>
              <a:gd name="T117" fmla="*/ 2147483647 h 413"/>
              <a:gd name="T118" fmla="*/ 2147483647 w 515"/>
              <a:gd name="T119" fmla="*/ 2147483647 h 413"/>
              <a:gd name="T120" fmla="*/ 2147483647 w 515"/>
              <a:gd name="T121" fmla="*/ 2147483647 h 413"/>
              <a:gd name="T122" fmla="*/ 2147483647 w 515"/>
              <a:gd name="T123" fmla="*/ 2147483647 h 413"/>
              <a:gd name="T124" fmla="*/ 2147483647 w 515"/>
              <a:gd name="T125" fmla="*/ 2147483647 h 41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5"/>
              <a:gd name="T190" fmla="*/ 0 h 413"/>
              <a:gd name="T191" fmla="*/ 515 w 515"/>
              <a:gd name="T192" fmla="*/ 413 h 41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5" h="413">
                <a:moveTo>
                  <a:pt x="188" y="413"/>
                </a:moveTo>
                <a:lnTo>
                  <a:pt x="141" y="413"/>
                </a:lnTo>
                <a:lnTo>
                  <a:pt x="94" y="413"/>
                </a:lnTo>
                <a:lnTo>
                  <a:pt x="47" y="413"/>
                </a:lnTo>
                <a:lnTo>
                  <a:pt x="0" y="413"/>
                </a:lnTo>
                <a:lnTo>
                  <a:pt x="3" y="405"/>
                </a:lnTo>
                <a:lnTo>
                  <a:pt x="59" y="390"/>
                </a:lnTo>
                <a:lnTo>
                  <a:pt x="78" y="372"/>
                </a:lnTo>
                <a:lnTo>
                  <a:pt x="116" y="343"/>
                </a:lnTo>
                <a:lnTo>
                  <a:pt x="130" y="323"/>
                </a:lnTo>
                <a:lnTo>
                  <a:pt x="143" y="299"/>
                </a:lnTo>
                <a:lnTo>
                  <a:pt x="142" y="283"/>
                </a:lnTo>
                <a:lnTo>
                  <a:pt x="134" y="269"/>
                </a:lnTo>
                <a:lnTo>
                  <a:pt x="138" y="233"/>
                </a:lnTo>
                <a:lnTo>
                  <a:pt x="152" y="207"/>
                </a:lnTo>
                <a:lnTo>
                  <a:pt x="162" y="201"/>
                </a:lnTo>
                <a:lnTo>
                  <a:pt x="167" y="176"/>
                </a:lnTo>
                <a:lnTo>
                  <a:pt x="198" y="137"/>
                </a:lnTo>
                <a:lnTo>
                  <a:pt x="245" y="116"/>
                </a:lnTo>
                <a:lnTo>
                  <a:pt x="272" y="94"/>
                </a:lnTo>
                <a:lnTo>
                  <a:pt x="287" y="69"/>
                </a:lnTo>
                <a:lnTo>
                  <a:pt x="308" y="9"/>
                </a:lnTo>
                <a:lnTo>
                  <a:pt x="328" y="0"/>
                </a:lnTo>
                <a:lnTo>
                  <a:pt x="346" y="26"/>
                </a:lnTo>
                <a:lnTo>
                  <a:pt x="373" y="40"/>
                </a:lnTo>
                <a:lnTo>
                  <a:pt x="431" y="32"/>
                </a:lnTo>
                <a:lnTo>
                  <a:pt x="451" y="42"/>
                </a:lnTo>
                <a:lnTo>
                  <a:pt x="456" y="42"/>
                </a:lnTo>
                <a:lnTo>
                  <a:pt x="473" y="44"/>
                </a:lnTo>
                <a:lnTo>
                  <a:pt x="470" y="47"/>
                </a:lnTo>
                <a:lnTo>
                  <a:pt x="469" y="52"/>
                </a:lnTo>
                <a:lnTo>
                  <a:pt x="483" y="59"/>
                </a:lnTo>
                <a:lnTo>
                  <a:pt x="479" y="63"/>
                </a:lnTo>
                <a:lnTo>
                  <a:pt x="485" y="71"/>
                </a:lnTo>
                <a:lnTo>
                  <a:pt x="482" y="76"/>
                </a:lnTo>
                <a:lnTo>
                  <a:pt x="487" y="93"/>
                </a:lnTo>
                <a:lnTo>
                  <a:pt x="484" y="110"/>
                </a:lnTo>
                <a:lnTo>
                  <a:pt x="491" y="120"/>
                </a:lnTo>
                <a:lnTo>
                  <a:pt x="488" y="133"/>
                </a:lnTo>
                <a:lnTo>
                  <a:pt x="493" y="149"/>
                </a:lnTo>
                <a:lnTo>
                  <a:pt x="500" y="162"/>
                </a:lnTo>
                <a:lnTo>
                  <a:pt x="515" y="173"/>
                </a:lnTo>
                <a:lnTo>
                  <a:pt x="506" y="182"/>
                </a:lnTo>
                <a:lnTo>
                  <a:pt x="508" y="193"/>
                </a:lnTo>
                <a:lnTo>
                  <a:pt x="435" y="193"/>
                </a:lnTo>
                <a:lnTo>
                  <a:pt x="431" y="208"/>
                </a:lnTo>
                <a:lnTo>
                  <a:pt x="395" y="217"/>
                </a:lnTo>
                <a:lnTo>
                  <a:pt x="393" y="226"/>
                </a:lnTo>
                <a:lnTo>
                  <a:pt x="399" y="230"/>
                </a:lnTo>
                <a:lnTo>
                  <a:pt x="394" y="242"/>
                </a:lnTo>
                <a:lnTo>
                  <a:pt x="404" y="246"/>
                </a:lnTo>
                <a:lnTo>
                  <a:pt x="403" y="252"/>
                </a:lnTo>
                <a:lnTo>
                  <a:pt x="350" y="272"/>
                </a:lnTo>
                <a:lnTo>
                  <a:pt x="332" y="295"/>
                </a:lnTo>
                <a:lnTo>
                  <a:pt x="318" y="305"/>
                </a:lnTo>
                <a:lnTo>
                  <a:pt x="277" y="309"/>
                </a:lnTo>
                <a:lnTo>
                  <a:pt x="274" y="320"/>
                </a:lnTo>
                <a:lnTo>
                  <a:pt x="253" y="317"/>
                </a:lnTo>
                <a:lnTo>
                  <a:pt x="234" y="332"/>
                </a:lnTo>
                <a:lnTo>
                  <a:pt x="224" y="333"/>
                </a:lnTo>
                <a:lnTo>
                  <a:pt x="208" y="343"/>
                </a:lnTo>
                <a:lnTo>
                  <a:pt x="188" y="359"/>
                </a:lnTo>
                <a:lnTo>
                  <a:pt x="188" y="413"/>
                </a:lnTo>
                <a:close/>
              </a:path>
            </a:pathLst>
          </a:custGeom>
          <a:solidFill>
            <a:schemeClr val="accent1"/>
          </a:solidFill>
          <a:ln w="6350">
            <a:solidFill>
              <a:schemeClr val="tx2"/>
            </a:solidFill>
            <a:round/>
            <a:headEnd/>
            <a:tailEnd/>
          </a:ln>
        </p:spPr>
        <p:txBody>
          <a:bodyPr/>
          <a:lstStyle/>
          <a:p>
            <a:endParaRPr lang="en-US"/>
          </a:p>
        </p:txBody>
      </p:sp>
      <p:sp>
        <p:nvSpPr>
          <p:cNvPr id="590" name="Freeform 1496"/>
          <p:cNvSpPr>
            <a:spLocks/>
          </p:cNvSpPr>
          <p:nvPr/>
        </p:nvSpPr>
        <p:spPr bwMode="auto">
          <a:xfrm>
            <a:off x="5449333" y="3745905"/>
            <a:ext cx="243668" cy="239447"/>
          </a:xfrm>
          <a:custGeom>
            <a:avLst/>
            <a:gdLst>
              <a:gd name="T0" fmla="*/ 2147483647 w 519"/>
              <a:gd name="T1" fmla="*/ 2147483647 h 574"/>
              <a:gd name="T2" fmla="*/ 2147483647 w 519"/>
              <a:gd name="T3" fmla="*/ 2147483647 h 574"/>
              <a:gd name="T4" fmla="*/ 2147483647 w 519"/>
              <a:gd name="T5" fmla="*/ 2147483647 h 574"/>
              <a:gd name="T6" fmla="*/ 2147483647 w 519"/>
              <a:gd name="T7" fmla="*/ 2147483647 h 574"/>
              <a:gd name="T8" fmla="*/ 2147483647 w 519"/>
              <a:gd name="T9" fmla="*/ 2147483647 h 574"/>
              <a:gd name="T10" fmla="*/ 2147483647 w 519"/>
              <a:gd name="T11" fmla="*/ 2147483647 h 574"/>
              <a:gd name="T12" fmla="*/ 2147483647 w 519"/>
              <a:gd name="T13" fmla="*/ 2147483647 h 574"/>
              <a:gd name="T14" fmla="*/ 2147483647 w 519"/>
              <a:gd name="T15" fmla="*/ 2147483647 h 574"/>
              <a:gd name="T16" fmla="*/ 2147483647 w 519"/>
              <a:gd name="T17" fmla="*/ 2147483647 h 574"/>
              <a:gd name="T18" fmla="*/ 2147483647 w 519"/>
              <a:gd name="T19" fmla="*/ 2147483647 h 574"/>
              <a:gd name="T20" fmla="*/ 2147483647 w 519"/>
              <a:gd name="T21" fmla="*/ 2147483647 h 574"/>
              <a:gd name="T22" fmla="*/ 2147483647 w 519"/>
              <a:gd name="T23" fmla="*/ 2147483647 h 574"/>
              <a:gd name="T24" fmla="*/ 2147483647 w 519"/>
              <a:gd name="T25" fmla="*/ 2147483647 h 574"/>
              <a:gd name="T26" fmla="*/ 2147483647 w 519"/>
              <a:gd name="T27" fmla="*/ 2147483647 h 574"/>
              <a:gd name="T28" fmla="*/ 2147483647 w 519"/>
              <a:gd name="T29" fmla="*/ 2147483647 h 574"/>
              <a:gd name="T30" fmla="*/ 2147483647 w 519"/>
              <a:gd name="T31" fmla="*/ 2147483647 h 574"/>
              <a:gd name="T32" fmla="*/ 2147483647 w 519"/>
              <a:gd name="T33" fmla="*/ 2147483647 h 574"/>
              <a:gd name="T34" fmla="*/ 2147483647 w 519"/>
              <a:gd name="T35" fmla="*/ 2147483647 h 574"/>
              <a:gd name="T36" fmla="*/ 0 w 519"/>
              <a:gd name="T37" fmla="*/ 2147483647 h 574"/>
              <a:gd name="T38" fmla="*/ 2147483647 w 519"/>
              <a:gd name="T39" fmla="*/ 2147483647 h 574"/>
              <a:gd name="T40" fmla="*/ 2147483647 w 519"/>
              <a:gd name="T41" fmla="*/ 2147483647 h 574"/>
              <a:gd name="T42" fmla="*/ 2147483647 w 519"/>
              <a:gd name="T43" fmla="*/ 2147483647 h 574"/>
              <a:gd name="T44" fmla="*/ 2147483647 w 519"/>
              <a:gd name="T45" fmla="*/ 2147483647 h 574"/>
              <a:gd name="T46" fmla="*/ 2147483647 w 519"/>
              <a:gd name="T47" fmla="*/ 2147483647 h 574"/>
              <a:gd name="T48" fmla="*/ 2147483647 w 519"/>
              <a:gd name="T49" fmla="*/ 2147483647 h 574"/>
              <a:gd name="T50" fmla="*/ 2147483647 w 519"/>
              <a:gd name="T51" fmla="*/ 2147483647 h 574"/>
              <a:gd name="T52" fmla="*/ 2147483647 w 519"/>
              <a:gd name="T53" fmla="*/ 2147483647 h 574"/>
              <a:gd name="T54" fmla="*/ 2147483647 w 519"/>
              <a:gd name="T55" fmla="*/ 2147483647 h 574"/>
              <a:gd name="T56" fmla="*/ 2147483647 w 519"/>
              <a:gd name="T57" fmla="*/ 2147483647 h 574"/>
              <a:gd name="T58" fmla="*/ 2147483647 w 519"/>
              <a:gd name="T59" fmla="*/ 2147483647 h 574"/>
              <a:gd name="T60" fmla="*/ 2147483647 w 519"/>
              <a:gd name="T61" fmla="*/ 2147483647 h 574"/>
              <a:gd name="T62" fmla="*/ 2147483647 w 519"/>
              <a:gd name="T63" fmla="*/ 2147483647 h 574"/>
              <a:gd name="T64" fmla="*/ 2147483647 w 519"/>
              <a:gd name="T65" fmla="*/ 2147483647 h 5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9"/>
              <a:gd name="T100" fmla="*/ 0 h 574"/>
              <a:gd name="T101" fmla="*/ 519 w 519"/>
              <a:gd name="T102" fmla="*/ 574 h 5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9" h="574">
                <a:moveTo>
                  <a:pt x="295" y="539"/>
                </a:moveTo>
                <a:lnTo>
                  <a:pt x="344" y="540"/>
                </a:lnTo>
                <a:lnTo>
                  <a:pt x="392" y="541"/>
                </a:lnTo>
                <a:lnTo>
                  <a:pt x="442" y="542"/>
                </a:lnTo>
                <a:lnTo>
                  <a:pt x="491" y="542"/>
                </a:lnTo>
                <a:lnTo>
                  <a:pt x="500" y="506"/>
                </a:lnTo>
                <a:lnTo>
                  <a:pt x="483" y="501"/>
                </a:lnTo>
                <a:lnTo>
                  <a:pt x="478" y="453"/>
                </a:lnTo>
                <a:lnTo>
                  <a:pt x="473" y="404"/>
                </a:lnTo>
                <a:lnTo>
                  <a:pt x="468" y="356"/>
                </a:lnTo>
                <a:lnTo>
                  <a:pt x="464" y="307"/>
                </a:lnTo>
                <a:lnTo>
                  <a:pt x="459" y="257"/>
                </a:lnTo>
                <a:lnTo>
                  <a:pt x="453" y="207"/>
                </a:lnTo>
                <a:lnTo>
                  <a:pt x="448" y="158"/>
                </a:lnTo>
                <a:lnTo>
                  <a:pt x="443" y="108"/>
                </a:lnTo>
                <a:lnTo>
                  <a:pt x="481" y="108"/>
                </a:lnTo>
                <a:lnTo>
                  <a:pt x="519" y="108"/>
                </a:lnTo>
                <a:lnTo>
                  <a:pt x="480" y="82"/>
                </a:lnTo>
                <a:lnTo>
                  <a:pt x="440" y="54"/>
                </a:lnTo>
                <a:lnTo>
                  <a:pt x="401" y="28"/>
                </a:lnTo>
                <a:lnTo>
                  <a:pt x="361" y="0"/>
                </a:lnTo>
                <a:lnTo>
                  <a:pt x="358" y="59"/>
                </a:lnTo>
                <a:lnTo>
                  <a:pt x="324" y="59"/>
                </a:lnTo>
                <a:lnTo>
                  <a:pt x="290" y="58"/>
                </a:lnTo>
                <a:lnTo>
                  <a:pt x="256" y="58"/>
                </a:lnTo>
                <a:lnTo>
                  <a:pt x="222" y="58"/>
                </a:lnTo>
                <a:lnTo>
                  <a:pt x="222" y="94"/>
                </a:lnTo>
                <a:lnTo>
                  <a:pt x="221" y="136"/>
                </a:lnTo>
                <a:lnTo>
                  <a:pt x="221" y="177"/>
                </a:lnTo>
                <a:lnTo>
                  <a:pt x="180" y="188"/>
                </a:lnTo>
                <a:lnTo>
                  <a:pt x="169" y="203"/>
                </a:lnTo>
                <a:lnTo>
                  <a:pt x="171" y="234"/>
                </a:lnTo>
                <a:lnTo>
                  <a:pt x="174" y="273"/>
                </a:lnTo>
                <a:lnTo>
                  <a:pt x="135" y="273"/>
                </a:lnTo>
                <a:lnTo>
                  <a:pt x="94" y="274"/>
                </a:lnTo>
                <a:lnTo>
                  <a:pt x="53" y="274"/>
                </a:lnTo>
                <a:lnTo>
                  <a:pt x="14" y="274"/>
                </a:lnTo>
                <a:lnTo>
                  <a:pt x="0" y="292"/>
                </a:lnTo>
                <a:lnTo>
                  <a:pt x="9" y="290"/>
                </a:lnTo>
                <a:lnTo>
                  <a:pt x="18" y="310"/>
                </a:lnTo>
                <a:lnTo>
                  <a:pt x="25" y="310"/>
                </a:lnTo>
                <a:lnTo>
                  <a:pt x="32" y="323"/>
                </a:lnTo>
                <a:lnTo>
                  <a:pt x="34" y="339"/>
                </a:lnTo>
                <a:lnTo>
                  <a:pt x="33" y="345"/>
                </a:lnTo>
                <a:lnTo>
                  <a:pt x="22" y="366"/>
                </a:lnTo>
                <a:lnTo>
                  <a:pt x="36" y="386"/>
                </a:lnTo>
                <a:lnTo>
                  <a:pt x="40" y="406"/>
                </a:lnTo>
                <a:lnTo>
                  <a:pt x="40" y="445"/>
                </a:lnTo>
                <a:lnTo>
                  <a:pt x="19" y="514"/>
                </a:lnTo>
                <a:lnTo>
                  <a:pt x="29" y="494"/>
                </a:lnTo>
                <a:lnTo>
                  <a:pt x="54" y="497"/>
                </a:lnTo>
                <a:lnTo>
                  <a:pt x="80" y="488"/>
                </a:lnTo>
                <a:lnTo>
                  <a:pt x="111" y="489"/>
                </a:lnTo>
                <a:lnTo>
                  <a:pt x="133" y="512"/>
                </a:lnTo>
                <a:lnTo>
                  <a:pt x="150" y="512"/>
                </a:lnTo>
                <a:lnTo>
                  <a:pt x="161" y="533"/>
                </a:lnTo>
                <a:lnTo>
                  <a:pt x="173" y="540"/>
                </a:lnTo>
                <a:lnTo>
                  <a:pt x="178" y="549"/>
                </a:lnTo>
                <a:lnTo>
                  <a:pt x="176" y="551"/>
                </a:lnTo>
                <a:lnTo>
                  <a:pt x="207" y="574"/>
                </a:lnTo>
                <a:lnTo>
                  <a:pt x="225" y="556"/>
                </a:lnTo>
                <a:lnTo>
                  <a:pt x="239" y="524"/>
                </a:lnTo>
                <a:lnTo>
                  <a:pt x="250" y="528"/>
                </a:lnTo>
                <a:lnTo>
                  <a:pt x="260" y="553"/>
                </a:lnTo>
                <a:lnTo>
                  <a:pt x="274" y="556"/>
                </a:lnTo>
                <a:lnTo>
                  <a:pt x="295" y="539"/>
                </a:lnTo>
                <a:close/>
              </a:path>
            </a:pathLst>
          </a:custGeom>
          <a:solidFill>
            <a:schemeClr val="accent1"/>
          </a:solidFill>
          <a:ln w="6350">
            <a:solidFill>
              <a:schemeClr val="tx2"/>
            </a:solidFill>
            <a:round/>
            <a:headEnd/>
            <a:tailEnd/>
          </a:ln>
        </p:spPr>
        <p:txBody>
          <a:bodyPr/>
          <a:lstStyle/>
          <a:p>
            <a:endParaRPr lang="en-US"/>
          </a:p>
        </p:txBody>
      </p:sp>
      <p:sp>
        <p:nvSpPr>
          <p:cNvPr id="591" name="Freeform 1497"/>
          <p:cNvSpPr>
            <a:spLocks/>
          </p:cNvSpPr>
          <p:nvPr/>
        </p:nvSpPr>
        <p:spPr bwMode="auto">
          <a:xfrm>
            <a:off x="5449333" y="3735717"/>
            <a:ext cx="169135" cy="131187"/>
          </a:xfrm>
          <a:custGeom>
            <a:avLst/>
            <a:gdLst>
              <a:gd name="T0" fmla="*/ 2147483647 w 361"/>
              <a:gd name="T1" fmla="*/ 2147483647 h 314"/>
              <a:gd name="T2" fmla="*/ 2147483647 w 361"/>
              <a:gd name="T3" fmla="*/ 2147483647 h 314"/>
              <a:gd name="T4" fmla="*/ 2147483647 w 361"/>
              <a:gd name="T5" fmla="*/ 2147483647 h 314"/>
              <a:gd name="T6" fmla="*/ 2147483647 w 361"/>
              <a:gd name="T7" fmla="*/ 2147483647 h 314"/>
              <a:gd name="T8" fmla="*/ 2147483647 w 361"/>
              <a:gd name="T9" fmla="*/ 2147483647 h 314"/>
              <a:gd name="T10" fmla="*/ 2147483647 w 361"/>
              <a:gd name="T11" fmla="*/ 2147483647 h 314"/>
              <a:gd name="T12" fmla="*/ 2147483647 w 361"/>
              <a:gd name="T13" fmla="*/ 2147483647 h 314"/>
              <a:gd name="T14" fmla="*/ 2147483647 w 361"/>
              <a:gd name="T15" fmla="*/ 2147483647 h 314"/>
              <a:gd name="T16" fmla="*/ 2147483647 w 361"/>
              <a:gd name="T17" fmla="*/ 2147483647 h 314"/>
              <a:gd name="T18" fmla="*/ 2147483647 w 361"/>
              <a:gd name="T19" fmla="*/ 2147483647 h 314"/>
              <a:gd name="T20" fmla="*/ 2147483647 w 361"/>
              <a:gd name="T21" fmla="*/ 2147483647 h 314"/>
              <a:gd name="T22" fmla="*/ 2147483647 w 361"/>
              <a:gd name="T23" fmla="*/ 2147483647 h 314"/>
              <a:gd name="T24" fmla="*/ 2147483647 w 361"/>
              <a:gd name="T25" fmla="*/ 2147483647 h 314"/>
              <a:gd name="T26" fmla="*/ 2147483647 w 361"/>
              <a:gd name="T27" fmla="*/ 2147483647 h 314"/>
              <a:gd name="T28" fmla="*/ 2147483647 w 361"/>
              <a:gd name="T29" fmla="*/ 2147483647 h 314"/>
              <a:gd name="T30" fmla="*/ 2147483647 w 361"/>
              <a:gd name="T31" fmla="*/ 2147483647 h 314"/>
              <a:gd name="T32" fmla="*/ 0 w 361"/>
              <a:gd name="T33" fmla="*/ 2147483647 h 314"/>
              <a:gd name="T34" fmla="*/ 2147483647 w 361"/>
              <a:gd name="T35" fmla="*/ 2147483647 h 314"/>
              <a:gd name="T36" fmla="*/ 2147483647 w 361"/>
              <a:gd name="T37" fmla="*/ 2147483647 h 314"/>
              <a:gd name="T38" fmla="*/ 2147483647 w 361"/>
              <a:gd name="T39" fmla="*/ 2147483647 h 314"/>
              <a:gd name="T40" fmla="*/ 2147483647 w 361"/>
              <a:gd name="T41" fmla="*/ 2147483647 h 314"/>
              <a:gd name="T42" fmla="*/ 2147483647 w 361"/>
              <a:gd name="T43" fmla="*/ 2147483647 h 314"/>
              <a:gd name="T44" fmla="*/ 2147483647 w 361"/>
              <a:gd name="T45" fmla="*/ 2147483647 h 314"/>
              <a:gd name="T46" fmla="*/ 2147483647 w 361"/>
              <a:gd name="T47" fmla="*/ 2147483647 h 314"/>
              <a:gd name="T48" fmla="*/ 2147483647 w 361"/>
              <a:gd name="T49" fmla="*/ 2147483647 h 314"/>
              <a:gd name="T50" fmla="*/ 2147483647 w 361"/>
              <a:gd name="T51" fmla="*/ 2147483647 h 314"/>
              <a:gd name="T52" fmla="*/ 2147483647 w 361"/>
              <a:gd name="T53" fmla="*/ 2147483647 h 314"/>
              <a:gd name="T54" fmla="*/ 2147483647 w 361"/>
              <a:gd name="T55" fmla="*/ 2147483647 h 314"/>
              <a:gd name="T56" fmla="*/ 2147483647 w 361"/>
              <a:gd name="T57" fmla="*/ 0 h 314"/>
              <a:gd name="T58" fmla="*/ 2147483647 w 361"/>
              <a:gd name="T59" fmla="*/ 0 h 314"/>
              <a:gd name="T60" fmla="*/ 2147483647 w 361"/>
              <a:gd name="T61" fmla="*/ 0 h 314"/>
              <a:gd name="T62" fmla="*/ 2147483647 w 361"/>
              <a:gd name="T63" fmla="*/ 0 h 314"/>
              <a:gd name="T64" fmla="*/ 2147483647 w 361"/>
              <a:gd name="T65" fmla="*/ 0 h 314"/>
              <a:gd name="T66" fmla="*/ 2147483647 w 361"/>
              <a:gd name="T67" fmla="*/ 2147483647 h 314"/>
              <a:gd name="T68" fmla="*/ 2147483647 w 361"/>
              <a:gd name="T69" fmla="*/ 2147483647 h 3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1"/>
              <a:gd name="T106" fmla="*/ 0 h 314"/>
              <a:gd name="T107" fmla="*/ 361 w 361"/>
              <a:gd name="T108" fmla="*/ 314 h 3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1" h="314">
                <a:moveTo>
                  <a:pt x="358" y="81"/>
                </a:moveTo>
                <a:lnTo>
                  <a:pt x="324" y="81"/>
                </a:lnTo>
                <a:lnTo>
                  <a:pt x="290" y="80"/>
                </a:lnTo>
                <a:lnTo>
                  <a:pt x="256" y="80"/>
                </a:lnTo>
                <a:lnTo>
                  <a:pt x="222" y="80"/>
                </a:lnTo>
                <a:lnTo>
                  <a:pt x="222" y="116"/>
                </a:lnTo>
                <a:lnTo>
                  <a:pt x="221" y="158"/>
                </a:lnTo>
                <a:lnTo>
                  <a:pt x="221" y="199"/>
                </a:lnTo>
                <a:lnTo>
                  <a:pt x="180" y="210"/>
                </a:lnTo>
                <a:lnTo>
                  <a:pt x="169" y="225"/>
                </a:lnTo>
                <a:lnTo>
                  <a:pt x="171" y="256"/>
                </a:lnTo>
                <a:lnTo>
                  <a:pt x="174" y="295"/>
                </a:lnTo>
                <a:lnTo>
                  <a:pt x="135" y="295"/>
                </a:lnTo>
                <a:lnTo>
                  <a:pt x="94" y="296"/>
                </a:lnTo>
                <a:lnTo>
                  <a:pt x="53" y="296"/>
                </a:lnTo>
                <a:lnTo>
                  <a:pt x="14" y="296"/>
                </a:lnTo>
                <a:lnTo>
                  <a:pt x="0" y="314"/>
                </a:lnTo>
                <a:lnTo>
                  <a:pt x="4" y="278"/>
                </a:lnTo>
                <a:lnTo>
                  <a:pt x="13" y="258"/>
                </a:lnTo>
                <a:lnTo>
                  <a:pt x="22" y="254"/>
                </a:lnTo>
                <a:lnTo>
                  <a:pt x="38" y="222"/>
                </a:lnTo>
                <a:lnTo>
                  <a:pt x="36" y="215"/>
                </a:lnTo>
                <a:lnTo>
                  <a:pt x="57" y="179"/>
                </a:lnTo>
                <a:lnTo>
                  <a:pt x="95" y="128"/>
                </a:lnTo>
                <a:lnTo>
                  <a:pt x="109" y="78"/>
                </a:lnTo>
                <a:lnTo>
                  <a:pt x="121" y="62"/>
                </a:lnTo>
                <a:lnTo>
                  <a:pt x="150" y="45"/>
                </a:lnTo>
                <a:lnTo>
                  <a:pt x="158" y="27"/>
                </a:lnTo>
                <a:lnTo>
                  <a:pt x="172" y="0"/>
                </a:lnTo>
                <a:lnTo>
                  <a:pt x="219" y="0"/>
                </a:lnTo>
                <a:lnTo>
                  <a:pt x="266" y="0"/>
                </a:lnTo>
                <a:lnTo>
                  <a:pt x="313" y="0"/>
                </a:lnTo>
                <a:lnTo>
                  <a:pt x="360" y="0"/>
                </a:lnTo>
                <a:lnTo>
                  <a:pt x="361" y="22"/>
                </a:lnTo>
                <a:lnTo>
                  <a:pt x="358" y="81"/>
                </a:lnTo>
                <a:close/>
              </a:path>
            </a:pathLst>
          </a:custGeom>
          <a:solidFill>
            <a:schemeClr val="accent1"/>
          </a:solidFill>
          <a:ln w="6350">
            <a:solidFill>
              <a:schemeClr val="tx2"/>
            </a:solidFill>
            <a:round/>
            <a:headEnd/>
            <a:tailEnd/>
          </a:ln>
        </p:spPr>
        <p:txBody>
          <a:bodyPr/>
          <a:lstStyle/>
          <a:p>
            <a:endParaRPr lang="en-US"/>
          </a:p>
        </p:txBody>
      </p:sp>
      <p:sp>
        <p:nvSpPr>
          <p:cNvPr id="592" name="Freeform 1498"/>
          <p:cNvSpPr>
            <a:spLocks/>
          </p:cNvSpPr>
          <p:nvPr/>
        </p:nvSpPr>
        <p:spPr bwMode="auto">
          <a:xfrm>
            <a:off x="5618468" y="3537027"/>
            <a:ext cx="409934" cy="369361"/>
          </a:xfrm>
          <a:custGeom>
            <a:avLst/>
            <a:gdLst>
              <a:gd name="T0" fmla="*/ 2147483647 w 873"/>
              <a:gd name="T1" fmla="*/ 2147483647 h 885"/>
              <a:gd name="T2" fmla="*/ 2147483647 w 873"/>
              <a:gd name="T3" fmla="*/ 2147483647 h 885"/>
              <a:gd name="T4" fmla="*/ 2147483647 w 873"/>
              <a:gd name="T5" fmla="*/ 2147483647 h 885"/>
              <a:gd name="T6" fmla="*/ 2147483647 w 873"/>
              <a:gd name="T7" fmla="*/ 2147483647 h 885"/>
              <a:gd name="T8" fmla="*/ 2147483647 w 873"/>
              <a:gd name="T9" fmla="*/ 2147483647 h 885"/>
              <a:gd name="T10" fmla="*/ 2147483647 w 873"/>
              <a:gd name="T11" fmla="*/ 2147483647 h 885"/>
              <a:gd name="T12" fmla="*/ 2147483647 w 873"/>
              <a:gd name="T13" fmla="*/ 2147483647 h 885"/>
              <a:gd name="T14" fmla="*/ 2147483647 w 873"/>
              <a:gd name="T15" fmla="*/ 2147483647 h 885"/>
              <a:gd name="T16" fmla="*/ 2147483647 w 873"/>
              <a:gd name="T17" fmla="*/ 2147483647 h 885"/>
              <a:gd name="T18" fmla="*/ 2147483647 w 873"/>
              <a:gd name="T19" fmla="*/ 2147483647 h 885"/>
              <a:gd name="T20" fmla="*/ 2147483647 w 873"/>
              <a:gd name="T21" fmla="*/ 2147483647 h 885"/>
              <a:gd name="T22" fmla="*/ 2147483647 w 873"/>
              <a:gd name="T23" fmla="*/ 2147483647 h 885"/>
              <a:gd name="T24" fmla="*/ 2147483647 w 873"/>
              <a:gd name="T25" fmla="*/ 2147483647 h 885"/>
              <a:gd name="T26" fmla="*/ 2147483647 w 873"/>
              <a:gd name="T27" fmla="*/ 2147483647 h 885"/>
              <a:gd name="T28" fmla="*/ 2147483647 w 873"/>
              <a:gd name="T29" fmla="*/ 2147483647 h 885"/>
              <a:gd name="T30" fmla="*/ 2147483647 w 873"/>
              <a:gd name="T31" fmla="*/ 2147483647 h 885"/>
              <a:gd name="T32" fmla="*/ 2147483647 w 873"/>
              <a:gd name="T33" fmla="*/ 2147483647 h 885"/>
              <a:gd name="T34" fmla="*/ 2147483647 w 873"/>
              <a:gd name="T35" fmla="*/ 2147483647 h 885"/>
              <a:gd name="T36" fmla="*/ 2147483647 w 873"/>
              <a:gd name="T37" fmla="*/ 2147483647 h 885"/>
              <a:gd name="T38" fmla="*/ 2147483647 w 873"/>
              <a:gd name="T39" fmla="*/ 2147483647 h 885"/>
              <a:gd name="T40" fmla="*/ 2147483647 w 873"/>
              <a:gd name="T41" fmla="*/ 2147483647 h 885"/>
              <a:gd name="T42" fmla="*/ 2147483647 w 873"/>
              <a:gd name="T43" fmla="*/ 2147483647 h 885"/>
              <a:gd name="T44" fmla="*/ 2147483647 w 873"/>
              <a:gd name="T45" fmla="*/ 2147483647 h 885"/>
              <a:gd name="T46" fmla="*/ 2147483647 w 873"/>
              <a:gd name="T47" fmla="*/ 2147483647 h 885"/>
              <a:gd name="T48" fmla="*/ 2147483647 w 873"/>
              <a:gd name="T49" fmla="*/ 2147483647 h 885"/>
              <a:gd name="T50" fmla="*/ 2147483647 w 873"/>
              <a:gd name="T51" fmla="*/ 2147483647 h 885"/>
              <a:gd name="T52" fmla="*/ 2147483647 w 873"/>
              <a:gd name="T53" fmla="*/ 2147483647 h 885"/>
              <a:gd name="T54" fmla="*/ 2147483647 w 873"/>
              <a:gd name="T55" fmla="*/ 2147483647 h 885"/>
              <a:gd name="T56" fmla="*/ 2147483647 w 873"/>
              <a:gd name="T57" fmla="*/ 2147483647 h 885"/>
              <a:gd name="T58" fmla="*/ 2147483647 w 873"/>
              <a:gd name="T59" fmla="*/ 2147483647 h 885"/>
              <a:gd name="T60" fmla="*/ 2147483647 w 873"/>
              <a:gd name="T61" fmla="*/ 2147483647 h 885"/>
              <a:gd name="T62" fmla="*/ 2147483647 w 873"/>
              <a:gd name="T63" fmla="*/ 2147483647 h 885"/>
              <a:gd name="T64" fmla="*/ 2147483647 w 873"/>
              <a:gd name="T65" fmla="*/ 0 h 885"/>
              <a:gd name="T66" fmla="*/ 2147483647 w 873"/>
              <a:gd name="T67" fmla="*/ 2147483647 h 885"/>
              <a:gd name="T68" fmla="*/ 2147483647 w 873"/>
              <a:gd name="T69" fmla="*/ 2147483647 h 885"/>
              <a:gd name="T70" fmla="*/ 2147483647 w 873"/>
              <a:gd name="T71" fmla="*/ 2147483647 h 885"/>
              <a:gd name="T72" fmla="*/ 2147483647 w 873"/>
              <a:gd name="T73" fmla="*/ 2147483647 h 885"/>
              <a:gd name="T74" fmla="*/ 2147483647 w 873"/>
              <a:gd name="T75" fmla="*/ 2147483647 h 885"/>
              <a:gd name="T76" fmla="*/ 2147483647 w 873"/>
              <a:gd name="T77" fmla="*/ 2147483647 h 885"/>
              <a:gd name="T78" fmla="*/ 2147483647 w 873"/>
              <a:gd name="T79" fmla="*/ 2147483647 h 885"/>
              <a:gd name="T80" fmla="*/ 2147483647 w 873"/>
              <a:gd name="T81" fmla="*/ 2147483647 h 885"/>
              <a:gd name="T82" fmla="*/ 2147483647 w 873"/>
              <a:gd name="T83" fmla="*/ 2147483647 h 885"/>
              <a:gd name="T84" fmla="*/ 2147483647 w 873"/>
              <a:gd name="T85" fmla="*/ 2147483647 h 885"/>
              <a:gd name="T86" fmla="*/ 2147483647 w 873"/>
              <a:gd name="T87" fmla="*/ 2147483647 h 885"/>
              <a:gd name="T88" fmla="*/ 2147483647 w 873"/>
              <a:gd name="T89" fmla="*/ 2147483647 h 885"/>
              <a:gd name="T90" fmla="*/ 2147483647 w 873"/>
              <a:gd name="T91" fmla="*/ 2147483647 h 885"/>
              <a:gd name="T92" fmla="*/ 2147483647 w 873"/>
              <a:gd name="T93" fmla="*/ 2147483647 h 885"/>
              <a:gd name="T94" fmla="*/ 2147483647 w 873"/>
              <a:gd name="T95" fmla="*/ 2147483647 h 885"/>
              <a:gd name="T96" fmla="*/ 2147483647 w 873"/>
              <a:gd name="T97" fmla="*/ 2147483647 h 885"/>
              <a:gd name="T98" fmla="*/ 2147483647 w 873"/>
              <a:gd name="T99" fmla="*/ 2147483647 h 885"/>
              <a:gd name="T100" fmla="*/ 2147483647 w 873"/>
              <a:gd name="T101" fmla="*/ 2147483647 h 885"/>
              <a:gd name="T102" fmla="*/ 2147483647 w 873"/>
              <a:gd name="T103" fmla="*/ 2147483647 h 885"/>
              <a:gd name="T104" fmla="*/ 2147483647 w 873"/>
              <a:gd name="T105" fmla="*/ 2147483647 h 885"/>
              <a:gd name="T106" fmla="*/ 2147483647 w 873"/>
              <a:gd name="T107" fmla="*/ 2147483647 h 885"/>
              <a:gd name="T108" fmla="*/ 2147483647 w 873"/>
              <a:gd name="T109" fmla="*/ 2147483647 h 885"/>
              <a:gd name="T110" fmla="*/ 2147483647 w 873"/>
              <a:gd name="T111" fmla="*/ 2147483647 h 885"/>
              <a:gd name="T112" fmla="*/ 0 w 873"/>
              <a:gd name="T113" fmla="*/ 2147483647 h 8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73"/>
              <a:gd name="T172" fmla="*/ 0 h 885"/>
              <a:gd name="T173" fmla="*/ 873 w 873"/>
              <a:gd name="T174" fmla="*/ 885 h 88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73" h="885">
                <a:moveTo>
                  <a:pt x="1" y="499"/>
                </a:moveTo>
                <a:lnTo>
                  <a:pt x="41" y="527"/>
                </a:lnTo>
                <a:lnTo>
                  <a:pt x="80" y="553"/>
                </a:lnTo>
                <a:lnTo>
                  <a:pt x="120" y="581"/>
                </a:lnTo>
                <a:lnTo>
                  <a:pt x="159" y="607"/>
                </a:lnTo>
                <a:lnTo>
                  <a:pt x="192" y="629"/>
                </a:lnTo>
                <a:lnTo>
                  <a:pt x="224" y="652"/>
                </a:lnTo>
                <a:lnTo>
                  <a:pt x="256" y="674"/>
                </a:lnTo>
                <a:lnTo>
                  <a:pt x="287" y="695"/>
                </a:lnTo>
                <a:lnTo>
                  <a:pt x="320" y="718"/>
                </a:lnTo>
                <a:lnTo>
                  <a:pt x="351" y="740"/>
                </a:lnTo>
                <a:lnTo>
                  <a:pt x="383" y="761"/>
                </a:lnTo>
                <a:lnTo>
                  <a:pt x="415" y="782"/>
                </a:lnTo>
                <a:lnTo>
                  <a:pt x="418" y="799"/>
                </a:lnTo>
                <a:lnTo>
                  <a:pt x="438" y="808"/>
                </a:lnTo>
                <a:lnTo>
                  <a:pt x="448" y="822"/>
                </a:lnTo>
                <a:lnTo>
                  <a:pt x="466" y="825"/>
                </a:lnTo>
                <a:lnTo>
                  <a:pt x="473" y="834"/>
                </a:lnTo>
                <a:lnTo>
                  <a:pt x="505" y="844"/>
                </a:lnTo>
                <a:lnTo>
                  <a:pt x="509" y="862"/>
                </a:lnTo>
                <a:lnTo>
                  <a:pt x="504" y="878"/>
                </a:lnTo>
                <a:lnTo>
                  <a:pt x="511" y="885"/>
                </a:lnTo>
                <a:lnTo>
                  <a:pt x="545" y="877"/>
                </a:lnTo>
                <a:lnTo>
                  <a:pt x="579" y="868"/>
                </a:lnTo>
                <a:lnTo>
                  <a:pt x="612" y="860"/>
                </a:lnTo>
                <a:lnTo>
                  <a:pt x="637" y="841"/>
                </a:lnTo>
                <a:lnTo>
                  <a:pt x="660" y="823"/>
                </a:lnTo>
                <a:lnTo>
                  <a:pt x="685" y="805"/>
                </a:lnTo>
                <a:lnTo>
                  <a:pt x="709" y="787"/>
                </a:lnTo>
                <a:lnTo>
                  <a:pt x="730" y="772"/>
                </a:lnTo>
                <a:lnTo>
                  <a:pt x="751" y="759"/>
                </a:lnTo>
                <a:lnTo>
                  <a:pt x="771" y="746"/>
                </a:lnTo>
                <a:lnTo>
                  <a:pt x="791" y="732"/>
                </a:lnTo>
                <a:lnTo>
                  <a:pt x="813" y="719"/>
                </a:lnTo>
                <a:lnTo>
                  <a:pt x="833" y="704"/>
                </a:lnTo>
                <a:lnTo>
                  <a:pt x="853" y="691"/>
                </a:lnTo>
                <a:lnTo>
                  <a:pt x="873" y="677"/>
                </a:lnTo>
                <a:lnTo>
                  <a:pt x="855" y="638"/>
                </a:lnTo>
                <a:lnTo>
                  <a:pt x="832" y="628"/>
                </a:lnTo>
                <a:lnTo>
                  <a:pt x="808" y="627"/>
                </a:lnTo>
                <a:lnTo>
                  <a:pt x="797" y="615"/>
                </a:lnTo>
                <a:lnTo>
                  <a:pt x="794" y="591"/>
                </a:lnTo>
                <a:lnTo>
                  <a:pt x="768" y="551"/>
                </a:lnTo>
                <a:lnTo>
                  <a:pt x="769" y="544"/>
                </a:lnTo>
                <a:lnTo>
                  <a:pt x="784" y="537"/>
                </a:lnTo>
                <a:lnTo>
                  <a:pt x="788" y="476"/>
                </a:lnTo>
                <a:lnTo>
                  <a:pt x="781" y="399"/>
                </a:lnTo>
                <a:lnTo>
                  <a:pt x="764" y="372"/>
                </a:lnTo>
                <a:lnTo>
                  <a:pt x="765" y="358"/>
                </a:lnTo>
                <a:lnTo>
                  <a:pt x="773" y="351"/>
                </a:lnTo>
                <a:lnTo>
                  <a:pt x="758" y="262"/>
                </a:lnTo>
                <a:lnTo>
                  <a:pt x="722" y="242"/>
                </a:lnTo>
                <a:lnTo>
                  <a:pt x="722" y="228"/>
                </a:lnTo>
                <a:lnTo>
                  <a:pt x="714" y="211"/>
                </a:lnTo>
                <a:lnTo>
                  <a:pt x="696" y="201"/>
                </a:lnTo>
                <a:lnTo>
                  <a:pt x="686" y="166"/>
                </a:lnTo>
                <a:lnTo>
                  <a:pt x="725" y="133"/>
                </a:lnTo>
                <a:lnTo>
                  <a:pt x="733" y="103"/>
                </a:lnTo>
                <a:lnTo>
                  <a:pt x="727" y="68"/>
                </a:lnTo>
                <a:lnTo>
                  <a:pt x="732" y="36"/>
                </a:lnTo>
                <a:lnTo>
                  <a:pt x="725" y="31"/>
                </a:lnTo>
                <a:lnTo>
                  <a:pt x="744" y="8"/>
                </a:lnTo>
                <a:lnTo>
                  <a:pt x="707" y="13"/>
                </a:lnTo>
                <a:lnTo>
                  <a:pt x="684" y="1"/>
                </a:lnTo>
                <a:lnTo>
                  <a:pt x="670" y="11"/>
                </a:lnTo>
                <a:lnTo>
                  <a:pt x="643" y="0"/>
                </a:lnTo>
                <a:lnTo>
                  <a:pt x="637" y="9"/>
                </a:lnTo>
                <a:lnTo>
                  <a:pt x="599" y="22"/>
                </a:lnTo>
                <a:lnTo>
                  <a:pt x="584" y="13"/>
                </a:lnTo>
                <a:lnTo>
                  <a:pt x="540" y="11"/>
                </a:lnTo>
                <a:lnTo>
                  <a:pt x="521" y="19"/>
                </a:lnTo>
                <a:lnTo>
                  <a:pt x="502" y="16"/>
                </a:lnTo>
                <a:lnTo>
                  <a:pt x="487" y="27"/>
                </a:lnTo>
                <a:lnTo>
                  <a:pt x="427" y="32"/>
                </a:lnTo>
                <a:lnTo>
                  <a:pt x="385" y="51"/>
                </a:lnTo>
                <a:lnTo>
                  <a:pt x="381" y="57"/>
                </a:lnTo>
                <a:lnTo>
                  <a:pt x="375" y="64"/>
                </a:lnTo>
                <a:lnTo>
                  <a:pt x="336" y="72"/>
                </a:lnTo>
                <a:lnTo>
                  <a:pt x="314" y="96"/>
                </a:lnTo>
                <a:lnTo>
                  <a:pt x="285" y="108"/>
                </a:lnTo>
                <a:lnTo>
                  <a:pt x="282" y="111"/>
                </a:lnTo>
                <a:lnTo>
                  <a:pt x="281" y="116"/>
                </a:lnTo>
                <a:lnTo>
                  <a:pt x="295" y="123"/>
                </a:lnTo>
                <a:lnTo>
                  <a:pt x="291" y="127"/>
                </a:lnTo>
                <a:lnTo>
                  <a:pt x="297" y="135"/>
                </a:lnTo>
                <a:lnTo>
                  <a:pt x="294" y="140"/>
                </a:lnTo>
                <a:lnTo>
                  <a:pt x="299" y="157"/>
                </a:lnTo>
                <a:lnTo>
                  <a:pt x="296" y="174"/>
                </a:lnTo>
                <a:lnTo>
                  <a:pt x="303" y="184"/>
                </a:lnTo>
                <a:lnTo>
                  <a:pt x="300" y="197"/>
                </a:lnTo>
                <a:lnTo>
                  <a:pt x="305" y="213"/>
                </a:lnTo>
                <a:lnTo>
                  <a:pt x="312" y="226"/>
                </a:lnTo>
                <a:lnTo>
                  <a:pt x="327" y="237"/>
                </a:lnTo>
                <a:lnTo>
                  <a:pt x="318" y="246"/>
                </a:lnTo>
                <a:lnTo>
                  <a:pt x="320" y="257"/>
                </a:lnTo>
                <a:lnTo>
                  <a:pt x="247" y="257"/>
                </a:lnTo>
                <a:lnTo>
                  <a:pt x="243" y="272"/>
                </a:lnTo>
                <a:lnTo>
                  <a:pt x="207" y="281"/>
                </a:lnTo>
                <a:lnTo>
                  <a:pt x="205" y="290"/>
                </a:lnTo>
                <a:lnTo>
                  <a:pt x="211" y="294"/>
                </a:lnTo>
                <a:lnTo>
                  <a:pt x="206" y="306"/>
                </a:lnTo>
                <a:lnTo>
                  <a:pt x="216" y="310"/>
                </a:lnTo>
                <a:lnTo>
                  <a:pt x="215" y="316"/>
                </a:lnTo>
                <a:lnTo>
                  <a:pt x="162" y="336"/>
                </a:lnTo>
                <a:lnTo>
                  <a:pt x="144" y="359"/>
                </a:lnTo>
                <a:lnTo>
                  <a:pt x="130" y="369"/>
                </a:lnTo>
                <a:lnTo>
                  <a:pt x="89" y="373"/>
                </a:lnTo>
                <a:lnTo>
                  <a:pt x="86" y="384"/>
                </a:lnTo>
                <a:lnTo>
                  <a:pt x="65" y="381"/>
                </a:lnTo>
                <a:lnTo>
                  <a:pt x="46" y="396"/>
                </a:lnTo>
                <a:lnTo>
                  <a:pt x="36" y="397"/>
                </a:lnTo>
                <a:lnTo>
                  <a:pt x="20" y="407"/>
                </a:lnTo>
                <a:lnTo>
                  <a:pt x="0" y="423"/>
                </a:lnTo>
                <a:lnTo>
                  <a:pt x="0" y="477"/>
                </a:lnTo>
                <a:lnTo>
                  <a:pt x="1" y="499"/>
                </a:lnTo>
                <a:close/>
              </a:path>
            </a:pathLst>
          </a:custGeom>
          <a:solidFill>
            <a:schemeClr val="accent1"/>
          </a:solidFill>
          <a:ln w="6350">
            <a:solidFill>
              <a:schemeClr val="tx2"/>
            </a:solidFill>
            <a:round/>
            <a:headEnd/>
            <a:tailEnd/>
          </a:ln>
        </p:spPr>
        <p:txBody>
          <a:bodyPr/>
          <a:lstStyle/>
          <a:p>
            <a:endParaRPr lang="en-US"/>
          </a:p>
        </p:txBody>
      </p:sp>
      <p:sp>
        <p:nvSpPr>
          <p:cNvPr id="593" name="Freeform 1499"/>
          <p:cNvSpPr>
            <a:spLocks/>
          </p:cNvSpPr>
          <p:nvPr/>
        </p:nvSpPr>
        <p:spPr bwMode="auto">
          <a:xfrm>
            <a:off x="5546802" y="3791758"/>
            <a:ext cx="326801" cy="277657"/>
          </a:xfrm>
          <a:custGeom>
            <a:avLst/>
            <a:gdLst>
              <a:gd name="T0" fmla="*/ 2147483647 w 700"/>
              <a:gd name="T1" fmla="*/ 2147483647 h 666"/>
              <a:gd name="T2" fmla="*/ 2147483647 w 700"/>
              <a:gd name="T3" fmla="*/ 2147483647 h 666"/>
              <a:gd name="T4" fmla="*/ 2147483647 w 700"/>
              <a:gd name="T5" fmla="*/ 2147483647 h 666"/>
              <a:gd name="T6" fmla="*/ 2147483647 w 700"/>
              <a:gd name="T7" fmla="*/ 2147483647 h 666"/>
              <a:gd name="T8" fmla="*/ 2147483647 w 700"/>
              <a:gd name="T9" fmla="*/ 2147483647 h 666"/>
              <a:gd name="T10" fmla="*/ 2147483647 w 700"/>
              <a:gd name="T11" fmla="*/ 2147483647 h 666"/>
              <a:gd name="T12" fmla="*/ 2147483647 w 700"/>
              <a:gd name="T13" fmla="*/ 2147483647 h 666"/>
              <a:gd name="T14" fmla="*/ 2147483647 w 700"/>
              <a:gd name="T15" fmla="*/ 0 h 666"/>
              <a:gd name="T16" fmla="*/ 2147483647 w 700"/>
              <a:gd name="T17" fmla="*/ 2147483647 h 666"/>
              <a:gd name="T18" fmla="*/ 2147483647 w 700"/>
              <a:gd name="T19" fmla="*/ 2147483647 h 666"/>
              <a:gd name="T20" fmla="*/ 2147483647 w 700"/>
              <a:gd name="T21" fmla="*/ 2147483647 h 666"/>
              <a:gd name="T22" fmla="*/ 2147483647 w 700"/>
              <a:gd name="T23" fmla="*/ 2147483647 h 666"/>
              <a:gd name="T24" fmla="*/ 2147483647 w 700"/>
              <a:gd name="T25" fmla="*/ 2147483647 h 666"/>
              <a:gd name="T26" fmla="*/ 2147483647 w 700"/>
              <a:gd name="T27" fmla="*/ 2147483647 h 666"/>
              <a:gd name="T28" fmla="*/ 2147483647 w 700"/>
              <a:gd name="T29" fmla="*/ 2147483647 h 666"/>
              <a:gd name="T30" fmla="*/ 2147483647 w 700"/>
              <a:gd name="T31" fmla="*/ 2147483647 h 666"/>
              <a:gd name="T32" fmla="*/ 2147483647 w 700"/>
              <a:gd name="T33" fmla="*/ 2147483647 h 666"/>
              <a:gd name="T34" fmla="*/ 2147483647 w 700"/>
              <a:gd name="T35" fmla="*/ 2147483647 h 666"/>
              <a:gd name="T36" fmla="*/ 2147483647 w 700"/>
              <a:gd name="T37" fmla="*/ 2147483647 h 666"/>
              <a:gd name="T38" fmla="*/ 2147483647 w 700"/>
              <a:gd name="T39" fmla="*/ 2147483647 h 666"/>
              <a:gd name="T40" fmla="*/ 2147483647 w 700"/>
              <a:gd name="T41" fmla="*/ 2147483647 h 666"/>
              <a:gd name="T42" fmla="*/ 2147483647 w 700"/>
              <a:gd name="T43" fmla="*/ 2147483647 h 666"/>
              <a:gd name="T44" fmla="*/ 2147483647 w 700"/>
              <a:gd name="T45" fmla="*/ 2147483647 h 666"/>
              <a:gd name="T46" fmla="*/ 2147483647 w 700"/>
              <a:gd name="T47" fmla="*/ 2147483647 h 666"/>
              <a:gd name="T48" fmla="*/ 2147483647 w 700"/>
              <a:gd name="T49" fmla="*/ 2147483647 h 666"/>
              <a:gd name="T50" fmla="*/ 2147483647 w 700"/>
              <a:gd name="T51" fmla="*/ 2147483647 h 666"/>
              <a:gd name="T52" fmla="*/ 2147483647 w 700"/>
              <a:gd name="T53" fmla="*/ 2147483647 h 666"/>
              <a:gd name="T54" fmla="*/ 2147483647 w 700"/>
              <a:gd name="T55" fmla="*/ 2147483647 h 666"/>
              <a:gd name="T56" fmla="*/ 2147483647 w 700"/>
              <a:gd name="T57" fmla="*/ 2147483647 h 666"/>
              <a:gd name="T58" fmla="*/ 2147483647 w 700"/>
              <a:gd name="T59" fmla="*/ 2147483647 h 666"/>
              <a:gd name="T60" fmla="*/ 2147483647 w 700"/>
              <a:gd name="T61" fmla="*/ 2147483647 h 666"/>
              <a:gd name="T62" fmla="*/ 2147483647 w 700"/>
              <a:gd name="T63" fmla="*/ 2147483647 h 666"/>
              <a:gd name="T64" fmla="*/ 2147483647 w 700"/>
              <a:gd name="T65" fmla="*/ 2147483647 h 666"/>
              <a:gd name="T66" fmla="*/ 2147483647 w 700"/>
              <a:gd name="T67" fmla="*/ 2147483647 h 666"/>
              <a:gd name="T68" fmla="*/ 2147483647 w 700"/>
              <a:gd name="T69" fmla="*/ 2147483647 h 666"/>
              <a:gd name="T70" fmla="*/ 2147483647 w 700"/>
              <a:gd name="T71" fmla="*/ 2147483647 h 666"/>
              <a:gd name="T72" fmla="*/ 2147483647 w 700"/>
              <a:gd name="T73" fmla="*/ 2147483647 h 666"/>
              <a:gd name="T74" fmla="*/ 2147483647 w 700"/>
              <a:gd name="T75" fmla="*/ 2147483647 h 666"/>
              <a:gd name="T76" fmla="*/ 2147483647 w 700"/>
              <a:gd name="T77" fmla="*/ 2147483647 h 666"/>
              <a:gd name="T78" fmla="*/ 2147483647 w 700"/>
              <a:gd name="T79" fmla="*/ 2147483647 h 666"/>
              <a:gd name="T80" fmla="*/ 2147483647 w 700"/>
              <a:gd name="T81" fmla="*/ 2147483647 h 666"/>
              <a:gd name="T82" fmla="*/ 2147483647 w 700"/>
              <a:gd name="T83" fmla="*/ 2147483647 h 666"/>
              <a:gd name="T84" fmla="*/ 2147483647 w 700"/>
              <a:gd name="T85" fmla="*/ 2147483647 h 666"/>
              <a:gd name="T86" fmla="*/ 2147483647 w 700"/>
              <a:gd name="T87" fmla="*/ 2147483647 h 666"/>
              <a:gd name="T88" fmla="*/ 2147483647 w 700"/>
              <a:gd name="T89" fmla="*/ 2147483647 h 666"/>
              <a:gd name="T90" fmla="*/ 2147483647 w 700"/>
              <a:gd name="T91" fmla="*/ 2147483647 h 666"/>
              <a:gd name="T92" fmla="*/ 2147483647 w 700"/>
              <a:gd name="T93" fmla="*/ 2147483647 h 666"/>
              <a:gd name="T94" fmla="*/ 2147483647 w 700"/>
              <a:gd name="T95" fmla="*/ 2147483647 h 666"/>
              <a:gd name="T96" fmla="*/ 2147483647 w 700"/>
              <a:gd name="T97" fmla="*/ 2147483647 h 666"/>
              <a:gd name="T98" fmla="*/ 2147483647 w 700"/>
              <a:gd name="T99" fmla="*/ 2147483647 h 666"/>
              <a:gd name="T100" fmla="*/ 2147483647 w 700"/>
              <a:gd name="T101" fmla="*/ 2147483647 h 666"/>
              <a:gd name="T102" fmla="*/ 2147483647 w 700"/>
              <a:gd name="T103" fmla="*/ 2147483647 h 666"/>
              <a:gd name="T104" fmla="*/ 2147483647 w 700"/>
              <a:gd name="T105" fmla="*/ 2147483647 h 6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00"/>
              <a:gd name="T160" fmla="*/ 0 h 666"/>
              <a:gd name="T161" fmla="*/ 700 w 700"/>
              <a:gd name="T162" fmla="*/ 666 h 6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00" h="666">
                <a:moveTo>
                  <a:pt x="88" y="431"/>
                </a:moveTo>
                <a:lnTo>
                  <a:pt x="137" y="432"/>
                </a:lnTo>
                <a:lnTo>
                  <a:pt x="185" y="433"/>
                </a:lnTo>
                <a:lnTo>
                  <a:pt x="235" y="434"/>
                </a:lnTo>
                <a:lnTo>
                  <a:pt x="284" y="434"/>
                </a:lnTo>
                <a:lnTo>
                  <a:pt x="293" y="398"/>
                </a:lnTo>
                <a:lnTo>
                  <a:pt x="276" y="393"/>
                </a:lnTo>
                <a:lnTo>
                  <a:pt x="271" y="345"/>
                </a:lnTo>
                <a:lnTo>
                  <a:pt x="266" y="296"/>
                </a:lnTo>
                <a:lnTo>
                  <a:pt x="261" y="248"/>
                </a:lnTo>
                <a:lnTo>
                  <a:pt x="257" y="199"/>
                </a:lnTo>
                <a:lnTo>
                  <a:pt x="252" y="149"/>
                </a:lnTo>
                <a:lnTo>
                  <a:pt x="246" y="99"/>
                </a:lnTo>
                <a:lnTo>
                  <a:pt x="241" y="50"/>
                </a:lnTo>
                <a:lnTo>
                  <a:pt x="236" y="0"/>
                </a:lnTo>
                <a:lnTo>
                  <a:pt x="273" y="0"/>
                </a:lnTo>
                <a:lnTo>
                  <a:pt x="312" y="0"/>
                </a:lnTo>
                <a:lnTo>
                  <a:pt x="345" y="22"/>
                </a:lnTo>
                <a:lnTo>
                  <a:pt x="377" y="45"/>
                </a:lnTo>
                <a:lnTo>
                  <a:pt x="409" y="67"/>
                </a:lnTo>
                <a:lnTo>
                  <a:pt x="440" y="88"/>
                </a:lnTo>
                <a:lnTo>
                  <a:pt x="473" y="111"/>
                </a:lnTo>
                <a:lnTo>
                  <a:pt x="504" y="133"/>
                </a:lnTo>
                <a:lnTo>
                  <a:pt x="536" y="154"/>
                </a:lnTo>
                <a:lnTo>
                  <a:pt x="568" y="175"/>
                </a:lnTo>
                <a:lnTo>
                  <a:pt x="571" y="192"/>
                </a:lnTo>
                <a:lnTo>
                  <a:pt x="591" y="201"/>
                </a:lnTo>
                <a:lnTo>
                  <a:pt x="601" y="215"/>
                </a:lnTo>
                <a:lnTo>
                  <a:pt x="619" y="218"/>
                </a:lnTo>
                <a:lnTo>
                  <a:pt x="626" y="227"/>
                </a:lnTo>
                <a:lnTo>
                  <a:pt x="658" y="237"/>
                </a:lnTo>
                <a:lnTo>
                  <a:pt x="662" y="255"/>
                </a:lnTo>
                <a:lnTo>
                  <a:pt x="657" y="271"/>
                </a:lnTo>
                <a:lnTo>
                  <a:pt x="664" y="278"/>
                </a:lnTo>
                <a:lnTo>
                  <a:pt x="698" y="270"/>
                </a:lnTo>
                <a:lnTo>
                  <a:pt x="699" y="305"/>
                </a:lnTo>
                <a:lnTo>
                  <a:pt x="700" y="340"/>
                </a:lnTo>
                <a:lnTo>
                  <a:pt x="700" y="375"/>
                </a:lnTo>
                <a:lnTo>
                  <a:pt x="700" y="410"/>
                </a:lnTo>
                <a:lnTo>
                  <a:pt x="689" y="415"/>
                </a:lnTo>
                <a:lnTo>
                  <a:pt x="670" y="440"/>
                </a:lnTo>
                <a:lnTo>
                  <a:pt x="625" y="440"/>
                </a:lnTo>
                <a:lnTo>
                  <a:pt x="578" y="440"/>
                </a:lnTo>
                <a:lnTo>
                  <a:pt x="558" y="455"/>
                </a:lnTo>
                <a:lnTo>
                  <a:pt x="530" y="455"/>
                </a:lnTo>
                <a:lnTo>
                  <a:pt x="488" y="463"/>
                </a:lnTo>
                <a:lnTo>
                  <a:pt x="416" y="517"/>
                </a:lnTo>
                <a:lnTo>
                  <a:pt x="356" y="536"/>
                </a:lnTo>
                <a:lnTo>
                  <a:pt x="340" y="575"/>
                </a:lnTo>
                <a:lnTo>
                  <a:pt x="306" y="610"/>
                </a:lnTo>
                <a:lnTo>
                  <a:pt x="298" y="631"/>
                </a:lnTo>
                <a:lnTo>
                  <a:pt x="298" y="659"/>
                </a:lnTo>
                <a:lnTo>
                  <a:pt x="289" y="660"/>
                </a:lnTo>
                <a:lnTo>
                  <a:pt x="282" y="653"/>
                </a:lnTo>
                <a:lnTo>
                  <a:pt x="274" y="653"/>
                </a:lnTo>
                <a:lnTo>
                  <a:pt x="263" y="663"/>
                </a:lnTo>
                <a:lnTo>
                  <a:pt x="256" y="662"/>
                </a:lnTo>
                <a:lnTo>
                  <a:pt x="254" y="642"/>
                </a:lnTo>
                <a:lnTo>
                  <a:pt x="246" y="643"/>
                </a:lnTo>
                <a:lnTo>
                  <a:pt x="244" y="648"/>
                </a:lnTo>
                <a:lnTo>
                  <a:pt x="236" y="645"/>
                </a:lnTo>
                <a:lnTo>
                  <a:pt x="234" y="658"/>
                </a:lnTo>
                <a:lnTo>
                  <a:pt x="221" y="660"/>
                </a:lnTo>
                <a:lnTo>
                  <a:pt x="219" y="666"/>
                </a:lnTo>
                <a:lnTo>
                  <a:pt x="210" y="660"/>
                </a:lnTo>
                <a:lnTo>
                  <a:pt x="205" y="663"/>
                </a:lnTo>
                <a:lnTo>
                  <a:pt x="198" y="653"/>
                </a:lnTo>
                <a:lnTo>
                  <a:pt x="179" y="664"/>
                </a:lnTo>
                <a:lnTo>
                  <a:pt x="165" y="649"/>
                </a:lnTo>
                <a:lnTo>
                  <a:pt x="163" y="628"/>
                </a:lnTo>
                <a:lnTo>
                  <a:pt x="156" y="627"/>
                </a:lnTo>
                <a:lnTo>
                  <a:pt x="150" y="633"/>
                </a:lnTo>
                <a:lnTo>
                  <a:pt x="150" y="627"/>
                </a:lnTo>
                <a:lnTo>
                  <a:pt x="162" y="618"/>
                </a:lnTo>
                <a:lnTo>
                  <a:pt x="162" y="613"/>
                </a:lnTo>
                <a:lnTo>
                  <a:pt x="152" y="608"/>
                </a:lnTo>
                <a:lnTo>
                  <a:pt x="148" y="601"/>
                </a:lnTo>
                <a:lnTo>
                  <a:pt x="143" y="602"/>
                </a:lnTo>
                <a:lnTo>
                  <a:pt x="143" y="587"/>
                </a:lnTo>
                <a:lnTo>
                  <a:pt x="141" y="578"/>
                </a:lnTo>
                <a:lnTo>
                  <a:pt x="135" y="577"/>
                </a:lnTo>
                <a:lnTo>
                  <a:pt x="133" y="564"/>
                </a:lnTo>
                <a:lnTo>
                  <a:pt x="120" y="564"/>
                </a:lnTo>
                <a:lnTo>
                  <a:pt x="119" y="571"/>
                </a:lnTo>
                <a:lnTo>
                  <a:pt x="106" y="577"/>
                </a:lnTo>
                <a:lnTo>
                  <a:pt x="105" y="585"/>
                </a:lnTo>
                <a:lnTo>
                  <a:pt x="80" y="576"/>
                </a:lnTo>
                <a:lnTo>
                  <a:pt x="66" y="589"/>
                </a:lnTo>
                <a:lnTo>
                  <a:pt x="52" y="577"/>
                </a:lnTo>
                <a:lnTo>
                  <a:pt x="41" y="584"/>
                </a:lnTo>
                <a:lnTo>
                  <a:pt x="33" y="583"/>
                </a:lnTo>
                <a:lnTo>
                  <a:pt x="30" y="579"/>
                </a:lnTo>
                <a:lnTo>
                  <a:pt x="35" y="568"/>
                </a:lnTo>
                <a:lnTo>
                  <a:pt x="35" y="543"/>
                </a:lnTo>
                <a:lnTo>
                  <a:pt x="24" y="525"/>
                </a:lnTo>
                <a:lnTo>
                  <a:pt x="15" y="525"/>
                </a:lnTo>
                <a:lnTo>
                  <a:pt x="7" y="513"/>
                </a:lnTo>
                <a:lnTo>
                  <a:pt x="11" y="502"/>
                </a:lnTo>
                <a:lnTo>
                  <a:pt x="7" y="487"/>
                </a:lnTo>
                <a:lnTo>
                  <a:pt x="1" y="481"/>
                </a:lnTo>
                <a:lnTo>
                  <a:pt x="0" y="466"/>
                </a:lnTo>
                <a:lnTo>
                  <a:pt x="18" y="448"/>
                </a:lnTo>
                <a:lnTo>
                  <a:pt x="32" y="416"/>
                </a:lnTo>
                <a:lnTo>
                  <a:pt x="43" y="420"/>
                </a:lnTo>
                <a:lnTo>
                  <a:pt x="53" y="445"/>
                </a:lnTo>
                <a:lnTo>
                  <a:pt x="67" y="448"/>
                </a:lnTo>
                <a:lnTo>
                  <a:pt x="88" y="431"/>
                </a:lnTo>
                <a:close/>
              </a:path>
            </a:pathLst>
          </a:custGeom>
          <a:solidFill>
            <a:schemeClr val="accent1"/>
          </a:solidFill>
          <a:ln w="6350">
            <a:solidFill>
              <a:schemeClr val="tx2"/>
            </a:solidFill>
            <a:round/>
            <a:headEnd/>
            <a:tailEnd/>
          </a:ln>
        </p:spPr>
        <p:txBody>
          <a:bodyPr/>
          <a:lstStyle/>
          <a:p>
            <a:endParaRPr lang="en-US"/>
          </a:p>
        </p:txBody>
      </p:sp>
      <p:sp>
        <p:nvSpPr>
          <p:cNvPr id="594" name="Freeform 1500"/>
          <p:cNvSpPr>
            <a:spLocks/>
          </p:cNvSpPr>
          <p:nvPr/>
        </p:nvSpPr>
        <p:spPr bwMode="auto">
          <a:xfrm>
            <a:off x="5687268" y="3980259"/>
            <a:ext cx="151934" cy="99345"/>
          </a:xfrm>
          <a:custGeom>
            <a:avLst/>
            <a:gdLst>
              <a:gd name="T0" fmla="*/ 2147483647 w 326"/>
              <a:gd name="T1" fmla="*/ 2147483647 h 240"/>
              <a:gd name="T2" fmla="*/ 2147483647 w 326"/>
              <a:gd name="T3" fmla="*/ 2147483647 h 240"/>
              <a:gd name="T4" fmla="*/ 2147483647 w 326"/>
              <a:gd name="T5" fmla="*/ 2147483647 h 240"/>
              <a:gd name="T6" fmla="*/ 2147483647 w 326"/>
              <a:gd name="T7" fmla="*/ 2147483647 h 240"/>
              <a:gd name="T8" fmla="*/ 2147483647 w 326"/>
              <a:gd name="T9" fmla="*/ 2147483647 h 240"/>
              <a:gd name="T10" fmla="*/ 2147483647 w 326"/>
              <a:gd name="T11" fmla="*/ 2147483647 h 240"/>
              <a:gd name="T12" fmla="*/ 2147483647 w 326"/>
              <a:gd name="T13" fmla="*/ 2147483647 h 240"/>
              <a:gd name="T14" fmla="*/ 2147483647 w 326"/>
              <a:gd name="T15" fmla="*/ 2147483647 h 240"/>
              <a:gd name="T16" fmla="*/ 2147483647 w 326"/>
              <a:gd name="T17" fmla="*/ 2147483647 h 240"/>
              <a:gd name="T18" fmla="*/ 2147483647 w 326"/>
              <a:gd name="T19" fmla="*/ 2147483647 h 240"/>
              <a:gd name="T20" fmla="*/ 2147483647 w 326"/>
              <a:gd name="T21" fmla="*/ 2147483647 h 240"/>
              <a:gd name="T22" fmla="*/ 2147483647 w 326"/>
              <a:gd name="T23" fmla="*/ 2147483647 h 240"/>
              <a:gd name="T24" fmla="*/ 2147483647 w 326"/>
              <a:gd name="T25" fmla="*/ 2147483647 h 240"/>
              <a:gd name="T26" fmla="*/ 2147483647 w 326"/>
              <a:gd name="T27" fmla="*/ 2147483647 h 240"/>
              <a:gd name="T28" fmla="*/ 2147483647 w 326"/>
              <a:gd name="T29" fmla="*/ 2147483647 h 240"/>
              <a:gd name="T30" fmla="*/ 2147483647 w 326"/>
              <a:gd name="T31" fmla="*/ 2147483647 h 240"/>
              <a:gd name="T32" fmla="*/ 2147483647 w 326"/>
              <a:gd name="T33" fmla="*/ 2147483647 h 240"/>
              <a:gd name="T34" fmla="*/ 2147483647 w 326"/>
              <a:gd name="T35" fmla="*/ 2147483647 h 240"/>
              <a:gd name="T36" fmla="*/ 2147483647 w 326"/>
              <a:gd name="T37" fmla="*/ 2147483647 h 240"/>
              <a:gd name="T38" fmla="*/ 2147483647 w 326"/>
              <a:gd name="T39" fmla="*/ 2147483647 h 240"/>
              <a:gd name="T40" fmla="*/ 2147483647 w 326"/>
              <a:gd name="T41" fmla="*/ 2147483647 h 240"/>
              <a:gd name="T42" fmla="*/ 2147483647 w 326"/>
              <a:gd name="T43" fmla="*/ 2147483647 h 240"/>
              <a:gd name="T44" fmla="*/ 2147483647 w 326"/>
              <a:gd name="T45" fmla="*/ 2147483647 h 240"/>
              <a:gd name="T46" fmla="*/ 2147483647 w 326"/>
              <a:gd name="T47" fmla="*/ 0 h 240"/>
              <a:gd name="T48" fmla="*/ 2147483647 w 326"/>
              <a:gd name="T49" fmla="*/ 2147483647 h 240"/>
              <a:gd name="T50" fmla="*/ 2147483647 w 326"/>
              <a:gd name="T51" fmla="*/ 2147483647 h 240"/>
              <a:gd name="T52" fmla="*/ 2147483647 w 326"/>
              <a:gd name="T53" fmla="*/ 2147483647 h 240"/>
              <a:gd name="T54" fmla="*/ 2147483647 w 326"/>
              <a:gd name="T55" fmla="*/ 2147483647 h 240"/>
              <a:gd name="T56" fmla="*/ 2147483647 w 326"/>
              <a:gd name="T57" fmla="*/ 2147483647 h 240"/>
              <a:gd name="T58" fmla="*/ 0 w 326"/>
              <a:gd name="T59" fmla="*/ 2147483647 h 240"/>
              <a:gd name="T60" fmla="*/ 0 w 326"/>
              <a:gd name="T61" fmla="*/ 2147483647 h 240"/>
              <a:gd name="T62" fmla="*/ 2147483647 w 326"/>
              <a:gd name="T63" fmla="*/ 2147483647 h 240"/>
              <a:gd name="T64" fmla="*/ 2147483647 w 326"/>
              <a:gd name="T65" fmla="*/ 2147483647 h 240"/>
              <a:gd name="T66" fmla="*/ 2147483647 w 326"/>
              <a:gd name="T67" fmla="*/ 2147483647 h 240"/>
              <a:gd name="T68" fmla="*/ 2147483647 w 326"/>
              <a:gd name="T69" fmla="*/ 2147483647 h 240"/>
              <a:gd name="T70" fmla="*/ 2147483647 w 326"/>
              <a:gd name="T71" fmla="*/ 2147483647 h 240"/>
              <a:gd name="T72" fmla="*/ 2147483647 w 326"/>
              <a:gd name="T73" fmla="*/ 2147483647 h 240"/>
              <a:gd name="T74" fmla="*/ 2147483647 w 326"/>
              <a:gd name="T75" fmla="*/ 2147483647 h 240"/>
              <a:gd name="T76" fmla="*/ 2147483647 w 326"/>
              <a:gd name="T77" fmla="*/ 2147483647 h 240"/>
              <a:gd name="T78" fmla="*/ 2147483647 w 326"/>
              <a:gd name="T79" fmla="*/ 2147483647 h 240"/>
              <a:gd name="T80" fmla="*/ 2147483647 w 326"/>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6"/>
              <a:gd name="T124" fmla="*/ 0 h 240"/>
              <a:gd name="T125" fmla="*/ 326 w 326"/>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6" h="240">
                <a:moveTo>
                  <a:pt x="111" y="240"/>
                </a:moveTo>
                <a:lnTo>
                  <a:pt x="107" y="204"/>
                </a:lnTo>
                <a:lnTo>
                  <a:pt x="100" y="188"/>
                </a:lnTo>
                <a:lnTo>
                  <a:pt x="103" y="176"/>
                </a:lnTo>
                <a:lnTo>
                  <a:pt x="190" y="179"/>
                </a:lnTo>
                <a:lnTo>
                  <a:pt x="220" y="177"/>
                </a:lnTo>
                <a:lnTo>
                  <a:pt x="235" y="178"/>
                </a:lnTo>
                <a:lnTo>
                  <a:pt x="246" y="179"/>
                </a:lnTo>
                <a:lnTo>
                  <a:pt x="262" y="176"/>
                </a:lnTo>
                <a:lnTo>
                  <a:pt x="286" y="154"/>
                </a:lnTo>
                <a:lnTo>
                  <a:pt x="312" y="155"/>
                </a:lnTo>
                <a:lnTo>
                  <a:pt x="326" y="134"/>
                </a:lnTo>
                <a:lnTo>
                  <a:pt x="313" y="121"/>
                </a:lnTo>
                <a:lnTo>
                  <a:pt x="313" y="115"/>
                </a:lnTo>
                <a:lnTo>
                  <a:pt x="320" y="113"/>
                </a:lnTo>
                <a:lnTo>
                  <a:pt x="315" y="103"/>
                </a:lnTo>
                <a:lnTo>
                  <a:pt x="307" y="101"/>
                </a:lnTo>
                <a:lnTo>
                  <a:pt x="296" y="106"/>
                </a:lnTo>
                <a:lnTo>
                  <a:pt x="283" y="100"/>
                </a:lnTo>
                <a:lnTo>
                  <a:pt x="262" y="66"/>
                </a:lnTo>
                <a:lnTo>
                  <a:pt x="239" y="44"/>
                </a:lnTo>
                <a:lnTo>
                  <a:pt x="236" y="30"/>
                </a:lnTo>
                <a:lnTo>
                  <a:pt x="227" y="21"/>
                </a:lnTo>
                <a:lnTo>
                  <a:pt x="232" y="0"/>
                </a:lnTo>
                <a:lnTo>
                  <a:pt x="190" y="8"/>
                </a:lnTo>
                <a:lnTo>
                  <a:pt x="118" y="62"/>
                </a:lnTo>
                <a:lnTo>
                  <a:pt x="58" y="81"/>
                </a:lnTo>
                <a:lnTo>
                  <a:pt x="42" y="120"/>
                </a:lnTo>
                <a:lnTo>
                  <a:pt x="8" y="155"/>
                </a:lnTo>
                <a:lnTo>
                  <a:pt x="0" y="176"/>
                </a:lnTo>
                <a:lnTo>
                  <a:pt x="0" y="204"/>
                </a:lnTo>
                <a:lnTo>
                  <a:pt x="11" y="223"/>
                </a:lnTo>
                <a:lnTo>
                  <a:pt x="24" y="232"/>
                </a:lnTo>
                <a:lnTo>
                  <a:pt x="30" y="229"/>
                </a:lnTo>
                <a:lnTo>
                  <a:pt x="37" y="235"/>
                </a:lnTo>
                <a:lnTo>
                  <a:pt x="42" y="228"/>
                </a:lnTo>
                <a:lnTo>
                  <a:pt x="69" y="220"/>
                </a:lnTo>
                <a:lnTo>
                  <a:pt x="85" y="224"/>
                </a:lnTo>
                <a:lnTo>
                  <a:pt x="89" y="221"/>
                </a:lnTo>
                <a:lnTo>
                  <a:pt x="102" y="240"/>
                </a:lnTo>
                <a:lnTo>
                  <a:pt x="111" y="240"/>
                </a:lnTo>
                <a:close/>
              </a:path>
            </a:pathLst>
          </a:custGeom>
          <a:solidFill>
            <a:schemeClr val="accent1"/>
          </a:solidFill>
          <a:ln w="6350">
            <a:solidFill>
              <a:schemeClr val="tx2"/>
            </a:solidFill>
            <a:round/>
            <a:headEnd/>
            <a:tailEnd/>
          </a:ln>
        </p:spPr>
        <p:txBody>
          <a:bodyPr/>
          <a:lstStyle/>
          <a:p>
            <a:endParaRPr lang="en-US"/>
          </a:p>
        </p:txBody>
      </p:sp>
      <p:sp>
        <p:nvSpPr>
          <p:cNvPr id="595" name="Freeform 1501"/>
          <p:cNvSpPr>
            <a:spLocks/>
          </p:cNvSpPr>
          <p:nvPr/>
        </p:nvSpPr>
        <p:spPr bwMode="auto">
          <a:xfrm>
            <a:off x="6393904" y="4178949"/>
            <a:ext cx="106067" cy="96797"/>
          </a:xfrm>
          <a:custGeom>
            <a:avLst/>
            <a:gdLst>
              <a:gd name="T0" fmla="*/ 2147483647 w 229"/>
              <a:gd name="T1" fmla="*/ 2147483647 h 233"/>
              <a:gd name="T2" fmla="*/ 2147483647 w 229"/>
              <a:gd name="T3" fmla="*/ 2147483647 h 233"/>
              <a:gd name="T4" fmla="*/ 2147483647 w 229"/>
              <a:gd name="T5" fmla="*/ 2147483647 h 233"/>
              <a:gd name="T6" fmla="*/ 2147483647 w 229"/>
              <a:gd name="T7" fmla="*/ 2147483647 h 233"/>
              <a:gd name="T8" fmla="*/ 2147483647 w 229"/>
              <a:gd name="T9" fmla="*/ 2147483647 h 233"/>
              <a:gd name="T10" fmla="*/ 2147483647 w 229"/>
              <a:gd name="T11" fmla="*/ 2147483647 h 233"/>
              <a:gd name="T12" fmla="*/ 2147483647 w 229"/>
              <a:gd name="T13" fmla="*/ 2147483647 h 233"/>
              <a:gd name="T14" fmla="*/ 2147483647 w 229"/>
              <a:gd name="T15" fmla="*/ 2147483647 h 233"/>
              <a:gd name="T16" fmla="*/ 2147483647 w 229"/>
              <a:gd name="T17" fmla="*/ 2147483647 h 233"/>
              <a:gd name="T18" fmla="*/ 2147483647 w 229"/>
              <a:gd name="T19" fmla="*/ 2147483647 h 233"/>
              <a:gd name="T20" fmla="*/ 2147483647 w 229"/>
              <a:gd name="T21" fmla="*/ 2147483647 h 233"/>
              <a:gd name="T22" fmla="*/ 2147483647 w 229"/>
              <a:gd name="T23" fmla="*/ 2147483647 h 233"/>
              <a:gd name="T24" fmla="*/ 2147483647 w 229"/>
              <a:gd name="T25" fmla="*/ 2147483647 h 233"/>
              <a:gd name="T26" fmla="*/ 2147483647 w 229"/>
              <a:gd name="T27" fmla="*/ 2147483647 h 233"/>
              <a:gd name="T28" fmla="*/ 2147483647 w 229"/>
              <a:gd name="T29" fmla="*/ 2147483647 h 233"/>
              <a:gd name="T30" fmla="*/ 2147483647 w 229"/>
              <a:gd name="T31" fmla="*/ 2147483647 h 233"/>
              <a:gd name="T32" fmla="*/ 2147483647 w 229"/>
              <a:gd name="T33" fmla="*/ 0 h 233"/>
              <a:gd name="T34" fmla="*/ 2147483647 w 229"/>
              <a:gd name="T35" fmla="*/ 2147483647 h 233"/>
              <a:gd name="T36" fmla="*/ 2147483647 w 229"/>
              <a:gd name="T37" fmla="*/ 2147483647 h 233"/>
              <a:gd name="T38" fmla="*/ 2147483647 w 229"/>
              <a:gd name="T39" fmla="*/ 2147483647 h 233"/>
              <a:gd name="T40" fmla="*/ 2147483647 w 229"/>
              <a:gd name="T41" fmla="*/ 2147483647 h 233"/>
              <a:gd name="T42" fmla="*/ 2147483647 w 229"/>
              <a:gd name="T43" fmla="*/ 2147483647 h 233"/>
              <a:gd name="T44" fmla="*/ 2147483647 w 229"/>
              <a:gd name="T45" fmla="*/ 2147483647 h 233"/>
              <a:gd name="T46" fmla="*/ 2147483647 w 229"/>
              <a:gd name="T47" fmla="*/ 2147483647 h 233"/>
              <a:gd name="T48" fmla="*/ 2147483647 w 229"/>
              <a:gd name="T49" fmla="*/ 2147483647 h 233"/>
              <a:gd name="T50" fmla="*/ 2147483647 w 229"/>
              <a:gd name="T51" fmla="*/ 2147483647 h 233"/>
              <a:gd name="T52" fmla="*/ 2147483647 w 229"/>
              <a:gd name="T53" fmla="*/ 2147483647 h 233"/>
              <a:gd name="T54" fmla="*/ 2147483647 w 229"/>
              <a:gd name="T55" fmla="*/ 2147483647 h 233"/>
              <a:gd name="T56" fmla="*/ 2147483647 w 229"/>
              <a:gd name="T57" fmla="*/ 2147483647 h 233"/>
              <a:gd name="T58" fmla="*/ 2147483647 w 229"/>
              <a:gd name="T59" fmla="*/ 2147483647 h 233"/>
              <a:gd name="T60" fmla="*/ 2147483647 w 229"/>
              <a:gd name="T61" fmla="*/ 2147483647 h 233"/>
              <a:gd name="T62" fmla="*/ 2147483647 w 229"/>
              <a:gd name="T63" fmla="*/ 2147483647 h 233"/>
              <a:gd name="T64" fmla="*/ 2147483647 w 229"/>
              <a:gd name="T65" fmla="*/ 2147483647 h 233"/>
              <a:gd name="T66" fmla="*/ 2147483647 w 229"/>
              <a:gd name="T67" fmla="*/ 2147483647 h 233"/>
              <a:gd name="T68" fmla="*/ 2147483647 w 229"/>
              <a:gd name="T69" fmla="*/ 2147483647 h 233"/>
              <a:gd name="T70" fmla="*/ 2147483647 w 229"/>
              <a:gd name="T71" fmla="*/ 2147483647 h 233"/>
              <a:gd name="T72" fmla="*/ 2147483647 w 229"/>
              <a:gd name="T73" fmla="*/ 2147483647 h 233"/>
              <a:gd name="T74" fmla="*/ 2147483647 w 229"/>
              <a:gd name="T75" fmla="*/ 2147483647 h 233"/>
              <a:gd name="T76" fmla="*/ 2147483647 w 229"/>
              <a:gd name="T77" fmla="*/ 2147483647 h 233"/>
              <a:gd name="T78" fmla="*/ 2147483647 w 229"/>
              <a:gd name="T79" fmla="*/ 2147483647 h 233"/>
              <a:gd name="T80" fmla="*/ 2147483647 w 229"/>
              <a:gd name="T81" fmla="*/ 2147483647 h 233"/>
              <a:gd name="T82" fmla="*/ 2147483647 w 229"/>
              <a:gd name="T83" fmla="*/ 2147483647 h 233"/>
              <a:gd name="T84" fmla="*/ 2147483647 w 229"/>
              <a:gd name="T85" fmla="*/ 2147483647 h 233"/>
              <a:gd name="T86" fmla="*/ 2147483647 w 229"/>
              <a:gd name="T87" fmla="*/ 2147483647 h 233"/>
              <a:gd name="T88" fmla="*/ 2147483647 w 229"/>
              <a:gd name="T89" fmla="*/ 2147483647 h 233"/>
              <a:gd name="T90" fmla="*/ 0 w 229"/>
              <a:gd name="T91" fmla="*/ 2147483647 h 233"/>
              <a:gd name="T92" fmla="*/ 2147483647 w 229"/>
              <a:gd name="T93" fmla="*/ 2147483647 h 233"/>
              <a:gd name="T94" fmla="*/ 2147483647 w 229"/>
              <a:gd name="T95" fmla="*/ 2147483647 h 233"/>
              <a:gd name="T96" fmla="*/ 2147483647 w 229"/>
              <a:gd name="T97" fmla="*/ 2147483647 h 233"/>
              <a:gd name="T98" fmla="*/ 2147483647 w 229"/>
              <a:gd name="T99" fmla="*/ 214748364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9"/>
              <a:gd name="T151" fmla="*/ 0 h 233"/>
              <a:gd name="T152" fmla="*/ 229 w 229"/>
              <a:gd name="T153" fmla="*/ 233 h 23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9" h="233">
                <a:moveTo>
                  <a:pt x="35" y="122"/>
                </a:moveTo>
                <a:lnTo>
                  <a:pt x="36" y="128"/>
                </a:lnTo>
                <a:lnTo>
                  <a:pt x="41" y="129"/>
                </a:lnTo>
                <a:lnTo>
                  <a:pt x="56" y="110"/>
                </a:lnTo>
                <a:lnTo>
                  <a:pt x="69" y="103"/>
                </a:lnTo>
                <a:lnTo>
                  <a:pt x="74" y="95"/>
                </a:lnTo>
                <a:lnTo>
                  <a:pt x="73" y="80"/>
                </a:lnTo>
                <a:lnTo>
                  <a:pt x="69" y="80"/>
                </a:lnTo>
                <a:lnTo>
                  <a:pt x="54" y="70"/>
                </a:lnTo>
                <a:lnTo>
                  <a:pt x="48" y="60"/>
                </a:lnTo>
                <a:lnTo>
                  <a:pt x="52" y="19"/>
                </a:lnTo>
                <a:lnTo>
                  <a:pt x="58" y="14"/>
                </a:lnTo>
                <a:lnTo>
                  <a:pt x="95" y="14"/>
                </a:lnTo>
                <a:lnTo>
                  <a:pt x="100" y="21"/>
                </a:lnTo>
                <a:lnTo>
                  <a:pt x="135" y="12"/>
                </a:lnTo>
                <a:lnTo>
                  <a:pt x="162" y="13"/>
                </a:lnTo>
                <a:lnTo>
                  <a:pt x="183" y="0"/>
                </a:lnTo>
                <a:lnTo>
                  <a:pt x="199" y="6"/>
                </a:lnTo>
                <a:lnTo>
                  <a:pt x="208" y="42"/>
                </a:lnTo>
                <a:lnTo>
                  <a:pt x="226" y="56"/>
                </a:lnTo>
                <a:lnTo>
                  <a:pt x="229" y="83"/>
                </a:lnTo>
                <a:lnTo>
                  <a:pt x="226" y="110"/>
                </a:lnTo>
                <a:lnTo>
                  <a:pt x="185" y="165"/>
                </a:lnTo>
                <a:lnTo>
                  <a:pt x="183" y="167"/>
                </a:lnTo>
                <a:lnTo>
                  <a:pt x="175" y="165"/>
                </a:lnTo>
                <a:lnTo>
                  <a:pt x="169" y="167"/>
                </a:lnTo>
                <a:lnTo>
                  <a:pt x="159" y="163"/>
                </a:lnTo>
                <a:lnTo>
                  <a:pt x="154" y="159"/>
                </a:lnTo>
                <a:lnTo>
                  <a:pt x="144" y="173"/>
                </a:lnTo>
                <a:lnTo>
                  <a:pt x="138" y="170"/>
                </a:lnTo>
                <a:lnTo>
                  <a:pt x="129" y="169"/>
                </a:lnTo>
                <a:lnTo>
                  <a:pt x="125" y="167"/>
                </a:lnTo>
                <a:lnTo>
                  <a:pt x="124" y="171"/>
                </a:lnTo>
                <a:lnTo>
                  <a:pt x="120" y="173"/>
                </a:lnTo>
                <a:lnTo>
                  <a:pt x="115" y="171"/>
                </a:lnTo>
                <a:lnTo>
                  <a:pt x="112" y="176"/>
                </a:lnTo>
                <a:lnTo>
                  <a:pt x="104" y="179"/>
                </a:lnTo>
                <a:lnTo>
                  <a:pt x="96" y="181"/>
                </a:lnTo>
                <a:lnTo>
                  <a:pt x="95" y="185"/>
                </a:lnTo>
                <a:lnTo>
                  <a:pt x="96" y="190"/>
                </a:lnTo>
                <a:lnTo>
                  <a:pt x="87" y="211"/>
                </a:lnTo>
                <a:lnTo>
                  <a:pt x="91" y="215"/>
                </a:lnTo>
                <a:lnTo>
                  <a:pt x="33" y="217"/>
                </a:lnTo>
                <a:lnTo>
                  <a:pt x="23" y="221"/>
                </a:lnTo>
                <a:lnTo>
                  <a:pt x="16" y="233"/>
                </a:lnTo>
                <a:lnTo>
                  <a:pt x="0" y="229"/>
                </a:lnTo>
                <a:lnTo>
                  <a:pt x="2" y="191"/>
                </a:lnTo>
                <a:lnTo>
                  <a:pt x="4" y="180"/>
                </a:lnTo>
                <a:lnTo>
                  <a:pt x="10" y="155"/>
                </a:lnTo>
                <a:lnTo>
                  <a:pt x="35" y="122"/>
                </a:lnTo>
                <a:close/>
              </a:path>
            </a:pathLst>
          </a:custGeom>
          <a:solidFill>
            <a:schemeClr val="accent1"/>
          </a:solidFill>
          <a:ln w="6350">
            <a:solidFill>
              <a:schemeClr val="tx2"/>
            </a:solidFill>
            <a:round/>
            <a:headEnd/>
            <a:tailEnd/>
          </a:ln>
        </p:spPr>
        <p:txBody>
          <a:bodyPr/>
          <a:lstStyle/>
          <a:p>
            <a:endParaRPr lang="en-US"/>
          </a:p>
        </p:txBody>
      </p:sp>
      <p:sp>
        <p:nvSpPr>
          <p:cNvPr id="596" name="Freeform 1502"/>
          <p:cNvSpPr>
            <a:spLocks/>
          </p:cNvSpPr>
          <p:nvPr/>
        </p:nvSpPr>
        <p:spPr bwMode="auto">
          <a:xfrm>
            <a:off x="6234804" y="3827420"/>
            <a:ext cx="335401" cy="360446"/>
          </a:xfrm>
          <a:custGeom>
            <a:avLst/>
            <a:gdLst>
              <a:gd name="T0" fmla="*/ 2147483647 w 713"/>
              <a:gd name="T1" fmla="*/ 2147483647 h 862"/>
              <a:gd name="T2" fmla="*/ 2147483647 w 713"/>
              <a:gd name="T3" fmla="*/ 2147483647 h 862"/>
              <a:gd name="T4" fmla="*/ 2147483647 w 713"/>
              <a:gd name="T5" fmla="*/ 2147483647 h 862"/>
              <a:gd name="T6" fmla="*/ 2147483647 w 713"/>
              <a:gd name="T7" fmla="*/ 2147483647 h 862"/>
              <a:gd name="T8" fmla="*/ 2147483647 w 713"/>
              <a:gd name="T9" fmla="*/ 2147483647 h 862"/>
              <a:gd name="T10" fmla="*/ 0 w 713"/>
              <a:gd name="T11" fmla="*/ 2147483647 h 862"/>
              <a:gd name="T12" fmla="*/ 2147483647 w 713"/>
              <a:gd name="T13" fmla="*/ 2147483647 h 862"/>
              <a:gd name="T14" fmla="*/ 2147483647 w 713"/>
              <a:gd name="T15" fmla="*/ 2147483647 h 862"/>
              <a:gd name="T16" fmla="*/ 2147483647 w 713"/>
              <a:gd name="T17" fmla="*/ 2147483647 h 862"/>
              <a:gd name="T18" fmla="*/ 2147483647 w 713"/>
              <a:gd name="T19" fmla="*/ 2147483647 h 862"/>
              <a:gd name="T20" fmla="*/ 2147483647 w 713"/>
              <a:gd name="T21" fmla="*/ 2147483647 h 862"/>
              <a:gd name="T22" fmla="*/ 2147483647 w 713"/>
              <a:gd name="T23" fmla="*/ 2147483647 h 862"/>
              <a:gd name="T24" fmla="*/ 2147483647 w 713"/>
              <a:gd name="T25" fmla="*/ 2147483647 h 862"/>
              <a:gd name="T26" fmla="*/ 2147483647 w 713"/>
              <a:gd name="T27" fmla="*/ 2147483647 h 862"/>
              <a:gd name="T28" fmla="*/ 2147483647 w 713"/>
              <a:gd name="T29" fmla="*/ 2147483647 h 862"/>
              <a:gd name="T30" fmla="*/ 2147483647 w 713"/>
              <a:gd name="T31" fmla="*/ 2147483647 h 862"/>
              <a:gd name="T32" fmla="*/ 2147483647 w 713"/>
              <a:gd name="T33" fmla="*/ 2147483647 h 862"/>
              <a:gd name="T34" fmla="*/ 2147483647 w 713"/>
              <a:gd name="T35" fmla="*/ 2147483647 h 862"/>
              <a:gd name="T36" fmla="*/ 2147483647 w 713"/>
              <a:gd name="T37" fmla="*/ 2147483647 h 862"/>
              <a:gd name="T38" fmla="*/ 2147483647 w 713"/>
              <a:gd name="T39" fmla="*/ 2147483647 h 862"/>
              <a:gd name="T40" fmla="*/ 2147483647 w 713"/>
              <a:gd name="T41" fmla="*/ 2147483647 h 862"/>
              <a:gd name="T42" fmla="*/ 2147483647 w 713"/>
              <a:gd name="T43" fmla="*/ 2147483647 h 862"/>
              <a:gd name="T44" fmla="*/ 2147483647 w 713"/>
              <a:gd name="T45" fmla="*/ 2147483647 h 862"/>
              <a:gd name="T46" fmla="*/ 2147483647 w 713"/>
              <a:gd name="T47" fmla="*/ 2147483647 h 862"/>
              <a:gd name="T48" fmla="*/ 2147483647 w 713"/>
              <a:gd name="T49" fmla="*/ 2147483647 h 862"/>
              <a:gd name="T50" fmla="*/ 2147483647 w 713"/>
              <a:gd name="T51" fmla="*/ 2147483647 h 862"/>
              <a:gd name="T52" fmla="*/ 2147483647 w 713"/>
              <a:gd name="T53" fmla="*/ 2147483647 h 862"/>
              <a:gd name="T54" fmla="*/ 2147483647 w 713"/>
              <a:gd name="T55" fmla="*/ 2147483647 h 862"/>
              <a:gd name="T56" fmla="*/ 2147483647 w 713"/>
              <a:gd name="T57" fmla="*/ 2147483647 h 862"/>
              <a:gd name="T58" fmla="*/ 2147483647 w 713"/>
              <a:gd name="T59" fmla="*/ 2147483647 h 862"/>
              <a:gd name="T60" fmla="*/ 2147483647 w 713"/>
              <a:gd name="T61" fmla="*/ 2147483647 h 862"/>
              <a:gd name="T62" fmla="*/ 2147483647 w 713"/>
              <a:gd name="T63" fmla="*/ 2147483647 h 862"/>
              <a:gd name="T64" fmla="*/ 2147483647 w 713"/>
              <a:gd name="T65" fmla="*/ 2147483647 h 862"/>
              <a:gd name="T66" fmla="*/ 2147483647 w 713"/>
              <a:gd name="T67" fmla="*/ 2147483647 h 862"/>
              <a:gd name="T68" fmla="*/ 2147483647 w 713"/>
              <a:gd name="T69" fmla="*/ 2147483647 h 862"/>
              <a:gd name="T70" fmla="*/ 2147483647 w 713"/>
              <a:gd name="T71" fmla="*/ 2147483647 h 862"/>
              <a:gd name="T72" fmla="*/ 2147483647 w 713"/>
              <a:gd name="T73" fmla="*/ 2147483647 h 862"/>
              <a:gd name="T74" fmla="*/ 2147483647 w 713"/>
              <a:gd name="T75" fmla="*/ 2147483647 h 862"/>
              <a:gd name="T76" fmla="*/ 2147483647 w 713"/>
              <a:gd name="T77" fmla="*/ 2147483647 h 862"/>
              <a:gd name="T78" fmla="*/ 2147483647 w 713"/>
              <a:gd name="T79" fmla="*/ 2147483647 h 862"/>
              <a:gd name="T80" fmla="*/ 2147483647 w 713"/>
              <a:gd name="T81" fmla="*/ 2147483647 h 862"/>
              <a:gd name="T82" fmla="*/ 2147483647 w 713"/>
              <a:gd name="T83" fmla="*/ 2147483647 h 862"/>
              <a:gd name="T84" fmla="*/ 2147483647 w 713"/>
              <a:gd name="T85" fmla="*/ 2147483647 h 862"/>
              <a:gd name="T86" fmla="*/ 2147483647 w 713"/>
              <a:gd name="T87" fmla="*/ 2147483647 h 862"/>
              <a:gd name="T88" fmla="*/ 2147483647 w 713"/>
              <a:gd name="T89" fmla="*/ 2147483647 h 862"/>
              <a:gd name="T90" fmla="*/ 2147483647 w 713"/>
              <a:gd name="T91" fmla="*/ 2147483647 h 862"/>
              <a:gd name="T92" fmla="*/ 2147483647 w 713"/>
              <a:gd name="T93" fmla="*/ 2147483647 h 862"/>
              <a:gd name="T94" fmla="*/ 2147483647 w 713"/>
              <a:gd name="T95" fmla="*/ 2147483647 h 862"/>
              <a:gd name="T96" fmla="*/ 2147483647 w 713"/>
              <a:gd name="T97" fmla="*/ 2147483647 h 862"/>
              <a:gd name="T98" fmla="*/ 2147483647 w 713"/>
              <a:gd name="T99" fmla="*/ 2147483647 h 862"/>
              <a:gd name="T100" fmla="*/ 2147483647 w 713"/>
              <a:gd name="T101" fmla="*/ 2147483647 h 862"/>
              <a:gd name="T102" fmla="*/ 2147483647 w 713"/>
              <a:gd name="T103" fmla="*/ 2147483647 h 862"/>
              <a:gd name="T104" fmla="*/ 2147483647 w 713"/>
              <a:gd name="T105" fmla="*/ 2147483647 h 8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13"/>
              <a:gd name="T160" fmla="*/ 0 h 862"/>
              <a:gd name="T161" fmla="*/ 713 w 713"/>
              <a:gd name="T162" fmla="*/ 862 h 8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13" h="862">
                <a:moveTo>
                  <a:pt x="93" y="166"/>
                </a:moveTo>
                <a:lnTo>
                  <a:pt x="93" y="208"/>
                </a:lnTo>
                <a:lnTo>
                  <a:pt x="93" y="250"/>
                </a:lnTo>
                <a:lnTo>
                  <a:pt x="92" y="291"/>
                </a:lnTo>
                <a:lnTo>
                  <a:pt x="92" y="333"/>
                </a:lnTo>
                <a:lnTo>
                  <a:pt x="47" y="337"/>
                </a:lnTo>
                <a:lnTo>
                  <a:pt x="40" y="360"/>
                </a:lnTo>
                <a:lnTo>
                  <a:pt x="19" y="389"/>
                </a:lnTo>
                <a:lnTo>
                  <a:pt x="19" y="409"/>
                </a:lnTo>
                <a:lnTo>
                  <a:pt x="9" y="416"/>
                </a:lnTo>
                <a:lnTo>
                  <a:pt x="8" y="436"/>
                </a:lnTo>
                <a:lnTo>
                  <a:pt x="0" y="456"/>
                </a:lnTo>
                <a:lnTo>
                  <a:pt x="0" y="468"/>
                </a:lnTo>
                <a:lnTo>
                  <a:pt x="20" y="464"/>
                </a:lnTo>
                <a:lnTo>
                  <a:pt x="23" y="489"/>
                </a:lnTo>
                <a:lnTo>
                  <a:pt x="43" y="531"/>
                </a:lnTo>
                <a:lnTo>
                  <a:pt x="43" y="537"/>
                </a:lnTo>
                <a:lnTo>
                  <a:pt x="36" y="540"/>
                </a:lnTo>
                <a:lnTo>
                  <a:pt x="69" y="584"/>
                </a:lnTo>
                <a:lnTo>
                  <a:pt x="73" y="596"/>
                </a:lnTo>
                <a:lnTo>
                  <a:pt x="69" y="633"/>
                </a:lnTo>
                <a:lnTo>
                  <a:pt x="77" y="640"/>
                </a:lnTo>
                <a:lnTo>
                  <a:pt x="96" y="643"/>
                </a:lnTo>
                <a:lnTo>
                  <a:pt x="101" y="655"/>
                </a:lnTo>
                <a:lnTo>
                  <a:pt x="126" y="660"/>
                </a:lnTo>
                <a:lnTo>
                  <a:pt x="140" y="670"/>
                </a:lnTo>
                <a:lnTo>
                  <a:pt x="145" y="690"/>
                </a:lnTo>
                <a:lnTo>
                  <a:pt x="189" y="723"/>
                </a:lnTo>
                <a:lnTo>
                  <a:pt x="202" y="755"/>
                </a:lnTo>
                <a:lnTo>
                  <a:pt x="234" y="772"/>
                </a:lnTo>
                <a:lnTo>
                  <a:pt x="244" y="794"/>
                </a:lnTo>
                <a:lnTo>
                  <a:pt x="266" y="824"/>
                </a:lnTo>
                <a:lnTo>
                  <a:pt x="285" y="831"/>
                </a:lnTo>
                <a:lnTo>
                  <a:pt x="295" y="822"/>
                </a:lnTo>
                <a:lnTo>
                  <a:pt x="324" y="826"/>
                </a:lnTo>
                <a:lnTo>
                  <a:pt x="334" y="818"/>
                </a:lnTo>
                <a:lnTo>
                  <a:pt x="385" y="860"/>
                </a:lnTo>
                <a:lnTo>
                  <a:pt x="389" y="860"/>
                </a:lnTo>
                <a:lnTo>
                  <a:pt x="395" y="855"/>
                </a:lnTo>
                <a:lnTo>
                  <a:pt x="432" y="855"/>
                </a:lnTo>
                <a:lnTo>
                  <a:pt x="437" y="862"/>
                </a:lnTo>
                <a:lnTo>
                  <a:pt x="472" y="853"/>
                </a:lnTo>
                <a:lnTo>
                  <a:pt x="499" y="854"/>
                </a:lnTo>
                <a:lnTo>
                  <a:pt x="520" y="841"/>
                </a:lnTo>
                <a:lnTo>
                  <a:pt x="543" y="820"/>
                </a:lnTo>
                <a:lnTo>
                  <a:pt x="602" y="819"/>
                </a:lnTo>
                <a:lnTo>
                  <a:pt x="603" y="788"/>
                </a:lnTo>
                <a:lnTo>
                  <a:pt x="572" y="776"/>
                </a:lnTo>
                <a:lnTo>
                  <a:pt x="553" y="731"/>
                </a:lnTo>
                <a:lnTo>
                  <a:pt x="529" y="714"/>
                </a:lnTo>
                <a:lnTo>
                  <a:pt x="516" y="691"/>
                </a:lnTo>
                <a:lnTo>
                  <a:pt x="478" y="677"/>
                </a:lnTo>
                <a:lnTo>
                  <a:pt x="487" y="667"/>
                </a:lnTo>
                <a:lnTo>
                  <a:pt x="487" y="655"/>
                </a:lnTo>
                <a:lnTo>
                  <a:pt x="512" y="655"/>
                </a:lnTo>
                <a:lnTo>
                  <a:pt x="527" y="645"/>
                </a:lnTo>
                <a:lnTo>
                  <a:pt x="531" y="564"/>
                </a:lnTo>
                <a:lnTo>
                  <a:pt x="535" y="566"/>
                </a:lnTo>
                <a:lnTo>
                  <a:pt x="543" y="550"/>
                </a:lnTo>
                <a:lnTo>
                  <a:pt x="561" y="543"/>
                </a:lnTo>
                <a:lnTo>
                  <a:pt x="568" y="512"/>
                </a:lnTo>
                <a:lnTo>
                  <a:pt x="595" y="473"/>
                </a:lnTo>
                <a:lnTo>
                  <a:pt x="616" y="458"/>
                </a:lnTo>
                <a:lnTo>
                  <a:pt x="629" y="411"/>
                </a:lnTo>
                <a:lnTo>
                  <a:pt x="629" y="400"/>
                </a:lnTo>
                <a:lnTo>
                  <a:pt x="627" y="372"/>
                </a:lnTo>
                <a:lnTo>
                  <a:pt x="651" y="274"/>
                </a:lnTo>
                <a:lnTo>
                  <a:pt x="662" y="273"/>
                </a:lnTo>
                <a:lnTo>
                  <a:pt x="673" y="264"/>
                </a:lnTo>
                <a:lnTo>
                  <a:pt x="705" y="250"/>
                </a:lnTo>
                <a:lnTo>
                  <a:pt x="713" y="231"/>
                </a:lnTo>
                <a:lnTo>
                  <a:pt x="710" y="223"/>
                </a:lnTo>
                <a:lnTo>
                  <a:pt x="700" y="222"/>
                </a:lnTo>
                <a:lnTo>
                  <a:pt x="692" y="208"/>
                </a:lnTo>
                <a:lnTo>
                  <a:pt x="675" y="202"/>
                </a:lnTo>
                <a:lnTo>
                  <a:pt x="666" y="192"/>
                </a:lnTo>
                <a:lnTo>
                  <a:pt x="658" y="149"/>
                </a:lnTo>
                <a:lnTo>
                  <a:pt x="659" y="93"/>
                </a:lnTo>
                <a:lnTo>
                  <a:pt x="646" y="73"/>
                </a:lnTo>
                <a:lnTo>
                  <a:pt x="643" y="51"/>
                </a:lnTo>
                <a:lnTo>
                  <a:pt x="619" y="25"/>
                </a:lnTo>
                <a:lnTo>
                  <a:pt x="598" y="15"/>
                </a:lnTo>
                <a:lnTo>
                  <a:pt x="588" y="0"/>
                </a:lnTo>
                <a:lnTo>
                  <a:pt x="572" y="15"/>
                </a:lnTo>
                <a:lnTo>
                  <a:pt x="561" y="12"/>
                </a:lnTo>
                <a:lnTo>
                  <a:pt x="551" y="36"/>
                </a:lnTo>
                <a:lnTo>
                  <a:pt x="527" y="42"/>
                </a:lnTo>
                <a:lnTo>
                  <a:pt x="522" y="61"/>
                </a:lnTo>
                <a:lnTo>
                  <a:pt x="500" y="62"/>
                </a:lnTo>
                <a:lnTo>
                  <a:pt x="486" y="52"/>
                </a:lnTo>
                <a:lnTo>
                  <a:pt x="447" y="52"/>
                </a:lnTo>
                <a:lnTo>
                  <a:pt x="410" y="51"/>
                </a:lnTo>
                <a:lnTo>
                  <a:pt x="414" y="43"/>
                </a:lnTo>
                <a:lnTo>
                  <a:pt x="408" y="42"/>
                </a:lnTo>
                <a:lnTo>
                  <a:pt x="401" y="51"/>
                </a:lnTo>
                <a:lnTo>
                  <a:pt x="368" y="51"/>
                </a:lnTo>
                <a:lnTo>
                  <a:pt x="334" y="51"/>
                </a:lnTo>
                <a:lnTo>
                  <a:pt x="302" y="51"/>
                </a:lnTo>
                <a:lnTo>
                  <a:pt x="268" y="51"/>
                </a:lnTo>
                <a:lnTo>
                  <a:pt x="235" y="51"/>
                </a:lnTo>
                <a:lnTo>
                  <a:pt x="201" y="51"/>
                </a:lnTo>
                <a:lnTo>
                  <a:pt x="168" y="51"/>
                </a:lnTo>
                <a:lnTo>
                  <a:pt x="135" y="51"/>
                </a:lnTo>
                <a:lnTo>
                  <a:pt x="134" y="94"/>
                </a:lnTo>
                <a:lnTo>
                  <a:pt x="134" y="139"/>
                </a:lnTo>
                <a:lnTo>
                  <a:pt x="93" y="139"/>
                </a:lnTo>
                <a:lnTo>
                  <a:pt x="93" y="166"/>
                </a:lnTo>
                <a:close/>
              </a:path>
            </a:pathLst>
          </a:custGeom>
          <a:solidFill>
            <a:schemeClr val="accent1"/>
          </a:solidFill>
          <a:ln w="6350">
            <a:solidFill>
              <a:schemeClr val="tx2"/>
            </a:solidFill>
            <a:round/>
            <a:headEnd/>
            <a:tailEnd/>
          </a:ln>
        </p:spPr>
        <p:txBody>
          <a:bodyPr/>
          <a:lstStyle/>
          <a:p>
            <a:endParaRPr lang="en-US"/>
          </a:p>
        </p:txBody>
      </p:sp>
      <p:sp>
        <p:nvSpPr>
          <p:cNvPr id="597" name="Freeform 1503"/>
          <p:cNvSpPr>
            <a:spLocks/>
          </p:cNvSpPr>
          <p:nvPr/>
        </p:nvSpPr>
        <p:spPr bwMode="auto">
          <a:xfrm>
            <a:off x="6621806" y="4037574"/>
            <a:ext cx="206401" cy="243268"/>
          </a:xfrm>
          <a:custGeom>
            <a:avLst/>
            <a:gdLst>
              <a:gd name="T0" fmla="*/ 2147483647 w 441"/>
              <a:gd name="T1" fmla="*/ 2147483647 h 582"/>
              <a:gd name="T2" fmla="*/ 2147483647 w 441"/>
              <a:gd name="T3" fmla="*/ 2147483647 h 582"/>
              <a:gd name="T4" fmla="*/ 2147483647 w 441"/>
              <a:gd name="T5" fmla="*/ 2147483647 h 582"/>
              <a:gd name="T6" fmla="*/ 2147483647 w 441"/>
              <a:gd name="T7" fmla="*/ 2147483647 h 582"/>
              <a:gd name="T8" fmla="*/ 2147483647 w 441"/>
              <a:gd name="T9" fmla="*/ 2147483647 h 582"/>
              <a:gd name="T10" fmla="*/ 2147483647 w 441"/>
              <a:gd name="T11" fmla="*/ 2147483647 h 582"/>
              <a:gd name="T12" fmla="*/ 0 w 441"/>
              <a:gd name="T13" fmla="*/ 2147483647 h 582"/>
              <a:gd name="T14" fmla="*/ 0 w 441"/>
              <a:gd name="T15" fmla="*/ 2147483647 h 582"/>
              <a:gd name="T16" fmla="*/ 2147483647 w 441"/>
              <a:gd name="T17" fmla="*/ 2147483647 h 582"/>
              <a:gd name="T18" fmla="*/ 2147483647 w 441"/>
              <a:gd name="T19" fmla="*/ 2147483647 h 582"/>
              <a:gd name="T20" fmla="*/ 2147483647 w 441"/>
              <a:gd name="T21" fmla="*/ 2147483647 h 582"/>
              <a:gd name="T22" fmla="*/ 2147483647 w 441"/>
              <a:gd name="T23" fmla="*/ 2147483647 h 582"/>
              <a:gd name="T24" fmla="*/ 2147483647 w 441"/>
              <a:gd name="T25" fmla="*/ 2147483647 h 582"/>
              <a:gd name="T26" fmla="*/ 2147483647 w 441"/>
              <a:gd name="T27" fmla="*/ 2147483647 h 582"/>
              <a:gd name="T28" fmla="*/ 2147483647 w 441"/>
              <a:gd name="T29" fmla="*/ 2147483647 h 582"/>
              <a:gd name="T30" fmla="*/ 2147483647 w 441"/>
              <a:gd name="T31" fmla="*/ 2147483647 h 582"/>
              <a:gd name="T32" fmla="*/ 2147483647 w 441"/>
              <a:gd name="T33" fmla="*/ 2147483647 h 582"/>
              <a:gd name="T34" fmla="*/ 2147483647 w 441"/>
              <a:gd name="T35" fmla="*/ 2147483647 h 582"/>
              <a:gd name="T36" fmla="*/ 2147483647 w 441"/>
              <a:gd name="T37" fmla="*/ 2147483647 h 582"/>
              <a:gd name="T38" fmla="*/ 2147483647 w 441"/>
              <a:gd name="T39" fmla="*/ 2147483647 h 582"/>
              <a:gd name="T40" fmla="*/ 2147483647 w 441"/>
              <a:gd name="T41" fmla="*/ 0 h 582"/>
              <a:gd name="T42" fmla="*/ 2147483647 w 441"/>
              <a:gd name="T43" fmla="*/ 2147483647 h 582"/>
              <a:gd name="T44" fmla="*/ 2147483647 w 441"/>
              <a:gd name="T45" fmla="*/ 2147483647 h 582"/>
              <a:gd name="T46" fmla="*/ 2147483647 w 441"/>
              <a:gd name="T47" fmla="*/ 2147483647 h 582"/>
              <a:gd name="T48" fmla="*/ 2147483647 w 441"/>
              <a:gd name="T49" fmla="*/ 2147483647 h 582"/>
              <a:gd name="T50" fmla="*/ 2147483647 w 441"/>
              <a:gd name="T51" fmla="*/ 2147483647 h 582"/>
              <a:gd name="T52" fmla="*/ 2147483647 w 441"/>
              <a:gd name="T53" fmla="*/ 2147483647 h 582"/>
              <a:gd name="T54" fmla="*/ 2147483647 w 441"/>
              <a:gd name="T55" fmla="*/ 2147483647 h 582"/>
              <a:gd name="T56" fmla="*/ 2147483647 w 441"/>
              <a:gd name="T57" fmla="*/ 2147483647 h 582"/>
              <a:gd name="T58" fmla="*/ 2147483647 w 441"/>
              <a:gd name="T59" fmla="*/ 2147483647 h 582"/>
              <a:gd name="T60" fmla="*/ 2147483647 w 441"/>
              <a:gd name="T61" fmla="*/ 2147483647 h 582"/>
              <a:gd name="T62" fmla="*/ 2147483647 w 441"/>
              <a:gd name="T63" fmla="*/ 2147483647 h 5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1"/>
              <a:gd name="T97" fmla="*/ 0 h 582"/>
              <a:gd name="T98" fmla="*/ 441 w 441"/>
              <a:gd name="T99" fmla="*/ 582 h 58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1" h="582">
                <a:moveTo>
                  <a:pt x="294" y="178"/>
                </a:moveTo>
                <a:lnTo>
                  <a:pt x="264" y="209"/>
                </a:lnTo>
                <a:lnTo>
                  <a:pt x="233" y="239"/>
                </a:lnTo>
                <a:lnTo>
                  <a:pt x="203" y="268"/>
                </a:lnTo>
                <a:lnTo>
                  <a:pt x="173" y="299"/>
                </a:lnTo>
                <a:lnTo>
                  <a:pt x="122" y="299"/>
                </a:lnTo>
                <a:lnTo>
                  <a:pt x="100" y="310"/>
                </a:lnTo>
                <a:lnTo>
                  <a:pt x="79" y="326"/>
                </a:lnTo>
                <a:lnTo>
                  <a:pt x="54" y="333"/>
                </a:lnTo>
                <a:lnTo>
                  <a:pt x="50" y="335"/>
                </a:lnTo>
                <a:lnTo>
                  <a:pt x="38" y="344"/>
                </a:lnTo>
                <a:lnTo>
                  <a:pt x="19" y="373"/>
                </a:lnTo>
                <a:lnTo>
                  <a:pt x="0" y="392"/>
                </a:lnTo>
                <a:lnTo>
                  <a:pt x="0" y="432"/>
                </a:lnTo>
                <a:lnTo>
                  <a:pt x="0" y="470"/>
                </a:lnTo>
                <a:lnTo>
                  <a:pt x="0" y="510"/>
                </a:lnTo>
                <a:lnTo>
                  <a:pt x="0" y="549"/>
                </a:lnTo>
                <a:lnTo>
                  <a:pt x="23" y="582"/>
                </a:lnTo>
                <a:lnTo>
                  <a:pt x="63" y="535"/>
                </a:lnTo>
                <a:lnTo>
                  <a:pt x="68" y="519"/>
                </a:lnTo>
                <a:lnTo>
                  <a:pt x="80" y="518"/>
                </a:lnTo>
                <a:lnTo>
                  <a:pt x="109" y="487"/>
                </a:lnTo>
                <a:lnTo>
                  <a:pt x="169" y="435"/>
                </a:lnTo>
                <a:lnTo>
                  <a:pt x="207" y="418"/>
                </a:lnTo>
                <a:lnTo>
                  <a:pt x="233" y="387"/>
                </a:lnTo>
                <a:lnTo>
                  <a:pt x="285" y="340"/>
                </a:lnTo>
                <a:lnTo>
                  <a:pt x="310" y="298"/>
                </a:lnTo>
                <a:lnTo>
                  <a:pt x="338" y="270"/>
                </a:lnTo>
                <a:lnTo>
                  <a:pt x="351" y="233"/>
                </a:lnTo>
                <a:lnTo>
                  <a:pt x="377" y="186"/>
                </a:lnTo>
                <a:lnTo>
                  <a:pt x="380" y="172"/>
                </a:lnTo>
                <a:lnTo>
                  <a:pt x="391" y="161"/>
                </a:lnTo>
                <a:lnTo>
                  <a:pt x="415" y="122"/>
                </a:lnTo>
                <a:lnTo>
                  <a:pt x="424" y="72"/>
                </a:lnTo>
                <a:lnTo>
                  <a:pt x="441" y="70"/>
                </a:lnTo>
                <a:lnTo>
                  <a:pt x="435" y="65"/>
                </a:lnTo>
                <a:lnTo>
                  <a:pt x="428" y="66"/>
                </a:lnTo>
                <a:lnTo>
                  <a:pt x="434" y="59"/>
                </a:lnTo>
                <a:lnTo>
                  <a:pt x="435" y="37"/>
                </a:lnTo>
                <a:lnTo>
                  <a:pt x="430" y="26"/>
                </a:lnTo>
                <a:lnTo>
                  <a:pt x="438" y="7"/>
                </a:lnTo>
                <a:lnTo>
                  <a:pt x="413" y="0"/>
                </a:lnTo>
                <a:lnTo>
                  <a:pt x="389" y="17"/>
                </a:lnTo>
                <a:lnTo>
                  <a:pt x="351" y="24"/>
                </a:lnTo>
                <a:lnTo>
                  <a:pt x="338" y="29"/>
                </a:lnTo>
                <a:lnTo>
                  <a:pt x="323" y="27"/>
                </a:lnTo>
                <a:lnTo>
                  <a:pt x="309" y="34"/>
                </a:lnTo>
                <a:lnTo>
                  <a:pt x="269" y="35"/>
                </a:lnTo>
                <a:lnTo>
                  <a:pt x="236" y="53"/>
                </a:lnTo>
                <a:lnTo>
                  <a:pt x="202" y="46"/>
                </a:lnTo>
                <a:lnTo>
                  <a:pt x="169" y="65"/>
                </a:lnTo>
                <a:lnTo>
                  <a:pt x="146" y="66"/>
                </a:lnTo>
                <a:lnTo>
                  <a:pt x="130" y="58"/>
                </a:lnTo>
                <a:lnTo>
                  <a:pt x="95" y="19"/>
                </a:lnTo>
                <a:lnTo>
                  <a:pt x="81" y="43"/>
                </a:lnTo>
                <a:lnTo>
                  <a:pt x="76" y="52"/>
                </a:lnTo>
                <a:lnTo>
                  <a:pt x="80" y="69"/>
                </a:lnTo>
                <a:lnTo>
                  <a:pt x="109" y="104"/>
                </a:lnTo>
                <a:lnTo>
                  <a:pt x="130" y="122"/>
                </a:lnTo>
                <a:lnTo>
                  <a:pt x="162" y="133"/>
                </a:lnTo>
                <a:lnTo>
                  <a:pt x="195" y="144"/>
                </a:lnTo>
                <a:lnTo>
                  <a:pt x="227" y="157"/>
                </a:lnTo>
                <a:lnTo>
                  <a:pt x="261" y="168"/>
                </a:lnTo>
                <a:lnTo>
                  <a:pt x="303" y="167"/>
                </a:lnTo>
                <a:lnTo>
                  <a:pt x="294" y="178"/>
                </a:lnTo>
                <a:close/>
              </a:path>
            </a:pathLst>
          </a:custGeom>
          <a:solidFill>
            <a:schemeClr val="accent1"/>
          </a:solidFill>
          <a:ln w="6350">
            <a:solidFill>
              <a:schemeClr val="tx2"/>
            </a:solidFill>
            <a:round/>
            <a:headEnd/>
            <a:tailEnd/>
          </a:ln>
        </p:spPr>
        <p:txBody>
          <a:bodyPr/>
          <a:lstStyle/>
          <a:p>
            <a:endParaRPr lang="en-US"/>
          </a:p>
        </p:txBody>
      </p:sp>
      <p:sp>
        <p:nvSpPr>
          <p:cNvPr id="598" name="Freeform 1504"/>
          <p:cNvSpPr>
            <a:spLocks/>
          </p:cNvSpPr>
          <p:nvPr/>
        </p:nvSpPr>
        <p:spPr bwMode="auto">
          <a:xfrm>
            <a:off x="6458405" y="3984080"/>
            <a:ext cx="306734" cy="205058"/>
          </a:xfrm>
          <a:custGeom>
            <a:avLst/>
            <a:gdLst>
              <a:gd name="T0" fmla="*/ 2147483647 w 649"/>
              <a:gd name="T1" fmla="*/ 2147483647 h 491"/>
              <a:gd name="T2" fmla="*/ 2147483647 w 649"/>
              <a:gd name="T3" fmla="*/ 2147483647 h 491"/>
              <a:gd name="T4" fmla="*/ 2147483647 w 649"/>
              <a:gd name="T5" fmla="*/ 2147483647 h 491"/>
              <a:gd name="T6" fmla="*/ 2147483647 w 649"/>
              <a:gd name="T7" fmla="*/ 2147483647 h 491"/>
              <a:gd name="T8" fmla="*/ 2147483647 w 649"/>
              <a:gd name="T9" fmla="*/ 2147483647 h 491"/>
              <a:gd name="T10" fmla="*/ 2147483647 w 649"/>
              <a:gd name="T11" fmla="*/ 2147483647 h 491"/>
              <a:gd name="T12" fmla="*/ 2147483647 w 649"/>
              <a:gd name="T13" fmla="*/ 2147483647 h 491"/>
              <a:gd name="T14" fmla="*/ 2147483647 w 649"/>
              <a:gd name="T15" fmla="*/ 2147483647 h 491"/>
              <a:gd name="T16" fmla="*/ 2147483647 w 649"/>
              <a:gd name="T17" fmla="*/ 2147483647 h 491"/>
              <a:gd name="T18" fmla="*/ 2147483647 w 649"/>
              <a:gd name="T19" fmla="*/ 2147483647 h 491"/>
              <a:gd name="T20" fmla="*/ 2147483647 w 649"/>
              <a:gd name="T21" fmla="*/ 2147483647 h 491"/>
              <a:gd name="T22" fmla="*/ 2147483647 w 649"/>
              <a:gd name="T23" fmla="*/ 2147483647 h 491"/>
              <a:gd name="T24" fmla="*/ 0 w 649"/>
              <a:gd name="T25" fmla="*/ 2147483647 h 491"/>
              <a:gd name="T26" fmla="*/ 2147483647 w 649"/>
              <a:gd name="T27" fmla="*/ 2147483647 h 491"/>
              <a:gd name="T28" fmla="*/ 2147483647 w 649"/>
              <a:gd name="T29" fmla="*/ 2147483647 h 491"/>
              <a:gd name="T30" fmla="*/ 2147483647 w 649"/>
              <a:gd name="T31" fmla="*/ 2147483647 h 491"/>
              <a:gd name="T32" fmla="*/ 2147483647 w 649"/>
              <a:gd name="T33" fmla="*/ 2147483647 h 491"/>
              <a:gd name="T34" fmla="*/ 2147483647 w 649"/>
              <a:gd name="T35" fmla="*/ 2147483647 h 491"/>
              <a:gd name="T36" fmla="*/ 2147483647 w 649"/>
              <a:gd name="T37" fmla="*/ 2147483647 h 491"/>
              <a:gd name="T38" fmla="*/ 2147483647 w 649"/>
              <a:gd name="T39" fmla="*/ 2147483647 h 491"/>
              <a:gd name="T40" fmla="*/ 2147483647 w 649"/>
              <a:gd name="T41" fmla="*/ 2147483647 h 491"/>
              <a:gd name="T42" fmla="*/ 2147483647 w 649"/>
              <a:gd name="T43" fmla="*/ 0 h 491"/>
              <a:gd name="T44" fmla="*/ 2147483647 w 649"/>
              <a:gd name="T45" fmla="*/ 2147483647 h 491"/>
              <a:gd name="T46" fmla="*/ 2147483647 w 649"/>
              <a:gd name="T47" fmla="*/ 2147483647 h 491"/>
              <a:gd name="T48" fmla="*/ 2147483647 w 649"/>
              <a:gd name="T49" fmla="*/ 2147483647 h 491"/>
              <a:gd name="T50" fmla="*/ 2147483647 w 649"/>
              <a:gd name="T51" fmla="*/ 2147483647 h 491"/>
              <a:gd name="T52" fmla="*/ 2147483647 w 649"/>
              <a:gd name="T53" fmla="*/ 2147483647 h 491"/>
              <a:gd name="T54" fmla="*/ 2147483647 w 649"/>
              <a:gd name="T55" fmla="*/ 2147483647 h 491"/>
              <a:gd name="T56" fmla="*/ 2147483647 w 649"/>
              <a:gd name="T57" fmla="*/ 2147483647 h 491"/>
              <a:gd name="T58" fmla="*/ 2147483647 w 649"/>
              <a:gd name="T59" fmla="*/ 2147483647 h 491"/>
              <a:gd name="T60" fmla="*/ 2147483647 w 649"/>
              <a:gd name="T61" fmla="*/ 2147483647 h 491"/>
              <a:gd name="T62" fmla="*/ 2147483647 w 649"/>
              <a:gd name="T63" fmla="*/ 2147483647 h 491"/>
              <a:gd name="T64" fmla="*/ 2147483647 w 649"/>
              <a:gd name="T65" fmla="*/ 2147483647 h 491"/>
              <a:gd name="T66" fmla="*/ 2147483647 w 649"/>
              <a:gd name="T67" fmla="*/ 2147483647 h 491"/>
              <a:gd name="T68" fmla="*/ 2147483647 w 649"/>
              <a:gd name="T69" fmla="*/ 2147483647 h 491"/>
              <a:gd name="T70" fmla="*/ 2147483647 w 649"/>
              <a:gd name="T71" fmla="*/ 2147483647 h 491"/>
              <a:gd name="T72" fmla="*/ 2147483647 w 649"/>
              <a:gd name="T73" fmla="*/ 2147483647 h 4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49"/>
              <a:gd name="T112" fmla="*/ 0 h 491"/>
              <a:gd name="T113" fmla="*/ 649 w 649"/>
              <a:gd name="T114" fmla="*/ 491 h 4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49" h="491">
                <a:moveTo>
                  <a:pt x="640" y="307"/>
                </a:moveTo>
                <a:lnTo>
                  <a:pt x="610" y="338"/>
                </a:lnTo>
                <a:lnTo>
                  <a:pt x="579" y="368"/>
                </a:lnTo>
                <a:lnTo>
                  <a:pt x="549" y="397"/>
                </a:lnTo>
                <a:lnTo>
                  <a:pt x="519" y="428"/>
                </a:lnTo>
                <a:lnTo>
                  <a:pt x="468" y="428"/>
                </a:lnTo>
                <a:lnTo>
                  <a:pt x="446" y="439"/>
                </a:lnTo>
                <a:lnTo>
                  <a:pt x="425" y="455"/>
                </a:lnTo>
                <a:lnTo>
                  <a:pt x="400" y="462"/>
                </a:lnTo>
                <a:lnTo>
                  <a:pt x="396" y="464"/>
                </a:lnTo>
                <a:lnTo>
                  <a:pt x="384" y="473"/>
                </a:lnTo>
                <a:lnTo>
                  <a:pt x="362" y="474"/>
                </a:lnTo>
                <a:lnTo>
                  <a:pt x="337" y="461"/>
                </a:lnTo>
                <a:lnTo>
                  <a:pt x="305" y="468"/>
                </a:lnTo>
                <a:lnTo>
                  <a:pt x="294" y="481"/>
                </a:lnTo>
                <a:lnTo>
                  <a:pt x="275" y="491"/>
                </a:lnTo>
                <a:lnTo>
                  <a:pt x="257" y="491"/>
                </a:lnTo>
                <a:lnTo>
                  <a:pt x="210" y="479"/>
                </a:lnTo>
                <a:lnTo>
                  <a:pt x="158" y="447"/>
                </a:lnTo>
                <a:lnTo>
                  <a:pt x="124" y="444"/>
                </a:lnTo>
                <a:lnTo>
                  <a:pt x="125" y="413"/>
                </a:lnTo>
                <a:lnTo>
                  <a:pt x="94" y="401"/>
                </a:lnTo>
                <a:lnTo>
                  <a:pt x="75" y="356"/>
                </a:lnTo>
                <a:lnTo>
                  <a:pt x="51" y="339"/>
                </a:lnTo>
                <a:lnTo>
                  <a:pt x="38" y="316"/>
                </a:lnTo>
                <a:lnTo>
                  <a:pt x="0" y="302"/>
                </a:lnTo>
                <a:lnTo>
                  <a:pt x="9" y="292"/>
                </a:lnTo>
                <a:lnTo>
                  <a:pt x="9" y="280"/>
                </a:lnTo>
                <a:lnTo>
                  <a:pt x="34" y="280"/>
                </a:lnTo>
                <a:lnTo>
                  <a:pt x="49" y="270"/>
                </a:lnTo>
                <a:lnTo>
                  <a:pt x="53" y="189"/>
                </a:lnTo>
                <a:lnTo>
                  <a:pt x="57" y="191"/>
                </a:lnTo>
                <a:lnTo>
                  <a:pt x="65" y="175"/>
                </a:lnTo>
                <a:lnTo>
                  <a:pt x="83" y="168"/>
                </a:lnTo>
                <a:lnTo>
                  <a:pt x="90" y="137"/>
                </a:lnTo>
                <a:lnTo>
                  <a:pt x="117" y="98"/>
                </a:lnTo>
                <a:lnTo>
                  <a:pt x="138" y="83"/>
                </a:lnTo>
                <a:lnTo>
                  <a:pt x="151" y="36"/>
                </a:lnTo>
                <a:lnTo>
                  <a:pt x="151" y="25"/>
                </a:lnTo>
                <a:lnTo>
                  <a:pt x="170" y="27"/>
                </a:lnTo>
                <a:lnTo>
                  <a:pt x="175" y="19"/>
                </a:lnTo>
                <a:lnTo>
                  <a:pt x="181" y="19"/>
                </a:lnTo>
                <a:lnTo>
                  <a:pt x="193" y="34"/>
                </a:lnTo>
                <a:lnTo>
                  <a:pt x="208" y="0"/>
                </a:lnTo>
                <a:lnTo>
                  <a:pt x="223" y="9"/>
                </a:lnTo>
                <a:lnTo>
                  <a:pt x="230" y="20"/>
                </a:lnTo>
                <a:lnTo>
                  <a:pt x="251" y="17"/>
                </a:lnTo>
                <a:lnTo>
                  <a:pt x="255" y="10"/>
                </a:lnTo>
                <a:lnTo>
                  <a:pt x="265" y="19"/>
                </a:lnTo>
                <a:lnTo>
                  <a:pt x="277" y="14"/>
                </a:lnTo>
                <a:lnTo>
                  <a:pt x="293" y="20"/>
                </a:lnTo>
                <a:lnTo>
                  <a:pt x="306" y="18"/>
                </a:lnTo>
                <a:lnTo>
                  <a:pt x="331" y="31"/>
                </a:lnTo>
                <a:lnTo>
                  <a:pt x="350" y="55"/>
                </a:lnTo>
                <a:lnTo>
                  <a:pt x="372" y="72"/>
                </a:lnTo>
                <a:lnTo>
                  <a:pt x="383" y="90"/>
                </a:lnTo>
                <a:lnTo>
                  <a:pt x="403" y="108"/>
                </a:lnTo>
                <a:lnTo>
                  <a:pt x="398" y="112"/>
                </a:lnTo>
                <a:lnTo>
                  <a:pt x="392" y="139"/>
                </a:lnTo>
                <a:lnTo>
                  <a:pt x="381" y="158"/>
                </a:lnTo>
                <a:lnTo>
                  <a:pt x="387" y="171"/>
                </a:lnTo>
                <a:lnTo>
                  <a:pt x="404" y="171"/>
                </a:lnTo>
                <a:lnTo>
                  <a:pt x="416" y="165"/>
                </a:lnTo>
                <a:lnTo>
                  <a:pt x="427" y="172"/>
                </a:lnTo>
                <a:lnTo>
                  <a:pt x="422" y="181"/>
                </a:lnTo>
                <a:lnTo>
                  <a:pt x="426" y="198"/>
                </a:lnTo>
                <a:lnTo>
                  <a:pt x="455" y="233"/>
                </a:lnTo>
                <a:lnTo>
                  <a:pt x="476" y="251"/>
                </a:lnTo>
                <a:lnTo>
                  <a:pt x="508" y="262"/>
                </a:lnTo>
                <a:lnTo>
                  <a:pt x="541" y="273"/>
                </a:lnTo>
                <a:lnTo>
                  <a:pt x="573" y="286"/>
                </a:lnTo>
                <a:lnTo>
                  <a:pt x="607" y="297"/>
                </a:lnTo>
                <a:lnTo>
                  <a:pt x="649" y="296"/>
                </a:lnTo>
                <a:lnTo>
                  <a:pt x="640" y="307"/>
                </a:lnTo>
                <a:close/>
              </a:path>
            </a:pathLst>
          </a:custGeom>
          <a:solidFill>
            <a:schemeClr val="accent1"/>
          </a:solidFill>
          <a:ln w="6350">
            <a:solidFill>
              <a:schemeClr val="tx2"/>
            </a:solidFill>
            <a:round/>
            <a:headEnd/>
            <a:tailEnd/>
          </a:ln>
        </p:spPr>
        <p:txBody>
          <a:bodyPr/>
          <a:lstStyle/>
          <a:p>
            <a:endParaRPr lang="en-US"/>
          </a:p>
        </p:txBody>
      </p:sp>
      <p:sp>
        <p:nvSpPr>
          <p:cNvPr id="599" name="Freeform 1505"/>
          <p:cNvSpPr>
            <a:spLocks/>
          </p:cNvSpPr>
          <p:nvPr/>
        </p:nvSpPr>
        <p:spPr bwMode="auto">
          <a:xfrm>
            <a:off x="6491371" y="3645287"/>
            <a:ext cx="427135" cy="324782"/>
          </a:xfrm>
          <a:custGeom>
            <a:avLst/>
            <a:gdLst>
              <a:gd name="T0" fmla="*/ 2147483647 w 908"/>
              <a:gd name="T1" fmla="*/ 2147483647 h 781"/>
              <a:gd name="T2" fmla="*/ 2147483647 w 908"/>
              <a:gd name="T3" fmla="*/ 2147483647 h 781"/>
              <a:gd name="T4" fmla="*/ 2147483647 w 908"/>
              <a:gd name="T5" fmla="*/ 2147483647 h 781"/>
              <a:gd name="T6" fmla="*/ 2147483647 w 908"/>
              <a:gd name="T7" fmla="*/ 2147483647 h 781"/>
              <a:gd name="T8" fmla="*/ 2147483647 w 908"/>
              <a:gd name="T9" fmla="*/ 2147483647 h 781"/>
              <a:gd name="T10" fmla="*/ 2147483647 w 908"/>
              <a:gd name="T11" fmla="*/ 2147483647 h 781"/>
              <a:gd name="T12" fmla="*/ 2147483647 w 908"/>
              <a:gd name="T13" fmla="*/ 2147483647 h 781"/>
              <a:gd name="T14" fmla="*/ 2147483647 w 908"/>
              <a:gd name="T15" fmla="*/ 2147483647 h 781"/>
              <a:gd name="T16" fmla="*/ 2147483647 w 908"/>
              <a:gd name="T17" fmla="*/ 2147483647 h 781"/>
              <a:gd name="T18" fmla="*/ 2147483647 w 908"/>
              <a:gd name="T19" fmla="*/ 2147483647 h 781"/>
              <a:gd name="T20" fmla="*/ 2147483647 w 908"/>
              <a:gd name="T21" fmla="*/ 2147483647 h 781"/>
              <a:gd name="T22" fmla="*/ 2147483647 w 908"/>
              <a:gd name="T23" fmla="*/ 2147483647 h 781"/>
              <a:gd name="T24" fmla="*/ 2147483647 w 908"/>
              <a:gd name="T25" fmla="*/ 2147483647 h 781"/>
              <a:gd name="T26" fmla="*/ 2147483647 w 908"/>
              <a:gd name="T27" fmla="*/ 2147483647 h 781"/>
              <a:gd name="T28" fmla="*/ 2147483647 w 908"/>
              <a:gd name="T29" fmla="*/ 0 h 781"/>
              <a:gd name="T30" fmla="*/ 2147483647 w 908"/>
              <a:gd name="T31" fmla="*/ 2147483647 h 781"/>
              <a:gd name="T32" fmla="*/ 2147483647 w 908"/>
              <a:gd name="T33" fmla="*/ 2147483647 h 781"/>
              <a:gd name="T34" fmla="*/ 2147483647 w 908"/>
              <a:gd name="T35" fmla="*/ 2147483647 h 781"/>
              <a:gd name="T36" fmla="*/ 2147483647 w 908"/>
              <a:gd name="T37" fmla="*/ 2147483647 h 781"/>
              <a:gd name="T38" fmla="*/ 2147483647 w 908"/>
              <a:gd name="T39" fmla="*/ 2147483647 h 781"/>
              <a:gd name="T40" fmla="*/ 0 w 908"/>
              <a:gd name="T41" fmla="*/ 2147483647 h 781"/>
              <a:gd name="T42" fmla="*/ 2147483647 w 908"/>
              <a:gd name="T43" fmla="*/ 2147483647 h 781"/>
              <a:gd name="T44" fmla="*/ 2147483647 w 908"/>
              <a:gd name="T45" fmla="*/ 2147483647 h 781"/>
              <a:gd name="T46" fmla="*/ 2147483647 w 908"/>
              <a:gd name="T47" fmla="*/ 2147483647 h 781"/>
              <a:gd name="T48" fmla="*/ 2147483647 w 908"/>
              <a:gd name="T49" fmla="*/ 2147483647 h 781"/>
              <a:gd name="T50" fmla="*/ 2147483647 w 908"/>
              <a:gd name="T51" fmla="*/ 2147483647 h 781"/>
              <a:gd name="T52" fmla="*/ 2147483647 w 908"/>
              <a:gd name="T53" fmla="*/ 2147483647 h 781"/>
              <a:gd name="T54" fmla="*/ 2147483647 w 908"/>
              <a:gd name="T55" fmla="*/ 2147483647 h 781"/>
              <a:gd name="T56" fmla="*/ 2147483647 w 908"/>
              <a:gd name="T57" fmla="*/ 2147483647 h 781"/>
              <a:gd name="T58" fmla="*/ 2147483647 w 908"/>
              <a:gd name="T59" fmla="*/ 2147483647 h 781"/>
              <a:gd name="T60" fmla="*/ 2147483647 w 908"/>
              <a:gd name="T61" fmla="*/ 2147483647 h 781"/>
              <a:gd name="T62" fmla="*/ 2147483647 w 908"/>
              <a:gd name="T63" fmla="*/ 2147483647 h 781"/>
              <a:gd name="T64" fmla="*/ 2147483647 w 908"/>
              <a:gd name="T65" fmla="*/ 2147483647 h 781"/>
              <a:gd name="T66" fmla="*/ 2147483647 w 908"/>
              <a:gd name="T67" fmla="*/ 2147483647 h 781"/>
              <a:gd name="T68" fmla="*/ 2147483647 w 908"/>
              <a:gd name="T69" fmla="*/ 2147483647 h 781"/>
              <a:gd name="T70" fmla="*/ 2147483647 w 908"/>
              <a:gd name="T71" fmla="*/ 2147483647 h 781"/>
              <a:gd name="T72" fmla="*/ 2147483647 w 908"/>
              <a:gd name="T73" fmla="*/ 2147483647 h 781"/>
              <a:gd name="T74" fmla="*/ 2147483647 w 908"/>
              <a:gd name="T75" fmla="*/ 2147483647 h 781"/>
              <a:gd name="T76" fmla="*/ 2147483647 w 908"/>
              <a:gd name="T77" fmla="*/ 2147483647 h 781"/>
              <a:gd name="T78" fmla="*/ 2147483647 w 908"/>
              <a:gd name="T79" fmla="*/ 2147483647 h 781"/>
              <a:gd name="T80" fmla="*/ 2147483647 w 908"/>
              <a:gd name="T81" fmla="*/ 2147483647 h 781"/>
              <a:gd name="T82" fmla="*/ 2147483647 w 908"/>
              <a:gd name="T83" fmla="*/ 2147483647 h 781"/>
              <a:gd name="T84" fmla="*/ 2147483647 w 908"/>
              <a:gd name="T85" fmla="*/ 2147483647 h 781"/>
              <a:gd name="T86" fmla="*/ 2147483647 w 908"/>
              <a:gd name="T87" fmla="*/ 2147483647 h 78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8"/>
              <a:gd name="T133" fmla="*/ 0 h 781"/>
              <a:gd name="T134" fmla="*/ 908 w 908"/>
              <a:gd name="T135" fmla="*/ 781 h 78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8" h="781">
                <a:moveTo>
                  <a:pt x="878" y="469"/>
                </a:moveTo>
                <a:lnTo>
                  <a:pt x="846" y="463"/>
                </a:lnTo>
                <a:lnTo>
                  <a:pt x="813" y="458"/>
                </a:lnTo>
                <a:lnTo>
                  <a:pt x="781" y="451"/>
                </a:lnTo>
                <a:lnTo>
                  <a:pt x="749" y="445"/>
                </a:lnTo>
                <a:lnTo>
                  <a:pt x="736" y="407"/>
                </a:lnTo>
                <a:lnTo>
                  <a:pt x="710" y="385"/>
                </a:lnTo>
                <a:lnTo>
                  <a:pt x="707" y="373"/>
                </a:lnTo>
                <a:lnTo>
                  <a:pt x="696" y="363"/>
                </a:lnTo>
                <a:lnTo>
                  <a:pt x="686" y="347"/>
                </a:lnTo>
                <a:lnTo>
                  <a:pt x="683" y="333"/>
                </a:lnTo>
                <a:lnTo>
                  <a:pt x="667" y="312"/>
                </a:lnTo>
                <a:lnTo>
                  <a:pt x="671" y="294"/>
                </a:lnTo>
                <a:lnTo>
                  <a:pt x="664" y="280"/>
                </a:lnTo>
                <a:lnTo>
                  <a:pt x="664" y="270"/>
                </a:lnTo>
                <a:lnTo>
                  <a:pt x="633" y="249"/>
                </a:lnTo>
                <a:lnTo>
                  <a:pt x="631" y="235"/>
                </a:lnTo>
                <a:lnTo>
                  <a:pt x="609" y="215"/>
                </a:lnTo>
                <a:lnTo>
                  <a:pt x="591" y="182"/>
                </a:lnTo>
                <a:lnTo>
                  <a:pt x="565" y="182"/>
                </a:lnTo>
                <a:lnTo>
                  <a:pt x="552" y="164"/>
                </a:lnTo>
                <a:lnTo>
                  <a:pt x="515" y="153"/>
                </a:lnTo>
                <a:lnTo>
                  <a:pt x="438" y="149"/>
                </a:lnTo>
                <a:lnTo>
                  <a:pt x="390" y="127"/>
                </a:lnTo>
                <a:lnTo>
                  <a:pt x="386" y="90"/>
                </a:lnTo>
                <a:lnTo>
                  <a:pt x="363" y="88"/>
                </a:lnTo>
                <a:lnTo>
                  <a:pt x="352" y="70"/>
                </a:lnTo>
                <a:lnTo>
                  <a:pt x="308" y="54"/>
                </a:lnTo>
                <a:lnTo>
                  <a:pt x="260" y="17"/>
                </a:lnTo>
                <a:lnTo>
                  <a:pt x="195" y="0"/>
                </a:lnTo>
                <a:lnTo>
                  <a:pt x="182" y="15"/>
                </a:lnTo>
                <a:lnTo>
                  <a:pt x="98" y="32"/>
                </a:lnTo>
                <a:lnTo>
                  <a:pt x="146" y="79"/>
                </a:lnTo>
                <a:lnTo>
                  <a:pt x="128" y="90"/>
                </a:lnTo>
                <a:lnTo>
                  <a:pt x="122" y="112"/>
                </a:lnTo>
                <a:lnTo>
                  <a:pt x="89" y="116"/>
                </a:lnTo>
                <a:lnTo>
                  <a:pt x="76" y="139"/>
                </a:lnTo>
                <a:lnTo>
                  <a:pt x="63" y="152"/>
                </a:lnTo>
                <a:lnTo>
                  <a:pt x="15" y="146"/>
                </a:lnTo>
                <a:lnTo>
                  <a:pt x="13" y="139"/>
                </a:lnTo>
                <a:lnTo>
                  <a:pt x="9" y="183"/>
                </a:lnTo>
                <a:lnTo>
                  <a:pt x="0" y="205"/>
                </a:lnTo>
                <a:lnTo>
                  <a:pt x="5" y="201"/>
                </a:lnTo>
                <a:lnTo>
                  <a:pt x="24" y="206"/>
                </a:lnTo>
                <a:lnTo>
                  <a:pt x="47" y="251"/>
                </a:lnTo>
                <a:lnTo>
                  <a:pt x="68" y="274"/>
                </a:lnTo>
                <a:lnTo>
                  <a:pt x="85" y="310"/>
                </a:lnTo>
                <a:lnTo>
                  <a:pt x="103" y="332"/>
                </a:lnTo>
                <a:lnTo>
                  <a:pt x="110" y="364"/>
                </a:lnTo>
                <a:lnTo>
                  <a:pt x="121" y="382"/>
                </a:lnTo>
                <a:lnTo>
                  <a:pt x="138" y="386"/>
                </a:lnTo>
                <a:lnTo>
                  <a:pt x="162" y="407"/>
                </a:lnTo>
                <a:lnTo>
                  <a:pt x="192" y="473"/>
                </a:lnTo>
                <a:lnTo>
                  <a:pt x="188" y="495"/>
                </a:lnTo>
                <a:lnTo>
                  <a:pt x="203" y="551"/>
                </a:lnTo>
                <a:lnTo>
                  <a:pt x="248" y="579"/>
                </a:lnTo>
                <a:lnTo>
                  <a:pt x="270" y="606"/>
                </a:lnTo>
                <a:lnTo>
                  <a:pt x="281" y="640"/>
                </a:lnTo>
                <a:lnTo>
                  <a:pt x="302" y="675"/>
                </a:lnTo>
                <a:lnTo>
                  <a:pt x="327" y="696"/>
                </a:lnTo>
                <a:lnTo>
                  <a:pt x="330" y="709"/>
                </a:lnTo>
                <a:lnTo>
                  <a:pt x="346" y="732"/>
                </a:lnTo>
                <a:lnTo>
                  <a:pt x="348" y="746"/>
                </a:lnTo>
                <a:lnTo>
                  <a:pt x="356" y="742"/>
                </a:lnTo>
                <a:lnTo>
                  <a:pt x="361" y="731"/>
                </a:lnTo>
                <a:lnTo>
                  <a:pt x="380" y="716"/>
                </a:lnTo>
                <a:lnTo>
                  <a:pt x="424" y="705"/>
                </a:lnTo>
                <a:lnTo>
                  <a:pt x="463" y="719"/>
                </a:lnTo>
                <a:lnTo>
                  <a:pt x="502" y="733"/>
                </a:lnTo>
                <a:lnTo>
                  <a:pt x="502" y="781"/>
                </a:lnTo>
                <a:lnTo>
                  <a:pt x="531" y="752"/>
                </a:lnTo>
                <a:lnTo>
                  <a:pt x="557" y="721"/>
                </a:lnTo>
                <a:lnTo>
                  <a:pt x="585" y="691"/>
                </a:lnTo>
                <a:lnTo>
                  <a:pt x="611" y="661"/>
                </a:lnTo>
                <a:lnTo>
                  <a:pt x="646" y="653"/>
                </a:lnTo>
                <a:lnTo>
                  <a:pt x="680" y="645"/>
                </a:lnTo>
                <a:lnTo>
                  <a:pt x="715" y="637"/>
                </a:lnTo>
                <a:lnTo>
                  <a:pt x="749" y="629"/>
                </a:lnTo>
                <a:lnTo>
                  <a:pt x="781" y="618"/>
                </a:lnTo>
                <a:lnTo>
                  <a:pt x="813" y="606"/>
                </a:lnTo>
                <a:lnTo>
                  <a:pt x="846" y="594"/>
                </a:lnTo>
                <a:lnTo>
                  <a:pt x="877" y="583"/>
                </a:lnTo>
                <a:lnTo>
                  <a:pt x="885" y="560"/>
                </a:lnTo>
                <a:lnTo>
                  <a:pt x="892" y="538"/>
                </a:lnTo>
                <a:lnTo>
                  <a:pt x="901" y="514"/>
                </a:lnTo>
                <a:lnTo>
                  <a:pt x="908" y="492"/>
                </a:lnTo>
                <a:lnTo>
                  <a:pt x="886" y="460"/>
                </a:lnTo>
                <a:lnTo>
                  <a:pt x="878" y="469"/>
                </a:lnTo>
                <a:close/>
              </a:path>
            </a:pathLst>
          </a:custGeom>
          <a:solidFill>
            <a:schemeClr val="accent1"/>
          </a:solidFill>
          <a:ln w="6350">
            <a:solidFill>
              <a:schemeClr val="tx2"/>
            </a:solidFill>
            <a:round/>
            <a:headEnd/>
            <a:tailEnd/>
          </a:ln>
        </p:spPr>
        <p:txBody>
          <a:bodyPr/>
          <a:lstStyle/>
          <a:p>
            <a:endParaRPr lang="en-US"/>
          </a:p>
        </p:txBody>
      </p:sp>
      <p:sp>
        <p:nvSpPr>
          <p:cNvPr id="600" name="Freeform 1714"/>
          <p:cNvSpPr>
            <a:spLocks/>
          </p:cNvSpPr>
          <p:nvPr/>
        </p:nvSpPr>
        <p:spPr bwMode="auto">
          <a:xfrm>
            <a:off x="6661939" y="3998090"/>
            <a:ext cx="1432" cy="1274"/>
          </a:xfrm>
          <a:custGeom>
            <a:avLst/>
            <a:gdLst>
              <a:gd name="T0" fmla="*/ 2147483647 w 3"/>
              <a:gd name="T1" fmla="*/ 0 h 4"/>
              <a:gd name="T2" fmla="*/ 0 w 3"/>
              <a:gd name="T3" fmla="*/ 2147483647 h 4"/>
              <a:gd name="T4" fmla="*/ 2147483647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0"/>
                </a:moveTo>
                <a:lnTo>
                  <a:pt x="0" y="4"/>
                </a:lnTo>
                <a:lnTo>
                  <a:pt x="3" y="0"/>
                </a:lnTo>
                <a:close/>
              </a:path>
            </a:pathLst>
          </a:custGeom>
          <a:solidFill>
            <a:schemeClr val="accent1"/>
          </a:solidFill>
          <a:ln w="6350">
            <a:solidFill>
              <a:schemeClr val="tx2"/>
            </a:solidFill>
            <a:round/>
            <a:headEnd/>
            <a:tailEnd/>
          </a:ln>
        </p:spPr>
        <p:txBody>
          <a:bodyPr/>
          <a:lstStyle/>
          <a:p>
            <a:endParaRPr lang="en-US"/>
          </a:p>
        </p:txBody>
      </p:sp>
      <p:sp>
        <p:nvSpPr>
          <p:cNvPr id="601" name="Freeform 1715"/>
          <p:cNvSpPr>
            <a:spLocks/>
          </p:cNvSpPr>
          <p:nvPr/>
        </p:nvSpPr>
        <p:spPr bwMode="auto">
          <a:xfrm>
            <a:off x="6661939" y="3992996"/>
            <a:ext cx="1432" cy="1274"/>
          </a:xfrm>
          <a:custGeom>
            <a:avLst/>
            <a:gdLst>
              <a:gd name="T0" fmla="*/ 0 w 5"/>
              <a:gd name="T1" fmla="*/ 2147483647 h 4"/>
              <a:gd name="T2" fmla="*/ 2147483647 w 5"/>
              <a:gd name="T3" fmla="*/ 2147483647 h 4"/>
              <a:gd name="T4" fmla="*/ 2147483647 w 5"/>
              <a:gd name="T5" fmla="*/ 0 h 4"/>
              <a:gd name="T6" fmla="*/ 0 w 5"/>
              <a:gd name="T7" fmla="*/ 2147483647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0" y="3"/>
                </a:moveTo>
                <a:lnTo>
                  <a:pt x="5" y="4"/>
                </a:lnTo>
                <a:lnTo>
                  <a:pt x="3" y="0"/>
                </a:lnTo>
                <a:lnTo>
                  <a:pt x="0" y="3"/>
                </a:lnTo>
                <a:close/>
              </a:path>
            </a:pathLst>
          </a:custGeom>
          <a:solidFill>
            <a:schemeClr val="accent1"/>
          </a:solidFill>
          <a:ln w="6350">
            <a:solidFill>
              <a:schemeClr val="tx2"/>
            </a:solidFill>
            <a:round/>
            <a:headEnd/>
            <a:tailEnd/>
          </a:ln>
        </p:spPr>
        <p:txBody>
          <a:bodyPr/>
          <a:lstStyle/>
          <a:p>
            <a:endParaRPr lang="en-US"/>
          </a:p>
        </p:txBody>
      </p:sp>
      <p:sp>
        <p:nvSpPr>
          <p:cNvPr id="602" name="Freeform 1718"/>
          <p:cNvSpPr>
            <a:spLocks/>
          </p:cNvSpPr>
          <p:nvPr/>
        </p:nvSpPr>
        <p:spPr bwMode="auto">
          <a:xfrm>
            <a:off x="6644738" y="3938228"/>
            <a:ext cx="2866" cy="3820"/>
          </a:xfrm>
          <a:custGeom>
            <a:avLst/>
            <a:gdLst>
              <a:gd name="T0" fmla="*/ 2147483647 w 6"/>
              <a:gd name="T1" fmla="*/ 2147483647 h 8"/>
              <a:gd name="T2" fmla="*/ 0 w 6"/>
              <a:gd name="T3" fmla="*/ 0 h 8"/>
              <a:gd name="T4" fmla="*/ 2147483647 w 6"/>
              <a:gd name="T5" fmla="*/ 2147483647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6" y="8"/>
                </a:moveTo>
                <a:lnTo>
                  <a:pt x="0" y="0"/>
                </a:lnTo>
                <a:lnTo>
                  <a:pt x="6" y="8"/>
                </a:lnTo>
                <a:close/>
              </a:path>
            </a:pathLst>
          </a:custGeom>
          <a:solidFill>
            <a:schemeClr val="accent1"/>
          </a:solidFill>
          <a:ln w="6350">
            <a:solidFill>
              <a:schemeClr val="tx2"/>
            </a:solidFill>
            <a:round/>
            <a:headEnd/>
            <a:tailEnd/>
          </a:ln>
        </p:spPr>
        <p:txBody>
          <a:bodyPr/>
          <a:lstStyle/>
          <a:p>
            <a:endParaRPr lang="en-US"/>
          </a:p>
        </p:txBody>
      </p:sp>
      <p:sp>
        <p:nvSpPr>
          <p:cNvPr id="603" name="Freeform 1719"/>
          <p:cNvSpPr>
            <a:spLocks/>
          </p:cNvSpPr>
          <p:nvPr/>
        </p:nvSpPr>
        <p:spPr bwMode="auto">
          <a:xfrm>
            <a:off x="6644738" y="3936955"/>
            <a:ext cx="2866" cy="3821"/>
          </a:xfrm>
          <a:custGeom>
            <a:avLst/>
            <a:gdLst>
              <a:gd name="T0" fmla="*/ 0 w 6"/>
              <a:gd name="T1" fmla="*/ 0 h 7"/>
              <a:gd name="T2" fmla="*/ 2147483647 w 6"/>
              <a:gd name="T3" fmla="*/ 2147483647 h 7"/>
              <a:gd name="T4" fmla="*/ 0 w 6"/>
              <a:gd name="T5" fmla="*/ 0 h 7"/>
              <a:gd name="T6" fmla="*/ 0 60000 65536"/>
              <a:gd name="T7" fmla="*/ 0 60000 65536"/>
              <a:gd name="T8" fmla="*/ 0 60000 65536"/>
              <a:gd name="T9" fmla="*/ 0 w 6"/>
              <a:gd name="T10" fmla="*/ 0 h 7"/>
              <a:gd name="T11" fmla="*/ 6 w 6"/>
              <a:gd name="T12" fmla="*/ 7 h 7"/>
            </a:gdLst>
            <a:ahLst/>
            <a:cxnLst>
              <a:cxn ang="T6">
                <a:pos x="T0" y="T1"/>
              </a:cxn>
              <a:cxn ang="T7">
                <a:pos x="T2" y="T3"/>
              </a:cxn>
              <a:cxn ang="T8">
                <a:pos x="T4" y="T5"/>
              </a:cxn>
            </a:cxnLst>
            <a:rect l="T9" t="T10" r="T11" b="T12"/>
            <a:pathLst>
              <a:path w="6" h="7">
                <a:moveTo>
                  <a:pt x="0" y="0"/>
                </a:moveTo>
                <a:lnTo>
                  <a:pt x="6" y="7"/>
                </a:lnTo>
                <a:lnTo>
                  <a:pt x="0" y="0"/>
                </a:lnTo>
                <a:close/>
              </a:path>
            </a:pathLst>
          </a:custGeom>
          <a:solidFill>
            <a:schemeClr val="accent1"/>
          </a:solidFill>
          <a:ln w="6350">
            <a:solidFill>
              <a:schemeClr val="tx2"/>
            </a:solidFill>
            <a:round/>
            <a:headEnd/>
            <a:tailEnd/>
          </a:ln>
        </p:spPr>
        <p:txBody>
          <a:bodyPr/>
          <a:lstStyle/>
          <a:p>
            <a:endParaRPr lang="en-US"/>
          </a:p>
        </p:txBody>
      </p:sp>
      <p:sp>
        <p:nvSpPr>
          <p:cNvPr id="604" name="Freeform 1720"/>
          <p:cNvSpPr>
            <a:spLocks/>
          </p:cNvSpPr>
          <p:nvPr/>
        </p:nvSpPr>
        <p:spPr bwMode="auto">
          <a:xfrm>
            <a:off x="6647605" y="3940775"/>
            <a:ext cx="1432" cy="2547"/>
          </a:xfrm>
          <a:custGeom>
            <a:avLst/>
            <a:gdLst>
              <a:gd name="T0" fmla="*/ 2147483647 w 3"/>
              <a:gd name="T1" fmla="*/ 2147483647 h 6"/>
              <a:gd name="T2" fmla="*/ 0 w 3"/>
              <a:gd name="T3" fmla="*/ 0 h 6"/>
              <a:gd name="T4" fmla="*/ 2147483647 w 3"/>
              <a:gd name="T5" fmla="*/ 2147483647 h 6"/>
              <a:gd name="T6" fmla="*/ 0 60000 65536"/>
              <a:gd name="T7" fmla="*/ 0 60000 65536"/>
              <a:gd name="T8" fmla="*/ 0 60000 65536"/>
              <a:gd name="T9" fmla="*/ 0 w 3"/>
              <a:gd name="T10" fmla="*/ 0 h 6"/>
              <a:gd name="T11" fmla="*/ 3 w 3"/>
              <a:gd name="T12" fmla="*/ 6 h 6"/>
            </a:gdLst>
            <a:ahLst/>
            <a:cxnLst>
              <a:cxn ang="T6">
                <a:pos x="T0" y="T1"/>
              </a:cxn>
              <a:cxn ang="T7">
                <a:pos x="T2" y="T3"/>
              </a:cxn>
              <a:cxn ang="T8">
                <a:pos x="T4" y="T5"/>
              </a:cxn>
            </a:cxnLst>
            <a:rect l="T9" t="T10" r="T11" b="T12"/>
            <a:pathLst>
              <a:path w="3" h="6">
                <a:moveTo>
                  <a:pt x="3" y="6"/>
                </a:moveTo>
                <a:lnTo>
                  <a:pt x="0" y="0"/>
                </a:lnTo>
                <a:lnTo>
                  <a:pt x="3" y="6"/>
                </a:lnTo>
                <a:close/>
              </a:path>
            </a:pathLst>
          </a:custGeom>
          <a:solidFill>
            <a:schemeClr val="accent1"/>
          </a:solidFill>
          <a:ln w="6350">
            <a:solidFill>
              <a:schemeClr val="tx2"/>
            </a:solidFill>
            <a:round/>
            <a:headEnd/>
            <a:tailEnd/>
          </a:ln>
        </p:spPr>
        <p:txBody>
          <a:bodyPr/>
          <a:lstStyle/>
          <a:p>
            <a:endParaRPr lang="en-US"/>
          </a:p>
        </p:txBody>
      </p:sp>
      <p:sp>
        <p:nvSpPr>
          <p:cNvPr id="605" name="Freeform 1722"/>
          <p:cNvSpPr>
            <a:spLocks/>
          </p:cNvSpPr>
          <p:nvPr/>
        </p:nvSpPr>
        <p:spPr bwMode="auto">
          <a:xfrm>
            <a:off x="6320803" y="3496270"/>
            <a:ext cx="5734" cy="8916"/>
          </a:xfrm>
          <a:custGeom>
            <a:avLst/>
            <a:gdLst>
              <a:gd name="T0" fmla="*/ 2147483647 w 10"/>
              <a:gd name="T1" fmla="*/ 2147483647 h 22"/>
              <a:gd name="T2" fmla="*/ 2147483647 w 10"/>
              <a:gd name="T3" fmla="*/ 2147483647 h 22"/>
              <a:gd name="T4" fmla="*/ 2147483647 w 10"/>
              <a:gd name="T5" fmla="*/ 2147483647 h 22"/>
              <a:gd name="T6" fmla="*/ 0 w 10"/>
              <a:gd name="T7" fmla="*/ 0 h 22"/>
              <a:gd name="T8" fmla="*/ 2147483647 w 10"/>
              <a:gd name="T9" fmla="*/ 2147483647 h 22"/>
              <a:gd name="T10" fmla="*/ 0 60000 65536"/>
              <a:gd name="T11" fmla="*/ 0 60000 65536"/>
              <a:gd name="T12" fmla="*/ 0 60000 65536"/>
              <a:gd name="T13" fmla="*/ 0 60000 65536"/>
              <a:gd name="T14" fmla="*/ 0 60000 65536"/>
              <a:gd name="T15" fmla="*/ 0 w 10"/>
              <a:gd name="T16" fmla="*/ 0 h 22"/>
              <a:gd name="T17" fmla="*/ 10 w 10"/>
              <a:gd name="T18" fmla="*/ 22 h 22"/>
            </a:gdLst>
            <a:ahLst/>
            <a:cxnLst>
              <a:cxn ang="T10">
                <a:pos x="T0" y="T1"/>
              </a:cxn>
              <a:cxn ang="T11">
                <a:pos x="T2" y="T3"/>
              </a:cxn>
              <a:cxn ang="T12">
                <a:pos x="T4" y="T5"/>
              </a:cxn>
              <a:cxn ang="T13">
                <a:pos x="T6" y="T7"/>
              </a:cxn>
              <a:cxn ang="T14">
                <a:pos x="T8" y="T9"/>
              </a:cxn>
            </a:cxnLst>
            <a:rect l="T15" t="T16" r="T17" b="T18"/>
            <a:pathLst>
              <a:path w="10" h="22">
                <a:moveTo>
                  <a:pt x="3" y="22"/>
                </a:moveTo>
                <a:lnTo>
                  <a:pt x="8" y="18"/>
                </a:lnTo>
                <a:lnTo>
                  <a:pt x="10" y="4"/>
                </a:lnTo>
                <a:lnTo>
                  <a:pt x="0" y="0"/>
                </a:lnTo>
                <a:lnTo>
                  <a:pt x="3" y="22"/>
                </a:lnTo>
                <a:close/>
              </a:path>
            </a:pathLst>
          </a:custGeom>
          <a:solidFill>
            <a:schemeClr val="accent1"/>
          </a:solidFill>
          <a:ln w="6350">
            <a:solidFill>
              <a:schemeClr val="tx2"/>
            </a:solidFill>
            <a:round/>
            <a:headEnd/>
            <a:tailEnd/>
          </a:ln>
        </p:spPr>
        <p:txBody>
          <a:bodyPr/>
          <a:lstStyle/>
          <a:p>
            <a:endParaRPr lang="en-US"/>
          </a:p>
        </p:txBody>
      </p:sp>
      <p:sp>
        <p:nvSpPr>
          <p:cNvPr id="606" name="Freeform 1723"/>
          <p:cNvSpPr>
            <a:spLocks/>
          </p:cNvSpPr>
          <p:nvPr/>
        </p:nvSpPr>
        <p:spPr bwMode="auto">
          <a:xfrm>
            <a:off x="6358071" y="3544668"/>
            <a:ext cx="14334" cy="12737"/>
          </a:xfrm>
          <a:custGeom>
            <a:avLst/>
            <a:gdLst>
              <a:gd name="T0" fmla="*/ 2147483647 w 24"/>
              <a:gd name="T1" fmla="*/ 2147483647 h 28"/>
              <a:gd name="T2" fmla="*/ 2147483647 w 24"/>
              <a:gd name="T3" fmla="*/ 0 h 28"/>
              <a:gd name="T4" fmla="*/ 0 w 24"/>
              <a:gd name="T5" fmla="*/ 2147483647 h 28"/>
              <a:gd name="T6" fmla="*/ 0 w 24"/>
              <a:gd name="T7" fmla="*/ 2147483647 h 28"/>
              <a:gd name="T8" fmla="*/ 2147483647 w 24"/>
              <a:gd name="T9" fmla="*/ 2147483647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3" y="20"/>
                </a:moveTo>
                <a:lnTo>
                  <a:pt x="24" y="0"/>
                </a:lnTo>
                <a:lnTo>
                  <a:pt x="0" y="14"/>
                </a:lnTo>
                <a:lnTo>
                  <a:pt x="0" y="28"/>
                </a:lnTo>
                <a:lnTo>
                  <a:pt x="13" y="20"/>
                </a:lnTo>
                <a:close/>
              </a:path>
            </a:pathLst>
          </a:custGeom>
          <a:solidFill>
            <a:schemeClr val="accent1"/>
          </a:solidFill>
          <a:ln w="6350">
            <a:solidFill>
              <a:schemeClr val="tx2"/>
            </a:solidFill>
            <a:round/>
            <a:headEnd/>
            <a:tailEnd/>
          </a:ln>
        </p:spPr>
        <p:txBody>
          <a:bodyPr/>
          <a:lstStyle/>
          <a:p>
            <a:endParaRPr lang="en-US"/>
          </a:p>
        </p:txBody>
      </p:sp>
      <p:sp>
        <p:nvSpPr>
          <p:cNvPr id="607" name="Freeform 1724"/>
          <p:cNvSpPr>
            <a:spLocks/>
          </p:cNvSpPr>
          <p:nvPr/>
        </p:nvSpPr>
        <p:spPr bwMode="auto">
          <a:xfrm>
            <a:off x="6452671" y="3561226"/>
            <a:ext cx="45867" cy="24199"/>
          </a:xfrm>
          <a:custGeom>
            <a:avLst/>
            <a:gdLst>
              <a:gd name="T0" fmla="*/ 2147483647 w 100"/>
              <a:gd name="T1" fmla="*/ 2147483647 h 58"/>
              <a:gd name="T2" fmla="*/ 2147483647 w 100"/>
              <a:gd name="T3" fmla="*/ 0 h 58"/>
              <a:gd name="T4" fmla="*/ 2147483647 w 100"/>
              <a:gd name="T5" fmla="*/ 2147483647 h 58"/>
              <a:gd name="T6" fmla="*/ 2147483647 w 100"/>
              <a:gd name="T7" fmla="*/ 2147483647 h 58"/>
              <a:gd name="T8" fmla="*/ 2147483647 w 100"/>
              <a:gd name="T9" fmla="*/ 2147483647 h 58"/>
              <a:gd name="T10" fmla="*/ 2147483647 w 100"/>
              <a:gd name="T11" fmla="*/ 2147483647 h 58"/>
              <a:gd name="T12" fmla="*/ 0 w 100"/>
              <a:gd name="T13" fmla="*/ 2147483647 h 58"/>
              <a:gd name="T14" fmla="*/ 2147483647 w 100"/>
              <a:gd name="T15" fmla="*/ 2147483647 h 58"/>
              <a:gd name="T16" fmla="*/ 2147483647 w 100"/>
              <a:gd name="T17" fmla="*/ 2147483647 h 58"/>
              <a:gd name="T18" fmla="*/ 2147483647 w 100"/>
              <a:gd name="T19" fmla="*/ 2147483647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0"/>
              <a:gd name="T31" fmla="*/ 0 h 58"/>
              <a:gd name="T32" fmla="*/ 100 w 100"/>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0" h="58">
                <a:moveTo>
                  <a:pt x="73" y="13"/>
                </a:moveTo>
                <a:lnTo>
                  <a:pt x="100" y="0"/>
                </a:lnTo>
                <a:lnTo>
                  <a:pt x="86" y="17"/>
                </a:lnTo>
                <a:lnTo>
                  <a:pt x="73" y="40"/>
                </a:lnTo>
                <a:lnTo>
                  <a:pt x="34" y="58"/>
                </a:lnTo>
                <a:lnTo>
                  <a:pt x="9" y="52"/>
                </a:lnTo>
                <a:lnTo>
                  <a:pt x="0" y="36"/>
                </a:lnTo>
                <a:lnTo>
                  <a:pt x="30" y="26"/>
                </a:lnTo>
                <a:lnTo>
                  <a:pt x="31" y="19"/>
                </a:lnTo>
                <a:lnTo>
                  <a:pt x="73" y="13"/>
                </a:lnTo>
                <a:close/>
              </a:path>
            </a:pathLst>
          </a:custGeom>
          <a:solidFill>
            <a:schemeClr val="accent1"/>
          </a:solidFill>
          <a:ln w="6350">
            <a:solidFill>
              <a:schemeClr val="tx2"/>
            </a:solidFill>
            <a:round/>
            <a:headEnd/>
            <a:tailEnd/>
          </a:ln>
        </p:spPr>
        <p:txBody>
          <a:bodyPr/>
          <a:lstStyle/>
          <a:p>
            <a:endParaRPr lang="en-US"/>
          </a:p>
        </p:txBody>
      </p:sp>
      <p:sp>
        <p:nvSpPr>
          <p:cNvPr id="608" name="Freeform 1727"/>
          <p:cNvSpPr>
            <a:spLocks/>
          </p:cNvSpPr>
          <p:nvPr/>
        </p:nvSpPr>
        <p:spPr bwMode="auto">
          <a:xfrm>
            <a:off x="6274937" y="3563774"/>
            <a:ext cx="54468" cy="16557"/>
          </a:xfrm>
          <a:custGeom>
            <a:avLst/>
            <a:gdLst>
              <a:gd name="T0" fmla="*/ 2147483647 w 118"/>
              <a:gd name="T1" fmla="*/ 2147483647 h 37"/>
              <a:gd name="T2" fmla="*/ 2147483647 w 118"/>
              <a:gd name="T3" fmla="*/ 2147483647 h 37"/>
              <a:gd name="T4" fmla="*/ 2147483647 w 118"/>
              <a:gd name="T5" fmla="*/ 2147483647 h 37"/>
              <a:gd name="T6" fmla="*/ 2147483647 w 118"/>
              <a:gd name="T7" fmla="*/ 2147483647 h 37"/>
              <a:gd name="T8" fmla="*/ 2147483647 w 118"/>
              <a:gd name="T9" fmla="*/ 2147483647 h 37"/>
              <a:gd name="T10" fmla="*/ 2147483647 w 118"/>
              <a:gd name="T11" fmla="*/ 0 h 37"/>
              <a:gd name="T12" fmla="*/ 2147483647 w 118"/>
              <a:gd name="T13" fmla="*/ 2147483647 h 37"/>
              <a:gd name="T14" fmla="*/ 2147483647 w 118"/>
              <a:gd name="T15" fmla="*/ 2147483647 h 37"/>
              <a:gd name="T16" fmla="*/ 0 w 118"/>
              <a:gd name="T17" fmla="*/ 2147483647 h 37"/>
              <a:gd name="T18" fmla="*/ 2147483647 w 118"/>
              <a:gd name="T19" fmla="*/ 2147483647 h 37"/>
              <a:gd name="T20" fmla="*/ 2147483647 w 118"/>
              <a:gd name="T21" fmla="*/ 2147483647 h 37"/>
              <a:gd name="T22" fmla="*/ 2147483647 w 118"/>
              <a:gd name="T23" fmla="*/ 2147483647 h 37"/>
              <a:gd name="T24" fmla="*/ 2147483647 w 118"/>
              <a:gd name="T25" fmla="*/ 2147483647 h 37"/>
              <a:gd name="T26" fmla="*/ 2147483647 w 118"/>
              <a:gd name="T27" fmla="*/ 2147483647 h 37"/>
              <a:gd name="T28" fmla="*/ 2147483647 w 118"/>
              <a:gd name="T29" fmla="*/ 2147483647 h 37"/>
              <a:gd name="T30" fmla="*/ 2147483647 w 118"/>
              <a:gd name="T31" fmla="*/ 2147483647 h 37"/>
              <a:gd name="T32" fmla="*/ 2147483647 w 118"/>
              <a:gd name="T33" fmla="*/ 2147483647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8"/>
              <a:gd name="T52" fmla="*/ 0 h 37"/>
              <a:gd name="T53" fmla="*/ 118 w 118"/>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8" h="37">
                <a:moveTo>
                  <a:pt x="65" y="12"/>
                </a:moveTo>
                <a:lnTo>
                  <a:pt x="36" y="14"/>
                </a:lnTo>
                <a:lnTo>
                  <a:pt x="26" y="9"/>
                </a:lnTo>
                <a:lnTo>
                  <a:pt x="25" y="1"/>
                </a:lnTo>
                <a:lnTo>
                  <a:pt x="20" y="5"/>
                </a:lnTo>
                <a:lnTo>
                  <a:pt x="8" y="0"/>
                </a:lnTo>
                <a:lnTo>
                  <a:pt x="6" y="6"/>
                </a:lnTo>
                <a:lnTo>
                  <a:pt x="2" y="4"/>
                </a:lnTo>
                <a:lnTo>
                  <a:pt x="0" y="22"/>
                </a:lnTo>
                <a:lnTo>
                  <a:pt x="40" y="24"/>
                </a:lnTo>
                <a:lnTo>
                  <a:pt x="54" y="37"/>
                </a:lnTo>
                <a:lnTo>
                  <a:pt x="104" y="30"/>
                </a:lnTo>
                <a:lnTo>
                  <a:pt x="112" y="34"/>
                </a:lnTo>
                <a:lnTo>
                  <a:pt x="118" y="18"/>
                </a:lnTo>
                <a:lnTo>
                  <a:pt x="103" y="24"/>
                </a:lnTo>
                <a:lnTo>
                  <a:pt x="93" y="16"/>
                </a:lnTo>
                <a:lnTo>
                  <a:pt x="65" y="12"/>
                </a:lnTo>
                <a:close/>
              </a:path>
            </a:pathLst>
          </a:custGeom>
          <a:solidFill>
            <a:schemeClr val="accent1"/>
          </a:solidFill>
          <a:ln w="6350">
            <a:solidFill>
              <a:schemeClr val="tx2"/>
            </a:solidFill>
            <a:round/>
            <a:headEnd/>
            <a:tailEnd/>
          </a:ln>
        </p:spPr>
        <p:txBody>
          <a:bodyPr/>
          <a:lstStyle/>
          <a:p>
            <a:endParaRPr lang="en-US"/>
          </a:p>
        </p:txBody>
      </p:sp>
      <p:sp>
        <p:nvSpPr>
          <p:cNvPr id="609" name="Freeform 1728"/>
          <p:cNvSpPr>
            <a:spLocks/>
          </p:cNvSpPr>
          <p:nvPr/>
        </p:nvSpPr>
        <p:spPr bwMode="auto">
          <a:xfrm>
            <a:off x="6297871" y="3510280"/>
            <a:ext cx="5734" cy="7642"/>
          </a:xfrm>
          <a:custGeom>
            <a:avLst/>
            <a:gdLst>
              <a:gd name="T0" fmla="*/ 2147483647 w 11"/>
              <a:gd name="T1" fmla="*/ 2147483647 h 17"/>
              <a:gd name="T2" fmla="*/ 2147483647 w 11"/>
              <a:gd name="T3" fmla="*/ 2147483647 h 17"/>
              <a:gd name="T4" fmla="*/ 0 w 11"/>
              <a:gd name="T5" fmla="*/ 0 h 17"/>
              <a:gd name="T6" fmla="*/ 2147483647 w 11"/>
              <a:gd name="T7" fmla="*/ 2147483647 h 17"/>
              <a:gd name="T8" fmla="*/ 0 60000 65536"/>
              <a:gd name="T9" fmla="*/ 0 60000 65536"/>
              <a:gd name="T10" fmla="*/ 0 60000 65536"/>
              <a:gd name="T11" fmla="*/ 0 60000 65536"/>
              <a:gd name="T12" fmla="*/ 0 w 11"/>
              <a:gd name="T13" fmla="*/ 0 h 17"/>
              <a:gd name="T14" fmla="*/ 11 w 11"/>
              <a:gd name="T15" fmla="*/ 17 h 17"/>
            </a:gdLst>
            <a:ahLst/>
            <a:cxnLst>
              <a:cxn ang="T8">
                <a:pos x="T0" y="T1"/>
              </a:cxn>
              <a:cxn ang="T9">
                <a:pos x="T2" y="T3"/>
              </a:cxn>
              <a:cxn ang="T10">
                <a:pos x="T4" y="T5"/>
              </a:cxn>
              <a:cxn ang="T11">
                <a:pos x="T6" y="T7"/>
              </a:cxn>
            </a:cxnLst>
            <a:rect l="T12" t="T13" r="T14" b="T15"/>
            <a:pathLst>
              <a:path w="11" h="17">
                <a:moveTo>
                  <a:pt x="10" y="17"/>
                </a:moveTo>
                <a:lnTo>
                  <a:pt x="11" y="5"/>
                </a:lnTo>
                <a:lnTo>
                  <a:pt x="0" y="0"/>
                </a:lnTo>
                <a:lnTo>
                  <a:pt x="10" y="17"/>
                </a:lnTo>
                <a:close/>
              </a:path>
            </a:pathLst>
          </a:custGeom>
          <a:solidFill>
            <a:schemeClr val="accent1"/>
          </a:solidFill>
          <a:ln w="6350">
            <a:solidFill>
              <a:schemeClr val="tx2"/>
            </a:solidFill>
            <a:round/>
            <a:headEnd/>
            <a:tailEnd/>
          </a:ln>
        </p:spPr>
        <p:txBody>
          <a:bodyPr/>
          <a:lstStyle/>
          <a:p>
            <a:endParaRPr lang="en-US"/>
          </a:p>
        </p:txBody>
      </p:sp>
      <p:sp>
        <p:nvSpPr>
          <p:cNvPr id="610" name="Freeform 1729"/>
          <p:cNvSpPr>
            <a:spLocks/>
          </p:cNvSpPr>
          <p:nvPr/>
        </p:nvSpPr>
        <p:spPr bwMode="auto">
          <a:xfrm>
            <a:off x="6312204" y="3529385"/>
            <a:ext cx="2866" cy="5095"/>
          </a:xfrm>
          <a:custGeom>
            <a:avLst/>
            <a:gdLst>
              <a:gd name="T0" fmla="*/ 2147483647 w 8"/>
              <a:gd name="T1" fmla="*/ 2147483647 h 14"/>
              <a:gd name="T2" fmla="*/ 2147483647 w 8"/>
              <a:gd name="T3" fmla="*/ 2147483647 h 14"/>
              <a:gd name="T4" fmla="*/ 2147483647 w 8"/>
              <a:gd name="T5" fmla="*/ 0 h 14"/>
              <a:gd name="T6" fmla="*/ 0 w 8"/>
              <a:gd name="T7" fmla="*/ 2147483647 h 14"/>
              <a:gd name="T8" fmla="*/ 2147483647 w 8"/>
              <a:gd name="T9" fmla="*/ 2147483647 h 14"/>
              <a:gd name="T10" fmla="*/ 0 60000 65536"/>
              <a:gd name="T11" fmla="*/ 0 60000 65536"/>
              <a:gd name="T12" fmla="*/ 0 60000 65536"/>
              <a:gd name="T13" fmla="*/ 0 60000 65536"/>
              <a:gd name="T14" fmla="*/ 0 60000 65536"/>
              <a:gd name="T15" fmla="*/ 0 w 8"/>
              <a:gd name="T16" fmla="*/ 0 h 14"/>
              <a:gd name="T17" fmla="*/ 8 w 8"/>
              <a:gd name="T18" fmla="*/ 14 h 14"/>
            </a:gdLst>
            <a:ahLst/>
            <a:cxnLst>
              <a:cxn ang="T10">
                <a:pos x="T0" y="T1"/>
              </a:cxn>
              <a:cxn ang="T11">
                <a:pos x="T2" y="T3"/>
              </a:cxn>
              <a:cxn ang="T12">
                <a:pos x="T4" y="T5"/>
              </a:cxn>
              <a:cxn ang="T13">
                <a:pos x="T6" y="T7"/>
              </a:cxn>
              <a:cxn ang="T14">
                <a:pos x="T8" y="T9"/>
              </a:cxn>
            </a:cxnLst>
            <a:rect l="T15" t="T16" r="T17" b="T18"/>
            <a:pathLst>
              <a:path w="8" h="14">
                <a:moveTo>
                  <a:pt x="2" y="14"/>
                </a:moveTo>
                <a:lnTo>
                  <a:pt x="7" y="13"/>
                </a:lnTo>
                <a:lnTo>
                  <a:pt x="8" y="0"/>
                </a:lnTo>
                <a:lnTo>
                  <a:pt x="0" y="5"/>
                </a:lnTo>
                <a:lnTo>
                  <a:pt x="2" y="14"/>
                </a:lnTo>
                <a:close/>
              </a:path>
            </a:pathLst>
          </a:custGeom>
          <a:solidFill>
            <a:schemeClr val="accent1"/>
          </a:solidFill>
          <a:ln w="6350">
            <a:solidFill>
              <a:schemeClr val="tx2"/>
            </a:solidFill>
            <a:round/>
            <a:headEnd/>
            <a:tailEnd/>
          </a:ln>
        </p:spPr>
        <p:txBody>
          <a:bodyPr/>
          <a:lstStyle/>
          <a:p>
            <a:endParaRPr lang="en-US"/>
          </a:p>
        </p:txBody>
      </p:sp>
      <p:sp>
        <p:nvSpPr>
          <p:cNvPr id="611" name="Freeform 1730"/>
          <p:cNvSpPr>
            <a:spLocks/>
          </p:cNvSpPr>
          <p:nvPr/>
        </p:nvSpPr>
        <p:spPr bwMode="auto">
          <a:xfrm>
            <a:off x="6226203" y="3503912"/>
            <a:ext cx="45867" cy="42031"/>
          </a:xfrm>
          <a:custGeom>
            <a:avLst/>
            <a:gdLst>
              <a:gd name="T0" fmla="*/ 2147483647 w 99"/>
              <a:gd name="T1" fmla="*/ 0 h 102"/>
              <a:gd name="T2" fmla="*/ 2147483647 w 99"/>
              <a:gd name="T3" fmla="*/ 2147483647 h 102"/>
              <a:gd name="T4" fmla="*/ 2147483647 w 99"/>
              <a:gd name="T5" fmla="*/ 2147483647 h 102"/>
              <a:gd name="T6" fmla="*/ 0 w 99"/>
              <a:gd name="T7" fmla="*/ 2147483647 h 102"/>
              <a:gd name="T8" fmla="*/ 2147483647 w 99"/>
              <a:gd name="T9" fmla="*/ 2147483647 h 102"/>
              <a:gd name="T10" fmla="*/ 2147483647 w 99"/>
              <a:gd name="T11" fmla="*/ 2147483647 h 102"/>
              <a:gd name="T12" fmla="*/ 2147483647 w 99"/>
              <a:gd name="T13" fmla="*/ 2147483647 h 102"/>
              <a:gd name="T14" fmla="*/ 2147483647 w 99"/>
              <a:gd name="T15" fmla="*/ 2147483647 h 102"/>
              <a:gd name="T16" fmla="*/ 2147483647 w 99"/>
              <a:gd name="T17" fmla="*/ 2147483647 h 102"/>
              <a:gd name="T18" fmla="*/ 2147483647 w 99"/>
              <a:gd name="T19" fmla="*/ 2147483647 h 102"/>
              <a:gd name="T20" fmla="*/ 2147483647 w 99"/>
              <a:gd name="T21" fmla="*/ 2147483647 h 102"/>
              <a:gd name="T22" fmla="*/ 2147483647 w 99"/>
              <a:gd name="T23" fmla="*/ 2147483647 h 102"/>
              <a:gd name="T24" fmla="*/ 2147483647 w 99"/>
              <a:gd name="T25" fmla="*/ 2147483647 h 102"/>
              <a:gd name="T26" fmla="*/ 2147483647 w 99"/>
              <a:gd name="T27" fmla="*/ 2147483647 h 102"/>
              <a:gd name="T28" fmla="*/ 2147483647 w 99"/>
              <a:gd name="T29" fmla="*/ 2147483647 h 102"/>
              <a:gd name="T30" fmla="*/ 2147483647 w 99"/>
              <a:gd name="T31" fmla="*/ 2147483647 h 102"/>
              <a:gd name="T32" fmla="*/ 2147483647 w 99"/>
              <a:gd name="T33" fmla="*/ 2147483647 h 102"/>
              <a:gd name="T34" fmla="*/ 2147483647 w 99"/>
              <a:gd name="T35" fmla="*/ 2147483647 h 102"/>
              <a:gd name="T36" fmla="*/ 2147483647 w 99"/>
              <a:gd name="T37" fmla="*/ 2147483647 h 102"/>
              <a:gd name="T38" fmla="*/ 2147483647 w 99"/>
              <a:gd name="T39" fmla="*/ 2147483647 h 102"/>
              <a:gd name="T40" fmla="*/ 2147483647 w 99"/>
              <a:gd name="T41" fmla="*/ 2147483647 h 102"/>
              <a:gd name="T42" fmla="*/ 2147483647 w 99"/>
              <a:gd name="T43" fmla="*/ 2147483647 h 102"/>
              <a:gd name="T44" fmla="*/ 2147483647 w 99"/>
              <a:gd name="T45" fmla="*/ 0 h 1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02"/>
              <a:gd name="T71" fmla="*/ 99 w 99"/>
              <a:gd name="T72" fmla="*/ 102 h 10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02">
                <a:moveTo>
                  <a:pt x="38" y="0"/>
                </a:moveTo>
                <a:lnTo>
                  <a:pt x="16" y="10"/>
                </a:lnTo>
                <a:lnTo>
                  <a:pt x="10" y="7"/>
                </a:lnTo>
                <a:lnTo>
                  <a:pt x="0" y="29"/>
                </a:lnTo>
                <a:lnTo>
                  <a:pt x="22" y="54"/>
                </a:lnTo>
                <a:lnTo>
                  <a:pt x="20" y="78"/>
                </a:lnTo>
                <a:lnTo>
                  <a:pt x="30" y="85"/>
                </a:lnTo>
                <a:lnTo>
                  <a:pt x="37" y="69"/>
                </a:lnTo>
                <a:lnTo>
                  <a:pt x="47" y="81"/>
                </a:lnTo>
                <a:lnTo>
                  <a:pt x="52" y="102"/>
                </a:lnTo>
                <a:lnTo>
                  <a:pt x="56" y="102"/>
                </a:lnTo>
                <a:lnTo>
                  <a:pt x="59" y="87"/>
                </a:lnTo>
                <a:lnTo>
                  <a:pt x="66" y="84"/>
                </a:lnTo>
                <a:lnTo>
                  <a:pt x="84" y="101"/>
                </a:lnTo>
                <a:lnTo>
                  <a:pt x="77" y="60"/>
                </a:lnTo>
                <a:lnTo>
                  <a:pt x="69" y="42"/>
                </a:lnTo>
                <a:lnTo>
                  <a:pt x="84" y="56"/>
                </a:lnTo>
                <a:lnTo>
                  <a:pt x="99" y="49"/>
                </a:lnTo>
                <a:lnTo>
                  <a:pt x="98" y="44"/>
                </a:lnTo>
                <a:lnTo>
                  <a:pt x="89" y="37"/>
                </a:lnTo>
                <a:lnTo>
                  <a:pt x="84" y="20"/>
                </a:lnTo>
                <a:lnTo>
                  <a:pt x="77" y="16"/>
                </a:lnTo>
                <a:lnTo>
                  <a:pt x="38" y="0"/>
                </a:lnTo>
                <a:close/>
              </a:path>
            </a:pathLst>
          </a:custGeom>
          <a:solidFill>
            <a:schemeClr val="accent1"/>
          </a:solidFill>
          <a:ln w="6350">
            <a:solidFill>
              <a:schemeClr val="tx2"/>
            </a:solidFill>
            <a:round/>
            <a:headEnd/>
            <a:tailEnd/>
          </a:ln>
        </p:spPr>
        <p:txBody>
          <a:bodyPr/>
          <a:lstStyle/>
          <a:p>
            <a:endParaRPr lang="en-US"/>
          </a:p>
        </p:txBody>
      </p:sp>
      <p:sp>
        <p:nvSpPr>
          <p:cNvPr id="612" name="Freeform 1731"/>
          <p:cNvSpPr>
            <a:spLocks/>
          </p:cNvSpPr>
          <p:nvPr/>
        </p:nvSpPr>
        <p:spPr bwMode="auto">
          <a:xfrm>
            <a:off x="6210437" y="3501364"/>
            <a:ext cx="8600" cy="8916"/>
          </a:xfrm>
          <a:custGeom>
            <a:avLst/>
            <a:gdLst>
              <a:gd name="T0" fmla="*/ 2147483647 w 19"/>
              <a:gd name="T1" fmla="*/ 2147483647 h 19"/>
              <a:gd name="T2" fmla="*/ 2147483647 w 19"/>
              <a:gd name="T3" fmla="*/ 2147483647 h 19"/>
              <a:gd name="T4" fmla="*/ 2147483647 w 19"/>
              <a:gd name="T5" fmla="*/ 0 h 19"/>
              <a:gd name="T6" fmla="*/ 0 w 19"/>
              <a:gd name="T7" fmla="*/ 2147483647 h 19"/>
              <a:gd name="T8" fmla="*/ 2147483647 w 19"/>
              <a:gd name="T9" fmla="*/ 2147483647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6" y="19"/>
                </a:moveTo>
                <a:lnTo>
                  <a:pt x="19" y="12"/>
                </a:lnTo>
                <a:lnTo>
                  <a:pt x="10" y="0"/>
                </a:lnTo>
                <a:lnTo>
                  <a:pt x="0" y="9"/>
                </a:lnTo>
                <a:lnTo>
                  <a:pt x="16" y="19"/>
                </a:lnTo>
                <a:close/>
              </a:path>
            </a:pathLst>
          </a:custGeom>
          <a:solidFill>
            <a:schemeClr val="accent1"/>
          </a:solidFill>
          <a:ln w="6350">
            <a:solidFill>
              <a:schemeClr val="tx2"/>
            </a:solidFill>
            <a:round/>
            <a:headEnd/>
            <a:tailEnd/>
          </a:ln>
        </p:spPr>
        <p:txBody>
          <a:bodyPr/>
          <a:lstStyle/>
          <a:p>
            <a:endParaRPr lang="en-US"/>
          </a:p>
        </p:txBody>
      </p:sp>
      <p:sp>
        <p:nvSpPr>
          <p:cNvPr id="613" name="Freeform 1732"/>
          <p:cNvSpPr>
            <a:spLocks/>
          </p:cNvSpPr>
          <p:nvPr/>
        </p:nvSpPr>
        <p:spPr bwMode="auto">
          <a:xfrm>
            <a:off x="6263470" y="3487355"/>
            <a:ext cx="31533" cy="24199"/>
          </a:xfrm>
          <a:custGeom>
            <a:avLst/>
            <a:gdLst>
              <a:gd name="T0" fmla="*/ 2147483647 w 71"/>
              <a:gd name="T1" fmla="*/ 2147483647 h 59"/>
              <a:gd name="T2" fmla="*/ 2147483647 w 71"/>
              <a:gd name="T3" fmla="*/ 2147483647 h 59"/>
              <a:gd name="T4" fmla="*/ 2147483647 w 71"/>
              <a:gd name="T5" fmla="*/ 2147483647 h 59"/>
              <a:gd name="T6" fmla="*/ 2147483647 w 71"/>
              <a:gd name="T7" fmla="*/ 2147483647 h 59"/>
              <a:gd name="T8" fmla="*/ 2147483647 w 71"/>
              <a:gd name="T9" fmla="*/ 2147483647 h 59"/>
              <a:gd name="T10" fmla="*/ 2147483647 w 71"/>
              <a:gd name="T11" fmla="*/ 0 h 59"/>
              <a:gd name="T12" fmla="*/ 0 w 71"/>
              <a:gd name="T13" fmla="*/ 2147483647 h 59"/>
              <a:gd name="T14" fmla="*/ 2147483647 w 71"/>
              <a:gd name="T15" fmla="*/ 2147483647 h 59"/>
              <a:gd name="T16" fmla="*/ 2147483647 w 71"/>
              <a:gd name="T17" fmla="*/ 2147483647 h 59"/>
              <a:gd name="T18" fmla="*/ 2147483647 w 71"/>
              <a:gd name="T19" fmla="*/ 2147483647 h 59"/>
              <a:gd name="T20" fmla="*/ 2147483647 w 71"/>
              <a:gd name="T21" fmla="*/ 2147483647 h 59"/>
              <a:gd name="T22" fmla="*/ 2147483647 w 71"/>
              <a:gd name="T23" fmla="*/ 2147483647 h 59"/>
              <a:gd name="T24" fmla="*/ 2147483647 w 71"/>
              <a:gd name="T25" fmla="*/ 214748364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59"/>
              <a:gd name="T41" fmla="*/ 71 w 71"/>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59">
                <a:moveTo>
                  <a:pt x="69" y="52"/>
                </a:moveTo>
                <a:lnTo>
                  <a:pt x="71" y="48"/>
                </a:lnTo>
                <a:lnTo>
                  <a:pt x="58" y="44"/>
                </a:lnTo>
                <a:lnTo>
                  <a:pt x="50" y="21"/>
                </a:lnTo>
                <a:lnTo>
                  <a:pt x="29" y="15"/>
                </a:lnTo>
                <a:lnTo>
                  <a:pt x="15" y="0"/>
                </a:lnTo>
                <a:lnTo>
                  <a:pt x="0" y="10"/>
                </a:lnTo>
                <a:lnTo>
                  <a:pt x="8" y="10"/>
                </a:lnTo>
                <a:lnTo>
                  <a:pt x="26" y="30"/>
                </a:lnTo>
                <a:lnTo>
                  <a:pt x="50" y="43"/>
                </a:lnTo>
                <a:lnTo>
                  <a:pt x="59" y="58"/>
                </a:lnTo>
                <a:lnTo>
                  <a:pt x="69" y="59"/>
                </a:lnTo>
                <a:lnTo>
                  <a:pt x="69" y="52"/>
                </a:lnTo>
                <a:close/>
              </a:path>
            </a:pathLst>
          </a:custGeom>
          <a:solidFill>
            <a:schemeClr val="accent1"/>
          </a:solidFill>
          <a:ln w="6350">
            <a:solidFill>
              <a:schemeClr val="tx2"/>
            </a:solidFill>
            <a:round/>
            <a:headEnd/>
            <a:tailEnd/>
          </a:ln>
        </p:spPr>
        <p:txBody>
          <a:bodyPr/>
          <a:lstStyle/>
          <a:p>
            <a:endParaRPr lang="en-US"/>
          </a:p>
        </p:txBody>
      </p:sp>
      <p:sp>
        <p:nvSpPr>
          <p:cNvPr id="614" name="Freeform 1737"/>
          <p:cNvSpPr>
            <a:spLocks/>
          </p:cNvSpPr>
          <p:nvPr/>
        </p:nvSpPr>
        <p:spPr bwMode="auto">
          <a:xfrm>
            <a:off x="6051336" y="3503912"/>
            <a:ext cx="63067" cy="35662"/>
          </a:xfrm>
          <a:custGeom>
            <a:avLst/>
            <a:gdLst>
              <a:gd name="T0" fmla="*/ 2147483647 w 134"/>
              <a:gd name="T1" fmla="*/ 0 h 87"/>
              <a:gd name="T2" fmla="*/ 2147483647 w 134"/>
              <a:gd name="T3" fmla="*/ 2147483647 h 87"/>
              <a:gd name="T4" fmla="*/ 2147483647 w 134"/>
              <a:gd name="T5" fmla="*/ 2147483647 h 87"/>
              <a:gd name="T6" fmla="*/ 2147483647 w 134"/>
              <a:gd name="T7" fmla="*/ 2147483647 h 87"/>
              <a:gd name="T8" fmla="*/ 2147483647 w 134"/>
              <a:gd name="T9" fmla="*/ 2147483647 h 87"/>
              <a:gd name="T10" fmla="*/ 2147483647 w 134"/>
              <a:gd name="T11" fmla="*/ 2147483647 h 87"/>
              <a:gd name="T12" fmla="*/ 2147483647 w 134"/>
              <a:gd name="T13" fmla="*/ 2147483647 h 87"/>
              <a:gd name="T14" fmla="*/ 0 w 134"/>
              <a:gd name="T15" fmla="*/ 2147483647 h 87"/>
              <a:gd name="T16" fmla="*/ 2147483647 w 134"/>
              <a:gd name="T17" fmla="*/ 2147483647 h 87"/>
              <a:gd name="T18" fmla="*/ 2147483647 w 134"/>
              <a:gd name="T19" fmla="*/ 2147483647 h 87"/>
              <a:gd name="T20" fmla="*/ 2147483647 w 134"/>
              <a:gd name="T21" fmla="*/ 2147483647 h 87"/>
              <a:gd name="T22" fmla="*/ 2147483647 w 134"/>
              <a:gd name="T23" fmla="*/ 2147483647 h 87"/>
              <a:gd name="T24" fmla="*/ 2147483647 w 134"/>
              <a:gd name="T25" fmla="*/ 0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4"/>
              <a:gd name="T40" fmla="*/ 0 h 87"/>
              <a:gd name="T41" fmla="*/ 134 w 134"/>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4" h="87">
                <a:moveTo>
                  <a:pt x="134" y="0"/>
                </a:moveTo>
                <a:lnTo>
                  <a:pt x="112" y="48"/>
                </a:lnTo>
                <a:lnTo>
                  <a:pt x="119" y="68"/>
                </a:lnTo>
                <a:lnTo>
                  <a:pt x="114" y="87"/>
                </a:lnTo>
                <a:lnTo>
                  <a:pt x="92" y="85"/>
                </a:lnTo>
                <a:lnTo>
                  <a:pt x="77" y="69"/>
                </a:lnTo>
                <a:lnTo>
                  <a:pt x="6" y="38"/>
                </a:lnTo>
                <a:lnTo>
                  <a:pt x="0" y="22"/>
                </a:lnTo>
                <a:lnTo>
                  <a:pt x="8" y="8"/>
                </a:lnTo>
                <a:lnTo>
                  <a:pt x="15" y="13"/>
                </a:lnTo>
                <a:lnTo>
                  <a:pt x="32" y="5"/>
                </a:lnTo>
                <a:lnTo>
                  <a:pt x="52" y="18"/>
                </a:lnTo>
                <a:lnTo>
                  <a:pt x="134" y="0"/>
                </a:lnTo>
                <a:close/>
              </a:path>
            </a:pathLst>
          </a:custGeom>
          <a:solidFill>
            <a:schemeClr val="accent1"/>
          </a:solidFill>
          <a:ln w="6350">
            <a:solidFill>
              <a:schemeClr val="tx2"/>
            </a:solidFill>
            <a:round/>
            <a:headEnd/>
            <a:tailEnd/>
          </a:ln>
        </p:spPr>
        <p:txBody>
          <a:bodyPr/>
          <a:lstStyle/>
          <a:p>
            <a:endParaRPr lang="en-US"/>
          </a:p>
        </p:txBody>
      </p:sp>
      <p:sp>
        <p:nvSpPr>
          <p:cNvPr id="615" name="Freeform 1740"/>
          <p:cNvSpPr>
            <a:spLocks/>
          </p:cNvSpPr>
          <p:nvPr/>
        </p:nvSpPr>
        <p:spPr bwMode="auto">
          <a:xfrm>
            <a:off x="5824868" y="3486080"/>
            <a:ext cx="8600" cy="3821"/>
          </a:xfrm>
          <a:custGeom>
            <a:avLst/>
            <a:gdLst>
              <a:gd name="T0" fmla="*/ 2147483647 w 14"/>
              <a:gd name="T1" fmla="*/ 0 h 10"/>
              <a:gd name="T2" fmla="*/ 2147483647 w 14"/>
              <a:gd name="T3" fmla="*/ 2147483647 h 10"/>
              <a:gd name="T4" fmla="*/ 2147483647 w 14"/>
              <a:gd name="T5" fmla="*/ 2147483647 h 10"/>
              <a:gd name="T6" fmla="*/ 0 w 14"/>
              <a:gd name="T7" fmla="*/ 2147483647 h 10"/>
              <a:gd name="T8" fmla="*/ 2147483647 w 14"/>
              <a:gd name="T9" fmla="*/ 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10" y="0"/>
                </a:moveTo>
                <a:lnTo>
                  <a:pt x="14" y="5"/>
                </a:lnTo>
                <a:lnTo>
                  <a:pt x="9" y="10"/>
                </a:lnTo>
                <a:lnTo>
                  <a:pt x="0" y="9"/>
                </a:lnTo>
                <a:lnTo>
                  <a:pt x="10" y="0"/>
                </a:lnTo>
                <a:close/>
              </a:path>
            </a:pathLst>
          </a:custGeom>
          <a:solidFill>
            <a:schemeClr val="accent1"/>
          </a:solidFill>
          <a:ln w="6350">
            <a:solidFill>
              <a:schemeClr val="tx2"/>
            </a:solidFill>
            <a:round/>
            <a:headEnd/>
            <a:tailEnd/>
          </a:ln>
        </p:spPr>
        <p:txBody>
          <a:bodyPr/>
          <a:lstStyle/>
          <a:p>
            <a:endParaRPr lang="en-US"/>
          </a:p>
        </p:txBody>
      </p:sp>
      <p:sp>
        <p:nvSpPr>
          <p:cNvPr id="616" name="Freeform 1778"/>
          <p:cNvSpPr>
            <a:spLocks/>
          </p:cNvSpPr>
          <p:nvPr/>
        </p:nvSpPr>
        <p:spPr bwMode="auto">
          <a:xfrm>
            <a:off x="5506666" y="3710243"/>
            <a:ext cx="14334" cy="11463"/>
          </a:xfrm>
          <a:custGeom>
            <a:avLst/>
            <a:gdLst>
              <a:gd name="T0" fmla="*/ 2147483647 w 23"/>
              <a:gd name="T1" fmla="*/ 2147483647 h 31"/>
              <a:gd name="T2" fmla="*/ 2147483647 w 23"/>
              <a:gd name="T3" fmla="*/ 0 h 31"/>
              <a:gd name="T4" fmla="*/ 2147483647 w 23"/>
              <a:gd name="T5" fmla="*/ 2147483647 h 31"/>
              <a:gd name="T6" fmla="*/ 0 w 23"/>
              <a:gd name="T7" fmla="*/ 2147483647 h 31"/>
              <a:gd name="T8" fmla="*/ 2147483647 w 23"/>
              <a:gd name="T9" fmla="*/ 2147483647 h 31"/>
              <a:gd name="T10" fmla="*/ 2147483647 w 23"/>
              <a:gd name="T11" fmla="*/ 2147483647 h 31"/>
              <a:gd name="T12" fmla="*/ 0 60000 65536"/>
              <a:gd name="T13" fmla="*/ 0 60000 65536"/>
              <a:gd name="T14" fmla="*/ 0 60000 65536"/>
              <a:gd name="T15" fmla="*/ 0 60000 65536"/>
              <a:gd name="T16" fmla="*/ 0 60000 65536"/>
              <a:gd name="T17" fmla="*/ 0 60000 65536"/>
              <a:gd name="T18" fmla="*/ 0 w 23"/>
              <a:gd name="T19" fmla="*/ 0 h 31"/>
              <a:gd name="T20" fmla="*/ 23 w 23"/>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3" h="31">
                <a:moveTo>
                  <a:pt x="23" y="1"/>
                </a:moveTo>
                <a:lnTo>
                  <a:pt x="18" y="0"/>
                </a:lnTo>
                <a:lnTo>
                  <a:pt x="6" y="27"/>
                </a:lnTo>
                <a:lnTo>
                  <a:pt x="0" y="31"/>
                </a:lnTo>
                <a:lnTo>
                  <a:pt x="20" y="20"/>
                </a:lnTo>
                <a:lnTo>
                  <a:pt x="23" y="1"/>
                </a:lnTo>
                <a:close/>
              </a:path>
            </a:pathLst>
          </a:custGeom>
          <a:solidFill>
            <a:schemeClr val="accent1"/>
          </a:solidFill>
          <a:ln w="6350">
            <a:solidFill>
              <a:schemeClr val="tx2"/>
            </a:solidFill>
            <a:round/>
            <a:headEnd/>
            <a:tailEnd/>
          </a:ln>
        </p:spPr>
        <p:txBody>
          <a:bodyPr/>
          <a:lstStyle/>
          <a:p>
            <a:endParaRPr lang="en-US"/>
          </a:p>
        </p:txBody>
      </p:sp>
      <p:sp>
        <p:nvSpPr>
          <p:cNvPr id="617" name="Freeform 1779"/>
          <p:cNvSpPr>
            <a:spLocks/>
          </p:cNvSpPr>
          <p:nvPr/>
        </p:nvSpPr>
        <p:spPr bwMode="auto">
          <a:xfrm>
            <a:off x="5521001" y="3700055"/>
            <a:ext cx="7166" cy="6369"/>
          </a:xfrm>
          <a:custGeom>
            <a:avLst/>
            <a:gdLst>
              <a:gd name="T0" fmla="*/ 2147483647 w 17"/>
              <a:gd name="T1" fmla="*/ 0 h 15"/>
              <a:gd name="T2" fmla="*/ 2147483647 w 17"/>
              <a:gd name="T3" fmla="*/ 2147483647 h 15"/>
              <a:gd name="T4" fmla="*/ 0 w 17"/>
              <a:gd name="T5" fmla="*/ 2147483647 h 15"/>
              <a:gd name="T6" fmla="*/ 2147483647 w 17"/>
              <a:gd name="T7" fmla="*/ 2147483647 h 15"/>
              <a:gd name="T8" fmla="*/ 2147483647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17" y="0"/>
                </a:moveTo>
                <a:lnTo>
                  <a:pt x="4" y="7"/>
                </a:lnTo>
                <a:lnTo>
                  <a:pt x="0" y="15"/>
                </a:lnTo>
                <a:lnTo>
                  <a:pt x="12" y="11"/>
                </a:lnTo>
                <a:lnTo>
                  <a:pt x="17" y="0"/>
                </a:lnTo>
                <a:close/>
              </a:path>
            </a:pathLst>
          </a:custGeom>
          <a:solidFill>
            <a:schemeClr val="accent1"/>
          </a:solidFill>
          <a:ln w="6350">
            <a:solidFill>
              <a:schemeClr val="tx2"/>
            </a:solidFill>
            <a:round/>
            <a:headEnd/>
            <a:tailEnd/>
          </a:ln>
        </p:spPr>
        <p:txBody>
          <a:bodyPr/>
          <a:lstStyle/>
          <a:p>
            <a:endParaRPr lang="en-US"/>
          </a:p>
        </p:txBody>
      </p:sp>
      <p:sp>
        <p:nvSpPr>
          <p:cNvPr id="618" name="Freeform 1780"/>
          <p:cNvSpPr>
            <a:spLocks/>
          </p:cNvSpPr>
          <p:nvPr/>
        </p:nvSpPr>
        <p:spPr bwMode="auto">
          <a:xfrm>
            <a:off x="6011204" y="3600709"/>
            <a:ext cx="5734" cy="3821"/>
          </a:xfrm>
          <a:custGeom>
            <a:avLst/>
            <a:gdLst>
              <a:gd name="T0" fmla="*/ 2147483647 w 9"/>
              <a:gd name="T1" fmla="*/ 0 h 9"/>
              <a:gd name="T2" fmla="*/ 2147483647 w 9"/>
              <a:gd name="T3" fmla="*/ 2147483647 h 9"/>
              <a:gd name="T4" fmla="*/ 0 w 9"/>
              <a:gd name="T5" fmla="*/ 2147483647 h 9"/>
              <a:gd name="T6" fmla="*/ 0 w 9"/>
              <a:gd name="T7" fmla="*/ 2147483647 h 9"/>
              <a:gd name="T8" fmla="*/ 2147483647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7" y="0"/>
                </a:moveTo>
                <a:lnTo>
                  <a:pt x="9" y="9"/>
                </a:lnTo>
                <a:lnTo>
                  <a:pt x="0" y="9"/>
                </a:lnTo>
                <a:lnTo>
                  <a:pt x="0" y="2"/>
                </a:lnTo>
                <a:lnTo>
                  <a:pt x="7" y="0"/>
                </a:lnTo>
                <a:close/>
              </a:path>
            </a:pathLst>
          </a:custGeom>
          <a:solidFill>
            <a:schemeClr val="accent1"/>
          </a:solidFill>
          <a:ln w="6350">
            <a:solidFill>
              <a:schemeClr val="tx2"/>
            </a:solidFill>
            <a:round/>
            <a:headEnd/>
            <a:tailEnd/>
          </a:ln>
        </p:spPr>
        <p:txBody>
          <a:bodyPr/>
          <a:lstStyle/>
          <a:p>
            <a:endParaRPr lang="en-US"/>
          </a:p>
        </p:txBody>
      </p:sp>
      <p:sp>
        <p:nvSpPr>
          <p:cNvPr id="619" name="Freeform 1781"/>
          <p:cNvSpPr>
            <a:spLocks/>
          </p:cNvSpPr>
          <p:nvPr/>
        </p:nvSpPr>
        <p:spPr bwMode="auto">
          <a:xfrm>
            <a:off x="6604605" y="3953513"/>
            <a:ext cx="2866" cy="2547"/>
          </a:xfrm>
          <a:custGeom>
            <a:avLst/>
            <a:gdLst>
              <a:gd name="T0" fmla="*/ 2147483647 w 7"/>
              <a:gd name="T1" fmla="*/ 0 h 5"/>
              <a:gd name="T2" fmla="*/ 0 w 7"/>
              <a:gd name="T3" fmla="*/ 2147483647 h 5"/>
              <a:gd name="T4" fmla="*/ 2147483647 w 7"/>
              <a:gd name="T5" fmla="*/ 2147483647 h 5"/>
              <a:gd name="T6" fmla="*/ 2147483647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4" y="0"/>
                </a:moveTo>
                <a:lnTo>
                  <a:pt x="0" y="3"/>
                </a:lnTo>
                <a:lnTo>
                  <a:pt x="7" y="5"/>
                </a:lnTo>
                <a:lnTo>
                  <a:pt x="4" y="0"/>
                </a:lnTo>
                <a:close/>
              </a:path>
            </a:pathLst>
          </a:custGeom>
          <a:solidFill>
            <a:schemeClr val="accent1"/>
          </a:solidFill>
          <a:ln w="6350">
            <a:solidFill>
              <a:schemeClr val="tx2"/>
            </a:solidFill>
            <a:round/>
            <a:headEnd/>
            <a:tailEnd/>
          </a:ln>
        </p:spPr>
        <p:txBody>
          <a:bodyPr/>
          <a:lstStyle/>
          <a:p>
            <a:endParaRPr lang="en-US"/>
          </a:p>
        </p:txBody>
      </p:sp>
      <p:sp>
        <p:nvSpPr>
          <p:cNvPr id="620" name="Freeform 1782"/>
          <p:cNvSpPr>
            <a:spLocks/>
          </p:cNvSpPr>
          <p:nvPr/>
        </p:nvSpPr>
        <p:spPr bwMode="auto">
          <a:xfrm>
            <a:off x="6604605" y="3957333"/>
            <a:ext cx="11467" cy="6369"/>
          </a:xfrm>
          <a:custGeom>
            <a:avLst/>
            <a:gdLst>
              <a:gd name="T0" fmla="*/ 2147483647 w 22"/>
              <a:gd name="T1" fmla="*/ 2147483647 h 13"/>
              <a:gd name="T2" fmla="*/ 2147483647 w 22"/>
              <a:gd name="T3" fmla="*/ 0 h 13"/>
              <a:gd name="T4" fmla="*/ 0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3"/>
              <a:gd name="T29" fmla="*/ 22 w 22"/>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3">
                <a:moveTo>
                  <a:pt x="14" y="7"/>
                </a:moveTo>
                <a:lnTo>
                  <a:pt x="7" y="0"/>
                </a:lnTo>
                <a:lnTo>
                  <a:pt x="0" y="3"/>
                </a:lnTo>
                <a:lnTo>
                  <a:pt x="5" y="5"/>
                </a:lnTo>
                <a:lnTo>
                  <a:pt x="6" y="9"/>
                </a:lnTo>
                <a:lnTo>
                  <a:pt x="2" y="9"/>
                </a:lnTo>
                <a:lnTo>
                  <a:pt x="5" y="11"/>
                </a:lnTo>
                <a:lnTo>
                  <a:pt x="22" y="13"/>
                </a:lnTo>
                <a:lnTo>
                  <a:pt x="14" y="7"/>
                </a:lnTo>
                <a:close/>
              </a:path>
            </a:pathLst>
          </a:custGeom>
          <a:solidFill>
            <a:schemeClr val="accent1"/>
          </a:solidFill>
          <a:ln w="6350">
            <a:solidFill>
              <a:schemeClr val="tx2"/>
            </a:solidFill>
            <a:round/>
            <a:headEnd/>
            <a:tailEnd/>
          </a:ln>
        </p:spPr>
        <p:txBody>
          <a:bodyPr/>
          <a:lstStyle/>
          <a:p>
            <a:endParaRPr lang="en-US"/>
          </a:p>
        </p:txBody>
      </p:sp>
      <p:sp>
        <p:nvSpPr>
          <p:cNvPr id="621" name="Freeform 1783"/>
          <p:cNvSpPr>
            <a:spLocks/>
          </p:cNvSpPr>
          <p:nvPr/>
        </p:nvSpPr>
        <p:spPr bwMode="auto">
          <a:xfrm>
            <a:off x="6673405" y="4446417"/>
            <a:ext cx="2866" cy="11463"/>
          </a:xfrm>
          <a:custGeom>
            <a:avLst/>
            <a:gdLst>
              <a:gd name="T0" fmla="*/ 2147483647 w 9"/>
              <a:gd name="T1" fmla="*/ 0 h 25"/>
              <a:gd name="T2" fmla="*/ 2147483647 w 9"/>
              <a:gd name="T3" fmla="*/ 2147483647 h 25"/>
              <a:gd name="T4" fmla="*/ 0 w 9"/>
              <a:gd name="T5" fmla="*/ 2147483647 h 25"/>
              <a:gd name="T6" fmla="*/ 0 w 9"/>
              <a:gd name="T7" fmla="*/ 2147483647 h 25"/>
              <a:gd name="T8" fmla="*/ 2147483647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6" y="0"/>
                </a:moveTo>
                <a:lnTo>
                  <a:pt x="9" y="25"/>
                </a:lnTo>
                <a:lnTo>
                  <a:pt x="0" y="15"/>
                </a:lnTo>
                <a:lnTo>
                  <a:pt x="0" y="3"/>
                </a:lnTo>
                <a:lnTo>
                  <a:pt x="6" y="0"/>
                </a:lnTo>
                <a:close/>
              </a:path>
            </a:pathLst>
          </a:custGeom>
          <a:solidFill>
            <a:schemeClr val="accent1"/>
          </a:solidFill>
          <a:ln w="6350">
            <a:solidFill>
              <a:schemeClr val="tx2"/>
            </a:solidFill>
            <a:round/>
            <a:headEnd/>
            <a:tailEnd/>
          </a:ln>
        </p:spPr>
        <p:txBody>
          <a:bodyPr/>
          <a:lstStyle/>
          <a:p>
            <a:endParaRPr lang="en-US"/>
          </a:p>
        </p:txBody>
      </p:sp>
      <p:sp>
        <p:nvSpPr>
          <p:cNvPr id="622" name="Freeform 1784"/>
          <p:cNvSpPr>
            <a:spLocks/>
          </p:cNvSpPr>
          <p:nvPr/>
        </p:nvSpPr>
        <p:spPr bwMode="auto">
          <a:xfrm>
            <a:off x="6682005" y="4464248"/>
            <a:ext cx="5734" cy="2547"/>
          </a:xfrm>
          <a:custGeom>
            <a:avLst/>
            <a:gdLst>
              <a:gd name="T0" fmla="*/ 2147483647 w 11"/>
              <a:gd name="T1" fmla="*/ 2147483647 h 5"/>
              <a:gd name="T2" fmla="*/ 0 w 11"/>
              <a:gd name="T3" fmla="*/ 0 h 5"/>
              <a:gd name="T4" fmla="*/ 2147483647 w 11"/>
              <a:gd name="T5" fmla="*/ 2147483647 h 5"/>
              <a:gd name="T6" fmla="*/ 0 60000 65536"/>
              <a:gd name="T7" fmla="*/ 0 60000 65536"/>
              <a:gd name="T8" fmla="*/ 0 60000 65536"/>
              <a:gd name="T9" fmla="*/ 0 w 11"/>
              <a:gd name="T10" fmla="*/ 0 h 5"/>
              <a:gd name="T11" fmla="*/ 11 w 11"/>
              <a:gd name="T12" fmla="*/ 5 h 5"/>
            </a:gdLst>
            <a:ahLst/>
            <a:cxnLst>
              <a:cxn ang="T6">
                <a:pos x="T0" y="T1"/>
              </a:cxn>
              <a:cxn ang="T7">
                <a:pos x="T2" y="T3"/>
              </a:cxn>
              <a:cxn ang="T8">
                <a:pos x="T4" y="T5"/>
              </a:cxn>
            </a:cxnLst>
            <a:rect l="T9" t="T10" r="T11" b="T12"/>
            <a:pathLst>
              <a:path w="11" h="5">
                <a:moveTo>
                  <a:pt x="11" y="5"/>
                </a:moveTo>
                <a:lnTo>
                  <a:pt x="0" y="0"/>
                </a:lnTo>
                <a:lnTo>
                  <a:pt x="11" y="5"/>
                </a:lnTo>
                <a:close/>
              </a:path>
            </a:pathLst>
          </a:custGeom>
          <a:solidFill>
            <a:schemeClr val="accent1"/>
          </a:solidFill>
          <a:ln w="6350">
            <a:solidFill>
              <a:schemeClr val="tx2"/>
            </a:solidFill>
            <a:round/>
            <a:headEnd/>
            <a:tailEnd/>
          </a:ln>
        </p:spPr>
        <p:txBody>
          <a:bodyPr/>
          <a:lstStyle/>
          <a:p>
            <a:endParaRPr lang="en-US"/>
          </a:p>
        </p:txBody>
      </p:sp>
      <p:sp>
        <p:nvSpPr>
          <p:cNvPr id="623" name="Freeform 1787"/>
          <p:cNvSpPr>
            <a:spLocks/>
          </p:cNvSpPr>
          <p:nvPr/>
        </p:nvSpPr>
        <p:spPr bwMode="auto">
          <a:xfrm>
            <a:off x="6604605" y="4331788"/>
            <a:ext cx="1432" cy="8916"/>
          </a:xfrm>
          <a:custGeom>
            <a:avLst/>
            <a:gdLst>
              <a:gd name="T0" fmla="*/ 2147483647 w 6"/>
              <a:gd name="T1" fmla="*/ 2147483647 h 22"/>
              <a:gd name="T2" fmla="*/ 2147483647 w 6"/>
              <a:gd name="T3" fmla="*/ 2147483647 h 22"/>
              <a:gd name="T4" fmla="*/ 0 w 6"/>
              <a:gd name="T5" fmla="*/ 2147483647 h 22"/>
              <a:gd name="T6" fmla="*/ 0 w 6"/>
              <a:gd name="T7" fmla="*/ 0 h 22"/>
              <a:gd name="T8" fmla="*/ 2147483647 w 6"/>
              <a:gd name="T9" fmla="*/ 0 h 22"/>
              <a:gd name="T10" fmla="*/ 2147483647 w 6"/>
              <a:gd name="T11" fmla="*/ 2147483647 h 22"/>
              <a:gd name="T12" fmla="*/ 0 60000 65536"/>
              <a:gd name="T13" fmla="*/ 0 60000 65536"/>
              <a:gd name="T14" fmla="*/ 0 60000 65536"/>
              <a:gd name="T15" fmla="*/ 0 60000 65536"/>
              <a:gd name="T16" fmla="*/ 0 60000 65536"/>
              <a:gd name="T17" fmla="*/ 0 60000 65536"/>
              <a:gd name="T18" fmla="*/ 0 w 6"/>
              <a:gd name="T19" fmla="*/ 0 h 22"/>
              <a:gd name="T20" fmla="*/ 6 w 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6" h="22">
                <a:moveTo>
                  <a:pt x="6" y="8"/>
                </a:moveTo>
                <a:lnTo>
                  <a:pt x="4" y="22"/>
                </a:lnTo>
                <a:lnTo>
                  <a:pt x="0" y="19"/>
                </a:lnTo>
                <a:lnTo>
                  <a:pt x="0" y="0"/>
                </a:lnTo>
                <a:lnTo>
                  <a:pt x="5" y="0"/>
                </a:lnTo>
                <a:lnTo>
                  <a:pt x="6" y="8"/>
                </a:lnTo>
                <a:close/>
              </a:path>
            </a:pathLst>
          </a:custGeom>
          <a:solidFill>
            <a:schemeClr val="accent1"/>
          </a:solidFill>
          <a:ln w="6350">
            <a:solidFill>
              <a:schemeClr val="tx2"/>
            </a:solidFill>
            <a:round/>
            <a:headEnd/>
            <a:tailEnd/>
          </a:ln>
        </p:spPr>
        <p:txBody>
          <a:bodyPr/>
          <a:lstStyle/>
          <a:p>
            <a:endParaRPr lang="en-US"/>
          </a:p>
        </p:txBody>
      </p:sp>
      <p:sp>
        <p:nvSpPr>
          <p:cNvPr id="624" name="Freeform 1788"/>
          <p:cNvSpPr>
            <a:spLocks/>
          </p:cNvSpPr>
          <p:nvPr/>
        </p:nvSpPr>
        <p:spPr bwMode="auto">
          <a:xfrm>
            <a:off x="6596005" y="4347072"/>
            <a:ext cx="2866" cy="11463"/>
          </a:xfrm>
          <a:custGeom>
            <a:avLst/>
            <a:gdLst>
              <a:gd name="T0" fmla="*/ 0 w 10"/>
              <a:gd name="T1" fmla="*/ 0 h 29"/>
              <a:gd name="T2" fmla="*/ 2147483647 w 10"/>
              <a:gd name="T3" fmla="*/ 2147483647 h 29"/>
              <a:gd name="T4" fmla="*/ 0 w 10"/>
              <a:gd name="T5" fmla="*/ 2147483647 h 29"/>
              <a:gd name="T6" fmla="*/ 0 w 10"/>
              <a:gd name="T7" fmla="*/ 0 h 29"/>
              <a:gd name="T8" fmla="*/ 0 60000 65536"/>
              <a:gd name="T9" fmla="*/ 0 60000 65536"/>
              <a:gd name="T10" fmla="*/ 0 60000 65536"/>
              <a:gd name="T11" fmla="*/ 0 60000 65536"/>
              <a:gd name="T12" fmla="*/ 0 w 10"/>
              <a:gd name="T13" fmla="*/ 0 h 29"/>
              <a:gd name="T14" fmla="*/ 10 w 10"/>
              <a:gd name="T15" fmla="*/ 29 h 29"/>
            </a:gdLst>
            <a:ahLst/>
            <a:cxnLst>
              <a:cxn ang="T8">
                <a:pos x="T0" y="T1"/>
              </a:cxn>
              <a:cxn ang="T9">
                <a:pos x="T2" y="T3"/>
              </a:cxn>
              <a:cxn ang="T10">
                <a:pos x="T4" y="T5"/>
              </a:cxn>
              <a:cxn ang="T11">
                <a:pos x="T6" y="T7"/>
              </a:cxn>
            </a:cxnLst>
            <a:rect l="T12" t="T13" r="T14" b="T15"/>
            <a:pathLst>
              <a:path w="10" h="29">
                <a:moveTo>
                  <a:pt x="0" y="0"/>
                </a:moveTo>
                <a:lnTo>
                  <a:pt x="10" y="29"/>
                </a:lnTo>
                <a:lnTo>
                  <a:pt x="0" y="22"/>
                </a:lnTo>
                <a:lnTo>
                  <a:pt x="0" y="0"/>
                </a:lnTo>
                <a:close/>
              </a:path>
            </a:pathLst>
          </a:custGeom>
          <a:solidFill>
            <a:schemeClr val="accent1"/>
          </a:solidFill>
          <a:ln w="6350">
            <a:solidFill>
              <a:schemeClr val="tx2"/>
            </a:solidFill>
            <a:round/>
            <a:headEnd/>
            <a:tailEnd/>
          </a:ln>
        </p:spPr>
        <p:txBody>
          <a:bodyPr/>
          <a:lstStyle/>
          <a:p>
            <a:endParaRPr lang="en-US"/>
          </a:p>
        </p:txBody>
      </p:sp>
      <p:sp>
        <p:nvSpPr>
          <p:cNvPr id="625" name="Freeform 1790"/>
          <p:cNvSpPr>
            <a:spLocks/>
          </p:cNvSpPr>
          <p:nvPr/>
        </p:nvSpPr>
        <p:spPr bwMode="auto">
          <a:xfrm>
            <a:off x="6670538" y="4462975"/>
            <a:ext cx="146200" cy="253457"/>
          </a:xfrm>
          <a:custGeom>
            <a:avLst/>
            <a:gdLst>
              <a:gd name="T0" fmla="*/ 2147483647 w 307"/>
              <a:gd name="T1" fmla="*/ 2147483647 h 609"/>
              <a:gd name="T2" fmla="*/ 2147483647 w 307"/>
              <a:gd name="T3" fmla="*/ 2147483647 h 609"/>
              <a:gd name="T4" fmla="*/ 2147483647 w 307"/>
              <a:gd name="T5" fmla="*/ 2147483647 h 609"/>
              <a:gd name="T6" fmla="*/ 2147483647 w 307"/>
              <a:gd name="T7" fmla="*/ 2147483647 h 609"/>
              <a:gd name="T8" fmla="*/ 2147483647 w 307"/>
              <a:gd name="T9" fmla="*/ 2147483647 h 609"/>
              <a:gd name="T10" fmla="*/ 2147483647 w 307"/>
              <a:gd name="T11" fmla="*/ 2147483647 h 609"/>
              <a:gd name="T12" fmla="*/ 2147483647 w 307"/>
              <a:gd name="T13" fmla="*/ 2147483647 h 609"/>
              <a:gd name="T14" fmla="*/ 2147483647 w 307"/>
              <a:gd name="T15" fmla="*/ 2147483647 h 609"/>
              <a:gd name="T16" fmla="*/ 2147483647 w 307"/>
              <a:gd name="T17" fmla="*/ 2147483647 h 609"/>
              <a:gd name="T18" fmla="*/ 2147483647 w 307"/>
              <a:gd name="T19" fmla="*/ 2147483647 h 609"/>
              <a:gd name="T20" fmla="*/ 2147483647 w 307"/>
              <a:gd name="T21" fmla="*/ 2147483647 h 609"/>
              <a:gd name="T22" fmla="*/ 2147483647 w 307"/>
              <a:gd name="T23" fmla="*/ 2147483647 h 609"/>
              <a:gd name="T24" fmla="*/ 2147483647 w 307"/>
              <a:gd name="T25" fmla="*/ 2147483647 h 609"/>
              <a:gd name="T26" fmla="*/ 2147483647 w 307"/>
              <a:gd name="T27" fmla="*/ 2147483647 h 609"/>
              <a:gd name="T28" fmla="*/ 2147483647 w 307"/>
              <a:gd name="T29" fmla="*/ 2147483647 h 609"/>
              <a:gd name="T30" fmla="*/ 2147483647 w 307"/>
              <a:gd name="T31" fmla="*/ 2147483647 h 609"/>
              <a:gd name="T32" fmla="*/ 2147483647 w 307"/>
              <a:gd name="T33" fmla="*/ 2147483647 h 609"/>
              <a:gd name="T34" fmla="*/ 2147483647 w 307"/>
              <a:gd name="T35" fmla="*/ 2147483647 h 609"/>
              <a:gd name="T36" fmla="*/ 2147483647 w 307"/>
              <a:gd name="T37" fmla="*/ 0 h 609"/>
              <a:gd name="T38" fmla="*/ 2147483647 w 307"/>
              <a:gd name="T39" fmla="*/ 2147483647 h 609"/>
              <a:gd name="T40" fmla="*/ 2147483647 w 307"/>
              <a:gd name="T41" fmla="*/ 2147483647 h 609"/>
              <a:gd name="T42" fmla="*/ 2147483647 w 307"/>
              <a:gd name="T43" fmla="*/ 2147483647 h 609"/>
              <a:gd name="T44" fmla="*/ 2147483647 w 307"/>
              <a:gd name="T45" fmla="*/ 2147483647 h 609"/>
              <a:gd name="T46" fmla="*/ 2147483647 w 307"/>
              <a:gd name="T47" fmla="*/ 2147483647 h 609"/>
              <a:gd name="T48" fmla="*/ 2147483647 w 307"/>
              <a:gd name="T49" fmla="*/ 2147483647 h 609"/>
              <a:gd name="T50" fmla="*/ 2147483647 w 307"/>
              <a:gd name="T51" fmla="*/ 2147483647 h 609"/>
              <a:gd name="T52" fmla="*/ 2147483647 w 307"/>
              <a:gd name="T53" fmla="*/ 2147483647 h 609"/>
              <a:gd name="T54" fmla="*/ 2147483647 w 307"/>
              <a:gd name="T55" fmla="*/ 2147483647 h 609"/>
              <a:gd name="T56" fmla="*/ 2147483647 w 307"/>
              <a:gd name="T57" fmla="*/ 2147483647 h 609"/>
              <a:gd name="T58" fmla="*/ 2147483647 w 307"/>
              <a:gd name="T59" fmla="*/ 2147483647 h 609"/>
              <a:gd name="T60" fmla="*/ 0 w 307"/>
              <a:gd name="T61" fmla="*/ 2147483647 h 609"/>
              <a:gd name="T62" fmla="*/ 2147483647 w 307"/>
              <a:gd name="T63" fmla="*/ 2147483647 h 609"/>
              <a:gd name="T64" fmla="*/ 2147483647 w 307"/>
              <a:gd name="T65" fmla="*/ 2147483647 h 609"/>
              <a:gd name="T66" fmla="*/ 2147483647 w 307"/>
              <a:gd name="T67" fmla="*/ 2147483647 h 609"/>
              <a:gd name="T68" fmla="*/ 2147483647 w 307"/>
              <a:gd name="T69" fmla="*/ 2147483647 h 609"/>
              <a:gd name="T70" fmla="*/ 2147483647 w 307"/>
              <a:gd name="T71" fmla="*/ 2147483647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609"/>
              <a:gd name="T110" fmla="*/ 307 w 307"/>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609">
                <a:moveTo>
                  <a:pt x="50" y="180"/>
                </a:moveTo>
                <a:lnTo>
                  <a:pt x="54" y="176"/>
                </a:lnTo>
                <a:lnTo>
                  <a:pt x="72" y="177"/>
                </a:lnTo>
                <a:lnTo>
                  <a:pt x="84" y="168"/>
                </a:lnTo>
                <a:lnTo>
                  <a:pt x="89" y="174"/>
                </a:lnTo>
                <a:lnTo>
                  <a:pt x="93" y="169"/>
                </a:lnTo>
                <a:lnTo>
                  <a:pt x="98" y="171"/>
                </a:lnTo>
                <a:lnTo>
                  <a:pt x="103" y="159"/>
                </a:lnTo>
                <a:lnTo>
                  <a:pt x="114" y="160"/>
                </a:lnTo>
                <a:lnTo>
                  <a:pt x="119" y="156"/>
                </a:lnTo>
                <a:lnTo>
                  <a:pt x="133" y="171"/>
                </a:lnTo>
                <a:lnTo>
                  <a:pt x="145" y="172"/>
                </a:lnTo>
                <a:lnTo>
                  <a:pt x="134" y="157"/>
                </a:lnTo>
                <a:lnTo>
                  <a:pt x="135" y="149"/>
                </a:lnTo>
                <a:lnTo>
                  <a:pt x="155" y="135"/>
                </a:lnTo>
                <a:lnTo>
                  <a:pt x="160" y="137"/>
                </a:lnTo>
                <a:lnTo>
                  <a:pt x="161" y="148"/>
                </a:lnTo>
                <a:lnTo>
                  <a:pt x="172" y="145"/>
                </a:lnTo>
                <a:lnTo>
                  <a:pt x="164" y="131"/>
                </a:lnTo>
                <a:lnTo>
                  <a:pt x="174" y="116"/>
                </a:lnTo>
                <a:lnTo>
                  <a:pt x="180" y="110"/>
                </a:lnTo>
                <a:lnTo>
                  <a:pt x="180" y="125"/>
                </a:lnTo>
                <a:lnTo>
                  <a:pt x="192" y="110"/>
                </a:lnTo>
                <a:lnTo>
                  <a:pt x="204" y="109"/>
                </a:lnTo>
                <a:lnTo>
                  <a:pt x="190" y="98"/>
                </a:lnTo>
                <a:lnTo>
                  <a:pt x="199" y="84"/>
                </a:lnTo>
                <a:lnTo>
                  <a:pt x="204" y="88"/>
                </a:lnTo>
                <a:lnTo>
                  <a:pt x="199" y="64"/>
                </a:lnTo>
                <a:lnTo>
                  <a:pt x="201" y="60"/>
                </a:lnTo>
                <a:lnTo>
                  <a:pt x="210" y="63"/>
                </a:lnTo>
                <a:lnTo>
                  <a:pt x="213" y="72"/>
                </a:lnTo>
                <a:lnTo>
                  <a:pt x="225" y="49"/>
                </a:lnTo>
                <a:lnTo>
                  <a:pt x="230" y="53"/>
                </a:lnTo>
                <a:lnTo>
                  <a:pt x="237" y="48"/>
                </a:lnTo>
                <a:lnTo>
                  <a:pt x="242" y="18"/>
                </a:lnTo>
                <a:lnTo>
                  <a:pt x="237" y="11"/>
                </a:lnTo>
                <a:lnTo>
                  <a:pt x="241" y="13"/>
                </a:lnTo>
                <a:lnTo>
                  <a:pt x="254" y="0"/>
                </a:lnTo>
                <a:lnTo>
                  <a:pt x="284" y="37"/>
                </a:lnTo>
                <a:lnTo>
                  <a:pt x="307" y="142"/>
                </a:lnTo>
                <a:lnTo>
                  <a:pt x="302" y="163"/>
                </a:lnTo>
                <a:lnTo>
                  <a:pt x="296" y="164"/>
                </a:lnTo>
                <a:lnTo>
                  <a:pt x="288" y="143"/>
                </a:lnTo>
                <a:lnTo>
                  <a:pt x="281" y="143"/>
                </a:lnTo>
                <a:lnTo>
                  <a:pt x="278" y="174"/>
                </a:lnTo>
                <a:lnTo>
                  <a:pt x="283" y="197"/>
                </a:lnTo>
                <a:lnTo>
                  <a:pt x="269" y="222"/>
                </a:lnTo>
                <a:lnTo>
                  <a:pt x="259" y="288"/>
                </a:lnTo>
                <a:lnTo>
                  <a:pt x="227" y="383"/>
                </a:lnTo>
                <a:lnTo>
                  <a:pt x="186" y="537"/>
                </a:lnTo>
                <a:lnTo>
                  <a:pt x="175" y="560"/>
                </a:lnTo>
                <a:lnTo>
                  <a:pt x="166" y="576"/>
                </a:lnTo>
                <a:lnTo>
                  <a:pt x="151" y="588"/>
                </a:lnTo>
                <a:lnTo>
                  <a:pt x="118" y="592"/>
                </a:lnTo>
                <a:lnTo>
                  <a:pt x="83" y="609"/>
                </a:lnTo>
                <a:lnTo>
                  <a:pt x="37" y="576"/>
                </a:lnTo>
                <a:lnTo>
                  <a:pt x="26" y="560"/>
                </a:lnTo>
                <a:lnTo>
                  <a:pt x="19" y="532"/>
                </a:lnTo>
                <a:lnTo>
                  <a:pt x="22" y="512"/>
                </a:lnTo>
                <a:lnTo>
                  <a:pt x="14" y="489"/>
                </a:lnTo>
                <a:lnTo>
                  <a:pt x="1" y="471"/>
                </a:lnTo>
                <a:lnTo>
                  <a:pt x="0" y="435"/>
                </a:lnTo>
                <a:lnTo>
                  <a:pt x="12" y="413"/>
                </a:lnTo>
                <a:lnTo>
                  <a:pt x="18" y="408"/>
                </a:lnTo>
                <a:lnTo>
                  <a:pt x="23" y="405"/>
                </a:lnTo>
                <a:lnTo>
                  <a:pt x="30" y="384"/>
                </a:lnTo>
                <a:lnTo>
                  <a:pt x="54" y="341"/>
                </a:lnTo>
                <a:lnTo>
                  <a:pt x="56" y="329"/>
                </a:lnTo>
                <a:lnTo>
                  <a:pt x="43" y="295"/>
                </a:lnTo>
                <a:lnTo>
                  <a:pt x="37" y="250"/>
                </a:lnTo>
                <a:lnTo>
                  <a:pt x="29" y="238"/>
                </a:lnTo>
                <a:lnTo>
                  <a:pt x="51" y="194"/>
                </a:lnTo>
                <a:lnTo>
                  <a:pt x="50" y="180"/>
                </a:lnTo>
                <a:close/>
              </a:path>
            </a:pathLst>
          </a:custGeom>
          <a:solidFill>
            <a:schemeClr val="accent1"/>
          </a:solidFill>
          <a:ln w="6350">
            <a:solidFill>
              <a:schemeClr val="tx2"/>
            </a:solidFill>
            <a:round/>
            <a:headEnd/>
            <a:tailEnd/>
          </a:ln>
        </p:spPr>
        <p:txBody>
          <a:bodyPr/>
          <a:lstStyle/>
          <a:p>
            <a:endParaRPr lang="en-US"/>
          </a:p>
        </p:txBody>
      </p:sp>
      <p:sp>
        <p:nvSpPr>
          <p:cNvPr id="626" name="Freeform 1791"/>
          <p:cNvSpPr>
            <a:spLocks/>
          </p:cNvSpPr>
          <p:nvPr/>
        </p:nvSpPr>
        <p:spPr bwMode="auto">
          <a:xfrm>
            <a:off x="5971069" y="4175128"/>
            <a:ext cx="8600" cy="10189"/>
          </a:xfrm>
          <a:custGeom>
            <a:avLst/>
            <a:gdLst>
              <a:gd name="T0" fmla="*/ 2147483647 w 20"/>
              <a:gd name="T1" fmla="*/ 2147483647 h 23"/>
              <a:gd name="T2" fmla="*/ 2147483647 w 20"/>
              <a:gd name="T3" fmla="*/ 2147483647 h 23"/>
              <a:gd name="T4" fmla="*/ 0 w 20"/>
              <a:gd name="T5" fmla="*/ 2147483647 h 23"/>
              <a:gd name="T6" fmla="*/ 2147483647 w 20"/>
              <a:gd name="T7" fmla="*/ 0 h 23"/>
              <a:gd name="T8" fmla="*/ 2147483647 w 20"/>
              <a:gd name="T9" fmla="*/ 2147483647 h 23"/>
              <a:gd name="T10" fmla="*/ 0 60000 65536"/>
              <a:gd name="T11" fmla="*/ 0 60000 65536"/>
              <a:gd name="T12" fmla="*/ 0 60000 65536"/>
              <a:gd name="T13" fmla="*/ 0 60000 65536"/>
              <a:gd name="T14" fmla="*/ 0 60000 65536"/>
              <a:gd name="T15" fmla="*/ 0 w 20"/>
              <a:gd name="T16" fmla="*/ 0 h 23"/>
              <a:gd name="T17" fmla="*/ 20 w 20"/>
              <a:gd name="T18" fmla="*/ 23 h 23"/>
            </a:gdLst>
            <a:ahLst/>
            <a:cxnLst>
              <a:cxn ang="T10">
                <a:pos x="T0" y="T1"/>
              </a:cxn>
              <a:cxn ang="T11">
                <a:pos x="T2" y="T3"/>
              </a:cxn>
              <a:cxn ang="T12">
                <a:pos x="T4" y="T5"/>
              </a:cxn>
              <a:cxn ang="T13">
                <a:pos x="T6" y="T7"/>
              </a:cxn>
              <a:cxn ang="T14">
                <a:pos x="T8" y="T9"/>
              </a:cxn>
            </a:cxnLst>
            <a:rect l="T15" t="T16" r="T17" b="T18"/>
            <a:pathLst>
              <a:path w="20" h="23">
                <a:moveTo>
                  <a:pt x="20" y="6"/>
                </a:moveTo>
                <a:lnTo>
                  <a:pt x="14" y="23"/>
                </a:lnTo>
                <a:lnTo>
                  <a:pt x="0" y="22"/>
                </a:lnTo>
                <a:lnTo>
                  <a:pt x="7" y="0"/>
                </a:lnTo>
                <a:lnTo>
                  <a:pt x="20" y="6"/>
                </a:lnTo>
                <a:close/>
              </a:path>
            </a:pathLst>
          </a:custGeom>
          <a:solidFill>
            <a:schemeClr val="accent1"/>
          </a:solidFill>
          <a:ln w="6350">
            <a:solidFill>
              <a:schemeClr val="tx2"/>
            </a:solidFill>
            <a:round/>
            <a:headEnd/>
            <a:tailEnd/>
          </a:ln>
        </p:spPr>
        <p:txBody>
          <a:bodyPr/>
          <a:lstStyle/>
          <a:p>
            <a:endParaRPr lang="en-US"/>
          </a:p>
        </p:txBody>
      </p:sp>
      <p:sp>
        <p:nvSpPr>
          <p:cNvPr id="627" name="Freeform 1792"/>
          <p:cNvSpPr>
            <a:spLocks/>
          </p:cNvSpPr>
          <p:nvPr/>
        </p:nvSpPr>
        <p:spPr bwMode="auto">
          <a:xfrm>
            <a:off x="5945269" y="4213338"/>
            <a:ext cx="2866" cy="2547"/>
          </a:xfrm>
          <a:custGeom>
            <a:avLst/>
            <a:gdLst>
              <a:gd name="T0" fmla="*/ 2147483647 w 4"/>
              <a:gd name="T1" fmla="*/ 0 h 9"/>
              <a:gd name="T2" fmla="*/ 2147483647 w 4"/>
              <a:gd name="T3" fmla="*/ 2147483647 h 9"/>
              <a:gd name="T4" fmla="*/ 0 w 4"/>
              <a:gd name="T5" fmla="*/ 2147483647 h 9"/>
              <a:gd name="T6" fmla="*/ 2147483647 w 4"/>
              <a:gd name="T7" fmla="*/ 0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2" y="0"/>
                </a:moveTo>
                <a:lnTo>
                  <a:pt x="4" y="4"/>
                </a:lnTo>
                <a:lnTo>
                  <a:pt x="0" y="9"/>
                </a:lnTo>
                <a:lnTo>
                  <a:pt x="2" y="0"/>
                </a:lnTo>
                <a:close/>
              </a:path>
            </a:pathLst>
          </a:custGeom>
          <a:solidFill>
            <a:schemeClr val="accent1"/>
          </a:solidFill>
          <a:ln w="6350">
            <a:solidFill>
              <a:schemeClr val="tx2"/>
            </a:solidFill>
            <a:round/>
            <a:headEnd/>
            <a:tailEnd/>
          </a:ln>
        </p:spPr>
        <p:txBody>
          <a:bodyPr/>
          <a:lstStyle/>
          <a:p>
            <a:endParaRPr lang="en-US"/>
          </a:p>
        </p:txBody>
      </p:sp>
      <p:sp>
        <p:nvSpPr>
          <p:cNvPr id="628" name="Freeform 1793"/>
          <p:cNvSpPr>
            <a:spLocks/>
          </p:cNvSpPr>
          <p:nvPr/>
        </p:nvSpPr>
        <p:spPr bwMode="auto">
          <a:xfrm>
            <a:off x="5928070" y="4234990"/>
            <a:ext cx="5734" cy="6369"/>
          </a:xfrm>
          <a:custGeom>
            <a:avLst/>
            <a:gdLst>
              <a:gd name="T0" fmla="*/ 2147483647 w 13"/>
              <a:gd name="T1" fmla="*/ 0 h 15"/>
              <a:gd name="T2" fmla="*/ 2147483647 w 13"/>
              <a:gd name="T3" fmla="*/ 2147483647 h 15"/>
              <a:gd name="T4" fmla="*/ 2147483647 w 13"/>
              <a:gd name="T5" fmla="*/ 2147483647 h 15"/>
              <a:gd name="T6" fmla="*/ 0 w 13"/>
              <a:gd name="T7" fmla="*/ 2147483647 h 15"/>
              <a:gd name="T8" fmla="*/ 2147483647 w 13"/>
              <a:gd name="T9" fmla="*/ 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7" y="0"/>
                </a:moveTo>
                <a:lnTo>
                  <a:pt x="13" y="8"/>
                </a:lnTo>
                <a:lnTo>
                  <a:pt x="5" y="15"/>
                </a:lnTo>
                <a:lnTo>
                  <a:pt x="0" y="7"/>
                </a:lnTo>
                <a:lnTo>
                  <a:pt x="7" y="0"/>
                </a:lnTo>
                <a:close/>
              </a:path>
            </a:pathLst>
          </a:custGeom>
          <a:solidFill>
            <a:schemeClr val="accent1"/>
          </a:solidFill>
          <a:ln w="6350">
            <a:solidFill>
              <a:schemeClr val="tx2"/>
            </a:solidFill>
            <a:round/>
            <a:headEnd/>
            <a:tailEnd/>
          </a:ln>
        </p:spPr>
        <p:txBody>
          <a:bodyPr/>
          <a:lstStyle/>
          <a:p>
            <a:endParaRPr lang="en-US"/>
          </a:p>
        </p:txBody>
      </p:sp>
      <p:sp>
        <p:nvSpPr>
          <p:cNvPr id="629" name="Freeform 1794"/>
          <p:cNvSpPr>
            <a:spLocks/>
          </p:cNvSpPr>
          <p:nvPr/>
        </p:nvSpPr>
        <p:spPr bwMode="auto">
          <a:xfrm>
            <a:off x="5910869" y="4268105"/>
            <a:ext cx="2866" cy="2547"/>
          </a:xfrm>
          <a:custGeom>
            <a:avLst/>
            <a:gdLst>
              <a:gd name="T0" fmla="*/ 0 w 3"/>
              <a:gd name="T1" fmla="*/ 0 h 5"/>
              <a:gd name="T2" fmla="*/ 2147483647 w 3"/>
              <a:gd name="T3" fmla="*/ 2147483647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lnTo>
                  <a:pt x="3" y="5"/>
                </a:lnTo>
                <a:lnTo>
                  <a:pt x="0" y="0"/>
                </a:lnTo>
                <a:close/>
              </a:path>
            </a:pathLst>
          </a:custGeom>
          <a:solidFill>
            <a:schemeClr val="accent1"/>
          </a:solidFill>
          <a:ln w="6350">
            <a:solidFill>
              <a:schemeClr val="tx2"/>
            </a:solidFill>
            <a:round/>
            <a:headEnd/>
            <a:tailEnd/>
          </a:ln>
        </p:spPr>
        <p:txBody>
          <a:bodyPr/>
          <a:lstStyle/>
          <a:p>
            <a:endParaRPr lang="en-US"/>
          </a:p>
        </p:txBody>
      </p:sp>
      <p:sp>
        <p:nvSpPr>
          <p:cNvPr id="630" name="Freeform 1817"/>
          <p:cNvSpPr>
            <a:spLocks/>
          </p:cNvSpPr>
          <p:nvPr/>
        </p:nvSpPr>
        <p:spPr bwMode="auto">
          <a:xfrm>
            <a:off x="6908473" y="4589067"/>
            <a:ext cx="8600" cy="10189"/>
          </a:xfrm>
          <a:custGeom>
            <a:avLst/>
            <a:gdLst>
              <a:gd name="T0" fmla="*/ 2147483647 w 19"/>
              <a:gd name="T1" fmla="*/ 2147483647 h 24"/>
              <a:gd name="T2" fmla="*/ 2147483647 w 19"/>
              <a:gd name="T3" fmla="*/ 2147483647 h 24"/>
              <a:gd name="T4" fmla="*/ 0 w 19"/>
              <a:gd name="T5" fmla="*/ 2147483647 h 24"/>
              <a:gd name="T6" fmla="*/ 2147483647 w 19"/>
              <a:gd name="T7" fmla="*/ 0 h 24"/>
              <a:gd name="T8" fmla="*/ 2147483647 w 19"/>
              <a:gd name="T9" fmla="*/ 2147483647 h 24"/>
              <a:gd name="T10" fmla="*/ 0 60000 65536"/>
              <a:gd name="T11" fmla="*/ 0 60000 65536"/>
              <a:gd name="T12" fmla="*/ 0 60000 65536"/>
              <a:gd name="T13" fmla="*/ 0 60000 65536"/>
              <a:gd name="T14" fmla="*/ 0 60000 65536"/>
              <a:gd name="T15" fmla="*/ 0 w 19"/>
              <a:gd name="T16" fmla="*/ 0 h 24"/>
              <a:gd name="T17" fmla="*/ 19 w 19"/>
              <a:gd name="T18" fmla="*/ 24 h 24"/>
            </a:gdLst>
            <a:ahLst/>
            <a:cxnLst>
              <a:cxn ang="T10">
                <a:pos x="T0" y="T1"/>
              </a:cxn>
              <a:cxn ang="T11">
                <a:pos x="T2" y="T3"/>
              </a:cxn>
              <a:cxn ang="T12">
                <a:pos x="T4" y="T5"/>
              </a:cxn>
              <a:cxn ang="T13">
                <a:pos x="T6" y="T7"/>
              </a:cxn>
              <a:cxn ang="T14">
                <a:pos x="T8" y="T9"/>
              </a:cxn>
            </a:cxnLst>
            <a:rect l="T15" t="T16" r="T17" b="T18"/>
            <a:pathLst>
              <a:path w="19" h="24">
                <a:moveTo>
                  <a:pt x="19" y="8"/>
                </a:moveTo>
                <a:lnTo>
                  <a:pt x="13" y="24"/>
                </a:lnTo>
                <a:lnTo>
                  <a:pt x="0" y="22"/>
                </a:lnTo>
                <a:lnTo>
                  <a:pt x="7" y="0"/>
                </a:lnTo>
                <a:lnTo>
                  <a:pt x="19" y="8"/>
                </a:lnTo>
                <a:close/>
              </a:path>
            </a:pathLst>
          </a:custGeom>
          <a:solidFill>
            <a:schemeClr val="accent1"/>
          </a:solidFill>
          <a:ln w="6350">
            <a:solidFill>
              <a:schemeClr val="tx2"/>
            </a:solidFill>
            <a:round/>
            <a:headEnd/>
            <a:tailEnd/>
          </a:ln>
        </p:spPr>
        <p:txBody>
          <a:bodyPr/>
          <a:lstStyle/>
          <a:p>
            <a:endParaRPr lang="en-US"/>
          </a:p>
        </p:txBody>
      </p:sp>
      <p:sp>
        <p:nvSpPr>
          <p:cNvPr id="631" name="Freeform 1818"/>
          <p:cNvSpPr>
            <a:spLocks/>
          </p:cNvSpPr>
          <p:nvPr/>
        </p:nvSpPr>
        <p:spPr bwMode="auto">
          <a:xfrm>
            <a:off x="6885539" y="4583972"/>
            <a:ext cx="8600" cy="1274"/>
          </a:xfrm>
          <a:custGeom>
            <a:avLst/>
            <a:gdLst>
              <a:gd name="T0" fmla="*/ 2147483647 w 13"/>
              <a:gd name="T1" fmla="*/ 2147483647 h 4"/>
              <a:gd name="T2" fmla="*/ 0 w 13"/>
              <a:gd name="T3" fmla="*/ 2147483647 h 4"/>
              <a:gd name="T4" fmla="*/ 2147483647 w 13"/>
              <a:gd name="T5" fmla="*/ 2147483647 h 4"/>
              <a:gd name="T6" fmla="*/ 2147483647 w 13"/>
              <a:gd name="T7" fmla="*/ 0 h 4"/>
              <a:gd name="T8" fmla="*/ 2147483647 w 13"/>
              <a:gd name="T9" fmla="*/ 2147483647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7" y="1"/>
                </a:moveTo>
                <a:lnTo>
                  <a:pt x="0" y="4"/>
                </a:lnTo>
                <a:lnTo>
                  <a:pt x="7" y="4"/>
                </a:lnTo>
                <a:lnTo>
                  <a:pt x="13" y="0"/>
                </a:lnTo>
                <a:lnTo>
                  <a:pt x="7" y="1"/>
                </a:lnTo>
                <a:close/>
              </a:path>
            </a:pathLst>
          </a:custGeom>
          <a:solidFill>
            <a:schemeClr val="accent1"/>
          </a:solidFill>
          <a:ln w="6350">
            <a:solidFill>
              <a:schemeClr val="tx2"/>
            </a:solidFill>
            <a:round/>
            <a:headEnd/>
            <a:tailEnd/>
          </a:ln>
        </p:spPr>
        <p:txBody>
          <a:bodyPr/>
          <a:lstStyle/>
          <a:p>
            <a:endParaRPr lang="en-US"/>
          </a:p>
        </p:txBody>
      </p:sp>
      <p:sp>
        <p:nvSpPr>
          <p:cNvPr id="632" name="Freeform 1824"/>
          <p:cNvSpPr>
            <a:spLocks/>
          </p:cNvSpPr>
          <p:nvPr/>
        </p:nvSpPr>
        <p:spPr bwMode="auto">
          <a:xfrm>
            <a:off x="5687268" y="3539573"/>
            <a:ext cx="8600" cy="14011"/>
          </a:xfrm>
          <a:custGeom>
            <a:avLst/>
            <a:gdLst>
              <a:gd name="T0" fmla="*/ 2147483647 w 23"/>
              <a:gd name="T1" fmla="*/ 2147483647 h 32"/>
              <a:gd name="T2" fmla="*/ 2147483647 w 23"/>
              <a:gd name="T3" fmla="*/ 0 h 32"/>
              <a:gd name="T4" fmla="*/ 0 w 23"/>
              <a:gd name="T5" fmla="*/ 2147483647 h 32"/>
              <a:gd name="T6" fmla="*/ 2147483647 w 23"/>
              <a:gd name="T7" fmla="*/ 2147483647 h 32"/>
              <a:gd name="T8" fmla="*/ 2147483647 w 23"/>
              <a:gd name="T9" fmla="*/ 2147483647 h 32"/>
              <a:gd name="T10" fmla="*/ 0 60000 65536"/>
              <a:gd name="T11" fmla="*/ 0 60000 65536"/>
              <a:gd name="T12" fmla="*/ 0 60000 65536"/>
              <a:gd name="T13" fmla="*/ 0 60000 65536"/>
              <a:gd name="T14" fmla="*/ 0 60000 65536"/>
              <a:gd name="T15" fmla="*/ 0 w 23"/>
              <a:gd name="T16" fmla="*/ 0 h 32"/>
              <a:gd name="T17" fmla="*/ 23 w 23"/>
              <a:gd name="T18" fmla="*/ 32 h 32"/>
            </a:gdLst>
            <a:ahLst/>
            <a:cxnLst>
              <a:cxn ang="T10">
                <a:pos x="T0" y="T1"/>
              </a:cxn>
              <a:cxn ang="T11">
                <a:pos x="T2" y="T3"/>
              </a:cxn>
              <a:cxn ang="T12">
                <a:pos x="T4" y="T5"/>
              </a:cxn>
              <a:cxn ang="T13">
                <a:pos x="T6" y="T7"/>
              </a:cxn>
              <a:cxn ang="T14">
                <a:pos x="T8" y="T9"/>
              </a:cxn>
            </a:cxnLst>
            <a:rect l="T15" t="T16" r="T17" b="T18"/>
            <a:pathLst>
              <a:path w="23" h="32">
                <a:moveTo>
                  <a:pt x="17" y="25"/>
                </a:moveTo>
                <a:lnTo>
                  <a:pt x="23" y="0"/>
                </a:lnTo>
                <a:lnTo>
                  <a:pt x="0" y="15"/>
                </a:lnTo>
                <a:lnTo>
                  <a:pt x="9" y="32"/>
                </a:lnTo>
                <a:lnTo>
                  <a:pt x="17" y="25"/>
                </a:lnTo>
                <a:close/>
              </a:path>
            </a:pathLst>
          </a:custGeom>
          <a:solidFill>
            <a:schemeClr val="accent1"/>
          </a:solidFill>
          <a:ln w="6350">
            <a:solidFill>
              <a:schemeClr val="tx2"/>
            </a:solidFill>
            <a:round/>
            <a:headEnd/>
            <a:tailEnd/>
          </a:ln>
        </p:spPr>
        <p:txBody>
          <a:bodyPr/>
          <a:lstStyle/>
          <a:p>
            <a:endParaRPr lang="en-US"/>
          </a:p>
        </p:txBody>
      </p:sp>
      <p:sp>
        <p:nvSpPr>
          <p:cNvPr id="633" name="Freeform 1825"/>
          <p:cNvSpPr>
            <a:spLocks/>
          </p:cNvSpPr>
          <p:nvPr/>
        </p:nvSpPr>
        <p:spPr bwMode="auto">
          <a:xfrm>
            <a:off x="6080003" y="3552310"/>
            <a:ext cx="8600" cy="7642"/>
          </a:xfrm>
          <a:custGeom>
            <a:avLst/>
            <a:gdLst>
              <a:gd name="T0" fmla="*/ 2147483647 w 18"/>
              <a:gd name="T1" fmla="*/ 2147483647 h 18"/>
              <a:gd name="T2" fmla="*/ 2147483647 w 18"/>
              <a:gd name="T3" fmla="*/ 2147483647 h 18"/>
              <a:gd name="T4" fmla="*/ 2147483647 w 18"/>
              <a:gd name="T5" fmla="*/ 0 h 18"/>
              <a:gd name="T6" fmla="*/ 0 w 18"/>
              <a:gd name="T7" fmla="*/ 2147483647 h 18"/>
              <a:gd name="T8" fmla="*/ 2147483647 w 18"/>
              <a:gd name="T9" fmla="*/ 2147483647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16" y="18"/>
                </a:moveTo>
                <a:lnTo>
                  <a:pt x="18" y="12"/>
                </a:lnTo>
                <a:lnTo>
                  <a:pt x="10" y="0"/>
                </a:lnTo>
                <a:lnTo>
                  <a:pt x="0" y="9"/>
                </a:lnTo>
                <a:lnTo>
                  <a:pt x="16" y="18"/>
                </a:lnTo>
                <a:close/>
              </a:path>
            </a:pathLst>
          </a:custGeom>
          <a:solidFill>
            <a:schemeClr val="accent1"/>
          </a:solidFill>
          <a:ln w="6350">
            <a:solidFill>
              <a:schemeClr val="tx2"/>
            </a:solidFill>
            <a:round/>
            <a:headEnd/>
            <a:tailEnd/>
          </a:ln>
        </p:spPr>
        <p:txBody>
          <a:bodyPr/>
          <a:lstStyle/>
          <a:p>
            <a:endParaRPr lang="en-US"/>
          </a:p>
        </p:txBody>
      </p:sp>
      <p:sp>
        <p:nvSpPr>
          <p:cNvPr id="634" name="Freeform 1378"/>
          <p:cNvSpPr>
            <a:spLocks/>
          </p:cNvSpPr>
          <p:nvPr/>
        </p:nvSpPr>
        <p:spPr bwMode="auto">
          <a:xfrm>
            <a:off x="7767043" y="3873272"/>
            <a:ext cx="159101" cy="276384"/>
          </a:xfrm>
          <a:custGeom>
            <a:avLst/>
            <a:gdLst>
              <a:gd name="T0" fmla="*/ 2147483647 w 338"/>
              <a:gd name="T1" fmla="*/ 2147483647 h 663"/>
              <a:gd name="T2" fmla="*/ 2147483647 w 338"/>
              <a:gd name="T3" fmla="*/ 2147483647 h 663"/>
              <a:gd name="T4" fmla="*/ 2147483647 w 338"/>
              <a:gd name="T5" fmla="*/ 2147483647 h 663"/>
              <a:gd name="T6" fmla="*/ 2147483647 w 338"/>
              <a:gd name="T7" fmla="*/ 2147483647 h 663"/>
              <a:gd name="T8" fmla="*/ 2147483647 w 338"/>
              <a:gd name="T9" fmla="*/ 2147483647 h 663"/>
              <a:gd name="T10" fmla="*/ 2147483647 w 338"/>
              <a:gd name="T11" fmla="*/ 2147483647 h 663"/>
              <a:gd name="T12" fmla="*/ 2147483647 w 338"/>
              <a:gd name="T13" fmla="*/ 2147483647 h 663"/>
              <a:gd name="T14" fmla="*/ 2147483647 w 338"/>
              <a:gd name="T15" fmla="*/ 2147483647 h 663"/>
              <a:gd name="T16" fmla="*/ 2147483647 w 338"/>
              <a:gd name="T17" fmla="*/ 2147483647 h 663"/>
              <a:gd name="T18" fmla="*/ 2147483647 w 338"/>
              <a:gd name="T19" fmla="*/ 2147483647 h 663"/>
              <a:gd name="T20" fmla="*/ 2147483647 w 338"/>
              <a:gd name="T21" fmla="*/ 2147483647 h 663"/>
              <a:gd name="T22" fmla="*/ 2147483647 w 338"/>
              <a:gd name="T23" fmla="*/ 2147483647 h 663"/>
              <a:gd name="T24" fmla="*/ 2147483647 w 338"/>
              <a:gd name="T25" fmla="*/ 2147483647 h 663"/>
              <a:gd name="T26" fmla="*/ 2147483647 w 338"/>
              <a:gd name="T27" fmla="*/ 2147483647 h 663"/>
              <a:gd name="T28" fmla="*/ 2147483647 w 338"/>
              <a:gd name="T29" fmla="*/ 2147483647 h 663"/>
              <a:gd name="T30" fmla="*/ 2147483647 w 338"/>
              <a:gd name="T31" fmla="*/ 2147483647 h 663"/>
              <a:gd name="T32" fmla="*/ 2147483647 w 338"/>
              <a:gd name="T33" fmla="*/ 2147483647 h 663"/>
              <a:gd name="T34" fmla="*/ 2147483647 w 338"/>
              <a:gd name="T35" fmla="*/ 2147483647 h 663"/>
              <a:gd name="T36" fmla="*/ 2147483647 w 338"/>
              <a:gd name="T37" fmla="*/ 2147483647 h 663"/>
              <a:gd name="T38" fmla="*/ 2147483647 w 338"/>
              <a:gd name="T39" fmla="*/ 2147483647 h 663"/>
              <a:gd name="T40" fmla="*/ 2147483647 w 338"/>
              <a:gd name="T41" fmla="*/ 2147483647 h 663"/>
              <a:gd name="T42" fmla="*/ 2147483647 w 338"/>
              <a:gd name="T43" fmla="*/ 2147483647 h 663"/>
              <a:gd name="T44" fmla="*/ 2147483647 w 338"/>
              <a:gd name="T45" fmla="*/ 2147483647 h 663"/>
              <a:gd name="T46" fmla="*/ 2147483647 w 338"/>
              <a:gd name="T47" fmla="*/ 2147483647 h 663"/>
              <a:gd name="T48" fmla="*/ 2147483647 w 338"/>
              <a:gd name="T49" fmla="*/ 2147483647 h 663"/>
              <a:gd name="T50" fmla="*/ 2147483647 w 338"/>
              <a:gd name="T51" fmla="*/ 2147483647 h 663"/>
              <a:gd name="T52" fmla="*/ 2147483647 w 338"/>
              <a:gd name="T53" fmla="*/ 2147483647 h 663"/>
              <a:gd name="T54" fmla="*/ 2147483647 w 338"/>
              <a:gd name="T55" fmla="*/ 0 h 663"/>
              <a:gd name="T56" fmla="*/ 2147483647 w 338"/>
              <a:gd name="T57" fmla="*/ 2147483647 h 663"/>
              <a:gd name="T58" fmla="*/ 2147483647 w 338"/>
              <a:gd name="T59" fmla="*/ 2147483647 h 663"/>
              <a:gd name="T60" fmla="*/ 2147483647 w 338"/>
              <a:gd name="T61" fmla="*/ 2147483647 h 663"/>
              <a:gd name="T62" fmla="*/ 2147483647 w 338"/>
              <a:gd name="T63" fmla="*/ 2147483647 h 663"/>
              <a:gd name="T64" fmla="*/ 2147483647 w 338"/>
              <a:gd name="T65" fmla="*/ 2147483647 h 663"/>
              <a:gd name="T66" fmla="*/ 2147483647 w 338"/>
              <a:gd name="T67" fmla="*/ 2147483647 h 663"/>
              <a:gd name="T68" fmla="*/ 2147483647 w 338"/>
              <a:gd name="T69" fmla="*/ 2147483647 h 663"/>
              <a:gd name="T70" fmla="*/ 2147483647 w 338"/>
              <a:gd name="T71" fmla="*/ 2147483647 h 663"/>
              <a:gd name="T72" fmla="*/ 2147483647 w 338"/>
              <a:gd name="T73" fmla="*/ 2147483647 h 663"/>
              <a:gd name="T74" fmla="*/ 2147483647 w 338"/>
              <a:gd name="T75" fmla="*/ 2147483647 h 663"/>
              <a:gd name="T76" fmla="*/ 2147483647 w 338"/>
              <a:gd name="T77" fmla="*/ 2147483647 h 663"/>
              <a:gd name="T78" fmla="*/ 2147483647 w 338"/>
              <a:gd name="T79" fmla="*/ 2147483647 h 663"/>
              <a:gd name="T80" fmla="*/ 2147483647 w 338"/>
              <a:gd name="T81" fmla="*/ 2147483647 h 663"/>
              <a:gd name="T82" fmla="*/ 2147483647 w 338"/>
              <a:gd name="T83" fmla="*/ 2147483647 h 663"/>
              <a:gd name="T84" fmla="*/ 2147483647 w 338"/>
              <a:gd name="T85" fmla="*/ 2147483647 h 663"/>
              <a:gd name="T86" fmla="*/ 2147483647 w 338"/>
              <a:gd name="T87" fmla="*/ 2147483647 h 663"/>
              <a:gd name="T88" fmla="*/ 2147483647 w 338"/>
              <a:gd name="T89" fmla="*/ 2147483647 h 663"/>
              <a:gd name="T90" fmla="*/ 2147483647 w 338"/>
              <a:gd name="T91" fmla="*/ 2147483647 h 6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8"/>
              <a:gd name="T139" fmla="*/ 0 h 663"/>
              <a:gd name="T140" fmla="*/ 338 w 338"/>
              <a:gd name="T141" fmla="*/ 663 h 6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8" h="663">
                <a:moveTo>
                  <a:pt x="228" y="405"/>
                </a:moveTo>
                <a:lnTo>
                  <a:pt x="217" y="386"/>
                </a:lnTo>
                <a:lnTo>
                  <a:pt x="202" y="380"/>
                </a:lnTo>
                <a:lnTo>
                  <a:pt x="182" y="361"/>
                </a:lnTo>
                <a:lnTo>
                  <a:pt x="144" y="362"/>
                </a:lnTo>
                <a:lnTo>
                  <a:pt x="141" y="324"/>
                </a:lnTo>
                <a:lnTo>
                  <a:pt x="111" y="322"/>
                </a:lnTo>
                <a:lnTo>
                  <a:pt x="102" y="325"/>
                </a:lnTo>
                <a:lnTo>
                  <a:pt x="104" y="344"/>
                </a:lnTo>
                <a:lnTo>
                  <a:pt x="100" y="382"/>
                </a:lnTo>
                <a:lnTo>
                  <a:pt x="88" y="405"/>
                </a:lnTo>
                <a:lnTo>
                  <a:pt x="81" y="434"/>
                </a:lnTo>
                <a:lnTo>
                  <a:pt x="67" y="465"/>
                </a:lnTo>
                <a:lnTo>
                  <a:pt x="72" y="509"/>
                </a:lnTo>
                <a:lnTo>
                  <a:pt x="97" y="509"/>
                </a:lnTo>
                <a:lnTo>
                  <a:pt x="107" y="542"/>
                </a:lnTo>
                <a:lnTo>
                  <a:pt x="118" y="556"/>
                </a:lnTo>
                <a:lnTo>
                  <a:pt x="128" y="592"/>
                </a:lnTo>
                <a:lnTo>
                  <a:pt x="142" y="607"/>
                </a:lnTo>
                <a:lnTo>
                  <a:pt x="169" y="612"/>
                </a:lnTo>
                <a:lnTo>
                  <a:pt x="197" y="641"/>
                </a:lnTo>
                <a:lnTo>
                  <a:pt x="191" y="651"/>
                </a:lnTo>
                <a:lnTo>
                  <a:pt x="174" y="651"/>
                </a:lnTo>
                <a:lnTo>
                  <a:pt x="156" y="663"/>
                </a:lnTo>
                <a:lnTo>
                  <a:pt x="154" y="641"/>
                </a:lnTo>
                <a:lnTo>
                  <a:pt x="146" y="630"/>
                </a:lnTo>
                <a:lnTo>
                  <a:pt x="110" y="619"/>
                </a:lnTo>
                <a:lnTo>
                  <a:pt x="113" y="631"/>
                </a:lnTo>
                <a:lnTo>
                  <a:pt x="68" y="571"/>
                </a:lnTo>
                <a:lnTo>
                  <a:pt x="47" y="552"/>
                </a:lnTo>
                <a:lnTo>
                  <a:pt x="32" y="553"/>
                </a:lnTo>
                <a:lnTo>
                  <a:pt x="31" y="520"/>
                </a:lnTo>
                <a:lnTo>
                  <a:pt x="46" y="468"/>
                </a:lnTo>
                <a:lnTo>
                  <a:pt x="58" y="438"/>
                </a:lnTo>
                <a:lnTo>
                  <a:pt x="72" y="423"/>
                </a:lnTo>
                <a:lnTo>
                  <a:pt x="87" y="394"/>
                </a:lnTo>
                <a:lnTo>
                  <a:pt x="66" y="341"/>
                </a:lnTo>
                <a:lnTo>
                  <a:pt x="61" y="303"/>
                </a:lnTo>
                <a:lnTo>
                  <a:pt x="31" y="278"/>
                </a:lnTo>
                <a:lnTo>
                  <a:pt x="26" y="265"/>
                </a:lnTo>
                <a:lnTo>
                  <a:pt x="27" y="253"/>
                </a:lnTo>
                <a:lnTo>
                  <a:pt x="39" y="238"/>
                </a:lnTo>
                <a:lnTo>
                  <a:pt x="42" y="222"/>
                </a:lnTo>
                <a:lnTo>
                  <a:pt x="51" y="207"/>
                </a:lnTo>
                <a:lnTo>
                  <a:pt x="48" y="200"/>
                </a:lnTo>
                <a:lnTo>
                  <a:pt x="40" y="199"/>
                </a:lnTo>
                <a:lnTo>
                  <a:pt x="38" y="164"/>
                </a:lnTo>
                <a:lnTo>
                  <a:pt x="13" y="143"/>
                </a:lnTo>
                <a:lnTo>
                  <a:pt x="0" y="106"/>
                </a:lnTo>
                <a:lnTo>
                  <a:pt x="6" y="101"/>
                </a:lnTo>
                <a:lnTo>
                  <a:pt x="7" y="84"/>
                </a:lnTo>
                <a:lnTo>
                  <a:pt x="18" y="53"/>
                </a:lnTo>
                <a:lnTo>
                  <a:pt x="52" y="47"/>
                </a:lnTo>
                <a:lnTo>
                  <a:pt x="81" y="25"/>
                </a:lnTo>
                <a:lnTo>
                  <a:pt x="99" y="19"/>
                </a:lnTo>
                <a:lnTo>
                  <a:pt x="112" y="0"/>
                </a:lnTo>
                <a:lnTo>
                  <a:pt x="111" y="10"/>
                </a:lnTo>
                <a:lnTo>
                  <a:pt x="116" y="9"/>
                </a:lnTo>
                <a:lnTo>
                  <a:pt x="125" y="20"/>
                </a:lnTo>
                <a:lnTo>
                  <a:pt x="127" y="40"/>
                </a:lnTo>
                <a:lnTo>
                  <a:pt x="127" y="45"/>
                </a:lnTo>
                <a:lnTo>
                  <a:pt x="152" y="50"/>
                </a:lnTo>
                <a:lnTo>
                  <a:pt x="151" y="90"/>
                </a:lnTo>
                <a:lnTo>
                  <a:pt x="142" y="130"/>
                </a:lnTo>
                <a:lnTo>
                  <a:pt x="144" y="143"/>
                </a:lnTo>
                <a:lnTo>
                  <a:pt x="182" y="115"/>
                </a:lnTo>
                <a:lnTo>
                  <a:pt x="197" y="115"/>
                </a:lnTo>
                <a:lnTo>
                  <a:pt x="201" y="124"/>
                </a:lnTo>
                <a:lnTo>
                  <a:pt x="214" y="128"/>
                </a:lnTo>
                <a:lnTo>
                  <a:pt x="230" y="121"/>
                </a:lnTo>
                <a:lnTo>
                  <a:pt x="236" y="108"/>
                </a:lnTo>
                <a:lnTo>
                  <a:pt x="254" y="106"/>
                </a:lnTo>
                <a:lnTo>
                  <a:pt x="264" y="106"/>
                </a:lnTo>
                <a:lnTo>
                  <a:pt x="296" y="143"/>
                </a:lnTo>
                <a:lnTo>
                  <a:pt x="302" y="160"/>
                </a:lnTo>
                <a:lnTo>
                  <a:pt x="305" y="199"/>
                </a:lnTo>
                <a:lnTo>
                  <a:pt x="318" y="210"/>
                </a:lnTo>
                <a:lnTo>
                  <a:pt x="325" y="211"/>
                </a:lnTo>
                <a:lnTo>
                  <a:pt x="338" y="229"/>
                </a:lnTo>
                <a:lnTo>
                  <a:pt x="338" y="242"/>
                </a:lnTo>
                <a:lnTo>
                  <a:pt x="336" y="278"/>
                </a:lnTo>
                <a:lnTo>
                  <a:pt x="326" y="290"/>
                </a:lnTo>
                <a:lnTo>
                  <a:pt x="319" y="293"/>
                </a:lnTo>
                <a:lnTo>
                  <a:pt x="310" y="286"/>
                </a:lnTo>
                <a:lnTo>
                  <a:pt x="275" y="289"/>
                </a:lnTo>
                <a:lnTo>
                  <a:pt x="240" y="285"/>
                </a:lnTo>
                <a:lnTo>
                  <a:pt x="212" y="311"/>
                </a:lnTo>
                <a:lnTo>
                  <a:pt x="203" y="322"/>
                </a:lnTo>
                <a:lnTo>
                  <a:pt x="201" y="337"/>
                </a:lnTo>
                <a:lnTo>
                  <a:pt x="209" y="362"/>
                </a:lnTo>
                <a:lnTo>
                  <a:pt x="225" y="381"/>
                </a:lnTo>
                <a:lnTo>
                  <a:pt x="228" y="405"/>
                </a:lnTo>
                <a:close/>
              </a:path>
            </a:pathLst>
          </a:custGeom>
          <a:solidFill>
            <a:schemeClr val="accent1"/>
          </a:solidFill>
          <a:ln w="6350">
            <a:solidFill>
              <a:schemeClr val="tx2"/>
            </a:solidFill>
            <a:round/>
            <a:headEnd/>
            <a:tailEnd/>
          </a:ln>
        </p:spPr>
        <p:txBody>
          <a:bodyPr/>
          <a:lstStyle/>
          <a:p>
            <a:endParaRPr lang="en-US"/>
          </a:p>
        </p:txBody>
      </p:sp>
      <p:sp>
        <p:nvSpPr>
          <p:cNvPr id="635" name="Freeform 1379"/>
          <p:cNvSpPr>
            <a:spLocks/>
          </p:cNvSpPr>
          <p:nvPr/>
        </p:nvSpPr>
        <p:spPr bwMode="auto">
          <a:xfrm>
            <a:off x="7818643" y="3838883"/>
            <a:ext cx="146200" cy="161754"/>
          </a:xfrm>
          <a:custGeom>
            <a:avLst/>
            <a:gdLst>
              <a:gd name="T0" fmla="*/ 2147483647 w 311"/>
              <a:gd name="T1" fmla="*/ 2147483647 h 385"/>
              <a:gd name="T2" fmla="*/ 2147483647 w 311"/>
              <a:gd name="T3" fmla="*/ 2147483647 h 385"/>
              <a:gd name="T4" fmla="*/ 2147483647 w 311"/>
              <a:gd name="T5" fmla="*/ 2147483647 h 385"/>
              <a:gd name="T6" fmla="*/ 2147483647 w 311"/>
              <a:gd name="T7" fmla="*/ 2147483647 h 385"/>
              <a:gd name="T8" fmla="*/ 2147483647 w 311"/>
              <a:gd name="T9" fmla="*/ 2147483647 h 385"/>
              <a:gd name="T10" fmla="*/ 2147483647 w 311"/>
              <a:gd name="T11" fmla="*/ 2147483647 h 385"/>
              <a:gd name="T12" fmla="*/ 2147483647 w 311"/>
              <a:gd name="T13" fmla="*/ 2147483647 h 385"/>
              <a:gd name="T14" fmla="*/ 2147483647 w 311"/>
              <a:gd name="T15" fmla="*/ 2147483647 h 385"/>
              <a:gd name="T16" fmla="*/ 2147483647 w 311"/>
              <a:gd name="T17" fmla="*/ 2147483647 h 385"/>
              <a:gd name="T18" fmla="*/ 2147483647 w 311"/>
              <a:gd name="T19" fmla="*/ 2147483647 h 385"/>
              <a:gd name="T20" fmla="*/ 2147483647 w 311"/>
              <a:gd name="T21" fmla="*/ 2147483647 h 385"/>
              <a:gd name="T22" fmla="*/ 2147483647 w 311"/>
              <a:gd name="T23" fmla="*/ 2147483647 h 385"/>
              <a:gd name="T24" fmla="*/ 2147483647 w 311"/>
              <a:gd name="T25" fmla="*/ 2147483647 h 385"/>
              <a:gd name="T26" fmla="*/ 2147483647 w 311"/>
              <a:gd name="T27" fmla="*/ 2147483647 h 385"/>
              <a:gd name="T28" fmla="*/ 2147483647 w 311"/>
              <a:gd name="T29" fmla="*/ 2147483647 h 385"/>
              <a:gd name="T30" fmla="*/ 2147483647 w 311"/>
              <a:gd name="T31" fmla="*/ 2147483647 h 385"/>
              <a:gd name="T32" fmla="*/ 2147483647 w 311"/>
              <a:gd name="T33" fmla="*/ 2147483647 h 385"/>
              <a:gd name="T34" fmla="*/ 2147483647 w 311"/>
              <a:gd name="T35" fmla="*/ 2147483647 h 385"/>
              <a:gd name="T36" fmla="*/ 2147483647 w 311"/>
              <a:gd name="T37" fmla="*/ 2147483647 h 385"/>
              <a:gd name="T38" fmla="*/ 2147483647 w 311"/>
              <a:gd name="T39" fmla="*/ 2147483647 h 385"/>
              <a:gd name="T40" fmla="*/ 2147483647 w 311"/>
              <a:gd name="T41" fmla="*/ 2147483647 h 385"/>
              <a:gd name="T42" fmla="*/ 2147483647 w 311"/>
              <a:gd name="T43" fmla="*/ 2147483647 h 385"/>
              <a:gd name="T44" fmla="*/ 2147483647 w 311"/>
              <a:gd name="T45" fmla="*/ 2147483647 h 385"/>
              <a:gd name="T46" fmla="*/ 2147483647 w 311"/>
              <a:gd name="T47" fmla="*/ 2147483647 h 385"/>
              <a:gd name="T48" fmla="*/ 2147483647 w 311"/>
              <a:gd name="T49" fmla="*/ 2147483647 h 385"/>
              <a:gd name="T50" fmla="*/ 2147483647 w 311"/>
              <a:gd name="T51" fmla="*/ 2147483647 h 385"/>
              <a:gd name="T52" fmla="*/ 2147483647 w 311"/>
              <a:gd name="T53" fmla="*/ 2147483647 h 385"/>
              <a:gd name="T54" fmla="*/ 2147483647 w 311"/>
              <a:gd name="T55" fmla="*/ 2147483647 h 385"/>
              <a:gd name="T56" fmla="*/ 2147483647 w 311"/>
              <a:gd name="T57" fmla="*/ 2147483647 h 385"/>
              <a:gd name="T58" fmla="*/ 2147483647 w 311"/>
              <a:gd name="T59" fmla="*/ 2147483647 h 385"/>
              <a:gd name="T60" fmla="*/ 2147483647 w 311"/>
              <a:gd name="T61" fmla="*/ 2147483647 h 385"/>
              <a:gd name="T62" fmla="*/ 2147483647 w 311"/>
              <a:gd name="T63" fmla="*/ 2147483647 h 385"/>
              <a:gd name="T64" fmla="*/ 2147483647 w 311"/>
              <a:gd name="T65" fmla="*/ 2147483647 h 385"/>
              <a:gd name="T66" fmla="*/ 2147483647 w 311"/>
              <a:gd name="T67" fmla="*/ 2147483647 h 3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1"/>
              <a:gd name="T103" fmla="*/ 0 h 385"/>
              <a:gd name="T104" fmla="*/ 311 w 311"/>
              <a:gd name="T105" fmla="*/ 385 h 3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1" h="385">
                <a:moveTo>
                  <a:pt x="71" y="198"/>
                </a:moveTo>
                <a:lnTo>
                  <a:pt x="86" y="198"/>
                </a:lnTo>
                <a:lnTo>
                  <a:pt x="90" y="207"/>
                </a:lnTo>
                <a:lnTo>
                  <a:pt x="103" y="211"/>
                </a:lnTo>
                <a:lnTo>
                  <a:pt x="119" y="204"/>
                </a:lnTo>
                <a:lnTo>
                  <a:pt x="125" y="191"/>
                </a:lnTo>
                <a:lnTo>
                  <a:pt x="143" y="189"/>
                </a:lnTo>
                <a:lnTo>
                  <a:pt x="153" y="189"/>
                </a:lnTo>
                <a:lnTo>
                  <a:pt x="185" y="226"/>
                </a:lnTo>
                <a:lnTo>
                  <a:pt x="191" y="243"/>
                </a:lnTo>
                <a:lnTo>
                  <a:pt x="194" y="282"/>
                </a:lnTo>
                <a:lnTo>
                  <a:pt x="207" y="293"/>
                </a:lnTo>
                <a:lnTo>
                  <a:pt x="214" y="294"/>
                </a:lnTo>
                <a:lnTo>
                  <a:pt x="227" y="312"/>
                </a:lnTo>
                <a:lnTo>
                  <a:pt x="227" y="325"/>
                </a:lnTo>
                <a:lnTo>
                  <a:pt x="225" y="361"/>
                </a:lnTo>
                <a:lnTo>
                  <a:pt x="215" y="373"/>
                </a:lnTo>
                <a:lnTo>
                  <a:pt x="222" y="379"/>
                </a:lnTo>
                <a:lnTo>
                  <a:pt x="244" y="385"/>
                </a:lnTo>
                <a:lnTo>
                  <a:pt x="251" y="383"/>
                </a:lnTo>
                <a:lnTo>
                  <a:pt x="251" y="372"/>
                </a:lnTo>
                <a:lnTo>
                  <a:pt x="263" y="365"/>
                </a:lnTo>
                <a:lnTo>
                  <a:pt x="280" y="362"/>
                </a:lnTo>
                <a:lnTo>
                  <a:pt x="292" y="368"/>
                </a:lnTo>
                <a:lnTo>
                  <a:pt x="311" y="354"/>
                </a:lnTo>
                <a:lnTo>
                  <a:pt x="311" y="327"/>
                </a:lnTo>
                <a:lnTo>
                  <a:pt x="296" y="286"/>
                </a:lnTo>
                <a:lnTo>
                  <a:pt x="280" y="272"/>
                </a:lnTo>
                <a:lnTo>
                  <a:pt x="273" y="272"/>
                </a:lnTo>
                <a:lnTo>
                  <a:pt x="268" y="260"/>
                </a:lnTo>
                <a:lnTo>
                  <a:pt x="262" y="239"/>
                </a:lnTo>
                <a:lnTo>
                  <a:pt x="245" y="228"/>
                </a:lnTo>
                <a:lnTo>
                  <a:pt x="212" y="189"/>
                </a:lnTo>
                <a:lnTo>
                  <a:pt x="208" y="178"/>
                </a:lnTo>
                <a:lnTo>
                  <a:pt x="161" y="149"/>
                </a:lnTo>
                <a:lnTo>
                  <a:pt x="166" y="130"/>
                </a:lnTo>
                <a:lnTo>
                  <a:pt x="184" y="130"/>
                </a:lnTo>
                <a:lnTo>
                  <a:pt x="196" y="118"/>
                </a:lnTo>
                <a:lnTo>
                  <a:pt x="197" y="112"/>
                </a:lnTo>
                <a:lnTo>
                  <a:pt x="178" y="83"/>
                </a:lnTo>
                <a:lnTo>
                  <a:pt x="170" y="75"/>
                </a:lnTo>
                <a:lnTo>
                  <a:pt x="127" y="75"/>
                </a:lnTo>
                <a:lnTo>
                  <a:pt x="115" y="63"/>
                </a:lnTo>
                <a:lnTo>
                  <a:pt x="117" y="46"/>
                </a:lnTo>
                <a:lnTo>
                  <a:pt x="113" y="39"/>
                </a:lnTo>
                <a:lnTo>
                  <a:pt x="88" y="6"/>
                </a:lnTo>
                <a:lnTo>
                  <a:pt x="66" y="0"/>
                </a:lnTo>
                <a:lnTo>
                  <a:pt x="60" y="7"/>
                </a:lnTo>
                <a:lnTo>
                  <a:pt x="60" y="29"/>
                </a:lnTo>
                <a:lnTo>
                  <a:pt x="65" y="42"/>
                </a:lnTo>
                <a:lnTo>
                  <a:pt x="61" y="55"/>
                </a:lnTo>
                <a:lnTo>
                  <a:pt x="46" y="59"/>
                </a:lnTo>
                <a:lnTo>
                  <a:pt x="41" y="39"/>
                </a:lnTo>
                <a:lnTo>
                  <a:pt x="37" y="48"/>
                </a:lnTo>
                <a:lnTo>
                  <a:pt x="16" y="63"/>
                </a:lnTo>
                <a:lnTo>
                  <a:pt x="18" y="73"/>
                </a:lnTo>
                <a:lnTo>
                  <a:pt x="6" y="75"/>
                </a:lnTo>
                <a:lnTo>
                  <a:pt x="1" y="83"/>
                </a:lnTo>
                <a:lnTo>
                  <a:pt x="0" y="93"/>
                </a:lnTo>
                <a:lnTo>
                  <a:pt x="5" y="92"/>
                </a:lnTo>
                <a:lnTo>
                  <a:pt x="14" y="103"/>
                </a:lnTo>
                <a:lnTo>
                  <a:pt x="16" y="123"/>
                </a:lnTo>
                <a:lnTo>
                  <a:pt x="16" y="128"/>
                </a:lnTo>
                <a:lnTo>
                  <a:pt x="41" y="133"/>
                </a:lnTo>
                <a:lnTo>
                  <a:pt x="40" y="173"/>
                </a:lnTo>
                <a:lnTo>
                  <a:pt x="31" y="213"/>
                </a:lnTo>
                <a:lnTo>
                  <a:pt x="33" y="226"/>
                </a:lnTo>
                <a:lnTo>
                  <a:pt x="71" y="198"/>
                </a:lnTo>
                <a:close/>
              </a:path>
            </a:pathLst>
          </a:custGeom>
          <a:solidFill>
            <a:schemeClr val="accent1"/>
          </a:solidFill>
          <a:ln w="6350">
            <a:solidFill>
              <a:schemeClr val="tx2"/>
            </a:solidFill>
            <a:round/>
            <a:headEnd/>
            <a:tailEnd/>
          </a:ln>
        </p:spPr>
        <p:txBody>
          <a:bodyPr/>
          <a:lstStyle/>
          <a:p>
            <a:endParaRPr lang="en-US"/>
          </a:p>
        </p:txBody>
      </p:sp>
      <p:sp>
        <p:nvSpPr>
          <p:cNvPr id="636" name="Freeform 1380"/>
          <p:cNvSpPr>
            <a:spLocks/>
          </p:cNvSpPr>
          <p:nvPr/>
        </p:nvSpPr>
        <p:spPr bwMode="auto">
          <a:xfrm>
            <a:off x="6732171" y="3055585"/>
            <a:ext cx="824170" cy="388466"/>
          </a:xfrm>
          <a:custGeom>
            <a:avLst/>
            <a:gdLst>
              <a:gd name="T0" fmla="*/ 2147483647 w 1752"/>
              <a:gd name="T1" fmla="*/ 2147483647 h 933"/>
              <a:gd name="T2" fmla="*/ 2147483647 w 1752"/>
              <a:gd name="T3" fmla="*/ 2147483647 h 933"/>
              <a:gd name="T4" fmla="*/ 2147483647 w 1752"/>
              <a:gd name="T5" fmla="*/ 2147483647 h 933"/>
              <a:gd name="T6" fmla="*/ 2147483647 w 1752"/>
              <a:gd name="T7" fmla="*/ 2147483647 h 933"/>
              <a:gd name="T8" fmla="*/ 2147483647 w 1752"/>
              <a:gd name="T9" fmla="*/ 2147483647 h 933"/>
              <a:gd name="T10" fmla="*/ 2147483647 w 1752"/>
              <a:gd name="T11" fmla="*/ 2147483647 h 933"/>
              <a:gd name="T12" fmla="*/ 2147483647 w 1752"/>
              <a:gd name="T13" fmla="*/ 2147483647 h 933"/>
              <a:gd name="T14" fmla="*/ 2147483647 w 1752"/>
              <a:gd name="T15" fmla="*/ 2147483647 h 933"/>
              <a:gd name="T16" fmla="*/ 2147483647 w 1752"/>
              <a:gd name="T17" fmla="*/ 2147483647 h 933"/>
              <a:gd name="T18" fmla="*/ 2147483647 w 1752"/>
              <a:gd name="T19" fmla="*/ 2147483647 h 933"/>
              <a:gd name="T20" fmla="*/ 2147483647 w 1752"/>
              <a:gd name="T21" fmla="*/ 2147483647 h 933"/>
              <a:gd name="T22" fmla="*/ 2147483647 w 1752"/>
              <a:gd name="T23" fmla="*/ 2147483647 h 933"/>
              <a:gd name="T24" fmla="*/ 2147483647 w 1752"/>
              <a:gd name="T25" fmla="*/ 2147483647 h 933"/>
              <a:gd name="T26" fmla="*/ 2147483647 w 1752"/>
              <a:gd name="T27" fmla="*/ 2147483647 h 933"/>
              <a:gd name="T28" fmla="*/ 2147483647 w 1752"/>
              <a:gd name="T29" fmla="*/ 2147483647 h 933"/>
              <a:gd name="T30" fmla="*/ 2147483647 w 1752"/>
              <a:gd name="T31" fmla="*/ 2147483647 h 933"/>
              <a:gd name="T32" fmla="*/ 2147483647 w 1752"/>
              <a:gd name="T33" fmla="*/ 2147483647 h 933"/>
              <a:gd name="T34" fmla="*/ 2147483647 w 1752"/>
              <a:gd name="T35" fmla="*/ 2147483647 h 933"/>
              <a:gd name="T36" fmla="*/ 2147483647 w 1752"/>
              <a:gd name="T37" fmla="*/ 2147483647 h 933"/>
              <a:gd name="T38" fmla="*/ 2147483647 w 1752"/>
              <a:gd name="T39" fmla="*/ 2147483647 h 933"/>
              <a:gd name="T40" fmla="*/ 2147483647 w 1752"/>
              <a:gd name="T41" fmla="*/ 2147483647 h 933"/>
              <a:gd name="T42" fmla="*/ 2147483647 w 1752"/>
              <a:gd name="T43" fmla="*/ 2147483647 h 933"/>
              <a:gd name="T44" fmla="*/ 2147483647 w 1752"/>
              <a:gd name="T45" fmla="*/ 2147483647 h 933"/>
              <a:gd name="T46" fmla="*/ 2147483647 w 1752"/>
              <a:gd name="T47" fmla="*/ 2147483647 h 933"/>
              <a:gd name="T48" fmla="*/ 2147483647 w 1752"/>
              <a:gd name="T49" fmla="*/ 2147483647 h 933"/>
              <a:gd name="T50" fmla="*/ 2147483647 w 1752"/>
              <a:gd name="T51" fmla="*/ 2147483647 h 933"/>
              <a:gd name="T52" fmla="*/ 2147483647 w 1752"/>
              <a:gd name="T53" fmla="*/ 2147483647 h 933"/>
              <a:gd name="T54" fmla="*/ 2147483647 w 1752"/>
              <a:gd name="T55" fmla="*/ 2147483647 h 933"/>
              <a:gd name="T56" fmla="*/ 2147483647 w 1752"/>
              <a:gd name="T57" fmla="*/ 2147483647 h 933"/>
              <a:gd name="T58" fmla="*/ 2147483647 w 1752"/>
              <a:gd name="T59" fmla="*/ 2147483647 h 933"/>
              <a:gd name="T60" fmla="*/ 2147483647 w 1752"/>
              <a:gd name="T61" fmla="*/ 2147483647 h 933"/>
              <a:gd name="T62" fmla="*/ 2147483647 w 1752"/>
              <a:gd name="T63" fmla="*/ 2147483647 h 933"/>
              <a:gd name="T64" fmla="*/ 2147483647 w 1752"/>
              <a:gd name="T65" fmla="*/ 2147483647 h 933"/>
              <a:gd name="T66" fmla="*/ 2147483647 w 1752"/>
              <a:gd name="T67" fmla="*/ 2147483647 h 933"/>
              <a:gd name="T68" fmla="*/ 2147483647 w 1752"/>
              <a:gd name="T69" fmla="*/ 2147483647 h 933"/>
              <a:gd name="T70" fmla="*/ 2147483647 w 1752"/>
              <a:gd name="T71" fmla="*/ 2147483647 h 933"/>
              <a:gd name="T72" fmla="*/ 2147483647 w 1752"/>
              <a:gd name="T73" fmla="*/ 2147483647 h 933"/>
              <a:gd name="T74" fmla="*/ 2147483647 w 1752"/>
              <a:gd name="T75" fmla="*/ 2147483647 h 933"/>
              <a:gd name="T76" fmla="*/ 2147483647 w 1752"/>
              <a:gd name="T77" fmla="*/ 2147483647 h 933"/>
              <a:gd name="T78" fmla="*/ 2147483647 w 1752"/>
              <a:gd name="T79" fmla="*/ 2147483647 h 933"/>
              <a:gd name="T80" fmla="*/ 2147483647 w 1752"/>
              <a:gd name="T81" fmla="*/ 2147483647 h 933"/>
              <a:gd name="T82" fmla="*/ 2147483647 w 1752"/>
              <a:gd name="T83" fmla="*/ 2147483647 h 933"/>
              <a:gd name="T84" fmla="*/ 2147483647 w 1752"/>
              <a:gd name="T85" fmla="*/ 2147483647 h 933"/>
              <a:gd name="T86" fmla="*/ 2147483647 w 1752"/>
              <a:gd name="T87" fmla="*/ 2147483647 h 933"/>
              <a:gd name="T88" fmla="*/ 2147483647 w 1752"/>
              <a:gd name="T89" fmla="*/ 2147483647 h 933"/>
              <a:gd name="T90" fmla="*/ 2147483647 w 1752"/>
              <a:gd name="T91" fmla="*/ 2147483647 h 933"/>
              <a:gd name="T92" fmla="*/ 2147483647 w 1752"/>
              <a:gd name="T93" fmla="*/ 2147483647 h 933"/>
              <a:gd name="T94" fmla="*/ 2147483647 w 1752"/>
              <a:gd name="T95" fmla="*/ 2147483647 h 933"/>
              <a:gd name="T96" fmla="*/ 2147483647 w 1752"/>
              <a:gd name="T97" fmla="*/ 2147483647 h 933"/>
              <a:gd name="T98" fmla="*/ 2147483647 w 1752"/>
              <a:gd name="T99" fmla="*/ 2147483647 h 933"/>
              <a:gd name="T100" fmla="*/ 2147483647 w 1752"/>
              <a:gd name="T101" fmla="*/ 2147483647 h 933"/>
              <a:gd name="T102" fmla="*/ 2147483647 w 1752"/>
              <a:gd name="T103" fmla="*/ 2147483647 h 933"/>
              <a:gd name="T104" fmla="*/ 2147483647 w 1752"/>
              <a:gd name="T105" fmla="*/ 2147483647 h 9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52"/>
              <a:gd name="T160" fmla="*/ 0 h 933"/>
              <a:gd name="T161" fmla="*/ 1752 w 1752"/>
              <a:gd name="T162" fmla="*/ 933 h 9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52" h="933">
                <a:moveTo>
                  <a:pt x="933" y="32"/>
                </a:moveTo>
                <a:lnTo>
                  <a:pt x="936" y="15"/>
                </a:lnTo>
                <a:lnTo>
                  <a:pt x="968" y="0"/>
                </a:lnTo>
                <a:lnTo>
                  <a:pt x="1051" y="16"/>
                </a:lnTo>
                <a:lnTo>
                  <a:pt x="1056" y="47"/>
                </a:lnTo>
                <a:lnTo>
                  <a:pt x="1065" y="55"/>
                </a:lnTo>
                <a:lnTo>
                  <a:pt x="1055" y="83"/>
                </a:lnTo>
                <a:lnTo>
                  <a:pt x="1061" y="95"/>
                </a:lnTo>
                <a:lnTo>
                  <a:pt x="1099" y="90"/>
                </a:lnTo>
                <a:lnTo>
                  <a:pt x="1101" y="77"/>
                </a:lnTo>
                <a:lnTo>
                  <a:pt x="1116" y="95"/>
                </a:lnTo>
                <a:lnTo>
                  <a:pt x="1113" y="107"/>
                </a:lnTo>
                <a:lnTo>
                  <a:pt x="1126" y="108"/>
                </a:lnTo>
                <a:lnTo>
                  <a:pt x="1120" y="98"/>
                </a:lnTo>
                <a:lnTo>
                  <a:pt x="1126" y="95"/>
                </a:lnTo>
                <a:lnTo>
                  <a:pt x="1154" y="109"/>
                </a:lnTo>
                <a:lnTo>
                  <a:pt x="1170" y="101"/>
                </a:lnTo>
                <a:lnTo>
                  <a:pt x="1171" y="114"/>
                </a:lnTo>
                <a:lnTo>
                  <a:pt x="1153" y="131"/>
                </a:lnTo>
                <a:lnTo>
                  <a:pt x="1159" y="143"/>
                </a:lnTo>
                <a:lnTo>
                  <a:pt x="1203" y="139"/>
                </a:lnTo>
                <a:lnTo>
                  <a:pt x="1251" y="92"/>
                </a:lnTo>
                <a:lnTo>
                  <a:pt x="1303" y="74"/>
                </a:lnTo>
                <a:lnTo>
                  <a:pt x="1306" y="86"/>
                </a:lnTo>
                <a:lnTo>
                  <a:pt x="1291" y="94"/>
                </a:lnTo>
                <a:lnTo>
                  <a:pt x="1292" y="105"/>
                </a:lnTo>
                <a:lnTo>
                  <a:pt x="1351" y="159"/>
                </a:lnTo>
                <a:lnTo>
                  <a:pt x="1446" y="331"/>
                </a:lnTo>
                <a:lnTo>
                  <a:pt x="1473" y="299"/>
                </a:lnTo>
                <a:lnTo>
                  <a:pt x="1495" y="312"/>
                </a:lnTo>
                <a:lnTo>
                  <a:pt x="1503" y="335"/>
                </a:lnTo>
                <a:lnTo>
                  <a:pt x="1555" y="335"/>
                </a:lnTo>
                <a:lnTo>
                  <a:pt x="1593" y="318"/>
                </a:lnTo>
                <a:lnTo>
                  <a:pt x="1666" y="407"/>
                </a:lnTo>
                <a:lnTo>
                  <a:pt x="1710" y="419"/>
                </a:lnTo>
                <a:lnTo>
                  <a:pt x="1728" y="403"/>
                </a:lnTo>
                <a:lnTo>
                  <a:pt x="1752" y="439"/>
                </a:lnTo>
                <a:lnTo>
                  <a:pt x="1745" y="463"/>
                </a:lnTo>
                <a:lnTo>
                  <a:pt x="1723" y="491"/>
                </a:lnTo>
                <a:lnTo>
                  <a:pt x="1696" y="495"/>
                </a:lnTo>
                <a:lnTo>
                  <a:pt x="1683" y="530"/>
                </a:lnTo>
                <a:lnTo>
                  <a:pt x="1683" y="577"/>
                </a:lnTo>
                <a:lnTo>
                  <a:pt x="1652" y="592"/>
                </a:lnTo>
                <a:lnTo>
                  <a:pt x="1637" y="579"/>
                </a:lnTo>
                <a:lnTo>
                  <a:pt x="1610" y="582"/>
                </a:lnTo>
                <a:lnTo>
                  <a:pt x="1588" y="572"/>
                </a:lnTo>
                <a:lnTo>
                  <a:pt x="1570" y="571"/>
                </a:lnTo>
                <a:lnTo>
                  <a:pt x="1557" y="608"/>
                </a:lnTo>
                <a:lnTo>
                  <a:pt x="1540" y="648"/>
                </a:lnTo>
                <a:lnTo>
                  <a:pt x="1537" y="663"/>
                </a:lnTo>
                <a:lnTo>
                  <a:pt x="1544" y="690"/>
                </a:lnTo>
                <a:lnTo>
                  <a:pt x="1495" y="695"/>
                </a:lnTo>
                <a:lnTo>
                  <a:pt x="1473" y="703"/>
                </a:lnTo>
                <a:lnTo>
                  <a:pt x="1441" y="714"/>
                </a:lnTo>
                <a:lnTo>
                  <a:pt x="1453" y="732"/>
                </a:lnTo>
                <a:lnTo>
                  <a:pt x="1457" y="762"/>
                </a:lnTo>
                <a:lnTo>
                  <a:pt x="1471" y="804"/>
                </a:lnTo>
                <a:lnTo>
                  <a:pt x="1471" y="817"/>
                </a:lnTo>
                <a:lnTo>
                  <a:pt x="1462" y="824"/>
                </a:lnTo>
                <a:lnTo>
                  <a:pt x="1453" y="861"/>
                </a:lnTo>
                <a:lnTo>
                  <a:pt x="1420" y="849"/>
                </a:lnTo>
                <a:lnTo>
                  <a:pt x="1407" y="835"/>
                </a:lnTo>
                <a:lnTo>
                  <a:pt x="1316" y="821"/>
                </a:lnTo>
                <a:lnTo>
                  <a:pt x="1241" y="827"/>
                </a:lnTo>
                <a:lnTo>
                  <a:pt x="1211" y="822"/>
                </a:lnTo>
                <a:lnTo>
                  <a:pt x="1189" y="807"/>
                </a:lnTo>
                <a:lnTo>
                  <a:pt x="1162" y="822"/>
                </a:lnTo>
                <a:lnTo>
                  <a:pt x="1152" y="851"/>
                </a:lnTo>
                <a:lnTo>
                  <a:pt x="1111" y="836"/>
                </a:lnTo>
                <a:lnTo>
                  <a:pt x="1074" y="831"/>
                </a:lnTo>
                <a:lnTo>
                  <a:pt x="1055" y="836"/>
                </a:lnTo>
                <a:lnTo>
                  <a:pt x="1048" y="858"/>
                </a:lnTo>
                <a:lnTo>
                  <a:pt x="1038" y="873"/>
                </a:lnTo>
                <a:lnTo>
                  <a:pt x="1025" y="873"/>
                </a:lnTo>
                <a:lnTo>
                  <a:pt x="1016" y="890"/>
                </a:lnTo>
                <a:lnTo>
                  <a:pt x="987" y="904"/>
                </a:lnTo>
                <a:lnTo>
                  <a:pt x="956" y="933"/>
                </a:lnTo>
                <a:lnTo>
                  <a:pt x="921" y="919"/>
                </a:lnTo>
                <a:lnTo>
                  <a:pt x="876" y="924"/>
                </a:lnTo>
                <a:lnTo>
                  <a:pt x="869" y="888"/>
                </a:lnTo>
                <a:lnTo>
                  <a:pt x="843" y="882"/>
                </a:lnTo>
                <a:lnTo>
                  <a:pt x="843" y="859"/>
                </a:lnTo>
                <a:lnTo>
                  <a:pt x="849" y="858"/>
                </a:lnTo>
                <a:lnTo>
                  <a:pt x="848" y="826"/>
                </a:lnTo>
                <a:lnTo>
                  <a:pt x="837" y="826"/>
                </a:lnTo>
                <a:lnTo>
                  <a:pt x="823" y="800"/>
                </a:lnTo>
                <a:lnTo>
                  <a:pt x="794" y="777"/>
                </a:lnTo>
                <a:lnTo>
                  <a:pt x="762" y="780"/>
                </a:lnTo>
                <a:lnTo>
                  <a:pt x="731" y="783"/>
                </a:lnTo>
                <a:lnTo>
                  <a:pt x="699" y="787"/>
                </a:lnTo>
                <a:lnTo>
                  <a:pt x="668" y="790"/>
                </a:lnTo>
                <a:lnTo>
                  <a:pt x="647" y="769"/>
                </a:lnTo>
                <a:lnTo>
                  <a:pt x="625" y="748"/>
                </a:lnTo>
                <a:lnTo>
                  <a:pt x="605" y="726"/>
                </a:lnTo>
                <a:lnTo>
                  <a:pt x="584" y="705"/>
                </a:lnTo>
                <a:lnTo>
                  <a:pt x="541" y="675"/>
                </a:lnTo>
                <a:lnTo>
                  <a:pt x="518" y="664"/>
                </a:lnTo>
                <a:lnTo>
                  <a:pt x="490" y="675"/>
                </a:lnTo>
                <a:lnTo>
                  <a:pt x="462" y="685"/>
                </a:lnTo>
                <a:lnTo>
                  <a:pt x="434" y="694"/>
                </a:lnTo>
                <a:lnTo>
                  <a:pt x="406" y="704"/>
                </a:lnTo>
                <a:lnTo>
                  <a:pt x="407" y="758"/>
                </a:lnTo>
                <a:lnTo>
                  <a:pt x="407" y="811"/>
                </a:lnTo>
                <a:lnTo>
                  <a:pt x="408" y="864"/>
                </a:lnTo>
                <a:lnTo>
                  <a:pt x="408" y="916"/>
                </a:lnTo>
                <a:lnTo>
                  <a:pt x="398" y="920"/>
                </a:lnTo>
                <a:lnTo>
                  <a:pt x="375" y="914"/>
                </a:lnTo>
                <a:lnTo>
                  <a:pt x="351" y="869"/>
                </a:lnTo>
                <a:lnTo>
                  <a:pt x="329" y="856"/>
                </a:lnTo>
                <a:lnTo>
                  <a:pt x="280" y="869"/>
                </a:lnTo>
                <a:lnTo>
                  <a:pt x="257" y="890"/>
                </a:lnTo>
                <a:lnTo>
                  <a:pt x="257" y="861"/>
                </a:lnTo>
                <a:lnTo>
                  <a:pt x="264" y="852"/>
                </a:lnTo>
                <a:lnTo>
                  <a:pt x="266" y="837"/>
                </a:lnTo>
                <a:lnTo>
                  <a:pt x="231" y="825"/>
                </a:lnTo>
                <a:lnTo>
                  <a:pt x="223" y="815"/>
                </a:lnTo>
                <a:lnTo>
                  <a:pt x="208" y="814"/>
                </a:lnTo>
                <a:lnTo>
                  <a:pt x="206" y="783"/>
                </a:lnTo>
                <a:lnTo>
                  <a:pt x="197" y="768"/>
                </a:lnTo>
                <a:lnTo>
                  <a:pt x="184" y="752"/>
                </a:lnTo>
                <a:lnTo>
                  <a:pt x="166" y="745"/>
                </a:lnTo>
                <a:lnTo>
                  <a:pt x="158" y="731"/>
                </a:lnTo>
                <a:lnTo>
                  <a:pt x="177" y="725"/>
                </a:lnTo>
                <a:lnTo>
                  <a:pt x="216" y="732"/>
                </a:lnTo>
                <a:lnTo>
                  <a:pt x="208" y="704"/>
                </a:lnTo>
                <a:lnTo>
                  <a:pt x="212" y="695"/>
                </a:lnTo>
                <a:lnTo>
                  <a:pt x="237" y="694"/>
                </a:lnTo>
                <a:lnTo>
                  <a:pt x="246" y="680"/>
                </a:lnTo>
                <a:lnTo>
                  <a:pt x="260" y="680"/>
                </a:lnTo>
                <a:lnTo>
                  <a:pt x="285" y="691"/>
                </a:lnTo>
                <a:lnTo>
                  <a:pt x="305" y="684"/>
                </a:lnTo>
                <a:lnTo>
                  <a:pt x="336" y="697"/>
                </a:lnTo>
                <a:lnTo>
                  <a:pt x="353" y="698"/>
                </a:lnTo>
                <a:lnTo>
                  <a:pt x="356" y="691"/>
                </a:lnTo>
                <a:lnTo>
                  <a:pt x="350" y="683"/>
                </a:lnTo>
                <a:lnTo>
                  <a:pt x="358" y="683"/>
                </a:lnTo>
                <a:lnTo>
                  <a:pt x="352" y="671"/>
                </a:lnTo>
                <a:lnTo>
                  <a:pt x="332" y="648"/>
                </a:lnTo>
                <a:lnTo>
                  <a:pt x="324" y="647"/>
                </a:lnTo>
                <a:lnTo>
                  <a:pt x="314" y="634"/>
                </a:lnTo>
                <a:lnTo>
                  <a:pt x="310" y="616"/>
                </a:lnTo>
                <a:lnTo>
                  <a:pt x="292" y="598"/>
                </a:lnTo>
                <a:lnTo>
                  <a:pt x="291" y="589"/>
                </a:lnTo>
                <a:lnTo>
                  <a:pt x="267" y="571"/>
                </a:lnTo>
                <a:lnTo>
                  <a:pt x="231" y="579"/>
                </a:lnTo>
                <a:lnTo>
                  <a:pt x="229" y="571"/>
                </a:lnTo>
                <a:lnTo>
                  <a:pt x="193" y="566"/>
                </a:lnTo>
                <a:lnTo>
                  <a:pt x="165" y="591"/>
                </a:lnTo>
                <a:lnTo>
                  <a:pt x="92" y="608"/>
                </a:lnTo>
                <a:lnTo>
                  <a:pt x="109" y="619"/>
                </a:lnTo>
                <a:lnTo>
                  <a:pt x="97" y="625"/>
                </a:lnTo>
                <a:lnTo>
                  <a:pt x="66" y="606"/>
                </a:lnTo>
                <a:lnTo>
                  <a:pt x="72" y="594"/>
                </a:lnTo>
                <a:lnTo>
                  <a:pt x="94" y="594"/>
                </a:lnTo>
                <a:lnTo>
                  <a:pt x="88" y="550"/>
                </a:lnTo>
                <a:lnTo>
                  <a:pt x="69" y="527"/>
                </a:lnTo>
                <a:lnTo>
                  <a:pt x="38" y="534"/>
                </a:lnTo>
                <a:lnTo>
                  <a:pt x="23" y="495"/>
                </a:lnTo>
                <a:lnTo>
                  <a:pt x="0" y="488"/>
                </a:lnTo>
                <a:lnTo>
                  <a:pt x="10" y="452"/>
                </a:lnTo>
                <a:lnTo>
                  <a:pt x="24" y="440"/>
                </a:lnTo>
                <a:lnTo>
                  <a:pt x="13" y="426"/>
                </a:lnTo>
                <a:lnTo>
                  <a:pt x="21" y="390"/>
                </a:lnTo>
                <a:lnTo>
                  <a:pt x="35" y="378"/>
                </a:lnTo>
                <a:lnTo>
                  <a:pt x="43" y="349"/>
                </a:lnTo>
                <a:lnTo>
                  <a:pt x="81" y="398"/>
                </a:lnTo>
                <a:lnTo>
                  <a:pt x="101" y="383"/>
                </a:lnTo>
                <a:lnTo>
                  <a:pt x="88" y="341"/>
                </a:lnTo>
                <a:lnTo>
                  <a:pt x="121" y="326"/>
                </a:lnTo>
                <a:lnTo>
                  <a:pt x="125" y="308"/>
                </a:lnTo>
                <a:lnTo>
                  <a:pt x="159" y="295"/>
                </a:lnTo>
                <a:lnTo>
                  <a:pt x="178" y="272"/>
                </a:lnTo>
                <a:lnTo>
                  <a:pt x="203" y="268"/>
                </a:lnTo>
                <a:lnTo>
                  <a:pt x="224" y="282"/>
                </a:lnTo>
                <a:lnTo>
                  <a:pt x="233" y="265"/>
                </a:lnTo>
                <a:lnTo>
                  <a:pt x="250" y="264"/>
                </a:lnTo>
                <a:lnTo>
                  <a:pt x="260" y="280"/>
                </a:lnTo>
                <a:lnTo>
                  <a:pt x="302" y="281"/>
                </a:lnTo>
                <a:lnTo>
                  <a:pt x="331" y="311"/>
                </a:lnTo>
                <a:lnTo>
                  <a:pt x="346" y="345"/>
                </a:lnTo>
                <a:lnTo>
                  <a:pt x="351" y="343"/>
                </a:lnTo>
                <a:lnTo>
                  <a:pt x="348" y="319"/>
                </a:lnTo>
                <a:lnTo>
                  <a:pt x="358" y="313"/>
                </a:lnTo>
                <a:lnTo>
                  <a:pt x="395" y="345"/>
                </a:lnTo>
                <a:lnTo>
                  <a:pt x="439" y="313"/>
                </a:lnTo>
                <a:lnTo>
                  <a:pt x="472" y="324"/>
                </a:lnTo>
                <a:lnTo>
                  <a:pt x="482" y="314"/>
                </a:lnTo>
                <a:lnTo>
                  <a:pt x="504" y="307"/>
                </a:lnTo>
                <a:lnTo>
                  <a:pt x="529" y="339"/>
                </a:lnTo>
                <a:lnTo>
                  <a:pt x="556" y="349"/>
                </a:lnTo>
                <a:lnTo>
                  <a:pt x="585" y="328"/>
                </a:lnTo>
                <a:lnTo>
                  <a:pt x="623" y="338"/>
                </a:lnTo>
                <a:lnTo>
                  <a:pt x="641" y="330"/>
                </a:lnTo>
                <a:lnTo>
                  <a:pt x="653" y="294"/>
                </a:lnTo>
                <a:lnTo>
                  <a:pt x="649" y="289"/>
                </a:lnTo>
                <a:lnTo>
                  <a:pt x="626" y="287"/>
                </a:lnTo>
                <a:lnTo>
                  <a:pt x="597" y="270"/>
                </a:lnTo>
                <a:lnTo>
                  <a:pt x="583" y="248"/>
                </a:lnTo>
                <a:lnTo>
                  <a:pt x="621" y="228"/>
                </a:lnTo>
                <a:lnTo>
                  <a:pt x="625" y="216"/>
                </a:lnTo>
                <a:lnTo>
                  <a:pt x="611" y="195"/>
                </a:lnTo>
                <a:lnTo>
                  <a:pt x="627" y="177"/>
                </a:lnTo>
                <a:lnTo>
                  <a:pt x="675" y="170"/>
                </a:lnTo>
                <a:lnTo>
                  <a:pt x="634" y="155"/>
                </a:lnTo>
                <a:lnTo>
                  <a:pt x="632" y="143"/>
                </a:lnTo>
                <a:lnTo>
                  <a:pt x="648" y="136"/>
                </a:lnTo>
                <a:lnTo>
                  <a:pt x="625" y="135"/>
                </a:lnTo>
                <a:lnTo>
                  <a:pt x="631" y="118"/>
                </a:lnTo>
                <a:lnTo>
                  <a:pt x="622" y="107"/>
                </a:lnTo>
                <a:lnTo>
                  <a:pt x="690" y="112"/>
                </a:lnTo>
                <a:lnTo>
                  <a:pt x="738" y="86"/>
                </a:lnTo>
                <a:lnTo>
                  <a:pt x="755" y="92"/>
                </a:lnTo>
                <a:lnTo>
                  <a:pt x="788" y="72"/>
                </a:lnTo>
                <a:lnTo>
                  <a:pt x="812" y="58"/>
                </a:lnTo>
                <a:lnTo>
                  <a:pt x="933" y="32"/>
                </a:lnTo>
                <a:close/>
              </a:path>
            </a:pathLst>
          </a:custGeom>
          <a:solidFill>
            <a:schemeClr val="accent1"/>
          </a:solidFill>
          <a:ln w="6350">
            <a:solidFill>
              <a:schemeClr val="tx2"/>
            </a:solidFill>
            <a:round/>
            <a:headEnd/>
            <a:tailEnd/>
          </a:ln>
        </p:spPr>
        <p:txBody>
          <a:bodyPr/>
          <a:lstStyle/>
          <a:p>
            <a:endParaRPr lang="en-US"/>
          </a:p>
        </p:txBody>
      </p:sp>
      <p:sp>
        <p:nvSpPr>
          <p:cNvPr id="637" name="Freeform 1387"/>
          <p:cNvSpPr>
            <a:spLocks/>
          </p:cNvSpPr>
          <p:nvPr/>
        </p:nvSpPr>
        <p:spPr bwMode="auto">
          <a:xfrm>
            <a:off x="6699206" y="3424944"/>
            <a:ext cx="108933" cy="80240"/>
          </a:xfrm>
          <a:custGeom>
            <a:avLst/>
            <a:gdLst>
              <a:gd name="T0" fmla="*/ 2147483647 w 233"/>
              <a:gd name="T1" fmla="*/ 2147483647 h 192"/>
              <a:gd name="T2" fmla="*/ 2147483647 w 233"/>
              <a:gd name="T3" fmla="*/ 2147483647 h 192"/>
              <a:gd name="T4" fmla="*/ 2147483647 w 233"/>
              <a:gd name="T5" fmla="*/ 2147483647 h 192"/>
              <a:gd name="T6" fmla="*/ 2147483647 w 233"/>
              <a:gd name="T7" fmla="*/ 2147483647 h 192"/>
              <a:gd name="T8" fmla="*/ 2147483647 w 233"/>
              <a:gd name="T9" fmla="*/ 2147483647 h 192"/>
              <a:gd name="T10" fmla="*/ 2147483647 w 233"/>
              <a:gd name="T11" fmla="*/ 2147483647 h 192"/>
              <a:gd name="T12" fmla="*/ 2147483647 w 233"/>
              <a:gd name="T13" fmla="*/ 2147483647 h 192"/>
              <a:gd name="T14" fmla="*/ 2147483647 w 233"/>
              <a:gd name="T15" fmla="*/ 2147483647 h 192"/>
              <a:gd name="T16" fmla="*/ 2147483647 w 233"/>
              <a:gd name="T17" fmla="*/ 2147483647 h 192"/>
              <a:gd name="T18" fmla="*/ 2147483647 w 233"/>
              <a:gd name="T19" fmla="*/ 2147483647 h 192"/>
              <a:gd name="T20" fmla="*/ 2147483647 w 233"/>
              <a:gd name="T21" fmla="*/ 2147483647 h 192"/>
              <a:gd name="T22" fmla="*/ 2147483647 w 233"/>
              <a:gd name="T23" fmla="*/ 2147483647 h 192"/>
              <a:gd name="T24" fmla="*/ 2147483647 w 233"/>
              <a:gd name="T25" fmla="*/ 2147483647 h 192"/>
              <a:gd name="T26" fmla="*/ 2147483647 w 233"/>
              <a:gd name="T27" fmla="*/ 2147483647 h 192"/>
              <a:gd name="T28" fmla="*/ 2147483647 w 233"/>
              <a:gd name="T29" fmla="*/ 2147483647 h 192"/>
              <a:gd name="T30" fmla="*/ 2147483647 w 233"/>
              <a:gd name="T31" fmla="*/ 2147483647 h 192"/>
              <a:gd name="T32" fmla="*/ 2147483647 w 233"/>
              <a:gd name="T33" fmla="*/ 2147483647 h 192"/>
              <a:gd name="T34" fmla="*/ 2147483647 w 233"/>
              <a:gd name="T35" fmla="*/ 0 h 192"/>
              <a:gd name="T36" fmla="*/ 2147483647 w 233"/>
              <a:gd name="T37" fmla="*/ 2147483647 h 192"/>
              <a:gd name="T38" fmla="*/ 2147483647 w 233"/>
              <a:gd name="T39" fmla="*/ 2147483647 h 192"/>
              <a:gd name="T40" fmla="*/ 2147483647 w 233"/>
              <a:gd name="T41" fmla="*/ 2147483647 h 192"/>
              <a:gd name="T42" fmla="*/ 2147483647 w 233"/>
              <a:gd name="T43" fmla="*/ 2147483647 h 192"/>
              <a:gd name="T44" fmla="*/ 2147483647 w 233"/>
              <a:gd name="T45" fmla="*/ 2147483647 h 192"/>
              <a:gd name="T46" fmla="*/ 2147483647 w 233"/>
              <a:gd name="T47" fmla="*/ 2147483647 h 192"/>
              <a:gd name="T48" fmla="*/ 0 w 233"/>
              <a:gd name="T49" fmla="*/ 2147483647 h 192"/>
              <a:gd name="T50" fmla="*/ 0 w 233"/>
              <a:gd name="T51" fmla="*/ 2147483647 h 192"/>
              <a:gd name="T52" fmla="*/ 2147483647 w 233"/>
              <a:gd name="T53" fmla="*/ 2147483647 h 192"/>
              <a:gd name="T54" fmla="*/ 2147483647 w 233"/>
              <a:gd name="T55" fmla="*/ 2147483647 h 192"/>
              <a:gd name="T56" fmla="*/ 2147483647 w 233"/>
              <a:gd name="T57" fmla="*/ 2147483647 h 192"/>
              <a:gd name="T58" fmla="*/ 2147483647 w 233"/>
              <a:gd name="T59" fmla="*/ 2147483647 h 192"/>
              <a:gd name="T60" fmla="*/ 2147483647 w 233"/>
              <a:gd name="T61" fmla="*/ 2147483647 h 192"/>
              <a:gd name="T62" fmla="*/ 2147483647 w 233"/>
              <a:gd name="T63" fmla="*/ 2147483647 h 192"/>
              <a:gd name="T64" fmla="*/ 2147483647 w 233"/>
              <a:gd name="T65" fmla="*/ 2147483647 h 192"/>
              <a:gd name="T66" fmla="*/ 2147483647 w 233"/>
              <a:gd name="T67" fmla="*/ 2147483647 h 192"/>
              <a:gd name="T68" fmla="*/ 2147483647 w 233"/>
              <a:gd name="T69" fmla="*/ 2147483647 h 192"/>
              <a:gd name="T70" fmla="*/ 2147483647 w 233"/>
              <a:gd name="T71" fmla="*/ 2147483647 h 192"/>
              <a:gd name="T72" fmla="*/ 2147483647 w 233"/>
              <a:gd name="T73" fmla="*/ 2147483647 h 192"/>
              <a:gd name="T74" fmla="*/ 2147483647 w 233"/>
              <a:gd name="T75" fmla="*/ 2147483647 h 192"/>
              <a:gd name="T76" fmla="*/ 2147483647 w 233"/>
              <a:gd name="T77" fmla="*/ 2147483647 h 192"/>
              <a:gd name="T78" fmla="*/ 2147483647 w 233"/>
              <a:gd name="T79" fmla="*/ 2147483647 h 192"/>
              <a:gd name="T80" fmla="*/ 2147483647 w 233"/>
              <a:gd name="T81" fmla="*/ 2147483647 h 192"/>
              <a:gd name="T82" fmla="*/ 2147483647 w 233"/>
              <a:gd name="T83" fmla="*/ 2147483647 h 192"/>
              <a:gd name="T84" fmla="*/ 2147483647 w 233"/>
              <a:gd name="T85" fmla="*/ 2147483647 h 192"/>
              <a:gd name="T86" fmla="*/ 2147483647 w 233"/>
              <a:gd name="T87" fmla="*/ 2147483647 h 192"/>
              <a:gd name="T88" fmla="*/ 2147483647 w 233"/>
              <a:gd name="T89" fmla="*/ 2147483647 h 192"/>
              <a:gd name="T90" fmla="*/ 2147483647 w 233"/>
              <a:gd name="T91" fmla="*/ 2147483647 h 192"/>
              <a:gd name="T92" fmla="*/ 2147483647 w 233"/>
              <a:gd name="T93" fmla="*/ 2147483647 h 192"/>
              <a:gd name="T94" fmla="*/ 2147483647 w 233"/>
              <a:gd name="T95" fmla="*/ 2147483647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3"/>
              <a:gd name="T145" fmla="*/ 0 h 192"/>
              <a:gd name="T146" fmla="*/ 233 w 233"/>
              <a:gd name="T147" fmla="*/ 192 h 1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3" h="192">
                <a:moveTo>
                  <a:pt x="171" y="192"/>
                </a:moveTo>
                <a:lnTo>
                  <a:pt x="171" y="156"/>
                </a:lnTo>
                <a:lnTo>
                  <a:pt x="177" y="152"/>
                </a:lnTo>
                <a:lnTo>
                  <a:pt x="187" y="162"/>
                </a:lnTo>
                <a:lnTo>
                  <a:pt x="187" y="155"/>
                </a:lnTo>
                <a:lnTo>
                  <a:pt x="200" y="101"/>
                </a:lnTo>
                <a:lnTo>
                  <a:pt x="214" y="86"/>
                </a:lnTo>
                <a:lnTo>
                  <a:pt x="225" y="86"/>
                </a:lnTo>
                <a:lnTo>
                  <a:pt x="233" y="93"/>
                </a:lnTo>
                <a:lnTo>
                  <a:pt x="227" y="79"/>
                </a:lnTo>
                <a:lnTo>
                  <a:pt x="217" y="73"/>
                </a:lnTo>
                <a:lnTo>
                  <a:pt x="201" y="74"/>
                </a:lnTo>
                <a:lnTo>
                  <a:pt x="174" y="27"/>
                </a:lnTo>
                <a:lnTo>
                  <a:pt x="151" y="5"/>
                </a:lnTo>
                <a:lnTo>
                  <a:pt x="119" y="38"/>
                </a:lnTo>
                <a:lnTo>
                  <a:pt x="100" y="36"/>
                </a:lnTo>
                <a:lnTo>
                  <a:pt x="94" y="18"/>
                </a:lnTo>
                <a:lnTo>
                  <a:pt x="62" y="0"/>
                </a:lnTo>
                <a:lnTo>
                  <a:pt x="51" y="14"/>
                </a:lnTo>
                <a:lnTo>
                  <a:pt x="69" y="31"/>
                </a:lnTo>
                <a:lnTo>
                  <a:pt x="71" y="37"/>
                </a:lnTo>
                <a:lnTo>
                  <a:pt x="68" y="42"/>
                </a:lnTo>
                <a:lnTo>
                  <a:pt x="43" y="37"/>
                </a:lnTo>
                <a:lnTo>
                  <a:pt x="21" y="25"/>
                </a:lnTo>
                <a:lnTo>
                  <a:pt x="0" y="33"/>
                </a:lnTo>
                <a:lnTo>
                  <a:pt x="0" y="32"/>
                </a:lnTo>
                <a:lnTo>
                  <a:pt x="10" y="48"/>
                </a:lnTo>
                <a:lnTo>
                  <a:pt x="21" y="52"/>
                </a:lnTo>
                <a:lnTo>
                  <a:pt x="20" y="76"/>
                </a:lnTo>
                <a:lnTo>
                  <a:pt x="39" y="92"/>
                </a:lnTo>
                <a:lnTo>
                  <a:pt x="38" y="106"/>
                </a:lnTo>
                <a:lnTo>
                  <a:pt x="31" y="106"/>
                </a:lnTo>
                <a:lnTo>
                  <a:pt x="33" y="112"/>
                </a:lnTo>
                <a:lnTo>
                  <a:pt x="52" y="129"/>
                </a:lnTo>
                <a:lnTo>
                  <a:pt x="65" y="130"/>
                </a:lnTo>
                <a:lnTo>
                  <a:pt x="60" y="143"/>
                </a:lnTo>
                <a:lnTo>
                  <a:pt x="66" y="146"/>
                </a:lnTo>
                <a:lnTo>
                  <a:pt x="65" y="153"/>
                </a:lnTo>
                <a:lnTo>
                  <a:pt x="58" y="154"/>
                </a:lnTo>
                <a:lnTo>
                  <a:pt x="66" y="170"/>
                </a:lnTo>
                <a:lnTo>
                  <a:pt x="78" y="171"/>
                </a:lnTo>
                <a:lnTo>
                  <a:pt x="98" y="141"/>
                </a:lnTo>
                <a:lnTo>
                  <a:pt x="128" y="129"/>
                </a:lnTo>
                <a:lnTo>
                  <a:pt x="142" y="136"/>
                </a:lnTo>
                <a:lnTo>
                  <a:pt x="147" y="163"/>
                </a:lnTo>
                <a:lnTo>
                  <a:pt x="132" y="174"/>
                </a:lnTo>
                <a:lnTo>
                  <a:pt x="157" y="191"/>
                </a:lnTo>
                <a:lnTo>
                  <a:pt x="171" y="192"/>
                </a:lnTo>
                <a:close/>
              </a:path>
            </a:pathLst>
          </a:custGeom>
          <a:solidFill>
            <a:schemeClr val="accent1"/>
          </a:solidFill>
          <a:ln w="6350">
            <a:solidFill>
              <a:schemeClr val="tx2"/>
            </a:solidFill>
            <a:round/>
            <a:headEnd/>
            <a:tailEnd/>
          </a:ln>
        </p:spPr>
        <p:txBody>
          <a:bodyPr/>
          <a:lstStyle/>
          <a:p>
            <a:endParaRPr lang="en-US"/>
          </a:p>
        </p:txBody>
      </p:sp>
      <p:sp>
        <p:nvSpPr>
          <p:cNvPr id="638" name="Freeform 1388"/>
          <p:cNvSpPr>
            <a:spLocks/>
          </p:cNvSpPr>
          <p:nvPr/>
        </p:nvSpPr>
        <p:spPr bwMode="auto">
          <a:xfrm>
            <a:off x="7567808" y="3156204"/>
            <a:ext cx="639268" cy="278930"/>
          </a:xfrm>
          <a:custGeom>
            <a:avLst/>
            <a:gdLst>
              <a:gd name="T0" fmla="*/ 2147483647 w 1361"/>
              <a:gd name="T1" fmla="*/ 2147483647 h 667"/>
              <a:gd name="T2" fmla="*/ 2147483647 w 1361"/>
              <a:gd name="T3" fmla="*/ 2147483647 h 667"/>
              <a:gd name="T4" fmla="*/ 2147483647 w 1361"/>
              <a:gd name="T5" fmla="*/ 2147483647 h 667"/>
              <a:gd name="T6" fmla="*/ 2147483647 w 1361"/>
              <a:gd name="T7" fmla="*/ 2147483647 h 667"/>
              <a:gd name="T8" fmla="*/ 2147483647 w 1361"/>
              <a:gd name="T9" fmla="*/ 2147483647 h 667"/>
              <a:gd name="T10" fmla="*/ 2147483647 w 1361"/>
              <a:gd name="T11" fmla="*/ 2147483647 h 667"/>
              <a:gd name="T12" fmla="*/ 2147483647 w 1361"/>
              <a:gd name="T13" fmla="*/ 2147483647 h 667"/>
              <a:gd name="T14" fmla="*/ 2147483647 w 1361"/>
              <a:gd name="T15" fmla="*/ 2147483647 h 667"/>
              <a:gd name="T16" fmla="*/ 2147483647 w 1361"/>
              <a:gd name="T17" fmla="*/ 2147483647 h 667"/>
              <a:gd name="T18" fmla="*/ 2147483647 w 1361"/>
              <a:gd name="T19" fmla="*/ 2147483647 h 667"/>
              <a:gd name="T20" fmla="*/ 2147483647 w 1361"/>
              <a:gd name="T21" fmla="*/ 2147483647 h 667"/>
              <a:gd name="T22" fmla="*/ 2147483647 w 1361"/>
              <a:gd name="T23" fmla="*/ 2147483647 h 667"/>
              <a:gd name="T24" fmla="*/ 2147483647 w 1361"/>
              <a:gd name="T25" fmla="*/ 2147483647 h 667"/>
              <a:gd name="T26" fmla="*/ 2147483647 w 1361"/>
              <a:gd name="T27" fmla="*/ 2147483647 h 667"/>
              <a:gd name="T28" fmla="*/ 2147483647 w 1361"/>
              <a:gd name="T29" fmla="*/ 2147483647 h 667"/>
              <a:gd name="T30" fmla="*/ 2147483647 w 1361"/>
              <a:gd name="T31" fmla="*/ 2147483647 h 667"/>
              <a:gd name="T32" fmla="*/ 2147483647 w 1361"/>
              <a:gd name="T33" fmla="*/ 2147483647 h 667"/>
              <a:gd name="T34" fmla="*/ 2147483647 w 1361"/>
              <a:gd name="T35" fmla="*/ 2147483647 h 667"/>
              <a:gd name="T36" fmla="*/ 2147483647 w 1361"/>
              <a:gd name="T37" fmla="*/ 2147483647 h 667"/>
              <a:gd name="T38" fmla="*/ 2147483647 w 1361"/>
              <a:gd name="T39" fmla="*/ 2147483647 h 667"/>
              <a:gd name="T40" fmla="*/ 2147483647 w 1361"/>
              <a:gd name="T41" fmla="*/ 2147483647 h 667"/>
              <a:gd name="T42" fmla="*/ 2147483647 w 1361"/>
              <a:gd name="T43" fmla="*/ 2147483647 h 667"/>
              <a:gd name="T44" fmla="*/ 2147483647 w 1361"/>
              <a:gd name="T45" fmla="*/ 2147483647 h 667"/>
              <a:gd name="T46" fmla="*/ 2147483647 w 1361"/>
              <a:gd name="T47" fmla="*/ 2147483647 h 667"/>
              <a:gd name="T48" fmla="*/ 2147483647 w 1361"/>
              <a:gd name="T49" fmla="*/ 2147483647 h 667"/>
              <a:gd name="T50" fmla="*/ 2147483647 w 1361"/>
              <a:gd name="T51" fmla="*/ 2147483647 h 667"/>
              <a:gd name="T52" fmla="*/ 2147483647 w 1361"/>
              <a:gd name="T53" fmla="*/ 2147483647 h 667"/>
              <a:gd name="T54" fmla="*/ 2147483647 w 1361"/>
              <a:gd name="T55" fmla="*/ 2147483647 h 667"/>
              <a:gd name="T56" fmla="*/ 2147483647 w 1361"/>
              <a:gd name="T57" fmla="*/ 2147483647 h 667"/>
              <a:gd name="T58" fmla="*/ 2147483647 w 1361"/>
              <a:gd name="T59" fmla="*/ 2147483647 h 667"/>
              <a:gd name="T60" fmla="*/ 2147483647 w 1361"/>
              <a:gd name="T61" fmla="*/ 2147483647 h 667"/>
              <a:gd name="T62" fmla="*/ 2147483647 w 1361"/>
              <a:gd name="T63" fmla="*/ 2147483647 h 667"/>
              <a:gd name="T64" fmla="*/ 2147483647 w 1361"/>
              <a:gd name="T65" fmla="*/ 2147483647 h 667"/>
              <a:gd name="T66" fmla="*/ 2147483647 w 1361"/>
              <a:gd name="T67" fmla="*/ 2147483647 h 667"/>
              <a:gd name="T68" fmla="*/ 2147483647 w 1361"/>
              <a:gd name="T69" fmla="*/ 2147483647 h 667"/>
              <a:gd name="T70" fmla="*/ 2147483647 w 1361"/>
              <a:gd name="T71" fmla="*/ 2147483647 h 667"/>
              <a:gd name="T72" fmla="*/ 2147483647 w 1361"/>
              <a:gd name="T73" fmla="*/ 2147483647 h 667"/>
              <a:gd name="T74" fmla="*/ 2147483647 w 1361"/>
              <a:gd name="T75" fmla="*/ 2147483647 h 667"/>
              <a:gd name="T76" fmla="*/ 2147483647 w 1361"/>
              <a:gd name="T77" fmla="*/ 2147483647 h 667"/>
              <a:gd name="T78" fmla="*/ 2147483647 w 1361"/>
              <a:gd name="T79" fmla="*/ 2147483647 h 6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1"/>
              <a:gd name="T121" fmla="*/ 0 h 667"/>
              <a:gd name="T122" fmla="*/ 1361 w 1361"/>
              <a:gd name="T123" fmla="*/ 667 h 6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1" h="667">
                <a:moveTo>
                  <a:pt x="1228" y="150"/>
                </a:moveTo>
                <a:lnTo>
                  <a:pt x="1198" y="201"/>
                </a:lnTo>
                <a:lnTo>
                  <a:pt x="1200" y="229"/>
                </a:lnTo>
                <a:lnTo>
                  <a:pt x="1190" y="256"/>
                </a:lnTo>
                <a:lnTo>
                  <a:pt x="1192" y="274"/>
                </a:lnTo>
                <a:lnTo>
                  <a:pt x="1201" y="301"/>
                </a:lnTo>
                <a:lnTo>
                  <a:pt x="1252" y="307"/>
                </a:lnTo>
                <a:lnTo>
                  <a:pt x="1271" y="301"/>
                </a:lnTo>
                <a:lnTo>
                  <a:pt x="1308" y="275"/>
                </a:lnTo>
                <a:lnTo>
                  <a:pt x="1324" y="298"/>
                </a:lnTo>
                <a:lnTo>
                  <a:pt x="1346" y="316"/>
                </a:lnTo>
                <a:lnTo>
                  <a:pt x="1351" y="327"/>
                </a:lnTo>
                <a:lnTo>
                  <a:pt x="1350" y="344"/>
                </a:lnTo>
                <a:lnTo>
                  <a:pt x="1360" y="350"/>
                </a:lnTo>
                <a:lnTo>
                  <a:pt x="1361" y="360"/>
                </a:lnTo>
                <a:lnTo>
                  <a:pt x="1307" y="365"/>
                </a:lnTo>
                <a:lnTo>
                  <a:pt x="1249" y="369"/>
                </a:lnTo>
                <a:lnTo>
                  <a:pt x="1198" y="423"/>
                </a:lnTo>
                <a:lnTo>
                  <a:pt x="1177" y="435"/>
                </a:lnTo>
                <a:lnTo>
                  <a:pt x="1160" y="434"/>
                </a:lnTo>
                <a:lnTo>
                  <a:pt x="1130" y="467"/>
                </a:lnTo>
                <a:lnTo>
                  <a:pt x="1107" y="480"/>
                </a:lnTo>
                <a:lnTo>
                  <a:pt x="1078" y="476"/>
                </a:lnTo>
                <a:lnTo>
                  <a:pt x="1055" y="462"/>
                </a:lnTo>
                <a:lnTo>
                  <a:pt x="1039" y="467"/>
                </a:lnTo>
                <a:lnTo>
                  <a:pt x="1019" y="508"/>
                </a:lnTo>
                <a:lnTo>
                  <a:pt x="1036" y="531"/>
                </a:lnTo>
                <a:lnTo>
                  <a:pt x="1038" y="541"/>
                </a:lnTo>
                <a:lnTo>
                  <a:pt x="958" y="609"/>
                </a:lnTo>
                <a:lnTo>
                  <a:pt x="909" y="621"/>
                </a:lnTo>
                <a:lnTo>
                  <a:pt x="887" y="615"/>
                </a:lnTo>
                <a:lnTo>
                  <a:pt x="853" y="618"/>
                </a:lnTo>
                <a:lnTo>
                  <a:pt x="801" y="633"/>
                </a:lnTo>
                <a:lnTo>
                  <a:pt x="796" y="639"/>
                </a:lnTo>
                <a:lnTo>
                  <a:pt x="731" y="667"/>
                </a:lnTo>
                <a:lnTo>
                  <a:pt x="708" y="655"/>
                </a:lnTo>
                <a:lnTo>
                  <a:pt x="687" y="654"/>
                </a:lnTo>
                <a:lnTo>
                  <a:pt x="628" y="633"/>
                </a:lnTo>
                <a:lnTo>
                  <a:pt x="591" y="606"/>
                </a:lnTo>
                <a:lnTo>
                  <a:pt x="558" y="594"/>
                </a:lnTo>
                <a:lnTo>
                  <a:pt x="396" y="602"/>
                </a:lnTo>
                <a:lnTo>
                  <a:pt x="385" y="597"/>
                </a:lnTo>
                <a:lnTo>
                  <a:pt x="353" y="562"/>
                </a:lnTo>
                <a:lnTo>
                  <a:pt x="321" y="507"/>
                </a:lnTo>
                <a:lnTo>
                  <a:pt x="219" y="464"/>
                </a:lnTo>
                <a:lnTo>
                  <a:pt x="192" y="468"/>
                </a:lnTo>
                <a:lnTo>
                  <a:pt x="122" y="446"/>
                </a:lnTo>
                <a:lnTo>
                  <a:pt x="130" y="421"/>
                </a:lnTo>
                <a:lnTo>
                  <a:pt x="127" y="370"/>
                </a:lnTo>
                <a:lnTo>
                  <a:pt x="105" y="307"/>
                </a:lnTo>
                <a:lnTo>
                  <a:pt x="98" y="294"/>
                </a:lnTo>
                <a:lnTo>
                  <a:pt x="60" y="282"/>
                </a:lnTo>
                <a:lnTo>
                  <a:pt x="54" y="291"/>
                </a:lnTo>
                <a:lnTo>
                  <a:pt x="43" y="282"/>
                </a:lnTo>
                <a:lnTo>
                  <a:pt x="35" y="266"/>
                </a:lnTo>
                <a:lnTo>
                  <a:pt x="10" y="248"/>
                </a:lnTo>
                <a:lnTo>
                  <a:pt x="0" y="215"/>
                </a:lnTo>
                <a:lnTo>
                  <a:pt x="21" y="185"/>
                </a:lnTo>
                <a:lnTo>
                  <a:pt x="172" y="107"/>
                </a:lnTo>
                <a:lnTo>
                  <a:pt x="275" y="119"/>
                </a:lnTo>
                <a:lnTo>
                  <a:pt x="303" y="148"/>
                </a:lnTo>
                <a:lnTo>
                  <a:pt x="429" y="146"/>
                </a:lnTo>
                <a:lnTo>
                  <a:pt x="436" y="142"/>
                </a:lnTo>
                <a:lnTo>
                  <a:pt x="435" y="116"/>
                </a:lnTo>
                <a:lnTo>
                  <a:pt x="443" y="103"/>
                </a:lnTo>
                <a:lnTo>
                  <a:pt x="433" y="50"/>
                </a:lnTo>
                <a:lnTo>
                  <a:pt x="491" y="0"/>
                </a:lnTo>
                <a:lnTo>
                  <a:pt x="606" y="46"/>
                </a:lnTo>
                <a:lnTo>
                  <a:pt x="618" y="98"/>
                </a:lnTo>
                <a:lnTo>
                  <a:pt x="652" y="122"/>
                </a:lnTo>
                <a:lnTo>
                  <a:pt x="678" y="130"/>
                </a:lnTo>
                <a:lnTo>
                  <a:pt x="742" y="105"/>
                </a:lnTo>
                <a:lnTo>
                  <a:pt x="765" y="111"/>
                </a:lnTo>
                <a:lnTo>
                  <a:pt x="866" y="159"/>
                </a:lnTo>
                <a:lnTo>
                  <a:pt x="898" y="186"/>
                </a:lnTo>
                <a:lnTo>
                  <a:pt x="989" y="202"/>
                </a:lnTo>
                <a:lnTo>
                  <a:pt x="1083" y="177"/>
                </a:lnTo>
                <a:lnTo>
                  <a:pt x="1150" y="134"/>
                </a:lnTo>
                <a:lnTo>
                  <a:pt x="1200" y="157"/>
                </a:lnTo>
                <a:lnTo>
                  <a:pt x="1228" y="150"/>
                </a:lnTo>
                <a:close/>
              </a:path>
            </a:pathLst>
          </a:custGeom>
          <a:solidFill>
            <a:schemeClr val="accent1"/>
          </a:solidFill>
          <a:ln w="6350">
            <a:solidFill>
              <a:schemeClr val="tx2"/>
            </a:solidFill>
            <a:round/>
            <a:headEnd/>
            <a:tailEnd/>
          </a:ln>
        </p:spPr>
        <p:txBody>
          <a:bodyPr/>
          <a:lstStyle/>
          <a:p>
            <a:endParaRPr lang="en-US"/>
          </a:p>
        </p:txBody>
      </p:sp>
      <p:sp>
        <p:nvSpPr>
          <p:cNvPr id="639" name="Freeform 1391"/>
          <p:cNvSpPr>
            <a:spLocks/>
          </p:cNvSpPr>
          <p:nvPr/>
        </p:nvSpPr>
        <p:spPr bwMode="auto">
          <a:xfrm>
            <a:off x="6823905" y="3770106"/>
            <a:ext cx="106067" cy="70050"/>
          </a:xfrm>
          <a:custGeom>
            <a:avLst/>
            <a:gdLst>
              <a:gd name="T0" fmla="*/ 2147483647 w 226"/>
              <a:gd name="T1" fmla="*/ 2147483647 h 168"/>
              <a:gd name="T2" fmla="*/ 2147483647 w 226"/>
              <a:gd name="T3" fmla="*/ 2147483647 h 168"/>
              <a:gd name="T4" fmla="*/ 2147483647 w 226"/>
              <a:gd name="T5" fmla="*/ 2147483647 h 168"/>
              <a:gd name="T6" fmla="*/ 2147483647 w 226"/>
              <a:gd name="T7" fmla="*/ 2147483647 h 168"/>
              <a:gd name="T8" fmla="*/ 2147483647 w 226"/>
              <a:gd name="T9" fmla="*/ 2147483647 h 168"/>
              <a:gd name="T10" fmla="*/ 2147483647 w 226"/>
              <a:gd name="T11" fmla="*/ 2147483647 h 168"/>
              <a:gd name="T12" fmla="*/ 2147483647 w 226"/>
              <a:gd name="T13" fmla="*/ 2147483647 h 168"/>
              <a:gd name="T14" fmla="*/ 0 w 226"/>
              <a:gd name="T15" fmla="*/ 2147483647 h 168"/>
              <a:gd name="T16" fmla="*/ 2147483647 w 226"/>
              <a:gd name="T17" fmla="*/ 2147483647 h 168"/>
              <a:gd name="T18" fmla="*/ 2147483647 w 226"/>
              <a:gd name="T19" fmla="*/ 2147483647 h 168"/>
              <a:gd name="T20" fmla="*/ 2147483647 w 226"/>
              <a:gd name="T21" fmla="*/ 2147483647 h 168"/>
              <a:gd name="T22" fmla="*/ 2147483647 w 226"/>
              <a:gd name="T23" fmla="*/ 2147483647 h 168"/>
              <a:gd name="T24" fmla="*/ 2147483647 w 226"/>
              <a:gd name="T25" fmla="*/ 2147483647 h 168"/>
              <a:gd name="T26" fmla="*/ 2147483647 w 226"/>
              <a:gd name="T27" fmla="*/ 2147483647 h 168"/>
              <a:gd name="T28" fmla="*/ 2147483647 w 226"/>
              <a:gd name="T29" fmla="*/ 2147483647 h 168"/>
              <a:gd name="T30" fmla="*/ 2147483647 w 226"/>
              <a:gd name="T31" fmla="*/ 2147483647 h 168"/>
              <a:gd name="T32" fmla="*/ 2147483647 w 226"/>
              <a:gd name="T33" fmla="*/ 2147483647 h 168"/>
              <a:gd name="T34" fmla="*/ 2147483647 w 226"/>
              <a:gd name="T35" fmla="*/ 2147483647 h 168"/>
              <a:gd name="T36" fmla="*/ 2147483647 w 226"/>
              <a:gd name="T37" fmla="*/ 2147483647 h 168"/>
              <a:gd name="T38" fmla="*/ 2147483647 w 226"/>
              <a:gd name="T39" fmla="*/ 2147483647 h 168"/>
              <a:gd name="T40" fmla="*/ 2147483647 w 226"/>
              <a:gd name="T41" fmla="*/ 0 h 168"/>
              <a:gd name="T42" fmla="*/ 2147483647 w 226"/>
              <a:gd name="T43" fmla="*/ 2147483647 h 168"/>
              <a:gd name="T44" fmla="*/ 2147483647 w 226"/>
              <a:gd name="T45" fmla="*/ 2147483647 h 168"/>
              <a:gd name="T46" fmla="*/ 2147483647 w 226"/>
              <a:gd name="T47" fmla="*/ 2147483647 h 168"/>
              <a:gd name="T48" fmla="*/ 2147483647 w 226"/>
              <a:gd name="T49" fmla="*/ 2147483647 h 168"/>
              <a:gd name="T50" fmla="*/ 2147483647 w 226"/>
              <a:gd name="T51" fmla="*/ 2147483647 h 168"/>
              <a:gd name="T52" fmla="*/ 2147483647 w 226"/>
              <a:gd name="T53" fmla="*/ 2147483647 h 168"/>
              <a:gd name="T54" fmla="*/ 2147483647 w 226"/>
              <a:gd name="T55" fmla="*/ 2147483647 h 168"/>
              <a:gd name="T56" fmla="*/ 2147483647 w 226"/>
              <a:gd name="T57" fmla="*/ 2147483647 h 168"/>
              <a:gd name="T58" fmla="*/ 2147483647 w 226"/>
              <a:gd name="T59" fmla="*/ 2147483647 h 168"/>
              <a:gd name="T60" fmla="*/ 2147483647 w 226"/>
              <a:gd name="T61" fmla="*/ 2147483647 h 168"/>
              <a:gd name="T62" fmla="*/ 2147483647 w 226"/>
              <a:gd name="T63" fmla="*/ 21474836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6"/>
              <a:gd name="T97" fmla="*/ 0 h 168"/>
              <a:gd name="T98" fmla="*/ 226 w 226"/>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6" h="168">
                <a:moveTo>
                  <a:pt x="171" y="168"/>
                </a:moveTo>
                <a:lnTo>
                  <a:pt x="139" y="162"/>
                </a:lnTo>
                <a:lnTo>
                  <a:pt x="106" y="157"/>
                </a:lnTo>
                <a:lnTo>
                  <a:pt x="74" y="150"/>
                </a:lnTo>
                <a:lnTo>
                  <a:pt x="42" y="144"/>
                </a:lnTo>
                <a:lnTo>
                  <a:pt x="29" y="106"/>
                </a:lnTo>
                <a:lnTo>
                  <a:pt x="3" y="84"/>
                </a:lnTo>
                <a:lnTo>
                  <a:pt x="0" y="72"/>
                </a:lnTo>
                <a:lnTo>
                  <a:pt x="16" y="65"/>
                </a:lnTo>
                <a:lnTo>
                  <a:pt x="13" y="83"/>
                </a:lnTo>
                <a:lnTo>
                  <a:pt x="28" y="84"/>
                </a:lnTo>
                <a:lnTo>
                  <a:pt x="33" y="96"/>
                </a:lnTo>
                <a:lnTo>
                  <a:pt x="55" y="97"/>
                </a:lnTo>
                <a:lnTo>
                  <a:pt x="70" y="88"/>
                </a:lnTo>
                <a:lnTo>
                  <a:pt x="126" y="93"/>
                </a:lnTo>
                <a:lnTo>
                  <a:pt x="146" y="81"/>
                </a:lnTo>
                <a:lnTo>
                  <a:pt x="145" y="75"/>
                </a:lnTo>
                <a:lnTo>
                  <a:pt x="151" y="74"/>
                </a:lnTo>
                <a:lnTo>
                  <a:pt x="155" y="62"/>
                </a:lnTo>
                <a:lnTo>
                  <a:pt x="187" y="36"/>
                </a:lnTo>
                <a:lnTo>
                  <a:pt x="215" y="0"/>
                </a:lnTo>
                <a:lnTo>
                  <a:pt x="217" y="17"/>
                </a:lnTo>
                <a:lnTo>
                  <a:pt x="224" y="19"/>
                </a:lnTo>
                <a:lnTo>
                  <a:pt x="226" y="56"/>
                </a:lnTo>
                <a:lnTo>
                  <a:pt x="214" y="56"/>
                </a:lnTo>
                <a:lnTo>
                  <a:pt x="201" y="57"/>
                </a:lnTo>
                <a:lnTo>
                  <a:pt x="207" y="75"/>
                </a:lnTo>
                <a:lnTo>
                  <a:pt x="214" y="94"/>
                </a:lnTo>
                <a:lnTo>
                  <a:pt x="188" y="103"/>
                </a:lnTo>
                <a:lnTo>
                  <a:pt x="183" y="130"/>
                </a:lnTo>
                <a:lnTo>
                  <a:pt x="179" y="159"/>
                </a:lnTo>
                <a:lnTo>
                  <a:pt x="171" y="168"/>
                </a:lnTo>
                <a:close/>
              </a:path>
            </a:pathLst>
          </a:custGeom>
          <a:solidFill>
            <a:schemeClr val="accent1"/>
          </a:solidFill>
          <a:ln w="6350">
            <a:solidFill>
              <a:schemeClr val="tx2"/>
            </a:solidFill>
            <a:round/>
            <a:headEnd/>
            <a:tailEnd/>
          </a:ln>
        </p:spPr>
        <p:txBody>
          <a:bodyPr/>
          <a:lstStyle/>
          <a:p>
            <a:endParaRPr lang="en-US"/>
          </a:p>
        </p:txBody>
      </p:sp>
      <p:sp>
        <p:nvSpPr>
          <p:cNvPr id="640" name="Freeform 1392"/>
          <p:cNvSpPr>
            <a:spLocks/>
          </p:cNvSpPr>
          <p:nvPr/>
        </p:nvSpPr>
        <p:spPr bwMode="auto">
          <a:xfrm>
            <a:off x="6842539" y="3793032"/>
            <a:ext cx="157668" cy="157933"/>
          </a:xfrm>
          <a:custGeom>
            <a:avLst/>
            <a:gdLst>
              <a:gd name="T0" fmla="*/ 2147483647 w 334"/>
              <a:gd name="T1" fmla="*/ 2147483647 h 379"/>
              <a:gd name="T2" fmla="*/ 2147483647 w 334"/>
              <a:gd name="T3" fmla="*/ 2147483647 h 379"/>
              <a:gd name="T4" fmla="*/ 2147483647 w 334"/>
              <a:gd name="T5" fmla="*/ 2147483647 h 379"/>
              <a:gd name="T6" fmla="*/ 2147483647 w 334"/>
              <a:gd name="T7" fmla="*/ 2147483647 h 379"/>
              <a:gd name="T8" fmla="*/ 2147483647 w 334"/>
              <a:gd name="T9" fmla="*/ 2147483647 h 379"/>
              <a:gd name="T10" fmla="*/ 2147483647 w 334"/>
              <a:gd name="T11" fmla="*/ 2147483647 h 379"/>
              <a:gd name="T12" fmla="*/ 2147483647 w 334"/>
              <a:gd name="T13" fmla="*/ 2147483647 h 379"/>
              <a:gd name="T14" fmla="*/ 2147483647 w 334"/>
              <a:gd name="T15" fmla="*/ 2147483647 h 379"/>
              <a:gd name="T16" fmla="*/ 0 w 334"/>
              <a:gd name="T17" fmla="*/ 2147483647 h 379"/>
              <a:gd name="T18" fmla="*/ 2147483647 w 334"/>
              <a:gd name="T19" fmla="*/ 2147483647 h 379"/>
              <a:gd name="T20" fmla="*/ 2147483647 w 334"/>
              <a:gd name="T21" fmla="*/ 2147483647 h 379"/>
              <a:gd name="T22" fmla="*/ 2147483647 w 334"/>
              <a:gd name="T23" fmla="*/ 2147483647 h 379"/>
              <a:gd name="T24" fmla="*/ 2147483647 w 334"/>
              <a:gd name="T25" fmla="*/ 2147483647 h 379"/>
              <a:gd name="T26" fmla="*/ 2147483647 w 334"/>
              <a:gd name="T27" fmla="*/ 2147483647 h 379"/>
              <a:gd name="T28" fmla="*/ 2147483647 w 334"/>
              <a:gd name="T29" fmla="*/ 2147483647 h 379"/>
              <a:gd name="T30" fmla="*/ 2147483647 w 334"/>
              <a:gd name="T31" fmla="*/ 2147483647 h 379"/>
              <a:gd name="T32" fmla="*/ 2147483647 w 334"/>
              <a:gd name="T33" fmla="*/ 2147483647 h 379"/>
              <a:gd name="T34" fmla="*/ 2147483647 w 334"/>
              <a:gd name="T35" fmla="*/ 2147483647 h 379"/>
              <a:gd name="T36" fmla="*/ 2147483647 w 334"/>
              <a:gd name="T37" fmla="*/ 2147483647 h 379"/>
              <a:gd name="T38" fmla="*/ 2147483647 w 334"/>
              <a:gd name="T39" fmla="*/ 2147483647 h 379"/>
              <a:gd name="T40" fmla="*/ 2147483647 w 334"/>
              <a:gd name="T41" fmla="*/ 2147483647 h 379"/>
              <a:gd name="T42" fmla="*/ 2147483647 w 334"/>
              <a:gd name="T43" fmla="*/ 2147483647 h 379"/>
              <a:gd name="T44" fmla="*/ 2147483647 w 334"/>
              <a:gd name="T45" fmla="*/ 2147483647 h 379"/>
              <a:gd name="T46" fmla="*/ 2147483647 w 334"/>
              <a:gd name="T47" fmla="*/ 2147483647 h 379"/>
              <a:gd name="T48" fmla="*/ 2147483647 w 334"/>
              <a:gd name="T49" fmla="*/ 2147483647 h 379"/>
              <a:gd name="T50" fmla="*/ 2147483647 w 334"/>
              <a:gd name="T51" fmla="*/ 2147483647 h 379"/>
              <a:gd name="T52" fmla="*/ 2147483647 w 334"/>
              <a:gd name="T53" fmla="*/ 2147483647 h 379"/>
              <a:gd name="T54" fmla="*/ 2147483647 w 334"/>
              <a:gd name="T55" fmla="*/ 2147483647 h 379"/>
              <a:gd name="T56" fmla="*/ 2147483647 w 334"/>
              <a:gd name="T57" fmla="*/ 2147483647 h 379"/>
              <a:gd name="T58" fmla="*/ 2147483647 w 334"/>
              <a:gd name="T59" fmla="*/ 2147483647 h 379"/>
              <a:gd name="T60" fmla="*/ 2147483647 w 334"/>
              <a:gd name="T61" fmla="*/ 2147483647 h 379"/>
              <a:gd name="T62" fmla="*/ 2147483647 w 334"/>
              <a:gd name="T63" fmla="*/ 2147483647 h 379"/>
              <a:gd name="T64" fmla="*/ 2147483647 w 334"/>
              <a:gd name="T65" fmla="*/ 2147483647 h 379"/>
              <a:gd name="T66" fmla="*/ 2147483647 w 334"/>
              <a:gd name="T67" fmla="*/ 0 h 379"/>
              <a:gd name="T68" fmla="*/ 2147483647 w 334"/>
              <a:gd name="T69" fmla="*/ 2147483647 h 379"/>
              <a:gd name="T70" fmla="*/ 2147483647 w 334"/>
              <a:gd name="T71" fmla="*/ 2147483647 h 379"/>
              <a:gd name="T72" fmla="*/ 2147483647 w 334"/>
              <a:gd name="T73" fmla="*/ 2147483647 h 379"/>
              <a:gd name="T74" fmla="*/ 2147483647 w 334"/>
              <a:gd name="T75" fmla="*/ 2147483647 h 379"/>
              <a:gd name="T76" fmla="*/ 2147483647 w 334"/>
              <a:gd name="T77" fmla="*/ 2147483647 h 379"/>
              <a:gd name="T78" fmla="*/ 2147483647 w 334"/>
              <a:gd name="T79" fmla="*/ 2147483647 h 379"/>
              <a:gd name="T80" fmla="*/ 2147483647 w 334"/>
              <a:gd name="T81" fmla="*/ 2147483647 h 379"/>
              <a:gd name="T82" fmla="*/ 2147483647 w 334"/>
              <a:gd name="T83" fmla="*/ 2147483647 h 3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34"/>
              <a:gd name="T127" fmla="*/ 0 h 379"/>
              <a:gd name="T128" fmla="*/ 334 w 334"/>
              <a:gd name="T129" fmla="*/ 379 h 37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34" h="379">
                <a:moveTo>
                  <a:pt x="159" y="135"/>
                </a:moveTo>
                <a:lnTo>
                  <a:pt x="152" y="157"/>
                </a:lnTo>
                <a:lnTo>
                  <a:pt x="143" y="181"/>
                </a:lnTo>
                <a:lnTo>
                  <a:pt x="136" y="203"/>
                </a:lnTo>
                <a:lnTo>
                  <a:pt x="128" y="226"/>
                </a:lnTo>
                <a:lnTo>
                  <a:pt x="97" y="237"/>
                </a:lnTo>
                <a:lnTo>
                  <a:pt x="64" y="249"/>
                </a:lnTo>
                <a:lnTo>
                  <a:pt x="32" y="261"/>
                </a:lnTo>
                <a:lnTo>
                  <a:pt x="0" y="272"/>
                </a:lnTo>
                <a:lnTo>
                  <a:pt x="22" y="326"/>
                </a:lnTo>
                <a:lnTo>
                  <a:pt x="44" y="379"/>
                </a:lnTo>
                <a:lnTo>
                  <a:pt x="91" y="362"/>
                </a:lnTo>
                <a:lnTo>
                  <a:pt x="126" y="365"/>
                </a:lnTo>
                <a:lnTo>
                  <a:pt x="139" y="352"/>
                </a:lnTo>
                <a:lnTo>
                  <a:pt x="140" y="339"/>
                </a:lnTo>
                <a:lnTo>
                  <a:pt x="153" y="326"/>
                </a:lnTo>
                <a:lnTo>
                  <a:pt x="189" y="319"/>
                </a:lnTo>
                <a:lnTo>
                  <a:pt x="204" y="284"/>
                </a:lnTo>
                <a:lnTo>
                  <a:pt x="221" y="274"/>
                </a:lnTo>
                <a:lnTo>
                  <a:pt x="247" y="270"/>
                </a:lnTo>
                <a:lnTo>
                  <a:pt x="245" y="223"/>
                </a:lnTo>
                <a:lnTo>
                  <a:pt x="256" y="208"/>
                </a:lnTo>
                <a:lnTo>
                  <a:pt x="265" y="199"/>
                </a:lnTo>
                <a:lnTo>
                  <a:pt x="271" y="207"/>
                </a:lnTo>
                <a:lnTo>
                  <a:pt x="278" y="206"/>
                </a:lnTo>
                <a:lnTo>
                  <a:pt x="294" y="177"/>
                </a:lnTo>
                <a:lnTo>
                  <a:pt x="325" y="140"/>
                </a:lnTo>
                <a:lnTo>
                  <a:pt x="334" y="114"/>
                </a:lnTo>
                <a:lnTo>
                  <a:pt x="309" y="97"/>
                </a:lnTo>
                <a:lnTo>
                  <a:pt x="287" y="63"/>
                </a:lnTo>
                <a:lnTo>
                  <a:pt x="241" y="49"/>
                </a:lnTo>
                <a:lnTo>
                  <a:pt x="207" y="33"/>
                </a:lnTo>
                <a:lnTo>
                  <a:pt x="188" y="10"/>
                </a:lnTo>
                <a:lnTo>
                  <a:pt x="184" y="0"/>
                </a:lnTo>
                <a:lnTo>
                  <a:pt x="171" y="1"/>
                </a:lnTo>
                <a:lnTo>
                  <a:pt x="159" y="1"/>
                </a:lnTo>
                <a:lnTo>
                  <a:pt x="165" y="19"/>
                </a:lnTo>
                <a:lnTo>
                  <a:pt x="172" y="38"/>
                </a:lnTo>
                <a:lnTo>
                  <a:pt x="146" y="47"/>
                </a:lnTo>
                <a:lnTo>
                  <a:pt x="141" y="74"/>
                </a:lnTo>
                <a:lnTo>
                  <a:pt x="137" y="103"/>
                </a:lnTo>
                <a:lnTo>
                  <a:pt x="159" y="135"/>
                </a:lnTo>
                <a:close/>
              </a:path>
            </a:pathLst>
          </a:custGeom>
          <a:solidFill>
            <a:schemeClr val="accent1"/>
          </a:solidFill>
          <a:ln w="6350">
            <a:solidFill>
              <a:schemeClr val="tx2"/>
            </a:solidFill>
            <a:round/>
            <a:headEnd/>
            <a:tailEnd/>
          </a:ln>
        </p:spPr>
        <p:txBody>
          <a:bodyPr/>
          <a:lstStyle/>
          <a:p>
            <a:endParaRPr lang="en-US"/>
          </a:p>
        </p:txBody>
      </p:sp>
      <p:sp>
        <p:nvSpPr>
          <p:cNvPr id="641" name="Freeform 1410"/>
          <p:cNvSpPr>
            <a:spLocks/>
          </p:cNvSpPr>
          <p:nvPr/>
        </p:nvSpPr>
        <p:spPr bwMode="auto">
          <a:xfrm>
            <a:off x="7861642" y="3826147"/>
            <a:ext cx="141901" cy="271289"/>
          </a:xfrm>
          <a:custGeom>
            <a:avLst/>
            <a:gdLst>
              <a:gd name="T0" fmla="*/ 2147483647 w 304"/>
              <a:gd name="T1" fmla="*/ 2147483647 h 651"/>
              <a:gd name="T2" fmla="*/ 2147483647 w 304"/>
              <a:gd name="T3" fmla="*/ 2147483647 h 651"/>
              <a:gd name="T4" fmla="*/ 2147483647 w 304"/>
              <a:gd name="T5" fmla="*/ 2147483647 h 651"/>
              <a:gd name="T6" fmla="*/ 2147483647 w 304"/>
              <a:gd name="T7" fmla="*/ 2147483647 h 651"/>
              <a:gd name="T8" fmla="*/ 2147483647 w 304"/>
              <a:gd name="T9" fmla="*/ 2147483647 h 651"/>
              <a:gd name="T10" fmla="*/ 2147483647 w 304"/>
              <a:gd name="T11" fmla="*/ 2147483647 h 651"/>
              <a:gd name="T12" fmla="*/ 2147483647 w 304"/>
              <a:gd name="T13" fmla="*/ 2147483647 h 651"/>
              <a:gd name="T14" fmla="*/ 2147483647 w 304"/>
              <a:gd name="T15" fmla="*/ 2147483647 h 651"/>
              <a:gd name="T16" fmla="*/ 2147483647 w 304"/>
              <a:gd name="T17" fmla="*/ 2147483647 h 651"/>
              <a:gd name="T18" fmla="*/ 2147483647 w 304"/>
              <a:gd name="T19" fmla="*/ 2147483647 h 651"/>
              <a:gd name="T20" fmla="*/ 2147483647 w 304"/>
              <a:gd name="T21" fmla="*/ 2147483647 h 651"/>
              <a:gd name="T22" fmla="*/ 2147483647 w 304"/>
              <a:gd name="T23" fmla="*/ 2147483647 h 651"/>
              <a:gd name="T24" fmla="*/ 2147483647 w 304"/>
              <a:gd name="T25" fmla="*/ 2147483647 h 651"/>
              <a:gd name="T26" fmla="*/ 2147483647 w 304"/>
              <a:gd name="T27" fmla="*/ 2147483647 h 651"/>
              <a:gd name="T28" fmla="*/ 2147483647 w 304"/>
              <a:gd name="T29" fmla="*/ 2147483647 h 651"/>
              <a:gd name="T30" fmla="*/ 2147483647 w 304"/>
              <a:gd name="T31" fmla="*/ 2147483647 h 651"/>
              <a:gd name="T32" fmla="*/ 2147483647 w 304"/>
              <a:gd name="T33" fmla="*/ 2147483647 h 651"/>
              <a:gd name="T34" fmla="*/ 2147483647 w 304"/>
              <a:gd name="T35" fmla="*/ 2147483647 h 651"/>
              <a:gd name="T36" fmla="*/ 2147483647 w 304"/>
              <a:gd name="T37" fmla="*/ 2147483647 h 651"/>
              <a:gd name="T38" fmla="*/ 2147483647 w 304"/>
              <a:gd name="T39" fmla="*/ 2147483647 h 651"/>
              <a:gd name="T40" fmla="*/ 2147483647 w 304"/>
              <a:gd name="T41" fmla="*/ 2147483647 h 651"/>
              <a:gd name="T42" fmla="*/ 2147483647 w 304"/>
              <a:gd name="T43" fmla="*/ 2147483647 h 651"/>
              <a:gd name="T44" fmla="*/ 2147483647 w 304"/>
              <a:gd name="T45" fmla="*/ 2147483647 h 651"/>
              <a:gd name="T46" fmla="*/ 2147483647 w 304"/>
              <a:gd name="T47" fmla="*/ 2147483647 h 651"/>
              <a:gd name="T48" fmla="*/ 2147483647 w 304"/>
              <a:gd name="T49" fmla="*/ 2147483647 h 651"/>
              <a:gd name="T50" fmla="*/ 2147483647 w 304"/>
              <a:gd name="T51" fmla="*/ 2147483647 h 651"/>
              <a:gd name="T52" fmla="*/ 2147483647 w 304"/>
              <a:gd name="T53" fmla="*/ 2147483647 h 651"/>
              <a:gd name="T54" fmla="*/ 2147483647 w 304"/>
              <a:gd name="T55" fmla="*/ 2147483647 h 651"/>
              <a:gd name="T56" fmla="*/ 2147483647 w 304"/>
              <a:gd name="T57" fmla="*/ 2147483647 h 651"/>
              <a:gd name="T58" fmla="*/ 2147483647 w 304"/>
              <a:gd name="T59" fmla="*/ 2147483647 h 651"/>
              <a:gd name="T60" fmla="*/ 2147483647 w 304"/>
              <a:gd name="T61" fmla="*/ 2147483647 h 651"/>
              <a:gd name="T62" fmla="*/ 2147483647 w 304"/>
              <a:gd name="T63" fmla="*/ 2147483647 h 651"/>
              <a:gd name="T64" fmla="*/ 2147483647 w 304"/>
              <a:gd name="T65" fmla="*/ 2147483647 h 651"/>
              <a:gd name="T66" fmla="*/ 2147483647 w 304"/>
              <a:gd name="T67" fmla="*/ 2147483647 h 651"/>
              <a:gd name="T68" fmla="*/ 2147483647 w 304"/>
              <a:gd name="T69" fmla="*/ 2147483647 h 651"/>
              <a:gd name="T70" fmla="*/ 2147483647 w 304"/>
              <a:gd name="T71" fmla="*/ 2147483647 h 651"/>
              <a:gd name="T72" fmla="*/ 2147483647 w 304"/>
              <a:gd name="T73" fmla="*/ 2147483647 h 651"/>
              <a:gd name="T74" fmla="*/ 2147483647 w 304"/>
              <a:gd name="T75" fmla="*/ 2147483647 h 651"/>
              <a:gd name="T76" fmla="*/ 2147483647 w 304"/>
              <a:gd name="T77" fmla="*/ 2147483647 h 651"/>
              <a:gd name="T78" fmla="*/ 0 w 304"/>
              <a:gd name="T79" fmla="*/ 2147483647 h 651"/>
              <a:gd name="T80" fmla="*/ 2147483647 w 304"/>
              <a:gd name="T81" fmla="*/ 2147483647 h 651"/>
              <a:gd name="T82" fmla="*/ 2147483647 w 304"/>
              <a:gd name="T83" fmla="*/ 2147483647 h 651"/>
              <a:gd name="T84" fmla="*/ 2147483647 w 304"/>
              <a:gd name="T85" fmla="*/ 2147483647 h 651"/>
              <a:gd name="T86" fmla="*/ 2147483647 w 304"/>
              <a:gd name="T87" fmla="*/ 2147483647 h 651"/>
              <a:gd name="T88" fmla="*/ 2147483647 w 304"/>
              <a:gd name="T89" fmla="*/ 2147483647 h 651"/>
              <a:gd name="T90" fmla="*/ 2147483647 w 304"/>
              <a:gd name="T91" fmla="*/ 2147483647 h 651"/>
              <a:gd name="T92" fmla="*/ 2147483647 w 304"/>
              <a:gd name="T93" fmla="*/ 2147483647 h 651"/>
              <a:gd name="T94" fmla="*/ 2147483647 w 304"/>
              <a:gd name="T95" fmla="*/ 2147483647 h 6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04"/>
              <a:gd name="T145" fmla="*/ 0 h 651"/>
              <a:gd name="T146" fmla="*/ 304 w 304"/>
              <a:gd name="T147" fmla="*/ 651 h 6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04" h="651">
                <a:moveTo>
                  <a:pt x="243" y="79"/>
                </a:moveTo>
                <a:lnTo>
                  <a:pt x="220" y="89"/>
                </a:lnTo>
                <a:lnTo>
                  <a:pt x="218" y="97"/>
                </a:lnTo>
                <a:lnTo>
                  <a:pt x="187" y="119"/>
                </a:lnTo>
                <a:lnTo>
                  <a:pt x="185" y="130"/>
                </a:lnTo>
                <a:lnTo>
                  <a:pt x="159" y="152"/>
                </a:lnTo>
                <a:lnTo>
                  <a:pt x="146" y="192"/>
                </a:lnTo>
                <a:lnTo>
                  <a:pt x="149" y="212"/>
                </a:lnTo>
                <a:lnTo>
                  <a:pt x="173" y="234"/>
                </a:lnTo>
                <a:lnTo>
                  <a:pt x="178" y="255"/>
                </a:lnTo>
                <a:lnTo>
                  <a:pt x="206" y="281"/>
                </a:lnTo>
                <a:lnTo>
                  <a:pt x="234" y="312"/>
                </a:lnTo>
                <a:lnTo>
                  <a:pt x="248" y="315"/>
                </a:lnTo>
                <a:lnTo>
                  <a:pt x="252" y="325"/>
                </a:lnTo>
                <a:lnTo>
                  <a:pt x="258" y="322"/>
                </a:lnTo>
                <a:lnTo>
                  <a:pt x="264" y="340"/>
                </a:lnTo>
                <a:lnTo>
                  <a:pt x="281" y="357"/>
                </a:lnTo>
                <a:lnTo>
                  <a:pt x="293" y="398"/>
                </a:lnTo>
                <a:lnTo>
                  <a:pt x="303" y="467"/>
                </a:lnTo>
                <a:lnTo>
                  <a:pt x="304" y="475"/>
                </a:lnTo>
                <a:lnTo>
                  <a:pt x="298" y="485"/>
                </a:lnTo>
                <a:lnTo>
                  <a:pt x="294" y="485"/>
                </a:lnTo>
                <a:lnTo>
                  <a:pt x="296" y="517"/>
                </a:lnTo>
                <a:lnTo>
                  <a:pt x="289" y="533"/>
                </a:lnTo>
                <a:lnTo>
                  <a:pt x="253" y="550"/>
                </a:lnTo>
                <a:lnTo>
                  <a:pt x="247" y="558"/>
                </a:lnTo>
                <a:lnTo>
                  <a:pt x="216" y="572"/>
                </a:lnTo>
                <a:lnTo>
                  <a:pt x="195" y="572"/>
                </a:lnTo>
                <a:lnTo>
                  <a:pt x="191" y="588"/>
                </a:lnTo>
                <a:lnTo>
                  <a:pt x="179" y="594"/>
                </a:lnTo>
                <a:lnTo>
                  <a:pt x="184" y="602"/>
                </a:lnTo>
                <a:lnTo>
                  <a:pt x="180" y="609"/>
                </a:lnTo>
                <a:lnTo>
                  <a:pt x="161" y="593"/>
                </a:lnTo>
                <a:lnTo>
                  <a:pt x="166" y="610"/>
                </a:lnTo>
                <a:lnTo>
                  <a:pt x="166" y="615"/>
                </a:lnTo>
                <a:lnTo>
                  <a:pt x="147" y="625"/>
                </a:lnTo>
                <a:lnTo>
                  <a:pt x="121" y="650"/>
                </a:lnTo>
                <a:lnTo>
                  <a:pt x="113" y="651"/>
                </a:lnTo>
                <a:lnTo>
                  <a:pt x="112" y="647"/>
                </a:lnTo>
                <a:lnTo>
                  <a:pt x="117" y="644"/>
                </a:lnTo>
                <a:lnTo>
                  <a:pt x="110" y="616"/>
                </a:lnTo>
                <a:lnTo>
                  <a:pt x="111" y="604"/>
                </a:lnTo>
                <a:lnTo>
                  <a:pt x="120" y="589"/>
                </a:lnTo>
                <a:lnTo>
                  <a:pt x="101" y="579"/>
                </a:lnTo>
                <a:lnTo>
                  <a:pt x="95" y="570"/>
                </a:lnTo>
                <a:lnTo>
                  <a:pt x="113" y="564"/>
                </a:lnTo>
                <a:lnTo>
                  <a:pt x="119" y="553"/>
                </a:lnTo>
                <a:lnTo>
                  <a:pt x="129" y="555"/>
                </a:lnTo>
                <a:lnTo>
                  <a:pt x="157" y="542"/>
                </a:lnTo>
                <a:lnTo>
                  <a:pt x="157" y="518"/>
                </a:lnTo>
                <a:lnTo>
                  <a:pt x="179" y="515"/>
                </a:lnTo>
                <a:lnTo>
                  <a:pt x="180" y="506"/>
                </a:lnTo>
                <a:lnTo>
                  <a:pt x="201" y="500"/>
                </a:lnTo>
                <a:lnTo>
                  <a:pt x="214" y="490"/>
                </a:lnTo>
                <a:lnTo>
                  <a:pt x="221" y="492"/>
                </a:lnTo>
                <a:lnTo>
                  <a:pt x="226" y="485"/>
                </a:lnTo>
                <a:lnTo>
                  <a:pt x="229" y="437"/>
                </a:lnTo>
                <a:lnTo>
                  <a:pt x="221" y="413"/>
                </a:lnTo>
                <a:lnTo>
                  <a:pt x="223" y="385"/>
                </a:lnTo>
                <a:lnTo>
                  <a:pt x="223" y="358"/>
                </a:lnTo>
                <a:lnTo>
                  <a:pt x="208" y="317"/>
                </a:lnTo>
                <a:lnTo>
                  <a:pt x="192" y="303"/>
                </a:lnTo>
                <a:lnTo>
                  <a:pt x="185" y="303"/>
                </a:lnTo>
                <a:lnTo>
                  <a:pt x="180" y="291"/>
                </a:lnTo>
                <a:lnTo>
                  <a:pt x="174" y="270"/>
                </a:lnTo>
                <a:lnTo>
                  <a:pt x="157" y="259"/>
                </a:lnTo>
                <a:lnTo>
                  <a:pt x="124" y="220"/>
                </a:lnTo>
                <a:lnTo>
                  <a:pt x="120" y="209"/>
                </a:lnTo>
                <a:lnTo>
                  <a:pt x="73" y="180"/>
                </a:lnTo>
                <a:lnTo>
                  <a:pt x="78" y="161"/>
                </a:lnTo>
                <a:lnTo>
                  <a:pt x="96" y="161"/>
                </a:lnTo>
                <a:lnTo>
                  <a:pt x="108" y="149"/>
                </a:lnTo>
                <a:lnTo>
                  <a:pt x="109" y="143"/>
                </a:lnTo>
                <a:lnTo>
                  <a:pt x="90" y="114"/>
                </a:lnTo>
                <a:lnTo>
                  <a:pt x="82" y="106"/>
                </a:lnTo>
                <a:lnTo>
                  <a:pt x="39" y="106"/>
                </a:lnTo>
                <a:lnTo>
                  <a:pt x="27" y="94"/>
                </a:lnTo>
                <a:lnTo>
                  <a:pt x="29" y="77"/>
                </a:lnTo>
                <a:lnTo>
                  <a:pt x="25" y="70"/>
                </a:lnTo>
                <a:lnTo>
                  <a:pt x="0" y="37"/>
                </a:lnTo>
                <a:lnTo>
                  <a:pt x="10" y="22"/>
                </a:lnTo>
                <a:lnTo>
                  <a:pt x="33" y="32"/>
                </a:lnTo>
                <a:lnTo>
                  <a:pt x="49" y="24"/>
                </a:lnTo>
                <a:lnTo>
                  <a:pt x="55" y="28"/>
                </a:lnTo>
                <a:lnTo>
                  <a:pt x="65" y="25"/>
                </a:lnTo>
                <a:lnTo>
                  <a:pt x="68" y="30"/>
                </a:lnTo>
                <a:lnTo>
                  <a:pt x="82" y="19"/>
                </a:lnTo>
                <a:lnTo>
                  <a:pt x="94" y="20"/>
                </a:lnTo>
                <a:lnTo>
                  <a:pt x="127" y="0"/>
                </a:lnTo>
                <a:lnTo>
                  <a:pt x="159" y="16"/>
                </a:lnTo>
                <a:lnTo>
                  <a:pt x="186" y="19"/>
                </a:lnTo>
                <a:lnTo>
                  <a:pt x="189" y="27"/>
                </a:lnTo>
                <a:lnTo>
                  <a:pt x="185" y="39"/>
                </a:lnTo>
                <a:lnTo>
                  <a:pt x="194" y="60"/>
                </a:lnTo>
                <a:lnTo>
                  <a:pt x="216" y="74"/>
                </a:lnTo>
                <a:lnTo>
                  <a:pt x="243" y="79"/>
                </a:lnTo>
                <a:close/>
              </a:path>
            </a:pathLst>
          </a:custGeom>
          <a:solidFill>
            <a:schemeClr val="accent1"/>
          </a:solidFill>
          <a:ln w="6350">
            <a:solidFill>
              <a:schemeClr val="tx2"/>
            </a:solidFill>
            <a:round/>
            <a:headEnd/>
            <a:tailEnd/>
          </a:ln>
        </p:spPr>
        <p:txBody>
          <a:bodyPr/>
          <a:lstStyle/>
          <a:p>
            <a:endParaRPr lang="en-US"/>
          </a:p>
        </p:txBody>
      </p:sp>
      <p:sp>
        <p:nvSpPr>
          <p:cNvPr id="642" name="Freeform 1411"/>
          <p:cNvSpPr>
            <a:spLocks/>
          </p:cNvSpPr>
          <p:nvPr/>
        </p:nvSpPr>
        <p:spPr bwMode="auto">
          <a:xfrm>
            <a:off x="7659543" y="3725528"/>
            <a:ext cx="179167" cy="343888"/>
          </a:xfrm>
          <a:custGeom>
            <a:avLst/>
            <a:gdLst>
              <a:gd name="T0" fmla="*/ 2147483647 w 384"/>
              <a:gd name="T1" fmla="*/ 2147483647 h 823"/>
              <a:gd name="T2" fmla="*/ 2147483647 w 384"/>
              <a:gd name="T3" fmla="*/ 2147483647 h 823"/>
              <a:gd name="T4" fmla="*/ 2147483647 w 384"/>
              <a:gd name="T5" fmla="*/ 2147483647 h 823"/>
              <a:gd name="T6" fmla="*/ 2147483647 w 384"/>
              <a:gd name="T7" fmla="*/ 2147483647 h 823"/>
              <a:gd name="T8" fmla="*/ 2147483647 w 384"/>
              <a:gd name="T9" fmla="*/ 2147483647 h 823"/>
              <a:gd name="T10" fmla="*/ 2147483647 w 384"/>
              <a:gd name="T11" fmla="*/ 2147483647 h 823"/>
              <a:gd name="T12" fmla="*/ 2147483647 w 384"/>
              <a:gd name="T13" fmla="*/ 2147483647 h 823"/>
              <a:gd name="T14" fmla="*/ 2147483647 w 384"/>
              <a:gd name="T15" fmla="*/ 2147483647 h 823"/>
              <a:gd name="T16" fmla="*/ 2147483647 w 384"/>
              <a:gd name="T17" fmla="*/ 2147483647 h 823"/>
              <a:gd name="T18" fmla="*/ 2147483647 w 384"/>
              <a:gd name="T19" fmla="*/ 2147483647 h 823"/>
              <a:gd name="T20" fmla="*/ 2147483647 w 384"/>
              <a:gd name="T21" fmla="*/ 2147483647 h 823"/>
              <a:gd name="T22" fmla="*/ 2147483647 w 384"/>
              <a:gd name="T23" fmla="*/ 2147483647 h 823"/>
              <a:gd name="T24" fmla="*/ 2147483647 w 384"/>
              <a:gd name="T25" fmla="*/ 2147483647 h 823"/>
              <a:gd name="T26" fmla="*/ 2147483647 w 384"/>
              <a:gd name="T27" fmla="*/ 2147483647 h 823"/>
              <a:gd name="T28" fmla="*/ 2147483647 w 384"/>
              <a:gd name="T29" fmla="*/ 2147483647 h 823"/>
              <a:gd name="T30" fmla="*/ 2147483647 w 384"/>
              <a:gd name="T31" fmla="*/ 2147483647 h 823"/>
              <a:gd name="T32" fmla="*/ 2147483647 w 384"/>
              <a:gd name="T33" fmla="*/ 2147483647 h 823"/>
              <a:gd name="T34" fmla="*/ 2147483647 w 384"/>
              <a:gd name="T35" fmla="*/ 2147483647 h 823"/>
              <a:gd name="T36" fmla="*/ 0 w 384"/>
              <a:gd name="T37" fmla="*/ 2147483647 h 823"/>
              <a:gd name="T38" fmla="*/ 2147483647 w 384"/>
              <a:gd name="T39" fmla="*/ 2147483647 h 823"/>
              <a:gd name="T40" fmla="*/ 2147483647 w 384"/>
              <a:gd name="T41" fmla="*/ 2147483647 h 823"/>
              <a:gd name="T42" fmla="*/ 2147483647 w 384"/>
              <a:gd name="T43" fmla="*/ 2147483647 h 823"/>
              <a:gd name="T44" fmla="*/ 2147483647 w 384"/>
              <a:gd name="T45" fmla="*/ 2147483647 h 823"/>
              <a:gd name="T46" fmla="*/ 2147483647 w 384"/>
              <a:gd name="T47" fmla="*/ 2147483647 h 823"/>
              <a:gd name="T48" fmla="*/ 2147483647 w 384"/>
              <a:gd name="T49" fmla="*/ 2147483647 h 823"/>
              <a:gd name="T50" fmla="*/ 2147483647 w 384"/>
              <a:gd name="T51" fmla="*/ 2147483647 h 823"/>
              <a:gd name="T52" fmla="*/ 2147483647 w 384"/>
              <a:gd name="T53" fmla="*/ 2147483647 h 823"/>
              <a:gd name="T54" fmla="*/ 2147483647 w 384"/>
              <a:gd name="T55" fmla="*/ 2147483647 h 823"/>
              <a:gd name="T56" fmla="*/ 2147483647 w 384"/>
              <a:gd name="T57" fmla="*/ 2147483647 h 823"/>
              <a:gd name="T58" fmla="*/ 2147483647 w 384"/>
              <a:gd name="T59" fmla="*/ 2147483647 h 823"/>
              <a:gd name="T60" fmla="*/ 2147483647 w 384"/>
              <a:gd name="T61" fmla="*/ 2147483647 h 823"/>
              <a:gd name="T62" fmla="*/ 2147483647 w 384"/>
              <a:gd name="T63" fmla="*/ 2147483647 h 823"/>
              <a:gd name="T64" fmla="*/ 2147483647 w 384"/>
              <a:gd name="T65" fmla="*/ 2147483647 h 823"/>
              <a:gd name="T66" fmla="*/ 2147483647 w 384"/>
              <a:gd name="T67" fmla="*/ 2147483647 h 823"/>
              <a:gd name="T68" fmla="*/ 2147483647 w 384"/>
              <a:gd name="T69" fmla="*/ 2147483647 h 823"/>
              <a:gd name="T70" fmla="*/ 2147483647 w 384"/>
              <a:gd name="T71" fmla="*/ 2147483647 h 823"/>
              <a:gd name="T72" fmla="*/ 2147483647 w 384"/>
              <a:gd name="T73" fmla="*/ 2147483647 h 823"/>
              <a:gd name="T74" fmla="*/ 2147483647 w 384"/>
              <a:gd name="T75" fmla="*/ 2147483647 h 823"/>
              <a:gd name="T76" fmla="*/ 2147483647 w 384"/>
              <a:gd name="T77" fmla="*/ 2147483647 h 823"/>
              <a:gd name="T78" fmla="*/ 2147483647 w 384"/>
              <a:gd name="T79" fmla="*/ 2147483647 h 823"/>
              <a:gd name="T80" fmla="*/ 2147483647 w 384"/>
              <a:gd name="T81" fmla="*/ 2147483647 h 823"/>
              <a:gd name="T82" fmla="*/ 2147483647 w 384"/>
              <a:gd name="T83" fmla="*/ 2147483647 h 823"/>
              <a:gd name="T84" fmla="*/ 2147483647 w 384"/>
              <a:gd name="T85" fmla="*/ 2147483647 h 823"/>
              <a:gd name="T86" fmla="*/ 2147483647 w 384"/>
              <a:gd name="T87" fmla="*/ 2147483647 h 823"/>
              <a:gd name="T88" fmla="*/ 2147483647 w 384"/>
              <a:gd name="T89" fmla="*/ 2147483647 h 823"/>
              <a:gd name="T90" fmla="*/ 2147483647 w 384"/>
              <a:gd name="T91" fmla="*/ 2147483647 h 823"/>
              <a:gd name="T92" fmla="*/ 2147483647 w 384"/>
              <a:gd name="T93" fmla="*/ 2147483647 h 823"/>
              <a:gd name="T94" fmla="*/ 2147483647 w 384"/>
              <a:gd name="T95" fmla="*/ 2147483647 h 823"/>
              <a:gd name="T96" fmla="*/ 2147483647 w 384"/>
              <a:gd name="T97" fmla="*/ 2147483647 h 823"/>
              <a:gd name="T98" fmla="*/ 2147483647 w 384"/>
              <a:gd name="T99" fmla="*/ 2147483647 h 823"/>
              <a:gd name="T100" fmla="*/ 2147483647 w 384"/>
              <a:gd name="T101" fmla="*/ 2147483647 h 823"/>
              <a:gd name="T102" fmla="*/ 2147483647 w 384"/>
              <a:gd name="T103" fmla="*/ 2147483647 h 823"/>
              <a:gd name="T104" fmla="*/ 2147483647 w 384"/>
              <a:gd name="T105" fmla="*/ 2147483647 h 823"/>
              <a:gd name="T106" fmla="*/ 2147483647 w 384"/>
              <a:gd name="T107" fmla="*/ 2147483647 h 823"/>
              <a:gd name="T108" fmla="*/ 2147483647 w 384"/>
              <a:gd name="T109" fmla="*/ 2147483647 h 823"/>
              <a:gd name="T110" fmla="*/ 2147483647 w 384"/>
              <a:gd name="T111" fmla="*/ 2147483647 h 823"/>
              <a:gd name="T112" fmla="*/ 2147483647 w 384"/>
              <a:gd name="T113" fmla="*/ 2147483647 h 82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4"/>
              <a:gd name="T172" fmla="*/ 0 h 823"/>
              <a:gd name="T173" fmla="*/ 384 w 384"/>
              <a:gd name="T174" fmla="*/ 823 h 82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4" h="823">
                <a:moveTo>
                  <a:pt x="278" y="823"/>
                </a:moveTo>
                <a:lnTo>
                  <a:pt x="270" y="817"/>
                </a:lnTo>
                <a:lnTo>
                  <a:pt x="284" y="757"/>
                </a:lnTo>
                <a:lnTo>
                  <a:pt x="270" y="747"/>
                </a:lnTo>
                <a:lnTo>
                  <a:pt x="271" y="741"/>
                </a:lnTo>
                <a:lnTo>
                  <a:pt x="278" y="743"/>
                </a:lnTo>
                <a:lnTo>
                  <a:pt x="275" y="703"/>
                </a:lnTo>
                <a:lnTo>
                  <a:pt x="262" y="667"/>
                </a:lnTo>
                <a:lnTo>
                  <a:pt x="256" y="674"/>
                </a:lnTo>
                <a:lnTo>
                  <a:pt x="240" y="615"/>
                </a:lnTo>
                <a:lnTo>
                  <a:pt x="234" y="546"/>
                </a:lnTo>
                <a:lnTo>
                  <a:pt x="218" y="539"/>
                </a:lnTo>
                <a:lnTo>
                  <a:pt x="205" y="526"/>
                </a:lnTo>
                <a:lnTo>
                  <a:pt x="200" y="528"/>
                </a:lnTo>
                <a:lnTo>
                  <a:pt x="192" y="505"/>
                </a:lnTo>
                <a:lnTo>
                  <a:pt x="188" y="537"/>
                </a:lnTo>
                <a:lnTo>
                  <a:pt x="166" y="550"/>
                </a:lnTo>
                <a:lnTo>
                  <a:pt x="133" y="579"/>
                </a:lnTo>
                <a:lnTo>
                  <a:pt x="120" y="572"/>
                </a:lnTo>
                <a:lnTo>
                  <a:pt x="115" y="579"/>
                </a:lnTo>
                <a:lnTo>
                  <a:pt x="100" y="573"/>
                </a:lnTo>
                <a:lnTo>
                  <a:pt x="96" y="570"/>
                </a:lnTo>
                <a:lnTo>
                  <a:pt x="99" y="563"/>
                </a:lnTo>
                <a:lnTo>
                  <a:pt x="86" y="567"/>
                </a:lnTo>
                <a:lnTo>
                  <a:pt x="99" y="516"/>
                </a:lnTo>
                <a:lnTo>
                  <a:pt x="90" y="464"/>
                </a:lnTo>
                <a:lnTo>
                  <a:pt x="72" y="429"/>
                </a:lnTo>
                <a:lnTo>
                  <a:pt x="69" y="439"/>
                </a:lnTo>
                <a:lnTo>
                  <a:pt x="61" y="434"/>
                </a:lnTo>
                <a:lnTo>
                  <a:pt x="56" y="424"/>
                </a:lnTo>
                <a:lnTo>
                  <a:pt x="58" y="416"/>
                </a:lnTo>
                <a:lnTo>
                  <a:pt x="67" y="421"/>
                </a:lnTo>
                <a:lnTo>
                  <a:pt x="59" y="411"/>
                </a:lnTo>
                <a:lnTo>
                  <a:pt x="61" y="401"/>
                </a:lnTo>
                <a:lnTo>
                  <a:pt x="30" y="385"/>
                </a:lnTo>
                <a:lnTo>
                  <a:pt x="30" y="377"/>
                </a:lnTo>
                <a:lnTo>
                  <a:pt x="11" y="367"/>
                </a:lnTo>
                <a:lnTo>
                  <a:pt x="0" y="348"/>
                </a:lnTo>
                <a:lnTo>
                  <a:pt x="1" y="326"/>
                </a:lnTo>
                <a:lnTo>
                  <a:pt x="6" y="323"/>
                </a:lnTo>
                <a:lnTo>
                  <a:pt x="15" y="326"/>
                </a:lnTo>
                <a:lnTo>
                  <a:pt x="14" y="301"/>
                </a:lnTo>
                <a:lnTo>
                  <a:pt x="37" y="291"/>
                </a:lnTo>
                <a:lnTo>
                  <a:pt x="32" y="266"/>
                </a:lnTo>
                <a:lnTo>
                  <a:pt x="34" y="255"/>
                </a:lnTo>
                <a:lnTo>
                  <a:pt x="45" y="252"/>
                </a:lnTo>
                <a:lnTo>
                  <a:pt x="46" y="217"/>
                </a:lnTo>
                <a:lnTo>
                  <a:pt x="52" y="211"/>
                </a:lnTo>
                <a:lnTo>
                  <a:pt x="79" y="210"/>
                </a:lnTo>
                <a:lnTo>
                  <a:pt x="83" y="207"/>
                </a:lnTo>
                <a:lnTo>
                  <a:pt x="102" y="163"/>
                </a:lnTo>
                <a:lnTo>
                  <a:pt x="104" y="147"/>
                </a:lnTo>
                <a:lnTo>
                  <a:pt x="125" y="122"/>
                </a:lnTo>
                <a:lnTo>
                  <a:pt x="124" y="99"/>
                </a:lnTo>
                <a:lnTo>
                  <a:pt x="130" y="87"/>
                </a:lnTo>
                <a:lnTo>
                  <a:pt x="152" y="73"/>
                </a:lnTo>
                <a:lnTo>
                  <a:pt x="167" y="55"/>
                </a:lnTo>
                <a:lnTo>
                  <a:pt x="189" y="48"/>
                </a:lnTo>
                <a:lnTo>
                  <a:pt x="203" y="54"/>
                </a:lnTo>
                <a:lnTo>
                  <a:pt x="207" y="27"/>
                </a:lnTo>
                <a:lnTo>
                  <a:pt x="220" y="17"/>
                </a:lnTo>
                <a:lnTo>
                  <a:pt x="220" y="7"/>
                </a:lnTo>
                <a:lnTo>
                  <a:pt x="231" y="0"/>
                </a:lnTo>
                <a:lnTo>
                  <a:pt x="243" y="5"/>
                </a:lnTo>
                <a:lnTo>
                  <a:pt x="253" y="15"/>
                </a:lnTo>
                <a:lnTo>
                  <a:pt x="260" y="36"/>
                </a:lnTo>
                <a:lnTo>
                  <a:pt x="272" y="36"/>
                </a:lnTo>
                <a:lnTo>
                  <a:pt x="279" y="78"/>
                </a:lnTo>
                <a:lnTo>
                  <a:pt x="276" y="107"/>
                </a:lnTo>
                <a:lnTo>
                  <a:pt x="268" y="129"/>
                </a:lnTo>
                <a:lnTo>
                  <a:pt x="244" y="155"/>
                </a:lnTo>
                <a:lnTo>
                  <a:pt x="237" y="181"/>
                </a:lnTo>
                <a:lnTo>
                  <a:pt x="238" y="200"/>
                </a:lnTo>
                <a:lnTo>
                  <a:pt x="231" y="214"/>
                </a:lnTo>
                <a:lnTo>
                  <a:pt x="234" y="218"/>
                </a:lnTo>
                <a:lnTo>
                  <a:pt x="265" y="199"/>
                </a:lnTo>
                <a:lnTo>
                  <a:pt x="284" y="201"/>
                </a:lnTo>
                <a:lnTo>
                  <a:pt x="290" y="236"/>
                </a:lnTo>
                <a:lnTo>
                  <a:pt x="313" y="250"/>
                </a:lnTo>
                <a:lnTo>
                  <a:pt x="304" y="287"/>
                </a:lnTo>
                <a:lnTo>
                  <a:pt x="330" y="294"/>
                </a:lnTo>
                <a:lnTo>
                  <a:pt x="332" y="303"/>
                </a:lnTo>
                <a:lnTo>
                  <a:pt x="346" y="316"/>
                </a:lnTo>
                <a:lnTo>
                  <a:pt x="362" y="314"/>
                </a:lnTo>
                <a:lnTo>
                  <a:pt x="374" y="305"/>
                </a:lnTo>
                <a:lnTo>
                  <a:pt x="383" y="306"/>
                </a:lnTo>
                <a:lnTo>
                  <a:pt x="384" y="311"/>
                </a:lnTo>
                <a:lnTo>
                  <a:pt x="380" y="320"/>
                </a:lnTo>
                <a:lnTo>
                  <a:pt x="359" y="335"/>
                </a:lnTo>
                <a:lnTo>
                  <a:pt x="361" y="345"/>
                </a:lnTo>
                <a:lnTo>
                  <a:pt x="349" y="347"/>
                </a:lnTo>
                <a:lnTo>
                  <a:pt x="344" y="355"/>
                </a:lnTo>
                <a:lnTo>
                  <a:pt x="331" y="374"/>
                </a:lnTo>
                <a:lnTo>
                  <a:pt x="313" y="380"/>
                </a:lnTo>
                <a:lnTo>
                  <a:pt x="284" y="402"/>
                </a:lnTo>
                <a:lnTo>
                  <a:pt x="250" y="408"/>
                </a:lnTo>
                <a:lnTo>
                  <a:pt x="239" y="439"/>
                </a:lnTo>
                <a:lnTo>
                  <a:pt x="238" y="456"/>
                </a:lnTo>
                <a:lnTo>
                  <a:pt x="232" y="461"/>
                </a:lnTo>
                <a:lnTo>
                  <a:pt x="245" y="498"/>
                </a:lnTo>
                <a:lnTo>
                  <a:pt x="270" y="519"/>
                </a:lnTo>
                <a:lnTo>
                  <a:pt x="272" y="554"/>
                </a:lnTo>
                <a:lnTo>
                  <a:pt x="280" y="555"/>
                </a:lnTo>
                <a:lnTo>
                  <a:pt x="283" y="562"/>
                </a:lnTo>
                <a:lnTo>
                  <a:pt x="274" y="577"/>
                </a:lnTo>
                <a:lnTo>
                  <a:pt x="271" y="593"/>
                </a:lnTo>
                <a:lnTo>
                  <a:pt x="259" y="608"/>
                </a:lnTo>
                <a:lnTo>
                  <a:pt x="258" y="620"/>
                </a:lnTo>
                <a:lnTo>
                  <a:pt x="263" y="633"/>
                </a:lnTo>
                <a:lnTo>
                  <a:pt x="293" y="658"/>
                </a:lnTo>
                <a:lnTo>
                  <a:pt x="298" y="696"/>
                </a:lnTo>
                <a:lnTo>
                  <a:pt x="319" y="749"/>
                </a:lnTo>
                <a:lnTo>
                  <a:pt x="304" y="778"/>
                </a:lnTo>
                <a:lnTo>
                  <a:pt x="290" y="793"/>
                </a:lnTo>
                <a:lnTo>
                  <a:pt x="278" y="823"/>
                </a:lnTo>
                <a:close/>
              </a:path>
            </a:pathLst>
          </a:custGeom>
          <a:solidFill>
            <a:schemeClr val="accent1"/>
          </a:solidFill>
          <a:ln w="6350">
            <a:solidFill>
              <a:schemeClr val="tx2"/>
            </a:solidFill>
            <a:round/>
            <a:headEnd/>
            <a:tailEnd/>
          </a:ln>
        </p:spPr>
        <p:txBody>
          <a:bodyPr/>
          <a:lstStyle/>
          <a:p>
            <a:endParaRPr lang="en-US"/>
          </a:p>
        </p:txBody>
      </p:sp>
      <p:sp>
        <p:nvSpPr>
          <p:cNvPr id="643" name="Freeform 1413"/>
          <p:cNvSpPr>
            <a:spLocks/>
          </p:cNvSpPr>
          <p:nvPr/>
        </p:nvSpPr>
        <p:spPr bwMode="auto">
          <a:xfrm>
            <a:off x="7411575" y="3684770"/>
            <a:ext cx="163401" cy="78967"/>
          </a:xfrm>
          <a:custGeom>
            <a:avLst/>
            <a:gdLst>
              <a:gd name="T0" fmla="*/ 2147483647 w 346"/>
              <a:gd name="T1" fmla="*/ 2147483647 h 191"/>
              <a:gd name="T2" fmla="*/ 2147483647 w 346"/>
              <a:gd name="T3" fmla="*/ 2147483647 h 191"/>
              <a:gd name="T4" fmla="*/ 2147483647 w 346"/>
              <a:gd name="T5" fmla="*/ 2147483647 h 191"/>
              <a:gd name="T6" fmla="*/ 2147483647 w 346"/>
              <a:gd name="T7" fmla="*/ 2147483647 h 191"/>
              <a:gd name="T8" fmla="*/ 2147483647 w 346"/>
              <a:gd name="T9" fmla="*/ 2147483647 h 191"/>
              <a:gd name="T10" fmla="*/ 2147483647 w 346"/>
              <a:gd name="T11" fmla="*/ 2147483647 h 191"/>
              <a:gd name="T12" fmla="*/ 2147483647 w 346"/>
              <a:gd name="T13" fmla="*/ 2147483647 h 191"/>
              <a:gd name="T14" fmla="*/ 2147483647 w 346"/>
              <a:gd name="T15" fmla="*/ 2147483647 h 191"/>
              <a:gd name="T16" fmla="*/ 2147483647 w 346"/>
              <a:gd name="T17" fmla="*/ 2147483647 h 191"/>
              <a:gd name="T18" fmla="*/ 2147483647 w 346"/>
              <a:gd name="T19" fmla="*/ 2147483647 h 191"/>
              <a:gd name="T20" fmla="*/ 2147483647 w 346"/>
              <a:gd name="T21" fmla="*/ 2147483647 h 191"/>
              <a:gd name="T22" fmla="*/ 2147483647 w 346"/>
              <a:gd name="T23" fmla="*/ 2147483647 h 191"/>
              <a:gd name="T24" fmla="*/ 2147483647 w 346"/>
              <a:gd name="T25" fmla="*/ 2147483647 h 191"/>
              <a:gd name="T26" fmla="*/ 2147483647 w 346"/>
              <a:gd name="T27" fmla="*/ 2147483647 h 191"/>
              <a:gd name="T28" fmla="*/ 2147483647 w 346"/>
              <a:gd name="T29" fmla="*/ 2147483647 h 191"/>
              <a:gd name="T30" fmla="*/ 2147483647 w 346"/>
              <a:gd name="T31" fmla="*/ 2147483647 h 191"/>
              <a:gd name="T32" fmla="*/ 2147483647 w 346"/>
              <a:gd name="T33" fmla="*/ 2147483647 h 191"/>
              <a:gd name="T34" fmla="*/ 2147483647 w 346"/>
              <a:gd name="T35" fmla="*/ 2147483647 h 191"/>
              <a:gd name="T36" fmla="*/ 2147483647 w 346"/>
              <a:gd name="T37" fmla="*/ 2147483647 h 191"/>
              <a:gd name="T38" fmla="*/ 2147483647 w 346"/>
              <a:gd name="T39" fmla="*/ 2147483647 h 191"/>
              <a:gd name="T40" fmla="*/ 2147483647 w 346"/>
              <a:gd name="T41" fmla="*/ 2147483647 h 191"/>
              <a:gd name="T42" fmla="*/ 2147483647 w 346"/>
              <a:gd name="T43" fmla="*/ 2147483647 h 191"/>
              <a:gd name="T44" fmla="*/ 2147483647 w 346"/>
              <a:gd name="T45" fmla="*/ 2147483647 h 191"/>
              <a:gd name="T46" fmla="*/ 2147483647 w 346"/>
              <a:gd name="T47" fmla="*/ 2147483647 h 191"/>
              <a:gd name="T48" fmla="*/ 2147483647 w 346"/>
              <a:gd name="T49" fmla="*/ 0 h 191"/>
              <a:gd name="T50" fmla="*/ 2147483647 w 346"/>
              <a:gd name="T51" fmla="*/ 2147483647 h 191"/>
              <a:gd name="T52" fmla="*/ 2147483647 w 346"/>
              <a:gd name="T53" fmla="*/ 2147483647 h 191"/>
              <a:gd name="T54" fmla="*/ 2147483647 w 346"/>
              <a:gd name="T55" fmla="*/ 2147483647 h 191"/>
              <a:gd name="T56" fmla="*/ 2147483647 w 346"/>
              <a:gd name="T57" fmla="*/ 2147483647 h 191"/>
              <a:gd name="T58" fmla="*/ 2147483647 w 346"/>
              <a:gd name="T59" fmla="*/ 2147483647 h 191"/>
              <a:gd name="T60" fmla="*/ 0 w 346"/>
              <a:gd name="T61" fmla="*/ 2147483647 h 191"/>
              <a:gd name="T62" fmla="*/ 0 w 346"/>
              <a:gd name="T63" fmla="*/ 2147483647 h 191"/>
              <a:gd name="T64" fmla="*/ 2147483647 w 346"/>
              <a:gd name="T65" fmla="*/ 2147483647 h 191"/>
              <a:gd name="T66" fmla="*/ 2147483647 w 346"/>
              <a:gd name="T67" fmla="*/ 2147483647 h 191"/>
              <a:gd name="T68" fmla="*/ 2147483647 w 346"/>
              <a:gd name="T69" fmla="*/ 2147483647 h 191"/>
              <a:gd name="T70" fmla="*/ 2147483647 w 346"/>
              <a:gd name="T71" fmla="*/ 2147483647 h 191"/>
              <a:gd name="T72" fmla="*/ 2147483647 w 346"/>
              <a:gd name="T73" fmla="*/ 2147483647 h 191"/>
              <a:gd name="T74" fmla="*/ 2147483647 w 346"/>
              <a:gd name="T75" fmla="*/ 2147483647 h 191"/>
              <a:gd name="T76" fmla="*/ 2147483647 w 346"/>
              <a:gd name="T77" fmla="*/ 2147483647 h 191"/>
              <a:gd name="T78" fmla="*/ 2147483647 w 346"/>
              <a:gd name="T79" fmla="*/ 2147483647 h 191"/>
              <a:gd name="T80" fmla="*/ 2147483647 w 346"/>
              <a:gd name="T81" fmla="*/ 2147483647 h 191"/>
              <a:gd name="T82" fmla="*/ 2147483647 w 346"/>
              <a:gd name="T83" fmla="*/ 2147483647 h 191"/>
              <a:gd name="T84" fmla="*/ 2147483647 w 346"/>
              <a:gd name="T85" fmla="*/ 2147483647 h 191"/>
              <a:gd name="T86" fmla="*/ 2147483647 w 346"/>
              <a:gd name="T87" fmla="*/ 2147483647 h 191"/>
              <a:gd name="T88" fmla="*/ 2147483647 w 346"/>
              <a:gd name="T89" fmla="*/ 2147483647 h 191"/>
              <a:gd name="T90" fmla="*/ 2147483647 w 346"/>
              <a:gd name="T91" fmla="*/ 2147483647 h 1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6"/>
              <a:gd name="T139" fmla="*/ 0 h 191"/>
              <a:gd name="T140" fmla="*/ 346 w 346"/>
              <a:gd name="T141" fmla="*/ 191 h 19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6" h="191">
                <a:moveTo>
                  <a:pt x="339" y="156"/>
                </a:moveTo>
                <a:lnTo>
                  <a:pt x="339" y="133"/>
                </a:lnTo>
                <a:lnTo>
                  <a:pt x="345" y="119"/>
                </a:lnTo>
                <a:lnTo>
                  <a:pt x="336" y="119"/>
                </a:lnTo>
                <a:lnTo>
                  <a:pt x="332" y="125"/>
                </a:lnTo>
                <a:lnTo>
                  <a:pt x="313" y="124"/>
                </a:lnTo>
                <a:lnTo>
                  <a:pt x="283" y="112"/>
                </a:lnTo>
                <a:lnTo>
                  <a:pt x="277" y="119"/>
                </a:lnTo>
                <a:lnTo>
                  <a:pt x="261" y="115"/>
                </a:lnTo>
                <a:lnTo>
                  <a:pt x="254" y="119"/>
                </a:lnTo>
                <a:lnTo>
                  <a:pt x="243" y="104"/>
                </a:lnTo>
                <a:lnTo>
                  <a:pt x="231" y="105"/>
                </a:lnTo>
                <a:lnTo>
                  <a:pt x="218" y="98"/>
                </a:lnTo>
                <a:lnTo>
                  <a:pt x="219" y="83"/>
                </a:lnTo>
                <a:lnTo>
                  <a:pt x="202" y="85"/>
                </a:lnTo>
                <a:lnTo>
                  <a:pt x="185" y="79"/>
                </a:lnTo>
                <a:lnTo>
                  <a:pt x="181" y="73"/>
                </a:lnTo>
                <a:lnTo>
                  <a:pt x="177" y="75"/>
                </a:lnTo>
                <a:lnTo>
                  <a:pt x="178" y="51"/>
                </a:lnTo>
                <a:lnTo>
                  <a:pt x="165" y="50"/>
                </a:lnTo>
                <a:lnTo>
                  <a:pt x="150" y="62"/>
                </a:lnTo>
                <a:lnTo>
                  <a:pt x="143" y="57"/>
                </a:lnTo>
                <a:lnTo>
                  <a:pt x="136" y="37"/>
                </a:lnTo>
                <a:lnTo>
                  <a:pt x="102" y="11"/>
                </a:lnTo>
                <a:lnTo>
                  <a:pt x="57" y="0"/>
                </a:lnTo>
                <a:lnTo>
                  <a:pt x="53" y="15"/>
                </a:lnTo>
                <a:lnTo>
                  <a:pt x="42" y="4"/>
                </a:lnTo>
                <a:lnTo>
                  <a:pt x="33" y="5"/>
                </a:lnTo>
                <a:lnTo>
                  <a:pt x="12" y="27"/>
                </a:lnTo>
                <a:lnTo>
                  <a:pt x="11" y="53"/>
                </a:lnTo>
                <a:lnTo>
                  <a:pt x="0" y="68"/>
                </a:lnTo>
                <a:lnTo>
                  <a:pt x="0" y="76"/>
                </a:lnTo>
                <a:lnTo>
                  <a:pt x="9" y="77"/>
                </a:lnTo>
                <a:lnTo>
                  <a:pt x="18" y="89"/>
                </a:lnTo>
                <a:lnTo>
                  <a:pt x="24" y="86"/>
                </a:lnTo>
                <a:lnTo>
                  <a:pt x="34" y="91"/>
                </a:lnTo>
                <a:lnTo>
                  <a:pt x="65" y="117"/>
                </a:lnTo>
                <a:lnTo>
                  <a:pt x="106" y="132"/>
                </a:lnTo>
                <a:lnTo>
                  <a:pt x="116" y="143"/>
                </a:lnTo>
                <a:lnTo>
                  <a:pt x="182" y="147"/>
                </a:lnTo>
                <a:lnTo>
                  <a:pt x="209" y="172"/>
                </a:lnTo>
                <a:lnTo>
                  <a:pt x="305" y="191"/>
                </a:lnTo>
                <a:lnTo>
                  <a:pt x="341" y="190"/>
                </a:lnTo>
                <a:lnTo>
                  <a:pt x="346" y="174"/>
                </a:lnTo>
                <a:lnTo>
                  <a:pt x="336" y="163"/>
                </a:lnTo>
                <a:lnTo>
                  <a:pt x="339" y="156"/>
                </a:lnTo>
                <a:close/>
              </a:path>
            </a:pathLst>
          </a:custGeom>
          <a:solidFill>
            <a:schemeClr val="accent1"/>
          </a:solidFill>
          <a:ln w="6350">
            <a:solidFill>
              <a:schemeClr val="tx2"/>
            </a:solidFill>
            <a:round/>
            <a:headEnd/>
            <a:tailEnd/>
          </a:ln>
        </p:spPr>
        <p:txBody>
          <a:bodyPr/>
          <a:lstStyle/>
          <a:p>
            <a:endParaRPr lang="en-US"/>
          </a:p>
        </p:txBody>
      </p:sp>
      <p:sp>
        <p:nvSpPr>
          <p:cNvPr id="644" name="Freeform 1414"/>
          <p:cNvSpPr>
            <a:spLocks/>
          </p:cNvSpPr>
          <p:nvPr/>
        </p:nvSpPr>
        <p:spPr bwMode="auto">
          <a:xfrm>
            <a:off x="7587875" y="3725528"/>
            <a:ext cx="65933" cy="31842"/>
          </a:xfrm>
          <a:custGeom>
            <a:avLst/>
            <a:gdLst>
              <a:gd name="T0" fmla="*/ 2147483647 w 146"/>
              <a:gd name="T1" fmla="*/ 2147483647 h 76"/>
              <a:gd name="T2" fmla="*/ 2147483647 w 146"/>
              <a:gd name="T3" fmla="*/ 2147483647 h 76"/>
              <a:gd name="T4" fmla="*/ 2147483647 w 146"/>
              <a:gd name="T5" fmla="*/ 2147483647 h 76"/>
              <a:gd name="T6" fmla="*/ 2147483647 w 146"/>
              <a:gd name="T7" fmla="*/ 2147483647 h 76"/>
              <a:gd name="T8" fmla="*/ 2147483647 w 146"/>
              <a:gd name="T9" fmla="*/ 2147483647 h 76"/>
              <a:gd name="T10" fmla="*/ 2147483647 w 146"/>
              <a:gd name="T11" fmla="*/ 0 h 76"/>
              <a:gd name="T12" fmla="*/ 2147483647 w 146"/>
              <a:gd name="T13" fmla="*/ 2147483647 h 76"/>
              <a:gd name="T14" fmla="*/ 2147483647 w 146"/>
              <a:gd name="T15" fmla="*/ 2147483647 h 76"/>
              <a:gd name="T16" fmla="*/ 0 w 146"/>
              <a:gd name="T17" fmla="*/ 2147483647 h 76"/>
              <a:gd name="T18" fmla="*/ 2147483647 w 146"/>
              <a:gd name="T19" fmla="*/ 2147483647 h 76"/>
              <a:gd name="T20" fmla="*/ 2147483647 w 146"/>
              <a:gd name="T21" fmla="*/ 2147483647 h 76"/>
              <a:gd name="T22" fmla="*/ 2147483647 w 146"/>
              <a:gd name="T23" fmla="*/ 2147483647 h 76"/>
              <a:gd name="T24" fmla="*/ 2147483647 w 146"/>
              <a:gd name="T25" fmla="*/ 2147483647 h 76"/>
              <a:gd name="T26" fmla="*/ 2147483647 w 146"/>
              <a:gd name="T27" fmla="*/ 2147483647 h 76"/>
              <a:gd name="T28" fmla="*/ 2147483647 w 146"/>
              <a:gd name="T29" fmla="*/ 2147483647 h 76"/>
              <a:gd name="T30" fmla="*/ 2147483647 w 146"/>
              <a:gd name="T31" fmla="*/ 2147483647 h 7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76"/>
              <a:gd name="T50" fmla="*/ 146 w 146"/>
              <a:gd name="T51" fmla="*/ 76 h 7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76">
                <a:moveTo>
                  <a:pt x="129" y="24"/>
                </a:moveTo>
                <a:lnTo>
                  <a:pt x="112" y="13"/>
                </a:lnTo>
                <a:lnTo>
                  <a:pt x="98" y="15"/>
                </a:lnTo>
                <a:lnTo>
                  <a:pt x="75" y="11"/>
                </a:lnTo>
                <a:lnTo>
                  <a:pt x="67" y="1"/>
                </a:lnTo>
                <a:lnTo>
                  <a:pt x="50" y="0"/>
                </a:lnTo>
                <a:lnTo>
                  <a:pt x="32" y="13"/>
                </a:lnTo>
                <a:lnTo>
                  <a:pt x="8" y="45"/>
                </a:lnTo>
                <a:lnTo>
                  <a:pt x="0" y="55"/>
                </a:lnTo>
                <a:lnTo>
                  <a:pt x="6" y="69"/>
                </a:lnTo>
                <a:lnTo>
                  <a:pt x="38" y="76"/>
                </a:lnTo>
                <a:lnTo>
                  <a:pt x="139" y="65"/>
                </a:lnTo>
                <a:lnTo>
                  <a:pt x="145" y="62"/>
                </a:lnTo>
                <a:lnTo>
                  <a:pt x="146" y="45"/>
                </a:lnTo>
                <a:lnTo>
                  <a:pt x="128" y="35"/>
                </a:lnTo>
                <a:lnTo>
                  <a:pt x="129" y="24"/>
                </a:lnTo>
                <a:close/>
              </a:path>
            </a:pathLst>
          </a:custGeom>
          <a:solidFill>
            <a:schemeClr val="accent1"/>
          </a:solidFill>
          <a:ln w="6350">
            <a:solidFill>
              <a:schemeClr val="tx2"/>
            </a:solidFill>
            <a:round/>
            <a:headEnd/>
            <a:tailEnd/>
          </a:ln>
        </p:spPr>
        <p:txBody>
          <a:bodyPr/>
          <a:lstStyle/>
          <a:p>
            <a:endParaRPr lang="en-US"/>
          </a:p>
        </p:txBody>
      </p:sp>
      <p:sp>
        <p:nvSpPr>
          <p:cNvPr id="645" name="Freeform 1415"/>
          <p:cNvSpPr>
            <a:spLocks/>
          </p:cNvSpPr>
          <p:nvPr/>
        </p:nvSpPr>
        <p:spPr bwMode="auto">
          <a:xfrm>
            <a:off x="7569241" y="3761190"/>
            <a:ext cx="96034" cy="109535"/>
          </a:xfrm>
          <a:custGeom>
            <a:avLst/>
            <a:gdLst>
              <a:gd name="T0" fmla="*/ 2147483647 w 205"/>
              <a:gd name="T1" fmla="*/ 2147483647 h 263"/>
              <a:gd name="T2" fmla="*/ 2147483647 w 205"/>
              <a:gd name="T3" fmla="*/ 2147483647 h 263"/>
              <a:gd name="T4" fmla="*/ 2147483647 w 205"/>
              <a:gd name="T5" fmla="*/ 2147483647 h 263"/>
              <a:gd name="T6" fmla="*/ 2147483647 w 205"/>
              <a:gd name="T7" fmla="*/ 2147483647 h 263"/>
              <a:gd name="T8" fmla="*/ 2147483647 w 205"/>
              <a:gd name="T9" fmla="*/ 2147483647 h 263"/>
              <a:gd name="T10" fmla="*/ 2147483647 w 205"/>
              <a:gd name="T11" fmla="*/ 2147483647 h 263"/>
              <a:gd name="T12" fmla="*/ 2147483647 w 205"/>
              <a:gd name="T13" fmla="*/ 2147483647 h 263"/>
              <a:gd name="T14" fmla="*/ 2147483647 w 205"/>
              <a:gd name="T15" fmla="*/ 2147483647 h 263"/>
              <a:gd name="T16" fmla="*/ 2147483647 w 205"/>
              <a:gd name="T17" fmla="*/ 2147483647 h 263"/>
              <a:gd name="T18" fmla="*/ 2147483647 w 205"/>
              <a:gd name="T19" fmla="*/ 2147483647 h 263"/>
              <a:gd name="T20" fmla="*/ 2147483647 w 205"/>
              <a:gd name="T21" fmla="*/ 2147483647 h 263"/>
              <a:gd name="T22" fmla="*/ 2147483647 w 205"/>
              <a:gd name="T23" fmla="*/ 2147483647 h 263"/>
              <a:gd name="T24" fmla="*/ 2147483647 w 205"/>
              <a:gd name="T25" fmla="*/ 2147483647 h 263"/>
              <a:gd name="T26" fmla="*/ 2147483647 w 205"/>
              <a:gd name="T27" fmla="*/ 2147483647 h 263"/>
              <a:gd name="T28" fmla="*/ 2147483647 w 205"/>
              <a:gd name="T29" fmla="*/ 2147483647 h 263"/>
              <a:gd name="T30" fmla="*/ 2147483647 w 205"/>
              <a:gd name="T31" fmla="*/ 2147483647 h 263"/>
              <a:gd name="T32" fmla="*/ 2147483647 w 205"/>
              <a:gd name="T33" fmla="*/ 2147483647 h 263"/>
              <a:gd name="T34" fmla="*/ 2147483647 w 205"/>
              <a:gd name="T35" fmla="*/ 2147483647 h 263"/>
              <a:gd name="T36" fmla="*/ 2147483647 w 205"/>
              <a:gd name="T37" fmla="*/ 2147483647 h 263"/>
              <a:gd name="T38" fmla="*/ 2147483647 w 205"/>
              <a:gd name="T39" fmla="*/ 2147483647 h 263"/>
              <a:gd name="T40" fmla="*/ 2147483647 w 205"/>
              <a:gd name="T41" fmla="*/ 2147483647 h 263"/>
              <a:gd name="T42" fmla="*/ 2147483647 w 205"/>
              <a:gd name="T43" fmla="*/ 2147483647 h 263"/>
              <a:gd name="T44" fmla="*/ 2147483647 w 205"/>
              <a:gd name="T45" fmla="*/ 2147483647 h 263"/>
              <a:gd name="T46" fmla="*/ 2147483647 w 205"/>
              <a:gd name="T47" fmla="*/ 2147483647 h 263"/>
              <a:gd name="T48" fmla="*/ 2147483647 w 205"/>
              <a:gd name="T49" fmla="*/ 2147483647 h 263"/>
              <a:gd name="T50" fmla="*/ 2147483647 w 205"/>
              <a:gd name="T51" fmla="*/ 2147483647 h 263"/>
              <a:gd name="T52" fmla="*/ 2147483647 w 205"/>
              <a:gd name="T53" fmla="*/ 0 h 263"/>
              <a:gd name="T54" fmla="*/ 2147483647 w 205"/>
              <a:gd name="T55" fmla="*/ 2147483647 h 263"/>
              <a:gd name="T56" fmla="*/ 2147483647 w 205"/>
              <a:gd name="T57" fmla="*/ 2147483647 h 263"/>
              <a:gd name="T58" fmla="*/ 2147483647 w 205"/>
              <a:gd name="T59" fmla="*/ 2147483647 h 263"/>
              <a:gd name="T60" fmla="*/ 2147483647 w 205"/>
              <a:gd name="T61" fmla="*/ 2147483647 h 263"/>
              <a:gd name="T62" fmla="*/ 2147483647 w 205"/>
              <a:gd name="T63" fmla="*/ 2147483647 h 263"/>
              <a:gd name="T64" fmla="*/ 2147483647 w 205"/>
              <a:gd name="T65" fmla="*/ 2147483647 h 263"/>
              <a:gd name="T66" fmla="*/ 2147483647 w 205"/>
              <a:gd name="T67" fmla="*/ 2147483647 h 263"/>
              <a:gd name="T68" fmla="*/ 0 w 205"/>
              <a:gd name="T69" fmla="*/ 2147483647 h 263"/>
              <a:gd name="T70" fmla="*/ 2147483647 w 205"/>
              <a:gd name="T71" fmla="*/ 2147483647 h 263"/>
              <a:gd name="T72" fmla="*/ 2147483647 w 205"/>
              <a:gd name="T73" fmla="*/ 2147483647 h 263"/>
              <a:gd name="T74" fmla="*/ 2147483647 w 205"/>
              <a:gd name="T75" fmla="*/ 2147483647 h 263"/>
              <a:gd name="T76" fmla="*/ 2147483647 w 205"/>
              <a:gd name="T77" fmla="*/ 2147483647 h 263"/>
              <a:gd name="T78" fmla="*/ 2147483647 w 205"/>
              <a:gd name="T79" fmla="*/ 2147483647 h 263"/>
              <a:gd name="T80" fmla="*/ 2147483647 w 205"/>
              <a:gd name="T81" fmla="*/ 2147483647 h 263"/>
              <a:gd name="T82" fmla="*/ 2147483647 w 205"/>
              <a:gd name="T83" fmla="*/ 2147483647 h 263"/>
              <a:gd name="T84" fmla="*/ 2147483647 w 205"/>
              <a:gd name="T85" fmla="*/ 2147483647 h 263"/>
              <a:gd name="T86" fmla="*/ 2147483647 w 205"/>
              <a:gd name="T87" fmla="*/ 2147483647 h 263"/>
              <a:gd name="T88" fmla="*/ 2147483647 w 205"/>
              <a:gd name="T89" fmla="*/ 2147483647 h 263"/>
              <a:gd name="T90" fmla="*/ 2147483647 w 205"/>
              <a:gd name="T91" fmla="*/ 2147483647 h 263"/>
              <a:gd name="T92" fmla="*/ 2147483647 w 205"/>
              <a:gd name="T93" fmla="*/ 2147483647 h 263"/>
              <a:gd name="T94" fmla="*/ 2147483647 w 205"/>
              <a:gd name="T95" fmla="*/ 2147483647 h 263"/>
              <a:gd name="T96" fmla="*/ 2147483647 w 205"/>
              <a:gd name="T97" fmla="*/ 2147483647 h 263"/>
              <a:gd name="T98" fmla="*/ 2147483647 w 205"/>
              <a:gd name="T99" fmla="*/ 2147483647 h 263"/>
              <a:gd name="T100" fmla="*/ 2147483647 w 205"/>
              <a:gd name="T101" fmla="*/ 2147483647 h 263"/>
              <a:gd name="T102" fmla="*/ 2147483647 w 205"/>
              <a:gd name="T103" fmla="*/ 2147483647 h 263"/>
              <a:gd name="T104" fmla="*/ 2147483647 w 205"/>
              <a:gd name="T105" fmla="*/ 2147483647 h 263"/>
              <a:gd name="T106" fmla="*/ 2147483647 w 205"/>
              <a:gd name="T107" fmla="*/ 2147483647 h 2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5"/>
              <a:gd name="T163" fmla="*/ 0 h 263"/>
              <a:gd name="T164" fmla="*/ 205 w 205"/>
              <a:gd name="T165" fmla="*/ 263 h 2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5" h="263">
                <a:moveTo>
                  <a:pt x="190" y="263"/>
                </a:moveTo>
                <a:lnTo>
                  <a:pt x="191" y="241"/>
                </a:lnTo>
                <a:lnTo>
                  <a:pt x="196" y="238"/>
                </a:lnTo>
                <a:lnTo>
                  <a:pt x="205" y="241"/>
                </a:lnTo>
                <a:lnTo>
                  <a:pt x="204" y="216"/>
                </a:lnTo>
                <a:lnTo>
                  <a:pt x="197" y="167"/>
                </a:lnTo>
                <a:lnTo>
                  <a:pt x="183" y="130"/>
                </a:lnTo>
                <a:lnTo>
                  <a:pt x="179" y="130"/>
                </a:lnTo>
                <a:lnTo>
                  <a:pt x="170" y="141"/>
                </a:lnTo>
                <a:lnTo>
                  <a:pt x="162" y="164"/>
                </a:lnTo>
                <a:lnTo>
                  <a:pt x="151" y="152"/>
                </a:lnTo>
                <a:lnTo>
                  <a:pt x="143" y="151"/>
                </a:lnTo>
                <a:lnTo>
                  <a:pt x="137" y="123"/>
                </a:lnTo>
                <a:lnTo>
                  <a:pt x="139" y="117"/>
                </a:lnTo>
                <a:lnTo>
                  <a:pt x="168" y="97"/>
                </a:lnTo>
                <a:lnTo>
                  <a:pt x="189" y="67"/>
                </a:lnTo>
                <a:lnTo>
                  <a:pt x="159" y="60"/>
                </a:lnTo>
                <a:lnTo>
                  <a:pt x="93" y="59"/>
                </a:lnTo>
                <a:lnTo>
                  <a:pt x="78" y="48"/>
                </a:lnTo>
                <a:lnTo>
                  <a:pt x="70" y="14"/>
                </a:lnTo>
                <a:lnTo>
                  <a:pt x="64" y="25"/>
                </a:lnTo>
                <a:lnTo>
                  <a:pt x="58" y="21"/>
                </a:lnTo>
                <a:lnTo>
                  <a:pt x="53" y="24"/>
                </a:lnTo>
                <a:lnTo>
                  <a:pt x="46" y="5"/>
                </a:lnTo>
                <a:lnTo>
                  <a:pt x="41" y="4"/>
                </a:lnTo>
                <a:lnTo>
                  <a:pt x="38" y="19"/>
                </a:lnTo>
                <a:lnTo>
                  <a:pt x="24" y="0"/>
                </a:lnTo>
                <a:lnTo>
                  <a:pt x="8" y="30"/>
                </a:lnTo>
                <a:lnTo>
                  <a:pt x="13" y="44"/>
                </a:lnTo>
                <a:lnTo>
                  <a:pt x="31" y="47"/>
                </a:lnTo>
                <a:lnTo>
                  <a:pt x="33" y="60"/>
                </a:lnTo>
                <a:lnTo>
                  <a:pt x="16" y="61"/>
                </a:lnTo>
                <a:lnTo>
                  <a:pt x="15" y="66"/>
                </a:lnTo>
                <a:lnTo>
                  <a:pt x="4" y="70"/>
                </a:lnTo>
                <a:lnTo>
                  <a:pt x="0" y="81"/>
                </a:lnTo>
                <a:lnTo>
                  <a:pt x="28" y="103"/>
                </a:lnTo>
                <a:lnTo>
                  <a:pt x="24" y="135"/>
                </a:lnTo>
                <a:lnTo>
                  <a:pt x="34" y="156"/>
                </a:lnTo>
                <a:lnTo>
                  <a:pt x="31" y="178"/>
                </a:lnTo>
                <a:lnTo>
                  <a:pt x="38" y="189"/>
                </a:lnTo>
                <a:lnTo>
                  <a:pt x="45" y="228"/>
                </a:lnTo>
                <a:lnTo>
                  <a:pt x="75" y="219"/>
                </a:lnTo>
                <a:lnTo>
                  <a:pt x="77" y="224"/>
                </a:lnTo>
                <a:lnTo>
                  <a:pt x="89" y="209"/>
                </a:lnTo>
                <a:lnTo>
                  <a:pt x="101" y="220"/>
                </a:lnTo>
                <a:lnTo>
                  <a:pt x="116" y="201"/>
                </a:lnTo>
                <a:lnTo>
                  <a:pt x="114" y="183"/>
                </a:lnTo>
                <a:lnTo>
                  <a:pt x="125" y="168"/>
                </a:lnTo>
                <a:lnTo>
                  <a:pt x="136" y="180"/>
                </a:lnTo>
                <a:lnTo>
                  <a:pt x="155" y="175"/>
                </a:lnTo>
                <a:lnTo>
                  <a:pt x="160" y="180"/>
                </a:lnTo>
                <a:lnTo>
                  <a:pt x="173" y="201"/>
                </a:lnTo>
                <a:lnTo>
                  <a:pt x="182" y="251"/>
                </a:lnTo>
                <a:lnTo>
                  <a:pt x="190" y="263"/>
                </a:lnTo>
                <a:close/>
              </a:path>
            </a:pathLst>
          </a:custGeom>
          <a:solidFill>
            <a:schemeClr val="accent1"/>
          </a:solidFill>
          <a:ln w="6350">
            <a:solidFill>
              <a:schemeClr val="tx2"/>
            </a:solidFill>
            <a:round/>
            <a:headEnd/>
            <a:tailEnd/>
          </a:ln>
        </p:spPr>
        <p:txBody>
          <a:bodyPr/>
          <a:lstStyle/>
          <a:p>
            <a:endParaRPr lang="en-US"/>
          </a:p>
        </p:txBody>
      </p:sp>
      <p:sp>
        <p:nvSpPr>
          <p:cNvPr id="646" name="Freeform 1418"/>
          <p:cNvSpPr>
            <a:spLocks/>
          </p:cNvSpPr>
          <p:nvPr/>
        </p:nvSpPr>
        <p:spPr bwMode="auto">
          <a:xfrm>
            <a:off x="7218073" y="3473343"/>
            <a:ext cx="2866" cy="2547"/>
          </a:xfrm>
          <a:custGeom>
            <a:avLst/>
            <a:gdLst>
              <a:gd name="T0" fmla="*/ 2147483647 w 9"/>
              <a:gd name="T1" fmla="*/ 2147483647 h 6"/>
              <a:gd name="T2" fmla="*/ 0 w 9"/>
              <a:gd name="T3" fmla="*/ 0 h 6"/>
              <a:gd name="T4" fmla="*/ 2147483647 w 9"/>
              <a:gd name="T5" fmla="*/ 2147483647 h 6"/>
              <a:gd name="T6" fmla="*/ 2147483647 w 9"/>
              <a:gd name="T7" fmla="*/ 2147483647 h 6"/>
              <a:gd name="T8" fmla="*/ 0 60000 65536"/>
              <a:gd name="T9" fmla="*/ 0 60000 65536"/>
              <a:gd name="T10" fmla="*/ 0 60000 65536"/>
              <a:gd name="T11" fmla="*/ 0 60000 65536"/>
              <a:gd name="T12" fmla="*/ 0 w 9"/>
              <a:gd name="T13" fmla="*/ 0 h 6"/>
              <a:gd name="T14" fmla="*/ 9 w 9"/>
              <a:gd name="T15" fmla="*/ 6 h 6"/>
            </a:gdLst>
            <a:ahLst/>
            <a:cxnLst>
              <a:cxn ang="T8">
                <a:pos x="T0" y="T1"/>
              </a:cxn>
              <a:cxn ang="T9">
                <a:pos x="T2" y="T3"/>
              </a:cxn>
              <a:cxn ang="T10">
                <a:pos x="T4" y="T5"/>
              </a:cxn>
              <a:cxn ang="T11">
                <a:pos x="T6" y="T7"/>
              </a:cxn>
            </a:cxnLst>
            <a:rect l="T12" t="T13" r="T14" b="T15"/>
            <a:pathLst>
              <a:path w="9" h="6">
                <a:moveTo>
                  <a:pt x="9" y="4"/>
                </a:moveTo>
                <a:lnTo>
                  <a:pt x="0" y="0"/>
                </a:lnTo>
                <a:lnTo>
                  <a:pt x="2" y="6"/>
                </a:lnTo>
                <a:lnTo>
                  <a:pt x="9" y="4"/>
                </a:lnTo>
                <a:close/>
              </a:path>
            </a:pathLst>
          </a:custGeom>
          <a:solidFill>
            <a:schemeClr val="accent1"/>
          </a:solidFill>
          <a:ln w="6350">
            <a:solidFill>
              <a:schemeClr val="tx2"/>
            </a:solidFill>
            <a:round/>
            <a:headEnd/>
            <a:tailEnd/>
          </a:ln>
        </p:spPr>
        <p:txBody>
          <a:bodyPr/>
          <a:lstStyle/>
          <a:p>
            <a:endParaRPr lang="en-US"/>
          </a:p>
        </p:txBody>
      </p:sp>
      <p:sp>
        <p:nvSpPr>
          <p:cNvPr id="647" name="Freeform 1419"/>
          <p:cNvSpPr>
            <a:spLocks/>
          </p:cNvSpPr>
          <p:nvPr/>
        </p:nvSpPr>
        <p:spPr bwMode="auto">
          <a:xfrm>
            <a:off x="7223807" y="3465702"/>
            <a:ext cx="5734" cy="7642"/>
          </a:xfrm>
          <a:custGeom>
            <a:avLst/>
            <a:gdLst>
              <a:gd name="T0" fmla="*/ 2147483647 w 13"/>
              <a:gd name="T1" fmla="*/ 2147483647 h 17"/>
              <a:gd name="T2" fmla="*/ 2147483647 w 13"/>
              <a:gd name="T3" fmla="*/ 0 h 17"/>
              <a:gd name="T4" fmla="*/ 0 w 13"/>
              <a:gd name="T5" fmla="*/ 2147483647 h 17"/>
              <a:gd name="T6" fmla="*/ 2147483647 w 13"/>
              <a:gd name="T7" fmla="*/ 2147483647 h 17"/>
              <a:gd name="T8" fmla="*/ 2147483647 w 13"/>
              <a:gd name="T9" fmla="*/ 2147483647 h 17"/>
              <a:gd name="T10" fmla="*/ 0 60000 65536"/>
              <a:gd name="T11" fmla="*/ 0 60000 65536"/>
              <a:gd name="T12" fmla="*/ 0 60000 65536"/>
              <a:gd name="T13" fmla="*/ 0 60000 65536"/>
              <a:gd name="T14" fmla="*/ 0 60000 65536"/>
              <a:gd name="T15" fmla="*/ 0 w 13"/>
              <a:gd name="T16" fmla="*/ 0 h 17"/>
              <a:gd name="T17" fmla="*/ 13 w 13"/>
              <a:gd name="T18" fmla="*/ 17 h 17"/>
            </a:gdLst>
            <a:ahLst/>
            <a:cxnLst>
              <a:cxn ang="T10">
                <a:pos x="T0" y="T1"/>
              </a:cxn>
              <a:cxn ang="T11">
                <a:pos x="T2" y="T3"/>
              </a:cxn>
              <a:cxn ang="T12">
                <a:pos x="T4" y="T5"/>
              </a:cxn>
              <a:cxn ang="T13">
                <a:pos x="T6" y="T7"/>
              </a:cxn>
              <a:cxn ang="T14">
                <a:pos x="T8" y="T9"/>
              </a:cxn>
            </a:cxnLst>
            <a:rect l="T15" t="T16" r="T17" b="T18"/>
            <a:pathLst>
              <a:path w="13" h="17">
                <a:moveTo>
                  <a:pt x="13" y="15"/>
                </a:moveTo>
                <a:lnTo>
                  <a:pt x="5" y="0"/>
                </a:lnTo>
                <a:lnTo>
                  <a:pt x="0" y="5"/>
                </a:lnTo>
                <a:lnTo>
                  <a:pt x="4" y="17"/>
                </a:lnTo>
                <a:lnTo>
                  <a:pt x="13" y="15"/>
                </a:lnTo>
                <a:close/>
              </a:path>
            </a:pathLst>
          </a:custGeom>
          <a:solidFill>
            <a:schemeClr val="accent1"/>
          </a:solidFill>
          <a:ln w="6350">
            <a:solidFill>
              <a:schemeClr val="tx2"/>
            </a:solidFill>
            <a:round/>
            <a:headEnd/>
            <a:tailEnd/>
          </a:ln>
        </p:spPr>
        <p:txBody>
          <a:bodyPr/>
          <a:lstStyle/>
          <a:p>
            <a:endParaRPr lang="en-US"/>
          </a:p>
        </p:txBody>
      </p:sp>
      <p:sp>
        <p:nvSpPr>
          <p:cNvPr id="648" name="Freeform 1420"/>
          <p:cNvSpPr>
            <a:spLocks/>
          </p:cNvSpPr>
          <p:nvPr/>
        </p:nvSpPr>
        <p:spPr bwMode="auto">
          <a:xfrm>
            <a:off x="7239574" y="3470797"/>
            <a:ext cx="4300" cy="2547"/>
          </a:xfrm>
          <a:custGeom>
            <a:avLst/>
            <a:gdLst>
              <a:gd name="T0" fmla="*/ 2147483647 w 11"/>
              <a:gd name="T1" fmla="*/ 2147483647 h 5"/>
              <a:gd name="T2" fmla="*/ 0 w 11"/>
              <a:gd name="T3" fmla="*/ 0 h 5"/>
              <a:gd name="T4" fmla="*/ 2147483647 w 11"/>
              <a:gd name="T5" fmla="*/ 2147483647 h 5"/>
              <a:gd name="T6" fmla="*/ 2147483647 w 11"/>
              <a:gd name="T7" fmla="*/ 2147483647 h 5"/>
              <a:gd name="T8" fmla="*/ 0 60000 65536"/>
              <a:gd name="T9" fmla="*/ 0 60000 65536"/>
              <a:gd name="T10" fmla="*/ 0 60000 65536"/>
              <a:gd name="T11" fmla="*/ 0 60000 65536"/>
              <a:gd name="T12" fmla="*/ 0 w 11"/>
              <a:gd name="T13" fmla="*/ 0 h 5"/>
              <a:gd name="T14" fmla="*/ 11 w 11"/>
              <a:gd name="T15" fmla="*/ 5 h 5"/>
            </a:gdLst>
            <a:ahLst/>
            <a:cxnLst>
              <a:cxn ang="T8">
                <a:pos x="T0" y="T1"/>
              </a:cxn>
              <a:cxn ang="T9">
                <a:pos x="T2" y="T3"/>
              </a:cxn>
              <a:cxn ang="T10">
                <a:pos x="T4" y="T5"/>
              </a:cxn>
              <a:cxn ang="T11">
                <a:pos x="T6" y="T7"/>
              </a:cxn>
            </a:cxnLst>
            <a:rect l="T12" t="T13" r="T14" b="T15"/>
            <a:pathLst>
              <a:path w="11" h="5">
                <a:moveTo>
                  <a:pt x="11" y="2"/>
                </a:moveTo>
                <a:lnTo>
                  <a:pt x="0" y="0"/>
                </a:lnTo>
                <a:lnTo>
                  <a:pt x="5" y="5"/>
                </a:lnTo>
                <a:lnTo>
                  <a:pt x="11" y="2"/>
                </a:lnTo>
                <a:close/>
              </a:path>
            </a:pathLst>
          </a:custGeom>
          <a:solidFill>
            <a:schemeClr val="accent1"/>
          </a:solidFill>
          <a:ln w="6350">
            <a:solidFill>
              <a:schemeClr val="tx2"/>
            </a:solidFill>
            <a:round/>
            <a:headEnd/>
            <a:tailEnd/>
          </a:ln>
        </p:spPr>
        <p:txBody>
          <a:bodyPr/>
          <a:lstStyle/>
          <a:p>
            <a:endParaRPr lang="en-US"/>
          </a:p>
        </p:txBody>
      </p:sp>
      <p:sp>
        <p:nvSpPr>
          <p:cNvPr id="649" name="Freeform 1421"/>
          <p:cNvSpPr>
            <a:spLocks/>
          </p:cNvSpPr>
          <p:nvPr/>
        </p:nvSpPr>
        <p:spPr bwMode="auto">
          <a:xfrm>
            <a:off x="7192274" y="3391830"/>
            <a:ext cx="220734" cy="95525"/>
          </a:xfrm>
          <a:custGeom>
            <a:avLst/>
            <a:gdLst>
              <a:gd name="T0" fmla="*/ 2147483647 w 474"/>
              <a:gd name="T1" fmla="*/ 2147483647 h 227"/>
              <a:gd name="T2" fmla="*/ 2147483647 w 474"/>
              <a:gd name="T3" fmla="*/ 2147483647 h 227"/>
              <a:gd name="T4" fmla="*/ 2147483647 w 474"/>
              <a:gd name="T5" fmla="*/ 2147483647 h 227"/>
              <a:gd name="T6" fmla="*/ 2147483647 w 474"/>
              <a:gd name="T7" fmla="*/ 2147483647 h 227"/>
              <a:gd name="T8" fmla="*/ 2147483647 w 474"/>
              <a:gd name="T9" fmla="*/ 2147483647 h 227"/>
              <a:gd name="T10" fmla="*/ 2147483647 w 474"/>
              <a:gd name="T11" fmla="*/ 2147483647 h 227"/>
              <a:gd name="T12" fmla="*/ 2147483647 w 474"/>
              <a:gd name="T13" fmla="*/ 0 h 227"/>
              <a:gd name="T14" fmla="*/ 2147483647 w 474"/>
              <a:gd name="T15" fmla="*/ 2147483647 h 227"/>
              <a:gd name="T16" fmla="*/ 2147483647 w 474"/>
              <a:gd name="T17" fmla="*/ 2147483647 h 227"/>
              <a:gd name="T18" fmla="*/ 2147483647 w 474"/>
              <a:gd name="T19" fmla="*/ 2147483647 h 227"/>
              <a:gd name="T20" fmla="*/ 2147483647 w 474"/>
              <a:gd name="T21" fmla="*/ 2147483647 h 227"/>
              <a:gd name="T22" fmla="*/ 2147483647 w 474"/>
              <a:gd name="T23" fmla="*/ 2147483647 h 227"/>
              <a:gd name="T24" fmla="*/ 2147483647 w 474"/>
              <a:gd name="T25" fmla="*/ 2147483647 h 227"/>
              <a:gd name="T26" fmla="*/ 2147483647 w 474"/>
              <a:gd name="T27" fmla="*/ 2147483647 h 227"/>
              <a:gd name="T28" fmla="*/ 2147483647 w 474"/>
              <a:gd name="T29" fmla="*/ 2147483647 h 227"/>
              <a:gd name="T30" fmla="*/ 2147483647 w 474"/>
              <a:gd name="T31" fmla="*/ 2147483647 h 227"/>
              <a:gd name="T32" fmla="*/ 2147483647 w 474"/>
              <a:gd name="T33" fmla="*/ 2147483647 h 227"/>
              <a:gd name="T34" fmla="*/ 2147483647 w 474"/>
              <a:gd name="T35" fmla="*/ 2147483647 h 227"/>
              <a:gd name="T36" fmla="*/ 2147483647 w 474"/>
              <a:gd name="T37" fmla="*/ 2147483647 h 227"/>
              <a:gd name="T38" fmla="*/ 2147483647 w 474"/>
              <a:gd name="T39" fmla="*/ 2147483647 h 227"/>
              <a:gd name="T40" fmla="*/ 2147483647 w 474"/>
              <a:gd name="T41" fmla="*/ 2147483647 h 227"/>
              <a:gd name="T42" fmla="*/ 2147483647 w 474"/>
              <a:gd name="T43" fmla="*/ 2147483647 h 227"/>
              <a:gd name="T44" fmla="*/ 2147483647 w 474"/>
              <a:gd name="T45" fmla="*/ 2147483647 h 227"/>
              <a:gd name="T46" fmla="*/ 2147483647 w 474"/>
              <a:gd name="T47" fmla="*/ 2147483647 h 227"/>
              <a:gd name="T48" fmla="*/ 2147483647 w 474"/>
              <a:gd name="T49" fmla="*/ 2147483647 h 227"/>
              <a:gd name="T50" fmla="*/ 2147483647 w 474"/>
              <a:gd name="T51" fmla="*/ 2147483647 h 227"/>
              <a:gd name="T52" fmla="*/ 2147483647 w 474"/>
              <a:gd name="T53" fmla="*/ 2147483647 h 227"/>
              <a:gd name="T54" fmla="*/ 2147483647 w 474"/>
              <a:gd name="T55" fmla="*/ 2147483647 h 227"/>
              <a:gd name="T56" fmla="*/ 2147483647 w 474"/>
              <a:gd name="T57" fmla="*/ 2147483647 h 227"/>
              <a:gd name="T58" fmla="*/ 2147483647 w 474"/>
              <a:gd name="T59" fmla="*/ 2147483647 h 227"/>
              <a:gd name="T60" fmla="*/ 2147483647 w 474"/>
              <a:gd name="T61" fmla="*/ 2147483647 h 227"/>
              <a:gd name="T62" fmla="*/ 2147483647 w 474"/>
              <a:gd name="T63" fmla="*/ 2147483647 h 227"/>
              <a:gd name="T64" fmla="*/ 2147483647 w 474"/>
              <a:gd name="T65" fmla="*/ 2147483647 h 227"/>
              <a:gd name="T66" fmla="*/ 2147483647 w 474"/>
              <a:gd name="T67" fmla="*/ 2147483647 h 227"/>
              <a:gd name="T68" fmla="*/ 2147483647 w 474"/>
              <a:gd name="T69" fmla="*/ 2147483647 h 227"/>
              <a:gd name="T70" fmla="*/ 2147483647 w 474"/>
              <a:gd name="T71" fmla="*/ 2147483647 h 227"/>
              <a:gd name="T72" fmla="*/ 2147483647 w 474"/>
              <a:gd name="T73" fmla="*/ 2147483647 h 227"/>
              <a:gd name="T74" fmla="*/ 0 w 474"/>
              <a:gd name="T75" fmla="*/ 2147483647 h 227"/>
              <a:gd name="T76" fmla="*/ 0 w 474"/>
              <a:gd name="T77" fmla="*/ 2147483647 h 227"/>
              <a:gd name="T78" fmla="*/ 2147483647 w 474"/>
              <a:gd name="T79" fmla="*/ 2147483647 h 227"/>
              <a:gd name="T80" fmla="*/ 2147483647 w 474"/>
              <a:gd name="T81" fmla="*/ 2147483647 h 227"/>
              <a:gd name="T82" fmla="*/ 2147483647 w 474"/>
              <a:gd name="T83" fmla="*/ 2147483647 h 227"/>
              <a:gd name="T84" fmla="*/ 2147483647 w 474"/>
              <a:gd name="T85" fmla="*/ 2147483647 h 227"/>
              <a:gd name="T86" fmla="*/ 2147483647 w 474"/>
              <a:gd name="T87" fmla="*/ 2147483647 h 227"/>
              <a:gd name="T88" fmla="*/ 2147483647 w 474"/>
              <a:gd name="T89" fmla="*/ 2147483647 h 227"/>
              <a:gd name="T90" fmla="*/ 2147483647 w 474"/>
              <a:gd name="T91" fmla="*/ 2147483647 h 227"/>
              <a:gd name="T92" fmla="*/ 2147483647 w 474"/>
              <a:gd name="T93" fmla="*/ 2147483647 h 227"/>
              <a:gd name="T94" fmla="*/ 2147483647 w 474"/>
              <a:gd name="T95" fmla="*/ 2147483647 h 227"/>
              <a:gd name="T96" fmla="*/ 2147483647 w 474"/>
              <a:gd name="T97" fmla="*/ 2147483647 h 227"/>
              <a:gd name="T98" fmla="*/ 2147483647 w 474"/>
              <a:gd name="T99" fmla="*/ 2147483647 h 227"/>
              <a:gd name="T100" fmla="*/ 2147483647 w 474"/>
              <a:gd name="T101" fmla="*/ 2147483647 h 227"/>
              <a:gd name="T102" fmla="*/ 2147483647 w 474"/>
              <a:gd name="T103" fmla="*/ 2147483647 h 227"/>
              <a:gd name="T104" fmla="*/ 2147483647 w 474"/>
              <a:gd name="T105" fmla="*/ 2147483647 h 227"/>
              <a:gd name="T106" fmla="*/ 2147483647 w 474"/>
              <a:gd name="T107" fmla="*/ 2147483647 h 227"/>
              <a:gd name="T108" fmla="*/ 2147483647 w 474"/>
              <a:gd name="T109" fmla="*/ 2147483647 h 227"/>
              <a:gd name="T110" fmla="*/ 2147483647 w 474"/>
              <a:gd name="T111" fmla="*/ 2147483647 h 227"/>
              <a:gd name="T112" fmla="*/ 2147483647 w 474"/>
              <a:gd name="T113" fmla="*/ 2147483647 h 227"/>
              <a:gd name="T114" fmla="*/ 2147483647 w 474"/>
              <a:gd name="T115" fmla="*/ 2147483647 h 227"/>
              <a:gd name="T116" fmla="*/ 2147483647 w 474"/>
              <a:gd name="T117" fmla="*/ 2147483647 h 2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4"/>
              <a:gd name="T178" fmla="*/ 0 h 227"/>
              <a:gd name="T179" fmla="*/ 474 w 474"/>
              <a:gd name="T180" fmla="*/ 227 h 22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4" h="227">
                <a:moveTo>
                  <a:pt x="69" y="51"/>
                </a:moveTo>
                <a:lnTo>
                  <a:pt x="76" y="29"/>
                </a:lnTo>
                <a:lnTo>
                  <a:pt x="95" y="24"/>
                </a:lnTo>
                <a:lnTo>
                  <a:pt x="132" y="29"/>
                </a:lnTo>
                <a:lnTo>
                  <a:pt x="173" y="44"/>
                </a:lnTo>
                <a:lnTo>
                  <a:pt x="183" y="15"/>
                </a:lnTo>
                <a:lnTo>
                  <a:pt x="210" y="0"/>
                </a:lnTo>
                <a:lnTo>
                  <a:pt x="232" y="15"/>
                </a:lnTo>
                <a:lnTo>
                  <a:pt x="262" y="20"/>
                </a:lnTo>
                <a:lnTo>
                  <a:pt x="337" y="14"/>
                </a:lnTo>
                <a:lnTo>
                  <a:pt x="428" y="28"/>
                </a:lnTo>
                <a:lnTo>
                  <a:pt x="441" y="42"/>
                </a:lnTo>
                <a:lnTo>
                  <a:pt x="474" y="54"/>
                </a:lnTo>
                <a:lnTo>
                  <a:pt x="471" y="75"/>
                </a:lnTo>
                <a:lnTo>
                  <a:pt x="406" y="106"/>
                </a:lnTo>
                <a:lnTo>
                  <a:pt x="388" y="127"/>
                </a:lnTo>
                <a:lnTo>
                  <a:pt x="329" y="139"/>
                </a:lnTo>
                <a:lnTo>
                  <a:pt x="318" y="163"/>
                </a:lnTo>
                <a:lnTo>
                  <a:pt x="306" y="170"/>
                </a:lnTo>
                <a:lnTo>
                  <a:pt x="277" y="171"/>
                </a:lnTo>
                <a:lnTo>
                  <a:pt x="273" y="161"/>
                </a:lnTo>
                <a:lnTo>
                  <a:pt x="264" y="160"/>
                </a:lnTo>
                <a:lnTo>
                  <a:pt x="245" y="162"/>
                </a:lnTo>
                <a:lnTo>
                  <a:pt x="240" y="173"/>
                </a:lnTo>
                <a:lnTo>
                  <a:pt x="206" y="189"/>
                </a:lnTo>
                <a:lnTo>
                  <a:pt x="198" y="204"/>
                </a:lnTo>
                <a:lnTo>
                  <a:pt x="198" y="211"/>
                </a:lnTo>
                <a:lnTo>
                  <a:pt x="183" y="208"/>
                </a:lnTo>
                <a:lnTo>
                  <a:pt x="181" y="221"/>
                </a:lnTo>
                <a:lnTo>
                  <a:pt x="153" y="220"/>
                </a:lnTo>
                <a:lnTo>
                  <a:pt x="128" y="227"/>
                </a:lnTo>
                <a:lnTo>
                  <a:pt x="109" y="226"/>
                </a:lnTo>
                <a:lnTo>
                  <a:pt x="105" y="213"/>
                </a:lnTo>
                <a:lnTo>
                  <a:pt x="93" y="209"/>
                </a:lnTo>
                <a:lnTo>
                  <a:pt x="70" y="216"/>
                </a:lnTo>
                <a:lnTo>
                  <a:pt x="54" y="208"/>
                </a:lnTo>
                <a:lnTo>
                  <a:pt x="4" y="210"/>
                </a:lnTo>
                <a:lnTo>
                  <a:pt x="0" y="205"/>
                </a:lnTo>
                <a:lnTo>
                  <a:pt x="0" y="187"/>
                </a:lnTo>
                <a:lnTo>
                  <a:pt x="17" y="179"/>
                </a:lnTo>
                <a:lnTo>
                  <a:pt x="36" y="179"/>
                </a:lnTo>
                <a:lnTo>
                  <a:pt x="54" y="187"/>
                </a:lnTo>
                <a:lnTo>
                  <a:pt x="72" y="169"/>
                </a:lnTo>
                <a:lnTo>
                  <a:pt x="112" y="171"/>
                </a:lnTo>
                <a:lnTo>
                  <a:pt x="126" y="159"/>
                </a:lnTo>
                <a:lnTo>
                  <a:pt x="143" y="156"/>
                </a:lnTo>
                <a:lnTo>
                  <a:pt x="167" y="138"/>
                </a:lnTo>
                <a:lnTo>
                  <a:pt x="127" y="125"/>
                </a:lnTo>
                <a:lnTo>
                  <a:pt x="110" y="114"/>
                </a:lnTo>
                <a:lnTo>
                  <a:pt x="111" y="108"/>
                </a:lnTo>
                <a:lnTo>
                  <a:pt x="101" y="100"/>
                </a:lnTo>
                <a:lnTo>
                  <a:pt x="90" y="121"/>
                </a:lnTo>
                <a:lnTo>
                  <a:pt x="66" y="113"/>
                </a:lnTo>
                <a:lnTo>
                  <a:pt x="60" y="103"/>
                </a:lnTo>
                <a:lnTo>
                  <a:pt x="42" y="100"/>
                </a:lnTo>
                <a:lnTo>
                  <a:pt x="43" y="93"/>
                </a:lnTo>
                <a:lnTo>
                  <a:pt x="84" y="62"/>
                </a:lnTo>
                <a:lnTo>
                  <a:pt x="82" y="56"/>
                </a:lnTo>
                <a:lnTo>
                  <a:pt x="69" y="51"/>
                </a:lnTo>
                <a:close/>
              </a:path>
            </a:pathLst>
          </a:custGeom>
          <a:solidFill>
            <a:schemeClr val="accent1"/>
          </a:solidFill>
          <a:ln w="6350">
            <a:solidFill>
              <a:schemeClr val="tx2"/>
            </a:solidFill>
            <a:round/>
            <a:headEnd/>
            <a:tailEnd/>
          </a:ln>
        </p:spPr>
        <p:txBody>
          <a:bodyPr/>
          <a:lstStyle/>
          <a:p>
            <a:endParaRPr lang="en-US"/>
          </a:p>
        </p:txBody>
      </p:sp>
      <p:sp>
        <p:nvSpPr>
          <p:cNvPr id="650" name="Freeform 1422"/>
          <p:cNvSpPr>
            <a:spLocks/>
          </p:cNvSpPr>
          <p:nvPr/>
        </p:nvSpPr>
        <p:spPr bwMode="auto">
          <a:xfrm>
            <a:off x="7015973" y="3507733"/>
            <a:ext cx="289534" cy="196143"/>
          </a:xfrm>
          <a:custGeom>
            <a:avLst/>
            <a:gdLst>
              <a:gd name="T0" fmla="*/ 2147483647 w 617"/>
              <a:gd name="T1" fmla="*/ 2147483647 h 471"/>
              <a:gd name="T2" fmla="*/ 2147483647 w 617"/>
              <a:gd name="T3" fmla="*/ 2147483647 h 471"/>
              <a:gd name="T4" fmla="*/ 0 w 617"/>
              <a:gd name="T5" fmla="*/ 2147483647 h 471"/>
              <a:gd name="T6" fmla="*/ 2147483647 w 617"/>
              <a:gd name="T7" fmla="*/ 2147483647 h 471"/>
              <a:gd name="T8" fmla="*/ 2147483647 w 617"/>
              <a:gd name="T9" fmla="*/ 2147483647 h 471"/>
              <a:gd name="T10" fmla="*/ 2147483647 w 617"/>
              <a:gd name="T11" fmla="*/ 2147483647 h 471"/>
              <a:gd name="T12" fmla="*/ 2147483647 w 617"/>
              <a:gd name="T13" fmla="*/ 2147483647 h 471"/>
              <a:gd name="T14" fmla="*/ 2147483647 w 617"/>
              <a:gd name="T15" fmla="*/ 2147483647 h 471"/>
              <a:gd name="T16" fmla="*/ 2147483647 w 617"/>
              <a:gd name="T17" fmla="*/ 2147483647 h 471"/>
              <a:gd name="T18" fmla="*/ 2147483647 w 617"/>
              <a:gd name="T19" fmla="*/ 2147483647 h 471"/>
              <a:gd name="T20" fmla="*/ 2147483647 w 617"/>
              <a:gd name="T21" fmla="*/ 2147483647 h 471"/>
              <a:gd name="T22" fmla="*/ 2147483647 w 617"/>
              <a:gd name="T23" fmla="*/ 2147483647 h 471"/>
              <a:gd name="T24" fmla="*/ 2147483647 w 617"/>
              <a:gd name="T25" fmla="*/ 2147483647 h 471"/>
              <a:gd name="T26" fmla="*/ 2147483647 w 617"/>
              <a:gd name="T27" fmla="*/ 2147483647 h 471"/>
              <a:gd name="T28" fmla="*/ 2147483647 w 617"/>
              <a:gd name="T29" fmla="*/ 2147483647 h 471"/>
              <a:gd name="T30" fmla="*/ 2147483647 w 617"/>
              <a:gd name="T31" fmla="*/ 2147483647 h 471"/>
              <a:gd name="T32" fmla="*/ 2147483647 w 617"/>
              <a:gd name="T33" fmla="*/ 2147483647 h 471"/>
              <a:gd name="T34" fmla="*/ 2147483647 w 617"/>
              <a:gd name="T35" fmla="*/ 2147483647 h 471"/>
              <a:gd name="T36" fmla="*/ 2147483647 w 617"/>
              <a:gd name="T37" fmla="*/ 2147483647 h 471"/>
              <a:gd name="T38" fmla="*/ 2147483647 w 617"/>
              <a:gd name="T39" fmla="*/ 2147483647 h 471"/>
              <a:gd name="T40" fmla="*/ 2147483647 w 617"/>
              <a:gd name="T41" fmla="*/ 2147483647 h 471"/>
              <a:gd name="T42" fmla="*/ 2147483647 w 617"/>
              <a:gd name="T43" fmla="*/ 2147483647 h 471"/>
              <a:gd name="T44" fmla="*/ 2147483647 w 617"/>
              <a:gd name="T45" fmla="*/ 2147483647 h 471"/>
              <a:gd name="T46" fmla="*/ 2147483647 w 617"/>
              <a:gd name="T47" fmla="*/ 2147483647 h 471"/>
              <a:gd name="T48" fmla="*/ 2147483647 w 617"/>
              <a:gd name="T49" fmla="*/ 2147483647 h 471"/>
              <a:gd name="T50" fmla="*/ 2147483647 w 617"/>
              <a:gd name="T51" fmla="*/ 2147483647 h 471"/>
              <a:gd name="T52" fmla="*/ 2147483647 w 617"/>
              <a:gd name="T53" fmla="*/ 2147483647 h 471"/>
              <a:gd name="T54" fmla="*/ 2147483647 w 617"/>
              <a:gd name="T55" fmla="*/ 2147483647 h 471"/>
              <a:gd name="T56" fmla="*/ 2147483647 w 617"/>
              <a:gd name="T57" fmla="*/ 2147483647 h 471"/>
              <a:gd name="T58" fmla="*/ 2147483647 w 617"/>
              <a:gd name="T59" fmla="*/ 2147483647 h 471"/>
              <a:gd name="T60" fmla="*/ 2147483647 w 617"/>
              <a:gd name="T61" fmla="*/ 2147483647 h 471"/>
              <a:gd name="T62" fmla="*/ 2147483647 w 617"/>
              <a:gd name="T63" fmla="*/ 2147483647 h 471"/>
              <a:gd name="T64" fmla="*/ 2147483647 w 617"/>
              <a:gd name="T65" fmla="*/ 2147483647 h 471"/>
              <a:gd name="T66" fmla="*/ 2147483647 w 617"/>
              <a:gd name="T67" fmla="*/ 2147483647 h 471"/>
              <a:gd name="T68" fmla="*/ 2147483647 w 617"/>
              <a:gd name="T69" fmla="*/ 2147483647 h 471"/>
              <a:gd name="T70" fmla="*/ 2147483647 w 617"/>
              <a:gd name="T71" fmla="*/ 2147483647 h 471"/>
              <a:gd name="T72" fmla="*/ 2147483647 w 617"/>
              <a:gd name="T73" fmla="*/ 2147483647 h 471"/>
              <a:gd name="T74" fmla="*/ 2147483647 w 617"/>
              <a:gd name="T75" fmla="*/ 2147483647 h 471"/>
              <a:gd name="T76" fmla="*/ 2147483647 w 617"/>
              <a:gd name="T77" fmla="*/ 2147483647 h 471"/>
              <a:gd name="T78" fmla="*/ 2147483647 w 617"/>
              <a:gd name="T79" fmla="*/ 2147483647 h 471"/>
              <a:gd name="T80" fmla="*/ 2147483647 w 617"/>
              <a:gd name="T81" fmla="*/ 2147483647 h 471"/>
              <a:gd name="T82" fmla="*/ 2147483647 w 617"/>
              <a:gd name="T83" fmla="*/ 2147483647 h 471"/>
              <a:gd name="T84" fmla="*/ 2147483647 w 617"/>
              <a:gd name="T85" fmla="*/ 2147483647 h 471"/>
              <a:gd name="T86" fmla="*/ 2147483647 w 617"/>
              <a:gd name="T87" fmla="*/ 2147483647 h 471"/>
              <a:gd name="T88" fmla="*/ 2147483647 w 617"/>
              <a:gd name="T89" fmla="*/ 2147483647 h 471"/>
              <a:gd name="T90" fmla="*/ 2147483647 w 617"/>
              <a:gd name="T91" fmla="*/ 2147483647 h 471"/>
              <a:gd name="T92" fmla="*/ 2147483647 w 617"/>
              <a:gd name="T93" fmla="*/ 2147483647 h 471"/>
              <a:gd name="T94" fmla="*/ 2147483647 w 617"/>
              <a:gd name="T95" fmla="*/ 2147483647 h 471"/>
              <a:gd name="T96" fmla="*/ 2147483647 w 617"/>
              <a:gd name="T97" fmla="*/ 2147483647 h 471"/>
              <a:gd name="T98" fmla="*/ 2147483647 w 617"/>
              <a:gd name="T99" fmla="*/ 2147483647 h 471"/>
              <a:gd name="T100" fmla="*/ 2147483647 w 617"/>
              <a:gd name="T101" fmla="*/ 2147483647 h 4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471"/>
              <a:gd name="T155" fmla="*/ 617 w 617"/>
              <a:gd name="T156" fmla="*/ 471 h 4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471">
                <a:moveTo>
                  <a:pt x="32" y="151"/>
                </a:moveTo>
                <a:lnTo>
                  <a:pt x="27" y="192"/>
                </a:lnTo>
                <a:lnTo>
                  <a:pt x="17" y="208"/>
                </a:lnTo>
                <a:lnTo>
                  <a:pt x="17" y="220"/>
                </a:lnTo>
                <a:lnTo>
                  <a:pt x="0" y="228"/>
                </a:lnTo>
                <a:lnTo>
                  <a:pt x="0" y="235"/>
                </a:lnTo>
                <a:lnTo>
                  <a:pt x="0" y="251"/>
                </a:lnTo>
                <a:lnTo>
                  <a:pt x="11" y="254"/>
                </a:lnTo>
                <a:lnTo>
                  <a:pt x="12" y="262"/>
                </a:lnTo>
                <a:lnTo>
                  <a:pt x="3" y="290"/>
                </a:lnTo>
                <a:lnTo>
                  <a:pt x="10" y="313"/>
                </a:lnTo>
                <a:lnTo>
                  <a:pt x="11" y="350"/>
                </a:lnTo>
                <a:lnTo>
                  <a:pt x="18" y="358"/>
                </a:lnTo>
                <a:lnTo>
                  <a:pt x="39" y="362"/>
                </a:lnTo>
                <a:lnTo>
                  <a:pt x="52" y="383"/>
                </a:lnTo>
                <a:lnTo>
                  <a:pt x="47" y="407"/>
                </a:lnTo>
                <a:lnTo>
                  <a:pt x="28" y="429"/>
                </a:lnTo>
                <a:lnTo>
                  <a:pt x="18" y="450"/>
                </a:lnTo>
                <a:lnTo>
                  <a:pt x="85" y="471"/>
                </a:lnTo>
                <a:lnTo>
                  <a:pt x="129" y="465"/>
                </a:lnTo>
                <a:lnTo>
                  <a:pt x="155" y="470"/>
                </a:lnTo>
                <a:lnTo>
                  <a:pt x="168" y="461"/>
                </a:lnTo>
                <a:lnTo>
                  <a:pt x="197" y="462"/>
                </a:lnTo>
                <a:lnTo>
                  <a:pt x="246" y="450"/>
                </a:lnTo>
                <a:lnTo>
                  <a:pt x="253" y="445"/>
                </a:lnTo>
                <a:lnTo>
                  <a:pt x="250" y="433"/>
                </a:lnTo>
                <a:lnTo>
                  <a:pt x="255" y="396"/>
                </a:lnTo>
                <a:lnTo>
                  <a:pt x="271" y="377"/>
                </a:lnTo>
                <a:lnTo>
                  <a:pt x="312" y="375"/>
                </a:lnTo>
                <a:lnTo>
                  <a:pt x="314" y="371"/>
                </a:lnTo>
                <a:lnTo>
                  <a:pt x="307" y="367"/>
                </a:lnTo>
                <a:lnTo>
                  <a:pt x="328" y="351"/>
                </a:lnTo>
                <a:lnTo>
                  <a:pt x="346" y="355"/>
                </a:lnTo>
                <a:lnTo>
                  <a:pt x="343" y="351"/>
                </a:lnTo>
                <a:lnTo>
                  <a:pt x="348" y="349"/>
                </a:lnTo>
                <a:lnTo>
                  <a:pt x="362" y="361"/>
                </a:lnTo>
                <a:lnTo>
                  <a:pt x="379" y="344"/>
                </a:lnTo>
                <a:lnTo>
                  <a:pt x="376" y="320"/>
                </a:lnTo>
                <a:lnTo>
                  <a:pt x="384" y="309"/>
                </a:lnTo>
                <a:lnTo>
                  <a:pt x="390" y="284"/>
                </a:lnTo>
                <a:lnTo>
                  <a:pt x="406" y="283"/>
                </a:lnTo>
                <a:lnTo>
                  <a:pt x="423" y="270"/>
                </a:lnTo>
                <a:lnTo>
                  <a:pt x="416" y="252"/>
                </a:lnTo>
                <a:lnTo>
                  <a:pt x="407" y="244"/>
                </a:lnTo>
                <a:lnTo>
                  <a:pt x="408" y="237"/>
                </a:lnTo>
                <a:lnTo>
                  <a:pt x="438" y="240"/>
                </a:lnTo>
                <a:lnTo>
                  <a:pt x="452" y="236"/>
                </a:lnTo>
                <a:lnTo>
                  <a:pt x="460" y="219"/>
                </a:lnTo>
                <a:lnTo>
                  <a:pt x="453" y="211"/>
                </a:lnTo>
                <a:lnTo>
                  <a:pt x="479" y="179"/>
                </a:lnTo>
                <a:lnTo>
                  <a:pt x="480" y="162"/>
                </a:lnTo>
                <a:lnTo>
                  <a:pt x="474" y="143"/>
                </a:lnTo>
                <a:lnTo>
                  <a:pt x="462" y="131"/>
                </a:lnTo>
                <a:lnTo>
                  <a:pt x="465" y="124"/>
                </a:lnTo>
                <a:lnTo>
                  <a:pt x="480" y="109"/>
                </a:lnTo>
                <a:lnTo>
                  <a:pt x="490" y="110"/>
                </a:lnTo>
                <a:lnTo>
                  <a:pt x="502" y="98"/>
                </a:lnTo>
                <a:lnTo>
                  <a:pt x="523" y="90"/>
                </a:lnTo>
                <a:lnTo>
                  <a:pt x="570" y="86"/>
                </a:lnTo>
                <a:lnTo>
                  <a:pt x="590" y="89"/>
                </a:lnTo>
                <a:lnTo>
                  <a:pt x="609" y="79"/>
                </a:lnTo>
                <a:lnTo>
                  <a:pt x="602" y="72"/>
                </a:lnTo>
                <a:lnTo>
                  <a:pt x="614" y="66"/>
                </a:lnTo>
                <a:lnTo>
                  <a:pt x="617" y="61"/>
                </a:lnTo>
                <a:lnTo>
                  <a:pt x="602" y="58"/>
                </a:lnTo>
                <a:lnTo>
                  <a:pt x="575" y="68"/>
                </a:lnTo>
                <a:lnTo>
                  <a:pt x="572" y="57"/>
                </a:lnTo>
                <a:lnTo>
                  <a:pt x="559" y="55"/>
                </a:lnTo>
                <a:lnTo>
                  <a:pt x="526" y="78"/>
                </a:lnTo>
                <a:lnTo>
                  <a:pt x="481" y="98"/>
                </a:lnTo>
                <a:lnTo>
                  <a:pt x="469" y="72"/>
                </a:lnTo>
                <a:lnTo>
                  <a:pt x="475" y="32"/>
                </a:lnTo>
                <a:lnTo>
                  <a:pt x="464" y="28"/>
                </a:lnTo>
                <a:lnTo>
                  <a:pt x="466" y="11"/>
                </a:lnTo>
                <a:lnTo>
                  <a:pt x="449" y="0"/>
                </a:lnTo>
                <a:lnTo>
                  <a:pt x="439" y="2"/>
                </a:lnTo>
                <a:lnTo>
                  <a:pt x="417" y="32"/>
                </a:lnTo>
                <a:lnTo>
                  <a:pt x="421" y="41"/>
                </a:lnTo>
                <a:lnTo>
                  <a:pt x="415" y="50"/>
                </a:lnTo>
                <a:lnTo>
                  <a:pt x="389" y="47"/>
                </a:lnTo>
                <a:lnTo>
                  <a:pt x="382" y="56"/>
                </a:lnTo>
                <a:lnTo>
                  <a:pt x="384" y="68"/>
                </a:lnTo>
                <a:lnTo>
                  <a:pt x="381" y="72"/>
                </a:lnTo>
                <a:lnTo>
                  <a:pt x="363" y="63"/>
                </a:lnTo>
                <a:lnTo>
                  <a:pt x="325" y="80"/>
                </a:lnTo>
                <a:lnTo>
                  <a:pt x="311" y="65"/>
                </a:lnTo>
                <a:lnTo>
                  <a:pt x="258" y="59"/>
                </a:lnTo>
                <a:lnTo>
                  <a:pt x="248" y="60"/>
                </a:lnTo>
                <a:lnTo>
                  <a:pt x="225" y="51"/>
                </a:lnTo>
                <a:lnTo>
                  <a:pt x="219" y="54"/>
                </a:lnTo>
                <a:lnTo>
                  <a:pt x="216" y="65"/>
                </a:lnTo>
                <a:lnTo>
                  <a:pt x="192" y="65"/>
                </a:lnTo>
                <a:lnTo>
                  <a:pt x="184" y="75"/>
                </a:lnTo>
                <a:lnTo>
                  <a:pt x="175" y="115"/>
                </a:lnTo>
                <a:lnTo>
                  <a:pt x="140" y="135"/>
                </a:lnTo>
                <a:lnTo>
                  <a:pt x="115" y="140"/>
                </a:lnTo>
                <a:lnTo>
                  <a:pt x="120" y="148"/>
                </a:lnTo>
                <a:lnTo>
                  <a:pt x="113" y="163"/>
                </a:lnTo>
                <a:lnTo>
                  <a:pt x="97" y="173"/>
                </a:lnTo>
                <a:lnTo>
                  <a:pt x="78" y="174"/>
                </a:lnTo>
                <a:lnTo>
                  <a:pt x="64" y="162"/>
                </a:lnTo>
                <a:lnTo>
                  <a:pt x="45" y="162"/>
                </a:lnTo>
                <a:lnTo>
                  <a:pt x="32" y="151"/>
                </a:lnTo>
                <a:close/>
              </a:path>
            </a:pathLst>
          </a:custGeom>
          <a:solidFill>
            <a:schemeClr val="accent1"/>
          </a:solidFill>
          <a:ln w="6350">
            <a:solidFill>
              <a:schemeClr val="tx2"/>
            </a:solidFill>
            <a:round/>
            <a:headEnd/>
            <a:tailEnd/>
          </a:ln>
        </p:spPr>
        <p:txBody>
          <a:bodyPr/>
          <a:lstStyle/>
          <a:p>
            <a:endParaRPr lang="en-US"/>
          </a:p>
        </p:txBody>
      </p:sp>
      <p:sp>
        <p:nvSpPr>
          <p:cNvPr id="651" name="Freeform 1423"/>
          <p:cNvSpPr>
            <a:spLocks/>
          </p:cNvSpPr>
          <p:nvPr/>
        </p:nvSpPr>
        <p:spPr bwMode="auto">
          <a:xfrm>
            <a:off x="7155007" y="3444050"/>
            <a:ext cx="151934" cy="103165"/>
          </a:xfrm>
          <a:custGeom>
            <a:avLst/>
            <a:gdLst>
              <a:gd name="T0" fmla="*/ 2147483647 w 330"/>
              <a:gd name="T1" fmla="*/ 2147483647 h 247"/>
              <a:gd name="T2" fmla="*/ 2147483647 w 330"/>
              <a:gd name="T3" fmla="*/ 2147483647 h 247"/>
              <a:gd name="T4" fmla="*/ 2147483647 w 330"/>
              <a:gd name="T5" fmla="*/ 2147483647 h 247"/>
              <a:gd name="T6" fmla="*/ 2147483647 w 330"/>
              <a:gd name="T7" fmla="*/ 2147483647 h 247"/>
              <a:gd name="T8" fmla="*/ 2147483647 w 330"/>
              <a:gd name="T9" fmla="*/ 2147483647 h 247"/>
              <a:gd name="T10" fmla="*/ 2147483647 w 330"/>
              <a:gd name="T11" fmla="*/ 2147483647 h 247"/>
              <a:gd name="T12" fmla="*/ 2147483647 w 330"/>
              <a:gd name="T13" fmla="*/ 2147483647 h 247"/>
              <a:gd name="T14" fmla="*/ 2147483647 w 330"/>
              <a:gd name="T15" fmla="*/ 2147483647 h 247"/>
              <a:gd name="T16" fmla="*/ 2147483647 w 330"/>
              <a:gd name="T17" fmla="*/ 2147483647 h 247"/>
              <a:gd name="T18" fmla="*/ 2147483647 w 330"/>
              <a:gd name="T19" fmla="*/ 2147483647 h 247"/>
              <a:gd name="T20" fmla="*/ 2147483647 w 330"/>
              <a:gd name="T21" fmla="*/ 2147483647 h 247"/>
              <a:gd name="T22" fmla="*/ 2147483647 w 330"/>
              <a:gd name="T23" fmla="*/ 2147483647 h 247"/>
              <a:gd name="T24" fmla="*/ 2147483647 w 330"/>
              <a:gd name="T25" fmla="*/ 2147483647 h 247"/>
              <a:gd name="T26" fmla="*/ 2147483647 w 330"/>
              <a:gd name="T27" fmla="*/ 2147483647 h 247"/>
              <a:gd name="T28" fmla="*/ 2147483647 w 330"/>
              <a:gd name="T29" fmla="*/ 2147483647 h 247"/>
              <a:gd name="T30" fmla="*/ 2147483647 w 330"/>
              <a:gd name="T31" fmla="*/ 2147483647 h 247"/>
              <a:gd name="T32" fmla="*/ 2147483647 w 330"/>
              <a:gd name="T33" fmla="*/ 2147483647 h 247"/>
              <a:gd name="T34" fmla="*/ 2147483647 w 330"/>
              <a:gd name="T35" fmla="*/ 2147483647 h 247"/>
              <a:gd name="T36" fmla="*/ 2147483647 w 330"/>
              <a:gd name="T37" fmla="*/ 2147483647 h 247"/>
              <a:gd name="T38" fmla="*/ 2147483647 w 330"/>
              <a:gd name="T39" fmla="*/ 2147483647 h 247"/>
              <a:gd name="T40" fmla="*/ 2147483647 w 330"/>
              <a:gd name="T41" fmla="*/ 2147483647 h 247"/>
              <a:gd name="T42" fmla="*/ 2147483647 w 330"/>
              <a:gd name="T43" fmla="*/ 2147483647 h 247"/>
              <a:gd name="T44" fmla="*/ 2147483647 w 330"/>
              <a:gd name="T45" fmla="*/ 2147483647 h 247"/>
              <a:gd name="T46" fmla="*/ 2147483647 w 330"/>
              <a:gd name="T47" fmla="*/ 2147483647 h 247"/>
              <a:gd name="T48" fmla="*/ 2147483647 w 330"/>
              <a:gd name="T49" fmla="*/ 0 h 247"/>
              <a:gd name="T50" fmla="*/ 2147483647 w 330"/>
              <a:gd name="T51" fmla="*/ 2147483647 h 247"/>
              <a:gd name="T52" fmla="*/ 2147483647 w 330"/>
              <a:gd name="T53" fmla="*/ 2147483647 h 247"/>
              <a:gd name="T54" fmla="*/ 2147483647 w 330"/>
              <a:gd name="T55" fmla="*/ 2147483647 h 247"/>
              <a:gd name="T56" fmla="*/ 2147483647 w 330"/>
              <a:gd name="T57" fmla="*/ 2147483647 h 247"/>
              <a:gd name="T58" fmla="*/ 2147483647 w 330"/>
              <a:gd name="T59" fmla="*/ 2147483647 h 247"/>
              <a:gd name="T60" fmla="*/ 2147483647 w 330"/>
              <a:gd name="T61" fmla="*/ 2147483647 h 247"/>
              <a:gd name="T62" fmla="*/ 2147483647 w 330"/>
              <a:gd name="T63" fmla="*/ 2147483647 h 247"/>
              <a:gd name="T64" fmla="*/ 2147483647 w 330"/>
              <a:gd name="T65" fmla="*/ 2147483647 h 247"/>
              <a:gd name="T66" fmla="*/ 2147483647 w 330"/>
              <a:gd name="T67" fmla="*/ 2147483647 h 247"/>
              <a:gd name="T68" fmla="*/ 2147483647 w 330"/>
              <a:gd name="T69" fmla="*/ 2147483647 h 247"/>
              <a:gd name="T70" fmla="*/ 2147483647 w 330"/>
              <a:gd name="T71" fmla="*/ 2147483647 h 2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0"/>
              <a:gd name="T109" fmla="*/ 0 h 247"/>
              <a:gd name="T110" fmla="*/ 330 w 330"/>
              <a:gd name="T111" fmla="*/ 247 h 2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0" h="247">
                <a:moveTo>
                  <a:pt x="280" y="86"/>
                </a:moveTo>
                <a:lnTo>
                  <a:pt x="274" y="129"/>
                </a:lnTo>
                <a:lnTo>
                  <a:pt x="278" y="144"/>
                </a:lnTo>
                <a:lnTo>
                  <a:pt x="286" y="149"/>
                </a:lnTo>
                <a:lnTo>
                  <a:pt x="315" y="145"/>
                </a:lnTo>
                <a:lnTo>
                  <a:pt x="322" y="154"/>
                </a:lnTo>
                <a:lnTo>
                  <a:pt x="322" y="170"/>
                </a:lnTo>
                <a:lnTo>
                  <a:pt x="330" y="189"/>
                </a:lnTo>
                <a:lnTo>
                  <a:pt x="330" y="216"/>
                </a:lnTo>
                <a:lnTo>
                  <a:pt x="320" y="215"/>
                </a:lnTo>
                <a:lnTo>
                  <a:pt x="323" y="210"/>
                </a:lnTo>
                <a:lnTo>
                  <a:pt x="308" y="207"/>
                </a:lnTo>
                <a:lnTo>
                  <a:pt x="281" y="217"/>
                </a:lnTo>
                <a:lnTo>
                  <a:pt x="278" y="206"/>
                </a:lnTo>
                <a:lnTo>
                  <a:pt x="265" y="204"/>
                </a:lnTo>
                <a:lnTo>
                  <a:pt x="232" y="227"/>
                </a:lnTo>
                <a:lnTo>
                  <a:pt x="187" y="247"/>
                </a:lnTo>
                <a:lnTo>
                  <a:pt x="175" y="221"/>
                </a:lnTo>
                <a:lnTo>
                  <a:pt x="181" y="181"/>
                </a:lnTo>
                <a:lnTo>
                  <a:pt x="170" y="177"/>
                </a:lnTo>
                <a:lnTo>
                  <a:pt x="172" y="160"/>
                </a:lnTo>
                <a:lnTo>
                  <a:pt x="155" y="149"/>
                </a:lnTo>
                <a:lnTo>
                  <a:pt x="145" y="151"/>
                </a:lnTo>
                <a:lnTo>
                  <a:pt x="123" y="181"/>
                </a:lnTo>
                <a:lnTo>
                  <a:pt x="127" y="190"/>
                </a:lnTo>
                <a:lnTo>
                  <a:pt x="121" y="199"/>
                </a:lnTo>
                <a:lnTo>
                  <a:pt x="95" y="196"/>
                </a:lnTo>
                <a:lnTo>
                  <a:pt x="88" y="205"/>
                </a:lnTo>
                <a:lnTo>
                  <a:pt x="90" y="217"/>
                </a:lnTo>
                <a:lnTo>
                  <a:pt x="87" y="221"/>
                </a:lnTo>
                <a:lnTo>
                  <a:pt x="69" y="212"/>
                </a:lnTo>
                <a:lnTo>
                  <a:pt x="31" y="229"/>
                </a:lnTo>
                <a:lnTo>
                  <a:pt x="17" y="214"/>
                </a:lnTo>
                <a:lnTo>
                  <a:pt x="19" y="210"/>
                </a:lnTo>
                <a:lnTo>
                  <a:pt x="18" y="199"/>
                </a:lnTo>
                <a:lnTo>
                  <a:pt x="23" y="189"/>
                </a:lnTo>
                <a:lnTo>
                  <a:pt x="43" y="163"/>
                </a:lnTo>
                <a:lnTo>
                  <a:pt x="29" y="135"/>
                </a:lnTo>
                <a:lnTo>
                  <a:pt x="32" y="117"/>
                </a:lnTo>
                <a:lnTo>
                  <a:pt x="14" y="114"/>
                </a:lnTo>
                <a:lnTo>
                  <a:pt x="0" y="99"/>
                </a:lnTo>
                <a:lnTo>
                  <a:pt x="6" y="96"/>
                </a:lnTo>
                <a:lnTo>
                  <a:pt x="9" y="83"/>
                </a:lnTo>
                <a:lnTo>
                  <a:pt x="50" y="82"/>
                </a:lnTo>
                <a:lnTo>
                  <a:pt x="59" y="59"/>
                </a:lnTo>
                <a:lnTo>
                  <a:pt x="82" y="49"/>
                </a:lnTo>
                <a:lnTo>
                  <a:pt x="81" y="32"/>
                </a:lnTo>
                <a:lnTo>
                  <a:pt x="87" y="21"/>
                </a:lnTo>
                <a:lnTo>
                  <a:pt x="103" y="21"/>
                </a:lnTo>
                <a:lnTo>
                  <a:pt x="134" y="0"/>
                </a:lnTo>
                <a:lnTo>
                  <a:pt x="140" y="0"/>
                </a:lnTo>
                <a:lnTo>
                  <a:pt x="146" y="17"/>
                </a:lnTo>
                <a:lnTo>
                  <a:pt x="131" y="31"/>
                </a:lnTo>
                <a:lnTo>
                  <a:pt x="136" y="42"/>
                </a:lnTo>
                <a:lnTo>
                  <a:pt x="139" y="48"/>
                </a:lnTo>
                <a:lnTo>
                  <a:pt x="154" y="44"/>
                </a:lnTo>
                <a:lnTo>
                  <a:pt x="136" y="62"/>
                </a:lnTo>
                <a:lnTo>
                  <a:pt x="118" y="54"/>
                </a:lnTo>
                <a:lnTo>
                  <a:pt x="99" y="54"/>
                </a:lnTo>
                <a:lnTo>
                  <a:pt x="82" y="62"/>
                </a:lnTo>
                <a:lnTo>
                  <a:pt x="82" y="80"/>
                </a:lnTo>
                <a:lnTo>
                  <a:pt x="86" y="85"/>
                </a:lnTo>
                <a:lnTo>
                  <a:pt x="136" y="83"/>
                </a:lnTo>
                <a:lnTo>
                  <a:pt x="152" y="91"/>
                </a:lnTo>
                <a:lnTo>
                  <a:pt x="175" y="84"/>
                </a:lnTo>
                <a:lnTo>
                  <a:pt x="187" y="88"/>
                </a:lnTo>
                <a:lnTo>
                  <a:pt x="191" y="101"/>
                </a:lnTo>
                <a:lnTo>
                  <a:pt x="210" y="102"/>
                </a:lnTo>
                <a:lnTo>
                  <a:pt x="235" y="95"/>
                </a:lnTo>
                <a:lnTo>
                  <a:pt x="263" y="96"/>
                </a:lnTo>
                <a:lnTo>
                  <a:pt x="265" y="83"/>
                </a:lnTo>
                <a:lnTo>
                  <a:pt x="280" y="86"/>
                </a:lnTo>
                <a:close/>
              </a:path>
            </a:pathLst>
          </a:custGeom>
          <a:solidFill>
            <a:schemeClr val="accent1"/>
          </a:solidFill>
          <a:ln w="6350">
            <a:solidFill>
              <a:schemeClr val="tx2"/>
            </a:solidFill>
            <a:round/>
            <a:headEnd/>
            <a:tailEnd/>
          </a:ln>
        </p:spPr>
        <p:txBody>
          <a:bodyPr/>
          <a:lstStyle/>
          <a:p>
            <a:endParaRPr lang="en-US"/>
          </a:p>
        </p:txBody>
      </p:sp>
      <p:sp>
        <p:nvSpPr>
          <p:cNvPr id="652" name="Freeform 1424"/>
          <p:cNvSpPr>
            <a:spLocks/>
          </p:cNvSpPr>
          <p:nvPr/>
        </p:nvSpPr>
        <p:spPr bwMode="auto">
          <a:xfrm>
            <a:off x="6854006" y="3403293"/>
            <a:ext cx="283802" cy="177038"/>
          </a:xfrm>
          <a:custGeom>
            <a:avLst/>
            <a:gdLst>
              <a:gd name="T0" fmla="*/ 2147483647 w 609"/>
              <a:gd name="T1" fmla="*/ 2147483647 h 422"/>
              <a:gd name="T2" fmla="*/ 2147483647 w 609"/>
              <a:gd name="T3" fmla="*/ 2147483647 h 422"/>
              <a:gd name="T4" fmla="*/ 2147483647 w 609"/>
              <a:gd name="T5" fmla="*/ 2147483647 h 422"/>
              <a:gd name="T6" fmla="*/ 2147483647 w 609"/>
              <a:gd name="T7" fmla="*/ 2147483647 h 422"/>
              <a:gd name="T8" fmla="*/ 2147483647 w 609"/>
              <a:gd name="T9" fmla="*/ 2147483647 h 422"/>
              <a:gd name="T10" fmla="*/ 2147483647 w 609"/>
              <a:gd name="T11" fmla="*/ 2147483647 h 422"/>
              <a:gd name="T12" fmla="*/ 2147483647 w 609"/>
              <a:gd name="T13" fmla="*/ 2147483647 h 422"/>
              <a:gd name="T14" fmla="*/ 2147483647 w 609"/>
              <a:gd name="T15" fmla="*/ 2147483647 h 422"/>
              <a:gd name="T16" fmla="*/ 2147483647 w 609"/>
              <a:gd name="T17" fmla="*/ 2147483647 h 422"/>
              <a:gd name="T18" fmla="*/ 2147483647 w 609"/>
              <a:gd name="T19" fmla="*/ 2147483647 h 422"/>
              <a:gd name="T20" fmla="*/ 2147483647 w 609"/>
              <a:gd name="T21" fmla="*/ 2147483647 h 422"/>
              <a:gd name="T22" fmla="*/ 2147483647 w 609"/>
              <a:gd name="T23" fmla="*/ 2147483647 h 422"/>
              <a:gd name="T24" fmla="*/ 2147483647 w 609"/>
              <a:gd name="T25" fmla="*/ 2147483647 h 422"/>
              <a:gd name="T26" fmla="*/ 2147483647 w 609"/>
              <a:gd name="T27" fmla="*/ 2147483647 h 422"/>
              <a:gd name="T28" fmla="*/ 2147483647 w 609"/>
              <a:gd name="T29" fmla="*/ 2147483647 h 422"/>
              <a:gd name="T30" fmla="*/ 2147483647 w 609"/>
              <a:gd name="T31" fmla="*/ 2147483647 h 422"/>
              <a:gd name="T32" fmla="*/ 2147483647 w 609"/>
              <a:gd name="T33" fmla="*/ 2147483647 h 422"/>
              <a:gd name="T34" fmla="*/ 2147483647 w 609"/>
              <a:gd name="T35" fmla="*/ 2147483647 h 422"/>
              <a:gd name="T36" fmla="*/ 2147483647 w 609"/>
              <a:gd name="T37" fmla="*/ 2147483647 h 422"/>
              <a:gd name="T38" fmla="*/ 2147483647 w 609"/>
              <a:gd name="T39" fmla="*/ 2147483647 h 422"/>
              <a:gd name="T40" fmla="*/ 2147483647 w 609"/>
              <a:gd name="T41" fmla="*/ 2147483647 h 422"/>
              <a:gd name="T42" fmla="*/ 2147483647 w 609"/>
              <a:gd name="T43" fmla="*/ 2147483647 h 422"/>
              <a:gd name="T44" fmla="*/ 2147483647 w 609"/>
              <a:gd name="T45" fmla="*/ 2147483647 h 422"/>
              <a:gd name="T46" fmla="*/ 2147483647 w 609"/>
              <a:gd name="T47" fmla="*/ 2147483647 h 422"/>
              <a:gd name="T48" fmla="*/ 2147483647 w 609"/>
              <a:gd name="T49" fmla="*/ 2147483647 h 422"/>
              <a:gd name="T50" fmla="*/ 2147483647 w 609"/>
              <a:gd name="T51" fmla="*/ 2147483647 h 422"/>
              <a:gd name="T52" fmla="*/ 2147483647 w 609"/>
              <a:gd name="T53" fmla="*/ 2147483647 h 422"/>
              <a:gd name="T54" fmla="*/ 2147483647 w 609"/>
              <a:gd name="T55" fmla="*/ 2147483647 h 422"/>
              <a:gd name="T56" fmla="*/ 2147483647 w 609"/>
              <a:gd name="T57" fmla="*/ 2147483647 h 422"/>
              <a:gd name="T58" fmla="*/ 2147483647 w 609"/>
              <a:gd name="T59" fmla="*/ 2147483647 h 422"/>
              <a:gd name="T60" fmla="*/ 2147483647 w 609"/>
              <a:gd name="T61" fmla="*/ 2147483647 h 422"/>
              <a:gd name="T62" fmla="*/ 2147483647 w 609"/>
              <a:gd name="T63" fmla="*/ 2147483647 h 422"/>
              <a:gd name="T64" fmla="*/ 2147483647 w 609"/>
              <a:gd name="T65" fmla="*/ 2147483647 h 422"/>
              <a:gd name="T66" fmla="*/ 2147483647 w 609"/>
              <a:gd name="T67" fmla="*/ 2147483647 h 422"/>
              <a:gd name="T68" fmla="*/ 2147483647 w 609"/>
              <a:gd name="T69" fmla="*/ 2147483647 h 422"/>
              <a:gd name="T70" fmla="*/ 2147483647 w 609"/>
              <a:gd name="T71" fmla="*/ 2147483647 h 422"/>
              <a:gd name="T72" fmla="*/ 2147483647 w 609"/>
              <a:gd name="T73" fmla="*/ 2147483647 h 422"/>
              <a:gd name="T74" fmla="*/ 2147483647 w 609"/>
              <a:gd name="T75" fmla="*/ 2147483647 h 422"/>
              <a:gd name="T76" fmla="*/ 2147483647 w 609"/>
              <a:gd name="T77" fmla="*/ 2147483647 h 422"/>
              <a:gd name="T78" fmla="*/ 2147483647 w 609"/>
              <a:gd name="T79" fmla="*/ 2147483647 h 422"/>
              <a:gd name="T80" fmla="*/ 2147483647 w 609"/>
              <a:gd name="T81" fmla="*/ 2147483647 h 422"/>
              <a:gd name="T82" fmla="*/ 2147483647 w 609"/>
              <a:gd name="T83" fmla="*/ 2147483647 h 422"/>
              <a:gd name="T84" fmla="*/ 2147483647 w 609"/>
              <a:gd name="T85" fmla="*/ 2147483647 h 422"/>
              <a:gd name="T86" fmla="*/ 2147483647 w 609"/>
              <a:gd name="T87" fmla="*/ 2147483647 h 422"/>
              <a:gd name="T88" fmla="*/ 2147483647 w 609"/>
              <a:gd name="T89" fmla="*/ 2147483647 h 422"/>
              <a:gd name="T90" fmla="*/ 2147483647 w 609"/>
              <a:gd name="T91" fmla="*/ 2147483647 h 422"/>
              <a:gd name="T92" fmla="*/ 2147483647 w 609"/>
              <a:gd name="T93" fmla="*/ 2147483647 h 422"/>
              <a:gd name="T94" fmla="*/ 2147483647 w 609"/>
              <a:gd name="T95" fmla="*/ 2147483647 h 422"/>
              <a:gd name="T96" fmla="*/ 2147483647 w 609"/>
              <a:gd name="T97" fmla="*/ 2147483647 h 4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9"/>
              <a:gd name="T148" fmla="*/ 0 h 422"/>
              <a:gd name="T149" fmla="*/ 609 w 609"/>
              <a:gd name="T150" fmla="*/ 422 h 4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9" h="422">
                <a:moveTo>
                  <a:pt x="63" y="301"/>
                </a:moveTo>
                <a:lnTo>
                  <a:pt x="88" y="298"/>
                </a:lnTo>
                <a:lnTo>
                  <a:pt x="127" y="266"/>
                </a:lnTo>
                <a:lnTo>
                  <a:pt x="164" y="266"/>
                </a:lnTo>
                <a:lnTo>
                  <a:pt x="170" y="255"/>
                </a:lnTo>
                <a:lnTo>
                  <a:pt x="199" y="254"/>
                </a:lnTo>
                <a:lnTo>
                  <a:pt x="216" y="273"/>
                </a:lnTo>
                <a:lnTo>
                  <a:pt x="257" y="289"/>
                </a:lnTo>
                <a:lnTo>
                  <a:pt x="293" y="295"/>
                </a:lnTo>
                <a:lnTo>
                  <a:pt x="303" y="315"/>
                </a:lnTo>
                <a:lnTo>
                  <a:pt x="355" y="347"/>
                </a:lnTo>
                <a:lnTo>
                  <a:pt x="374" y="347"/>
                </a:lnTo>
                <a:lnTo>
                  <a:pt x="380" y="388"/>
                </a:lnTo>
                <a:lnTo>
                  <a:pt x="378" y="399"/>
                </a:lnTo>
                <a:lnTo>
                  <a:pt x="391" y="410"/>
                </a:lnTo>
                <a:lnTo>
                  <a:pt x="410" y="410"/>
                </a:lnTo>
                <a:lnTo>
                  <a:pt x="424" y="422"/>
                </a:lnTo>
                <a:lnTo>
                  <a:pt x="443" y="421"/>
                </a:lnTo>
                <a:lnTo>
                  <a:pt x="459" y="411"/>
                </a:lnTo>
                <a:lnTo>
                  <a:pt x="466" y="396"/>
                </a:lnTo>
                <a:lnTo>
                  <a:pt x="461" y="388"/>
                </a:lnTo>
                <a:lnTo>
                  <a:pt x="486" y="383"/>
                </a:lnTo>
                <a:lnTo>
                  <a:pt x="521" y="363"/>
                </a:lnTo>
                <a:lnTo>
                  <a:pt x="530" y="323"/>
                </a:lnTo>
                <a:lnTo>
                  <a:pt x="538" y="313"/>
                </a:lnTo>
                <a:lnTo>
                  <a:pt x="562" y="313"/>
                </a:lnTo>
                <a:lnTo>
                  <a:pt x="565" y="302"/>
                </a:lnTo>
                <a:lnTo>
                  <a:pt x="571" y="299"/>
                </a:lnTo>
                <a:lnTo>
                  <a:pt x="594" y="308"/>
                </a:lnTo>
                <a:lnTo>
                  <a:pt x="604" y="307"/>
                </a:lnTo>
                <a:lnTo>
                  <a:pt x="604" y="284"/>
                </a:lnTo>
                <a:lnTo>
                  <a:pt x="609" y="273"/>
                </a:lnTo>
                <a:lnTo>
                  <a:pt x="605" y="269"/>
                </a:lnTo>
                <a:lnTo>
                  <a:pt x="577" y="253"/>
                </a:lnTo>
                <a:lnTo>
                  <a:pt x="559" y="256"/>
                </a:lnTo>
                <a:lnTo>
                  <a:pt x="523" y="222"/>
                </a:lnTo>
                <a:lnTo>
                  <a:pt x="498" y="214"/>
                </a:lnTo>
                <a:lnTo>
                  <a:pt x="476" y="192"/>
                </a:lnTo>
                <a:lnTo>
                  <a:pt x="437" y="169"/>
                </a:lnTo>
                <a:lnTo>
                  <a:pt x="428" y="151"/>
                </a:lnTo>
                <a:lnTo>
                  <a:pt x="426" y="132"/>
                </a:lnTo>
                <a:lnTo>
                  <a:pt x="413" y="118"/>
                </a:lnTo>
                <a:lnTo>
                  <a:pt x="406" y="95"/>
                </a:lnTo>
                <a:lnTo>
                  <a:pt x="392" y="83"/>
                </a:lnTo>
                <a:lnTo>
                  <a:pt x="379" y="94"/>
                </a:lnTo>
                <a:lnTo>
                  <a:pt x="329" y="82"/>
                </a:lnTo>
                <a:lnTo>
                  <a:pt x="326" y="77"/>
                </a:lnTo>
                <a:lnTo>
                  <a:pt x="327" y="59"/>
                </a:lnTo>
                <a:lnTo>
                  <a:pt x="333" y="56"/>
                </a:lnTo>
                <a:lnTo>
                  <a:pt x="323" y="48"/>
                </a:lnTo>
                <a:lnTo>
                  <a:pt x="321" y="30"/>
                </a:lnTo>
                <a:lnTo>
                  <a:pt x="294" y="27"/>
                </a:lnTo>
                <a:lnTo>
                  <a:pt x="263" y="0"/>
                </a:lnTo>
                <a:lnTo>
                  <a:pt x="257" y="8"/>
                </a:lnTo>
                <a:lnTo>
                  <a:pt x="244" y="10"/>
                </a:lnTo>
                <a:lnTo>
                  <a:pt x="256" y="26"/>
                </a:lnTo>
                <a:lnTo>
                  <a:pt x="239" y="17"/>
                </a:lnTo>
                <a:lnTo>
                  <a:pt x="234" y="20"/>
                </a:lnTo>
                <a:lnTo>
                  <a:pt x="231" y="32"/>
                </a:lnTo>
                <a:lnTo>
                  <a:pt x="207" y="36"/>
                </a:lnTo>
                <a:lnTo>
                  <a:pt x="194" y="51"/>
                </a:lnTo>
                <a:lnTo>
                  <a:pt x="191" y="56"/>
                </a:lnTo>
                <a:lnTo>
                  <a:pt x="199" y="86"/>
                </a:lnTo>
                <a:lnTo>
                  <a:pt x="193" y="89"/>
                </a:lnTo>
                <a:lnTo>
                  <a:pt x="151" y="83"/>
                </a:lnTo>
                <a:lnTo>
                  <a:pt x="141" y="87"/>
                </a:lnTo>
                <a:lnTo>
                  <a:pt x="118" y="81"/>
                </a:lnTo>
                <a:lnTo>
                  <a:pt x="94" y="36"/>
                </a:lnTo>
                <a:lnTo>
                  <a:pt x="72" y="23"/>
                </a:lnTo>
                <a:lnTo>
                  <a:pt x="23" y="36"/>
                </a:lnTo>
                <a:lnTo>
                  <a:pt x="0" y="57"/>
                </a:lnTo>
                <a:lnTo>
                  <a:pt x="4" y="73"/>
                </a:lnTo>
                <a:lnTo>
                  <a:pt x="16" y="94"/>
                </a:lnTo>
                <a:lnTo>
                  <a:pt x="12" y="66"/>
                </a:lnTo>
                <a:lnTo>
                  <a:pt x="19" y="57"/>
                </a:lnTo>
                <a:lnTo>
                  <a:pt x="44" y="45"/>
                </a:lnTo>
                <a:lnTo>
                  <a:pt x="55" y="47"/>
                </a:lnTo>
                <a:lnTo>
                  <a:pt x="69" y="72"/>
                </a:lnTo>
                <a:lnTo>
                  <a:pt x="99" y="100"/>
                </a:lnTo>
                <a:lnTo>
                  <a:pt x="89" y="114"/>
                </a:lnTo>
                <a:lnTo>
                  <a:pt x="77" y="116"/>
                </a:lnTo>
                <a:lnTo>
                  <a:pt x="86" y="123"/>
                </a:lnTo>
                <a:lnTo>
                  <a:pt x="79" y="127"/>
                </a:lnTo>
                <a:lnTo>
                  <a:pt x="26" y="118"/>
                </a:lnTo>
                <a:lnTo>
                  <a:pt x="18" y="101"/>
                </a:lnTo>
                <a:lnTo>
                  <a:pt x="19" y="123"/>
                </a:lnTo>
                <a:lnTo>
                  <a:pt x="12" y="143"/>
                </a:lnTo>
                <a:lnTo>
                  <a:pt x="17" y="167"/>
                </a:lnTo>
                <a:lnTo>
                  <a:pt x="40" y="158"/>
                </a:lnTo>
                <a:lnTo>
                  <a:pt x="56" y="163"/>
                </a:lnTo>
                <a:lnTo>
                  <a:pt x="62" y="172"/>
                </a:lnTo>
                <a:lnTo>
                  <a:pt x="48" y="165"/>
                </a:lnTo>
                <a:lnTo>
                  <a:pt x="40" y="173"/>
                </a:lnTo>
                <a:lnTo>
                  <a:pt x="61" y="184"/>
                </a:lnTo>
                <a:lnTo>
                  <a:pt x="39" y="198"/>
                </a:lnTo>
                <a:lnTo>
                  <a:pt x="68" y="217"/>
                </a:lnTo>
                <a:lnTo>
                  <a:pt x="57" y="246"/>
                </a:lnTo>
                <a:lnTo>
                  <a:pt x="63" y="301"/>
                </a:lnTo>
                <a:close/>
              </a:path>
            </a:pathLst>
          </a:custGeom>
          <a:solidFill>
            <a:schemeClr val="accent1"/>
          </a:solidFill>
          <a:ln w="6350">
            <a:solidFill>
              <a:schemeClr val="tx2"/>
            </a:solidFill>
            <a:round/>
            <a:headEnd/>
            <a:tailEnd/>
          </a:ln>
        </p:spPr>
        <p:txBody>
          <a:bodyPr/>
          <a:lstStyle/>
          <a:p>
            <a:endParaRPr lang="en-US"/>
          </a:p>
        </p:txBody>
      </p:sp>
      <p:sp>
        <p:nvSpPr>
          <p:cNvPr id="653" name="Freeform 1425"/>
          <p:cNvSpPr>
            <a:spLocks/>
          </p:cNvSpPr>
          <p:nvPr/>
        </p:nvSpPr>
        <p:spPr bwMode="auto">
          <a:xfrm>
            <a:off x="7023140" y="3539573"/>
            <a:ext cx="339701" cy="276384"/>
          </a:xfrm>
          <a:custGeom>
            <a:avLst/>
            <a:gdLst>
              <a:gd name="T0" fmla="*/ 2147483647 w 723"/>
              <a:gd name="T1" fmla="*/ 2147483647 h 663"/>
              <a:gd name="T2" fmla="*/ 2147483647 w 723"/>
              <a:gd name="T3" fmla="*/ 2147483647 h 663"/>
              <a:gd name="T4" fmla="*/ 2147483647 w 723"/>
              <a:gd name="T5" fmla="*/ 2147483647 h 663"/>
              <a:gd name="T6" fmla="*/ 2147483647 w 723"/>
              <a:gd name="T7" fmla="*/ 2147483647 h 663"/>
              <a:gd name="T8" fmla="*/ 2147483647 w 723"/>
              <a:gd name="T9" fmla="*/ 2147483647 h 663"/>
              <a:gd name="T10" fmla="*/ 2147483647 w 723"/>
              <a:gd name="T11" fmla="*/ 2147483647 h 663"/>
              <a:gd name="T12" fmla="*/ 2147483647 w 723"/>
              <a:gd name="T13" fmla="*/ 2147483647 h 663"/>
              <a:gd name="T14" fmla="*/ 2147483647 w 723"/>
              <a:gd name="T15" fmla="*/ 2147483647 h 663"/>
              <a:gd name="T16" fmla="*/ 2147483647 w 723"/>
              <a:gd name="T17" fmla="*/ 2147483647 h 663"/>
              <a:gd name="T18" fmla="*/ 2147483647 w 723"/>
              <a:gd name="T19" fmla="*/ 2147483647 h 663"/>
              <a:gd name="T20" fmla="*/ 2147483647 w 723"/>
              <a:gd name="T21" fmla="*/ 2147483647 h 663"/>
              <a:gd name="T22" fmla="*/ 2147483647 w 723"/>
              <a:gd name="T23" fmla="*/ 2147483647 h 663"/>
              <a:gd name="T24" fmla="*/ 2147483647 w 723"/>
              <a:gd name="T25" fmla="*/ 2147483647 h 663"/>
              <a:gd name="T26" fmla="*/ 2147483647 w 723"/>
              <a:gd name="T27" fmla="*/ 2147483647 h 663"/>
              <a:gd name="T28" fmla="*/ 2147483647 w 723"/>
              <a:gd name="T29" fmla="*/ 2147483647 h 663"/>
              <a:gd name="T30" fmla="*/ 2147483647 w 723"/>
              <a:gd name="T31" fmla="*/ 2147483647 h 663"/>
              <a:gd name="T32" fmla="*/ 2147483647 w 723"/>
              <a:gd name="T33" fmla="*/ 2147483647 h 663"/>
              <a:gd name="T34" fmla="*/ 2147483647 w 723"/>
              <a:gd name="T35" fmla="*/ 2147483647 h 663"/>
              <a:gd name="T36" fmla="*/ 2147483647 w 723"/>
              <a:gd name="T37" fmla="*/ 2147483647 h 663"/>
              <a:gd name="T38" fmla="*/ 2147483647 w 723"/>
              <a:gd name="T39" fmla="*/ 2147483647 h 663"/>
              <a:gd name="T40" fmla="*/ 2147483647 w 723"/>
              <a:gd name="T41" fmla="*/ 2147483647 h 663"/>
              <a:gd name="T42" fmla="*/ 2147483647 w 723"/>
              <a:gd name="T43" fmla="*/ 2147483647 h 663"/>
              <a:gd name="T44" fmla="*/ 2147483647 w 723"/>
              <a:gd name="T45" fmla="*/ 2147483647 h 663"/>
              <a:gd name="T46" fmla="*/ 2147483647 w 723"/>
              <a:gd name="T47" fmla="*/ 2147483647 h 663"/>
              <a:gd name="T48" fmla="*/ 2147483647 w 723"/>
              <a:gd name="T49" fmla="*/ 2147483647 h 663"/>
              <a:gd name="T50" fmla="*/ 2147483647 w 723"/>
              <a:gd name="T51" fmla="*/ 2147483647 h 663"/>
              <a:gd name="T52" fmla="*/ 2147483647 w 723"/>
              <a:gd name="T53" fmla="*/ 2147483647 h 663"/>
              <a:gd name="T54" fmla="*/ 2147483647 w 723"/>
              <a:gd name="T55" fmla="*/ 2147483647 h 663"/>
              <a:gd name="T56" fmla="*/ 2147483647 w 723"/>
              <a:gd name="T57" fmla="*/ 2147483647 h 663"/>
              <a:gd name="T58" fmla="*/ 2147483647 w 723"/>
              <a:gd name="T59" fmla="*/ 2147483647 h 663"/>
              <a:gd name="T60" fmla="*/ 2147483647 w 723"/>
              <a:gd name="T61" fmla="*/ 2147483647 h 663"/>
              <a:gd name="T62" fmla="*/ 2147483647 w 723"/>
              <a:gd name="T63" fmla="*/ 2147483647 h 663"/>
              <a:gd name="T64" fmla="*/ 2147483647 w 723"/>
              <a:gd name="T65" fmla="*/ 2147483647 h 663"/>
              <a:gd name="T66" fmla="*/ 2147483647 w 723"/>
              <a:gd name="T67" fmla="*/ 2147483647 h 663"/>
              <a:gd name="T68" fmla="*/ 2147483647 w 723"/>
              <a:gd name="T69" fmla="*/ 2147483647 h 663"/>
              <a:gd name="T70" fmla="*/ 2147483647 w 723"/>
              <a:gd name="T71" fmla="*/ 2147483647 h 663"/>
              <a:gd name="T72" fmla="*/ 2147483647 w 723"/>
              <a:gd name="T73" fmla="*/ 2147483647 h 663"/>
              <a:gd name="T74" fmla="*/ 2147483647 w 723"/>
              <a:gd name="T75" fmla="*/ 2147483647 h 663"/>
              <a:gd name="T76" fmla="*/ 2147483647 w 723"/>
              <a:gd name="T77" fmla="*/ 2147483647 h 663"/>
              <a:gd name="T78" fmla="*/ 2147483647 w 723"/>
              <a:gd name="T79" fmla="*/ 2147483647 h 663"/>
              <a:gd name="T80" fmla="*/ 2147483647 w 723"/>
              <a:gd name="T81" fmla="*/ 2147483647 h 663"/>
              <a:gd name="T82" fmla="*/ 2147483647 w 723"/>
              <a:gd name="T83" fmla="*/ 2147483647 h 663"/>
              <a:gd name="T84" fmla="*/ 2147483647 w 723"/>
              <a:gd name="T85" fmla="*/ 2147483647 h 663"/>
              <a:gd name="T86" fmla="*/ 2147483647 w 723"/>
              <a:gd name="T87" fmla="*/ 2147483647 h 663"/>
              <a:gd name="T88" fmla="*/ 2147483647 w 723"/>
              <a:gd name="T89" fmla="*/ 2147483647 h 663"/>
              <a:gd name="T90" fmla="*/ 2147483647 w 723"/>
              <a:gd name="T91" fmla="*/ 2147483647 h 663"/>
              <a:gd name="T92" fmla="*/ 2147483647 w 723"/>
              <a:gd name="T93" fmla="*/ 2147483647 h 663"/>
              <a:gd name="T94" fmla="*/ 2147483647 w 723"/>
              <a:gd name="T95" fmla="*/ 2147483647 h 66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3"/>
              <a:gd name="T145" fmla="*/ 0 h 663"/>
              <a:gd name="T146" fmla="*/ 723 w 723"/>
              <a:gd name="T147" fmla="*/ 663 h 66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3" h="663">
                <a:moveTo>
                  <a:pt x="2" y="371"/>
                </a:moveTo>
                <a:lnTo>
                  <a:pt x="69" y="392"/>
                </a:lnTo>
                <a:lnTo>
                  <a:pt x="113" y="386"/>
                </a:lnTo>
                <a:lnTo>
                  <a:pt x="139" y="391"/>
                </a:lnTo>
                <a:lnTo>
                  <a:pt x="152" y="382"/>
                </a:lnTo>
                <a:lnTo>
                  <a:pt x="181" y="383"/>
                </a:lnTo>
                <a:lnTo>
                  <a:pt x="230" y="371"/>
                </a:lnTo>
                <a:lnTo>
                  <a:pt x="237" y="366"/>
                </a:lnTo>
                <a:lnTo>
                  <a:pt x="234" y="354"/>
                </a:lnTo>
                <a:lnTo>
                  <a:pt x="239" y="317"/>
                </a:lnTo>
                <a:lnTo>
                  <a:pt x="255" y="298"/>
                </a:lnTo>
                <a:lnTo>
                  <a:pt x="296" y="296"/>
                </a:lnTo>
                <a:lnTo>
                  <a:pt x="298" y="292"/>
                </a:lnTo>
                <a:lnTo>
                  <a:pt x="291" y="288"/>
                </a:lnTo>
                <a:lnTo>
                  <a:pt x="312" y="272"/>
                </a:lnTo>
                <a:lnTo>
                  <a:pt x="330" y="276"/>
                </a:lnTo>
                <a:lnTo>
                  <a:pt x="327" y="272"/>
                </a:lnTo>
                <a:lnTo>
                  <a:pt x="332" y="270"/>
                </a:lnTo>
                <a:lnTo>
                  <a:pt x="346" y="282"/>
                </a:lnTo>
                <a:lnTo>
                  <a:pt x="363" y="265"/>
                </a:lnTo>
                <a:lnTo>
                  <a:pt x="360" y="241"/>
                </a:lnTo>
                <a:lnTo>
                  <a:pt x="368" y="230"/>
                </a:lnTo>
                <a:lnTo>
                  <a:pt x="374" y="205"/>
                </a:lnTo>
                <a:lnTo>
                  <a:pt x="390" y="204"/>
                </a:lnTo>
                <a:lnTo>
                  <a:pt x="407" y="191"/>
                </a:lnTo>
                <a:lnTo>
                  <a:pt x="400" y="173"/>
                </a:lnTo>
                <a:lnTo>
                  <a:pt x="391" y="165"/>
                </a:lnTo>
                <a:lnTo>
                  <a:pt x="392" y="158"/>
                </a:lnTo>
                <a:lnTo>
                  <a:pt x="422" y="161"/>
                </a:lnTo>
                <a:lnTo>
                  <a:pt x="436" y="157"/>
                </a:lnTo>
                <a:lnTo>
                  <a:pt x="444" y="140"/>
                </a:lnTo>
                <a:lnTo>
                  <a:pt x="437" y="132"/>
                </a:lnTo>
                <a:lnTo>
                  <a:pt x="463" y="100"/>
                </a:lnTo>
                <a:lnTo>
                  <a:pt x="464" y="83"/>
                </a:lnTo>
                <a:lnTo>
                  <a:pt x="458" y="64"/>
                </a:lnTo>
                <a:lnTo>
                  <a:pt x="446" y="52"/>
                </a:lnTo>
                <a:lnTo>
                  <a:pt x="449" y="45"/>
                </a:lnTo>
                <a:lnTo>
                  <a:pt x="464" y="30"/>
                </a:lnTo>
                <a:lnTo>
                  <a:pt x="474" y="31"/>
                </a:lnTo>
                <a:lnTo>
                  <a:pt x="486" y="19"/>
                </a:lnTo>
                <a:lnTo>
                  <a:pt x="507" y="11"/>
                </a:lnTo>
                <a:lnTo>
                  <a:pt x="554" y="7"/>
                </a:lnTo>
                <a:lnTo>
                  <a:pt x="574" y="10"/>
                </a:lnTo>
                <a:lnTo>
                  <a:pt x="593" y="0"/>
                </a:lnTo>
                <a:lnTo>
                  <a:pt x="625" y="4"/>
                </a:lnTo>
                <a:lnTo>
                  <a:pt x="628" y="18"/>
                </a:lnTo>
                <a:lnTo>
                  <a:pt x="637" y="14"/>
                </a:lnTo>
                <a:lnTo>
                  <a:pt x="645" y="19"/>
                </a:lnTo>
                <a:lnTo>
                  <a:pt x="651" y="29"/>
                </a:lnTo>
                <a:lnTo>
                  <a:pt x="653" y="45"/>
                </a:lnTo>
                <a:lnTo>
                  <a:pt x="648" y="50"/>
                </a:lnTo>
                <a:lnTo>
                  <a:pt x="660" y="63"/>
                </a:lnTo>
                <a:lnTo>
                  <a:pt x="676" y="59"/>
                </a:lnTo>
                <a:lnTo>
                  <a:pt x="677" y="66"/>
                </a:lnTo>
                <a:lnTo>
                  <a:pt x="685" y="70"/>
                </a:lnTo>
                <a:lnTo>
                  <a:pt x="723" y="84"/>
                </a:lnTo>
                <a:lnTo>
                  <a:pt x="696" y="104"/>
                </a:lnTo>
                <a:lnTo>
                  <a:pt x="689" y="121"/>
                </a:lnTo>
                <a:lnTo>
                  <a:pt x="668" y="118"/>
                </a:lnTo>
                <a:lnTo>
                  <a:pt x="660" y="125"/>
                </a:lnTo>
                <a:lnTo>
                  <a:pt x="650" y="123"/>
                </a:lnTo>
                <a:lnTo>
                  <a:pt x="633" y="130"/>
                </a:lnTo>
                <a:lnTo>
                  <a:pt x="579" y="113"/>
                </a:lnTo>
                <a:lnTo>
                  <a:pt x="562" y="120"/>
                </a:lnTo>
                <a:lnTo>
                  <a:pt x="556" y="138"/>
                </a:lnTo>
                <a:lnTo>
                  <a:pt x="565" y="143"/>
                </a:lnTo>
                <a:lnTo>
                  <a:pt x="560" y="153"/>
                </a:lnTo>
                <a:lnTo>
                  <a:pt x="575" y="160"/>
                </a:lnTo>
                <a:lnTo>
                  <a:pt x="565" y="171"/>
                </a:lnTo>
                <a:lnTo>
                  <a:pt x="575" y="185"/>
                </a:lnTo>
                <a:lnTo>
                  <a:pt x="563" y="197"/>
                </a:lnTo>
                <a:lnTo>
                  <a:pt x="580" y="212"/>
                </a:lnTo>
                <a:lnTo>
                  <a:pt x="579" y="219"/>
                </a:lnTo>
                <a:lnTo>
                  <a:pt x="594" y="222"/>
                </a:lnTo>
                <a:lnTo>
                  <a:pt x="596" y="236"/>
                </a:lnTo>
                <a:lnTo>
                  <a:pt x="620" y="240"/>
                </a:lnTo>
                <a:lnTo>
                  <a:pt x="625" y="252"/>
                </a:lnTo>
                <a:lnTo>
                  <a:pt x="620" y="259"/>
                </a:lnTo>
                <a:lnTo>
                  <a:pt x="594" y="265"/>
                </a:lnTo>
                <a:lnTo>
                  <a:pt x="590" y="279"/>
                </a:lnTo>
                <a:lnTo>
                  <a:pt x="596" y="292"/>
                </a:lnTo>
                <a:lnTo>
                  <a:pt x="590" y="302"/>
                </a:lnTo>
                <a:lnTo>
                  <a:pt x="601" y="310"/>
                </a:lnTo>
                <a:lnTo>
                  <a:pt x="592" y="310"/>
                </a:lnTo>
                <a:lnTo>
                  <a:pt x="579" y="320"/>
                </a:lnTo>
                <a:lnTo>
                  <a:pt x="559" y="348"/>
                </a:lnTo>
                <a:lnTo>
                  <a:pt x="557" y="361"/>
                </a:lnTo>
                <a:lnTo>
                  <a:pt x="540" y="369"/>
                </a:lnTo>
                <a:lnTo>
                  <a:pt x="516" y="410"/>
                </a:lnTo>
                <a:lnTo>
                  <a:pt x="492" y="429"/>
                </a:lnTo>
                <a:lnTo>
                  <a:pt x="469" y="463"/>
                </a:lnTo>
                <a:lnTo>
                  <a:pt x="442" y="467"/>
                </a:lnTo>
                <a:lnTo>
                  <a:pt x="429" y="475"/>
                </a:lnTo>
                <a:lnTo>
                  <a:pt x="413" y="458"/>
                </a:lnTo>
                <a:lnTo>
                  <a:pt x="374" y="504"/>
                </a:lnTo>
                <a:lnTo>
                  <a:pt x="374" y="525"/>
                </a:lnTo>
                <a:lnTo>
                  <a:pt x="402" y="533"/>
                </a:lnTo>
                <a:lnTo>
                  <a:pt x="398" y="562"/>
                </a:lnTo>
                <a:lnTo>
                  <a:pt x="406" y="571"/>
                </a:lnTo>
                <a:lnTo>
                  <a:pt x="421" y="573"/>
                </a:lnTo>
                <a:lnTo>
                  <a:pt x="422" y="588"/>
                </a:lnTo>
                <a:lnTo>
                  <a:pt x="439" y="613"/>
                </a:lnTo>
                <a:lnTo>
                  <a:pt x="435" y="629"/>
                </a:lnTo>
                <a:lnTo>
                  <a:pt x="440" y="632"/>
                </a:lnTo>
                <a:lnTo>
                  <a:pt x="425" y="639"/>
                </a:lnTo>
                <a:lnTo>
                  <a:pt x="414" y="629"/>
                </a:lnTo>
                <a:lnTo>
                  <a:pt x="393" y="642"/>
                </a:lnTo>
                <a:lnTo>
                  <a:pt x="382" y="642"/>
                </a:lnTo>
                <a:lnTo>
                  <a:pt x="375" y="635"/>
                </a:lnTo>
                <a:lnTo>
                  <a:pt x="346" y="637"/>
                </a:lnTo>
                <a:lnTo>
                  <a:pt x="341" y="632"/>
                </a:lnTo>
                <a:lnTo>
                  <a:pt x="340" y="650"/>
                </a:lnTo>
                <a:lnTo>
                  <a:pt x="318" y="650"/>
                </a:lnTo>
                <a:lnTo>
                  <a:pt x="310" y="663"/>
                </a:lnTo>
                <a:lnTo>
                  <a:pt x="308" y="660"/>
                </a:lnTo>
                <a:lnTo>
                  <a:pt x="286" y="655"/>
                </a:lnTo>
                <a:lnTo>
                  <a:pt x="283" y="648"/>
                </a:lnTo>
                <a:lnTo>
                  <a:pt x="269" y="616"/>
                </a:lnTo>
                <a:lnTo>
                  <a:pt x="252" y="610"/>
                </a:lnTo>
                <a:lnTo>
                  <a:pt x="250" y="594"/>
                </a:lnTo>
                <a:lnTo>
                  <a:pt x="242" y="586"/>
                </a:lnTo>
                <a:lnTo>
                  <a:pt x="229" y="582"/>
                </a:lnTo>
                <a:lnTo>
                  <a:pt x="178" y="588"/>
                </a:lnTo>
                <a:lnTo>
                  <a:pt x="166" y="587"/>
                </a:lnTo>
                <a:lnTo>
                  <a:pt x="161" y="596"/>
                </a:lnTo>
                <a:lnTo>
                  <a:pt x="140" y="586"/>
                </a:lnTo>
                <a:lnTo>
                  <a:pt x="119" y="586"/>
                </a:lnTo>
                <a:lnTo>
                  <a:pt x="102" y="593"/>
                </a:lnTo>
                <a:lnTo>
                  <a:pt x="71" y="591"/>
                </a:lnTo>
                <a:lnTo>
                  <a:pt x="59" y="596"/>
                </a:lnTo>
                <a:lnTo>
                  <a:pt x="54" y="593"/>
                </a:lnTo>
                <a:lnTo>
                  <a:pt x="37" y="601"/>
                </a:lnTo>
                <a:lnTo>
                  <a:pt x="33" y="595"/>
                </a:lnTo>
                <a:lnTo>
                  <a:pt x="44" y="551"/>
                </a:lnTo>
                <a:lnTo>
                  <a:pt x="60" y="533"/>
                </a:lnTo>
                <a:lnTo>
                  <a:pt x="93" y="524"/>
                </a:lnTo>
                <a:lnTo>
                  <a:pt x="103" y="513"/>
                </a:lnTo>
                <a:lnTo>
                  <a:pt x="104" y="501"/>
                </a:lnTo>
                <a:lnTo>
                  <a:pt x="85" y="494"/>
                </a:lnTo>
                <a:lnTo>
                  <a:pt x="81" y="451"/>
                </a:lnTo>
                <a:lnTo>
                  <a:pt x="34" y="424"/>
                </a:lnTo>
                <a:lnTo>
                  <a:pt x="16" y="391"/>
                </a:lnTo>
                <a:lnTo>
                  <a:pt x="0" y="374"/>
                </a:lnTo>
                <a:lnTo>
                  <a:pt x="2" y="371"/>
                </a:lnTo>
                <a:close/>
              </a:path>
            </a:pathLst>
          </a:custGeom>
          <a:solidFill>
            <a:schemeClr val="accent1"/>
          </a:solidFill>
          <a:ln w="6350">
            <a:solidFill>
              <a:schemeClr val="tx2"/>
            </a:solidFill>
            <a:round/>
            <a:headEnd/>
            <a:tailEnd/>
          </a:ln>
        </p:spPr>
        <p:txBody>
          <a:bodyPr/>
          <a:lstStyle/>
          <a:p>
            <a:endParaRPr lang="en-US"/>
          </a:p>
        </p:txBody>
      </p:sp>
      <p:sp>
        <p:nvSpPr>
          <p:cNvPr id="654" name="Freeform 1428"/>
          <p:cNvSpPr>
            <a:spLocks/>
          </p:cNvSpPr>
          <p:nvPr/>
        </p:nvSpPr>
        <p:spPr bwMode="auto">
          <a:xfrm>
            <a:off x="6696339" y="3475890"/>
            <a:ext cx="24367" cy="20378"/>
          </a:xfrm>
          <a:custGeom>
            <a:avLst/>
            <a:gdLst>
              <a:gd name="T0" fmla="*/ 0 w 52"/>
              <a:gd name="T1" fmla="*/ 2147483647 h 47"/>
              <a:gd name="T2" fmla="*/ 2147483647 w 52"/>
              <a:gd name="T3" fmla="*/ 0 h 47"/>
              <a:gd name="T4" fmla="*/ 2147483647 w 52"/>
              <a:gd name="T5" fmla="*/ 2147483647 h 47"/>
              <a:gd name="T6" fmla="*/ 2147483647 w 52"/>
              <a:gd name="T7" fmla="*/ 2147483647 h 47"/>
              <a:gd name="T8" fmla="*/ 2147483647 w 52"/>
              <a:gd name="T9" fmla="*/ 2147483647 h 47"/>
              <a:gd name="T10" fmla="*/ 2147483647 w 52"/>
              <a:gd name="T11" fmla="*/ 2147483647 h 47"/>
              <a:gd name="T12" fmla="*/ 2147483647 w 52"/>
              <a:gd name="T13" fmla="*/ 2147483647 h 47"/>
              <a:gd name="T14" fmla="*/ 0 w 52"/>
              <a:gd name="T15" fmla="*/ 2147483647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0" y="3"/>
                </a:moveTo>
                <a:lnTo>
                  <a:pt x="9" y="0"/>
                </a:lnTo>
                <a:lnTo>
                  <a:pt x="24" y="10"/>
                </a:lnTo>
                <a:lnTo>
                  <a:pt x="41" y="10"/>
                </a:lnTo>
                <a:lnTo>
                  <a:pt x="50" y="29"/>
                </a:lnTo>
                <a:lnTo>
                  <a:pt x="52" y="47"/>
                </a:lnTo>
                <a:lnTo>
                  <a:pt x="30" y="45"/>
                </a:lnTo>
                <a:lnTo>
                  <a:pt x="0" y="3"/>
                </a:lnTo>
                <a:close/>
              </a:path>
            </a:pathLst>
          </a:custGeom>
          <a:solidFill>
            <a:schemeClr val="accent1"/>
          </a:solidFill>
          <a:ln w="6350">
            <a:solidFill>
              <a:schemeClr val="tx2"/>
            </a:solidFill>
            <a:round/>
            <a:headEnd/>
            <a:tailEnd/>
          </a:ln>
        </p:spPr>
        <p:txBody>
          <a:bodyPr/>
          <a:lstStyle/>
          <a:p>
            <a:endParaRPr lang="en-US"/>
          </a:p>
        </p:txBody>
      </p:sp>
      <p:sp>
        <p:nvSpPr>
          <p:cNvPr id="655" name="Freeform 1430"/>
          <p:cNvSpPr>
            <a:spLocks/>
          </p:cNvSpPr>
          <p:nvPr/>
        </p:nvSpPr>
        <p:spPr bwMode="auto">
          <a:xfrm>
            <a:off x="6733605" y="3688593"/>
            <a:ext cx="35834" cy="31842"/>
          </a:xfrm>
          <a:custGeom>
            <a:avLst/>
            <a:gdLst>
              <a:gd name="T0" fmla="*/ 2147483647 w 76"/>
              <a:gd name="T1" fmla="*/ 2147483647 h 75"/>
              <a:gd name="T2" fmla="*/ 2147483647 w 76"/>
              <a:gd name="T3" fmla="*/ 2147483647 h 75"/>
              <a:gd name="T4" fmla="*/ 2147483647 w 76"/>
              <a:gd name="T5" fmla="*/ 2147483647 h 75"/>
              <a:gd name="T6" fmla="*/ 2147483647 w 76"/>
              <a:gd name="T7" fmla="*/ 2147483647 h 75"/>
              <a:gd name="T8" fmla="*/ 2147483647 w 76"/>
              <a:gd name="T9" fmla="*/ 2147483647 h 75"/>
              <a:gd name="T10" fmla="*/ 2147483647 w 76"/>
              <a:gd name="T11" fmla="*/ 0 h 75"/>
              <a:gd name="T12" fmla="*/ 2147483647 w 76"/>
              <a:gd name="T13" fmla="*/ 2147483647 h 75"/>
              <a:gd name="T14" fmla="*/ 2147483647 w 76"/>
              <a:gd name="T15" fmla="*/ 2147483647 h 75"/>
              <a:gd name="T16" fmla="*/ 0 w 76"/>
              <a:gd name="T17" fmla="*/ 2147483647 h 75"/>
              <a:gd name="T18" fmla="*/ 2147483647 w 76"/>
              <a:gd name="T19" fmla="*/ 2147483647 h 75"/>
              <a:gd name="T20" fmla="*/ 2147483647 w 76"/>
              <a:gd name="T21" fmla="*/ 2147483647 h 75"/>
              <a:gd name="T22" fmla="*/ 2147483647 w 76"/>
              <a:gd name="T23" fmla="*/ 2147483647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75"/>
              <a:gd name="T38" fmla="*/ 76 w 76"/>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75">
                <a:moveTo>
                  <a:pt x="76" y="75"/>
                </a:moveTo>
                <a:lnTo>
                  <a:pt x="65" y="40"/>
                </a:lnTo>
                <a:lnTo>
                  <a:pt x="49" y="37"/>
                </a:lnTo>
                <a:lnTo>
                  <a:pt x="74" y="20"/>
                </a:lnTo>
                <a:lnTo>
                  <a:pt x="63" y="4"/>
                </a:lnTo>
                <a:lnTo>
                  <a:pt x="42" y="0"/>
                </a:lnTo>
                <a:lnTo>
                  <a:pt x="31" y="5"/>
                </a:lnTo>
                <a:lnTo>
                  <a:pt x="14" y="34"/>
                </a:lnTo>
                <a:lnTo>
                  <a:pt x="0" y="46"/>
                </a:lnTo>
                <a:lnTo>
                  <a:pt x="37" y="57"/>
                </a:lnTo>
                <a:lnTo>
                  <a:pt x="50" y="75"/>
                </a:lnTo>
                <a:lnTo>
                  <a:pt x="76" y="75"/>
                </a:lnTo>
                <a:close/>
              </a:path>
            </a:pathLst>
          </a:custGeom>
          <a:solidFill>
            <a:schemeClr val="accent1"/>
          </a:solidFill>
          <a:ln w="6350">
            <a:solidFill>
              <a:schemeClr val="tx2"/>
            </a:solidFill>
            <a:round/>
            <a:headEnd/>
            <a:tailEnd/>
          </a:ln>
        </p:spPr>
        <p:txBody>
          <a:bodyPr/>
          <a:lstStyle/>
          <a:p>
            <a:endParaRPr lang="en-US"/>
          </a:p>
        </p:txBody>
      </p:sp>
      <p:sp>
        <p:nvSpPr>
          <p:cNvPr id="656" name="Freeform 1431"/>
          <p:cNvSpPr>
            <a:spLocks/>
          </p:cNvSpPr>
          <p:nvPr/>
        </p:nvSpPr>
        <p:spPr bwMode="auto">
          <a:xfrm>
            <a:off x="6925673" y="3766285"/>
            <a:ext cx="7166" cy="11463"/>
          </a:xfrm>
          <a:custGeom>
            <a:avLst/>
            <a:gdLst>
              <a:gd name="T0" fmla="*/ 2147483647 w 15"/>
              <a:gd name="T1" fmla="*/ 2147483647 h 28"/>
              <a:gd name="T2" fmla="*/ 2147483647 w 15"/>
              <a:gd name="T3" fmla="*/ 2147483647 h 28"/>
              <a:gd name="T4" fmla="*/ 0 w 15"/>
              <a:gd name="T5" fmla="*/ 2147483647 h 28"/>
              <a:gd name="T6" fmla="*/ 2147483647 w 15"/>
              <a:gd name="T7" fmla="*/ 2147483647 h 28"/>
              <a:gd name="T8" fmla="*/ 2147483647 w 15"/>
              <a:gd name="T9" fmla="*/ 0 h 28"/>
              <a:gd name="T10" fmla="*/ 2147483647 w 15"/>
              <a:gd name="T11" fmla="*/ 2147483647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28"/>
                </a:moveTo>
                <a:lnTo>
                  <a:pt x="2" y="26"/>
                </a:lnTo>
                <a:lnTo>
                  <a:pt x="0" y="9"/>
                </a:lnTo>
                <a:lnTo>
                  <a:pt x="5" y="1"/>
                </a:lnTo>
                <a:lnTo>
                  <a:pt x="15" y="0"/>
                </a:lnTo>
                <a:lnTo>
                  <a:pt x="9" y="28"/>
                </a:lnTo>
                <a:close/>
              </a:path>
            </a:pathLst>
          </a:custGeom>
          <a:solidFill>
            <a:schemeClr val="accent1"/>
          </a:solidFill>
          <a:ln w="6350">
            <a:solidFill>
              <a:schemeClr val="tx2"/>
            </a:solidFill>
            <a:round/>
            <a:headEnd/>
            <a:tailEnd/>
          </a:ln>
        </p:spPr>
        <p:txBody>
          <a:bodyPr/>
          <a:lstStyle/>
          <a:p>
            <a:endParaRPr lang="en-US"/>
          </a:p>
        </p:txBody>
      </p:sp>
      <p:sp>
        <p:nvSpPr>
          <p:cNvPr id="657" name="Freeform 1432"/>
          <p:cNvSpPr>
            <a:spLocks/>
          </p:cNvSpPr>
          <p:nvPr/>
        </p:nvSpPr>
        <p:spPr bwMode="auto">
          <a:xfrm>
            <a:off x="6816739" y="3767558"/>
            <a:ext cx="17201" cy="31842"/>
          </a:xfrm>
          <a:custGeom>
            <a:avLst/>
            <a:gdLst>
              <a:gd name="T0" fmla="*/ 2147483647 w 35"/>
              <a:gd name="T1" fmla="*/ 2147483647 h 77"/>
              <a:gd name="T2" fmla="*/ 2147483647 w 35"/>
              <a:gd name="T3" fmla="*/ 2147483647 h 77"/>
              <a:gd name="T4" fmla="*/ 2147483647 w 35"/>
              <a:gd name="T5" fmla="*/ 2147483647 h 77"/>
              <a:gd name="T6" fmla="*/ 2147483647 w 35"/>
              <a:gd name="T7" fmla="*/ 2147483647 h 77"/>
              <a:gd name="T8" fmla="*/ 2147483647 w 35"/>
              <a:gd name="T9" fmla="*/ 2147483647 h 77"/>
              <a:gd name="T10" fmla="*/ 2147483647 w 35"/>
              <a:gd name="T11" fmla="*/ 0 h 77"/>
              <a:gd name="T12" fmla="*/ 0 w 35"/>
              <a:gd name="T13" fmla="*/ 2147483647 h 77"/>
              <a:gd name="T14" fmla="*/ 2147483647 w 35"/>
              <a:gd name="T15" fmla="*/ 2147483647 h 77"/>
              <a:gd name="T16" fmla="*/ 2147483647 w 35"/>
              <a:gd name="T17" fmla="*/ 2147483647 h 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77"/>
              <a:gd name="T29" fmla="*/ 35 w 35"/>
              <a:gd name="T30" fmla="*/ 77 h 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77">
                <a:moveTo>
                  <a:pt x="12" y="77"/>
                </a:moveTo>
                <a:lnTo>
                  <a:pt x="28" y="70"/>
                </a:lnTo>
                <a:lnTo>
                  <a:pt x="35" y="55"/>
                </a:lnTo>
                <a:lnTo>
                  <a:pt x="31" y="33"/>
                </a:lnTo>
                <a:lnTo>
                  <a:pt x="35" y="13"/>
                </a:lnTo>
                <a:lnTo>
                  <a:pt x="19" y="0"/>
                </a:lnTo>
                <a:lnTo>
                  <a:pt x="0" y="34"/>
                </a:lnTo>
                <a:lnTo>
                  <a:pt x="1" y="67"/>
                </a:lnTo>
                <a:lnTo>
                  <a:pt x="12" y="77"/>
                </a:lnTo>
                <a:close/>
              </a:path>
            </a:pathLst>
          </a:custGeom>
          <a:solidFill>
            <a:schemeClr val="accent1"/>
          </a:solidFill>
          <a:ln w="6350">
            <a:solidFill>
              <a:schemeClr val="tx2"/>
            </a:solidFill>
            <a:round/>
            <a:headEnd/>
            <a:tailEnd/>
          </a:ln>
        </p:spPr>
        <p:txBody>
          <a:bodyPr/>
          <a:lstStyle/>
          <a:p>
            <a:endParaRPr lang="en-US"/>
          </a:p>
        </p:txBody>
      </p:sp>
      <p:sp>
        <p:nvSpPr>
          <p:cNvPr id="658" name="Freeform 1506"/>
          <p:cNvSpPr>
            <a:spLocks/>
          </p:cNvSpPr>
          <p:nvPr/>
        </p:nvSpPr>
        <p:spPr bwMode="auto">
          <a:xfrm>
            <a:off x="6919939" y="3333242"/>
            <a:ext cx="349735" cy="199965"/>
          </a:xfrm>
          <a:custGeom>
            <a:avLst/>
            <a:gdLst>
              <a:gd name="T0" fmla="*/ 2147483647 w 740"/>
              <a:gd name="T1" fmla="*/ 2147483647 h 482"/>
              <a:gd name="T2" fmla="*/ 2147483647 w 740"/>
              <a:gd name="T3" fmla="*/ 2147483647 h 482"/>
              <a:gd name="T4" fmla="*/ 2147483647 w 740"/>
              <a:gd name="T5" fmla="*/ 2147483647 h 482"/>
              <a:gd name="T6" fmla="*/ 2147483647 w 740"/>
              <a:gd name="T7" fmla="*/ 2147483647 h 482"/>
              <a:gd name="T8" fmla="*/ 2147483647 w 740"/>
              <a:gd name="T9" fmla="*/ 2147483647 h 482"/>
              <a:gd name="T10" fmla="*/ 2147483647 w 740"/>
              <a:gd name="T11" fmla="*/ 2147483647 h 482"/>
              <a:gd name="T12" fmla="*/ 2147483647 w 740"/>
              <a:gd name="T13" fmla="*/ 2147483647 h 482"/>
              <a:gd name="T14" fmla="*/ 2147483647 w 740"/>
              <a:gd name="T15" fmla="*/ 2147483647 h 482"/>
              <a:gd name="T16" fmla="*/ 2147483647 w 740"/>
              <a:gd name="T17" fmla="*/ 2147483647 h 482"/>
              <a:gd name="T18" fmla="*/ 2147483647 w 740"/>
              <a:gd name="T19" fmla="*/ 2147483647 h 482"/>
              <a:gd name="T20" fmla="*/ 2147483647 w 740"/>
              <a:gd name="T21" fmla="*/ 2147483647 h 482"/>
              <a:gd name="T22" fmla="*/ 2147483647 w 740"/>
              <a:gd name="T23" fmla="*/ 2147483647 h 482"/>
              <a:gd name="T24" fmla="*/ 2147483647 w 740"/>
              <a:gd name="T25" fmla="*/ 2147483647 h 482"/>
              <a:gd name="T26" fmla="*/ 2147483647 w 740"/>
              <a:gd name="T27" fmla="*/ 2147483647 h 482"/>
              <a:gd name="T28" fmla="*/ 2147483647 w 740"/>
              <a:gd name="T29" fmla="*/ 2147483647 h 482"/>
              <a:gd name="T30" fmla="*/ 2147483647 w 740"/>
              <a:gd name="T31" fmla="*/ 2147483647 h 482"/>
              <a:gd name="T32" fmla="*/ 2147483647 w 740"/>
              <a:gd name="T33" fmla="*/ 2147483647 h 482"/>
              <a:gd name="T34" fmla="*/ 2147483647 w 740"/>
              <a:gd name="T35" fmla="*/ 2147483647 h 482"/>
              <a:gd name="T36" fmla="*/ 2147483647 w 740"/>
              <a:gd name="T37" fmla="*/ 2147483647 h 482"/>
              <a:gd name="T38" fmla="*/ 2147483647 w 740"/>
              <a:gd name="T39" fmla="*/ 2147483647 h 482"/>
              <a:gd name="T40" fmla="*/ 2147483647 w 740"/>
              <a:gd name="T41" fmla="*/ 2147483647 h 482"/>
              <a:gd name="T42" fmla="*/ 2147483647 w 740"/>
              <a:gd name="T43" fmla="*/ 2147483647 h 482"/>
              <a:gd name="T44" fmla="*/ 2147483647 w 740"/>
              <a:gd name="T45" fmla="*/ 2147483647 h 482"/>
              <a:gd name="T46" fmla="*/ 2147483647 w 740"/>
              <a:gd name="T47" fmla="*/ 2147483647 h 482"/>
              <a:gd name="T48" fmla="*/ 2147483647 w 740"/>
              <a:gd name="T49" fmla="*/ 2147483647 h 482"/>
              <a:gd name="T50" fmla="*/ 2147483647 w 740"/>
              <a:gd name="T51" fmla="*/ 2147483647 h 482"/>
              <a:gd name="T52" fmla="*/ 2147483647 w 740"/>
              <a:gd name="T53" fmla="*/ 2147483647 h 482"/>
              <a:gd name="T54" fmla="*/ 2147483647 w 740"/>
              <a:gd name="T55" fmla="*/ 2147483647 h 482"/>
              <a:gd name="T56" fmla="*/ 2147483647 w 740"/>
              <a:gd name="T57" fmla="*/ 2147483647 h 482"/>
              <a:gd name="T58" fmla="*/ 2147483647 w 740"/>
              <a:gd name="T59" fmla="*/ 2147483647 h 482"/>
              <a:gd name="T60" fmla="*/ 2147483647 w 740"/>
              <a:gd name="T61" fmla="*/ 2147483647 h 482"/>
              <a:gd name="T62" fmla="*/ 2147483647 w 740"/>
              <a:gd name="T63" fmla="*/ 2147483647 h 482"/>
              <a:gd name="T64" fmla="*/ 2147483647 w 740"/>
              <a:gd name="T65" fmla="*/ 2147483647 h 482"/>
              <a:gd name="T66" fmla="*/ 2147483647 w 740"/>
              <a:gd name="T67" fmla="*/ 2147483647 h 482"/>
              <a:gd name="T68" fmla="*/ 2147483647 w 740"/>
              <a:gd name="T69" fmla="*/ 2147483647 h 482"/>
              <a:gd name="T70" fmla="*/ 2147483647 w 740"/>
              <a:gd name="T71" fmla="*/ 2147483647 h 482"/>
              <a:gd name="T72" fmla="*/ 2147483647 w 740"/>
              <a:gd name="T73" fmla="*/ 2147483647 h 482"/>
              <a:gd name="T74" fmla="*/ 2147483647 w 740"/>
              <a:gd name="T75" fmla="*/ 2147483647 h 482"/>
              <a:gd name="T76" fmla="*/ 2147483647 w 740"/>
              <a:gd name="T77" fmla="*/ 2147483647 h 482"/>
              <a:gd name="T78" fmla="*/ 2147483647 w 740"/>
              <a:gd name="T79" fmla="*/ 2147483647 h 482"/>
              <a:gd name="T80" fmla="*/ 2147483647 w 740"/>
              <a:gd name="T81" fmla="*/ 2147483647 h 482"/>
              <a:gd name="T82" fmla="*/ 2147483647 w 740"/>
              <a:gd name="T83" fmla="*/ 2147483647 h 482"/>
              <a:gd name="T84" fmla="*/ 2147483647 w 740"/>
              <a:gd name="T85" fmla="*/ 2147483647 h 482"/>
              <a:gd name="T86" fmla="*/ 2147483647 w 740"/>
              <a:gd name="T87" fmla="*/ 2147483647 h 482"/>
              <a:gd name="T88" fmla="*/ 2147483647 w 740"/>
              <a:gd name="T89" fmla="*/ 2147483647 h 482"/>
              <a:gd name="T90" fmla="*/ 2147483647 w 740"/>
              <a:gd name="T91" fmla="*/ 2147483647 h 482"/>
              <a:gd name="T92" fmla="*/ 2147483647 w 740"/>
              <a:gd name="T93" fmla="*/ 2147483647 h 482"/>
              <a:gd name="T94" fmla="*/ 2147483647 w 740"/>
              <a:gd name="T95" fmla="*/ 2147483647 h 482"/>
              <a:gd name="T96" fmla="*/ 2147483647 w 740"/>
              <a:gd name="T97" fmla="*/ 2147483647 h 482"/>
              <a:gd name="T98" fmla="*/ 2147483647 w 740"/>
              <a:gd name="T99" fmla="*/ 2147483647 h 482"/>
              <a:gd name="T100" fmla="*/ 2147483647 w 740"/>
              <a:gd name="T101" fmla="*/ 2147483647 h 482"/>
              <a:gd name="T102" fmla="*/ 2147483647 w 740"/>
              <a:gd name="T103" fmla="*/ 2147483647 h 482"/>
              <a:gd name="T104" fmla="*/ 2147483647 w 740"/>
              <a:gd name="T105" fmla="*/ 2147483647 h 482"/>
              <a:gd name="T106" fmla="*/ 2147483647 w 740"/>
              <a:gd name="T107" fmla="*/ 2147483647 h 4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0"/>
              <a:gd name="T163" fmla="*/ 0 h 482"/>
              <a:gd name="T164" fmla="*/ 740 w 740"/>
              <a:gd name="T165" fmla="*/ 482 h 4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0" h="482">
                <a:moveTo>
                  <a:pt x="388" y="113"/>
                </a:moveTo>
                <a:lnTo>
                  <a:pt x="356" y="116"/>
                </a:lnTo>
                <a:lnTo>
                  <a:pt x="325" y="119"/>
                </a:lnTo>
                <a:lnTo>
                  <a:pt x="293" y="123"/>
                </a:lnTo>
                <a:lnTo>
                  <a:pt x="262" y="126"/>
                </a:lnTo>
                <a:lnTo>
                  <a:pt x="241" y="105"/>
                </a:lnTo>
                <a:lnTo>
                  <a:pt x="219" y="84"/>
                </a:lnTo>
                <a:lnTo>
                  <a:pt x="199" y="62"/>
                </a:lnTo>
                <a:lnTo>
                  <a:pt x="178" y="41"/>
                </a:lnTo>
                <a:lnTo>
                  <a:pt x="135" y="11"/>
                </a:lnTo>
                <a:lnTo>
                  <a:pt x="112" y="0"/>
                </a:lnTo>
                <a:lnTo>
                  <a:pt x="84" y="11"/>
                </a:lnTo>
                <a:lnTo>
                  <a:pt x="56" y="21"/>
                </a:lnTo>
                <a:lnTo>
                  <a:pt x="28" y="30"/>
                </a:lnTo>
                <a:lnTo>
                  <a:pt x="0" y="40"/>
                </a:lnTo>
                <a:lnTo>
                  <a:pt x="1" y="94"/>
                </a:lnTo>
                <a:lnTo>
                  <a:pt x="1" y="147"/>
                </a:lnTo>
                <a:lnTo>
                  <a:pt x="2" y="200"/>
                </a:lnTo>
                <a:lnTo>
                  <a:pt x="2" y="252"/>
                </a:lnTo>
                <a:lnTo>
                  <a:pt x="44" y="258"/>
                </a:lnTo>
                <a:lnTo>
                  <a:pt x="50" y="255"/>
                </a:lnTo>
                <a:lnTo>
                  <a:pt x="42" y="225"/>
                </a:lnTo>
                <a:lnTo>
                  <a:pt x="45" y="220"/>
                </a:lnTo>
                <a:lnTo>
                  <a:pt x="58" y="205"/>
                </a:lnTo>
                <a:lnTo>
                  <a:pt x="82" y="201"/>
                </a:lnTo>
                <a:lnTo>
                  <a:pt x="85" y="189"/>
                </a:lnTo>
                <a:lnTo>
                  <a:pt x="90" y="186"/>
                </a:lnTo>
                <a:lnTo>
                  <a:pt x="107" y="195"/>
                </a:lnTo>
                <a:lnTo>
                  <a:pt x="95" y="179"/>
                </a:lnTo>
                <a:lnTo>
                  <a:pt x="108" y="177"/>
                </a:lnTo>
                <a:lnTo>
                  <a:pt x="114" y="169"/>
                </a:lnTo>
                <a:lnTo>
                  <a:pt x="145" y="196"/>
                </a:lnTo>
                <a:lnTo>
                  <a:pt x="172" y="199"/>
                </a:lnTo>
                <a:lnTo>
                  <a:pt x="174" y="217"/>
                </a:lnTo>
                <a:lnTo>
                  <a:pt x="184" y="225"/>
                </a:lnTo>
                <a:lnTo>
                  <a:pt x="178" y="228"/>
                </a:lnTo>
                <a:lnTo>
                  <a:pt x="177" y="246"/>
                </a:lnTo>
                <a:lnTo>
                  <a:pt x="180" y="251"/>
                </a:lnTo>
                <a:lnTo>
                  <a:pt x="230" y="263"/>
                </a:lnTo>
                <a:lnTo>
                  <a:pt x="243" y="252"/>
                </a:lnTo>
                <a:lnTo>
                  <a:pt x="257" y="264"/>
                </a:lnTo>
                <a:lnTo>
                  <a:pt x="264" y="287"/>
                </a:lnTo>
                <a:lnTo>
                  <a:pt x="277" y="301"/>
                </a:lnTo>
                <a:lnTo>
                  <a:pt x="279" y="320"/>
                </a:lnTo>
                <a:lnTo>
                  <a:pt x="288" y="338"/>
                </a:lnTo>
                <a:lnTo>
                  <a:pt x="327" y="361"/>
                </a:lnTo>
                <a:lnTo>
                  <a:pt x="349" y="383"/>
                </a:lnTo>
                <a:lnTo>
                  <a:pt x="374" y="391"/>
                </a:lnTo>
                <a:lnTo>
                  <a:pt x="410" y="425"/>
                </a:lnTo>
                <a:lnTo>
                  <a:pt x="428" y="422"/>
                </a:lnTo>
                <a:lnTo>
                  <a:pt x="456" y="438"/>
                </a:lnTo>
                <a:lnTo>
                  <a:pt x="460" y="442"/>
                </a:lnTo>
                <a:lnTo>
                  <a:pt x="455" y="453"/>
                </a:lnTo>
                <a:lnTo>
                  <a:pt x="455" y="476"/>
                </a:lnTo>
                <a:lnTo>
                  <a:pt x="508" y="482"/>
                </a:lnTo>
                <a:lnTo>
                  <a:pt x="510" y="478"/>
                </a:lnTo>
                <a:lnTo>
                  <a:pt x="509" y="467"/>
                </a:lnTo>
                <a:lnTo>
                  <a:pt x="514" y="457"/>
                </a:lnTo>
                <a:lnTo>
                  <a:pt x="534" y="431"/>
                </a:lnTo>
                <a:lnTo>
                  <a:pt x="520" y="403"/>
                </a:lnTo>
                <a:lnTo>
                  <a:pt x="523" y="385"/>
                </a:lnTo>
                <a:lnTo>
                  <a:pt x="505" y="382"/>
                </a:lnTo>
                <a:lnTo>
                  <a:pt x="491" y="367"/>
                </a:lnTo>
                <a:lnTo>
                  <a:pt x="497" y="364"/>
                </a:lnTo>
                <a:lnTo>
                  <a:pt x="500" y="351"/>
                </a:lnTo>
                <a:lnTo>
                  <a:pt x="541" y="350"/>
                </a:lnTo>
                <a:lnTo>
                  <a:pt x="550" y="327"/>
                </a:lnTo>
                <a:lnTo>
                  <a:pt x="573" y="317"/>
                </a:lnTo>
                <a:lnTo>
                  <a:pt x="572" y="300"/>
                </a:lnTo>
                <a:lnTo>
                  <a:pt x="578" y="289"/>
                </a:lnTo>
                <a:lnTo>
                  <a:pt x="594" y="289"/>
                </a:lnTo>
                <a:lnTo>
                  <a:pt x="625" y="268"/>
                </a:lnTo>
                <a:lnTo>
                  <a:pt x="631" y="268"/>
                </a:lnTo>
                <a:lnTo>
                  <a:pt x="637" y="285"/>
                </a:lnTo>
                <a:lnTo>
                  <a:pt x="622" y="299"/>
                </a:lnTo>
                <a:lnTo>
                  <a:pt x="627" y="310"/>
                </a:lnTo>
                <a:lnTo>
                  <a:pt x="630" y="316"/>
                </a:lnTo>
                <a:lnTo>
                  <a:pt x="645" y="312"/>
                </a:lnTo>
                <a:lnTo>
                  <a:pt x="685" y="314"/>
                </a:lnTo>
                <a:lnTo>
                  <a:pt x="699" y="302"/>
                </a:lnTo>
                <a:lnTo>
                  <a:pt x="716" y="299"/>
                </a:lnTo>
                <a:lnTo>
                  <a:pt x="740" y="281"/>
                </a:lnTo>
                <a:lnTo>
                  <a:pt x="700" y="268"/>
                </a:lnTo>
                <a:lnTo>
                  <a:pt x="683" y="257"/>
                </a:lnTo>
                <a:lnTo>
                  <a:pt x="684" y="251"/>
                </a:lnTo>
                <a:lnTo>
                  <a:pt x="674" y="243"/>
                </a:lnTo>
                <a:lnTo>
                  <a:pt x="663" y="264"/>
                </a:lnTo>
                <a:lnTo>
                  <a:pt x="639" y="256"/>
                </a:lnTo>
                <a:lnTo>
                  <a:pt x="633" y="246"/>
                </a:lnTo>
                <a:lnTo>
                  <a:pt x="615" y="243"/>
                </a:lnTo>
                <a:lnTo>
                  <a:pt x="616" y="236"/>
                </a:lnTo>
                <a:lnTo>
                  <a:pt x="657" y="205"/>
                </a:lnTo>
                <a:lnTo>
                  <a:pt x="655" y="199"/>
                </a:lnTo>
                <a:lnTo>
                  <a:pt x="642" y="194"/>
                </a:lnTo>
                <a:lnTo>
                  <a:pt x="632" y="209"/>
                </a:lnTo>
                <a:lnTo>
                  <a:pt x="619" y="209"/>
                </a:lnTo>
                <a:lnTo>
                  <a:pt x="610" y="226"/>
                </a:lnTo>
                <a:lnTo>
                  <a:pt x="581" y="240"/>
                </a:lnTo>
                <a:lnTo>
                  <a:pt x="550" y="269"/>
                </a:lnTo>
                <a:lnTo>
                  <a:pt x="515" y="255"/>
                </a:lnTo>
                <a:lnTo>
                  <a:pt x="470" y="260"/>
                </a:lnTo>
                <a:lnTo>
                  <a:pt x="463" y="224"/>
                </a:lnTo>
                <a:lnTo>
                  <a:pt x="437" y="218"/>
                </a:lnTo>
                <a:lnTo>
                  <a:pt x="437" y="195"/>
                </a:lnTo>
                <a:lnTo>
                  <a:pt x="443" y="194"/>
                </a:lnTo>
                <a:lnTo>
                  <a:pt x="442" y="162"/>
                </a:lnTo>
                <a:lnTo>
                  <a:pt x="431" y="162"/>
                </a:lnTo>
                <a:lnTo>
                  <a:pt x="417" y="136"/>
                </a:lnTo>
                <a:lnTo>
                  <a:pt x="388" y="113"/>
                </a:lnTo>
                <a:close/>
              </a:path>
            </a:pathLst>
          </a:custGeom>
          <a:solidFill>
            <a:schemeClr val="accent1"/>
          </a:solidFill>
          <a:ln w="6350">
            <a:solidFill>
              <a:schemeClr val="tx2"/>
            </a:solidFill>
            <a:round/>
            <a:headEnd/>
            <a:tailEnd/>
          </a:ln>
        </p:spPr>
        <p:txBody>
          <a:bodyPr/>
          <a:lstStyle/>
          <a:p>
            <a:endParaRPr lang="en-US"/>
          </a:p>
        </p:txBody>
      </p:sp>
      <p:sp>
        <p:nvSpPr>
          <p:cNvPr id="659" name="Freeform 1543"/>
          <p:cNvSpPr>
            <a:spLocks/>
          </p:cNvSpPr>
          <p:nvPr/>
        </p:nvSpPr>
        <p:spPr bwMode="auto">
          <a:xfrm>
            <a:off x="8212812" y="3914029"/>
            <a:ext cx="88867" cy="112082"/>
          </a:xfrm>
          <a:custGeom>
            <a:avLst/>
            <a:gdLst>
              <a:gd name="T0" fmla="*/ 2147483647 w 186"/>
              <a:gd name="T1" fmla="*/ 2147483647 h 270"/>
              <a:gd name="T2" fmla="*/ 2147483647 w 186"/>
              <a:gd name="T3" fmla="*/ 2147483647 h 270"/>
              <a:gd name="T4" fmla="*/ 2147483647 w 186"/>
              <a:gd name="T5" fmla="*/ 2147483647 h 270"/>
              <a:gd name="T6" fmla="*/ 2147483647 w 186"/>
              <a:gd name="T7" fmla="*/ 2147483647 h 270"/>
              <a:gd name="T8" fmla="*/ 2147483647 w 186"/>
              <a:gd name="T9" fmla="*/ 2147483647 h 270"/>
              <a:gd name="T10" fmla="*/ 2147483647 w 186"/>
              <a:gd name="T11" fmla="*/ 2147483647 h 270"/>
              <a:gd name="T12" fmla="*/ 2147483647 w 186"/>
              <a:gd name="T13" fmla="*/ 2147483647 h 270"/>
              <a:gd name="T14" fmla="*/ 2147483647 w 186"/>
              <a:gd name="T15" fmla="*/ 2147483647 h 270"/>
              <a:gd name="T16" fmla="*/ 2147483647 w 186"/>
              <a:gd name="T17" fmla="*/ 2147483647 h 270"/>
              <a:gd name="T18" fmla="*/ 2147483647 w 186"/>
              <a:gd name="T19" fmla="*/ 2147483647 h 270"/>
              <a:gd name="T20" fmla="*/ 2147483647 w 186"/>
              <a:gd name="T21" fmla="*/ 2147483647 h 270"/>
              <a:gd name="T22" fmla="*/ 2147483647 w 186"/>
              <a:gd name="T23" fmla="*/ 2147483647 h 270"/>
              <a:gd name="T24" fmla="*/ 2147483647 w 186"/>
              <a:gd name="T25" fmla="*/ 2147483647 h 270"/>
              <a:gd name="T26" fmla="*/ 2147483647 w 186"/>
              <a:gd name="T27" fmla="*/ 2147483647 h 270"/>
              <a:gd name="T28" fmla="*/ 2147483647 w 186"/>
              <a:gd name="T29" fmla="*/ 2147483647 h 270"/>
              <a:gd name="T30" fmla="*/ 2147483647 w 186"/>
              <a:gd name="T31" fmla="*/ 2147483647 h 270"/>
              <a:gd name="T32" fmla="*/ 2147483647 w 186"/>
              <a:gd name="T33" fmla="*/ 2147483647 h 270"/>
              <a:gd name="T34" fmla="*/ 2147483647 w 186"/>
              <a:gd name="T35" fmla="*/ 2147483647 h 270"/>
              <a:gd name="T36" fmla="*/ 2147483647 w 186"/>
              <a:gd name="T37" fmla="*/ 2147483647 h 270"/>
              <a:gd name="T38" fmla="*/ 2147483647 w 186"/>
              <a:gd name="T39" fmla="*/ 2147483647 h 270"/>
              <a:gd name="T40" fmla="*/ 2147483647 w 186"/>
              <a:gd name="T41" fmla="*/ 2147483647 h 270"/>
              <a:gd name="T42" fmla="*/ 2147483647 w 186"/>
              <a:gd name="T43" fmla="*/ 2147483647 h 270"/>
              <a:gd name="T44" fmla="*/ 2147483647 w 186"/>
              <a:gd name="T45" fmla="*/ 2147483647 h 270"/>
              <a:gd name="T46" fmla="*/ 2147483647 w 186"/>
              <a:gd name="T47" fmla="*/ 2147483647 h 270"/>
              <a:gd name="T48" fmla="*/ 2147483647 w 186"/>
              <a:gd name="T49" fmla="*/ 2147483647 h 270"/>
              <a:gd name="T50" fmla="*/ 2147483647 w 186"/>
              <a:gd name="T51" fmla="*/ 2147483647 h 270"/>
              <a:gd name="T52" fmla="*/ 2147483647 w 186"/>
              <a:gd name="T53" fmla="*/ 2147483647 h 270"/>
              <a:gd name="T54" fmla="*/ 2147483647 w 186"/>
              <a:gd name="T55" fmla="*/ 2147483647 h 270"/>
              <a:gd name="T56" fmla="*/ 2147483647 w 186"/>
              <a:gd name="T57" fmla="*/ 2147483647 h 270"/>
              <a:gd name="T58" fmla="*/ 2147483647 w 186"/>
              <a:gd name="T59" fmla="*/ 2147483647 h 270"/>
              <a:gd name="T60" fmla="*/ 2147483647 w 186"/>
              <a:gd name="T61" fmla="*/ 2147483647 h 270"/>
              <a:gd name="T62" fmla="*/ 2147483647 w 186"/>
              <a:gd name="T63" fmla="*/ 2147483647 h 270"/>
              <a:gd name="T64" fmla="*/ 2147483647 w 186"/>
              <a:gd name="T65" fmla="*/ 2147483647 h 270"/>
              <a:gd name="T66" fmla="*/ 2147483647 w 186"/>
              <a:gd name="T67" fmla="*/ 2147483647 h 270"/>
              <a:gd name="T68" fmla="*/ 2147483647 w 186"/>
              <a:gd name="T69" fmla="*/ 2147483647 h 270"/>
              <a:gd name="T70" fmla="*/ 2147483647 w 186"/>
              <a:gd name="T71" fmla="*/ 2147483647 h 270"/>
              <a:gd name="T72" fmla="*/ 2147483647 w 186"/>
              <a:gd name="T73" fmla="*/ 2147483647 h 270"/>
              <a:gd name="T74" fmla="*/ 2147483647 w 186"/>
              <a:gd name="T75" fmla="*/ 2147483647 h 270"/>
              <a:gd name="T76" fmla="*/ 2147483647 w 186"/>
              <a:gd name="T77" fmla="*/ 2147483647 h 270"/>
              <a:gd name="T78" fmla="*/ 2147483647 w 186"/>
              <a:gd name="T79" fmla="*/ 2147483647 h 270"/>
              <a:gd name="T80" fmla="*/ 2147483647 w 186"/>
              <a:gd name="T81" fmla="*/ 2147483647 h 270"/>
              <a:gd name="T82" fmla="*/ 2147483647 w 186"/>
              <a:gd name="T83" fmla="*/ 2147483647 h 270"/>
              <a:gd name="T84" fmla="*/ 2147483647 w 186"/>
              <a:gd name="T85" fmla="*/ 2147483647 h 270"/>
              <a:gd name="T86" fmla="*/ 2147483647 w 186"/>
              <a:gd name="T87" fmla="*/ 2147483647 h 270"/>
              <a:gd name="T88" fmla="*/ 2147483647 w 186"/>
              <a:gd name="T89" fmla="*/ 2147483647 h 270"/>
              <a:gd name="T90" fmla="*/ 2147483647 w 186"/>
              <a:gd name="T91" fmla="*/ 2147483647 h 270"/>
              <a:gd name="T92" fmla="*/ 2147483647 w 186"/>
              <a:gd name="T93" fmla="*/ 2147483647 h 270"/>
              <a:gd name="T94" fmla="*/ 2147483647 w 186"/>
              <a:gd name="T95" fmla="*/ 2147483647 h 270"/>
              <a:gd name="T96" fmla="*/ 2147483647 w 186"/>
              <a:gd name="T97" fmla="*/ 2147483647 h 270"/>
              <a:gd name="T98" fmla="*/ 2147483647 w 186"/>
              <a:gd name="T99" fmla="*/ 2147483647 h 270"/>
              <a:gd name="T100" fmla="*/ 0 w 186"/>
              <a:gd name="T101" fmla="*/ 2147483647 h 270"/>
              <a:gd name="T102" fmla="*/ 2147483647 w 186"/>
              <a:gd name="T103" fmla="*/ 2147483647 h 270"/>
              <a:gd name="T104" fmla="*/ 2147483647 w 186"/>
              <a:gd name="T105" fmla="*/ 2147483647 h 270"/>
              <a:gd name="T106" fmla="*/ 2147483647 w 186"/>
              <a:gd name="T107" fmla="*/ 2147483647 h 270"/>
              <a:gd name="T108" fmla="*/ 2147483647 w 186"/>
              <a:gd name="T109" fmla="*/ 2147483647 h 270"/>
              <a:gd name="T110" fmla="*/ 2147483647 w 186"/>
              <a:gd name="T111" fmla="*/ 2147483647 h 270"/>
              <a:gd name="T112" fmla="*/ 2147483647 w 186"/>
              <a:gd name="T113" fmla="*/ 0 h 270"/>
              <a:gd name="T114" fmla="*/ 2147483647 w 186"/>
              <a:gd name="T115" fmla="*/ 2147483647 h 270"/>
              <a:gd name="T116" fmla="*/ 2147483647 w 186"/>
              <a:gd name="T117" fmla="*/ 2147483647 h 270"/>
              <a:gd name="T118" fmla="*/ 2147483647 w 186"/>
              <a:gd name="T119" fmla="*/ 2147483647 h 270"/>
              <a:gd name="T120" fmla="*/ 2147483647 w 186"/>
              <a:gd name="T121" fmla="*/ 2147483647 h 270"/>
              <a:gd name="T122" fmla="*/ 2147483647 w 186"/>
              <a:gd name="T123" fmla="*/ 2147483647 h 270"/>
              <a:gd name="T124" fmla="*/ 2147483647 w 186"/>
              <a:gd name="T125" fmla="*/ 2147483647 h 2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6"/>
              <a:gd name="T190" fmla="*/ 0 h 270"/>
              <a:gd name="T191" fmla="*/ 186 w 186"/>
              <a:gd name="T192" fmla="*/ 270 h 2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6" h="270">
                <a:moveTo>
                  <a:pt x="106" y="8"/>
                </a:moveTo>
                <a:lnTo>
                  <a:pt x="109" y="13"/>
                </a:lnTo>
                <a:lnTo>
                  <a:pt x="103" y="27"/>
                </a:lnTo>
                <a:lnTo>
                  <a:pt x="102" y="52"/>
                </a:lnTo>
                <a:lnTo>
                  <a:pt x="115" y="68"/>
                </a:lnTo>
                <a:lnTo>
                  <a:pt x="115" y="75"/>
                </a:lnTo>
                <a:lnTo>
                  <a:pt x="101" y="112"/>
                </a:lnTo>
                <a:lnTo>
                  <a:pt x="83" y="122"/>
                </a:lnTo>
                <a:lnTo>
                  <a:pt x="75" y="144"/>
                </a:lnTo>
                <a:lnTo>
                  <a:pt x="69" y="147"/>
                </a:lnTo>
                <a:lnTo>
                  <a:pt x="82" y="174"/>
                </a:lnTo>
                <a:lnTo>
                  <a:pt x="80" y="187"/>
                </a:lnTo>
                <a:lnTo>
                  <a:pt x="84" y="200"/>
                </a:lnTo>
                <a:lnTo>
                  <a:pt x="95" y="209"/>
                </a:lnTo>
                <a:lnTo>
                  <a:pt x="105" y="208"/>
                </a:lnTo>
                <a:lnTo>
                  <a:pt x="105" y="197"/>
                </a:lnTo>
                <a:lnTo>
                  <a:pt x="126" y="190"/>
                </a:lnTo>
                <a:lnTo>
                  <a:pt x="136" y="197"/>
                </a:lnTo>
                <a:lnTo>
                  <a:pt x="146" y="216"/>
                </a:lnTo>
                <a:lnTo>
                  <a:pt x="150" y="212"/>
                </a:lnTo>
                <a:lnTo>
                  <a:pt x="149" y="203"/>
                </a:lnTo>
                <a:lnTo>
                  <a:pt x="174" y="214"/>
                </a:lnTo>
                <a:lnTo>
                  <a:pt x="176" y="217"/>
                </a:lnTo>
                <a:lnTo>
                  <a:pt x="163" y="223"/>
                </a:lnTo>
                <a:lnTo>
                  <a:pt x="165" y="229"/>
                </a:lnTo>
                <a:lnTo>
                  <a:pt x="175" y="236"/>
                </a:lnTo>
                <a:lnTo>
                  <a:pt x="173" y="245"/>
                </a:lnTo>
                <a:lnTo>
                  <a:pt x="186" y="251"/>
                </a:lnTo>
                <a:lnTo>
                  <a:pt x="183" y="270"/>
                </a:lnTo>
                <a:lnTo>
                  <a:pt x="174" y="259"/>
                </a:lnTo>
                <a:lnTo>
                  <a:pt x="179" y="255"/>
                </a:lnTo>
                <a:lnTo>
                  <a:pt x="167" y="254"/>
                </a:lnTo>
                <a:lnTo>
                  <a:pt x="153" y="246"/>
                </a:lnTo>
                <a:lnTo>
                  <a:pt x="146" y="230"/>
                </a:lnTo>
                <a:lnTo>
                  <a:pt x="124" y="212"/>
                </a:lnTo>
                <a:lnTo>
                  <a:pt x="116" y="209"/>
                </a:lnTo>
                <a:lnTo>
                  <a:pt x="125" y="240"/>
                </a:lnTo>
                <a:lnTo>
                  <a:pt x="92" y="210"/>
                </a:lnTo>
                <a:lnTo>
                  <a:pt x="78" y="209"/>
                </a:lnTo>
                <a:lnTo>
                  <a:pt x="67" y="221"/>
                </a:lnTo>
                <a:lnTo>
                  <a:pt x="60" y="222"/>
                </a:lnTo>
                <a:lnTo>
                  <a:pt x="45" y="211"/>
                </a:lnTo>
                <a:lnTo>
                  <a:pt x="41" y="214"/>
                </a:lnTo>
                <a:lnTo>
                  <a:pt x="37" y="199"/>
                </a:lnTo>
                <a:lnTo>
                  <a:pt x="48" y="176"/>
                </a:lnTo>
                <a:lnTo>
                  <a:pt x="36" y="172"/>
                </a:lnTo>
                <a:lnTo>
                  <a:pt x="33" y="187"/>
                </a:lnTo>
                <a:lnTo>
                  <a:pt x="23" y="172"/>
                </a:lnTo>
                <a:lnTo>
                  <a:pt x="18" y="172"/>
                </a:lnTo>
                <a:lnTo>
                  <a:pt x="14" y="158"/>
                </a:lnTo>
                <a:lnTo>
                  <a:pt x="0" y="108"/>
                </a:lnTo>
                <a:lnTo>
                  <a:pt x="7" y="107"/>
                </a:lnTo>
                <a:lnTo>
                  <a:pt x="15" y="115"/>
                </a:lnTo>
                <a:lnTo>
                  <a:pt x="25" y="112"/>
                </a:lnTo>
                <a:lnTo>
                  <a:pt x="28" y="32"/>
                </a:lnTo>
                <a:lnTo>
                  <a:pt x="35" y="6"/>
                </a:lnTo>
                <a:lnTo>
                  <a:pt x="40" y="0"/>
                </a:lnTo>
                <a:lnTo>
                  <a:pt x="63" y="3"/>
                </a:lnTo>
                <a:lnTo>
                  <a:pt x="81" y="13"/>
                </a:lnTo>
                <a:lnTo>
                  <a:pt x="96" y="12"/>
                </a:lnTo>
                <a:lnTo>
                  <a:pt x="97" y="3"/>
                </a:lnTo>
                <a:lnTo>
                  <a:pt x="103" y="3"/>
                </a:lnTo>
                <a:lnTo>
                  <a:pt x="106" y="8"/>
                </a:lnTo>
                <a:close/>
              </a:path>
            </a:pathLst>
          </a:custGeom>
          <a:solidFill>
            <a:schemeClr val="accent1"/>
          </a:solidFill>
          <a:ln w="6350">
            <a:solidFill>
              <a:schemeClr val="tx2"/>
            </a:solidFill>
            <a:round/>
            <a:headEnd/>
            <a:tailEnd/>
          </a:ln>
        </p:spPr>
        <p:txBody>
          <a:bodyPr/>
          <a:lstStyle/>
          <a:p>
            <a:endParaRPr lang="en-US"/>
          </a:p>
        </p:txBody>
      </p:sp>
      <p:sp>
        <p:nvSpPr>
          <p:cNvPr id="660" name="Freeform 1711"/>
          <p:cNvSpPr>
            <a:spLocks/>
          </p:cNvSpPr>
          <p:nvPr/>
        </p:nvSpPr>
        <p:spPr bwMode="auto">
          <a:xfrm>
            <a:off x="6917073" y="3745905"/>
            <a:ext cx="18633" cy="7642"/>
          </a:xfrm>
          <a:custGeom>
            <a:avLst/>
            <a:gdLst>
              <a:gd name="T0" fmla="*/ 2147483647 w 38"/>
              <a:gd name="T1" fmla="*/ 0 h 19"/>
              <a:gd name="T2" fmla="*/ 2147483647 w 38"/>
              <a:gd name="T3" fmla="*/ 0 h 19"/>
              <a:gd name="T4" fmla="*/ 0 w 38"/>
              <a:gd name="T5" fmla="*/ 2147483647 h 19"/>
              <a:gd name="T6" fmla="*/ 2147483647 w 38"/>
              <a:gd name="T7" fmla="*/ 2147483647 h 19"/>
              <a:gd name="T8" fmla="*/ 2147483647 w 38"/>
              <a:gd name="T9" fmla="*/ 0 h 19"/>
              <a:gd name="T10" fmla="*/ 0 60000 65536"/>
              <a:gd name="T11" fmla="*/ 0 60000 65536"/>
              <a:gd name="T12" fmla="*/ 0 60000 65536"/>
              <a:gd name="T13" fmla="*/ 0 60000 65536"/>
              <a:gd name="T14" fmla="*/ 0 60000 65536"/>
              <a:gd name="T15" fmla="*/ 0 w 38"/>
              <a:gd name="T16" fmla="*/ 0 h 19"/>
              <a:gd name="T17" fmla="*/ 38 w 38"/>
              <a:gd name="T18" fmla="*/ 19 h 19"/>
            </a:gdLst>
            <a:ahLst/>
            <a:cxnLst>
              <a:cxn ang="T10">
                <a:pos x="T0" y="T1"/>
              </a:cxn>
              <a:cxn ang="T11">
                <a:pos x="T2" y="T3"/>
              </a:cxn>
              <a:cxn ang="T12">
                <a:pos x="T4" y="T5"/>
              </a:cxn>
              <a:cxn ang="T13">
                <a:pos x="T6" y="T7"/>
              </a:cxn>
              <a:cxn ang="T14">
                <a:pos x="T8" y="T9"/>
              </a:cxn>
            </a:cxnLst>
            <a:rect l="T15" t="T16" r="T17" b="T18"/>
            <a:pathLst>
              <a:path w="38" h="19">
                <a:moveTo>
                  <a:pt x="38" y="0"/>
                </a:moveTo>
                <a:lnTo>
                  <a:pt x="21" y="0"/>
                </a:lnTo>
                <a:lnTo>
                  <a:pt x="0" y="19"/>
                </a:lnTo>
                <a:lnTo>
                  <a:pt x="21" y="14"/>
                </a:lnTo>
                <a:lnTo>
                  <a:pt x="38" y="0"/>
                </a:lnTo>
                <a:close/>
              </a:path>
            </a:pathLst>
          </a:custGeom>
          <a:solidFill>
            <a:schemeClr val="accent1"/>
          </a:solidFill>
          <a:ln w="6350">
            <a:solidFill>
              <a:schemeClr val="tx2"/>
            </a:solidFill>
            <a:round/>
            <a:headEnd/>
            <a:tailEnd/>
          </a:ln>
        </p:spPr>
        <p:txBody>
          <a:bodyPr/>
          <a:lstStyle/>
          <a:p>
            <a:endParaRPr lang="en-US"/>
          </a:p>
        </p:txBody>
      </p:sp>
      <p:sp>
        <p:nvSpPr>
          <p:cNvPr id="661" name="Freeform 1712"/>
          <p:cNvSpPr>
            <a:spLocks/>
          </p:cNvSpPr>
          <p:nvPr/>
        </p:nvSpPr>
        <p:spPr bwMode="auto">
          <a:xfrm>
            <a:off x="6985873" y="3865629"/>
            <a:ext cx="2866" cy="8916"/>
          </a:xfrm>
          <a:custGeom>
            <a:avLst/>
            <a:gdLst>
              <a:gd name="T0" fmla="*/ 0 w 12"/>
              <a:gd name="T1" fmla="*/ 2147483647 h 21"/>
              <a:gd name="T2" fmla="*/ 2147483647 w 12"/>
              <a:gd name="T3" fmla="*/ 2147483647 h 21"/>
              <a:gd name="T4" fmla="*/ 2147483647 w 12"/>
              <a:gd name="T5" fmla="*/ 0 h 21"/>
              <a:gd name="T6" fmla="*/ 2147483647 w 12"/>
              <a:gd name="T7" fmla="*/ 2147483647 h 21"/>
              <a:gd name="T8" fmla="*/ 0 w 12"/>
              <a:gd name="T9" fmla="*/ 2147483647 h 21"/>
              <a:gd name="T10" fmla="*/ 0 60000 65536"/>
              <a:gd name="T11" fmla="*/ 0 60000 65536"/>
              <a:gd name="T12" fmla="*/ 0 60000 65536"/>
              <a:gd name="T13" fmla="*/ 0 60000 65536"/>
              <a:gd name="T14" fmla="*/ 0 60000 65536"/>
              <a:gd name="T15" fmla="*/ 0 w 12"/>
              <a:gd name="T16" fmla="*/ 0 h 21"/>
              <a:gd name="T17" fmla="*/ 12 w 12"/>
              <a:gd name="T18" fmla="*/ 21 h 21"/>
            </a:gdLst>
            <a:ahLst/>
            <a:cxnLst>
              <a:cxn ang="T10">
                <a:pos x="T0" y="T1"/>
              </a:cxn>
              <a:cxn ang="T11">
                <a:pos x="T2" y="T3"/>
              </a:cxn>
              <a:cxn ang="T12">
                <a:pos x="T4" y="T5"/>
              </a:cxn>
              <a:cxn ang="T13">
                <a:pos x="T6" y="T7"/>
              </a:cxn>
              <a:cxn ang="T14">
                <a:pos x="T8" y="T9"/>
              </a:cxn>
            </a:cxnLst>
            <a:rect l="T15" t="T16" r="T17" b="T18"/>
            <a:pathLst>
              <a:path w="12" h="21">
                <a:moveTo>
                  <a:pt x="0" y="21"/>
                </a:moveTo>
                <a:lnTo>
                  <a:pt x="12" y="8"/>
                </a:lnTo>
                <a:lnTo>
                  <a:pt x="11" y="0"/>
                </a:lnTo>
                <a:lnTo>
                  <a:pt x="1" y="13"/>
                </a:lnTo>
                <a:lnTo>
                  <a:pt x="0" y="21"/>
                </a:lnTo>
                <a:close/>
              </a:path>
            </a:pathLst>
          </a:custGeom>
          <a:solidFill>
            <a:schemeClr val="accent1"/>
          </a:solidFill>
          <a:ln w="6350">
            <a:solidFill>
              <a:schemeClr val="tx2"/>
            </a:solidFill>
            <a:round/>
            <a:headEnd/>
            <a:tailEnd/>
          </a:ln>
        </p:spPr>
        <p:txBody>
          <a:bodyPr/>
          <a:lstStyle/>
          <a:p>
            <a:endParaRPr lang="en-US"/>
          </a:p>
        </p:txBody>
      </p:sp>
      <p:sp>
        <p:nvSpPr>
          <p:cNvPr id="662" name="Freeform 1713"/>
          <p:cNvSpPr>
            <a:spLocks/>
          </p:cNvSpPr>
          <p:nvPr/>
        </p:nvSpPr>
        <p:spPr bwMode="auto">
          <a:xfrm>
            <a:off x="6882673" y="3796852"/>
            <a:ext cx="7166" cy="2547"/>
          </a:xfrm>
          <a:custGeom>
            <a:avLst/>
            <a:gdLst>
              <a:gd name="T0" fmla="*/ 0 w 13"/>
              <a:gd name="T1" fmla="*/ 2147483647 h 6"/>
              <a:gd name="T2" fmla="*/ 2147483647 w 13"/>
              <a:gd name="T3" fmla="*/ 2147483647 h 6"/>
              <a:gd name="T4" fmla="*/ 2147483647 w 13"/>
              <a:gd name="T5" fmla="*/ 0 h 6"/>
              <a:gd name="T6" fmla="*/ 0 w 13"/>
              <a:gd name="T7" fmla="*/ 2147483647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0" y="6"/>
                </a:moveTo>
                <a:lnTo>
                  <a:pt x="13" y="5"/>
                </a:lnTo>
                <a:lnTo>
                  <a:pt x="6" y="0"/>
                </a:lnTo>
                <a:lnTo>
                  <a:pt x="0" y="6"/>
                </a:lnTo>
                <a:close/>
              </a:path>
            </a:pathLst>
          </a:custGeom>
          <a:solidFill>
            <a:schemeClr val="accent1"/>
          </a:solidFill>
          <a:ln w="6350">
            <a:solidFill>
              <a:schemeClr val="tx2"/>
            </a:solidFill>
            <a:round/>
            <a:headEnd/>
            <a:tailEnd/>
          </a:ln>
        </p:spPr>
        <p:txBody>
          <a:bodyPr/>
          <a:lstStyle/>
          <a:p>
            <a:endParaRPr lang="en-US"/>
          </a:p>
        </p:txBody>
      </p:sp>
      <p:sp>
        <p:nvSpPr>
          <p:cNvPr id="663" name="Freeform 1716"/>
          <p:cNvSpPr>
            <a:spLocks/>
          </p:cNvSpPr>
          <p:nvPr/>
        </p:nvSpPr>
        <p:spPr bwMode="auto">
          <a:xfrm>
            <a:off x="6855438" y="4024837"/>
            <a:ext cx="4300" cy="1273"/>
          </a:xfrm>
          <a:custGeom>
            <a:avLst/>
            <a:gdLst>
              <a:gd name="T0" fmla="*/ 0 w 11"/>
              <a:gd name="T1" fmla="*/ 2147483647 h 1"/>
              <a:gd name="T2" fmla="*/ 2147483647 w 11"/>
              <a:gd name="T3" fmla="*/ 0 h 1"/>
              <a:gd name="T4" fmla="*/ 0 w 11"/>
              <a:gd name="T5" fmla="*/ 2147483647 h 1"/>
              <a:gd name="T6" fmla="*/ 0 60000 65536"/>
              <a:gd name="T7" fmla="*/ 0 60000 65536"/>
              <a:gd name="T8" fmla="*/ 0 60000 65536"/>
              <a:gd name="T9" fmla="*/ 0 w 11"/>
              <a:gd name="T10" fmla="*/ 0 h 1"/>
              <a:gd name="T11" fmla="*/ 11 w 11"/>
              <a:gd name="T12" fmla="*/ 1 h 1"/>
            </a:gdLst>
            <a:ahLst/>
            <a:cxnLst>
              <a:cxn ang="T6">
                <a:pos x="T0" y="T1"/>
              </a:cxn>
              <a:cxn ang="T7">
                <a:pos x="T2" y="T3"/>
              </a:cxn>
              <a:cxn ang="T8">
                <a:pos x="T4" y="T5"/>
              </a:cxn>
            </a:cxnLst>
            <a:rect l="T9" t="T10" r="T11" b="T12"/>
            <a:pathLst>
              <a:path w="11" h="1">
                <a:moveTo>
                  <a:pt x="0" y="1"/>
                </a:moveTo>
                <a:lnTo>
                  <a:pt x="11" y="0"/>
                </a:lnTo>
                <a:lnTo>
                  <a:pt x="0" y="1"/>
                </a:lnTo>
                <a:close/>
              </a:path>
            </a:pathLst>
          </a:custGeom>
          <a:solidFill>
            <a:schemeClr val="accent1"/>
          </a:solidFill>
          <a:ln w="6350">
            <a:solidFill>
              <a:schemeClr val="tx2"/>
            </a:solidFill>
            <a:round/>
            <a:headEnd/>
            <a:tailEnd/>
          </a:ln>
        </p:spPr>
        <p:txBody>
          <a:bodyPr/>
          <a:lstStyle/>
          <a:p>
            <a:endParaRPr lang="en-US"/>
          </a:p>
        </p:txBody>
      </p:sp>
      <p:sp>
        <p:nvSpPr>
          <p:cNvPr id="664" name="Freeform 1717"/>
          <p:cNvSpPr>
            <a:spLocks/>
          </p:cNvSpPr>
          <p:nvPr/>
        </p:nvSpPr>
        <p:spPr bwMode="auto">
          <a:xfrm>
            <a:off x="6879806" y="4015921"/>
            <a:ext cx="20066" cy="7642"/>
          </a:xfrm>
          <a:custGeom>
            <a:avLst/>
            <a:gdLst>
              <a:gd name="T0" fmla="*/ 2147483647 w 47"/>
              <a:gd name="T1" fmla="*/ 2147483647 h 19"/>
              <a:gd name="T2" fmla="*/ 2147483647 w 47"/>
              <a:gd name="T3" fmla="*/ 2147483647 h 19"/>
              <a:gd name="T4" fmla="*/ 2147483647 w 47"/>
              <a:gd name="T5" fmla="*/ 2147483647 h 19"/>
              <a:gd name="T6" fmla="*/ 2147483647 w 47"/>
              <a:gd name="T7" fmla="*/ 2147483647 h 19"/>
              <a:gd name="T8" fmla="*/ 0 w 47"/>
              <a:gd name="T9" fmla="*/ 2147483647 h 19"/>
              <a:gd name="T10" fmla="*/ 2147483647 w 47"/>
              <a:gd name="T11" fmla="*/ 0 h 19"/>
              <a:gd name="T12" fmla="*/ 2147483647 w 47"/>
              <a:gd name="T13" fmla="*/ 2147483647 h 19"/>
              <a:gd name="T14" fmla="*/ 2147483647 w 47"/>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19"/>
              <a:gd name="T26" fmla="*/ 47 w 47"/>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19">
                <a:moveTo>
                  <a:pt x="43" y="5"/>
                </a:moveTo>
                <a:lnTo>
                  <a:pt x="47" y="6"/>
                </a:lnTo>
                <a:lnTo>
                  <a:pt x="41" y="14"/>
                </a:lnTo>
                <a:lnTo>
                  <a:pt x="26" y="19"/>
                </a:lnTo>
                <a:lnTo>
                  <a:pt x="0" y="10"/>
                </a:lnTo>
                <a:lnTo>
                  <a:pt x="7" y="0"/>
                </a:lnTo>
                <a:lnTo>
                  <a:pt x="13" y="5"/>
                </a:lnTo>
                <a:lnTo>
                  <a:pt x="43" y="5"/>
                </a:lnTo>
                <a:close/>
              </a:path>
            </a:pathLst>
          </a:custGeom>
          <a:solidFill>
            <a:schemeClr val="accent1"/>
          </a:solidFill>
          <a:ln w="6350">
            <a:solidFill>
              <a:schemeClr val="tx2"/>
            </a:solidFill>
            <a:round/>
            <a:headEnd/>
            <a:tailEnd/>
          </a:ln>
        </p:spPr>
        <p:txBody>
          <a:bodyPr/>
          <a:lstStyle/>
          <a:p>
            <a:endParaRPr lang="en-US"/>
          </a:p>
        </p:txBody>
      </p:sp>
      <p:sp>
        <p:nvSpPr>
          <p:cNvPr id="665" name="Freeform 1785"/>
          <p:cNvSpPr>
            <a:spLocks/>
          </p:cNvSpPr>
          <p:nvPr/>
        </p:nvSpPr>
        <p:spPr bwMode="auto">
          <a:xfrm>
            <a:off x="6693472" y="4461702"/>
            <a:ext cx="2866" cy="5095"/>
          </a:xfrm>
          <a:custGeom>
            <a:avLst/>
            <a:gdLst>
              <a:gd name="T0" fmla="*/ 2147483647 w 10"/>
              <a:gd name="T1" fmla="*/ 0 h 13"/>
              <a:gd name="T2" fmla="*/ 2147483647 w 10"/>
              <a:gd name="T3" fmla="*/ 2147483647 h 13"/>
              <a:gd name="T4" fmla="*/ 0 w 10"/>
              <a:gd name="T5" fmla="*/ 2147483647 h 13"/>
              <a:gd name="T6" fmla="*/ 2147483647 w 10"/>
              <a:gd name="T7" fmla="*/ 0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10" y="0"/>
                </a:moveTo>
                <a:lnTo>
                  <a:pt x="9" y="13"/>
                </a:lnTo>
                <a:lnTo>
                  <a:pt x="0" y="4"/>
                </a:lnTo>
                <a:lnTo>
                  <a:pt x="10" y="0"/>
                </a:lnTo>
                <a:close/>
              </a:path>
            </a:pathLst>
          </a:custGeom>
          <a:solidFill>
            <a:schemeClr val="accent1"/>
          </a:solidFill>
          <a:ln w="6350">
            <a:solidFill>
              <a:schemeClr val="tx2"/>
            </a:solidFill>
            <a:round/>
            <a:headEnd/>
            <a:tailEnd/>
          </a:ln>
        </p:spPr>
        <p:txBody>
          <a:bodyPr/>
          <a:lstStyle/>
          <a:p>
            <a:endParaRPr lang="en-US"/>
          </a:p>
        </p:txBody>
      </p:sp>
      <p:sp>
        <p:nvSpPr>
          <p:cNvPr id="666" name="Freeform 1786"/>
          <p:cNvSpPr>
            <a:spLocks/>
          </p:cNvSpPr>
          <p:nvPr/>
        </p:nvSpPr>
        <p:spPr bwMode="auto">
          <a:xfrm>
            <a:off x="6710672" y="4473164"/>
            <a:ext cx="2866" cy="5095"/>
          </a:xfrm>
          <a:custGeom>
            <a:avLst/>
            <a:gdLst>
              <a:gd name="T0" fmla="*/ 2147483647 w 7"/>
              <a:gd name="T1" fmla="*/ 2147483647 h 13"/>
              <a:gd name="T2" fmla="*/ 2147483647 w 7"/>
              <a:gd name="T3" fmla="*/ 2147483647 h 13"/>
              <a:gd name="T4" fmla="*/ 2147483647 w 7"/>
              <a:gd name="T5" fmla="*/ 2147483647 h 13"/>
              <a:gd name="T6" fmla="*/ 0 w 7"/>
              <a:gd name="T7" fmla="*/ 0 h 13"/>
              <a:gd name="T8" fmla="*/ 2147483647 w 7"/>
              <a:gd name="T9" fmla="*/ 2147483647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4"/>
                </a:moveTo>
                <a:lnTo>
                  <a:pt x="7" y="13"/>
                </a:lnTo>
                <a:lnTo>
                  <a:pt x="1" y="12"/>
                </a:lnTo>
                <a:lnTo>
                  <a:pt x="0" y="0"/>
                </a:lnTo>
                <a:lnTo>
                  <a:pt x="7" y="4"/>
                </a:lnTo>
                <a:close/>
              </a:path>
            </a:pathLst>
          </a:custGeom>
          <a:solidFill>
            <a:schemeClr val="accent1"/>
          </a:solidFill>
          <a:ln w="6350">
            <a:solidFill>
              <a:schemeClr val="tx2"/>
            </a:solidFill>
            <a:round/>
            <a:headEnd/>
            <a:tailEnd/>
          </a:ln>
        </p:spPr>
        <p:txBody>
          <a:bodyPr/>
          <a:lstStyle/>
          <a:p>
            <a:endParaRPr lang="en-US"/>
          </a:p>
        </p:txBody>
      </p:sp>
      <p:sp>
        <p:nvSpPr>
          <p:cNvPr id="667" name="Freeform 1789"/>
          <p:cNvSpPr>
            <a:spLocks/>
          </p:cNvSpPr>
          <p:nvPr/>
        </p:nvSpPr>
        <p:spPr bwMode="auto">
          <a:xfrm>
            <a:off x="6733605" y="4412028"/>
            <a:ext cx="5734" cy="2547"/>
          </a:xfrm>
          <a:custGeom>
            <a:avLst/>
            <a:gdLst>
              <a:gd name="T0" fmla="*/ 2147483647 w 12"/>
              <a:gd name="T1" fmla="*/ 2147483647 h 4"/>
              <a:gd name="T2" fmla="*/ 0 w 12"/>
              <a:gd name="T3" fmla="*/ 2147483647 h 4"/>
              <a:gd name="T4" fmla="*/ 2147483647 w 12"/>
              <a:gd name="T5" fmla="*/ 2147483647 h 4"/>
              <a:gd name="T6" fmla="*/ 2147483647 w 12"/>
              <a:gd name="T7" fmla="*/ 0 h 4"/>
              <a:gd name="T8" fmla="*/ 2147483647 w 12"/>
              <a:gd name="T9" fmla="*/ 2147483647 h 4"/>
              <a:gd name="T10" fmla="*/ 0 60000 65536"/>
              <a:gd name="T11" fmla="*/ 0 60000 65536"/>
              <a:gd name="T12" fmla="*/ 0 60000 65536"/>
              <a:gd name="T13" fmla="*/ 0 60000 65536"/>
              <a:gd name="T14" fmla="*/ 0 60000 65536"/>
              <a:gd name="T15" fmla="*/ 0 w 12"/>
              <a:gd name="T16" fmla="*/ 0 h 4"/>
              <a:gd name="T17" fmla="*/ 12 w 12"/>
              <a:gd name="T18" fmla="*/ 4 h 4"/>
            </a:gdLst>
            <a:ahLst/>
            <a:cxnLst>
              <a:cxn ang="T10">
                <a:pos x="T0" y="T1"/>
              </a:cxn>
              <a:cxn ang="T11">
                <a:pos x="T2" y="T3"/>
              </a:cxn>
              <a:cxn ang="T12">
                <a:pos x="T4" y="T5"/>
              </a:cxn>
              <a:cxn ang="T13">
                <a:pos x="T6" y="T7"/>
              </a:cxn>
              <a:cxn ang="T14">
                <a:pos x="T8" y="T9"/>
              </a:cxn>
            </a:cxnLst>
            <a:rect l="T15" t="T16" r="T17" b="T18"/>
            <a:pathLst>
              <a:path w="12" h="4">
                <a:moveTo>
                  <a:pt x="7" y="1"/>
                </a:moveTo>
                <a:lnTo>
                  <a:pt x="0" y="4"/>
                </a:lnTo>
                <a:lnTo>
                  <a:pt x="7" y="4"/>
                </a:lnTo>
                <a:lnTo>
                  <a:pt x="12" y="0"/>
                </a:lnTo>
                <a:lnTo>
                  <a:pt x="7" y="1"/>
                </a:lnTo>
                <a:close/>
              </a:path>
            </a:pathLst>
          </a:custGeom>
          <a:solidFill>
            <a:schemeClr val="accent1"/>
          </a:solidFill>
          <a:ln w="6350">
            <a:solidFill>
              <a:schemeClr val="tx2"/>
            </a:solidFill>
            <a:round/>
            <a:headEnd/>
            <a:tailEnd/>
          </a:ln>
        </p:spPr>
        <p:txBody>
          <a:bodyPr/>
          <a:lstStyle/>
          <a:p>
            <a:endParaRPr lang="en-US"/>
          </a:p>
        </p:txBody>
      </p:sp>
      <p:sp>
        <p:nvSpPr>
          <p:cNvPr id="668" name="Freeform 1812"/>
          <p:cNvSpPr>
            <a:spLocks/>
          </p:cNvSpPr>
          <p:nvPr/>
        </p:nvSpPr>
        <p:spPr bwMode="auto">
          <a:xfrm>
            <a:off x="7281141" y="3115446"/>
            <a:ext cx="1235538" cy="764194"/>
          </a:xfrm>
          <a:custGeom>
            <a:avLst/>
            <a:gdLst>
              <a:gd name="T0" fmla="*/ 2147483647 w 2633"/>
              <a:gd name="T1" fmla="*/ 2147483647 h 1831"/>
              <a:gd name="T2" fmla="*/ 2147483647 w 2633"/>
              <a:gd name="T3" fmla="*/ 2147483647 h 1831"/>
              <a:gd name="T4" fmla="*/ 2147483647 w 2633"/>
              <a:gd name="T5" fmla="*/ 2147483647 h 1831"/>
              <a:gd name="T6" fmla="*/ 2147483647 w 2633"/>
              <a:gd name="T7" fmla="*/ 2147483647 h 1831"/>
              <a:gd name="T8" fmla="*/ 2147483647 w 2633"/>
              <a:gd name="T9" fmla="*/ 2147483647 h 1831"/>
              <a:gd name="T10" fmla="*/ 2147483647 w 2633"/>
              <a:gd name="T11" fmla="*/ 2147483647 h 1831"/>
              <a:gd name="T12" fmla="*/ 2147483647 w 2633"/>
              <a:gd name="T13" fmla="*/ 2147483647 h 1831"/>
              <a:gd name="T14" fmla="*/ 2147483647 w 2633"/>
              <a:gd name="T15" fmla="*/ 2147483647 h 1831"/>
              <a:gd name="T16" fmla="*/ 2147483647 w 2633"/>
              <a:gd name="T17" fmla="*/ 2147483647 h 1831"/>
              <a:gd name="T18" fmla="*/ 2147483647 w 2633"/>
              <a:gd name="T19" fmla="*/ 2147483647 h 1831"/>
              <a:gd name="T20" fmla="*/ 2147483647 w 2633"/>
              <a:gd name="T21" fmla="*/ 2147483647 h 1831"/>
              <a:gd name="T22" fmla="*/ 2147483647 w 2633"/>
              <a:gd name="T23" fmla="*/ 2147483647 h 1831"/>
              <a:gd name="T24" fmla="*/ 2147483647 w 2633"/>
              <a:gd name="T25" fmla="*/ 2147483647 h 1831"/>
              <a:gd name="T26" fmla="*/ 2147483647 w 2633"/>
              <a:gd name="T27" fmla="*/ 2147483647 h 1831"/>
              <a:gd name="T28" fmla="*/ 2147483647 w 2633"/>
              <a:gd name="T29" fmla="*/ 2147483647 h 1831"/>
              <a:gd name="T30" fmla="*/ 2147483647 w 2633"/>
              <a:gd name="T31" fmla="*/ 2147483647 h 1831"/>
              <a:gd name="T32" fmla="*/ 2147483647 w 2633"/>
              <a:gd name="T33" fmla="*/ 2147483647 h 1831"/>
              <a:gd name="T34" fmla="*/ 2147483647 w 2633"/>
              <a:gd name="T35" fmla="*/ 2147483647 h 1831"/>
              <a:gd name="T36" fmla="*/ 2147483647 w 2633"/>
              <a:gd name="T37" fmla="*/ 2147483647 h 1831"/>
              <a:gd name="T38" fmla="*/ 2147483647 w 2633"/>
              <a:gd name="T39" fmla="*/ 2147483647 h 1831"/>
              <a:gd name="T40" fmla="*/ 2147483647 w 2633"/>
              <a:gd name="T41" fmla="*/ 2147483647 h 1831"/>
              <a:gd name="T42" fmla="*/ 2147483647 w 2633"/>
              <a:gd name="T43" fmla="*/ 2147483647 h 1831"/>
              <a:gd name="T44" fmla="*/ 2147483647 w 2633"/>
              <a:gd name="T45" fmla="*/ 2147483647 h 1831"/>
              <a:gd name="T46" fmla="*/ 2147483647 w 2633"/>
              <a:gd name="T47" fmla="*/ 2147483647 h 1831"/>
              <a:gd name="T48" fmla="*/ 2147483647 w 2633"/>
              <a:gd name="T49" fmla="*/ 2147483647 h 1831"/>
              <a:gd name="T50" fmla="*/ 2147483647 w 2633"/>
              <a:gd name="T51" fmla="*/ 2147483647 h 1831"/>
              <a:gd name="T52" fmla="*/ 2147483647 w 2633"/>
              <a:gd name="T53" fmla="*/ 2147483647 h 1831"/>
              <a:gd name="T54" fmla="*/ 2147483647 w 2633"/>
              <a:gd name="T55" fmla="*/ 2147483647 h 1831"/>
              <a:gd name="T56" fmla="*/ 2147483647 w 2633"/>
              <a:gd name="T57" fmla="*/ 2147483647 h 1831"/>
              <a:gd name="T58" fmla="*/ 2147483647 w 2633"/>
              <a:gd name="T59" fmla="*/ 2147483647 h 1831"/>
              <a:gd name="T60" fmla="*/ 2147483647 w 2633"/>
              <a:gd name="T61" fmla="*/ 2147483647 h 1831"/>
              <a:gd name="T62" fmla="*/ 2147483647 w 2633"/>
              <a:gd name="T63" fmla="*/ 2147483647 h 1831"/>
              <a:gd name="T64" fmla="*/ 2147483647 w 2633"/>
              <a:gd name="T65" fmla="*/ 2147483647 h 1831"/>
              <a:gd name="T66" fmla="*/ 2147483647 w 2633"/>
              <a:gd name="T67" fmla="*/ 2147483647 h 1831"/>
              <a:gd name="T68" fmla="*/ 2147483647 w 2633"/>
              <a:gd name="T69" fmla="*/ 2147483647 h 1831"/>
              <a:gd name="T70" fmla="*/ 2147483647 w 2633"/>
              <a:gd name="T71" fmla="*/ 2147483647 h 1831"/>
              <a:gd name="T72" fmla="*/ 2147483647 w 2633"/>
              <a:gd name="T73" fmla="*/ 2147483647 h 1831"/>
              <a:gd name="T74" fmla="*/ 2147483647 w 2633"/>
              <a:gd name="T75" fmla="*/ 2147483647 h 1831"/>
              <a:gd name="T76" fmla="*/ 2147483647 w 2633"/>
              <a:gd name="T77" fmla="*/ 2147483647 h 1831"/>
              <a:gd name="T78" fmla="*/ 2147483647 w 2633"/>
              <a:gd name="T79" fmla="*/ 2147483647 h 1831"/>
              <a:gd name="T80" fmla="*/ 2147483647 w 2633"/>
              <a:gd name="T81" fmla="*/ 2147483647 h 1831"/>
              <a:gd name="T82" fmla="*/ 2147483647 w 2633"/>
              <a:gd name="T83" fmla="*/ 2147483647 h 1831"/>
              <a:gd name="T84" fmla="*/ 2147483647 w 2633"/>
              <a:gd name="T85" fmla="*/ 2147483647 h 1831"/>
              <a:gd name="T86" fmla="*/ 2147483647 w 2633"/>
              <a:gd name="T87" fmla="*/ 2147483647 h 1831"/>
              <a:gd name="T88" fmla="*/ 2147483647 w 2633"/>
              <a:gd name="T89" fmla="*/ 2147483647 h 1831"/>
              <a:gd name="T90" fmla="*/ 2147483647 w 2633"/>
              <a:gd name="T91" fmla="*/ 2147483647 h 1831"/>
              <a:gd name="T92" fmla="*/ 2147483647 w 2633"/>
              <a:gd name="T93" fmla="*/ 2147483647 h 1831"/>
              <a:gd name="T94" fmla="*/ 2147483647 w 2633"/>
              <a:gd name="T95" fmla="*/ 2147483647 h 1831"/>
              <a:gd name="T96" fmla="*/ 2147483647 w 2633"/>
              <a:gd name="T97" fmla="*/ 2147483647 h 1831"/>
              <a:gd name="T98" fmla="*/ 2147483647 w 2633"/>
              <a:gd name="T99" fmla="*/ 2147483647 h 1831"/>
              <a:gd name="T100" fmla="*/ 2147483647 w 2633"/>
              <a:gd name="T101" fmla="*/ 2147483647 h 1831"/>
              <a:gd name="T102" fmla="*/ 2147483647 w 2633"/>
              <a:gd name="T103" fmla="*/ 2147483647 h 1831"/>
              <a:gd name="T104" fmla="*/ 2147483647 w 2633"/>
              <a:gd name="T105" fmla="*/ 2147483647 h 1831"/>
              <a:gd name="T106" fmla="*/ 2147483647 w 2633"/>
              <a:gd name="T107" fmla="*/ 2147483647 h 1831"/>
              <a:gd name="T108" fmla="*/ 2147483647 w 2633"/>
              <a:gd name="T109" fmla="*/ 2147483647 h 1831"/>
              <a:gd name="T110" fmla="*/ 2147483647 w 2633"/>
              <a:gd name="T111" fmla="*/ 2147483647 h 1831"/>
              <a:gd name="T112" fmla="*/ 2147483647 w 2633"/>
              <a:gd name="T113" fmla="*/ 2147483647 h 1831"/>
              <a:gd name="T114" fmla="*/ 2147483647 w 2633"/>
              <a:gd name="T115" fmla="*/ 2147483647 h 1831"/>
              <a:gd name="T116" fmla="*/ 2147483647 w 2633"/>
              <a:gd name="T117" fmla="*/ 2147483647 h 1831"/>
              <a:gd name="T118" fmla="*/ 2147483647 w 2633"/>
              <a:gd name="T119" fmla="*/ 2147483647 h 1831"/>
              <a:gd name="T120" fmla="*/ 2147483647 w 2633"/>
              <a:gd name="T121" fmla="*/ 2147483647 h 1831"/>
              <a:gd name="T122" fmla="*/ 2147483647 w 2633"/>
              <a:gd name="T123" fmla="*/ 2147483647 h 1831"/>
              <a:gd name="T124" fmla="*/ 2147483647 w 2633"/>
              <a:gd name="T125" fmla="*/ 2147483647 h 183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33"/>
              <a:gd name="T190" fmla="*/ 0 h 1831"/>
              <a:gd name="T191" fmla="*/ 2633 w 2633"/>
              <a:gd name="T192" fmla="*/ 1831 h 183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33" h="1831">
                <a:moveTo>
                  <a:pt x="1758" y="1732"/>
                </a:moveTo>
                <a:lnTo>
                  <a:pt x="1754" y="1725"/>
                </a:lnTo>
                <a:lnTo>
                  <a:pt x="1747" y="1727"/>
                </a:lnTo>
                <a:lnTo>
                  <a:pt x="1749" y="1734"/>
                </a:lnTo>
                <a:lnTo>
                  <a:pt x="1736" y="1737"/>
                </a:lnTo>
                <a:lnTo>
                  <a:pt x="1733" y="1727"/>
                </a:lnTo>
                <a:lnTo>
                  <a:pt x="1716" y="1713"/>
                </a:lnTo>
                <a:lnTo>
                  <a:pt x="1715" y="1740"/>
                </a:lnTo>
                <a:lnTo>
                  <a:pt x="1710" y="1741"/>
                </a:lnTo>
                <a:lnTo>
                  <a:pt x="1696" y="1724"/>
                </a:lnTo>
                <a:lnTo>
                  <a:pt x="1690" y="1756"/>
                </a:lnTo>
                <a:lnTo>
                  <a:pt x="1660" y="1764"/>
                </a:lnTo>
                <a:lnTo>
                  <a:pt x="1643" y="1763"/>
                </a:lnTo>
                <a:lnTo>
                  <a:pt x="1635" y="1771"/>
                </a:lnTo>
                <a:lnTo>
                  <a:pt x="1608" y="1774"/>
                </a:lnTo>
                <a:lnTo>
                  <a:pt x="1587" y="1783"/>
                </a:lnTo>
                <a:lnTo>
                  <a:pt x="1580" y="1780"/>
                </a:lnTo>
                <a:lnTo>
                  <a:pt x="1571" y="1802"/>
                </a:lnTo>
                <a:lnTo>
                  <a:pt x="1580" y="1817"/>
                </a:lnTo>
                <a:lnTo>
                  <a:pt x="1580" y="1826"/>
                </a:lnTo>
                <a:lnTo>
                  <a:pt x="1568" y="1831"/>
                </a:lnTo>
                <a:lnTo>
                  <a:pt x="1560" y="1826"/>
                </a:lnTo>
                <a:lnTo>
                  <a:pt x="1547" y="1803"/>
                </a:lnTo>
                <a:lnTo>
                  <a:pt x="1552" y="1777"/>
                </a:lnTo>
                <a:lnTo>
                  <a:pt x="1549" y="1771"/>
                </a:lnTo>
                <a:lnTo>
                  <a:pt x="1527" y="1779"/>
                </a:lnTo>
                <a:lnTo>
                  <a:pt x="1523" y="1772"/>
                </a:lnTo>
                <a:lnTo>
                  <a:pt x="1502" y="1765"/>
                </a:lnTo>
                <a:lnTo>
                  <a:pt x="1489" y="1774"/>
                </a:lnTo>
                <a:lnTo>
                  <a:pt x="1489" y="1779"/>
                </a:lnTo>
                <a:lnTo>
                  <a:pt x="1486" y="1771"/>
                </a:lnTo>
                <a:lnTo>
                  <a:pt x="1474" y="1776"/>
                </a:lnTo>
                <a:lnTo>
                  <a:pt x="1447" y="1771"/>
                </a:lnTo>
                <a:lnTo>
                  <a:pt x="1425" y="1757"/>
                </a:lnTo>
                <a:lnTo>
                  <a:pt x="1416" y="1736"/>
                </a:lnTo>
                <a:lnTo>
                  <a:pt x="1420" y="1724"/>
                </a:lnTo>
                <a:lnTo>
                  <a:pt x="1417" y="1716"/>
                </a:lnTo>
                <a:lnTo>
                  <a:pt x="1390" y="1713"/>
                </a:lnTo>
                <a:lnTo>
                  <a:pt x="1358" y="1697"/>
                </a:lnTo>
                <a:lnTo>
                  <a:pt x="1325" y="1717"/>
                </a:lnTo>
                <a:lnTo>
                  <a:pt x="1313" y="1716"/>
                </a:lnTo>
                <a:lnTo>
                  <a:pt x="1299" y="1727"/>
                </a:lnTo>
                <a:lnTo>
                  <a:pt x="1296" y="1722"/>
                </a:lnTo>
                <a:lnTo>
                  <a:pt x="1286" y="1725"/>
                </a:lnTo>
                <a:lnTo>
                  <a:pt x="1280" y="1721"/>
                </a:lnTo>
                <a:lnTo>
                  <a:pt x="1264" y="1729"/>
                </a:lnTo>
                <a:lnTo>
                  <a:pt x="1241" y="1719"/>
                </a:lnTo>
                <a:lnTo>
                  <a:pt x="1231" y="1734"/>
                </a:lnTo>
                <a:lnTo>
                  <a:pt x="1209" y="1728"/>
                </a:lnTo>
                <a:lnTo>
                  <a:pt x="1203" y="1735"/>
                </a:lnTo>
                <a:lnTo>
                  <a:pt x="1203" y="1757"/>
                </a:lnTo>
                <a:lnTo>
                  <a:pt x="1208" y="1770"/>
                </a:lnTo>
                <a:lnTo>
                  <a:pt x="1204" y="1783"/>
                </a:lnTo>
                <a:lnTo>
                  <a:pt x="1189" y="1787"/>
                </a:lnTo>
                <a:lnTo>
                  <a:pt x="1184" y="1767"/>
                </a:lnTo>
                <a:lnTo>
                  <a:pt x="1183" y="1762"/>
                </a:lnTo>
                <a:lnTo>
                  <a:pt x="1174" y="1761"/>
                </a:lnTo>
                <a:lnTo>
                  <a:pt x="1162" y="1770"/>
                </a:lnTo>
                <a:lnTo>
                  <a:pt x="1146" y="1772"/>
                </a:lnTo>
                <a:lnTo>
                  <a:pt x="1132" y="1759"/>
                </a:lnTo>
                <a:lnTo>
                  <a:pt x="1130" y="1750"/>
                </a:lnTo>
                <a:lnTo>
                  <a:pt x="1104" y="1743"/>
                </a:lnTo>
                <a:lnTo>
                  <a:pt x="1113" y="1706"/>
                </a:lnTo>
                <a:lnTo>
                  <a:pt x="1090" y="1692"/>
                </a:lnTo>
                <a:lnTo>
                  <a:pt x="1084" y="1657"/>
                </a:lnTo>
                <a:lnTo>
                  <a:pt x="1065" y="1655"/>
                </a:lnTo>
                <a:lnTo>
                  <a:pt x="1034" y="1674"/>
                </a:lnTo>
                <a:lnTo>
                  <a:pt x="1031" y="1670"/>
                </a:lnTo>
                <a:lnTo>
                  <a:pt x="1038" y="1656"/>
                </a:lnTo>
                <a:lnTo>
                  <a:pt x="1037" y="1637"/>
                </a:lnTo>
                <a:lnTo>
                  <a:pt x="1044" y="1611"/>
                </a:lnTo>
                <a:lnTo>
                  <a:pt x="1068" y="1585"/>
                </a:lnTo>
                <a:lnTo>
                  <a:pt x="1076" y="1563"/>
                </a:lnTo>
                <a:lnTo>
                  <a:pt x="1079" y="1534"/>
                </a:lnTo>
                <a:lnTo>
                  <a:pt x="1072" y="1492"/>
                </a:lnTo>
                <a:lnTo>
                  <a:pt x="1060" y="1492"/>
                </a:lnTo>
                <a:lnTo>
                  <a:pt x="1053" y="1471"/>
                </a:lnTo>
                <a:lnTo>
                  <a:pt x="1043" y="1461"/>
                </a:lnTo>
                <a:lnTo>
                  <a:pt x="1031" y="1456"/>
                </a:lnTo>
                <a:lnTo>
                  <a:pt x="1020" y="1463"/>
                </a:lnTo>
                <a:lnTo>
                  <a:pt x="1016" y="1454"/>
                </a:lnTo>
                <a:lnTo>
                  <a:pt x="1009" y="1451"/>
                </a:lnTo>
                <a:lnTo>
                  <a:pt x="976" y="1448"/>
                </a:lnTo>
                <a:lnTo>
                  <a:pt x="979" y="1424"/>
                </a:lnTo>
                <a:lnTo>
                  <a:pt x="970" y="1421"/>
                </a:lnTo>
                <a:lnTo>
                  <a:pt x="970" y="1407"/>
                </a:lnTo>
                <a:lnTo>
                  <a:pt x="961" y="1398"/>
                </a:lnTo>
                <a:lnTo>
                  <a:pt x="929" y="1411"/>
                </a:lnTo>
                <a:lnTo>
                  <a:pt x="899" y="1407"/>
                </a:lnTo>
                <a:lnTo>
                  <a:pt x="834" y="1459"/>
                </a:lnTo>
                <a:lnTo>
                  <a:pt x="778" y="1481"/>
                </a:lnTo>
                <a:lnTo>
                  <a:pt x="761" y="1470"/>
                </a:lnTo>
                <a:lnTo>
                  <a:pt x="747" y="1472"/>
                </a:lnTo>
                <a:lnTo>
                  <a:pt x="724" y="1468"/>
                </a:lnTo>
                <a:lnTo>
                  <a:pt x="716" y="1458"/>
                </a:lnTo>
                <a:lnTo>
                  <a:pt x="699" y="1457"/>
                </a:lnTo>
                <a:lnTo>
                  <a:pt x="681" y="1470"/>
                </a:lnTo>
                <a:lnTo>
                  <a:pt x="657" y="1502"/>
                </a:lnTo>
                <a:lnTo>
                  <a:pt x="649" y="1498"/>
                </a:lnTo>
                <a:lnTo>
                  <a:pt x="651" y="1478"/>
                </a:lnTo>
                <a:lnTo>
                  <a:pt x="648" y="1468"/>
                </a:lnTo>
                <a:lnTo>
                  <a:pt x="620" y="1476"/>
                </a:lnTo>
                <a:lnTo>
                  <a:pt x="611" y="1476"/>
                </a:lnTo>
                <a:lnTo>
                  <a:pt x="607" y="1482"/>
                </a:lnTo>
                <a:lnTo>
                  <a:pt x="588" y="1481"/>
                </a:lnTo>
                <a:lnTo>
                  <a:pt x="558" y="1469"/>
                </a:lnTo>
                <a:lnTo>
                  <a:pt x="552" y="1476"/>
                </a:lnTo>
                <a:lnTo>
                  <a:pt x="536" y="1472"/>
                </a:lnTo>
                <a:lnTo>
                  <a:pt x="529" y="1476"/>
                </a:lnTo>
                <a:lnTo>
                  <a:pt x="518" y="1461"/>
                </a:lnTo>
                <a:lnTo>
                  <a:pt x="506" y="1462"/>
                </a:lnTo>
                <a:lnTo>
                  <a:pt x="493" y="1455"/>
                </a:lnTo>
                <a:lnTo>
                  <a:pt x="494" y="1440"/>
                </a:lnTo>
                <a:lnTo>
                  <a:pt x="477" y="1442"/>
                </a:lnTo>
                <a:lnTo>
                  <a:pt x="460" y="1436"/>
                </a:lnTo>
                <a:lnTo>
                  <a:pt x="456" y="1430"/>
                </a:lnTo>
                <a:lnTo>
                  <a:pt x="452" y="1432"/>
                </a:lnTo>
                <a:lnTo>
                  <a:pt x="453" y="1408"/>
                </a:lnTo>
                <a:lnTo>
                  <a:pt x="440" y="1407"/>
                </a:lnTo>
                <a:lnTo>
                  <a:pt x="425" y="1419"/>
                </a:lnTo>
                <a:lnTo>
                  <a:pt x="418" y="1414"/>
                </a:lnTo>
                <a:lnTo>
                  <a:pt x="411" y="1394"/>
                </a:lnTo>
                <a:lnTo>
                  <a:pt x="377" y="1368"/>
                </a:lnTo>
                <a:lnTo>
                  <a:pt x="332" y="1357"/>
                </a:lnTo>
                <a:lnTo>
                  <a:pt x="328" y="1372"/>
                </a:lnTo>
                <a:lnTo>
                  <a:pt x="317" y="1361"/>
                </a:lnTo>
                <a:lnTo>
                  <a:pt x="273" y="1337"/>
                </a:lnTo>
                <a:lnTo>
                  <a:pt x="270" y="1328"/>
                </a:lnTo>
                <a:lnTo>
                  <a:pt x="255" y="1328"/>
                </a:lnTo>
                <a:lnTo>
                  <a:pt x="251" y="1320"/>
                </a:lnTo>
                <a:lnTo>
                  <a:pt x="228" y="1323"/>
                </a:lnTo>
                <a:lnTo>
                  <a:pt x="227" y="1314"/>
                </a:lnTo>
                <a:lnTo>
                  <a:pt x="216" y="1301"/>
                </a:lnTo>
                <a:lnTo>
                  <a:pt x="218" y="1273"/>
                </a:lnTo>
                <a:lnTo>
                  <a:pt x="207" y="1260"/>
                </a:lnTo>
                <a:lnTo>
                  <a:pt x="205" y="1246"/>
                </a:lnTo>
                <a:lnTo>
                  <a:pt x="217" y="1239"/>
                </a:lnTo>
                <a:lnTo>
                  <a:pt x="228" y="1253"/>
                </a:lnTo>
                <a:lnTo>
                  <a:pt x="234" y="1252"/>
                </a:lnTo>
                <a:lnTo>
                  <a:pt x="241" y="1242"/>
                </a:lnTo>
                <a:lnTo>
                  <a:pt x="248" y="1245"/>
                </a:lnTo>
                <a:lnTo>
                  <a:pt x="254" y="1236"/>
                </a:lnTo>
                <a:lnTo>
                  <a:pt x="247" y="1222"/>
                </a:lnTo>
                <a:lnTo>
                  <a:pt x="247" y="1213"/>
                </a:lnTo>
                <a:lnTo>
                  <a:pt x="234" y="1211"/>
                </a:lnTo>
                <a:lnTo>
                  <a:pt x="227" y="1202"/>
                </a:lnTo>
                <a:lnTo>
                  <a:pt x="230" y="1182"/>
                </a:lnTo>
                <a:lnTo>
                  <a:pt x="226" y="1171"/>
                </a:lnTo>
                <a:lnTo>
                  <a:pt x="245" y="1171"/>
                </a:lnTo>
                <a:lnTo>
                  <a:pt x="252" y="1165"/>
                </a:lnTo>
                <a:lnTo>
                  <a:pt x="255" y="1148"/>
                </a:lnTo>
                <a:lnTo>
                  <a:pt x="263" y="1147"/>
                </a:lnTo>
                <a:lnTo>
                  <a:pt x="263" y="1142"/>
                </a:lnTo>
                <a:lnTo>
                  <a:pt x="275" y="1131"/>
                </a:lnTo>
                <a:lnTo>
                  <a:pt x="287" y="1092"/>
                </a:lnTo>
                <a:lnTo>
                  <a:pt x="282" y="1090"/>
                </a:lnTo>
                <a:lnTo>
                  <a:pt x="275" y="1096"/>
                </a:lnTo>
                <a:lnTo>
                  <a:pt x="271" y="1084"/>
                </a:lnTo>
                <a:lnTo>
                  <a:pt x="264" y="1087"/>
                </a:lnTo>
                <a:lnTo>
                  <a:pt x="258" y="1082"/>
                </a:lnTo>
                <a:lnTo>
                  <a:pt x="257" y="1074"/>
                </a:lnTo>
                <a:lnTo>
                  <a:pt x="240" y="1066"/>
                </a:lnTo>
                <a:lnTo>
                  <a:pt x="217" y="1071"/>
                </a:lnTo>
                <a:lnTo>
                  <a:pt x="185" y="1094"/>
                </a:lnTo>
                <a:lnTo>
                  <a:pt x="171" y="1094"/>
                </a:lnTo>
                <a:lnTo>
                  <a:pt x="133" y="1080"/>
                </a:lnTo>
                <a:lnTo>
                  <a:pt x="125" y="1076"/>
                </a:lnTo>
                <a:lnTo>
                  <a:pt x="124" y="1069"/>
                </a:lnTo>
                <a:lnTo>
                  <a:pt x="108" y="1073"/>
                </a:lnTo>
                <a:lnTo>
                  <a:pt x="96" y="1060"/>
                </a:lnTo>
                <a:lnTo>
                  <a:pt x="101" y="1055"/>
                </a:lnTo>
                <a:lnTo>
                  <a:pt x="99" y="1039"/>
                </a:lnTo>
                <a:lnTo>
                  <a:pt x="93" y="1029"/>
                </a:lnTo>
                <a:lnTo>
                  <a:pt x="85" y="1024"/>
                </a:lnTo>
                <a:lnTo>
                  <a:pt x="76" y="1028"/>
                </a:lnTo>
                <a:lnTo>
                  <a:pt x="73" y="1014"/>
                </a:lnTo>
                <a:lnTo>
                  <a:pt x="41" y="1010"/>
                </a:lnTo>
                <a:lnTo>
                  <a:pt x="34" y="1003"/>
                </a:lnTo>
                <a:lnTo>
                  <a:pt x="46" y="997"/>
                </a:lnTo>
                <a:lnTo>
                  <a:pt x="56" y="998"/>
                </a:lnTo>
                <a:lnTo>
                  <a:pt x="56" y="971"/>
                </a:lnTo>
                <a:lnTo>
                  <a:pt x="48" y="952"/>
                </a:lnTo>
                <a:lnTo>
                  <a:pt x="48" y="936"/>
                </a:lnTo>
                <a:lnTo>
                  <a:pt x="41" y="927"/>
                </a:lnTo>
                <a:lnTo>
                  <a:pt x="12" y="931"/>
                </a:lnTo>
                <a:lnTo>
                  <a:pt x="4" y="926"/>
                </a:lnTo>
                <a:lnTo>
                  <a:pt x="0" y="911"/>
                </a:lnTo>
                <a:lnTo>
                  <a:pt x="6" y="868"/>
                </a:lnTo>
                <a:lnTo>
                  <a:pt x="6" y="861"/>
                </a:lnTo>
                <a:lnTo>
                  <a:pt x="14" y="846"/>
                </a:lnTo>
                <a:lnTo>
                  <a:pt x="48" y="830"/>
                </a:lnTo>
                <a:lnTo>
                  <a:pt x="53" y="819"/>
                </a:lnTo>
                <a:lnTo>
                  <a:pt x="72" y="817"/>
                </a:lnTo>
                <a:lnTo>
                  <a:pt x="81" y="818"/>
                </a:lnTo>
                <a:lnTo>
                  <a:pt x="85" y="828"/>
                </a:lnTo>
                <a:lnTo>
                  <a:pt x="114" y="827"/>
                </a:lnTo>
                <a:lnTo>
                  <a:pt x="126" y="820"/>
                </a:lnTo>
                <a:lnTo>
                  <a:pt x="137" y="796"/>
                </a:lnTo>
                <a:lnTo>
                  <a:pt x="196" y="784"/>
                </a:lnTo>
                <a:lnTo>
                  <a:pt x="214" y="763"/>
                </a:lnTo>
                <a:lnTo>
                  <a:pt x="279" y="732"/>
                </a:lnTo>
                <a:lnTo>
                  <a:pt x="282" y="711"/>
                </a:lnTo>
                <a:lnTo>
                  <a:pt x="291" y="674"/>
                </a:lnTo>
                <a:lnTo>
                  <a:pt x="300" y="667"/>
                </a:lnTo>
                <a:lnTo>
                  <a:pt x="300" y="654"/>
                </a:lnTo>
                <a:lnTo>
                  <a:pt x="286" y="612"/>
                </a:lnTo>
                <a:lnTo>
                  <a:pt x="282" y="582"/>
                </a:lnTo>
                <a:lnTo>
                  <a:pt x="270" y="564"/>
                </a:lnTo>
                <a:lnTo>
                  <a:pt x="302" y="553"/>
                </a:lnTo>
                <a:lnTo>
                  <a:pt x="324" y="545"/>
                </a:lnTo>
                <a:lnTo>
                  <a:pt x="373" y="540"/>
                </a:lnTo>
                <a:lnTo>
                  <a:pt x="366" y="513"/>
                </a:lnTo>
                <a:lnTo>
                  <a:pt x="369" y="498"/>
                </a:lnTo>
                <a:lnTo>
                  <a:pt x="386" y="458"/>
                </a:lnTo>
                <a:lnTo>
                  <a:pt x="399" y="421"/>
                </a:lnTo>
                <a:lnTo>
                  <a:pt x="417" y="422"/>
                </a:lnTo>
                <a:lnTo>
                  <a:pt x="439" y="432"/>
                </a:lnTo>
                <a:lnTo>
                  <a:pt x="466" y="429"/>
                </a:lnTo>
                <a:lnTo>
                  <a:pt x="481" y="442"/>
                </a:lnTo>
                <a:lnTo>
                  <a:pt x="512" y="427"/>
                </a:lnTo>
                <a:lnTo>
                  <a:pt x="512" y="380"/>
                </a:lnTo>
                <a:lnTo>
                  <a:pt x="525" y="345"/>
                </a:lnTo>
                <a:lnTo>
                  <a:pt x="552" y="341"/>
                </a:lnTo>
                <a:lnTo>
                  <a:pt x="574" y="313"/>
                </a:lnTo>
                <a:lnTo>
                  <a:pt x="592" y="319"/>
                </a:lnTo>
                <a:lnTo>
                  <a:pt x="609" y="305"/>
                </a:lnTo>
                <a:lnTo>
                  <a:pt x="619" y="338"/>
                </a:lnTo>
                <a:lnTo>
                  <a:pt x="644" y="356"/>
                </a:lnTo>
                <a:lnTo>
                  <a:pt x="652" y="372"/>
                </a:lnTo>
                <a:lnTo>
                  <a:pt x="663" y="381"/>
                </a:lnTo>
                <a:lnTo>
                  <a:pt x="669" y="372"/>
                </a:lnTo>
                <a:lnTo>
                  <a:pt x="707" y="384"/>
                </a:lnTo>
                <a:lnTo>
                  <a:pt x="714" y="397"/>
                </a:lnTo>
                <a:lnTo>
                  <a:pt x="736" y="460"/>
                </a:lnTo>
                <a:lnTo>
                  <a:pt x="739" y="511"/>
                </a:lnTo>
                <a:lnTo>
                  <a:pt x="731" y="536"/>
                </a:lnTo>
                <a:lnTo>
                  <a:pt x="801" y="558"/>
                </a:lnTo>
                <a:lnTo>
                  <a:pt x="828" y="554"/>
                </a:lnTo>
                <a:lnTo>
                  <a:pt x="930" y="597"/>
                </a:lnTo>
                <a:lnTo>
                  <a:pt x="962" y="652"/>
                </a:lnTo>
                <a:lnTo>
                  <a:pt x="994" y="687"/>
                </a:lnTo>
                <a:lnTo>
                  <a:pt x="1005" y="692"/>
                </a:lnTo>
                <a:lnTo>
                  <a:pt x="1167" y="684"/>
                </a:lnTo>
                <a:lnTo>
                  <a:pt x="1200" y="696"/>
                </a:lnTo>
                <a:lnTo>
                  <a:pt x="1237" y="723"/>
                </a:lnTo>
                <a:lnTo>
                  <a:pt x="1296" y="744"/>
                </a:lnTo>
                <a:lnTo>
                  <a:pt x="1317" y="745"/>
                </a:lnTo>
                <a:lnTo>
                  <a:pt x="1340" y="757"/>
                </a:lnTo>
                <a:lnTo>
                  <a:pt x="1405" y="729"/>
                </a:lnTo>
                <a:lnTo>
                  <a:pt x="1410" y="723"/>
                </a:lnTo>
                <a:lnTo>
                  <a:pt x="1462" y="708"/>
                </a:lnTo>
                <a:lnTo>
                  <a:pt x="1496" y="705"/>
                </a:lnTo>
                <a:lnTo>
                  <a:pt x="1518" y="711"/>
                </a:lnTo>
                <a:lnTo>
                  <a:pt x="1567" y="699"/>
                </a:lnTo>
                <a:lnTo>
                  <a:pt x="1647" y="631"/>
                </a:lnTo>
                <a:lnTo>
                  <a:pt x="1645" y="621"/>
                </a:lnTo>
                <a:lnTo>
                  <a:pt x="1628" y="598"/>
                </a:lnTo>
                <a:lnTo>
                  <a:pt x="1648" y="557"/>
                </a:lnTo>
                <a:lnTo>
                  <a:pt x="1664" y="552"/>
                </a:lnTo>
                <a:lnTo>
                  <a:pt x="1687" y="566"/>
                </a:lnTo>
                <a:lnTo>
                  <a:pt x="1716" y="570"/>
                </a:lnTo>
                <a:lnTo>
                  <a:pt x="1739" y="557"/>
                </a:lnTo>
                <a:lnTo>
                  <a:pt x="1769" y="524"/>
                </a:lnTo>
                <a:lnTo>
                  <a:pt x="1786" y="525"/>
                </a:lnTo>
                <a:lnTo>
                  <a:pt x="1807" y="513"/>
                </a:lnTo>
                <a:lnTo>
                  <a:pt x="1858" y="459"/>
                </a:lnTo>
                <a:lnTo>
                  <a:pt x="1916" y="455"/>
                </a:lnTo>
                <a:lnTo>
                  <a:pt x="1970" y="450"/>
                </a:lnTo>
                <a:lnTo>
                  <a:pt x="1969" y="440"/>
                </a:lnTo>
                <a:lnTo>
                  <a:pt x="1959" y="434"/>
                </a:lnTo>
                <a:lnTo>
                  <a:pt x="1960" y="417"/>
                </a:lnTo>
                <a:lnTo>
                  <a:pt x="1955" y="406"/>
                </a:lnTo>
                <a:lnTo>
                  <a:pt x="1933" y="388"/>
                </a:lnTo>
                <a:lnTo>
                  <a:pt x="1917" y="365"/>
                </a:lnTo>
                <a:lnTo>
                  <a:pt x="1880" y="391"/>
                </a:lnTo>
                <a:lnTo>
                  <a:pt x="1861" y="397"/>
                </a:lnTo>
                <a:lnTo>
                  <a:pt x="1810" y="391"/>
                </a:lnTo>
                <a:lnTo>
                  <a:pt x="1801" y="364"/>
                </a:lnTo>
                <a:lnTo>
                  <a:pt x="1799" y="346"/>
                </a:lnTo>
                <a:lnTo>
                  <a:pt x="1809" y="319"/>
                </a:lnTo>
                <a:lnTo>
                  <a:pt x="1807" y="291"/>
                </a:lnTo>
                <a:lnTo>
                  <a:pt x="1837" y="240"/>
                </a:lnTo>
                <a:lnTo>
                  <a:pt x="1901" y="267"/>
                </a:lnTo>
                <a:lnTo>
                  <a:pt x="1961" y="232"/>
                </a:lnTo>
                <a:lnTo>
                  <a:pt x="1991" y="134"/>
                </a:lnTo>
                <a:lnTo>
                  <a:pt x="2025" y="106"/>
                </a:lnTo>
                <a:lnTo>
                  <a:pt x="2022" y="71"/>
                </a:lnTo>
                <a:lnTo>
                  <a:pt x="1995" y="73"/>
                </a:lnTo>
                <a:lnTo>
                  <a:pt x="1996" y="58"/>
                </a:lnTo>
                <a:lnTo>
                  <a:pt x="2032" y="21"/>
                </a:lnTo>
                <a:lnTo>
                  <a:pt x="2061" y="16"/>
                </a:lnTo>
                <a:lnTo>
                  <a:pt x="2149" y="0"/>
                </a:lnTo>
                <a:lnTo>
                  <a:pt x="2186" y="26"/>
                </a:lnTo>
                <a:lnTo>
                  <a:pt x="2237" y="36"/>
                </a:lnTo>
                <a:lnTo>
                  <a:pt x="2269" y="83"/>
                </a:lnTo>
                <a:lnTo>
                  <a:pt x="2303" y="180"/>
                </a:lnTo>
                <a:lnTo>
                  <a:pt x="2317" y="246"/>
                </a:lnTo>
                <a:lnTo>
                  <a:pt x="2317" y="263"/>
                </a:lnTo>
                <a:lnTo>
                  <a:pt x="2389" y="275"/>
                </a:lnTo>
                <a:lnTo>
                  <a:pt x="2403" y="281"/>
                </a:lnTo>
                <a:lnTo>
                  <a:pt x="2449" y="309"/>
                </a:lnTo>
                <a:lnTo>
                  <a:pt x="2474" y="389"/>
                </a:lnTo>
                <a:lnTo>
                  <a:pt x="2517" y="391"/>
                </a:lnTo>
                <a:lnTo>
                  <a:pt x="2532" y="385"/>
                </a:lnTo>
                <a:lnTo>
                  <a:pt x="2633" y="340"/>
                </a:lnTo>
                <a:lnTo>
                  <a:pt x="2629" y="396"/>
                </a:lnTo>
                <a:lnTo>
                  <a:pt x="2609" y="414"/>
                </a:lnTo>
                <a:lnTo>
                  <a:pt x="2590" y="488"/>
                </a:lnTo>
                <a:lnTo>
                  <a:pt x="2560" y="549"/>
                </a:lnTo>
                <a:lnTo>
                  <a:pt x="2551" y="556"/>
                </a:lnTo>
                <a:lnTo>
                  <a:pt x="2547" y="554"/>
                </a:lnTo>
                <a:lnTo>
                  <a:pt x="2507" y="543"/>
                </a:lnTo>
                <a:lnTo>
                  <a:pt x="2469" y="576"/>
                </a:lnTo>
                <a:lnTo>
                  <a:pt x="2480" y="609"/>
                </a:lnTo>
                <a:lnTo>
                  <a:pt x="2480" y="654"/>
                </a:lnTo>
                <a:lnTo>
                  <a:pt x="2452" y="687"/>
                </a:lnTo>
                <a:lnTo>
                  <a:pt x="2452" y="701"/>
                </a:lnTo>
                <a:lnTo>
                  <a:pt x="2445" y="700"/>
                </a:lnTo>
                <a:lnTo>
                  <a:pt x="2430" y="681"/>
                </a:lnTo>
                <a:lnTo>
                  <a:pt x="2422" y="687"/>
                </a:lnTo>
                <a:lnTo>
                  <a:pt x="2409" y="715"/>
                </a:lnTo>
                <a:lnTo>
                  <a:pt x="2384" y="734"/>
                </a:lnTo>
                <a:lnTo>
                  <a:pt x="2350" y="738"/>
                </a:lnTo>
                <a:lnTo>
                  <a:pt x="2346" y="744"/>
                </a:lnTo>
                <a:lnTo>
                  <a:pt x="2351" y="769"/>
                </a:lnTo>
                <a:lnTo>
                  <a:pt x="2317" y="772"/>
                </a:lnTo>
                <a:lnTo>
                  <a:pt x="2292" y="761"/>
                </a:lnTo>
                <a:lnTo>
                  <a:pt x="2249" y="802"/>
                </a:lnTo>
                <a:lnTo>
                  <a:pt x="2206" y="824"/>
                </a:lnTo>
                <a:lnTo>
                  <a:pt x="2184" y="853"/>
                </a:lnTo>
                <a:lnTo>
                  <a:pt x="2145" y="866"/>
                </a:lnTo>
                <a:lnTo>
                  <a:pt x="2141" y="861"/>
                </a:lnTo>
                <a:lnTo>
                  <a:pt x="2097" y="885"/>
                </a:lnTo>
                <a:lnTo>
                  <a:pt x="2077" y="908"/>
                </a:lnTo>
                <a:lnTo>
                  <a:pt x="2050" y="920"/>
                </a:lnTo>
                <a:lnTo>
                  <a:pt x="2045" y="916"/>
                </a:lnTo>
                <a:lnTo>
                  <a:pt x="2052" y="907"/>
                </a:lnTo>
                <a:lnTo>
                  <a:pt x="2064" y="904"/>
                </a:lnTo>
                <a:lnTo>
                  <a:pt x="2070" y="886"/>
                </a:lnTo>
                <a:lnTo>
                  <a:pt x="2052" y="878"/>
                </a:lnTo>
                <a:lnTo>
                  <a:pt x="2060" y="872"/>
                </a:lnTo>
                <a:lnTo>
                  <a:pt x="2062" y="863"/>
                </a:lnTo>
                <a:lnTo>
                  <a:pt x="2092" y="823"/>
                </a:lnTo>
                <a:lnTo>
                  <a:pt x="2075" y="791"/>
                </a:lnTo>
                <a:lnTo>
                  <a:pt x="2071" y="796"/>
                </a:lnTo>
                <a:lnTo>
                  <a:pt x="2045" y="800"/>
                </a:lnTo>
                <a:lnTo>
                  <a:pt x="2015" y="840"/>
                </a:lnTo>
                <a:lnTo>
                  <a:pt x="1974" y="862"/>
                </a:lnTo>
                <a:lnTo>
                  <a:pt x="1959" y="891"/>
                </a:lnTo>
                <a:lnTo>
                  <a:pt x="1932" y="900"/>
                </a:lnTo>
                <a:lnTo>
                  <a:pt x="1909" y="897"/>
                </a:lnTo>
                <a:lnTo>
                  <a:pt x="1901" y="904"/>
                </a:lnTo>
                <a:lnTo>
                  <a:pt x="1896" y="919"/>
                </a:lnTo>
                <a:lnTo>
                  <a:pt x="1894" y="932"/>
                </a:lnTo>
                <a:lnTo>
                  <a:pt x="1911" y="955"/>
                </a:lnTo>
                <a:lnTo>
                  <a:pt x="1938" y="973"/>
                </a:lnTo>
                <a:lnTo>
                  <a:pt x="1954" y="1001"/>
                </a:lnTo>
                <a:lnTo>
                  <a:pt x="1975" y="1009"/>
                </a:lnTo>
                <a:lnTo>
                  <a:pt x="1986" y="1008"/>
                </a:lnTo>
                <a:lnTo>
                  <a:pt x="2010" y="980"/>
                </a:lnTo>
                <a:lnTo>
                  <a:pt x="2033" y="971"/>
                </a:lnTo>
                <a:lnTo>
                  <a:pt x="2063" y="992"/>
                </a:lnTo>
                <a:lnTo>
                  <a:pt x="2085" y="987"/>
                </a:lnTo>
                <a:lnTo>
                  <a:pt x="2108" y="995"/>
                </a:lnTo>
                <a:lnTo>
                  <a:pt x="2102" y="1016"/>
                </a:lnTo>
                <a:lnTo>
                  <a:pt x="2095" y="1025"/>
                </a:lnTo>
                <a:lnTo>
                  <a:pt x="2089" y="1014"/>
                </a:lnTo>
                <a:lnTo>
                  <a:pt x="2079" y="1016"/>
                </a:lnTo>
                <a:lnTo>
                  <a:pt x="2068" y="1028"/>
                </a:lnTo>
                <a:lnTo>
                  <a:pt x="2032" y="1036"/>
                </a:lnTo>
                <a:lnTo>
                  <a:pt x="2034" y="1045"/>
                </a:lnTo>
                <a:lnTo>
                  <a:pt x="2023" y="1063"/>
                </a:lnTo>
                <a:lnTo>
                  <a:pt x="2015" y="1064"/>
                </a:lnTo>
                <a:lnTo>
                  <a:pt x="2012" y="1055"/>
                </a:lnTo>
                <a:lnTo>
                  <a:pt x="2005" y="1055"/>
                </a:lnTo>
                <a:lnTo>
                  <a:pt x="1999" y="1062"/>
                </a:lnTo>
                <a:lnTo>
                  <a:pt x="2005" y="1069"/>
                </a:lnTo>
                <a:lnTo>
                  <a:pt x="2002" y="1075"/>
                </a:lnTo>
                <a:lnTo>
                  <a:pt x="1982" y="1091"/>
                </a:lnTo>
                <a:lnTo>
                  <a:pt x="1962" y="1127"/>
                </a:lnTo>
                <a:lnTo>
                  <a:pt x="1963" y="1133"/>
                </a:lnTo>
                <a:lnTo>
                  <a:pt x="2005" y="1156"/>
                </a:lnTo>
                <a:lnTo>
                  <a:pt x="2020" y="1183"/>
                </a:lnTo>
                <a:lnTo>
                  <a:pt x="2035" y="1238"/>
                </a:lnTo>
                <a:lnTo>
                  <a:pt x="2052" y="1253"/>
                </a:lnTo>
                <a:lnTo>
                  <a:pt x="2053" y="1261"/>
                </a:lnTo>
                <a:lnTo>
                  <a:pt x="2077" y="1288"/>
                </a:lnTo>
                <a:lnTo>
                  <a:pt x="2022" y="1270"/>
                </a:lnTo>
                <a:lnTo>
                  <a:pt x="2001" y="1274"/>
                </a:lnTo>
                <a:lnTo>
                  <a:pt x="2001" y="1279"/>
                </a:lnTo>
                <a:lnTo>
                  <a:pt x="2021" y="1275"/>
                </a:lnTo>
                <a:lnTo>
                  <a:pt x="2027" y="1284"/>
                </a:lnTo>
                <a:lnTo>
                  <a:pt x="2045" y="1291"/>
                </a:lnTo>
                <a:lnTo>
                  <a:pt x="2061" y="1306"/>
                </a:lnTo>
                <a:lnTo>
                  <a:pt x="2065" y="1308"/>
                </a:lnTo>
                <a:lnTo>
                  <a:pt x="2077" y="1326"/>
                </a:lnTo>
                <a:lnTo>
                  <a:pt x="2031" y="1355"/>
                </a:lnTo>
                <a:lnTo>
                  <a:pt x="2010" y="1357"/>
                </a:lnTo>
                <a:lnTo>
                  <a:pt x="2011" y="1360"/>
                </a:lnTo>
                <a:lnTo>
                  <a:pt x="2029" y="1368"/>
                </a:lnTo>
                <a:lnTo>
                  <a:pt x="2045" y="1360"/>
                </a:lnTo>
                <a:lnTo>
                  <a:pt x="2066" y="1376"/>
                </a:lnTo>
                <a:lnTo>
                  <a:pt x="2081" y="1379"/>
                </a:lnTo>
                <a:lnTo>
                  <a:pt x="2058" y="1398"/>
                </a:lnTo>
                <a:lnTo>
                  <a:pt x="2074" y="1393"/>
                </a:lnTo>
                <a:lnTo>
                  <a:pt x="2074" y="1404"/>
                </a:lnTo>
                <a:lnTo>
                  <a:pt x="2073" y="1411"/>
                </a:lnTo>
                <a:lnTo>
                  <a:pt x="2058" y="1413"/>
                </a:lnTo>
                <a:lnTo>
                  <a:pt x="2062" y="1424"/>
                </a:lnTo>
                <a:lnTo>
                  <a:pt x="2052" y="1463"/>
                </a:lnTo>
                <a:lnTo>
                  <a:pt x="2045" y="1456"/>
                </a:lnTo>
                <a:lnTo>
                  <a:pt x="2040" y="1459"/>
                </a:lnTo>
                <a:lnTo>
                  <a:pt x="2030" y="1476"/>
                </a:lnTo>
                <a:lnTo>
                  <a:pt x="2018" y="1496"/>
                </a:lnTo>
                <a:lnTo>
                  <a:pt x="2004" y="1520"/>
                </a:lnTo>
                <a:lnTo>
                  <a:pt x="1990" y="1541"/>
                </a:lnTo>
                <a:lnTo>
                  <a:pt x="1987" y="1529"/>
                </a:lnTo>
                <a:lnTo>
                  <a:pt x="1975" y="1535"/>
                </a:lnTo>
                <a:lnTo>
                  <a:pt x="1982" y="1551"/>
                </a:lnTo>
                <a:lnTo>
                  <a:pt x="1970" y="1581"/>
                </a:lnTo>
                <a:lnTo>
                  <a:pt x="1970" y="1594"/>
                </a:lnTo>
                <a:lnTo>
                  <a:pt x="1961" y="1591"/>
                </a:lnTo>
                <a:lnTo>
                  <a:pt x="1960" y="1601"/>
                </a:lnTo>
                <a:lnTo>
                  <a:pt x="1949" y="1604"/>
                </a:lnTo>
                <a:lnTo>
                  <a:pt x="1934" y="1632"/>
                </a:lnTo>
                <a:lnTo>
                  <a:pt x="1914" y="1632"/>
                </a:lnTo>
                <a:lnTo>
                  <a:pt x="1908" y="1637"/>
                </a:lnTo>
                <a:lnTo>
                  <a:pt x="1911" y="1644"/>
                </a:lnTo>
                <a:lnTo>
                  <a:pt x="1908" y="1652"/>
                </a:lnTo>
                <a:lnTo>
                  <a:pt x="1894" y="1662"/>
                </a:lnTo>
                <a:lnTo>
                  <a:pt x="1891" y="1671"/>
                </a:lnTo>
                <a:lnTo>
                  <a:pt x="1889" y="1665"/>
                </a:lnTo>
                <a:lnTo>
                  <a:pt x="1884" y="1675"/>
                </a:lnTo>
                <a:lnTo>
                  <a:pt x="1861" y="1680"/>
                </a:lnTo>
                <a:lnTo>
                  <a:pt x="1839" y="1707"/>
                </a:lnTo>
                <a:lnTo>
                  <a:pt x="1818" y="1716"/>
                </a:lnTo>
                <a:lnTo>
                  <a:pt x="1807" y="1713"/>
                </a:lnTo>
                <a:lnTo>
                  <a:pt x="1797" y="1722"/>
                </a:lnTo>
                <a:lnTo>
                  <a:pt x="1786" y="1713"/>
                </a:lnTo>
                <a:lnTo>
                  <a:pt x="1770" y="1725"/>
                </a:lnTo>
                <a:lnTo>
                  <a:pt x="1768" y="1716"/>
                </a:lnTo>
                <a:lnTo>
                  <a:pt x="1761" y="1719"/>
                </a:lnTo>
                <a:lnTo>
                  <a:pt x="1761" y="1727"/>
                </a:lnTo>
                <a:lnTo>
                  <a:pt x="1758" y="1732"/>
                </a:lnTo>
                <a:close/>
              </a:path>
            </a:pathLst>
          </a:custGeom>
          <a:solidFill>
            <a:schemeClr val="accent1"/>
          </a:solidFill>
          <a:ln w="6350">
            <a:solidFill>
              <a:schemeClr val="tx2"/>
            </a:solidFill>
            <a:round/>
            <a:headEnd/>
            <a:tailEnd/>
          </a:ln>
        </p:spPr>
        <p:txBody>
          <a:bodyPr/>
          <a:lstStyle/>
          <a:p>
            <a:endParaRPr lang="en-US"/>
          </a:p>
        </p:txBody>
      </p:sp>
      <p:sp>
        <p:nvSpPr>
          <p:cNvPr id="669" name="Freeform 1813"/>
          <p:cNvSpPr>
            <a:spLocks/>
          </p:cNvSpPr>
          <p:nvPr/>
        </p:nvSpPr>
        <p:spPr bwMode="auto">
          <a:xfrm>
            <a:off x="7166474" y="3561226"/>
            <a:ext cx="593402" cy="542578"/>
          </a:xfrm>
          <a:custGeom>
            <a:avLst/>
            <a:gdLst>
              <a:gd name="T0" fmla="*/ 2147483647 w 1262"/>
              <a:gd name="T1" fmla="*/ 2147483647 h 1303"/>
              <a:gd name="T2" fmla="*/ 2147483647 w 1262"/>
              <a:gd name="T3" fmla="*/ 2147483647 h 1303"/>
              <a:gd name="T4" fmla="*/ 2147483647 w 1262"/>
              <a:gd name="T5" fmla="*/ 2147483647 h 1303"/>
              <a:gd name="T6" fmla="*/ 2147483647 w 1262"/>
              <a:gd name="T7" fmla="*/ 2147483647 h 1303"/>
              <a:gd name="T8" fmla="*/ 2147483647 w 1262"/>
              <a:gd name="T9" fmla="*/ 2147483647 h 1303"/>
              <a:gd name="T10" fmla="*/ 2147483647 w 1262"/>
              <a:gd name="T11" fmla="*/ 2147483647 h 1303"/>
              <a:gd name="T12" fmla="*/ 2147483647 w 1262"/>
              <a:gd name="T13" fmla="*/ 2147483647 h 1303"/>
              <a:gd name="T14" fmla="*/ 2147483647 w 1262"/>
              <a:gd name="T15" fmla="*/ 2147483647 h 1303"/>
              <a:gd name="T16" fmla="*/ 2147483647 w 1262"/>
              <a:gd name="T17" fmla="*/ 2147483647 h 1303"/>
              <a:gd name="T18" fmla="*/ 2147483647 w 1262"/>
              <a:gd name="T19" fmla="*/ 2147483647 h 1303"/>
              <a:gd name="T20" fmla="*/ 2147483647 w 1262"/>
              <a:gd name="T21" fmla="*/ 2147483647 h 1303"/>
              <a:gd name="T22" fmla="*/ 2147483647 w 1262"/>
              <a:gd name="T23" fmla="*/ 2147483647 h 1303"/>
              <a:gd name="T24" fmla="*/ 2147483647 w 1262"/>
              <a:gd name="T25" fmla="*/ 2147483647 h 1303"/>
              <a:gd name="T26" fmla="*/ 2147483647 w 1262"/>
              <a:gd name="T27" fmla="*/ 2147483647 h 1303"/>
              <a:gd name="T28" fmla="*/ 2147483647 w 1262"/>
              <a:gd name="T29" fmla="*/ 2147483647 h 1303"/>
              <a:gd name="T30" fmla="*/ 2147483647 w 1262"/>
              <a:gd name="T31" fmla="*/ 2147483647 h 1303"/>
              <a:gd name="T32" fmla="*/ 2147483647 w 1262"/>
              <a:gd name="T33" fmla="*/ 2147483647 h 1303"/>
              <a:gd name="T34" fmla="*/ 2147483647 w 1262"/>
              <a:gd name="T35" fmla="*/ 2147483647 h 1303"/>
              <a:gd name="T36" fmla="*/ 2147483647 w 1262"/>
              <a:gd name="T37" fmla="*/ 2147483647 h 1303"/>
              <a:gd name="T38" fmla="*/ 2147483647 w 1262"/>
              <a:gd name="T39" fmla="*/ 2147483647 h 1303"/>
              <a:gd name="T40" fmla="*/ 2147483647 w 1262"/>
              <a:gd name="T41" fmla="*/ 2147483647 h 1303"/>
              <a:gd name="T42" fmla="*/ 2147483647 w 1262"/>
              <a:gd name="T43" fmla="*/ 2147483647 h 1303"/>
              <a:gd name="T44" fmla="*/ 2147483647 w 1262"/>
              <a:gd name="T45" fmla="*/ 2147483647 h 1303"/>
              <a:gd name="T46" fmla="*/ 2147483647 w 1262"/>
              <a:gd name="T47" fmla="*/ 2147483647 h 1303"/>
              <a:gd name="T48" fmla="*/ 2147483647 w 1262"/>
              <a:gd name="T49" fmla="*/ 2147483647 h 1303"/>
              <a:gd name="T50" fmla="*/ 2147483647 w 1262"/>
              <a:gd name="T51" fmla="*/ 2147483647 h 1303"/>
              <a:gd name="T52" fmla="*/ 2147483647 w 1262"/>
              <a:gd name="T53" fmla="*/ 2147483647 h 1303"/>
              <a:gd name="T54" fmla="*/ 2147483647 w 1262"/>
              <a:gd name="T55" fmla="*/ 2147483647 h 1303"/>
              <a:gd name="T56" fmla="*/ 2147483647 w 1262"/>
              <a:gd name="T57" fmla="*/ 2147483647 h 1303"/>
              <a:gd name="T58" fmla="*/ 2147483647 w 1262"/>
              <a:gd name="T59" fmla="*/ 2147483647 h 1303"/>
              <a:gd name="T60" fmla="*/ 2147483647 w 1262"/>
              <a:gd name="T61" fmla="*/ 2147483647 h 1303"/>
              <a:gd name="T62" fmla="*/ 2147483647 w 1262"/>
              <a:gd name="T63" fmla="*/ 2147483647 h 1303"/>
              <a:gd name="T64" fmla="*/ 2147483647 w 1262"/>
              <a:gd name="T65" fmla="*/ 2147483647 h 1303"/>
              <a:gd name="T66" fmla="*/ 2147483647 w 1262"/>
              <a:gd name="T67" fmla="*/ 2147483647 h 1303"/>
              <a:gd name="T68" fmla="*/ 2147483647 w 1262"/>
              <a:gd name="T69" fmla="*/ 2147483647 h 1303"/>
              <a:gd name="T70" fmla="*/ 2147483647 w 1262"/>
              <a:gd name="T71" fmla="*/ 2147483647 h 1303"/>
              <a:gd name="T72" fmla="*/ 2147483647 w 1262"/>
              <a:gd name="T73" fmla="*/ 2147483647 h 1303"/>
              <a:gd name="T74" fmla="*/ 2147483647 w 1262"/>
              <a:gd name="T75" fmla="*/ 2147483647 h 1303"/>
              <a:gd name="T76" fmla="*/ 2147483647 w 1262"/>
              <a:gd name="T77" fmla="*/ 2147483647 h 1303"/>
              <a:gd name="T78" fmla="*/ 2147483647 w 1262"/>
              <a:gd name="T79" fmla="*/ 2147483647 h 1303"/>
              <a:gd name="T80" fmla="*/ 2147483647 w 1262"/>
              <a:gd name="T81" fmla="*/ 2147483647 h 1303"/>
              <a:gd name="T82" fmla="*/ 2147483647 w 1262"/>
              <a:gd name="T83" fmla="*/ 2147483647 h 1303"/>
              <a:gd name="T84" fmla="*/ 2147483647 w 1262"/>
              <a:gd name="T85" fmla="*/ 2147483647 h 1303"/>
              <a:gd name="T86" fmla="*/ 2147483647 w 1262"/>
              <a:gd name="T87" fmla="*/ 2147483647 h 1303"/>
              <a:gd name="T88" fmla="*/ 2147483647 w 1262"/>
              <a:gd name="T89" fmla="*/ 2147483647 h 1303"/>
              <a:gd name="T90" fmla="*/ 2147483647 w 1262"/>
              <a:gd name="T91" fmla="*/ 2147483647 h 1303"/>
              <a:gd name="T92" fmla="*/ 2147483647 w 1262"/>
              <a:gd name="T93" fmla="*/ 2147483647 h 1303"/>
              <a:gd name="T94" fmla="*/ 2147483647 w 1262"/>
              <a:gd name="T95" fmla="*/ 2147483647 h 1303"/>
              <a:gd name="T96" fmla="*/ 2147483647 w 1262"/>
              <a:gd name="T97" fmla="*/ 2147483647 h 1303"/>
              <a:gd name="T98" fmla="*/ 2147483647 w 1262"/>
              <a:gd name="T99" fmla="*/ 2147483647 h 1303"/>
              <a:gd name="T100" fmla="*/ 2147483647 w 1262"/>
              <a:gd name="T101" fmla="*/ 2147483647 h 1303"/>
              <a:gd name="T102" fmla="*/ 2147483647 w 1262"/>
              <a:gd name="T103" fmla="*/ 2147483647 h 1303"/>
              <a:gd name="T104" fmla="*/ 2147483647 w 1262"/>
              <a:gd name="T105" fmla="*/ 2147483647 h 1303"/>
              <a:gd name="T106" fmla="*/ 2147483647 w 1262"/>
              <a:gd name="T107" fmla="*/ 2147483647 h 1303"/>
              <a:gd name="T108" fmla="*/ 2147483647 w 1262"/>
              <a:gd name="T109" fmla="*/ 2147483647 h 1303"/>
              <a:gd name="T110" fmla="*/ 2147483647 w 1262"/>
              <a:gd name="T111" fmla="*/ 2147483647 h 130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62"/>
              <a:gd name="T169" fmla="*/ 0 h 1303"/>
              <a:gd name="T170" fmla="*/ 1262 w 1262"/>
              <a:gd name="T171" fmla="*/ 1303 h 130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62" h="1303">
                <a:moveTo>
                  <a:pt x="1" y="613"/>
                </a:moveTo>
                <a:lnTo>
                  <a:pt x="7" y="614"/>
                </a:lnTo>
                <a:lnTo>
                  <a:pt x="21" y="634"/>
                </a:lnTo>
                <a:lnTo>
                  <a:pt x="37" y="646"/>
                </a:lnTo>
                <a:lnTo>
                  <a:pt x="69" y="647"/>
                </a:lnTo>
                <a:lnTo>
                  <a:pt x="88" y="641"/>
                </a:lnTo>
                <a:lnTo>
                  <a:pt x="95" y="633"/>
                </a:lnTo>
                <a:lnTo>
                  <a:pt x="97" y="638"/>
                </a:lnTo>
                <a:lnTo>
                  <a:pt x="91" y="654"/>
                </a:lnTo>
                <a:lnTo>
                  <a:pt x="75" y="667"/>
                </a:lnTo>
                <a:lnTo>
                  <a:pt x="47" y="672"/>
                </a:lnTo>
                <a:lnTo>
                  <a:pt x="40" y="667"/>
                </a:lnTo>
                <a:lnTo>
                  <a:pt x="37" y="671"/>
                </a:lnTo>
                <a:lnTo>
                  <a:pt x="39" y="683"/>
                </a:lnTo>
                <a:lnTo>
                  <a:pt x="97" y="741"/>
                </a:lnTo>
                <a:lnTo>
                  <a:pt x="131" y="741"/>
                </a:lnTo>
                <a:lnTo>
                  <a:pt x="161" y="726"/>
                </a:lnTo>
                <a:lnTo>
                  <a:pt x="171" y="710"/>
                </a:lnTo>
                <a:lnTo>
                  <a:pt x="175" y="668"/>
                </a:lnTo>
                <a:lnTo>
                  <a:pt x="180" y="673"/>
                </a:lnTo>
                <a:lnTo>
                  <a:pt x="203" y="673"/>
                </a:lnTo>
                <a:lnTo>
                  <a:pt x="200" y="679"/>
                </a:lnTo>
                <a:lnTo>
                  <a:pt x="191" y="679"/>
                </a:lnTo>
                <a:lnTo>
                  <a:pt x="187" y="689"/>
                </a:lnTo>
                <a:lnTo>
                  <a:pt x="188" y="699"/>
                </a:lnTo>
                <a:lnTo>
                  <a:pt x="195" y="703"/>
                </a:lnTo>
                <a:lnTo>
                  <a:pt x="191" y="724"/>
                </a:lnTo>
                <a:lnTo>
                  <a:pt x="196" y="728"/>
                </a:lnTo>
                <a:lnTo>
                  <a:pt x="201" y="755"/>
                </a:lnTo>
                <a:lnTo>
                  <a:pt x="195" y="791"/>
                </a:lnTo>
                <a:lnTo>
                  <a:pt x="200" y="822"/>
                </a:lnTo>
                <a:lnTo>
                  <a:pt x="205" y="818"/>
                </a:lnTo>
                <a:lnTo>
                  <a:pt x="206" y="820"/>
                </a:lnTo>
                <a:lnTo>
                  <a:pt x="202" y="851"/>
                </a:lnTo>
                <a:lnTo>
                  <a:pt x="217" y="900"/>
                </a:lnTo>
                <a:lnTo>
                  <a:pt x="221" y="936"/>
                </a:lnTo>
                <a:lnTo>
                  <a:pt x="239" y="970"/>
                </a:lnTo>
                <a:lnTo>
                  <a:pt x="244" y="981"/>
                </a:lnTo>
                <a:lnTo>
                  <a:pt x="252" y="980"/>
                </a:lnTo>
                <a:lnTo>
                  <a:pt x="248" y="988"/>
                </a:lnTo>
                <a:lnTo>
                  <a:pt x="253" y="1005"/>
                </a:lnTo>
                <a:lnTo>
                  <a:pt x="266" y="1018"/>
                </a:lnTo>
                <a:lnTo>
                  <a:pt x="286" y="1064"/>
                </a:lnTo>
                <a:lnTo>
                  <a:pt x="301" y="1121"/>
                </a:lnTo>
                <a:lnTo>
                  <a:pt x="329" y="1157"/>
                </a:lnTo>
                <a:lnTo>
                  <a:pt x="368" y="1265"/>
                </a:lnTo>
                <a:lnTo>
                  <a:pt x="399" y="1303"/>
                </a:lnTo>
                <a:lnTo>
                  <a:pt x="412" y="1303"/>
                </a:lnTo>
                <a:lnTo>
                  <a:pt x="429" y="1287"/>
                </a:lnTo>
                <a:lnTo>
                  <a:pt x="436" y="1263"/>
                </a:lnTo>
                <a:lnTo>
                  <a:pt x="466" y="1253"/>
                </a:lnTo>
                <a:lnTo>
                  <a:pt x="466" y="1238"/>
                </a:lnTo>
                <a:lnTo>
                  <a:pt x="483" y="1208"/>
                </a:lnTo>
                <a:lnTo>
                  <a:pt x="505" y="1209"/>
                </a:lnTo>
                <a:lnTo>
                  <a:pt x="503" y="1151"/>
                </a:lnTo>
                <a:lnTo>
                  <a:pt x="525" y="1084"/>
                </a:lnTo>
                <a:lnTo>
                  <a:pt x="524" y="1072"/>
                </a:lnTo>
                <a:lnTo>
                  <a:pt x="516" y="1063"/>
                </a:lnTo>
                <a:lnTo>
                  <a:pt x="521" y="1063"/>
                </a:lnTo>
                <a:lnTo>
                  <a:pt x="515" y="1039"/>
                </a:lnTo>
                <a:lnTo>
                  <a:pt x="518" y="1023"/>
                </a:lnTo>
                <a:lnTo>
                  <a:pt x="513" y="990"/>
                </a:lnTo>
                <a:lnTo>
                  <a:pt x="526" y="971"/>
                </a:lnTo>
                <a:lnTo>
                  <a:pt x="540" y="967"/>
                </a:lnTo>
                <a:lnTo>
                  <a:pt x="548" y="971"/>
                </a:lnTo>
                <a:lnTo>
                  <a:pt x="555" y="968"/>
                </a:lnTo>
                <a:lnTo>
                  <a:pt x="560" y="959"/>
                </a:lnTo>
                <a:lnTo>
                  <a:pt x="565" y="948"/>
                </a:lnTo>
                <a:lnTo>
                  <a:pt x="586" y="944"/>
                </a:lnTo>
                <a:lnTo>
                  <a:pt x="604" y="937"/>
                </a:lnTo>
                <a:lnTo>
                  <a:pt x="613" y="913"/>
                </a:lnTo>
                <a:lnTo>
                  <a:pt x="691" y="853"/>
                </a:lnTo>
                <a:lnTo>
                  <a:pt x="726" y="812"/>
                </a:lnTo>
                <a:lnTo>
                  <a:pt x="761" y="788"/>
                </a:lnTo>
                <a:lnTo>
                  <a:pt x="784" y="780"/>
                </a:lnTo>
                <a:lnTo>
                  <a:pt x="814" y="747"/>
                </a:lnTo>
                <a:lnTo>
                  <a:pt x="809" y="729"/>
                </a:lnTo>
                <a:lnTo>
                  <a:pt x="814" y="715"/>
                </a:lnTo>
                <a:lnTo>
                  <a:pt x="852" y="697"/>
                </a:lnTo>
                <a:lnTo>
                  <a:pt x="861" y="681"/>
                </a:lnTo>
                <a:lnTo>
                  <a:pt x="862" y="700"/>
                </a:lnTo>
                <a:lnTo>
                  <a:pt x="869" y="708"/>
                </a:lnTo>
                <a:lnTo>
                  <a:pt x="884" y="704"/>
                </a:lnTo>
                <a:lnTo>
                  <a:pt x="886" y="695"/>
                </a:lnTo>
                <a:lnTo>
                  <a:pt x="891" y="705"/>
                </a:lnTo>
                <a:lnTo>
                  <a:pt x="897" y="703"/>
                </a:lnTo>
                <a:lnTo>
                  <a:pt x="890" y="664"/>
                </a:lnTo>
                <a:lnTo>
                  <a:pt x="883" y="653"/>
                </a:lnTo>
                <a:lnTo>
                  <a:pt x="886" y="631"/>
                </a:lnTo>
                <a:lnTo>
                  <a:pt x="876" y="610"/>
                </a:lnTo>
                <a:lnTo>
                  <a:pt x="880" y="578"/>
                </a:lnTo>
                <a:lnTo>
                  <a:pt x="852" y="556"/>
                </a:lnTo>
                <a:lnTo>
                  <a:pt x="856" y="545"/>
                </a:lnTo>
                <a:lnTo>
                  <a:pt x="867" y="541"/>
                </a:lnTo>
                <a:lnTo>
                  <a:pt x="868" y="536"/>
                </a:lnTo>
                <a:lnTo>
                  <a:pt x="885" y="535"/>
                </a:lnTo>
                <a:lnTo>
                  <a:pt x="883" y="522"/>
                </a:lnTo>
                <a:lnTo>
                  <a:pt x="865" y="519"/>
                </a:lnTo>
                <a:lnTo>
                  <a:pt x="860" y="505"/>
                </a:lnTo>
                <a:lnTo>
                  <a:pt x="876" y="475"/>
                </a:lnTo>
                <a:lnTo>
                  <a:pt x="890" y="494"/>
                </a:lnTo>
                <a:lnTo>
                  <a:pt x="893" y="479"/>
                </a:lnTo>
                <a:lnTo>
                  <a:pt x="898" y="480"/>
                </a:lnTo>
                <a:lnTo>
                  <a:pt x="905" y="499"/>
                </a:lnTo>
                <a:lnTo>
                  <a:pt x="910" y="496"/>
                </a:lnTo>
                <a:lnTo>
                  <a:pt x="916" y="500"/>
                </a:lnTo>
                <a:lnTo>
                  <a:pt x="922" y="489"/>
                </a:lnTo>
                <a:lnTo>
                  <a:pt x="930" y="523"/>
                </a:lnTo>
                <a:lnTo>
                  <a:pt x="945" y="534"/>
                </a:lnTo>
                <a:lnTo>
                  <a:pt x="1011" y="535"/>
                </a:lnTo>
                <a:lnTo>
                  <a:pt x="1041" y="542"/>
                </a:lnTo>
                <a:lnTo>
                  <a:pt x="1020" y="572"/>
                </a:lnTo>
                <a:lnTo>
                  <a:pt x="991" y="592"/>
                </a:lnTo>
                <a:lnTo>
                  <a:pt x="989" y="598"/>
                </a:lnTo>
                <a:lnTo>
                  <a:pt x="995" y="626"/>
                </a:lnTo>
                <a:lnTo>
                  <a:pt x="1003" y="627"/>
                </a:lnTo>
                <a:lnTo>
                  <a:pt x="1014" y="639"/>
                </a:lnTo>
                <a:lnTo>
                  <a:pt x="1022" y="616"/>
                </a:lnTo>
                <a:lnTo>
                  <a:pt x="1031" y="605"/>
                </a:lnTo>
                <a:lnTo>
                  <a:pt x="1035" y="605"/>
                </a:lnTo>
                <a:lnTo>
                  <a:pt x="1049" y="642"/>
                </a:lnTo>
                <a:lnTo>
                  <a:pt x="1056" y="691"/>
                </a:lnTo>
                <a:lnTo>
                  <a:pt x="1079" y="681"/>
                </a:lnTo>
                <a:lnTo>
                  <a:pt x="1074" y="656"/>
                </a:lnTo>
                <a:lnTo>
                  <a:pt x="1076" y="645"/>
                </a:lnTo>
                <a:lnTo>
                  <a:pt x="1087" y="642"/>
                </a:lnTo>
                <a:lnTo>
                  <a:pt x="1088" y="607"/>
                </a:lnTo>
                <a:lnTo>
                  <a:pt x="1094" y="601"/>
                </a:lnTo>
                <a:lnTo>
                  <a:pt x="1121" y="600"/>
                </a:lnTo>
                <a:lnTo>
                  <a:pt x="1125" y="597"/>
                </a:lnTo>
                <a:lnTo>
                  <a:pt x="1144" y="553"/>
                </a:lnTo>
                <a:lnTo>
                  <a:pt x="1146" y="537"/>
                </a:lnTo>
                <a:lnTo>
                  <a:pt x="1167" y="512"/>
                </a:lnTo>
                <a:lnTo>
                  <a:pt x="1166" y="489"/>
                </a:lnTo>
                <a:lnTo>
                  <a:pt x="1172" y="477"/>
                </a:lnTo>
                <a:lnTo>
                  <a:pt x="1194" y="463"/>
                </a:lnTo>
                <a:lnTo>
                  <a:pt x="1209" y="445"/>
                </a:lnTo>
                <a:lnTo>
                  <a:pt x="1231" y="438"/>
                </a:lnTo>
                <a:lnTo>
                  <a:pt x="1245" y="444"/>
                </a:lnTo>
                <a:lnTo>
                  <a:pt x="1249" y="417"/>
                </a:lnTo>
                <a:lnTo>
                  <a:pt x="1262" y="407"/>
                </a:lnTo>
                <a:lnTo>
                  <a:pt x="1262" y="397"/>
                </a:lnTo>
                <a:lnTo>
                  <a:pt x="1258" y="388"/>
                </a:lnTo>
                <a:lnTo>
                  <a:pt x="1251" y="385"/>
                </a:lnTo>
                <a:lnTo>
                  <a:pt x="1218" y="382"/>
                </a:lnTo>
                <a:lnTo>
                  <a:pt x="1221" y="358"/>
                </a:lnTo>
                <a:lnTo>
                  <a:pt x="1212" y="355"/>
                </a:lnTo>
                <a:lnTo>
                  <a:pt x="1212" y="341"/>
                </a:lnTo>
                <a:lnTo>
                  <a:pt x="1203" y="332"/>
                </a:lnTo>
                <a:lnTo>
                  <a:pt x="1171" y="345"/>
                </a:lnTo>
                <a:lnTo>
                  <a:pt x="1141" y="341"/>
                </a:lnTo>
                <a:lnTo>
                  <a:pt x="1076" y="393"/>
                </a:lnTo>
                <a:lnTo>
                  <a:pt x="1020" y="415"/>
                </a:lnTo>
                <a:lnTo>
                  <a:pt x="1019" y="426"/>
                </a:lnTo>
                <a:lnTo>
                  <a:pt x="1037" y="436"/>
                </a:lnTo>
                <a:lnTo>
                  <a:pt x="1036" y="453"/>
                </a:lnTo>
                <a:lnTo>
                  <a:pt x="1030" y="456"/>
                </a:lnTo>
                <a:lnTo>
                  <a:pt x="929" y="467"/>
                </a:lnTo>
                <a:lnTo>
                  <a:pt x="897" y="460"/>
                </a:lnTo>
                <a:lnTo>
                  <a:pt x="891" y="446"/>
                </a:lnTo>
                <a:lnTo>
                  <a:pt x="899" y="436"/>
                </a:lnTo>
                <a:lnTo>
                  <a:pt x="891" y="432"/>
                </a:lnTo>
                <a:lnTo>
                  <a:pt x="893" y="412"/>
                </a:lnTo>
                <a:lnTo>
                  <a:pt x="890" y="402"/>
                </a:lnTo>
                <a:lnTo>
                  <a:pt x="862" y="410"/>
                </a:lnTo>
                <a:lnTo>
                  <a:pt x="856" y="424"/>
                </a:lnTo>
                <a:lnTo>
                  <a:pt x="856" y="447"/>
                </a:lnTo>
                <a:lnTo>
                  <a:pt x="853" y="454"/>
                </a:lnTo>
                <a:lnTo>
                  <a:pt x="863" y="465"/>
                </a:lnTo>
                <a:lnTo>
                  <a:pt x="858" y="481"/>
                </a:lnTo>
                <a:lnTo>
                  <a:pt x="822" y="482"/>
                </a:lnTo>
                <a:lnTo>
                  <a:pt x="726" y="463"/>
                </a:lnTo>
                <a:lnTo>
                  <a:pt x="699" y="438"/>
                </a:lnTo>
                <a:lnTo>
                  <a:pt x="633" y="434"/>
                </a:lnTo>
                <a:lnTo>
                  <a:pt x="623" y="423"/>
                </a:lnTo>
                <a:lnTo>
                  <a:pt x="582" y="408"/>
                </a:lnTo>
                <a:lnTo>
                  <a:pt x="551" y="382"/>
                </a:lnTo>
                <a:lnTo>
                  <a:pt x="541" y="377"/>
                </a:lnTo>
                <a:lnTo>
                  <a:pt x="535" y="380"/>
                </a:lnTo>
                <a:lnTo>
                  <a:pt x="526" y="368"/>
                </a:lnTo>
                <a:lnTo>
                  <a:pt x="517" y="367"/>
                </a:lnTo>
                <a:lnTo>
                  <a:pt x="517" y="359"/>
                </a:lnTo>
                <a:lnTo>
                  <a:pt x="528" y="344"/>
                </a:lnTo>
                <a:lnTo>
                  <a:pt x="529" y="318"/>
                </a:lnTo>
                <a:lnTo>
                  <a:pt x="550" y="296"/>
                </a:lnTo>
                <a:lnTo>
                  <a:pt x="559" y="295"/>
                </a:lnTo>
                <a:lnTo>
                  <a:pt x="515" y="271"/>
                </a:lnTo>
                <a:lnTo>
                  <a:pt x="512" y="262"/>
                </a:lnTo>
                <a:lnTo>
                  <a:pt x="497" y="262"/>
                </a:lnTo>
                <a:lnTo>
                  <a:pt x="493" y="254"/>
                </a:lnTo>
                <a:lnTo>
                  <a:pt x="470" y="257"/>
                </a:lnTo>
                <a:lnTo>
                  <a:pt x="469" y="248"/>
                </a:lnTo>
                <a:lnTo>
                  <a:pt x="458" y="235"/>
                </a:lnTo>
                <a:lnTo>
                  <a:pt x="460" y="207"/>
                </a:lnTo>
                <a:lnTo>
                  <a:pt x="449" y="194"/>
                </a:lnTo>
                <a:lnTo>
                  <a:pt x="447" y="180"/>
                </a:lnTo>
                <a:lnTo>
                  <a:pt x="459" y="173"/>
                </a:lnTo>
                <a:lnTo>
                  <a:pt x="470" y="187"/>
                </a:lnTo>
                <a:lnTo>
                  <a:pt x="476" y="186"/>
                </a:lnTo>
                <a:lnTo>
                  <a:pt x="483" y="176"/>
                </a:lnTo>
                <a:lnTo>
                  <a:pt x="490" y="179"/>
                </a:lnTo>
                <a:lnTo>
                  <a:pt x="496" y="170"/>
                </a:lnTo>
                <a:lnTo>
                  <a:pt x="489" y="156"/>
                </a:lnTo>
                <a:lnTo>
                  <a:pt x="489" y="147"/>
                </a:lnTo>
                <a:lnTo>
                  <a:pt x="476" y="145"/>
                </a:lnTo>
                <a:lnTo>
                  <a:pt x="469" y="136"/>
                </a:lnTo>
                <a:lnTo>
                  <a:pt x="472" y="116"/>
                </a:lnTo>
                <a:lnTo>
                  <a:pt x="468" y="105"/>
                </a:lnTo>
                <a:lnTo>
                  <a:pt x="487" y="105"/>
                </a:lnTo>
                <a:lnTo>
                  <a:pt x="494" y="99"/>
                </a:lnTo>
                <a:lnTo>
                  <a:pt x="497" y="82"/>
                </a:lnTo>
                <a:lnTo>
                  <a:pt x="505" y="81"/>
                </a:lnTo>
                <a:lnTo>
                  <a:pt x="505" y="76"/>
                </a:lnTo>
                <a:lnTo>
                  <a:pt x="517" y="65"/>
                </a:lnTo>
                <a:lnTo>
                  <a:pt x="529" y="26"/>
                </a:lnTo>
                <a:lnTo>
                  <a:pt x="524" y="24"/>
                </a:lnTo>
                <a:lnTo>
                  <a:pt x="517" y="30"/>
                </a:lnTo>
                <a:lnTo>
                  <a:pt x="513" y="18"/>
                </a:lnTo>
                <a:lnTo>
                  <a:pt x="506" y="21"/>
                </a:lnTo>
                <a:lnTo>
                  <a:pt x="500" y="16"/>
                </a:lnTo>
                <a:lnTo>
                  <a:pt x="499" y="8"/>
                </a:lnTo>
                <a:lnTo>
                  <a:pt x="482" y="0"/>
                </a:lnTo>
                <a:lnTo>
                  <a:pt x="459" y="5"/>
                </a:lnTo>
                <a:lnTo>
                  <a:pt x="427" y="28"/>
                </a:lnTo>
                <a:lnTo>
                  <a:pt x="413" y="28"/>
                </a:lnTo>
                <a:lnTo>
                  <a:pt x="386" y="48"/>
                </a:lnTo>
                <a:lnTo>
                  <a:pt x="379" y="65"/>
                </a:lnTo>
                <a:lnTo>
                  <a:pt x="358" y="62"/>
                </a:lnTo>
                <a:lnTo>
                  <a:pt x="350" y="69"/>
                </a:lnTo>
                <a:lnTo>
                  <a:pt x="340" y="67"/>
                </a:lnTo>
                <a:lnTo>
                  <a:pt x="323" y="74"/>
                </a:lnTo>
                <a:lnTo>
                  <a:pt x="269" y="57"/>
                </a:lnTo>
                <a:lnTo>
                  <a:pt x="252" y="64"/>
                </a:lnTo>
                <a:lnTo>
                  <a:pt x="246" y="82"/>
                </a:lnTo>
                <a:lnTo>
                  <a:pt x="255" y="87"/>
                </a:lnTo>
                <a:lnTo>
                  <a:pt x="250" y="97"/>
                </a:lnTo>
                <a:lnTo>
                  <a:pt x="265" y="104"/>
                </a:lnTo>
                <a:lnTo>
                  <a:pt x="255" y="115"/>
                </a:lnTo>
                <a:lnTo>
                  <a:pt x="265" y="129"/>
                </a:lnTo>
                <a:lnTo>
                  <a:pt x="253" y="141"/>
                </a:lnTo>
                <a:lnTo>
                  <a:pt x="270" y="156"/>
                </a:lnTo>
                <a:lnTo>
                  <a:pt x="269" y="163"/>
                </a:lnTo>
                <a:lnTo>
                  <a:pt x="284" y="166"/>
                </a:lnTo>
                <a:lnTo>
                  <a:pt x="286" y="180"/>
                </a:lnTo>
                <a:lnTo>
                  <a:pt x="310" y="184"/>
                </a:lnTo>
                <a:lnTo>
                  <a:pt x="315" y="196"/>
                </a:lnTo>
                <a:lnTo>
                  <a:pt x="310" y="203"/>
                </a:lnTo>
                <a:lnTo>
                  <a:pt x="284" y="209"/>
                </a:lnTo>
                <a:lnTo>
                  <a:pt x="280" y="223"/>
                </a:lnTo>
                <a:lnTo>
                  <a:pt x="286" y="236"/>
                </a:lnTo>
                <a:lnTo>
                  <a:pt x="280" y="246"/>
                </a:lnTo>
                <a:lnTo>
                  <a:pt x="291" y="254"/>
                </a:lnTo>
                <a:lnTo>
                  <a:pt x="282" y="254"/>
                </a:lnTo>
                <a:lnTo>
                  <a:pt x="269" y="264"/>
                </a:lnTo>
                <a:lnTo>
                  <a:pt x="249" y="292"/>
                </a:lnTo>
                <a:lnTo>
                  <a:pt x="247" y="305"/>
                </a:lnTo>
                <a:lnTo>
                  <a:pt x="230" y="313"/>
                </a:lnTo>
                <a:lnTo>
                  <a:pt x="206" y="354"/>
                </a:lnTo>
                <a:lnTo>
                  <a:pt x="182" y="373"/>
                </a:lnTo>
                <a:lnTo>
                  <a:pt x="159" y="407"/>
                </a:lnTo>
                <a:lnTo>
                  <a:pt x="132" y="411"/>
                </a:lnTo>
                <a:lnTo>
                  <a:pt x="119" y="419"/>
                </a:lnTo>
                <a:lnTo>
                  <a:pt x="103" y="402"/>
                </a:lnTo>
                <a:lnTo>
                  <a:pt x="64" y="448"/>
                </a:lnTo>
                <a:lnTo>
                  <a:pt x="64" y="469"/>
                </a:lnTo>
                <a:lnTo>
                  <a:pt x="92" y="477"/>
                </a:lnTo>
                <a:lnTo>
                  <a:pt x="88" y="506"/>
                </a:lnTo>
                <a:lnTo>
                  <a:pt x="96" y="515"/>
                </a:lnTo>
                <a:lnTo>
                  <a:pt x="111" y="517"/>
                </a:lnTo>
                <a:lnTo>
                  <a:pt x="112" y="532"/>
                </a:lnTo>
                <a:lnTo>
                  <a:pt x="129" y="557"/>
                </a:lnTo>
                <a:lnTo>
                  <a:pt x="125" y="573"/>
                </a:lnTo>
                <a:lnTo>
                  <a:pt x="130" y="576"/>
                </a:lnTo>
                <a:lnTo>
                  <a:pt x="115" y="583"/>
                </a:lnTo>
                <a:lnTo>
                  <a:pt x="104" y="573"/>
                </a:lnTo>
                <a:lnTo>
                  <a:pt x="83" y="586"/>
                </a:lnTo>
                <a:lnTo>
                  <a:pt x="72" y="586"/>
                </a:lnTo>
                <a:lnTo>
                  <a:pt x="65" y="579"/>
                </a:lnTo>
                <a:lnTo>
                  <a:pt x="36" y="581"/>
                </a:lnTo>
                <a:lnTo>
                  <a:pt x="31" y="576"/>
                </a:lnTo>
                <a:lnTo>
                  <a:pt x="30" y="594"/>
                </a:lnTo>
                <a:lnTo>
                  <a:pt x="8" y="594"/>
                </a:lnTo>
                <a:lnTo>
                  <a:pt x="0" y="607"/>
                </a:lnTo>
                <a:lnTo>
                  <a:pt x="1" y="613"/>
                </a:lnTo>
                <a:close/>
              </a:path>
            </a:pathLst>
          </a:custGeom>
          <a:solidFill>
            <a:schemeClr val="accent1"/>
          </a:solidFill>
          <a:ln w="6350">
            <a:solidFill>
              <a:schemeClr val="tx2"/>
            </a:solidFill>
            <a:round/>
            <a:headEnd/>
            <a:tailEnd/>
          </a:ln>
        </p:spPr>
        <p:txBody>
          <a:bodyPr/>
          <a:lstStyle/>
          <a:p>
            <a:endParaRPr lang="en-US"/>
          </a:p>
        </p:txBody>
      </p:sp>
      <p:sp>
        <p:nvSpPr>
          <p:cNvPr id="670" name="Freeform 1819"/>
          <p:cNvSpPr>
            <a:spLocks/>
          </p:cNvSpPr>
          <p:nvPr/>
        </p:nvSpPr>
        <p:spPr bwMode="auto">
          <a:xfrm>
            <a:off x="6875505" y="4380187"/>
            <a:ext cx="4300" cy="1274"/>
          </a:xfrm>
          <a:custGeom>
            <a:avLst/>
            <a:gdLst>
              <a:gd name="T0" fmla="*/ 2147483647 w 12"/>
              <a:gd name="T1" fmla="*/ 2147483647 h 4"/>
              <a:gd name="T2" fmla="*/ 0 w 12"/>
              <a:gd name="T3" fmla="*/ 2147483647 h 4"/>
              <a:gd name="T4" fmla="*/ 2147483647 w 12"/>
              <a:gd name="T5" fmla="*/ 2147483647 h 4"/>
              <a:gd name="T6" fmla="*/ 2147483647 w 12"/>
              <a:gd name="T7" fmla="*/ 0 h 4"/>
              <a:gd name="T8" fmla="*/ 2147483647 w 12"/>
              <a:gd name="T9" fmla="*/ 2147483647 h 4"/>
              <a:gd name="T10" fmla="*/ 0 60000 65536"/>
              <a:gd name="T11" fmla="*/ 0 60000 65536"/>
              <a:gd name="T12" fmla="*/ 0 60000 65536"/>
              <a:gd name="T13" fmla="*/ 0 60000 65536"/>
              <a:gd name="T14" fmla="*/ 0 60000 65536"/>
              <a:gd name="T15" fmla="*/ 0 w 12"/>
              <a:gd name="T16" fmla="*/ 0 h 4"/>
              <a:gd name="T17" fmla="*/ 12 w 12"/>
              <a:gd name="T18" fmla="*/ 4 h 4"/>
            </a:gdLst>
            <a:ahLst/>
            <a:cxnLst>
              <a:cxn ang="T10">
                <a:pos x="T0" y="T1"/>
              </a:cxn>
              <a:cxn ang="T11">
                <a:pos x="T2" y="T3"/>
              </a:cxn>
              <a:cxn ang="T12">
                <a:pos x="T4" y="T5"/>
              </a:cxn>
              <a:cxn ang="T13">
                <a:pos x="T6" y="T7"/>
              </a:cxn>
              <a:cxn ang="T14">
                <a:pos x="T8" y="T9"/>
              </a:cxn>
            </a:cxnLst>
            <a:rect l="T15" t="T16" r="T17" b="T18"/>
            <a:pathLst>
              <a:path w="12" h="4">
                <a:moveTo>
                  <a:pt x="6" y="1"/>
                </a:moveTo>
                <a:lnTo>
                  <a:pt x="0" y="3"/>
                </a:lnTo>
                <a:lnTo>
                  <a:pt x="6" y="4"/>
                </a:lnTo>
                <a:lnTo>
                  <a:pt x="12" y="0"/>
                </a:lnTo>
                <a:lnTo>
                  <a:pt x="6" y="1"/>
                </a:lnTo>
                <a:close/>
              </a:path>
            </a:pathLst>
          </a:custGeom>
          <a:solidFill>
            <a:schemeClr val="accent1"/>
          </a:solidFill>
          <a:ln w="6350">
            <a:solidFill>
              <a:schemeClr val="tx2"/>
            </a:solidFill>
            <a:round/>
            <a:headEnd/>
            <a:tailEnd/>
          </a:ln>
        </p:spPr>
        <p:txBody>
          <a:bodyPr/>
          <a:lstStyle/>
          <a:p>
            <a:endParaRPr lang="en-US"/>
          </a:p>
        </p:txBody>
      </p:sp>
      <p:sp>
        <p:nvSpPr>
          <p:cNvPr id="671" name="Freeform 1820"/>
          <p:cNvSpPr>
            <a:spLocks/>
          </p:cNvSpPr>
          <p:nvPr/>
        </p:nvSpPr>
        <p:spPr bwMode="auto">
          <a:xfrm>
            <a:off x="6856873" y="4386556"/>
            <a:ext cx="2866" cy="1273"/>
          </a:xfrm>
          <a:custGeom>
            <a:avLst/>
            <a:gdLst>
              <a:gd name="T0" fmla="*/ 2147483647 w 13"/>
              <a:gd name="T1" fmla="*/ 2147483647 h 4"/>
              <a:gd name="T2" fmla="*/ 0 w 13"/>
              <a:gd name="T3" fmla="*/ 2147483647 h 4"/>
              <a:gd name="T4" fmla="*/ 2147483647 w 13"/>
              <a:gd name="T5" fmla="*/ 2147483647 h 4"/>
              <a:gd name="T6" fmla="*/ 2147483647 w 13"/>
              <a:gd name="T7" fmla="*/ 0 h 4"/>
              <a:gd name="T8" fmla="*/ 2147483647 w 13"/>
              <a:gd name="T9" fmla="*/ 2147483647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7" y="1"/>
                </a:moveTo>
                <a:lnTo>
                  <a:pt x="0" y="4"/>
                </a:lnTo>
                <a:lnTo>
                  <a:pt x="7" y="4"/>
                </a:lnTo>
                <a:lnTo>
                  <a:pt x="13" y="0"/>
                </a:lnTo>
                <a:lnTo>
                  <a:pt x="7" y="1"/>
                </a:lnTo>
                <a:close/>
              </a:path>
            </a:pathLst>
          </a:custGeom>
          <a:solidFill>
            <a:schemeClr val="accent1"/>
          </a:solidFill>
          <a:ln w="6350">
            <a:solidFill>
              <a:schemeClr val="tx2"/>
            </a:solidFill>
            <a:round/>
            <a:headEnd/>
            <a:tailEnd/>
          </a:ln>
        </p:spPr>
        <p:txBody>
          <a:bodyPr/>
          <a:lstStyle/>
          <a:p>
            <a:endParaRPr lang="en-US"/>
          </a:p>
        </p:txBody>
      </p:sp>
      <p:sp>
        <p:nvSpPr>
          <p:cNvPr id="672" name="Freeform 1821"/>
          <p:cNvSpPr>
            <a:spLocks/>
          </p:cNvSpPr>
          <p:nvPr/>
        </p:nvSpPr>
        <p:spPr bwMode="auto">
          <a:xfrm>
            <a:off x="6862605" y="4398018"/>
            <a:ext cx="7166" cy="2547"/>
          </a:xfrm>
          <a:custGeom>
            <a:avLst/>
            <a:gdLst>
              <a:gd name="T0" fmla="*/ 2147483647 w 11"/>
              <a:gd name="T1" fmla="*/ 2147483647 h 4"/>
              <a:gd name="T2" fmla="*/ 0 w 11"/>
              <a:gd name="T3" fmla="*/ 2147483647 h 4"/>
              <a:gd name="T4" fmla="*/ 2147483647 w 11"/>
              <a:gd name="T5" fmla="*/ 2147483647 h 4"/>
              <a:gd name="T6" fmla="*/ 2147483647 w 11"/>
              <a:gd name="T7" fmla="*/ 0 h 4"/>
              <a:gd name="T8" fmla="*/ 2147483647 w 11"/>
              <a:gd name="T9" fmla="*/ 2147483647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6" y="1"/>
                </a:moveTo>
                <a:lnTo>
                  <a:pt x="0" y="3"/>
                </a:lnTo>
                <a:lnTo>
                  <a:pt x="6" y="4"/>
                </a:lnTo>
                <a:lnTo>
                  <a:pt x="11" y="0"/>
                </a:lnTo>
                <a:lnTo>
                  <a:pt x="6" y="1"/>
                </a:lnTo>
                <a:close/>
              </a:path>
            </a:pathLst>
          </a:custGeom>
          <a:solidFill>
            <a:schemeClr val="accent1"/>
          </a:solidFill>
          <a:ln w="6350">
            <a:solidFill>
              <a:schemeClr val="tx2"/>
            </a:solidFill>
            <a:round/>
            <a:headEnd/>
            <a:tailEnd/>
          </a:ln>
        </p:spPr>
        <p:txBody>
          <a:bodyPr/>
          <a:lstStyle/>
          <a:p>
            <a:endParaRPr lang="en-US"/>
          </a:p>
        </p:txBody>
      </p:sp>
      <p:sp>
        <p:nvSpPr>
          <p:cNvPr id="673" name="Freeform 1822"/>
          <p:cNvSpPr>
            <a:spLocks/>
          </p:cNvSpPr>
          <p:nvPr/>
        </p:nvSpPr>
        <p:spPr bwMode="auto">
          <a:xfrm>
            <a:off x="6819607" y="4419671"/>
            <a:ext cx="5734" cy="1273"/>
          </a:xfrm>
          <a:custGeom>
            <a:avLst/>
            <a:gdLst>
              <a:gd name="T0" fmla="*/ 2147483647 w 12"/>
              <a:gd name="T1" fmla="*/ 0 h 3"/>
              <a:gd name="T2" fmla="*/ 0 w 12"/>
              <a:gd name="T3" fmla="*/ 2147483647 h 3"/>
              <a:gd name="T4" fmla="*/ 2147483647 w 12"/>
              <a:gd name="T5" fmla="*/ 2147483647 h 3"/>
              <a:gd name="T6" fmla="*/ 2147483647 w 12"/>
              <a:gd name="T7" fmla="*/ 0 h 3"/>
              <a:gd name="T8" fmla="*/ 2147483647 w 12"/>
              <a:gd name="T9" fmla="*/ 0 h 3"/>
              <a:gd name="T10" fmla="*/ 0 60000 65536"/>
              <a:gd name="T11" fmla="*/ 0 60000 65536"/>
              <a:gd name="T12" fmla="*/ 0 60000 65536"/>
              <a:gd name="T13" fmla="*/ 0 60000 65536"/>
              <a:gd name="T14" fmla="*/ 0 60000 65536"/>
              <a:gd name="T15" fmla="*/ 0 w 12"/>
              <a:gd name="T16" fmla="*/ 0 h 3"/>
              <a:gd name="T17" fmla="*/ 12 w 12"/>
              <a:gd name="T18" fmla="*/ 3 h 3"/>
            </a:gdLst>
            <a:ahLst/>
            <a:cxnLst>
              <a:cxn ang="T10">
                <a:pos x="T0" y="T1"/>
              </a:cxn>
              <a:cxn ang="T11">
                <a:pos x="T2" y="T3"/>
              </a:cxn>
              <a:cxn ang="T12">
                <a:pos x="T4" y="T5"/>
              </a:cxn>
              <a:cxn ang="T13">
                <a:pos x="T6" y="T7"/>
              </a:cxn>
              <a:cxn ang="T14">
                <a:pos x="T8" y="T9"/>
              </a:cxn>
            </a:cxnLst>
            <a:rect l="T15" t="T16" r="T17" b="T18"/>
            <a:pathLst>
              <a:path w="12" h="3">
                <a:moveTo>
                  <a:pt x="6" y="0"/>
                </a:moveTo>
                <a:lnTo>
                  <a:pt x="0" y="3"/>
                </a:lnTo>
                <a:lnTo>
                  <a:pt x="6" y="3"/>
                </a:lnTo>
                <a:lnTo>
                  <a:pt x="12" y="0"/>
                </a:lnTo>
                <a:lnTo>
                  <a:pt x="6" y="0"/>
                </a:lnTo>
                <a:close/>
              </a:path>
            </a:pathLst>
          </a:custGeom>
          <a:solidFill>
            <a:schemeClr val="accent1"/>
          </a:solidFill>
          <a:ln w="6350">
            <a:solidFill>
              <a:schemeClr val="tx2"/>
            </a:solidFill>
            <a:round/>
            <a:headEnd/>
            <a:tailEnd/>
          </a:ln>
        </p:spPr>
        <p:txBody>
          <a:bodyPr/>
          <a:lstStyle/>
          <a:p>
            <a:endParaRPr lang="en-US"/>
          </a:p>
        </p:txBody>
      </p:sp>
      <p:sp>
        <p:nvSpPr>
          <p:cNvPr id="674" name="Freeform 1823"/>
          <p:cNvSpPr>
            <a:spLocks/>
          </p:cNvSpPr>
          <p:nvPr/>
        </p:nvSpPr>
        <p:spPr bwMode="auto">
          <a:xfrm>
            <a:off x="6793806" y="4414576"/>
            <a:ext cx="2866" cy="2547"/>
          </a:xfrm>
          <a:custGeom>
            <a:avLst/>
            <a:gdLst>
              <a:gd name="T0" fmla="*/ 2147483647 w 13"/>
              <a:gd name="T1" fmla="*/ 2147483647 h 4"/>
              <a:gd name="T2" fmla="*/ 0 w 13"/>
              <a:gd name="T3" fmla="*/ 2147483647 h 4"/>
              <a:gd name="T4" fmla="*/ 2147483647 w 13"/>
              <a:gd name="T5" fmla="*/ 2147483647 h 4"/>
              <a:gd name="T6" fmla="*/ 2147483647 w 13"/>
              <a:gd name="T7" fmla="*/ 0 h 4"/>
              <a:gd name="T8" fmla="*/ 2147483647 w 13"/>
              <a:gd name="T9" fmla="*/ 2147483647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6" y="1"/>
                </a:moveTo>
                <a:lnTo>
                  <a:pt x="0" y="3"/>
                </a:lnTo>
                <a:lnTo>
                  <a:pt x="6" y="4"/>
                </a:lnTo>
                <a:lnTo>
                  <a:pt x="13" y="0"/>
                </a:lnTo>
                <a:lnTo>
                  <a:pt x="6" y="1"/>
                </a:lnTo>
                <a:close/>
              </a:path>
            </a:pathLst>
          </a:custGeom>
          <a:solidFill>
            <a:schemeClr val="accent1"/>
          </a:solidFill>
          <a:ln w="6350">
            <a:solidFill>
              <a:schemeClr val="tx2"/>
            </a:solidFill>
            <a:round/>
            <a:headEnd/>
            <a:tailEnd/>
          </a:ln>
        </p:spPr>
        <p:txBody>
          <a:bodyPr/>
          <a:lstStyle/>
          <a:p>
            <a:endParaRPr lang="en-US"/>
          </a:p>
        </p:txBody>
      </p:sp>
      <p:sp>
        <p:nvSpPr>
          <p:cNvPr id="675" name="Freeform 1826"/>
          <p:cNvSpPr>
            <a:spLocks/>
          </p:cNvSpPr>
          <p:nvPr/>
        </p:nvSpPr>
        <p:spPr bwMode="auto">
          <a:xfrm>
            <a:off x="6819607" y="3745905"/>
            <a:ext cx="7166" cy="15284"/>
          </a:xfrm>
          <a:custGeom>
            <a:avLst/>
            <a:gdLst>
              <a:gd name="T0" fmla="*/ 2147483647 w 14"/>
              <a:gd name="T1" fmla="*/ 2147483647 h 35"/>
              <a:gd name="T2" fmla="*/ 2147483647 w 14"/>
              <a:gd name="T3" fmla="*/ 0 h 35"/>
              <a:gd name="T4" fmla="*/ 0 w 14"/>
              <a:gd name="T5" fmla="*/ 2147483647 h 35"/>
              <a:gd name="T6" fmla="*/ 2147483647 w 14"/>
              <a:gd name="T7" fmla="*/ 2147483647 h 35"/>
              <a:gd name="T8" fmla="*/ 2147483647 w 14"/>
              <a:gd name="T9" fmla="*/ 2147483647 h 35"/>
              <a:gd name="T10" fmla="*/ 0 60000 65536"/>
              <a:gd name="T11" fmla="*/ 0 60000 65536"/>
              <a:gd name="T12" fmla="*/ 0 60000 65536"/>
              <a:gd name="T13" fmla="*/ 0 60000 65536"/>
              <a:gd name="T14" fmla="*/ 0 60000 65536"/>
              <a:gd name="T15" fmla="*/ 0 w 14"/>
              <a:gd name="T16" fmla="*/ 0 h 35"/>
              <a:gd name="T17" fmla="*/ 14 w 14"/>
              <a:gd name="T18" fmla="*/ 35 h 35"/>
            </a:gdLst>
            <a:ahLst/>
            <a:cxnLst>
              <a:cxn ang="T10">
                <a:pos x="T0" y="T1"/>
              </a:cxn>
              <a:cxn ang="T11">
                <a:pos x="T2" y="T3"/>
              </a:cxn>
              <a:cxn ang="T12">
                <a:pos x="T4" y="T5"/>
              </a:cxn>
              <a:cxn ang="T13">
                <a:pos x="T6" y="T7"/>
              </a:cxn>
              <a:cxn ang="T14">
                <a:pos x="T8" y="T9"/>
              </a:cxn>
            </a:cxnLst>
            <a:rect l="T15" t="T16" r="T17" b="T18"/>
            <a:pathLst>
              <a:path w="14" h="35">
                <a:moveTo>
                  <a:pt x="14" y="21"/>
                </a:moveTo>
                <a:lnTo>
                  <a:pt x="7" y="0"/>
                </a:lnTo>
                <a:lnTo>
                  <a:pt x="0" y="25"/>
                </a:lnTo>
                <a:lnTo>
                  <a:pt x="9" y="35"/>
                </a:lnTo>
                <a:lnTo>
                  <a:pt x="14" y="21"/>
                </a:lnTo>
                <a:close/>
              </a:path>
            </a:pathLst>
          </a:custGeom>
          <a:solidFill>
            <a:schemeClr val="accent1"/>
          </a:solidFill>
          <a:ln w="6350">
            <a:solidFill>
              <a:schemeClr val="tx2"/>
            </a:solidFill>
            <a:round/>
            <a:headEnd/>
            <a:tailEnd/>
          </a:ln>
        </p:spPr>
        <p:txBody>
          <a:bodyPr/>
          <a:lstStyle/>
          <a:p>
            <a:endParaRPr lang="en-US"/>
          </a:p>
        </p:txBody>
      </p:sp>
      <p:sp>
        <p:nvSpPr>
          <p:cNvPr id="676" name="Freeform 1020"/>
          <p:cNvSpPr>
            <a:spLocks/>
          </p:cNvSpPr>
          <p:nvPr/>
        </p:nvSpPr>
        <p:spPr bwMode="auto">
          <a:xfrm>
            <a:off x="4994965" y="1718245"/>
            <a:ext cx="27234" cy="40757"/>
          </a:xfrm>
          <a:custGeom>
            <a:avLst/>
            <a:gdLst>
              <a:gd name="T0" fmla="*/ 2147483647 w 57"/>
              <a:gd name="T1" fmla="*/ 0 h 99"/>
              <a:gd name="T2" fmla="*/ 2147483647 w 57"/>
              <a:gd name="T3" fmla="*/ 2147483647 h 99"/>
              <a:gd name="T4" fmla="*/ 2147483647 w 57"/>
              <a:gd name="T5" fmla="*/ 2147483647 h 99"/>
              <a:gd name="T6" fmla="*/ 0 w 57"/>
              <a:gd name="T7" fmla="*/ 2147483647 h 99"/>
              <a:gd name="T8" fmla="*/ 2147483647 w 57"/>
              <a:gd name="T9" fmla="*/ 0 h 99"/>
              <a:gd name="T10" fmla="*/ 0 60000 65536"/>
              <a:gd name="T11" fmla="*/ 0 60000 65536"/>
              <a:gd name="T12" fmla="*/ 0 60000 65536"/>
              <a:gd name="T13" fmla="*/ 0 60000 65536"/>
              <a:gd name="T14" fmla="*/ 0 60000 65536"/>
              <a:gd name="T15" fmla="*/ 0 w 57"/>
              <a:gd name="T16" fmla="*/ 0 h 99"/>
              <a:gd name="T17" fmla="*/ 57 w 57"/>
              <a:gd name="T18" fmla="*/ 99 h 99"/>
            </a:gdLst>
            <a:ahLst/>
            <a:cxnLst>
              <a:cxn ang="T10">
                <a:pos x="T0" y="T1"/>
              </a:cxn>
              <a:cxn ang="T11">
                <a:pos x="T2" y="T3"/>
              </a:cxn>
              <a:cxn ang="T12">
                <a:pos x="T4" y="T5"/>
              </a:cxn>
              <a:cxn ang="T13">
                <a:pos x="T6" y="T7"/>
              </a:cxn>
              <a:cxn ang="T14">
                <a:pos x="T8" y="T9"/>
              </a:cxn>
            </a:cxnLst>
            <a:rect l="T15" t="T16" r="T17" b="T18"/>
            <a:pathLst>
              <a:path w="57" h="99">
                <a:moveTo>
                  <a:pt x="12" y="0"/>
                </a:moveTo>
                <a:lnTo>
                  <a:pt x="57" y="99"/>
                </a:lnTo>
                <a:lnTo>
                  <a:pt x="8" y="45"/>
                </a:lnTo>
                <a:lnTo>
                  <a:pt x="0" y="25"/>
                </a:lnTo>
                <a:lnTo>
                  <a:pt x="12" y="0"/>
                </a:lnTo>
                <a:close/>
              </a:path>
            </a:pathLst>
          </a:custGeom>
          <a:solidFill>
            <a:schemeClr val="accent1"/>
          </a:solidFill>
          <a:ln w="6350">
            <a:solidFill>
              <a:schemeClr val="tx2"/>
            </a:solidFill>
            <a:round/>
            <a:headEnd/>
            <a:tailEnd/>
          </a:ln>
        </p:spPr>
        <p:txBody>
          <a:bodyPr/>
          <a:lstStyle/>
          <a:p>
            <a:endParaRPr lang="en-US"/>
          </a:p>
        </p:txBody>
      </p:sp>
      <p:sp>
        <p:nvSpPr>
          <p:cNvPr id="677" name="Freeform 1021"/>
          <p:cNvSpPr>
            <a:spLocks/>
          </p:cNvSpPr>
          <p:nvPr/>
        </p:nvSpPr>
        <p:spPr bwMode="auto">
          <a:xfrm>
            <a:off x="5022199" y="1944956"/>
            <a:ext cx="20066" cy="21653"/>
          </a:xfrm>
          <a:custGeom>
            <a:avLst/>
            <a:gdLst>
              <a:gd name="T0" fmla="*/ 2147483647 w 37"/>
              <a:gd name="T1" fmla="*/ 0 h 54"/>
              <a:gd name="T2" fmla="*/ 2147483647 w 37"/>
              <a:gd name="T3" fmla="*/ 2147483647 h 54"/>
              <a:gd name="T4" fmla="*/ 0 w 37"/>
              <a:gd name="T5" fmla="*/ 2147483647 h 54"/>
              <a:gd name="T6" fmla="*/ 2147483647 w 37"/>
              <a:gd name="T7" fmla="*/ 2147483647 h 54"/>
              <a:gd name="T8" fmla="*/ 2147483647 w 37"/>
              <a:gd name="T9" fmla="*/ 0 h 54"/>
              <a:gd name="T10" fmla="*/ 0 60000 65536"/>
              <a:gd name="T11" fmla="*/ 0 60000 65536"/>
              <a:gd name="T12" fmla="*/ 0 60000 65536"/>
              <a:gd name="T13" fmla="*/ 0 60000 65536"/>
              <a:gd name="T14" fmla="*/ 0 60000 65536"/>
              <a:gd name="T15" fmla="*/ 0 w 37"/>
              <a:gd name="T16" fmla="*/ 0 h 54"/>
              <a:gd name="T17" fmla="*/ 37 w 37"/>
              <a:gd name="T18" fmla="*/ 54 h 54"/>
            </a:gdLst>
            <a:ahLst/>
            <a:cxnLst>
              <a:cxn ang="T10">
                <a:pos x="T0" y="T1"/>
              </a:cxn>
              <a:cxn ang="T11">
                <a:pos x="T2" y="T3"/>
              </a:cxn>
              <a:cxn ang="T12">
                <a:pos x="T4" y="T5"/>
              </a:cxn>
              <a:cxn ang="T13">
                <a:pos x="T6" y="T7"/>
              </a:cxn>
              <a:cxn ang="T14">
                <a:pos x="T8" y="T9"/>
              </a:cxn>
            </a:cxnLst>
            <a:rect l="T15" t="T16" r="T17" b="T18"/>
            <a:pathLst>
              <a:path w="37" h="54">
                <a:moveTo>
                  <a:pt x="15" y="0"/>
                </a:moveTo>
                <a:lnTo>
                  <a:pt x="37" y="20"/>
                </a:lnTo>
                <a:lnTo>
                  <a:pt x="0" y="54"/>
                </a:lnTo>
                <a:lnTo>
                  <a:pt x="1" y="14"/>
                </a:lnTo>
                <a:lnTo>
                  <a:pt x="15" y="0"/>
                </a:lnTo>
                <a:close/>
              </a:path>
            </a:pathLst>
          </a:custGeom>
          <a:solidFill>
            <a:schemeClr val="accent1"/>
          </a:solidFill>
          <a:ln w="6350">
            <a:solidFill>
              <a:schemeClr val="tx2"/>
            </a:solidFill>
            <a:round/>
            <a:headEnd/>
            <a:tailEnd/>
          </a:ln>
        </p:spPr>
        <p:txBody>
          <a:bodyPr/>
          <a:lstStyle/>
          <a:p>
            <a:endParaRPr lang="en-US"/>
          </a:p>
        </p:txBody>
      </p:sp>
      <p:sp>
        <p:nvSpPr>
          <p:cNvPr id="678" name="Freeform 1022"/>
          <p:cNvSpPr>
            <a:spLocks/>
          </p:cNvSpPr>
          <p:nvPr/>
        </p:nvSpPr>
        <p:spPr bwMode="auto">
          <a:xfrm>
            <a:off x="5040832" y="2262096"/>
            <a:ext cx="10034" cy="59862"/>
          </a:xfrm>
          <a:custGeom>
            <a:avLst/>
            <a:gdLst>
              <a:gd name="T0" fmla="*/ 2147483647 w 20"/>
              <a:gd name="T1" fmla="*/ 2147483647 h 144"/>
              <a:gd name="T2" fmla="*/ 2147483647 w 20"/>
              <a:gd name="T3" fmla="*/ 2147483647 h 144"/>
              <a:gd name="T4" fmla="*/ 2147483647 w 20"/>
              <a:gd name="T5" fmla="*/ 2147483647 h 144"/>
              <a:gd name="T6" fmla="*/ 0 w 20"/>
              <a:gd name="T7" fmla="*/ 2147483647 h 144"/>
              <a:gd name="T8" fmla="*/ 2147483647 w 20"/>
              <a:gd name="T9" fmla="*/ 2147483647 h 144"/>
              <a:gd name="T10" fmla="*/ 2147483647 w 20"/>
              <a:gd name="T11" fmla="*/ 0 h 144"/>
              <a:gd name="T12" fmla="*/ 2147483647 w 20"/>
              <a:gd name="T13" fmla="*/ 2147483647 h 144"/>
              <a:gd name="T14" fmla="*/ 0 60000 65536"/>
              <a:gd name="T15" fmla="*/ 0 60000 65536"/>
              <a:gd name="T16" fmla="*/ 0 60000 65536"/>
              <a:gd name="T17" fmla="*/ 0 60000 65536"/>
              <a:gd name="T18" fmla="*/ 0 60000 65536"/>
              <a:gd name="T19" fmla="*/ 0 60000 65536"/>
              <a:gd name="T20" fmla="*/ 0 60000 65536"/>
              <a:gd name="T21" fmla="*/ 0 w 20"/>
              <a:gd name="T22" fmla="*/ 0 h 144"/>
              <a:gd name="T23" fmla="*/ 20 w 20"/>
              <a:gd name="T24" fmla="*/ 144 h 1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44">
                <a:moveTo>
                  <a:pt x="16" y="40"/>
                </a:moveTo>
                <a:lnTo>
                  <a:pt x="20" y="144"/>
                </a:lnTo>
                <a:lnTo>
                  <a:pt x="10" y="73"/>
                </a:lnTo>
                <a:lnTo>
                  <a:pt x="0" y="33"/>
                </a:lnTo>
                <a:lnTo>
                  <a:pt x="5" y="25"/>
                </a:lnTo>
                <a:lnTo>
                  <a:pt x="4" y="0"/>
                </a:lnTo>
                <a:lnTo>
                  <a:pt x="16" y="40"/>
                </a:lnTo>
                <a:close/>
              </a:path>
            </a:pathLst>
          </a:custGeom>
          <a:solidFill>
            <a:schemeClr val="accent1"/>
          </a:solidFill>
          <a:ln w="6350">
            <a:solidFill>
              <a:schemeClr val="tx2"/>
            </a:solidFill>
            <a:round/>
            <a:headEnd/>
            <a:tailEnd/>
          </a:ln>
        </p:spPr>
        <p:txBody>
          <a:bodyPr/>
          <a:lstStyle/>
          <a:p>
            <a:endParaRPr lang="en-US"/>
          </a:p>
        </p:txBody>
      </p:sp>
      <p:sp>
        <p:nvSpPr>
          <p:cNvPr id="679" name="Freeform 1023"/>
          <p:cNvSpPr>
            <a:spLocks/>
          </p:cNvSpPr>
          <p:nvPr/>
        </p:nvSpPr>
        <p:spPr bwMode="auto">
          <a:xfrm>
            <a:off x="4982065" y="2430219"/>
            <a:ext cx="34400" cy="20378"/>
          </a:xfrm>
          <a:custGeom>
            <a:avLst/>
            <a:gdLst>
              <a:gd name="T0" fmla="*/ 2147483647 w 77"/>
              <a:gd name="T1" fmla="*/ 2147483647 h 49"/>
              <a:gd name="T2" fmla="*/ 0 w 77"/>
              <a:gd name="T3" fmla="*/ 2147483647 h 49"/>
              <a:gd name="T4" fmla="*/ 2147483647 w 77"/>
              <a:gd name="T5" fmla="*/ 2147483647 h 49"/>
              <a:gd name="T6" fmla="*/ 2147483647 w 77"/>
              <a:gd name="T7" fmla="*/ 2147483647 h 49"/>
              <a:gd name="T8" fmla="*/ 2147483647 w 77"/>
              <a:gd name="T9" fmla="*/ 2147483647 h 49"/>
              <a:gd name="T10" fmla="*/ 2147483647 w 77"/>
              <a:gd name="T11" fmla="*/ 0 h 49"/>
              <a:gd name="T12" fmla="*/ 2147483647 w 77"/>
              <a:gd name="T13" fmla="*/ 2147483647 h 49"/>
              <a:gd name="T14" fmla="*/ 0 60000 65536"/>
              <a:gd name="T15" fmla="*/ 0 60000 65536"/>
              <a:gd name="T16" fmla="*/ 0 60000 65536"/>
              <a:gd name="T17" fmla="*/ 0 60000 65536"/>
              <a:gd name="T18" fmla="*/ 0 60000 65536"/>
              <a:gd name="T19" fmla="*/ 0 60000 65536"/>
              <a:gd name="T20" fmla="*/ 0 60000 65536"/>
              <a:gd name="T21" fmla="*/ 0 w 77"/>
              <a:gd name="T22" fmla="*/ 0 h 49"/>
              <a:gd name="T23" fmla="*/ 77 w 77"/>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49">
                <a:moveTo>
                  <a:pt x="10" y="5"/>
                </a:moveTo>
                <a:lnTo>
                  <a:pt x="0" y="32"/>
                </a:lnTo>
                <a:lnTo>
                  <a:pt x="35" y="49"/>
                </a:lnTo>
                <a:lnTo>
                  <a:pt x="77" y="32"/>
                </a:lnTo>
                <a:lnTo>
                  <a:pt x="66" y="24"/>
                </a:lnTo>
                <a:lnTo>
                  <a:pt x="61" y="0"/>
                </a:lnTo>
                <a:lnTo>
                  <a:pt x="10" y="5"/>
                </a:lnTo>
                <a:close/>
              </a:path>
            </a:pathLst>
          </a:custGeom>
          <a:solidFill>
            <a:schemeClr val="accent1"/>
          </a:solidFill>
          <a:ln w="6350">
            <a:solidFill>
              <a:schemeClr val="tx2"/>
            </a:solidFill>
            <a:round/>
            <a:headEnd/>
            <a:tailEnd/>
          </a:ln>
        </p:spPr>
        <p:txBody>
          <a:bodyPr/>
          <a:lstStyle/>
          <a:p>
            <a:endParaRPr lang="en-US"/>
          </a:p>
        </p:txBody>
      </p:sp>
      <p:sp>
        <p:nvSpPr>
          <p:cNvPr id="680" name="Freeform 1371"/>
          <p:cNvSpPr>
            <a:spLocks/>
          </p:cNvSpPr>
          <p:nvPr/>
        </p:nvSpPr>
        <p:spPr bwMode="auto">
          <a:xfrm>
            <a:off x="6206136" y="3416029"/>
            <a:ext cx="48734" cy="34388"/>
          </a:xfrm>
          <a:custGeom>
            <a:avLst/>
            <a:gdLst>
              <a:gd name="T0" fmla="*/ 2147483647 w 106"/>
              <a:gd name="T1" fmla="*/ 2147483647 h 83"/>
              <a:gd name="T2" fmla="*/ 2147483647 w 106"/>
              <a:gd name="T3" fmla="*/ 2147483647 h 83"/>
              <a:gd name="T4" fmla="*/ 2147483647 w 106"/>
              <a:gd name="T5" fmla="*/ 2147483647 h 83"/>
              <a:gd name="T6" fmla="*/ 2147483647 w 106"/>
              <a:gd name="T7" fmla="*/ 2147483647 h 83"/>
              <a:gd name="T8" fmla="*/ 2147483647 w 106"/>
              <a:gd name="T9" fmla="*/ 0 h 83"/>
              <a:gd name="T10" fmla="*/ 2147483647 w 106"/>
              <a:gd name="T11" fmla="*/ 2147483647 h 83"/>
              <a:gd name="T12" fmla="*/ 2147483647 w 106"/>
              <a:gd name="T13" fmla="*/ 2147483647 h 83"/>
              <a:gd name="T14" fmla="*/ 2147483647 w 106"/>
              <a:gd name="T15" fmla="*/ 2147483647 h 83"/>
              <a:gd name="T16" fmla="*/ 2147483647 w 106"/>
              <a:gd name="T17" fmla="*/ 2147483647 h 83"/>
              <a:gd name="T18" fmla="*/ 2147483647 w 106"/>
              <a:gd name="T19" fmla="*/ 2147483647 h 83"/>
              <a:gd name="T20" fmla="*/ 2147483647 w 106"/>
              <a:gd name="T21" fmla="*/ 2147483647 h 83"/>
              <a:gd name="T22" fmla="*/ 2147483647 w 106"/>
              <a:gd name="T23" fmla="*/ 2147483647 h 83"/>
              <a:gd name="T24" fmla="*/ 2147483647 w 106"/>
              <a:gd name="T25" fmla="*/ 2147483647 h 83"/>
              <a:gd name="T26" fmla="*/ 0 w 106"/>
              <a:gd name="T27" fmla="*/ 2147483647 h 83"/>
              <a:gd name="T28" fmla="*/ 2147483647 w 106"/>
              <a:gd name="T29" fmla="*/ 2147483647 h 83"/>
              <a:gd name="T30" fmla="*/ 2147483647 w 106"/>
              <a:gd name="T31" fmla="*/ 2147483647 h 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83"/>
              <a:gd name="T50" fmla="*/ 106 w 106"/>
              <a:gd name="T51" fmla="*/ 83 h 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83">
                <a:moveTo>
                  <a:pt x="8" y="14"/>
                </a:moveTo>
                <a:lnTo>
                  <a:pt x="13" y="5"/>
                </a:lnTo>
                <a:lnTo>
                  <a:pt x="27" y="1"/>
                </a:lnTo>
                <a:lnTo>
                  <a:pt x="34" y="7"/>
                </a:lnTo>
                <a:lnTo>
                  <a:pt x="42" y="0"/>
                </a:lnTo>
                <a:lnTo>
                  <a:pt x="83" y="2"/>
                </a:lnTo>
                <a:lnTo>
                  <a:pt x="100" y="17"/>
                </a:lnTo>
                <a:lnTo>
                  <a:pt x="106" y="54"/>
                </a:lnTo>
                <a:lnTo>
                  <a:pt x="89" y="66"/>
                </a:lnTo>
                <a:lnTo>
                  <a:pt x="72" y="66"/>
                </a:lnTo>
                <a:lnTo>
                  <a:pt x="50" y="79"/>
                </a:lnTo>
                <a:lnTo>
                  <a:pt x="22" y="83"/>
                </a:lnTo>
                <a:lnTo>
                  <a:pt x="7" y="70"/>
                </a:lnTo>
                <a:lnTo>
                  <a:pt x="0" y="55"/>
                </a:lnTo>
                <a:lnTo>
                  <a:pt x="4" y="13"/>
                </a:lnTo>
                <a:lnTo>
                  <a:pt x="8" y="14"/>
                </a:lnTo>
                <a:close/>
              </a:path>
            </a:pathLst>
          </a:custGeom>
          <a:solidFill>
            <a:schemeClr val="accent1"/>
          </a:solidFill>
          <a:ln w="6350">
            <a:solidFill>
              <a:schemeClr val="tx2"/>
            </a:solidFill>
            <a:round/>
            <a:headEnd/>
            <a:tailEnd/>
          </a:ln>
        </p:spPr>
        <p:txBody>
          <a:bodyPr/>
          <a:lstStyle/>
          <a:p>
            <a:endParaRPr lang="en-US"/>
          </a:p>
        </p:txBody>
      </p:sp>
      <p:sp>
        <p:nvSpPr>
          <p:cNvPr id="681" name="Freeform 1372"/>
          <p:cNvSpPr>
            <a:spLocks/>
          </p:cNvSpPr>
          <p:nvPr/>
        </p:nvSpPr>
        <p:spPr bwMode="auto">
          <a:xfrm>
            <a:off x="6180336" y="3408387"/>
            <a:ext cx="37267" cy="70050"/>
          </a:xfrm>
          <a:custGeom>
            <a:avLst/>
            <a:gdLst>
              <a:gd name="T0" fmla="*/ 2147483647 w 78"/>
              <a:gd name="T1" fmla="*/ 2147483647 h 169"/>
              <a:gd name="T2" fmla="*/ 2147483647 w 78"/>
              <a:gd name="T3" fmla="*/ 2147483647 h 169"/>
              <a:gd name="T4" fmla="*/ 2147483647 w 78"/>
              <a:gd name="T5" fmla="*/ 2147483647 h 169"/>
              <a:gd name="T6" fmla="*/ 2147483647 w 78"/>
              <a:gd name="T7" fmla="*/ 2147483647 h 169"/>
              <a:gd name="T8" fmla="*/ 2147483647 w 78"/>
              <a:gd name="T9" fmla="*/ 2147483647 h 169"/>
              <a:gd name="T10" fmla="*/ 2147483647 w 78"/>
              <a:gd name="T11" fmla="*/ 2147483647 h 169"/>
              <a:gd name="T12" fmla="*/ 2147483647 w 78"/>
              <a:gd name="T13" fmla="*/ 2147483647 h 169"/>
              <a:gd name="T14" fmla="*/ 2147483647 w 78"/>
              <a:gd name="T15" fmla="*/ 0 h 169"/>
              <a:gd name="T16" fmla="*/ 2147483647 w 78"/>
              <a:gd name="T17" fmla="*/ 2147483647 h 169"/>
              <a:gd name="T18" fmla="*/ 2147483647 w 78"/>
              <a:gd name="T19" fmla="*/ 2147483647 h 169"/>
              <a:gd name="T20" fmla="*/ 2147483647 w 78"/>
              <a:gd name="T21" fmla="*/ 2147483647 h 169"/>
              <a:gd name="T22" fmla="*/ 2147483647 w 78"/>
              <a:gd name="T23" fmla="*/ 2147483647 h 169"/>
              <a:gd name="T24" fmla="*/ 2147483647 w 78"/>
              <a:gd name="T25" fmla="*/ 2147483647 h 169"/>
              <a:gd name="T26" fmla="*/ 2147483647 w 78"/>
              <a:gd name="T27" fmla="*/ 2147483647 h 169"/>
              <a:gd name="T28" fmla="*/ 2147483647 w 78"/>
              <a:gd name="T29" fmla="*/ 2147483647 h 169"/>
              <a:gd name="T30" fmla="*/ 0 w 78"/>
              <a:gd name="T31" fmla="*/ 2147483647 h 169"/>
              <a:gd name="T32" fmla="*/ 2147483647 w 78"/>
              <a:gd name="T33" fmla="*/ 2147483647 h 169"/>
              <a:gd name="T34" fmla="*/ 2147483647 w 78"/>
              <a:gd name="T35" fmla="*/ 2147483647 h 169"/>
              <a:gd name="T36" fmla="*/ 2147483647 w 78"/>
              <a:gd name="T37" fmla="*/ 2147483647 h 169"/>
              <a:gd name="T38" fmla="*/ 2147483647 w 78"/>
              <a:gd name="T39" fmla="*/ 2147483647 h 1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8"/>
              <a:gd name="T61" fmla="*/ 0 h 169"/>
              <a:gd name="T62" fmla="*/ 78 w 78"/>
              <a:gd name="T63" fmla="*/ 169 h 1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8" h="169">
                <a:moveTo>
                  <a:pt x="39" y="169"/>
                </a:moveTo>
                <a:lnTo>
                  <a:pt x="78" y="122"/>
                </a:lnTo>
                <a:lnTo>
                  <a:pt x="76" y="102"/>
                </a:lnTo>
                <a:lnTo>
                  <a:pt x="61" y="89"/>
                </a:lnTo>
                <a:lnTo>
                  <a:pt x="54" y="74"/>
                </a:lnTo>
                <a:lnTo>
                  <a:pt x="58" y="32"/>
                </a:lnTo>
                <a:lnTo>
                  <a:pt x="36" y="7"/>
                </a:lnTo>
                <a:lnTo>
                  <a:pt x="19" y="0"/>
                </a:lnTo>
                <a:lnTo>
                  <a:pt x="9" y="13"/>
                </a:lnTo>
                <a:lnTo>
                  <a:pt x="3" y="45"/>
                </a:lnTo>
                <a:lnTo>
                  <a:pt x="13" y="51"/>
                </a:lnTo>
                <a:lnTo>
                  <a:pt x="6" y="75"/>
                </a:lnTo>
                <a:lnTo>
                  <a:pt x="9" y="83"/>
                </a:lnTo>
                <a:lnTo>
                  <a:pt x="4" y="108"/>
                </a:lnTo>
                <a:lnTo>
                  <a:pt x="7" y="127"/>
                </a:lnTo>
                <a:lnTo>
                  <a:pt x="0" y="126"/>
                </a:lnTo>
                <a:lnTo>
                  <a:pt x="11" y="145"/>
                </a:lnTo>
                <a:lnTo>
                  <a:pt x="25" y="150"/>
                </a:lnTo>
                <a:lnTo>
                  <a:pt x="32" y="166"/>
                </a:lnTo>
                <a:lnTo>
                  <a:pt x="39" y="169"/>
                </a:lnTo>
                <a:close/>
              </a:path>
            </a:pathLst>
          </a:custGeom>
          <a:solidFill>
            <a:schemeClr val="accent1"/>
          </a:solidFill>
          <a:ln w="6350">
            <a:solidFill>
              <a:schemeClr val="tx2"/>
            </a:solidFill>
            <a:round/>
            <a:headEnd/>
            <a:tailEnd/>
          </a:ln>
        </p:spPr>
        <p:txBody>
          <a:bodyPr/>
          <a:lstStyle/>
          <a:p>
            <a:endParaRPr lang="en-US"/>
          </a:p>
        </p:txBody>
      </p:sp>
      <p:sp>
        <p:nvSpPr>
          <p:cNvPr id="682" name="Freeform 1373"/>
          <p:cNvSpPr>
            <a:spLocks/>
          </p:cNvSpPr>
          <p:nvPr/>
        </p:nvSpPr>
        <p:spPr bwMode="auto">
          <a:xfrm>
            <a:off x="6164570" y="3317958"/>
            <a:ext cx="90300" cy="109535"/>
          </a:xfrm>
          <a:custGeom>
            <a:avLst/>
            <a:gdLst>
              <a:gd name="T0" fmla="*/ 2147483647 w 191"/>
              <a:gd name="T1" fmla="*/ 2147483647 h 260"/>
              <a:gd name="T2" fmla="*/ 2147483647 w 191"/>
              <a:gd name="T3" fmla="*/ 2147483647 h 260"/>
              <a:gd name="T4" fmla="*/ 2147483647 w 191"/>
              <a:gd name="T5" fmla="*/ 2147483647 h 260"/>
              <a:gd name="T6" fmla="*/ 2147483647 w 191"/>
              <a:gd name="T7" fmla="*/ 2147483647 h 260"/>
              <a:gd name="T8" fmla="*/ 2147483647 w 191"/>
              <a:gd name="T9" fmla="*/ 2147483647 h 260"/>
              <a:gd name="T10" fmla="*/ 2147483647 w 191"/>
              <a:gd name="T11" fmla="*/ 2147483647 h 260"/>
              <a:gd name="T12" fmla="*/ 2147483647 w 191"/>
              <a:gd name="T13" fmla="*/ 2147483647 h 260"/>
              <a:gd name="T14" fmla="*/ 2147483647 w 191"/>
              <a:gd name="T15" fmla="*/ 2147483647 h 260"/>
              <a:gd name="T16" fmla="*/ 2147483647 w 191"/>
              <a:gd name="T17" fmla="*/ 0 h 260"/>
              <a:gd name="T18" fmla="*/ 2147483647 w 191"/>
              <a:gd name="T19" fmla="*/ 2147483647 h 260"/>
              <a:gd name="T20" fmla="*/ 2147483647 w 191"/>
              <a:gd name="T21" fmla="*/ 2147483647 h 260"/>
              <a:gd name="T22" fmla="*/ 2147483647 w 191"/>
              <a:gd name="T23" fmla="*/ 2147483647 h 260"/>
              <a:gd name="T24" fmla="*/ 2147483647 w 191"/>
              <a:gd name="T25" fmla="*/ 2147483647 h 260"/>
              <a:gd name="T26" fmla="*/ 2147483647 w 191"/>
              <a:gd name="T27" fmla="*/ 2147483647 h 260"/>
              <a:gd name="T28" fmla="*/ 2147483647 w 191"/>
              <a:gd name="T29" fmla="*/ 2147483647 h 260"/>
              <a:gd name="T30" fmla="*/ 2147483647 w 191"/>
              <a:gd name="T31" fmla="*/ 2147483647 h 260"/>
              <a:gd name="T32" fmla="*/ 2147483647 w 191"/>
              <a:gd name="T33" fmla="*/ 2147483647 h 260"/>
              <a:gd name="T34" fmla="*/ 2147483647 w 191"/>
              <a:gd name="T35" fmla="*/ 2147483647 h 260"/>
              <a:gd name="T36" fmla="*/ 2147483647 w 191"/>
              <a:gd name="T37" fmla="*/ 2147483647 h 260"/>
              <a:gd name="T38" fmla="*/ 2147483647 w 191"/>
              <a:gd name="T39" fmla="*/ 2147483647 h 260"/>
              <a:gd name="T40" fmla="*/ 2147483647 w 191"/>
              <a:gd name="T41" fmla="*/ 2147483647 h 260"/>
              <a:gd name="T42" fmla="*/ 2147483647 w 191"/>
              <a:gd name="T43" fmla="*/ 2147483647 h 260"/>
              <a:gd name="T44" fmla="*/ 2147483647 w 191"/>
              <a:gd name="T45" fmla="*/ 2147483647 h 260"/>
              <a:gd name="T46" fmla="*/ 0 w 191"/>
              <a:gd name="T47" fmla="*/ 2147483647 h 260"/>
              <a:gd name="T48" fmla="*/ 2147483647 w 191"/>
              <a:gd name="T49" fmla="*/ 2147483647 h 260"/>
              <a:gd name="T50" fmla="*/ 2147483647 w 191"/>
              <a:gd name="T51" fmla="*/ 2147483647 h 260"/>
              <a:gd name="T52" fmla="*/ 2147483647 w 191"/>
              <a:gd name="T53" fmla="*/ 2147483647 h 260"/>
              <a:gd name="T54" fmla="*/ 2147483647 w 191"/>
              <a:gd name="T55" fmla="*/ 2147483647 h 260"/>
              <a:gd name="T56" fmla="*/ 2147483647 w 191"/>
              <a:gd name="T57" fmla="*/ 2147483647 h 260"/>
              <a:gd name="T58" fmla="*/ 2147483647 w 191"/>
              <a:gd name="T59" fmla="*/ 2147483647 h 260"/>
              <a:gd name="T60" fmla="*/ 2147483647 w 191"/>
              <a:gd name="T61" fmla="*/ 2147483647 h 260"/>
              <a:gd name="T62" fmla="*/ 2147483647 w 191"/>
              <a:gd name="T63" fmla="*/ 2147483647 h 260"/>
              <a:gd name="T64" fmla="*/ 2147483647 w 191"/>
              <a:gd name="T65" fmla="*/ 2147483647 h 2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260"/>
              <a:gd name="T101" fmla="*/ 191 w 191"/>
              <a:gd name="T102" fmla="*/ 260 h 2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260">
                <a:moveTo>
                  <a:pt x="173" y="236"/>
                </a:moveTo>
                <a:lnTo>
                  <a:pt x="173" y="218"/>
                </a:lnTo>
                <a:lnTo>
                  <a:pt x="191" y="189"/>
                </a:lnTo>
                <a:lnTo>
                  <a:pt x="173" y="164"/>
                </a:lnTo>
                <a:lnTo>
                  <a:pt x="171" y="148"/>
                </a:lnTo>
                <a:lnTo>
                  <a:pt x="173" y="131"/>
                </a:lnTo>
                <a:lnTo>
                  <a:pt x="186" y="125"/>
                </a:lnTo>
                <a:lnTo>
                  <a:pt x="179" y="124"/>
                </a:lnTo>
                <a:lnTo>
                  <a:pt x="173" y="110"/>
                </a:lnTo>
                <a:lnTo>
                  <a:pt x="181" y="102"/>
                </a:lnTo>
                <a:lnTo>
                  <a:pt x="175" y="93"/>
                </a:lnTo>
                <a:lnTo>
                  <a:pt x="165" y="100"/>
                </a:lnTo>
                <a:lnTo>
                  <a:pt x="132" y="83"/>
                </a:lnTo>
                <a:lnTo>
                  <a:pt x="129" y="64"/>
                </a:lnTo>
                <a:lnTo>
                  <a:pt x="114" y="58"/>
                </a:lnTo>
                <a:lnTo>
                  <a:pt x="97" y="23"/>
                </a:lnTo>
                <a:lnTo>
                  <a:pt x="77" y="6"/>
                </a:lnTo>
                <a:lnTo>
                  <a:pt x="71" y="0"/>
                </a:lnTo>
                <a:lnTo>
                  <a:pt x="52" y="4"/>
                </a:lnTo>
                <a:lnTo>
                  <a:pt x="12" y="18"/>
                </a:lnTo>
                <a:lnTo>
                  <a:pt x="18" y="23"/>
                </a:lnTo>
                <a:lnTo>
                  <a:pt x="17" y="37"/>
                </a:lnTo>
                <a:lnTo>
                  <a:pt x="25" y="39"/>
                </a:lnTo>
                <a:lnTo>
                  <a:pt x="22" y="49"/>
                </a:lnTo>
                <a:lnTo>
                  <a:pt x="42" y="56"/>
                </a:lnTo>
                <a:lnTo>
                  <a:pt x="31" y="58"/>
                </a:lnTo>
                <a:lnTo>
                  <a:pt x="30" y="76"/>
                </a:lnTo>
                <a:lnTo>
                  <a:pt x="40" y="75"/>
                </a:lnTo>
                <a:lnTo>
                  <a:pt x="41" y="78"/>
                </a:lnTo>
                <a:lnTo>
                  <a:pt x="29" y="107"/>
                </a:lnTo>
                <a:lnTo>
                  <a:pt x="30" y="111"/>
                </a:lnTo>
                <a:lnTo>
                  <a:pt x="52" y="128"/>
                </a:lnTo>
                <a:lnTo>
                  <a:pt x="49" y="133"/>
                </a:lnTo>
                <a:lnTo>
                  <a:pt x="38" y="130"/>
                </a:lnTo>
                <a:lnTo>
                  <a:pt x="35" y="133"/>
                </a:lnTo>
                <a:lnTo>
                  <a:pt x="48" y="146"/>
                </a:lnTo>
                <a:lnTo>
                  <a:pt x="47" y="154"/>
                </a:lnTo>
                <a:lnTo>
                  <a:pt x="28" y="160"/>
                </a:lnTo>
                <a:lnTo>
                  <a:pt x="22" y="161"/>
                </a:lnTo>
                <a:lnTo>
                  <a:pt x="28" y="170"/>
                </a:lnTo>
                <a:lnTo>
                  <a:pt x="28" y="175"/>
                </a:lnTo>
                <a:lnTo>
                  <a:pt x="24" y="175"/>
                </a:lnTo>
                <a:lnTo>
                  <a:pt x="22" y="170"/>
                </a:lnTo>
                <a:lnTo>
                  <a:pt x="17" y="170"/>
                </a:lnTo>
                <a:lnTo>
                  <a:pt x="9" y="180"/>
                </a:lnTo>
                <a:lnTo>
                  <a:pt x="8" y="188"/>
                </a:lnTo>
                <a:lnTo>
                  <a:pt x="4" y="189"/>
                </a:lnTo>
                <a:lnTo>
                  <a:pt x="0" y="200"/>
                </a:lnTo>
                <a:lnTo>
                  <a:pt x="4" y="208"/>
                </a:lnTo>
                <a:lnTo>
                  <a:pt x="5" y="210"/>
                </a:lnTo>
                <a:lnTo>
                  <a:pt x="1" y="218"/>
                </a:lnTo>
                <a:lnTo>
                  <a:pt x="1" y="224"/>
                </a:lnTo>
                <a:lnTo>
                  <a:pt x="13" y="233"/>
                </a:lnTo>
                <a:lnTo>
                  <a:pt x="22" y="241"/>
                </a:lnTo>
                <a:lnTo>
                  <a:pt x="29" y="246"/>
                </a:lnTo>
                <a:lnTo>
                  <a:pt x="33" y="257"/>
                </a:lnTo>
                <a:lnTo>
                  <a:pt x="39" y="260"/>
                </a:lnTo>
                <a:lnTo>
                  <a:pt x="45" y="228"/>
                </a:lnTo>
                <a:lnTo>
                  <a:pt x="55" y="215"/>
                </a:lnTo>
                <a:lnTo>
                  <a:pt x="72" y="222"/>
                </a:lnTo>
                <a:lnTo>
                  <a:pt x="94" y="247"/>
                </a:lnTo>
                <a:lnTo>
                  <a:pt x="98" y="248"/>
                </a:lnTo>
                <a:lnTo>
                  <a:pt x="103" y="239"/>
                </a:lnTo>
                <a:lnTo>
                  <a:pt x="117" y="235"/>
                </a:lnTo>
                <a:lnTo>
                  <a:pt x="124" y="241"/>
                </a:lnTo>
                <a:lnTo>
                  <a:pt x="132" y="234"/>
                </a:lnTo>
                <a:lnTo>
                  <a:pt x="173" y="236"/>
                </a:lnTo>
                <a:close/>
              </a:path>
            </a:pathLst>
          </a:custGeom>
          <a:solidFill>
            <a:schemeClr val="accent1"/>
          </a:solidFill>
          <a:ln w="6350">
            <a:solidFill>
              <a:schemeClr val="tx2"/>
            </a:solidFill>
            <a:round/>
            <a:headEnd/>
            <a:tailEnd/>
          </a:ln>
        </p:spPr>
        <p:txBody>
          <a:bodyPr/>
          <a:lstStyle/>
          <a:p>
            <a:endParaRPr lang="en-US"/>
          </a:p>
        </p:txBody>
      </p:sp>
      <p:sp>
        <p:nvSpPr>
          <p:cNvPr id="683" name="Freeform 1376"/>
          <p:cNvSpPr>
            <a:spLocks/>
          </p:cNvSpPr>
          <p:nvPr/>
        </p:nvSpPr>
        <p:spPr bwMode="auto">
          <a:xfrm>
            <a:off x="6260604" y="3031385"/>
            <a:ext cx="194935" cy="147744"/>
          </a:xfrm>
          <a:custGeom>
            <a:avLst/>
            <a:gdLst>
              <a:gd name="T0" fmla="*/ 2147483647 w 414"/>
              <a:gd name="T1" fmla="*/ 2147483647 h 356"/>
              <a:gd name="T2" fmla="*/ 2147483647 w 414"/>
              <a:gd name="T3" fmla="*/ 2147483647 h 356"/>
              <a:gd name="T4" fmla="*/ 0 w 414"/>
              <a:gd name="T5" fmla="*/ 2147483647 h 356"/>
              <a:gd name="T6" fmla="*/ 2147483647 w 414"/>
              <a:gd name="T7" fmla="*/ 2147483647 h 356"/>
              <a:gd name="T8" fmla="*/ 2147483647 w 414"/>
              <a:gd name="T9" fmla="*/ 2147483647 h 356"/>
              <a:gd name="T10" fmla="*/ 2147483647 w 414"/>
              <a:gd name="T11" fmla="*/ 2147483647 h 356"/>
              <a:gd name="T12" fmla="*/ 2147483647 w 414"/>
              <a:gd name="T13" fmla="*/ 2147483647 h 356"/>
              <a:gd name="T14" fmla="*/ 2147483647 w 414"/>
              <a:gd name="T15" fmla="*/ 2147483647 h 356"/>
              <a:gd name="T16" fmla="*/ 2147483647 w 414"/>
              <a:gd name="T17" fmla="*/ 2147483647 h 356"/>
              <a:gd name="T18" fmla="*/ 2147483647 w 414"/>
              <a:gd name="T19" fmla="*/ 2147483647 h 356"/>
              <a:gd name="T20" fmla="*/ 2147483647 w 414"/>
              <a:gd name="T21" fmla="*/ 2147483647 h 356"/>
              <a:gd name="T22" fmla="*/ 2147483647 w 414"/>
              <a:gd name="T23" fmla="*/ 2147483647 h 356"/>
              <a:gd name="T24" fmla="*/ 2147483647 w 414"/>
              <a:gd name="T25" fmla="*/ 2147483647 h 356"/>
              <a:gd name="T26" fmla="*/ 2147483647 w 414"/>
              <a:gd name="T27" fmla="*/ 2147483647 h 356"/>
              <a:gd name="T28" fmla="*/ 2147483647 w 414"/>
              <a:gd name="T29" fmla="*/ 2147483647 h 356"/>
              <a:gd name="T30" fmla="*/ 2147483647 w 414"/>
              <a:gd name="T31" fmla="*/ 2147483647 h 356"/>
              <a:gd name="T32" fmla="*/ 2147483647 w 414"/>
              <a:gd name="T33" fmla="*/ 2147483647 h 356"/>
              <a:gd name="T34" fmla="*/ 2147483647 w 414"/>
              <a:gd name="T35" fmla="*/ 2147483647 h 356"/>
              <a:gd name="T36" fmla="*/ 2147483647 w 414"/>
              <a:gd name="T37" fmla="*/ 2147483647 h 356"/>
              <a:gd name="T38" fmla="*/ 2147483647 w 414"/>
              <a:gd name="T39" fmla="*/ 2147483647 h 356"/>
              <a:gd name="T40" fmla="*/ 2147483647 w 414"/>
              <a:gd name="T41" fmla="*/ 2147483647 h 356"/>
              <a:gd name="T42" fmla="*/ 2147483647 w 414"/>
              <a:gd name="T43" fmla="*/ 0 h 356"/>
              <a:gd name="T44" fmla="*/ 2147483647 w 414"/>
              <a:gd name="T45" fmla="*/ 2147483647 h 356"/>
              <a:gd name="T46" fmla="*/ 2147483647 w 414"/>
              <a:gd name="T47" fmla="*/ 2147483647 h 356"/>
              <a:gd name="T48" fmla="*/ 2147483647 w 414"/>
              <a:gd name="T49" fmla="*/ 2147483647 h 356"/>
              <a:gd name="T50" fmla="*/ 2147483647 w 414"/>
              <a:gd name="T51" fmla="*/ 2147483647 h 356"/>
              <a:gd name="T52" fmla="*/ 2147483647 w 414"/>
              <a:gd name="T53" fmla="*/ 2147483647 h 356"/>
              <a:gd name="T54" fmla="*/ 2147483647 w 414"/>
              <a:gd name="T55" fmla="*/ 2147483647 h 356"/>
              <a:gd name="T56" fmla="*/ 2147483647 w 414"/>
              <a:gd name="T57" fmla="*/ 2147483647 h 356"/>
              <a:gd name="T58" fmla="*/ 2147483647 w 414"/>
              <a:gd name="T59" fmla="*/ 2147483647 h 356"/>
              <a:gd name="T60" fmla="*/ 2147483647 w 414"/>
              <a:gd name="T61" fmla="*/ 2147483647 h 356"/>
              <a:gd name="T62" fmla="*/ 2147483647 w 414"/>
              <a:gd name="T63" fmla="*/ 2147483647 h 356"/>
              <a:gd name="T64" fmla="*/ 2147483647 w 414"/>
              <a:gd name="T65" fmla="*/ 2147483647 h 356"/>
              <a:gd name="T66" fmla="*/ 2147483647 w 414"/>
              <a:gd name="T67" fmla="*/ 2147483647 h 356"/>
              <a:gd name="T68" fmla="*/ 2147483647 w 414"/>
              <a:gd name="T69" fmla="*/ 2147483647 h 356"/>
              <a:gd name="T70" fmla="*/ 2147483647 w 414"/>
              <a:gd name="T71" fmla="*/ 2147483647 h 356"/>
              <a:gd name="T72" fmla="*/ 2147483647 w 414"/>
              <a:gd name="T73" fmla="*/ 2147483647 h 356"/>
              <a:gd name="T74" fmla="*/ 2147483647 w 414"/>
              <a:gd name="T75" fmla="*/ 2147483647 h 356"/>
              <a:gd name="T76" fmla="*/ 2147483647 w 414"/>
              <a:gd name="T77" fmla="*/ 2147483647 h 356"/>
              <a:gd name="T78" fmla="*/ 2147483647 w 414"/>
              <a:gd name="T79" fmla="*/ 2147483647 h 356"/>
              <a:gd name="T80" fmla="*/ 2147483647 w 414"/>
              <a:gd name="T81" fmla="*/ 2147483647 h 356"/>
              <a:gd name="T82" fmla="*/ 2147483647 w 414"/>
              <a:gd name="T83" fmla="*/ 2147483647 h 356"/>
              <a:gd name="T84" fmla="*/ 2147483647 w 414"/>
              <a:gd name="T85" fmla="*/ 2147483647 h 356"/>
              <a:gd name="T86" fmla="*/ 2147483647 w 414"/>
              <a:gd name="T87" fmla="*/ 2147483647 h 356"/>
              <a:gd name="T88" fmla="*/ 2147483647 w 414"/>
              <a:gd name="T89" fmla="*/ 2147483647 h 356"/>
              <a:gd name="T90" fmla="*/ 2147483647 w 414"/>
              <a:gd name="T91" fmla="*/ 2147483647 h 356"/>
              <a:gd name="T92" fmla="*/ 2147483647 w 414"/>
              <a:gd name="T93" fmla="*/ 2147483647 h 356"/>
              <a:gd name="T94" fmla="*/ 2147483647 w 414"/>
              <a:gd name="T95" fmla="*/ 2147483647 h 356"/>
              <a:gd name="T96" fmla="*/ 2147483647 w 414"/>
              <a:gd name="T97" fmla="*/ 2147483647 h 356"/>
              <a:gd name="T98" fmla="*/ 2147483647 w 414"/>
              <a:gd name="T99" fmla="*/ 2147483647 h 356"/>
              <a:gd name="T100" fmla="*/ 2147483647 w 414"/>
              <a:gd name="T101" fmla="*/ 2147483647 h 356"/>
              <a:gd name="T102" fmla="*/ 2147483647 w 414"/>
              <a:gd name="T103" fmla="*/ 2147483647 h 356"/>
              <a:gd name="T104" fmla="*/ 2147483647 w 414"/>
              <a:gd name="T105" fmla="*/ 2147483647 h 356"/>
              <a:gd name="T106" fmla="*/ 2147483647 w 414"/>
              <a:gd name="T107" fmla="*/ 2147483647 h 356"/>
              <a:gd name="T108" fmla="*/ 2147483647 w 414"/>
              <a:gd name="T109" fmla="*/ 2147483647 h 356"/>
              <a:gd name="T110" fmla="*/ 2147483647 w 414"/>
              <a:gd name="T111" fmla="*/ 2147483647 h 3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14"/>
              <a:gd name="T169" fmla="*/ 0 h 356"/>
              <a:gd name="T170" fmla="*/ 414 w 414"/>
              <a:gd name="T171" fmla="*/ 356 h 3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14" h="356">
                <a:moveTo>
                  <a:pt x="12" y="336"/>
                </a:moveTo>
                <a:lnTo>
                  <a:pt x="16" y="307"/>
                </a:lnTo>
                <a:lnTo>
                  <a:pt x="0" y="288"/>
                </a:lnTo>
                <a:lnTo>
                  <a:pt x="29" y="259"/>
                </a:lnTo>
                <a:lnTo>
                  <a:pt x="29" y="232"/>
                </a:lnTo>
                <a:lnTo>
                  <a:pt x="13" y="166"/>
                </a:lnTo>
                <a:lnTo>
                  <a:pt x="71" y="163"/>
                </a:lnTo>
                <a:lnTo>
                  <a:pt x="68" y="152"/>
                </a:lnTo>
                <a:lnTo>
                  <a:pt x="90" y="142"/>
                </a:lnTo>
                <a:lnTo>
                  <a:pt x="111" y="150"/>
                </a:lnTo>
                <a:lnTo>
                  <a:pt x="104" y="133"/>
                </a:lnTo>
                <a:lnTo>
                  <a:pt x="112" y="116"/>
                </a:lnTo>
                <a:lnTo>
                  <a:pt x="115" y="90"/>
                </a:lnTo>
                <a:lnTo>
                  <a:pt x="146" y="79"/>
                </a:lnTo>
                <a:lnTo>
                  <a:pt x="153" y="64"/>
                </a:lnTo>
                <a:lnTo>
                  <a:pt x="141" y="62"/>
                </a:lnTo>
                <a:lnTo>
                  <a:pt x="141" y="49"/>
                </a:lnTo>
                <a:lnTo>
                  <a:pt x="150" y="40"/>
                </a:lnTo>
                <a:lnTo>
                  <a:pt x="169" y="27"/>
                </a:lnTo>
                <a:lnTo>
                  <a:pt x="187" y="31"/>
                </a:lnTo>
                <a:lnTo>
                  <a:pt x="206" y="4"/>
                </a:lnTo>
                <a:lnTo>
                  <a:pt x="219" y="0"/>
                </a:lnTo>
                <a:lnTo>
                  <a:pt x="262" y="12"/>
                </a:lnTo>
                <a:lnTo>
                  <a:pt x="272" y="19"/>
                </a:lnTo>
                <a:lnTo>
                  <a:pt x="270" y="35"/>
                </a:lnTo>
                <a:lnTo>
                  <a:pt x="311" y="23"/>
                </a:lnTo>
                <a:lnTo>
                  <a:pt x="334" y="43"/>
                </a:lnTo>
                <a:lnTo>
                  <a:pt x="339" y="75"/>
                </a:lnTo>
                <a:lnTo>
                  <a:pt x="332" y="104"/>
                </a:lnTo>
                <a:lnTo>
                  <a:pt x="372" y="159"/>
                </a:lnTo>
                <a:lnTo>
                  <a:pt x="375" y="178"/>
                </a:lnTo>
                <a:lnTo>
                  <a:pt x="393" y="175"/>
                </a:lnTo>
                <a:lnTo>
                  <a:pt x="413" y="193"/>
                </a:lnTo>
                <a:lnTo>
                  <a:pt x="414" y="203"/>
                </a:lnTo>
                <a:lnTo>
                  <a:pt x="390" y="224"/>
                </a:lnTo>
                <a:lnTo>
                  <a:pt x="362" y="214"/>
                </a:lnTo>
                <a:lnTo>
                  <a:pt x="349" y="225"/>
                </a:lnTo>
                <a:lnTo>
                  <a:pt x="372" y="296"/>
                </a:lnTo>
                <a:lnTo>
                  <a:pt x="338" y="301"/>
                </a:lnTo>
                <a:lnTo>
                  <a:pt x="324" y="316"/>
                </a:lnTo>
                <a:lnTo>
                  <a:pt x="322" y="348"/>
                </a:lnTo>
                <a:lnTo>
                  <a:pt x="312" y="356"/>
                </a:lnTo>
                <a:lnTo>
                  <a:pt x="303" y="348"/>
                </a:lnTo>
                <a:lnTo>
                  <a:pt x="271" y="354"/>
                </a:lnTo>
                <a:lnTo>
                  <a:pt x="253" y="335"/>
                </a:lnTo>
                <a:lnTo>
                  <a:pt x="240" y="350"/>
                </a:lnTo>
                <a:lnTo>
                  <a:pt x="213" y="336"/>
                </a:lnTo>
                <a:lnTo>
                  <a:pt x="191" y="348"/>
                </a:lnTo>
                <a:lnTo>
                  <a:pt x="185" y="337"/>
                </a:lnTo>
                <a:lnTo>
                  <a:pt x="172" y="338"/>
                </a:lnTo>
                <a:lnTo>
                  <a:pt x="161" y="324"/>
                </a:lnTo>
                <a:lnTo>
                  <a:pt x="112" y="310"/>
                </a:lnTo>
                <a:lnTo>
                  <a:pt x="90" y="311"/>
                </a:lnTo>
                <a:lnTo>
                  <a:pt x="54" y="313"/>
                </a:lnTo>
                <a:lnTo>
                  <a:pt x="41" y="326"/>
                </a:lnTo>
                <a:lnTo>
                  <a:pt x="12" y="336"/>
                </a:lnTo>
                <a:close/>
              </a:path>
            </a:pathLst>
          </a:custGeom>
          <a:solidFill>
            <a:schemeClr val="accent1"/>
          </a:solidFill>
          <a:ln w="6350">
            <a:solidFill>
              <a:schemeClr val="tx2"/>
            </a:solidFill>
            <a:round/>
            <a:headEnd/>
            <a:tailEnd/>
          </a:ln>
        </p:spPr>
        <p:txBody>
          <a:bodyPr/>
          <a:lstStyle/>
          <a:p>
            <a:endParaRPr lang="en-US"/>
          </a:p>
        </p:txBody>
      </p:sp>
      <p:sp>
        <p:nvSpPr>
          <p:cNvPr id="684" name="Freeform 1382"/>
          <p:cNvSpPr>
            <a:spLocks/>
          </p:cNvSpPr>
          <p:nvPr/>
        </p:nvSpPr>
        <p:spPr bwMode="auto">
          <a:xfrm>
            <a:off x="6237670" y="3148561"/>
            <a:ext cx="366936" cy="216522"/>
          </a:xfrm>
          <a:custGeom>
            <a:avLst/>
            <a:gdLst>
              <a:gd name="T0" fmla="*/ 2147483647 w 779"/>
              <a:gd name="T1" fmla="*/ 2147483647 h 518"/>
              <a:gd name="T2" fmla="*/ 2147483647 w 779"/>
              <a:gd name="T3" fmla="*/ 2147483647 h 518"/>
              <a:gd name="T4" fmla="*/ 2147483647 w 779"/>
              <a:gd name="T5" fmla="*/ 2147483647 h 518"/>
              <a:gd name="T6" fmla="*/ 2147483647 w 779"/>
              <a:gd name="T7" fmla="*/ 2147483647 h 518"/>
              <a:gd name="T8" fmla="*/ 2147483647 w 779"/>
              <a:gd name="T9" fmla="*/ 2147483647 h 518"/>
              <a:gd name="T10" fmla="*/ 2147483647 w 779"/>
              <a:gd name="T11" fmla="*/ 2147483647 h 518"/>
              <a:gd name="T12" fmla="*/ 2147483647 w 779"/>
              <a:gd name="T13" fmla="*/ 2147483647 h 518"/>
              <a:gd name="T14" fmla="*/ 2147483647 w 779"/>
              <a:gd name="T15" fmla="*/ 2147483647 h 518"/>
              <a:gd name="T16" fmla="*/ 2147483647 w 779"/>
              <a:gd name="T17" fmla="*/ 2147483647 h 518"/>
              <a:gd name="T18" fmla="*/ 2147483647 w 779"/>
              <a:gd name="T19" fmla="*/ 2147483647 h 518"/>
              <a:gd name="T20" fmla="*/ 2147483647 w 779"/>
              <a:gd name="T21" fmla="*/ 2147483647 h 518"/>
              <a:gd name="T22" fmla="*/ 2147483647 w 779"/>
              <a:gd name="T23" fmla="*/ 2147483647 h 518"/>
              <a:gd name="T24" fmla="*/ 2147483647 w 779"/>
              <a:gd name="T25" fmla="*/ 2147483647 h 518"/>
              <a:gd name="T26" fmla="*/ 2147483647 w 779"/>
              <a:gd name="T27" fmla="*/ 2147483647 h 518"/>
              <a:gd name="T28" fmla="*/ 2147483647 w 779"/>
              <a:gd name="T29" fmla="*/ 2147483647 h 518"/>
              <a:gd name="T30" fmla="*/ 2147483647 w 779"/>
              <a:gd name="T31" fmla="*/ 2147483647 h 518"/>
              <a:gd name="T32" fmla="*/ 2147483647 w 779"/>
              <a:gd name="T33" fmla="*/ 2147483647 h 518"/>
              <a:gd name="T34" fmla="*/ 2147483647 w 779"/>
              <a:gd name="T35" fmla="*/ 2147483647 h 518"/>
              <a:gd name="T36" fmla="*/ 2147483647 w 779"/>
              <a:gd name="T37" fmla="*/ 2147483647 h 518"/>
              <a:gd name="T38" fmla="*/ 2147483647 w 779"/>
              <a:gd name="T39" fmla="*/ 2147483647 h 518"/>
              <a:gd name="T40" fmla="*/ 2147483647 w 779"/>
              <a:gd name="T41" fmla="*/ 2147483647 h 518"/>
              <a:gd name="T42" fmla="*/ 2147483647 w 779"/>
              <a:gd name="T43" fmla="*/ 2147483647 h 518"/>
              <a:gd name="T44" fmla="*/ 2147483647 w 779"/>
              <a:gd name="T45" fmla="*/ 2147483647 h 518"/>
              <a:gd name="T46" fmla="*/ 2147483647 w 779"/>
              <a:gd name="T47" fmla="*/ 2147483647 h 518"/>
              <a:gd name="T48" fmla="*/ 2147483647 w 779"/>
              <a:gd name="T49" fmla="*/ 2147483647 h 518"/>
              <a:gd name="T50" fmla="*/ 2147483647 w 779"/>
              <a:gd name="T51" fmla="*/ 2147483647 h 518"/>
              <a:gd name="T52" fmla="*/ 2147483647 w 779"/>
              <a:gd name="T53" fmla="*/ 2147483647 h 518"/>
              <a:gd name="T54" fmla="*/ 2147483647 w 779"/>
              <a:gd name="T55" fmla="*/ 2147483647 h 518"/>
              <a:gd name="T56" fmla="*/ 2147483647 w 779"/>
              <a:gd name="T57" fmla="*/ 2147483647 h 518"/>
              <a:gd name="T58" fmla="*/ 2147483647 w 779"/>
              <a:gd name="T59" fmla="*/ 2147483647 h 518"/>
              <a:gd name="T60" fmla="*/ 2147483647 w 779"/>
              <a:gd name="T61" fmla="*/ 2147483647 h 518"/>
              <a:gd name="T62" fmla="*/ 2147483647 w 779"/>
              <a:gd name="T63" fmla="*/ 2147483647 h 518"/>
              <a:gd name="T64" fmla="*/ 2147483647 w 779"/>
              <a:gd name="T65" fmla="*/ 2147483647 h 518"/>
              <a:gd name="T66" fmla="*/ 2147483647 w 779"/>
              <a:gd name="T67" fmla="*/ 2147483647 h 518"/>
              <a:gd name="T68" fmla="*/ 2147483647 w 779"/>
              <a:gd name="T69" fmla="*/ 2147483647 h 518"/>
              <a:gd name="T70" fmla="*/ 2147483647 w 779"/>
              <a:gd name="T71" fmla="*/ 2147483647 h 518"/>
              <a:gd name="T72" fmla="*/ 2147483647 w 779"/>
              <a:gd name="T73" fmla="*/ 2147483647 h 518"/>
              <a:gd name="T74" fmla="*/ 2147483647 w 779"/>
              <a:gd name="T75" fmla="*/ 0 h 518"/>
              <a:gd name="T76" fmla="*/ 2147483647 w 779"/>
              <a:gd name="T77" fmla="*/ 2147483647 h 518"/>
              <a:gd name="T78" fmla="*/ 2147483647 w 779"/>
              <a:gd name="T79" fmla="*/ 2147483647 h 518"/>
              <a:gd name="T80" fmla="*/ 2147483647 w 779"/>
              <a:gd name="T81" fmla="*/ 2147483647 h 518"/>
              <a:gd name="T82" fmla="*/ 2147483647 w 779"/>
              <a:gd name="T83" fmla="*/ 2147483647 h 518"/>
              <a:gd name="T84" fmla="*/ 2147483647 w 779"/>
              <a:gd name="T85" fmla="*/ 2147483647 h 518"/>
              <a:gd name="T86" fmla="*/ 2147483647 w 779"/>
              <a:gd name="T87" fmla="*/ 2147483647 h 518"/>
              <a:gd name="T88" fmla="*/ 2147483647 w 779"/>
              <a:gd name="T89" fmla="*/ 2147483647 h 518"/>
              <a:gd name="T90" fmla="*/ 2147483647 w 779"/>
              <a:gd name="T91" fmla="*/ 2147483647 h 518"/>
              <a:gd name="T92" fmla="*/ 2147483647 w 779"/>
              <a:gd name="T93" fmla="*/ 2147483647 h 51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79"/>
              <a:gd name="T142" fmla="*/ 0 h 518"/>
              <a:gd name="T143" fmla="*/ 779 w 779"/>
              <a:gd name="T144" fmla="*/ 518 h 51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79" h="518">
                <a:moveTo>
                  <a:pt x="15" y="223"/>
                </a:moveTo>
                <a:lnTo>
                  <a:pt x="0" y="271"/>
                </a:lnTo>
                <a:lnTo>
                  <a:pt x="21" y="284"/>
                </a:lnTo>
                <a:lnTo>
                  <a:pt x="31" y="299"/>
                </a:lnTo>
                <a:lnTo>
                  <a:pt x="107" y="296"/>
                </a:lnTo>
                <a:lnTo>
                  <a:pt x="123" y="308"/>
                </a:lnTo>
                <a:lnTo>
                  <a:pt x="191" y="283"/>
                </a:lnTo>
                <a:lnTo>
                  <a:pt x="202" y="266"/>
                </a:lnTo>
                <a:lnTo>
                  <a:pt x="228" y="263"/>
                </a:lnTo>
                <a:lnTo>
                  <a:pt x="261" y="282"/>
                </a:lnTo>
                <a:lnTo>
                  <a:pt x="301" y="291"/>
                </a:lnTo>
                <a:lnTo>
                  <a:pt x="304" y="296"/>
                </a:lnTo>
                <a:lnTo>
                  <a:pt x="302" y="322"/>
                </a:lnTo>
                <a:lnTo>
                  <a:pt x="316" y="333"/>
                </a:lnTo>
                <a:lnTo>
                  <a:pt x="322" y="356"/>
                </a:lnTo>
                <a:lnTo>
                  <a:pt x="337" y="367"/>
                </a:lnTo>
                <a:lnTo>
                  <a:pt x="337" y="392"/>
                </a:lnTo>
                <a:lnTo>
                  <a:pt x="298" y="392"/>
                </a:lnTo>
                <a:lnTo>
                  <a:pt x="293" y="416"/>
                </a:lnTo>
                <a:lnTo>
                  <a:pt x="276" y="433"/>
                </a:lnTo>
                <a:lnTo>
                  <a:pt x="274" y="445"/>
                </a:lnTo>
                <a:lnTo>
                  <a:pt x="261" y="447"/>
                </a:lnTo>
                <a:lnTo>
                  <a:pt x="263" y="457"/>
                </a:lnTo>
                <a:lnTo>
                  <a:pt x="270" y="455"/>
                </a:lnTo>
                <a:lnTo>
                  <a:pt x="280" y="468"/>
                </a:lnTo>
                <a:lnTo>
                  <a:pt x="315" y="456"/>
                </a:lnTo>
                <a:lnTo>
                  <a:pt x="326" y="459"/>
                </a:lnTo>
                <a:lnTo>
                  <a:pt x="326" y="462"/>
                </a:lnTo>
                <a:lnTo>
                  <a:pt x="327" y="431"/>
                </a:lnTo>
                <a:lnTo>
                  <a:pt x="334" y="443"/>
                </a:lnTo>
                <a:lnTo>
                  <a:pt x="334" y="438"/>
                </a:lnTo>
                <a:lnTo>
                  <a:pt x="351" y="431"/>
                </a:lnTo>
                <a:lnTo>
                  <a:pt x="360" y="419"/>
                </a:lnTo>
                <a:lnTo>
                  <a:pt x="350" y="399"/>
                </a:lnTo>
                <a:lnTo>
                  <a:pt x="364" y="411"/>
                </a:lnTo>
                <a:lnTo>
                  <a:pt x="374" y="391"/>
                </a:lnTo>
                <a:lnTo>
                  <a:pt x="412" y="375"/>
                </a:lnTo>
                <a:lnTo>
                  <a:pt x="411" y="384"/>
                </a:lnTo>
                <a:lnTo>
                  <a:pt x="418" y="381"/>
                </a:lnTo>
                <a:lnTo>
                  <a:pt x="426" y="372"/>
                </a:lnTo>
                <a:lnTo>
                  <a:pt x="439" y="392"/>
                </a:lnTo>
                <a:lnTo>
                  <a:pt x="414" y="392"/>
                </a:lnTo>
                <a:lnTo>
                  <a:pt x="432" y="398"/>
                </a:lnTo>
                <a:lnTo>
                  <a:pt x="422" y="408"/>
                </a:lnTo>
                <a:lnTo>
                  <a:pt x="453" y="419"/>
                </a:lnTo>
                <a:lnTo>
                  <a:pt x="485" y="410"/>
                </a:lnTo>
                <a:lnTo>
                  <a:pt x="502" y="417"/>
                </a:lnTo>
                <a:lnTo>
                  <a:pt x="507" y="425"/>
                </a:lnTo>
                <a:lnTo>
                  <a:pt x="481" y="434"/>
                </a:lnTo>
                <a:lnTo>
                  <a:pt x="453" y="459"/>
                </a:lnTo>
                <a:lnTo>
                  <a:pt x="492" y="473"/>
                </a:lnTo>
                <a:lnTo>
                  <a:pt x="497" y="489"/>
                </a:lnTo>
                <a:lnTo>
                  <a:pt x="492" y="509"/>
                </a:lnTo>
                <a:lnTo>
                  <a:pt x="517" y="518"/>
                </a:lnTo>
                <a:lnTo>
                  <a:pt x="532" y="511"/>
                </a:lnTo>
                <a:lnTo>
                  <a:pt x="544" y="499"/>
                </a:lnTo>
                <a:lnTo>
                  <a:pt x="560" y="495"/>
                </a:lnTo>
                <a:lnTo>
                  <a:pt x="581" y="475"/>
                </a:lnTo>
                <a:lnTo>
                  <a:pt x="606" y="482"/>
                </a:lnTo>
                <a:lnTo>
                  <a:pt x="623" y="479"/>
                </a:lnTo>
                <a:lnTo>
                  <a:pt x="629" y="455"/>
                </a:lnTo>
                <a:lnTo>
                  <a:pt x="598" y="456"/>
                </a:lnTo>
                <a:lnTo>
                  <a:pt x="588" y="466"/>
                </a:lnTo>
                <a:lnTo>
                  <a:pt x="580" y="460"/>
                </a:lnTo>
                <a:lnTo>
                  <a:pt x="579" y="464"/>
                </a:lnTo>
                <a:lnTo>
                  <a:pt x="563" y="464"/>
                </a:lnTo>
                <a:lnTo>
                  <a:pt x="556" y="441"/>
                </a:lnTo>
                <a:lnTo>
                  <a:pt x="546" y="441"/>
                </a:lnTo>
                <a:lnTo>
                  <a:pt x="547" y="435"/>
                </a:lnTo>
                <a:lnTo>
                  <a:pt x="538" y="434"/>
                </a:lnTo>
                <a:lnTo>
                  <a:pt x="542" y="425"/>
                </a:lnTo>
                <a:lnTo>
                  <a:pt x="526" y="421"/>
                </a:lnTo>
                <a:lnTo>
                  <a:pt x="523" y="428"/>
                </a:lnTo>
                <a:lnTo>
                  <a:pt x="518" y="416"/>
                </a:lnTo>
                <a:lnTo>
                  <a:pt x="504" y="408"/>
                </a:lnTo>
                <a:lnTo>
                  <a:pt x="519" y="412"/>
                </a:lnTo>
                <a:lnTo>
                  <a:pt x="523" y="401"/>
                </a:lnTo>
                <a:lnTo>
                  <a:pt x="528" y="413"/>
                </a:lnTo>
                <a:lnTo>
                  <a:pt x="538" y="413"/>
                </a:lnTo>
                <a:lnTo>
                  <a:pt x="539" y="421"/>
                </a:lnTo>
                <a:lnTo>
                  <a:pt x="548" y="413"/>
                </a:lnTo>
                <a:lnTo>
                  <a:pt x="553" y="430"/>
                </a:lnTo>
                <a:lnTo>
                  <a:pt x="556" y="430"/>
                </a:lnTo>
                <a:lnTo>
                  <a:pt x="555" y="412"/>
                </a:lnTo>
                <a:lnTo>
                  <a:pt x="566" y="393"/>
                </a:lnTo>
                <a:lnTo>
                  <a:pt x="573" y="404"/>
                </a:lnTo>
                <a:lnTo>
                  <a:pt x="594" y="384"/>
                </a:lnTo>
                <a:lnTo>
                  <a:pt x="610" y="384"/>
                </a:lnTo>
                <a:lnTo>
                  <a:pt x="630" y="371"/>
                </a:lnTo>
                <a:lnTo>
                  <a:pt x="639" y="377"/>
                </a:lnTo>
                <a:lnTo>
                  <a:pt x="641" y="368"/>
                </a:lnTo>
                <a:lnTo>
                  <a:pt x="670" y="355"/>
                </a:lnTo>
                <a:lnTo>
                  <a:pt x="696" y="347"/>
                </a:lnTo>
                <a:lnTo>
                  <a:pt x="695" y="329"/>
                </a:lnTo>
                <a:lnTo>
                  <a:pt x="725" y="298"/>
                </a:lnTo>
                <a:lnTo>
                  <a:pt x="760" y="303"/>
                </a:lnTo>
                <a:lnTo>
                  <a:pt x="768" y="272"/>
                </a:lnTo>
                <a:lnTo>
                  <a:pt x="764" y="260"/>
                </a:lnTo>
                <a:lnTo>
                  <a:pt x="759" y="246"/>
                </a:lnTo>
                <a:lnTo>
                  <a:pt x="774" y="235"/>
                </a:lnTo>
                <a:lnTo>
                  <a:pt x="760" y="224"/>
                </a:lnTo>
                <a:lnTo>
                  <a:pt x="779" y="210"/>
                </a:lnTo>
                <a:lnTo>
                  <a:pt x="773" y="191"/>
                </a:lnTo>
                <a:lnTo>
                  <a:pt x="778" y="188"/>
                </a:lnTo>
                <a:lnTo>
                  <a:pt x="701" y="156"/>
                </a:lnTo>
                <a:lnTo>
                  <a:pt x="686" y="162"/>
                </a:lnTo>
                <a:lnTo>
                  <a:pt x="659" y="128"/>
                </a:lnTo>
                <a:lnTo>
                  <a:pt x="628" y="139"/>
                </a:lnTo>
                <a:lnTo>
                  <a:pt x="583" y="129"/>
                </a:lnTo>
                <a:lnTo>
                  <a:pt x="561" y="76"/>
                </a:lnTo>
                <a:lnTo>
                  <a:pt x="525" y="69"/>
                </a:lnTo>
                <a:lnTo>
                  <a:pt x="519" y="45"/>
                </a:lnTo>
                <a:lnTo>
                  <a:pt x="532" y="34"/>
                </a:lnTo>
                <a:lnTo>
                  <a:pt x="504" y="0"/>
                </a:lnTo>
                <a:lnTo>
                  <a:pt x="419" y="15"/>
                </a:lnTo>
                <a:lnTo>
                  <a:pt x="385" y="20"/>
                </a:lnTo>
                <a:lnTo>
                  <a:pt x="371" y="35"/>
                </a:lnTo>
                <a:lnTo>
                  <a:pt x="369" y="67"/>
                </a:lnTo>
                <a:lnTo>
                  <a:pt x="359" y="75"/>
                </a:lnTo>
                <a:lnTo>
                  <a:pt x="350" y="67"/>
                </a:lnTo>
                <a:lnTo>
                  <a:pt x="318" y="73"/>
                </a:lnTo>
                <a:lnTo>
                  <a:pt x="300" y="54"/>
                </a:lnTo>
                <a:lnTo>
                  <a:pt x="287" y="69"/>
                </a:lnTo>
                <a:lnTo>
                  <a:pt x="260" y="55"/>
                </a:lnTo>
                <a:lnTo>
                  <a:pt x="238" y="67"/>
                </a:lnTo>
                <a:lnTo>
                  <a:pt x="232" y="56"/>
                </a:lnTo>
                <a:lnTo>
                  <a:pt x="219" y="57"/>
                </a:lnTo>
                <a:lnTo>
                  <a:pt x="208" y="43"/>
                </a:lnTo>
                <a:lnTo>
                  <a:pt x="159" y="29"/>
                </a:lnTo>
                <a:lnTo>
                  <a:pt x="137" y="30"/>
                </a:lnTo>
                <a:lnTo>
                  <a:pt x="101" y="32"/>
                </a:lnTo>
                <a:lnTo>
                  <a:pt x="88" y="45"/>
                </a:lnTo>
                <a:lnTo>
                  <a:pt x="59" y="55"/>
                </a:lnTo>
                <a:lnTo>
                  <a:pt x="71" y="91"/>
                </a:lnTo>
                <a:lnTo>
                  <a:pt x="81" y="104"/>
                </a:lnTo>
                <a:lnTo>
                  <a:pt x="85" y="124"/>
                </a:lnTo>
                <a:lnTo>
                  <a:pt x="81" y="135"/>
                </a:lnTo>
                <a:lnTo>
                  <a:pt x="40" y="172"/>
                </a:lnTo>
                <a:lnTo>
                  <a:pt x="26" y="202"/>
                </a:lnTo>
                <a:lnTo>
                  <a:pt x="26" y="223"/>
                </a:lnTo>
                <a:lnTo>
                  <a:pt x="15" y="223"/>
                </a:lnTo>
                <a:close/>
              </a:path>
            </a:pathLst>
          </a:custGeom>
          <a:solidFill>
            <a:schemeClr val="accent1"/>
          </a:solidFill>
          <a:ln w="6350">
            <a:solidFill>
              <a:schemeClr val="tx2"/>
            </a:solidFill>
            <a:round/>
            <a:headEnd/>
            <a:tailEnd/>
          </a:ln>
        </p:spPr>
        <p:txBody>
          <a:bodyPr/>
          <a:lstStyle/>
          <a:p>
            <a:endParaRPr lang="en-US"/>
          </a:p>
        </p:txBody>
      </p:sp>
      <p:sp>
        <p:nvSpPr>
          <p:cNvPr id="685" name="Freeform 1383"/>
          <p:cNvSpPr>
            <a:spLocks/>
          </p:cNvSpPr>
          <p:nvPr/>
        </p:nvSpPr>
        <p:spPr bwMode="auto">
          <a:xfrm>
            <a:off x="6110102" y="3340883"/>
            <a:ext cx="77400" cy="68777"/>
          </a:xfrm>
          <a:custGeom>
            <a:avLst/>
            <a:gdLst>
              <a:gd name="T0" fmla="*/ 2147483647 w 169"/>
              <a:gd name="T1" fmla="*/ 2147483647 h 164"/>
              <a:gd name="T2" fmla="*/ 2147483647 w 169"/>
              <a:gd name="T3" fmla="*/ 2147483647 h 164"/>
              <a:gd name="T4" fmla="*/ 2147483647 w 169"/>
              <a:gd name="T5" fmla="*/ 2147483647 h 164"/>
              <a:gd name="T6" fmla="*/ 2147483647 w 169"/>
              <a:gd name="T7" fmla="*/ 2147483647 h 164"/>
              <a:gd name="T8" fmla="*/ 2147483647 w 169"/>
              <a:gd name="T9" fmla="*/ 2147483647 h 164"/>
              <a:gd name="T10" fmla="*/ 2147483647 w 169"/>
              <a:gd name="T11" fmla="*/ 2147483647 h 164"/>
              <a:gd name="T12" fmla="*/ 2147483647 w 169"/>
              <a:gd name="T13" fmla="*/ 2147483647 h 164"/>
              <a:gd name="T14" fmla="*/ 2147483647 w 169"/>
              <a:gd name="T15" fmla="*/ 2147483647 h 164"/>
              <a:gd name="T16" fmla="*/ 2147483647 w 169"/>
              <a:gd name="T17" fmla="*/ 2147483647 h 164"/>
              <a:gd name="T18" fmla="*/ 2147483647 w 169"/>
              <a:gd name="T19" fmla="*/ 2147483647 h 164"/>
              <a:gd name="T20" fmla="*/ 2147483647 w 169"/>
              <a:gd name="T21" fmla="*/ 2147483647 h 164"/>
              <a:gd name="T22" fmla="*/ 2147483647 w 169"/>
              <a:gd name="T23" fmla="*/ 2147483647 h 164"/>
              <a:gd name="T24" fmla="*/ 2147483647 w 169"/>
              <a:gd name="T25" fmla="*/ 2147483647 h 164"/>
              <a:gd name="T26" fmla="*/ 2147483647 w 169"/>
              <a:gd name="T27" fmla="*/ 2147483647 h 164"/>
              <a:gd name="T28" fmla="*/ 2147483647 w 169"/>
              <a:gd name="T29" fmla="*/ 2147483647 h 164"/>
              <a:gd name="T30" fmla="*/ 2147483647 w 169"/>
              <a:gd name="T31" fmla="*/ 2147483647 h 164"/>
              <a:gd name="T32" fmla="*/ 2147483647 w 169"/>
              <a:gd name="T33" fmla="*/ 2147483647 h 164"/>
              <a:gd name="T34" fmla="*/ 2147483647 w 169"/>
              <a:gd name="T35" fmla="*/ 2147483647 h 164"/>
              <a:gd name="T36" fmla="*/ 2147483647 w 169"/>
              <a:gd name="T37" fmla="*/ 2147483647 h 164"/>
              <a:gd name="T38" fmla="*/ 2147483647 w 169"/>
              <a:gd name="T39" fmla="*/ 2147483647 h 164"/>
              <a:gd name="T40" fmla="*/ 2147483647 w 169"/>
              <a:gd name="T41" fmla="*/ 2147483647 h 164"/>
              <a:gd name="T42" fmla="*/ 2147483647 w 169"/>
              <a:gd name="T43" fmla="*/ 2147483647 h 164"/>
              <a:gd name="T44" fmla="*/ 2147483647 w 169"/>
              <a:gd name="T45" fmla="*/ 2147483647 h 164"/>
              <a:gd name="T46" fmla="*/ 2147483647 w 169"/>
              <a:gd name="T47" fmla="*/ 2147483647 h 164"/>
              <a:gd name="T48" fmla="*/ 2147483647 w 169"/>
              <a:gd name="T49" fmla="*/ 2147483647 h 164"/>
              <a:gd name="T50" fmla="*/ 2147483647 w 169"/>
              <a:gd name="T51" fmla="*/ 2147483647 h 164"/>
              <a:gd name="T52" fmla="*/ 2147483647 w 169"/>
              <a:gd name="T53" fmla="*/ 2147483647 h 164"/>
              <a:gd name="T54" fmla="*/ 2147483647 w 169"/>
              <a:gd name="T55" fmla="*/ 2147483647 h 164"/>
              <a:gd name="T56" fmla="*/ 2147483647 w 169"/>
              <a:gd name="T57" fmla="*/ 2147483647 h 164"/>
              <a:gd name="T58" fmla="*/ 2147483647 w 169"/>
              <a:gd name="T59" fmla="*/ 2147483647 h 164"/>
              <a:gd name="T60" fmla="*/ 2147483647 w 169"/>
              <a:gd name="T61" fmla="*/ 2147483647 h 164"/>
              <a:gd name="T62" fmla="*/ 2147483647 w 169"/>
              <a:gd name="T63" fmla="*/ 2147483647 h 164"/>
              <a:gd name="T64" fmla="*/ 2147483647 w 169"/>
              <a:gd name="T65" fmla="*/ 2147483647 h 164"/>
              <a:gd name="T66" fmla="*/ 2147483647 w 169"/>
              <a:gd name="T67" fmla="*/ 2147483647 h 164"/>
              <a:gd name="T68" fmla="*/ 2147483647 w 169"/>
              <a:gd name="T69" fmla="*/ 2147483647 h 164"/>
              <a:gd name="T70" fmla="*/ 2147483647 w 169"/>
              <a:gd name="T71" fmla="*/ 2147483647 h 164"/>
              <a:gd name="T72" fmla="*/ 2147483647 w 169"/>
              <a:gd name="T73" fmla="*/ 2147483647 h 164"/>
              <a:gd name="T74" fmla="*/ 2147483647 w 169"/>
              <a:gd name="T75" fmla="*/ 2147483647 h 164"/>
              <a:gd name="T76" fmla="*/ 2147483647 w 169"/>
              <a:gd name="T77" fmla="*/ 2147483647 h 164"/>
              <a:gd name="T78" fmla="*/ 2147483647 w 169"/>
              <a:gd name="T79" fmla="*/ 2147483647 h 164"/>
              <a:gd name="T80" fmla="*/ 2147483647 w 169"/>
              <a:gd name="T81" fmla="*/ 2147483647 h 164"/>
              <a:gd name="T82" fmla="*/ 2147483647 w 169"/>
              <a:gd name="T83" fmla="*/ 2147483647 h 164"/>
              <a:gd name="T84" fmla="*/ 0 w 169"/>
              <a:gd name="T85" fmla="*/ 2147483647 h 164"/>
              <a:gd name="T86" fmla="*/ 2147483647 w 169"/>
              <a:gd name="T87" fmla="*/ 2147483647 h 164"/>
              <a:gd name="T88" fmla="*/ 2147483647 w 169"/>
              <a:gd name="T89" fmla="*/ 2147483647 h 164"/>
              <a:gd name="T90" fmla="*/ 2147483647 w 169"/>
              <a:gd name="T91" fmla="*/ 2147483647 h 164"/>
              <a:gd name="T92" fmla="*/ 2147483647 w 169"/>
              <a:gd name="T93" fmla="*/ 2147483647 h 164"/>
              <a:gd name="T94" fmla="*/ 2147483647 w 169"/>
              <a:gd name="T95" fmla="*/ 2147483647 h 164"/>
              <a:gd name="T96" fmla="*/ 2147483647 w 169"/>
              <a:gd name="T97" fmla="*/ 0 h 164"/>
              <a:gd name="T98" fmla="*/ 2147483647 w 169"/>
              <a:gd name="T99" fmla="*/ 2147483647 h 164"/>
              <a:gd name="T100" fmla="*/ 2147483647 w 169"/>
              <a:gd name="T101" fmla="*/ 2147483647 h 164"/>
              <a:gd name="T102" fmla="*/ 2147483647 w 169"/>
              <a:gd name="T103" fmla="*/ 2147483647 h 164"/>
              <a:gd name="T104" fmla="*/ 2147483647 w 169"/>
              <a:gd name="T105" fmla="*/ 2147483647 h 164"/>
              <a:gd name="T106" fmla="*/ 2147483647 w 169"/>
              <a:gd name="T107" fmla="*/ 2147483647 h 1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9"/>
              <a:gd name="T163" fmla="*/ 0 h 164"/>
              <a:gd name="T164" fmla="*/ 169 w 169"/>
              <a:gd name="T165" fmla="*/ 164 h 1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9" h="164">
                <a:moveTo>
                  <a:pt x="147" y="22"/>
                </a:moveTo>
                <a:lnTo>
                  <a:pt x="157" y="21"/>
                </a:lnTo>
                <a:lnTo>
                  <a:pt x="158" y="24"/>
                </a:lnTo>
                <a:lnTo>
                  <a:pt x="146" y="53"/>
                </a:lnTo>
                <a:lnTo>
                  <a:pt x="147" y="57"/>
                </a:lnTo>
                <a:lnTo>
                  <a:pt x="169" y="74"/>
                </a:lnTo>
                <a:lnTo>
                  <a:pt x="166" y="79"/>
                </a:lnTo>
                <a:lnTo>
                  <a:pt x="155" y="76"/>
                </a:lnTo>
                <a:lnTo>
                  <a:pt x="152" y="79"/>
                </a:lnTo>
                <a:lnTo>
                  <a:pt x="165" y="92"/>
                </a:lnTo>
                <a:lnTo>
                  <a:pt x="164" y="100"/>
                </a:lnTo>
                <a:lnTo>
                  <a:pt x="145" y="106"/>
                </a:lnTo>
                <a:lnTo>
                  <a:pt x="139" y="107"/>
                </a:lnTo>
                <a:lnTo>
                  <a:pt x="145" y="116"/>
                </a:lnTo>
                <a:lnTo>
                  <a:pt x="145" y="121"/>
                </a:lnTo>
                <a:lnTo>
                  <a:pt x="141" y="121"/>
                </a:lnTo>
                <a:lnTo>
                  <a:pt x="139" y="116"/>
                </a:lnTo>
                <a:lnTo>
                  <a:pt x="134" y="116"/>
                </a:lnTo>
                <a:lnTo>
                  <a:pt x="126" y="126"/>
                </a:lnTo>
                <a:lnTo>
                  <a:pt x="125" y="134"/>
                </a:lnTo>
                <a:lnTo>
                  <a:pt x="121" y="135"/>
                </a:lnTo>
                <a:lnTo>
                  <a:pt x="117" y="146"/>
                </a:lnTo>
                <a:lnTo>
                  <a:pt x="121" y="154"/>
                </a:lnTo>
                <a:lnTo>
                  <a:pt x="122" y="156"/>
                </a:lnTo>
                <a:lnTo>
                  <a:pt x="118" y="164"/>
                </a:lnTo>
                <a:lnTo>
                  <a:pt x="115" y="163"/>
                </a:lnTo>
                <a:lnTo>
                  <a:pt x="115" y="159"/>
                </a:lnTo>
                <a:lnTo>
                  <a:pt x="108" y="158"/>
                </a:lnTo>
                <a:lnTo>
                  <a:pt x="102" y="152"/>
                </a:lnTo>
                <a:lnTo>
                  <a:pt x="97" y="150"/>
                </a:lnTo>
                <a:lnTo>
                  <a:pt x="91" y="146"/>
                </a:lnTo>
                <a:lnTo>
                  <a:pt x="90" y="142"/>
                </a:lnTo>
                <a:lnTo>
                  <a:pt x="84" y="141"/>
                </a:lnTo>
                <a:lnTo>
                  <a:pt x="78" y="145"/>
                </a:lnTo>
                <a:lnTo>
                  <a:pt x="78" y="141"/>
                </a:lnTo>
                <a:lnTo>
                  <a:pt x="77" y="141"/>
                </a:lnTo>
                <a:lnTo>
                  <a:pt x="83" y="137"/>
                </a:lnTo>
                <a:lnTo>
                  <a:pt x="66" y="118"/>
                </a:lnTo>
                <a:lnTo>
                  <a:pt x="64" y="109"/>
                </a:lnTo>
                <a:lnTo>
                  <a:pt x="18" y="63"/>
                </a:lnTo>
                <a:lnTo>
                  <a:pt x="17" y="46"/>
                </a:lnTo>
                <a:lnTo>
                  <a:pt x="9" y="32"/>
                </a:lnTo>
                <a:lnTo>
                  <a:pt x="0" y="27"/>
                </a:lnTo>
                <a:lnTo>
                  <a:pt x="2" y="5"/>
                </a:lnTo>
                <a:lnTo>
                  <a:pt x="13" y="2"/>
                </a:lnTo>
                <a:lnTo>
                  <a:pt x="27" y="16"/>
                </a:lnTo>
                <a:lnTo>
                  <a:pt x="35" y="2"/>
                </a:lnTo>
                <a:lnTo>
                  <a:pt x="43" y="2"/>
                </a:lnTo>
                <a:lnTo>
                  <a:pt x="53" y="0"/>
                </a:lnTo>
                <a:lnTo>
                  <a:pt x="92" y="13"/>
                </a:lnTo>
                <a:lnTo>
                  <a:pt x="99" y="8"/>
                </a:lnTo>
                <a:lnTo>
                  <a:pt x="128" y="12"/>
                </a:lnTo>
                <a:lnTo>
                  <a:pt x="135" y="26"/>
                </a:lnTo>
                <a:lnTo>
                  <a:pt x="147" y="22"/>
                </a:lnTo>
                <a:close/>
              </a:path>
            </a:pathLst>
          </a:custGeom>
          <a:solidFill>
            <a:schemeClr val="accent1"/>
          </a:solidFill>
          <a:ln w="6350">
            <a:solidFill>
              <a:schemeClr val="tx2"/>
            </a:solidFill>
            <a:round/>
            <a:headEnd/>
            <a:tailEnd/>
          </a:ln>
        </p:spPr>
        <p:txBody>
          <a:bodyPr/>
          <a:lstStyle/>
          <a:p>
            <a:endParaRPr lang="en-US"/>
          </a:p>
        </p:txBody>
      </p:sp>
      <p:sp>
        <p:nvSpPr>
          <p:cNvPr id="686" name="Freeform 1389"/>
          <p:cNvSpPr>
            <a:spLocks/>
          </p:cNvSpPr>
          <p:nvPr/>
        </p:nvSpPr>
        <p:spPr bwMode="auto">
          <a:xfrm>
            <a:off x="6206136" y="2470976"/>
            <a:ext cx="220734" cy="438138"/>
          </a:xfrm>
          <a:custGeom>
            <a:avLst/>
            <a:gdLst>
              <a:gd name="T0" fmla="*/ 2147483647 w 467"/>
              <a:gd name="T1" fmla="*/ 2147483647 h 1049"/>
              <a:gd name="T2" fmla="*/ 2147483647 w 467"/>
              <a:gd name="T3" fmla="*/ 2147483647 h 1049"/>
              <a:gd name="T4" fmla="*/ 2147483647 w 467"/>
              <a:gd name="T5" fmla="*/ 2147483647 h 1049"/>
              <a:gd name="T6" fmla="*/ 2147483647 w 467"/>
              <a:gd name="T7" fmla="*/ 2147483647 h 1049"/>
              <a:gd name="T8" fmla="*/ 2147483647 w 467"/>
              <a:gd name="T9" fmla="*/ 2147483647 h 1049"/>
              <a:gd name="T10" fmla="*/ 2147483647 w 467"/>
              <a:gd name="T11" fmla="*/ 2147483647 h 1049"/>
              <a:gd name="T12" fmla="*/ 2147483647 w 467"/>
              <a:gd name="T13" fmla="*/ 2147483647 h 1049"/>
              <a:gd name="T14" fmla="*/ 2147483647 w 467"/>
              <a:gd name="T15" fmla="*/ 2147483647 h 1049"/>
              <a:gd name="T16" fmla="*/ 2147483647 w 467"/>
              <a:gd name="T17" fmla="*/ 2147483647 h 1049"/>
              <a:gd name="T18" fmla="*/ 2147483647 w 467"/>
              <a:gd name="T19" fmla="*/ 2147483647 h 1049"/>
              <a:gd name="T20" fmla="*/ 2147483647 w 467"/>
              <a:gd name="T21" fmla="*/ 2147483647 h 1049"/>
              <a:gd name="T22" fmla="*/ 2147483647 w 467"/>
              <a:gd name="T23" fmla="*/ 2147483647 h 1049"/>
              <a:gd name="T24" fmla="*/ 2147483647 w 467"/>
              <a:gd name="T25" fmla="*/ 2147483647 h 1049"/>
              <a:gd name="T26" fmla="*/ 2147483647 w 467"/>
              <a:gd name="T27" fmla="*/ 2147483647 h 1049"/>
              <a:gd name="T28" fmla="*/ 2147483647 w 467"/>
              <a:gd name="T29" fmla="*/ 2147483647 h 1049"/>
              <a:gd name="T30" fmla="*/ 2147483647 w 467"/>
              <a:gd name="T31" fmla="*/ 2147483647 h 1049"/>
              <a:gd name="T32" fmla="*/ 2147483647 w 467"/>
              <a:gd name="T33" fmla="*/ 2147483647 h 1049"/>
              <a:gd name="T34" fmla="*/ 2147483647 w 467"/>
              <a:gd name="T35" fmla="*/ 2147483647 h 1049"/>
              <a:gd name="T36" fmla="*/ 2147483647 w 467"/>
              <a:gd name="T37" fmla="*/ 2147483647 h 1049"/>
              <a:gd name="T38" fmla="*/ 2147483647 w 467"/>
              <a:gd name="T39" fmla="*/ 2147483647 h 1049"/>
              <a:gd name="T40" fmla="*/ 2147483647 w 467"/>
              <a:gd name="T41" fmla="*/ 2147483647 h 1049"/>
              <a:gd name="T42" fmla="*/ 2147483647 w 467"/>
              <a:gd name="T43" fmla="*/ 2147483647 h 1049"/>
              <a:gd name="T44" fmla="*/ 2147483647 w 467"/>
              <a:gd name="T45" fmla="*/ 2147483647 h 1049"/>
              <a:gd name="T46" fmla="*/ 2147483647 w 467"/>
              <a:gd name="T47" fmla="*/ 2147483647 h 1049"/>
              <a:gd name="T48" fmla="*/ 2147483647 w 467"/>
              <a:gd name="T49" fmla="*/ 2147483647 h 1049"/>
              <a:gd name="T50" fmla="*/ 2147483647 w 467"/>
              <a:gd name="T51" fmla="*/ 2147483647 h 1049"/>
              <a:gd name="T52" fmla="*/ 2147483647 w 467"/>
              <a:gd name="T53" fmla="*/ 2147483647 h 1049"/>
              <a:gd name="T54" fmla="*/ 2147483647 w 467"/>
              <a:gd name="T55" fmla="*/ 2147483647 h 1049"/>
              <a:gd name="T56" fmla="*/ 2147483647 w 467"/>
              <a:gd name="T57" fmla="*/ 2147483647 h 1049"/>
              <a:gd name="T58" fmla="*/ 2147483647 w 467"/>
              <a:gd name="T59" fmla="*/ 2147483647 h 1049"/>
              <a:gd name="T60" fmla="*/ 2147483647 w 467"/>
              <a:gd name="T61" fmla="*/ 2147483647 h 1049"/>
              <a:gd name="T62" fmla="*/ 2147483647 w 467"/>
              <a:gd name="T63" fmla="*/ 2147483647 h 1049"/>
              <a:gd name="T64" fmla="*/ 2147483647 w 467"/>
              <a:gd name="T65" fmla="*/ 2147483647 h 1049"/>
              <a:gd name="T66" fmla="*/ 2147483647 w 467"/>
              <a:gd name="T67" fmla="*/ 2147483647 h 1049"/>
              <a:gd name="T68" fmla="*/ 2147483647 w 467"/>
              <a:gd name="T69" fmla="*/ 2147483647 h 1049"/>
              <a:gd name="T70" fmla="*/ 2147483647 w 467"/>
              <a:gd name="T71" fmla="*/ 2147483647 h 1049"/>
              <a:gd name="T72" fmla="*/ 2147483647 w 467"/>
              <a:gd name="T73" fmla="*/ 2147483647 h 1049"/>
              <a:gd name="T74" fmla="*/ 2147483647 w 467"/>
              <a:gd name="T75" fmla="*/ 2147483647 h 1049"/>
              <a:gd name="T76" fmla="*/ 2147483647 w 467"/>
              <a:gd name="T77" fmla="*/ 0 h 1049"/>
              <a:gd name="T78" fmla="*/ 2147483647 w 467"/>
              <a:gd name="T79" fmla="*/ 2147483647 h 1049"/>
              <a:gd name="T80" fmla="*/ 2147483647 w 467"/>
              <a:gd name="T81" fmla="*/ 2147483647 h 1049"/>
              <a:gd name="T82" fmla="*/ 2147483647 w 467"/>
              <a:gd name="T83" fmla="*/ 2147483647 h 1049"/>
              <a:gd name="T84" fmla="*/ 2147483647 w 467"/>
              <a:gd name="T85" fmla="*/ 2147483647 h 1049"/>
              <a:gd name="T86" fmla="*/ 2147483647 w 467"/>
              <a:gd name="T87" fmla="*/ 2147483647 h 1049"/>
              <a:gd name="T88" fmla="*/ 2147483647 w 467"/>
              <a:gd name="T89" fmla="*/ 2147483647 h 10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7"/>
              <a:gd name="T136" fmla="*/ 0 h 1049"/>
              <a:gd name="T137" fmla="*/ 467 w 467"/>
              <a:gd name="T138" fmla="*/ 1049 h 10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7" h="1049">
                <a:moveTo>
                  <a:pt x="0" y="123"/>
                </a:moveTo>
                <a:lnTo>
                  <a:pt x="61" y="187"/>
                </a:lnTo>
                <a:lnTo>
                  <a:pt x="103" y="208"/>
                </a:lnTo>
                <a:lnTo>
                  <a:pt x="129" y="252"/>
                </a:lnTo>
                <a:lnTo>
                  <a:pt x="125" y="296"/>
                </a:lnTo>
                <a:lnTo>
                  <a:pt x="132" y="326"/>
                </a:lnTo>
                <a:lnTo>
                  <a:pt x="127" y="342"/>
                </a:lnTo>
                <a:lnTo>
                  <a:pt x="146" y="391"/>
                </a:lnTo>
                <a:lnTo>
                  <a:pt x="145" y="408"/>
                </a:lnTo>
                <a:lnTo>
                  <a:pt x="135" y="432"/>
                </a:lnTo>
                <a:lnTo>
                  <a:pt x="150" y="475"/>
                </a:lnTo>
                <a:lnTo>
                  <a:pt x="171" y="486"/>
                </a:lnTo>
                <a:lnTo>
                  <a:pt x="175" y="489"/>
                </a:lnTo>
                <a:lnTo>
                  <a:pt x="202" y="526"/>
                </a:lnTo>
                <a:lnTo>
                  <a:pt x="207" y="537"/>
                </a:lnTo>
                <a:lnTo>
                  <a:pt x="205" y="560"/>
                </a:lnTo>
                <a:lnTo>
                  <a:pt x="213" y="575"/>
                </a:lnTo>
                <a:lnTo>
                  <a:pt x="207" y="574"/>
                </a:lnTo>
                <a:lnTo>
                  <a:pt x="207" y="587"/>
                </a:lnTo>
                <a:lnTo>
                  <a:pt x="176" y="590"/>
                </a:lnTo>
                <a:lnTo>
                  <a:pt x="169" y="618"/>
                </a:lnTo>
                <a:lnTo>
                  <a:pt x="124" y="671"/>
                </a:lnTo>
                <a:lnTo>
                  <a:pt x="94" y="719"/>
                </a:lnTo>
                <a:lnTo>
                  <a:pt x="71" y="745"/>
                </a:lnTo>
                <a:lnTo>
                  <a:pt x="50" y="744"/>
                </a:lnTo>
                <a:lnTo>
                  <a:pt x="44" y="755"/>
                </a:lnTo>
                <a:lnTo>
                  <a:pt x="51" y="762"/>
                </a:lnTo>
                <a:lnTo>
                  <a:pt x="48" y="763"/>
                </a:lnTo>
                <a:lnTo>
                  <a:pt x="34" y="765"/>
                </a:lnTo>
                <a:lnTo>
                  <a:pt x="18" y="798"/>
                </a:lnTo>
                <a:lnTo>
                  <a:pt x="28" y="836"/>
                </a:lnTo>
                <a:lnTo>
                  <a:pt x="25" y="856"/>
                </a:lnTo>
                <a:lnTo>
                  <a:pt x="46" y="905"/>
                </a:lnTo>
                <a:lnTo>
                  <a:pt x="35" y="904"/>
                </a:lnTo>
                <a:lnTo>
                  <a:pt x="36" y="932"/>
                </a:lnTo>
                <a:lnTo>
                  <a:pt x="27" y="951"/>
                </a:lnTo>
                <a:lnTo>
                  <a:pt x="31" y="968"/>
                </a:lnTo>
                <a:lnTo>
                  <a:pt x="36" y="970"/>
                </a:lnTo>
                <a:lnTo>
                  <a:pt x="32" y="980"/>
                </a:lnTo>
                <a:lnTo>
                  <a:pt x="78" y="999"/>
                </a:lnTo>
                <a:lnTo>
                  <a:pt x="78" y="1008"/>
                </a:lnTo>
                <a:lnTo>
                  <a:pt x="84" y="1012"/>
                </a:lnTo>
                <a:lnTo>
                  <a:pt x="96" y="1005"/>
                </a:lnTo>
                <a:lnTo>
                  <a:pt x="97" y="1020"/>
                </a:lnTo>
                <a:lnTo>
                  <a:pt x="109" y="1039"/>
                </a:lnTo>
                <a:lnTo>
                  <a:pt x="99" y="1049"/>
                </a:lnTo>
                <a:lnTo>
                  <a:pt x="111" y="1046"/>
                </a:lnTo>
                <a:lnTo>
                  <a:pt x="119" y="1031"/>
                </a:lnTo>
                <a:lnTo>
                  <a:pt x="124" y="1041"/>
                </a:lnTo>
                <a:lnTo>
                  <a:pt x="161" y="1033"/>
                </a:lnTo>
                <a:lnTo>
                  <a:pt x="175" y="1020"/>
                </a:lnTo>
                <a:lnTo>
                  <a:pt x="206" y="1012"/>
                </a:lnTo>
                <a:lnTo>
                  <a:pt x="212" y="1001"/>
                </a:lnTo>
                <a:lnTo>
                  <a:pt x="215" y="1009"/>
                </a:lnTo>
                <a:lnTo>
                  <a:pt x="230" y="1003"/>
                </a:lnTo>
                <a:lnTo>
                  <a:pt x="227" y="995"/>
                </a:lnTo>
                <a:lnTo>
                  <a:pt x="304" y="987"/>
                </a:lnTo>
                <a:lnTo>
                  <a:pt x="403" y="894"/>
                </a:lnTo>
                <a:lnTo>
                  <a:pt x="466" y="793"/>
                </a:lnTo>
                <a:lnTo>
                  <a:pt x="467" y="763"/>
                </a:lnTo>
                <a:lnTo>
                  <a:pt x="417" y="698"/>
                </a:lnTo>
                <a:lnTo>
                  <a:pt x="432" y="645"/>
                </a:lnTo>
                <a:lnTo>
                  <a:pt x="414" y="620"/>
                </a:lnTo>
                <a:lnTo>
                  <a:pt x="409" y="590"/>
                </a:lnTo>
                <a:lnTo>
                  <a:pt x="396" y="587"/>
                </a:lnTo>
                <a:lnTo>
                  <a:pt x="396" y="541"/>
                </a:lnTo>
                <a:lnTo>
                  <a:pt x="413" y="489"/>
                </a:lnTo>
                <a:lnTo>
                  <a:pt x="373" y="368"/>
                </a:lnTo>
                <a:lnTo>
                  <a:pt x="407" y="294"/>
                </a:lnTo>
                <a:lnTo>
                  <a:pt x="405" y="277"/>
                </a:lnTo>
                <a:lnTo>
                  <a:pt x="381" y="235"/>
                </a:lnTo>
                <a:lnTo>
                  <a:pt x="351" y="222"/>
                </a:lnTo>
                <a:lnTo>
                  <a:pt x="343" y="174"/>
                </a:lnTo>
                <a:lnTo>
                  <a:pt x="367" y="123"/>
                </a:lnTo>
                <a:lnTo>
                  <a:pt x="359" y="109"/>
                </a:lnTo>
                <a:lnTo>
                  <a:pt x="377" y="80"/>
                </a:lnTo>
                <a:lnTo>
                  <a:pt x="371" y="46"/>
                </a:lnTo>
                <a:lnTo>
                  <a:pt x="322" y="0"/>
                </a:lnTo>
                <a:lnTo>
                  <a:pt x="279" y="18"/>
                </a:lnTo>
                <a:lnTo>
                  <a:pt x="236" y="36"/>
                </a:lnTo>
                <a:lnTo>
                  <a:pt x="226" y="61"/>
                </a:lnTo>
                <a:lnTo>
                  <a:pt x="223" y="132"/>
                </a:lnTo>
                <a:lnTo>
                  <a:pt x="174" y="169"/>
                </a:lnTo>
                <a:lnTo>
                  <a:pt x="150" y="146"/>
                </a:lnTo>
                <a:lnTo>
                  <a:pt x="123" y="167"/>
                </a:lnTo>
                <a:lnTo>
                  <a:pt x="83" y="159"/>
                </a:lnTo>
                <a:lnTo>
                  <a:pt x="51" y="104"/>
                </a:lnTo>
                <a:lnTo>
                  <a:pt x="31" y="90"/>
                </a:lnTo>
                <a:lnTo>
                  <a:pt x="21" y="95"/>
                </a:lnTo>
                <a:lnTo>
                  <a:pt x="24" y="115"/>
                </a:lnTo>
                <a:lnTo>
                  <a:pt x="0" y="123"/>
                </a:lnTo>
                <a:close/>
              </a:path>
            </a:pathLst>
          </a:custGeom>
          <a:solidFill>
            <a:schemeClr val="accent1"/>
          </a:solidFill>
          <a:ln w="6350">
            <a:solidFill>
              <a:schemeClr val="tx2"/>
            </a:solidFill>
            <a:round/>
            <a:headEnd/>
            <a:tailEnd/>
          </a:ln>
        </p:spPr>
        <p:txBody>
          <a:bodyPr/>
          <a:lstStyle/>
          <a:p>
            <a:endParaRPr lang="en-US"/>
          </a:p>
        </p:txBody>
      </p:sp>
      <p:sp>
        <p:nvSpPr>
          <p:cNvPr id="687" name="Freeform 1390"/>
          <p:cNvSpPr>
            <a:spLocks/>
          </p:cNvSpPr>
          <p:nvPr/>
        </p:nvSpPr>
        <p:spPr bwMode="auto">
          <a:xfrm>
            <a:off x="5890803" y="2416208"/>
            <a:ext cx="527468" cy="556588"/>
          </a:xfrm>
          <a:custGeom>
            <a:avLst/>
            <a:gdLst>
              <a:gd name="T0" fmla="*/ 2147483647 w 1120"/>
              <a:gd name="T1" fmla="*/ 2147483647 h 1334"/>
              <a:gd name="T2" fmla="*/ 2147483647 w 1120"/>
              <a:gd name="T3" fmla="*/ 2147483647 h 1334"/>
              <a:gd name="T4" fmla="*/ 2147483647 w 1120"/>
              <a:gd name="T5" fmla="*/ 2147483647 h 1334"/>
              <a:gd name="T6" fmla="*/ 2147483647 w 1120"/>
              <a:gd name="T7" fmla="*/ 2147483647 h 1334"/>
              <a:gd name="T8" fmla="*/ 2147483647 w 1120"/>
              <a:gd name="T9" fmla="*/ 2147483647 h 1334"/>
              <a:gd name="T10" fmla="*/ 2147483647 w 1120"/>
              <a:gd name="T11" fmla="*/ 2147483647 h 1334"/>
              <a:gd name="T12" fmla="*/ 2147483647 w 1120"/>
              <a:gd name="T13" fmla="*/ 2147483647 h 1334"/>
              <a:gd name="T14" fmla="*/ 2147483647 w 1120"/>
              <a:gd name="T15" fmla="*/ 2147483647 h 1334"/>
              <a:gd name="T16" fmla="*/ 2147483647 w 1120"/>
              <a:gd name="T17" fmla="*/ 2147483647 h 1334"/>
              <a:gd name="T18" fmla="*/ 2147483647 w 1120"/>
              <a:gd name="T19" fmla="*/ 2147483647 h 1334"/>
              <a:gd name="T20" fmla="*/ 2147483647 w 1120"/>
              <a:gd name="T21" fmla="*/ 2147483647 h 1334"/>
              <a:gd name="T22" fmla="*/ 2147483647 w 1120"/>
              <a:gd name="T23" fmla="*/ 2147483647 h 1334"/>
              <a:gd name="T24" fmla="*/ 2147483647 w 1120"/>
              <a:gd name="T25" fmla="*/ 2147483647 h 1334"/>
              <a:gd name="T26" fmla="*/ 2147483647 w 1120"/>
              <a:gd name="T27" fmla="*/ 2147483647 h 1334"/>
              <a:gd name="T28" fmla="*/ 2147483647 w 1120"/>
              <a:gd name="T29" fmla="*/ 2147483647 h 1334"/>
              <a:gd name="T30" fmla="*/ 2147483647 w 1120"/>
              <a:gd name="T31" fmla="*/ 2147483647 h 1334"/>
              <a:gd name="T32" fmla="*/ 2147483647 w 1120"/>
              <a:gd name="T33" fmla="*/ 2147483647 h 1334"/>
              <a:gd name="T34" fmla="*/ 2147483647 w 1120"/>
              <a:gd name="T35" fmla="*/ 2147483647 h 1334"/>
              <a:gd name="T36" fmla="*/ 2147483647 w 1120"/>
              <a:gd name="T37" fmla="*/ 2147483647 h 1334"/>
              <a:gd name="T38" fmla="*/ 2147483647 w 1120"/>
              <a:gd name="T39" fmla="*/ 2147483647 h 1334"/>
              <a:gd name="T40" fmla="*/ 2147483647 w 1120"/>
              <a:gd name="T41" fmla="*/ 2147483647 h 1334"/>
              <a:gd name="T42" fmla="*/ 2147483647 w 1120"/>
              <a:gd name="T43" fmla="*/ 2147483647 h 1334"/>
              <a:gd name="T44" fmla="*/ 2147483647 w 1120"/>
              <a:gd name="T45" fmla="*/ 2147483647 h 1334"/>
              <a:gd name="T46" fmla="*/ 2147483647 w 1120"/>
              <a:gd name="T47" fmla="*/ 2147483647 h 1334"/>
              <a:gd name="T48" fmla="*/ 2147483647 w 1120"/>
              <a:gd name="T49" fmla="*/ 2147483647 h 1334"/>
              <a:gd name="T50" fmla="*/ 2147483647 w 1120"/>
              <a:gd name="T51" fmla="*/ 2147483647 h 1334"/>
              <a:gd name="T52" fmla="*/ 2147483647 w 1120"/>
              <a:gd name="T53" fmla="*/ 2147483647 h 1334"/>
              <a:gd name="T54" fmla="*/ 2147483647 w 1120"/>
              <a:gd name="T55" fmla="*/ 2147483647 h 1334"/>
              <a:gd name="T56" fmla="*/ 2147483647 w 1120"/>
              <a:gd name="T57" fmla="*/ 2147483647 h 1334"/>
              <a:gd name="T58" fmla="*/ 2147483647 w 1120"/>
              <a:gd name="T59" fmla="*/ 2147483647 h 1334"/>
              <a:gd name="T60" fmla="*/ 2147483647 w 1120"/>
              <a:gd name="T61" fmla="*/ 2147483647 h 1334"/>
              <a:gd name="T62" fmla="*/ 2147483647 w 1120"/>
              <a:gd name="T63" fmla="*/ 2147483647 h 1334"/>
              <a:gd name="T64" fmla="*/ 2147483647 w 1120"/>
              <a:gd name="T65" fmla="*/ 2147483647 h 1334"/>
              <a:gd name="T66" fmla="*/ 2147483647 w 1120"/>
              <a:gd name="T67" fmla="*/ 2147483647 h 1334"/>
              <a:gd name="T68" fmla="*/ 2147483647 w 1120"/>
              <a:gd name="T69" fmla="*/ 2147483647 h 1334"/>
              <a:gd name="T70" fmla="*/ 2147483647 w 1120"/>
              <a:gd name="T71" fmla="*/ 2147483647 h 1334"/>
              <a:gd name="T72" fmla="*/ 2147483647 w 1120"/>
              <a:gd name="T73" fmla="*/ 2147483647 h 1334"/>
              <a:gd name="T74" fmla="*/ 2147483647 w 1120"/>
              <a:gd name="T75" fmla="*/ 2147483647 h 1334"/>
              <a:gd name="T76" fmla="*/ 2147483647 w 1120"/>
              <a:gd name="T77" fmla="*/ 2147483647 h 1334"/>
              <a:gd name="T78" fmla="*/ 2147483647 w 1120"/>
              <a:gd name="T79" fmla="*/ 2147483647 h 1334"/>
              <a:gd name="T80" fmla="*/ 2147483647 w 1120"/>
              <a:gd name="T81" fmla="*/ 2147483647 h 1334"/>
              <a:gd name="T82" fmla="*/ 2147483647 w 1120"/>
              <a:gd name="T83" fmla="*/ 2147483647 h 1334"/>
              <a:gd name="T84" fmla="*/ 2147483647 w 1120"/>
              <a:gd name="T85" fmla="*/ 2147483647 h 1334"/>
              <a:gd name="T86" fmla="*/ 2147483647 w 1120"/>
              <a:gd name="T87" fmla="*/ 2147483647 h 1334"/>
              <a:gd name="T88" fmla="*/ 2147483647 w 1120"/>
              <a:gd name="T89" fmla="*/ 2147483647 h 1334"/>
              <a:gd name="T90" fmla="*/ 2147483647 w 1120"/>
              <a:gd name="T91" fmla="*/ 2147483647 h 1334"/>
              <a:gd name="T92" fmla="*/ 2147483647 w 1120"/>
              <a:gd name="T93" fmla="*/ 2147483647 h 1334"/>
              <a:gd name="T94" fmla="*/ 2147483647 w 1120"/>
              <a:gd name="T95" fmla="*/ 2147483647 h 1334"/>
              <a:gd name="T96" fmla="*/ 2147483647 w 1120"/>
              <a:gd name="T97" fmla="*/ 2147483647 h 1334"/>
              <a:gd name="T98" fmla="*/ 2147483647 w 1120"/>
              <a:gd name="T99" fmla="*/ 2147483647 h 1334"/>
              <a:gd name="T100" fmla="*/ 2147483647 w 1120"/>
              <a:gd name="T101" fmla="*/ 2147483647 h 1334"/>
              <a:gd name="T102" fmla="*/ 2147483647 w 1120"/>
              <a:gd name="T103" fmla="*/ 2147483647 h 1334"/>
              <a:gd name="T104" fmla="*/ 2147483647 w 1120"/>
              <a:gd name="T105" fmla="*/ 2147483647 h 1334"/>
              <a:gd name="T106" fmla="*/ 2147483647 w 1120"/>
              <a:gd name="T107" fmla="*/ 2147483647 h 1334"/>
              <a:gd name="T108" fmla="*/ 2147483647 w 1120"/>
              <a:gd name="T109" fmla="*/ 2147483647 h 1334"/>
              <a:gd name="T110" fmla="*/ 2147483647 w 1120"/>
              <a:gd name="T111" fmla="*/ 2147483647 h 1334"/>
              <a:gd name="T112" fmla="*/ 2147483647 w 1120"/>
              <a:gd name="T113" fmla="*/ 2147483647 h 1334"/>
              <a:gd name="T114" fmla="*/ 2147483647 w 1120"/>
              <a:gd name="T115" fmla="*/ 2147483647 h 1334"/>
              <a:gd name="T116" fmla="*/ 2147483647 w 1120"/>
              <a:gd name="T117" fmla="*/ 2147483647 h 13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0"/>
              <a:gd name="T178" fmla="*/ 0 h 1334"/>
              <a:gd name="T179" fmla="*/ 1120 w 1120"/>
              <a:gd name="T180" fmla="*/ 1334 h 13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20" h="1334">
                <a:moveTo>
                  <a:pt x="30" y="1163"/>
                </a:moveTo>
                <a:lnTo>
                  <a:pt x="23" y="1145"/>
                </a:lnTo>
                <a:lnTo>
                  <a:pt x="14" y="1155"/>
                </a:lnTo>
                <a:lnTo>
                  <a:pt x="6" y="1139"/>
                </a:lnTo>
                <a:lnTo>
                  <a:pt x="29" y="1110"/>
                </a:lnTo>
                <a:lnTo>
                  <a:pt x="7" y="1118"/>
                </a:lnTo>
                <a:lnTo>
                  <a:pt x="0" y="1101"/>
                </a:lnTo>
                <a:lnTo>
                  <a:pt x="14" y="1106"/>
                </a:lnTo>
                <a:lnTo>
                  <a:pt x="13" y="1095"/>
                </a:lnTo>
                <a:lnTo>
                  <a:pt x="3" y="1095"/>
                </a:lnTo>
                <a:lnTo>
                  <a:pt x="4" y="1087"/>
                </a:lnTo>
                <a:lnTo>
                  <a:pt x="8" y="1077"/>
                </a:lnTo>
                <a:lnTo>
                  <a:pt x="71" y="1073"/>
                </a:lnTo>
                <a:lnTo>
                  <a:pt x="79" y="1079"/>
                </a:lnTo>
                <a:lnTo>
                  <a:pt x="81" y="1093"/>
                </a:lnTo>
                <a:lnTo>
                  <a:pt x="92" y="1087"/>
                </a:lnTo>
                <a:lnTo>
                  <a:pt x="87" y="1081"/>
                </a:lnTo>
                <a:lnTo>
                  <a:pt x="88" y="1073"/>
                </a:lnTo>
                <a:lnTo>
                  <a:pt x="110" y="1065"/>
                </a:lnTo>
                <a:lnTo>
                  <a:pt x="114" y="1060"/>
                </a:lnTo>
                <a:lnTo>
                  <a:pt x="100" y="1062"/>
                </a:lnTo>
                <a:lnTo>
                  <a:pt x="108" y="1034"/>
                </a:lnTo>
                <a:lnTo>
                  <a:pt x="99" y="1039"/>
                </a:lnTo>
                <a:lnTo>
                  <a:pt x="95" y="1057"/>
                </a:lnTo>
                <a:lnTo>
                  <a:pt x="86" y="1066"/>
                </a:lnTo>
                <a:lnTo>
                  <a:pt x="64" y="1063"/>
                </a:lnTo>
                <a:lnTo>
                  <a:pt x="65" y="1046"/>
                </a:lnTo>
                <a:lnTo>
                  <a:pt x="56" y="1067"/>
                </a:lnTo>
                <a:lnTo>
                  <a:pt x="5" y="1070"/>
                </a:lnTo>
                <a:lnTo>
                  <a:pt x="2" y="1048"/>
                </a:lnTo>
                <a:lnTo>
                  <a:pt x="12" y="1037"/>
                </a:lnTo>
                <a:lnTo>
                  <a:pt x="12" y="1027"/>
                </a:lnTo>
                <a:lnTo>
                  <a:pt x="1" y="1018"/>
                </a:lnTo>
                <a:lnTo>
                  <a:pt x="18" y="1005"/>
                </a:lnTo>
                <a:lnTo>
                  <a:pt x="42" y="1003"/>
                </a:lnTo>
                <a:lnTo>
                  <a:pt x="52" y="994"/>
                </a:lnTo>
                <a:lnTo>
                  <a:pt x="10" y="999"/>
                </a:lnTo>
                <a:lnTo>
                  <a:pt x="6" y="981"/>
                </a:lnTo>
                <a:lnTo>
                  <a:pt x="22" y="988"/>
                </a:lnTo>
                <a:lnTo>
                  <a:pt x="21" y="979"/>
                </a:lnTo>
                <a:lnTo>
                  <a:pt x="39" y="977"/>
                </a:lnTo>
                <a:lnTo>
                  <a:pt x="44" y="979"/>
                </a:lnTo>
                <a:lnTo>
                  <a:pt x="57" y="959"/>
                </a:lnTo>
                <a:lnTo>
                  <a:pt x="67" y="975"/>
                </a:lnTo>
                <a:lnTo>
                  <a:pt x="63" y="956"/>
                </a:lnTo>
                <a:lnTo>
                  <a:pt x="69" y="948"/>
                </a:lnTo>
                <a:lnTo>
                  <a:pt x="59" y="951"/>
                </a:lnTo>
                <a:lnTo>
                  <a:pt x="63" y="945"/>
                </a:lnTo>
                <a:lnTo>
                  <a:pt x="58" y="941"/>
                </a:lnTo>
                <a:lnTo>
                  <a:pt x="108" y="940"/>
                </a:lnTo>
                <a:lnTo>
                  <a:pt x="106" y="934"/>
                </a:lnTo>
                <a:lnTo>
                  <a:pt x="111" y="928"/>
                </a:lnTo>
                <a:lnTo>
                  <a:pt x="87" y="922"/>
                </a:lnTo>
                <a:lnTo>
                  <a:pt x="91" y="917"/>
                </a:lnTo>
                <a:lnTo>
                  <a:pt x="83" y="912"/>
                </a:lnTo>
                <a:lnTo>
                  <a:pt x="92" y="901"/>
                </a:lnTo>
                <a:lnTo>
                  <a:pt x="106" y="906"/>
                </a:lnTo>
                <a:lnTo>
                  <a:pt x="110" y="897"/>
                </a:lnTo>
                <a:lnTo>
                  <a:pt x="112" y="887"/>
                </a:lnTo>
                <a:lnTo>
                  <a:pt x="130" y="881"/>
                </a:lnTo>
                <a:lnTo>
                  <a:pt x="133" y="873"/>
                </a:lnTo>
                <a:lnTo>
                  <a:pt x="144" y="878"/>
                </a:lnTo>
                <a:lnTo>
                  <a:pt x="144" y="868"/>
                </a:lnTo>
                <a:lnTo>
                  <a:pt x="156" y="857"/>
                </a:lnTo>
                <a:lnTo>
                  <a:pt x="178" y="848"/>
                </a:lnTo>
                <a:lnTo>
                  <a:pt x="182" y="864"/>
                </a:lnTo>
                <a:lnTo>
                  <a:pt x="191" y="859"/>
                </a:lnTo>
                <a:lnTo>
                  <a:pt x="186" y="846"/>
                </a:lnTo>
                <a:lnTo>
                  <a:pt x="203" y="836"/>
                </a:lnTo>
                <a:lnTo>
                  <a:pt x="213" y="859"/>
                </a:lnTo>
                <a:lnTo>
                  <a:pt x="220" y="860"/>
                </a:lnTo>
                <a:lnTo>
                  <a:pt x="224" y="851"/>
                </a:lnTo>
                <a:lnTo>
                  <a:pt x="246" y="846"/>
                </a:lnTo>
                <a:lnTo>
                  <a:pt x="242" y="837"/>
                </a:lnTo>
                <a:lnTo>
                  <a:pt x="273" y="819"/>
                </a:lnTo>
                <a:lnTo>
                  <a:pt x="276" y="814"/>
                </a:lnTo>
                <a:lnTo>
                  <a:pt x="273" y="812"/>
                </a:lnTo>
                <a:lnTo>
                  <a:pt x="222" y="845"/>
                </a:lnTo>
                <a:lnTo>
                  <a:pt x="212" y="834"/>
                </a:lnTo>
                <a:lnTo>
                  <a:pt x="216" y="822"/>
                </a:lnTo>
                <a:lnTo>
                  <a:pt x="207" y="826"/>
                </a:lnTo>
                <a:lnTo>
                  <a:pt x="203" y="814"/>
                </a:lnTo>
                <a:lnTo>
                  <a:pt x="221" y="805"/>
                </a:lnTo>
                <a:lnTo>
                  <a:pt x="220" y="788"/>
                </a:lnTo>
                <a:lnTo>
                  <a:pt x="255" y="742"/>
                </a:lnTo>
                <a:lnTo>
                  <a:pt x="276" y="749"/>
                </a:lnTo>
                <a:lnTo>
                  <a:pt x="277" y="726"/>
                </a:lnTo>
                <a:lnTo>
                  <a:pt x="273" y="725"/>
                </a:lnTo>
                <a:lnTo>
                  <a:pt x="276" y="709"/>
                </a:lnTo>
                <a:lnTo>
                  <a:pt x="296" y="687"/>
                </a:lnTo>
                <a:lnTo>
                  <a:pt x="319" y="683"/>
                </a:lnTo>
                <a:lnTo>
                  <a:pt x="317" y="665"/>
                </a:lnTo>
                <a:lnTo>
                  <a:pt x="305" y="672"/>
                </a:lnTo>
                <a:lnTo>
                  <a:pt x="315" y="657"/>
                </a:lnTo>
                <a:lnTo>
                  <a:pt x="314" y="644"/>
                </a:lnTo>
                <a:lnTo>
                  <a:pt x="330" y="663"/>
                </a:lnTo>
                <a:lnTo>
                  <a:pt x="321" y="635"/>
                </a:lnTo>
                <a:lnTo>
                  <a:pt x="332" y="632"/>
                </a:lnTo>
                <a:lnTo>
                  <a:pt x="335" y="606"/>
                </a:lnTo>
                <a:lnTo>
                  <a:pt x="350" y="612"/>
                </a:lnTo>
                <a:lnTo>
                  <a:pt x="345" y="594"/>
                </a:lnTo>
                <a:lnTo>
                  <a:pt x="324" y="605"/>
                </a:lnTo>
                <a:lnTo>
                  <a:pt x="346" y="572"/>
                </a:lnTo>
                <a:lnTo>
                  <a:pt x="363" y="569"/>
                </a:lnTo>
                <a:lnTo>
                  <a:pt x="365" y="562"/>
                </a:lnTo>
                <a:lnTo>
                  <a:pt x="357" y="564"/>
                </a:lnTo>
                <a:lnTo>
                  <a:pt x="351" y="546"/>
                </a:lnTo>
                <a:lnTo>
                  <a:pt x="366" y="540"/>
                </a:lnTo>
                <a:lnTo>
                  <a:pt x="355" y="538"/>
                </a:lnTo>
                <a:lnTo>
                  <a:pt x="359" y="524"/>
                </a:lnTo>
                <a:lnTo>
                  <a:pt x="379" y="509"/>
                </a:lnTo>
                <a:lnTo>
                  <a:pt x="374" y="502"/>
                </a:lnTo>
                <a:lnTo>
                  <a:pt x="381" y="493"/>
                </a:lnTo>
                <a:lnTo>
                  <a:pt x="396" y="491"/>
                </a:lnTo>
                <a:lnTo>
                  <a:pt x="407" y="470"/>
                </a:lnTo>
                <a:lnTo>
                  <a:pt x="403" y="457"/>
                </a:lnTo>
                <a:lnTo>
                  <a:pt x="415" y="435"/>
                </a:lnTo>
                <a:lnTo>
                  <a:pt x="430" y="427"/>
                </a:lnTo>
                <a:lnTo>
                  <a:pt x="449" y="439"/>
                </a:lnTo>
                <a:lnTo>
                  <a:pt x="464" y="424"/>
                </a:lnTo>
                <a:lnTo>
                  <a:pt x="441" y="424"/>
                </a:lnTo>
                <a:lnTo>
                  <a:pt x="455" y="411"/>
                </a:lnTo>
                <a:lnTo>
                  <a:pt x="452" y="407"/>
                </a:lnTo>
                <a:lnTo>
                  <a:pt x="457" y="404"/>
                </a:lnTo>
                <a:lnTo>
                  <a:pt x="450" y="391"/>
                </a:lnTo>
                <a:lnTo>
                  <a:pt x="464" y="379"/>
                </a:lnTo>
                <a:lnTo>
                  <a:pt x="458" y="371"/>
                </a:lnTo>
                <a:lnTo>
                  <a:pt x="469" y="360"/>
                </a:lnTo>
                <a:lnTo>
                  <a:pt x="474" y="358"/>
                </a:lnTo>
                <a:lnTo>
                  <a:pt x="479" y="388"/>
                </a:lnTo>
                <a:lnTo>
                  <a:pt x="492" y="381"/>
                </a:lnTo>
                <a:lnTo>
                  <a:pt x="487" y="361"/>
                </a:lnTo>
                <a:lnTo>
                  <a:pt x="492" y="355"/>
                </a:lnTo>
                <a:lnTo>
                  <a:pt x="483" y="342"/>
                </a:lnTo>
                <a:lnTo>
                  <a:pt x="487" y="336"/>
                </a:lnTo>
                <a:lnTo>
                  <a:pt x="498" y="330"/>
                </a:lnTo>
                <a:lnTo>
                  <a:pt x="529" y="343"/>
                </a:lnTo>
                <a:lnTo>
                  <a:pt x="534" y="327"/>
                </a:lnTo>
                <a:lnTo>
                  <a:pt x="496" y="319"/>
                </a:lnTo>
                <a:lnTo>
                  <a:pt x="505" y="305"/>
                </a:lnTo>
                <a:lnTo>
                  <a:pt x="534" y="300"/>
                </a:lnTo>
                <a:lnTo>
                  <a:pt x="538" y="296"/>
                </a:lnTo>
                <a:lnTo>
                  <a:pt x="533" y="289"/>
                </a:lnTo>
                <a:lnTo>
                  <a:pt x="546" y="291"/>
                </a:lnTo>
                <a:lnTo>
                  <a:pt x="543" y="278"/>
                </a:lnTo>
                <a:lnTo>
                  <a:pt x="541" y="274"/>
                </a:lnTo>
                <a:lnTo>
                  <a:pt x="540" y="260"/>
                </a:lnTo>
                <a:lnTo>
                  <a:pt x="566" y="240"/>
                </a:lnTo>
                <a:lnTo>
                  <a:pt x="561" y="227"/>
                </a:lnTo>
                <a:lnTo>
                  <a:pt x="569" y="204"/>
                </a:lnTo>
                <a:lnTo>
                  <a:pt x="573" y="209"/>
                </a:lnTo>
                <a:lnTo>
                  <a:pt x="571" y="223"/>
                </a:lnTo>
                <a:lnTo>
                  <a:pt x="588" y="230"/>
                </a:lnTo>
                <a:lnTo>
                  <a:pt x="596" y="222"/>
                </a:lnTo>
                <a:lnTo>
                  <a:pt x="580" y="200"/>
                </a:lnTo>
                <a:lnTo>
                  <a:pt x="590" y="198"/>
                </a:lnTo>
                <a:lnTo>
                  <a:pt x="623" y="237"/>
                </a:lnTo>
                <a:lnTo>
                  <a:pt x="619" y="218"/>
                </a:lnTo>
                <a:lnTo>
                  <a:pt x="604" y="204"/>
                </a:lnTo>
                <a:lnTo>
                  <a:pt x="603" y="185"/>
                </a:lnTo>
                <a:lnTo>
                  <a:pt x="610" y="171"/>
                </a:lnTo>
                <a:lnTo>
                  <a:pt x="630" y="168"/>
                </a:lnTo>
                <a:lnTo>
                  <a:pt x="631" y="208"/>
                </a:lnTo>
                <a:lnTo>
                  <a:pt x="638" y="175"/>
                </a:lnTo>
                <a:lnTo>
                  <a:pt x="658" y="149"/>
                </a:lnTo>
                <a:lnTo>
                  <a:pt x="658" y="198"/>
                </a:lnTo>
                <a:lnTo>
                  <a:pt x="649" y="223"/>
                </a:lnTo>
                <a:lnTo>
                  <a:pt x="672" y="189"/>
                </a:lnTo>
                <a:lnTo>
                  <a:pt x="669" y="173"/>
                </a:lnTo>
                <a:lnTo>
                  <a:pt x="676" y="160"/>
                </a:lnTo>
                <a:lnTo>
                  <a:pt x="690" y="149"/>
                </a:lnTo>
                <a:lnTo>
                  <a:pt x="686" y="157"/>
                </a:lnTo>
                <a:lnTo>
                  <a:pt x="691" y="167"/>
                </a:lnTo>
                <a:lnTo>
                  <a:pt x="704" y="153"/>
                </a:lnTo>
                <a:lnTo>
                  <a:pt x="701" y="137"/>
                </a:lnTo>
                <a:lnTo>
                  <a:pt x="733" y="177"/>
                </a:lnTo>
                <a:lnTo>
                  <a:pt x="731" y="131"/>
                </a:lnTo>
                <a:lnTo>
                  <a:pt x="713" y="124"/>
                </a:lnTo>
                <a:lnTo>
                  <a:pt x="713" y="104"/>
                </a:lnTo>
                <a:lnTo>
                  <a:pt x="724" y="122"/>
                </a:lnTo>
                <a:lnTo>
                  <a:pt x="728" y="104"/>
                </a:lnTo>
                <a:lnTo>
                  <a:pt x="748" y="125"/>
                </a:lnTo>
                <a:lnTo>
                  <a:pt x="752" y="124"/>
                </a:lnTo>
                <a:lnTo>
                  <a:pt x="750" y="114"/>
                </a:lnTo>
                <a:lnTo>
                  <a:pt x="773" y="118"/>
                </a:lnTo>
                <a:lnTo>
                  <a:pt x="769" y="127"/>
                </a:lnTo>
                <a:lnTo>
                  <a:pt x="785" y="144"/>
                </a:lnTo>
                <a:lnTo>
                  <a:pt x="787" y="113"/>
                </a:lnTo>
                <a:lnTo>
                  <a:pt x="812" y="82"/>
                </a:lnTo>
                <a:lnTo>
                  <a:pt x="831" y="82"/>
                </a:lnTo>
                <a:lnTo>
                  <a:pt x="828" y="71"/>
                </a:lnTo>
                <a:lnTo>
                  <a:pt x="844" y="56"/>
                </a:lnTo>
                <a:lnTo>
                  <a:pt x="832" y="36"/>
                </a:lnTo>
                <a:lnTo>
                  <a:pt x="843" y="40"/>
                </a:lnTo>
                <a:lnTo>
                  <a:pt x="844" y="20"/>
                </a:lnTo>
                <a:lnTo>
                  <a:pt x="860" y="15"/>
                </a:lnTo>
                <a:lnTo>
                  <a:pt x="870" y="40"/>
                </a:lnTo>
                <a:lnTo>
                  <a:pt x="896" y="34"/>
                </a:lnTo>
                <a:lnTo>
                  <a:pt x="868" y="82"/>
                </a:lnTo>
                <a:lnTo>
                  <a:pt x="867" y="107"/>
                </a:lnTo>
                <a:lnTo>
                  <a:pt x="857" y="125"/>
                </a:lnTo>
                <a:lnTo>
                  <a:pt x="858" y="135"/>
                </a:lnTo>
                <a:lnTo>
                  <a:pt x="865" y="131"/>
                </a:lnTo>
                <a:lnTo>
                  <a:pt x="928" y="21"/>
                </a:lnTo>
                <a:lnTo>
                  <a:pt x="933" y="49"/>
                </a:lnTo>
                <a:lnTo>
                  <a:pt x="925" y="56"/>
                </a:lnTo>
                <a:lnTo>
                  <a:pt x="933" y="67"/>
                </a:lnTo>
                <a:lnTo>
                  <a:pt x="928" y="93"/>
                </a:lnTo>
                <a:lnTo>
                  <a:pt x="949" y="81"/>
                </a:lnTo>
                <a:lnTo>
                  <a:pt x="949" y="70"/>
                </a:lnTo>
                <a:lnTo>
                  <a:pt x="957" y="61"/>
                </a:lnTo>
                <a:lnTo>
                  <a:pt x="973" y="0"/>
                </a:lnTo>
                <a:lnTo>
                  <a:pt x="1010" y="15"/>
                </a:lnTo>
                <a:lnTo>
                  <a:pt x="1004" y="39"/>
                </a:lnTo>
                <a:lnTo>
                  <a:pt x="984" y="43"/>
                </a:lnTo>
                <a:lnTo>
                  <a:pt x="991" y="52"/>
                </a:lnTo>
                <a:lnTo>
                  <a:pt x="980" y="61"/>
                </a:lnTo>
                <a:lnTo>
                  <a:pt x="1002" y="60"/>
                </a:lnTo>
                <a:lnTo>
                  <a:pt x="989" y="82"/>
                </a:lnTo>
                <a:lnTo>
                  <a:pt x="1015" y="81"/>
                </a:lnTo>
                <a:lnTo>
                  <a:pt x="1015" y="45"/>
                </a:lnTo>
                <a:lnTo>
                  <a:pt x="1041" y="31"/>
                </a:lnTo>
                <a:lnTo>
                  <a:pt x="1047" y="55"/>
                </a:lnTo>
                <a:lnTo>
                  <a:pt x="1075" y="49"/>
                </a:lnTo>
                <a:lnTo>
                  <a:pt x="1091" y="64"/>
                </a:lnTo>
                <a:lnTo>
                  <a:pt x="1084" y="68"/>
                </a:lnTo>
                <a:lnTo>
                  <a:pt x="1118" y="87"/>
                </a:lnTo>
                <a:lnTo>
                  <a:pt x="1120" y="98"/>
                </a:lnTo>
                <a:lnTo>
                  <a:pt x="1077" y="130"/>
                </a:lnTo>
                <a:lnTo>
                  <a:pt x="1019" y="123"/>
                </a:lnTo>
                <a:lnTo>
                  <a:pt x="1073" y="157"/>
                </a:lnTo>
                <a:lnTo>
                  <a:pt x="1057" y="183"/>
                </a:lnTo>
                <a:lnTo>
                  <a:pt x="1085" y="177"/>
                </a:lnTo>
                <a:lnTo>
                  <a:pt x="1115" y="169"/>
                </a:lnTo>
                <a:lnTo>
                  <a:pt x="1111" y="195"/>
                </a:lnTo>
                <a:lnTo>
                  <a:pt x="1085" y="187"/>
                </a:lnTo>
                <a:lnTo>
                  <a:pt x="1080" y="211"/>
                </a:lnTo>
                <a:lnTo>
                  <a:pt x="1049" y="231"/>
                </a:lnTo>
                <a:lnTo>
                  <a:pt x="1037" y="254"/>
                </a:lnTo>
                <a:lnTo>
                  <a:pt x="1029" y="240"/>
                </a:lnTo>
                <a:lnTo>
                  <a:pt x="1047" y="211"/>
                </a:lnTo>
                <a:lnTo>
                  <a:pt x="1041" y="177"/>
                </a:lnTo>
                <a:lnTo>
                  <a:pt x="992" y="131"/>
                </a:lnTo>
                <a:lnTo>
                  <a:pt x="949" y="149"/>
                </a:lnTo>
                <a:lnTo>
                  <a:pt x="906" y="167"/>
                </a:lnTo>
                <a:lnTo>
                  <a:pt x="896" y="192"/>
                </a:lnTo>
                <a:lnTo>
                  <a:pt x="893" y="263"/>
                </a:lnTo>
                <a:lnTo>
                  <a:pt x="844" y="300"/>
                </a:lnTo>
                <a:lnTo>
                  <a:pt x="820" y="277"/>
                </a:lnTo>
                <a:lnTo>
                  <a:pt x="793" y="298"/>
                </a:lnTo>
                <a:lnTo>
                  <a:pt x="753" y="290"/>
                </a:lnTo>
                <a:lnTo>
                  <a:pt x="721" y="235"/>
                </a:lnTo>
                <a:lnTo>
                  <a:pt x="701" y="221"/>
                </a:lnTo>
                <a:lnTo>
                  <a:pt x="691" y="226"/>
                </a:lnTo>
                <a:lnTo>
                  <a:pt x="694" y="246"/>
                </a:lnTo>
                <a:lnTo>
                  <a:pt x="670" y="254"/>
                </a:lnTo>
                <a:lnTo>
                  <a:pt x="648" y="256"/>
                </a:lnTo>
                <a:lnTo>
                  <a:pt x="654" y="275"/>
                </a:lnTo>
                <a:lnTo>
                  <a:pt x="642" y="308"/>
                </a:lnTo>
                <a:lnTo>
                  <a:pt x="650" y="323"/>
                </a:lnTo>
                <a:lnTo>
                  <a:pt x="645" y="329"/>
                </a:lnTo>
                <a:lnTo>
                  <a:pt x="573" y="318"/>
                </a:lnTo>
                <a:lnTo>
                  <a:pt x="565" y="328"/>
                </a:lnTo>
                <a:lnTo>
                  <a:pt x="565" y="353"/>
                </a:lnTo>
                <a:lnTo>
                  <a:pt x="554" y="384"/>
                </a:lnTo>
                <a:lnTo>
                  <a:pt x="533" y="366"/>
                </a:lnTo>
                <a:lnTo>
                  <a:pt x="502" y="394"/>
                </a:lnTo>
                <a:lnTo>
                  <a:pt x="498" y="416"/>
                </a:lnTo>
                <a:lnTo>
                  <a:pt x="479" y="450"/>
                </a:lnTo>
                <a:lnTo>
                  <a:pt x="490" y="468"/>
                </a:lnTo>
                <a:lnTo>
                  <a:pt x="489" y="484"/>
                </a:lnTo>
                <a:lnTo>
                  <a:pt x="450" y="539"/>
                </a:lnTo>
                <a:lnTo>
                  <a:pt x="440" y="577"/>
                </a:lnTo>
                <a:lnTo>
                  <a:pt x="411" y="592"/>
                </a:lnTo>
                <a:lnTo>
                  <a:pt x="411" y="642"/>
                </a:lnTo>
                <a:lnTo>
                  <a:pt x="404" y="682"/>
                </a:lnTo>
                <a:lnTo>
                  <a:pt x="376" y="736"/>
                </a:lnTo>
                <a:lnTo>
                  <a:pt x="393" y="765"/>
                </a:lnTo>
                <a:lnTo>
                  <a:pt x="391" y="789"/>
                </a:lnTo>
                <a:lnTo>
                  <a:pt x="384" y="800"/>
                </a:lnTo>
                <a:lnTo>
                  <a:pt x="342" y="801"/>
                </a:lnTo>
                <a:lnTo>
                  <a:pt x="309" y="833"/>
                </a:lnTo>
                <a:lnTo>
                  <a:pt x="301" y="860"/>
                </a:lnTo>
                <a:lnTo>
                  <a:pt x="313" y="890"/>
                </a:lnTo>
                <a:lnTo>
                  <a:pt x="302" y="936"/>
                </a:lnTo>
                <a:lnTo>
                  <a:pt x="307" y="961"/>
                </a:lnTo>
                <a:lnTo>
                  <a:pt x="307" y="1011"/>
                </a:lnTo>
                <a:lnTo>
                  <a:pt x="330" y="1034"/>
                </a:lnTo>
                <a:lnTo>
                  <a:pt x="333" y="1051"/>
                </a:lnTo>
                <a:lnTo>
                  <a:pt x="328" y="1065"/>
                </a:lnTo>
                <a:lnTo>
                  <a:pt x="306" y="1084"/>
                </a:lnTo>
                <a:lnTo>
                  <a:pt x="314" y="1094"/>
                </a:lnTo>
                <a:lnTo>
                  <a:pt x="321" y="1119"/>
                </a:lnTo>
                <a:lnTo>
                  <a:pt x="315" y="1142"/>
                </a:lnTo>
                <a:lnTo>
                  <a:pt x="317" y="1162"/>
                </a:lnTo>
                <a:lnTo>
                  <a:pt x="292" y="1178"/>
                </a:lnTo>
                <a:lnTo>
                  <a:pt x="292" y="1189"/>
                </a:lnTo>
                <a:lnTo>
                  <a:pt x="281" y="1205"/>
                </a:lnTo>
                <a:lnTo>
                  <a:pt x="285" y="1228"/>
                </a:lnTo>
                <a:lnTo>
                  <a:pt x="279" y="1258"/>
                </a:lnTo>
                <a:lnTo>
                  <a:pt x="273" y="1262"/>
                </a:lnTo>
                <a:lnTo>
                  <a:pt x="270" y="1255"/>
                </a:lnTo>
                <a:lnTo>
                  <a:pt x="267" y="1266"/>
                </a:lnTo>
                <a:lnTo>
                  <a:pt x="265" y="1245"/>
                </a:lnTo>
                <a:lnTo>
                  <a:pt x="258" y="1240"/>
                </a:lnTo>
                <a:lnTo>
                  <a:pt x="244" y="1235"/>
                </a:lnTo>
                <a:lnTo>
                  <a:pt x="238" y="1194"/>
                </a:lnTo>
                <a:lnTo>
                  <a:pt x="244" y="1181"/>
                </a:lnTo>
                <a:lnTo>
                  <a:pt x="240" y="1178"/>
                </a:lnTo>
                <a:lnTo>
                  <a:pt x="232" y="1183"/>
                </a:lnTo>
                <a:lnTo>
                  <a:pt x="236" y="1207"/>
                </a:lnTo>
                <a:lnTo>
                  <a:pt x="231" y="1208"/>
                </a:lnTo>
                <a:lnTo>
                  <a:pt x="223" y="1193"/>
                </a:lnTo>
                <a:lnTo>
                  <a:pt x="222" y="1208"/>
                </a:lnTo>
                <a:lnTo>
                  <a:pt x="232" y="1229"/>
                </a:lnTo>
                <a:lnTo>
                  <a:pt x="221" y="1249"/>
                </a:lnTo>
                <a:lnTo>
                  <a:pt x="195" y="1246"/>
                </a:lnTo>
                <a:lnTo>
                  <a:pt x="197" y="1253"/>
                </a:lnTo>
                <a:lnTo>
                  <a:pt x="175" y="1284"/>
                </a:lnTo>
                <a:lnTo>
                  <a:pt x="134" y="1321"/>
                </a:lnTo>
                <a:lnTo>
                  <a:pt x="128" y="1312"/>
                </a:lnTo>
                <a:lnTo>
                  <a:pt x="114" y="1330"/>
                </a:lnTo>
                <a:lnTo>
                  <a:pt x="105" y="1334"/>
                </a:lnTo>
                <a:lnTo>
                  <a:pt x="92" y="1329"/>
                </a:lnTo>
                <a:lnTo>
                  <a:pt x="98" y="1323"/>
                </a:lnTo>
                <a:lnTo>
                  <a:pt x="85" y="1322"/>
                </a:lnTo>
                <a:lnTo>
                  <a:pt x="83" y="1329"/>
                </a:lnTo>
                <a:lnTo>
                  <a:pt x="70" y="1328"/>
                </a:lnTo>
                <a:lnTo>
                  <a:pt x="72" y="1305"/>
                </a:lnTo>
                <a:lnTo>
                  <a:pt x="67" y="1315"/>
                </a:lnTo>
                <a:lnTo>
                  <a:pt x="57" y="1314"/>
                </a:lnTo>
                <a:lnTo>
                  <a:pt x="20" y="1278"/>
                </a:lnTo>
                <a:lnTo>
                  <a:pt x="25" y="1253"/>
                </a:lnTo>
                <a:lnTo>
                  <a:pt x="40" y="1258"/>
                </a:lnTo>
                <a:lnTo>
                  <a:pt x="39" y="1249"/>
                </a:lnTo>
                <a:lnTo>
                  <a:pt x="50" y="1233"/>
                </a:lnTo>
                <a:lnTo>
                  <a:pt x="50" y="1224"/>
                </a:lnTo>
                <a:lnTo>
                  <a:pt x="46" y="1225"/>
                </a:lnTo>
                <a:lnTo>
                  <a:pt x="57" y="1210"/>
                </a:lnTo>
                <a:lnTo>
                  <a:pt x="14" y="1227"/>
                </a:lnTo>
                <a:lnTo>
                  <a:pt x="10" y="1214"/>
                </a:lnTo>
                <a:lnTo>
                  <a:pt x="21" y="1198"/>
                </a:lnTo>
                <a:lnTo>
                  <a:pt x="37" y="1198"/>
                </a:lnTo>
                <a:lnTo>
                  <a:pt x="57" y="1184"/>
                </a:lnTo>
                <a:lnTo>
                  <a:pt x="30" y="1182"/>
                </a:lnTo>
                <a:lnTo>
                  <a:pt x="55" y="1157"/>
                </a:lnTo>
                <a:lnTo>
                  <a:pt x="50" y="1151"/>
                </a:lnTo>
                <a:lnTo>
                  <a:pt x="64" y="1131"/>
                </a:lnTo>
                <a:lnTo>
                  <a:pt x="70" y="1140"/>
                </a:lnTo>
                <a:lnTo>
                  <a:pt x="73" y="1127"/>
                </a:lnTo>
                <a:lnTo>
                  <a:pt x="85" y="1121"/>
                </a:lnTo>
                <a:lnTo>
                  <a:pt x="64" y="1116"/>
                </a:lnTo>
                <a:lnTo>
                  <a:pt x="57" y="1122"/>
                </a:lnTo>
                <a:lnTo>
                  <a:pt x="30" y="1163"/>
                </a:lnTo>
                <a:close/>
              </a:path>
            </a:pathLst>
          </a:custGeom>
          <a:solidFill>
            <a:schemeClr val="accent1"/>
          </a:solidFill>
          <a:ln w="6350">
            <a:solidFill>
              <a:schemeClr val="tx2"/>
            </a:solidFill>
            <a:round/>
            <a:headEnd/>
            <a:tailEnd/>
          </a:ln>
        </p:spPr>
        <p:txBody>
          <a:bodyPr/>
          <a:lstStyle/>
          <a:p>
            <a:endParaRPr lang="en-US"/>
          </a:p>
        </p:txBody>
      </p:sp>
      <p:sp>
        <p:nvSpPr>
          <p:cNvPr id="688" name="Freeform 1427"/>
          <p:cNvSpPr>
            <a:spLocks/>
          </p:cNvSpPr>
          <p:nvPr/>
        </p:nvSpPr>
        <p:spPr bwMode="auto">
          <a:xfrm>
            <a:off x="6667673" y="3438955"/>
            <a:ext cx="64500" cy="58588"/>
          </a:xfrm>
          <a:custGeom>
            <a:avLst/>
            <a:gdLst>
              <a:gd name="T0" fmla="*/ 2147483647 w 133"/>
              <a:gd name="T1" fmla="*/ 2147483647 h 140"/>
              <a:gd name="T2" fmla="*/ 2147483647 w 133"/>
              <a:gd name="T3" fmla="*/ 2147483647 h 140"/>
              <a:gd name="T4" fmla="*/ 2147483647 w 133"/>
              <a:gd name="T5" fmla="*/ 2147483647 h 140"/>
              <a:gd name="T6" fmla="*/ 2147483647 w 133"/>
              <a:gd name="T7" fmla="*/ 2147483647 h 140"/>
              <a:gd name="T8" fmla="*/ 2147483647 w 133"/>
              <a:gd name="T9" fmla="*/ 2147483647 h 140"/>
              <a:gd name="T10" fmla="*/ 2147483647 w 133"/>
              <a:gd name="T11" fmla="*/ 2147483647 h 140"/>
              <a:gd name="T12" fmla="*/ 2147483647 w 133"/>
              <a:gd name="T13" fmla="*/ 2147483647 h 140"/>
              <a:gd name="T14" fmla="*/ 2147483647 w 133"/>
              <a:gd name="T15" fmla="*/ 2147483647 h 140"/>
              <a:gd name="T16" fmla="*/ 2147483647 w 133"/>
              <a:gd name="T17" fmla="*/ 2147483647 h 140"/>
              <a:gd name="T18" fmla="*/ 2147483647 w 133"/>
              <a:gd name="T19" fmla="*/ 2147483647 h 140"/>
              <a:gd name="T20" fmla="*/ 2147483647 w 133"/>
              <a:gd name="T21" fmla="*/ 2147483647 h 140"/>
              <a:gd name="T22" fmla="*/ 2147483647 w 133"/>
              <a:gd name="T23" fmla="*/ 2147483647 h 140"/>
              <a:gd name="T24" fmla="*/ 2147483647 w 133"/>
              <a:gd name="T25" fmla="*/ 2147483647 h 140"/>
              <a:gd name="T26" fmla="*/ 2147483647 w 133"/>
              <a:gd name="T27" fmla="*/ 2147483647 h 140"/>
              <a:gd name="T28" fmla="*/ 2147483647 w 133"/>
              <a:gd name="T29" fmla="*/ 2147483647 h 140"/>
              <a:gd name="T30" fmla="*/ 2147483647 w 133"/>
              <a:gd name="T31" fmla="*/ 2147483647 h 140"/>
              <a:gd name="T32" fmla="*/ 2147483647 w 133"/>
              <a:gd name="T33" fmla="*/ 2147483647 h 140"/>
              <a:gd name="T34" fmla="*/ 2147483647 w 133"/>
              <a:gd name="T35" fmla="*/ 2147483647 h 140"/>
              <a:gd name="T36" fmla="*/ 2147483647 w 133"/>
              <a:gd name="T37" fmla="*/ 2147483647 h 140"/>
              <a:gd name="T38" fmla="*/ 2147483647 w 133"/>
              <a:gd name="T39" fmla="*/ 2147483647 h 140"/>
              <a:gd name="T40" fmla="*/ 2147483647 w 133"/>
              <a:gd name="T41" fmla="*/ 2147483647 h 140"/>
              <a:gd name="T42" fmla="*/ 2147483647 w 133"/>
              <a:gd name="T43" fmla="*/ 0 h 140"/>
              <a:gd name="T44" fmla="*/ 2147483647 w 133"/>
              <a:gd name="T45" fmla="*/ 2147483647 h 140"/>
              <a:gd name="T46" fmla="*/ 0 w 133"/>
              <a:gd name="T47" fmla="*/ 2147483647 h 140"/>
              <a:gd name="T48" fmla="*/ 2147483647 w 133"/>
              <a:gd name="T49" fmla="*/ 2147483647 h 140"/>
              <a:gd name="T50" fmla="*/ 2147483647 w 133"/>
              <a:gd name="T51" fmla="*/ 2147483647 h 140"/>
              <a:gd name="T52" fmla="*/ 2147483647 w 133"/>
              <a:gd name="T53" fmla="*/ 2147483647 h 140"/>
              <a:gd name="T54" fmla="*/ 2147483647 w 133"/>
              <a:gd name="T55" fmla="*/ 2147483647 h 140"/>
              <a:gd name="T56" fmla="*/ 2147483647 w 133"/>
              <a:gd name="T57" fmla="*/ 2147483647 h 140"/>
              <a:gd name="T58" fmla="*/ 2147483647 w 133"/>
              <a:gd name="T59" fmla="*/ 2147483647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3"/>
              <a:gd name="T91" fmla="*/ 0 h 140"/>
              <a:gd name="T92" fmla="*/ 133 w 133"/>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3" h="140">
                <a:moveTo>
                  <a:pt x="59" y="94"/>
                </a:moveTo>
                <a:lnTo>
                  <a:pt x="68" y="91"/>
                </a:lnTo>
                <a:lnTo>
                  <a:pt x="83" y="101"/>
                </a:lnTo>
                <a:lnTo>
                  <a:pt x="100" y="101"/>
                </a:lnTo>
                <a:lnTo>
                  <a:pt x="109" y="120"/>
                </a:lnTo>
                <a:lnTo>
                  <a:pt x="111" y="138"/>
                </a:lnTo>
                <a:lnTo>
                  <a:pt x="116" y="140"/>
                </a:lnTo>
                <a:lnTo>
                  <a:pt x="133" y="138"/>
                </a:lnTo>
                <a:lnTo>
                  <a:pt x="125" y="122"/>
                </a:lnTo>
                <a:lnTo>
                  <a:pt x="132" y="121"/>
                </a:lnTo>
                <a:lnTo>
                  <a:pt x="133" y="114"/>
                </a:lnTo>
                <a:lnTo>
                  <a:pt x="127" y="111"/>
                </a:lnTo>
                <a:lnTo>
                  <a:pt x="132" y="98"/>
                </a:lnTo>
                <a:lnTo>
                  <a:pt x="119" y="97"/>
                </a:lnTo>
                <a:lnTo>
                  <a:pt x="100" y="80"/>
                </a:lnTo>
                <a:lnTo>
                  <a:pt x="98" y="74"/>
                </a:lnTo>
                <a:lnTo>
                  <a:pt x="105" y="74"/>
                </a:lnTo>
                <a:lnTo>
                  <a:pt x="106" y="60"/>
                </a:lnTo>
                <a:lnTo>
                  <a:pt x="87" y="44"/>
                </a:lnTo>
                <a:lnTo>
                  <a:pt x="88" y="20"/>
                </a:lnTo>
                <a:lnTo>
                  <a:pt x="77" y="16"/>
                </a:lnTo>
                <a:lnTo>
                  <a:pt x="67" y="0"/>
                </a:lnTo>
                <a:lnTo>
                  <a:pt x="67" y="1"/>
                </a:lnTo>
                <a:lnTo>
                  <a:pt x="0" y="12"/>
                </a:lnTo>
                <a:lnTo>
                  <a:pt x="7" y="18"/>
                </a:lnTo>
                <a:lnTo>
                  <a:pt x="13" y="29"/>
                </a:lnTo>
                <a:lnTo>
                  <a:pt x="16" y="56"/>
                </a:lnTo>
                <a:lnTo>
                  <a:pt x="22" y="64"/>
                </a:lnTo>
                <a:lnTo>
                  <a:pt x="54" y="87"/>
                </a:lnTo>
                <a:lnTo>
                  <a:pt x="59" y="94"/>
                </a:lnTo>
                <a:close/>
              </a:path>
            </a:pathLst>
          </a:custGeom>
          <a:solidFill>
            <a:schemeClr val="accent1"/>
          </a:solidFill>
          <a:ln w="6350">
            <a:solidFill>
              <a:schemeClr val="tx2"/>
            </a:solidFill>
            <a:round/>
            <a:headEnd/>
            <a:tailEnd/>
          </a:ln>
        </p:spPr>
        <p:txBody>
          <a:bodyPr/>
          <a:lstStyle/>
          <a:p>
            <a:endParaRPr lang="en-US"/>
          </a:p>
        </p:txBody>
      </p:sp>
      <p:sp>
        <p:nvSpPr>
          <p:cNvPr id="689" name="Freeform 1434"/>
          <p:cNvSpPr>
            <a:spLocks/>
          </p:cNvSpPr>
          <p:nvPr/>
        </p:nvSpPr>
        <p:spPr bwMode="auto">
          <a:xfrm>
            <a:off x="6320803" y="3422397"/>
            <a:ext cx="375534" cy="145197"/>
          </a:xfrm>
          <a:custGeom>
            <a:avLst/>
            <a:gdLst>
              <a:gd name="T0" fmla="*/ 2147483647 w 802"/>
              <a:gd name="T1" fmla="*/ 2147483647 h 350"/>
              <a:gd name="T2" fmla="*/ 2147483647 w 802"/>
              <a:gd name="T3" fmla="*/ 2147483647 h 350"/>
              <a:gd name="T4" fmla="*/ 2147483647 w 802"/>
              <a:gd name="T5" fmla="*/ 2147483647 h 350"/>
              <a:gd name="T6" fmla="*/ 2147483647 w 802"/>
              <a:gd name="T7" fmla="*/ 2147483647 h 350"/>
              <a:gd name="T8" fmla="*/ 2147483647 w 802"/>
              <a:gd name="T9" fmla="*/ 2147483647 h 350"/>
              <a:gd name="T10" fmla="*/ 2147483647 w 802"/>
              <a:gd name="T11" fmla="*/ 2147483647 h 350"/>
              <a:gd name="T12" fmla="*/ 2147483647 w 802"/>
              <a:gd name="T13" fmla="*/ 2147483647 h 350"/>
              <a:gd name="T14" fmla="*/ 2147483647 w 802"/>
              <a:gd name="T15" fmla="*/ 2147483647 h 350"/>
              <a:gd name="T16" fmla="*/ 2147483647 w 802"/>
              <a:gd name="T17" fmla="*/ 2147483647 h 350"/>
              <a:gd name="T18" fmla="*/ 2147483647 w 802"/>
              <a:gd name="T19" fmla="*/ 2147483647 h 350"/>
              <a:gd name="T20" fmla="*/ 2147483647 w 802"/>
              <a:gd name="T21" fmla="*/ 0 h 350"/>
              <a:gd name="T22" fmla="*/ 2147483647 w 802"/>
              <a:gd name="T23" fmla="*/ 2147483647 h 350"/>
              <a:gd name="T24" fmla="*/ 2147483647 w 802"/>
              <a:gd name="T25" fmla="*/ 2147483647 h 350"/>
              <a:gd name="T26" fmla="*/ 2147483647 w 802"/>
              <a:gd name="T27" fmla="*/ 2147483647 h 350"/>
              <a:gd name="T28" fmla="*/ 2147483647 w 802"/>
              <a:gd name="T29" fmla="*/ 2147483647 h 350"/>
              <a:gd name="T30" fmla="*/ 2147483647 w 802"/>
              <a:gd name="T31" fmla="*/ 2147483647 h 350"/>
              <a:gd name="T32" fmla="*/ 2147483647 w 802"/>
              <a:gd name="T33" fmla="*/ 2147483647 h 350"/>
              <a:gd name="T34" fmla="*/ 2147483647 w 802"/>
              <a:gd name="T35" fmla="*/ 2147483647 h 350"/>
              <a:gd name="T36" fmla="*/ 2147483647 w 802"/>
              <a:gd name="T37" fmla="*/ 2147483647 h 350"/>
              <a:gd name="T38" fmla="*/ 2147483647 w 802"/>
              <a:gd name="T39" fmla="*/ 2147483647 h 350"/>
              <a:gd name="T40" fmla="*/ 2147483647 w 802"/>
              <a:gd name="T41" fmla="*/ 2147483647 h 350"/>
              <a:gd name="T42" fmla="*/ 2147483647 w 802"/>
              <a:gd name="T43" fmla="*/ 2147483647 h 350"/>
              <a:gd name="T44" fmla="*/ 2147483647 w 802"/>
              <a:gd name="T45" fmla="*/ 2147483647 h 350"/>
              <a:gd name="T46" fmla="*/ 2147483647 w 802"/>
              <a:gd name="T47" fmla="*/ 2147483647 h 350"/>
              <a:gd name="T48" fmla="*/ 2147483647 w 802"/>
              <a:gd name="T49" fmla="*/ 2147483647 h 350"/>
              <a:gd name="T50" fmla="*/ 2147483647 w 802"/>
              <a:gd name="T51" fmla="*/ 2147483647 h 350"/>
              <a:gd name="T52" fmla="*/ 2147483647 w 802"/>
              <a:gd name="T53" fmla="*/ 2147483647 h 350"/>
              <a:gd name="T54" fmla="*/ 2147483647 w 802"/>
              <a:gd name="T55" fmla="*/ 2147483647 h 350"/>
              <a:gd name="T56" fmla="*/ 2147483647 w 802"/>
              <a:gd name="T57" fmla="*/ 2147483647 h 350"/>
              <a:gd name="T58" fmla="*/ 2147483647 w 802"/>
              <a:gd name="T59" fmla="*/ 2147483647 h 350"/>
              <a:gd name="T60" fmla="*/ 2147483647 w 802"/>
              <a:gd name="T61" fmla="*/ 2147483647 h 350"/>
              <a:gd name="T62" fmla="*/ 2147483647 w 802"/>
              <a:gd name="T63" fmla="*/ 2147483647 h 350"/>
              <a:gd name="T64" fmla="*/ 2147483647 w 802"/>
              <a:gd name="T65" fmla="*/ 2147483647 h 350"/>
              <a:gd name="T66" fmla="*/ 2147483647 w 802"/>
              <a:gd name="T67" fmla="*/ 2147483647 h 350"/>
              <a:gd name="T68" fmla="*/ 2147483647 w 802"/>
              <a:gd name="T69" fmla="*/ 2147483647 h 350"/>
              <a:gd name="T70" fmla="*/ 2147483647 w 802"/>
              <a:gd name="T71" fmla="*/ 2147483647 h 350"/>
              <a:gd name="T72" fmla="*/ 2147483647 w 802"/>
              <a:gd name="T73" fmla="*/ 2147483647 h 350"/>
              <a:gd name="T74" fmla="*/ 2147483647 w 802"/>
              <a:gd name="T75" fmla="*/ 2147483647 h 350"/>
              <a:gd name="T76" fmla="*/ 2147483647 w 802"/>
              <a:gd name="T77" fmla="*/ 2147483647 h 350"/>
              <a:gd name="T78" fmla="*/ 2147483647 w 802"/>
              <a:gd name="T79" fmla="*/ 2147483647 h 350"/>
              <a:gd name="T80" fmla="*/ 2147483647 w 802"/>
              <a:gd name="T81" fmla="*/ 2147483647 h 350"/>
              <a:gd name="T82" fmla="*/ 2147483647 w 802"/>
              <a:gd name="T83" fmla="*/ 2147483647 h 350"/>
              <a:gd name="T84" fmla="*/ 2147483647 w 802"/>
              <a:gd name="T85" fmla="*/ 2147483647 h 350"/>
              <a:gd name="T86" fmla="*/ 2147483647 w 802"/>
              <a:gd name="T87" fmla="*/ 2147483647 h 350"/>
              <a:gd name="T88" fmla="*/ 2147483647 w 802"/>
              <a:gd name="T89" fmla="*/ 2147483647 h 350"/>
              <a:gd name="T90" fmla="*/ 2147483647 w 802"/>
              <a:gd name="T91" fmla="*/ 2147483647 h 350"/>
              <a:gd name="T92" fmla="*/ 2147483647 w 802"/>
              <a:gd name="T93" fmla="*/ 2147483647 h 350"/>
              <a:gd name="T94" fmla="*/ 2147483647 w 802"/>
              <a:gd name="T95" fmla="*/ 2147483647 h 350"/>
              <a:gd name="T96" fmla="*/ 2147483647 w 802"/>
              <a:gd name="T97" fmla="*/ 2147483647 h 350"/>
              <a:gd name="T98" fmla="*/ 2147483647 w 802"/>
              <a:gd name="T99" fmla="*/ 2147483647 h 350"/>
              <a:gd name="T100" fmla="*/ 2147483647 w 802"/>
              <a:gd name="T101" fmla="*/ 2147483647 h 350"/>
              <a:gd name="T102" fmla="*/ 2147483647 w 802"/>
              <a:gd name="T103" fmla="*/ 2147483647 h 350"/>
              <a:gd name="T104" fmla="*/ 2147483647 w 802"/>
              <a:gd name="T105" fmla="*/ 2147483647 h 350"/>
              <a:gd name="T106" fmla="*/ 2147483647 w 802"/>
              <a:gd name="T107" fmla="*/ 2147483647 h 350"/>
              <a:gd name="T108" fmla="*/ 2147483647 w 802"/>
              <a:gd name="T109" fmla="*/ 2147483647 h 350"/>
              <a:gd name="T110" fmla="*/ 2147483647 w 802"/>
              <a:gd name="T111" fmla="*/ 2147483647 h 350"/>
              <a:gd name="T112" fmla="*/ 2147483647 w 802"/>
              <a:gd name="T113" fmla="*/ 2147483647 h 350"/>
              <a:gd name="T114" fmla="*/ 2147483647 w 802"/>
              <a:gd name="T115" fmla="*/ 2147483647 h 350"/>
              <a:gd name="T116" fmla="*/ 2147483647 w 802"/>
              <a:gd name="T117" fmla="*/ 2147483647 h 350"/>
              <a:gd name="T118" fmla="*/ 2147483647 w 802"/>
              <a:gd name="T119" fmla="*/ 2147483647 h 3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02"/>
              <a:gd name="T181" fmla="*/ 0 h 350"/>
              <a:gd name="T182" fmla="*/ 802 w 802"/>
              <a:gd name="T183" fmla="*/ 350 h 3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02" h="350">
                <a:moveTo>
                  <a:pt x="794" y="127"/>
                </a:moveTo>
                <a:lnTo>
                  <a:pt x="762" y="104"/>
                </a:lnTo>
                <a:lnTo>
                  <a:pt x="756" y="96"/>
                </a:lnTo>
                <a:lnTo>
                  <a:pt x="753" y="69"/>
                </a:lnTo>
                <a:lnTo>
                  <a:pt x="747" y="58"/>
                </a:lnTo>
                <a:lnTo>
                  <a:pt x="740" y="52"/>
                </a:lnTo>
                <a:lnTo>
                  <a:pt x="715" y="28"/>
                </a:lnTo>
                <a:lnTo>
                  <a:pt x="696" y="34"/>
                </a:lnTo>
                <a:lnTo>
                  <a:pt x="664" y="32"/>
                </a:lnTo>
                <a:lnTo>
                  <a:pt x="660" y="27"/>
                </a:lnTo>
                <a:lnTo>
                  <a:pt x="612" y="61"/>
                </a:lnTo>
                <a:lnTo>
                  <a:pt x="568" y="56"/>
                </a:lnTo>
                <a:lnTo>
                  <a:pt x="515" y="65"/>
                </a:lnTo>
                <a:lnTo>
                  <a:pt x="499" y="57"/>
                </a:lnTo>
                <a:lnTo>
                  <a:pt x="490" y="63"/>
                </a:lnTo>
                <a:lnTo>
                  <a:pt x="462" y="47"/>
                </a:lnTo>
                <a:lnTo>
                  <a:pt x="441" y="45"/>
                </a:lnTo>
                <a:lnTo>
                  <a:pt x="430" y="21"/>
                </a:lnTo>
                <a:lnTo>
                  <a:pt x="420" y="27"/>
                </a:lnTo>
                <a:lnTo>
                  <a:pt x="408" y="23"/>
                </a:lnTo>
                <a:lnTo>
                  <a:pt x="398" y="17"/>
                </a:lnTo>
                <a:lnTo>
                  <a:pt x="388" y="0"/>
                </a:lnTo>
                <a:lnTo>
                  <a:pt x="373" y="5"/>
                </a:lnTo>
                <a:lnTo>
                  <a:pt x="312" y="4"/>
                </a:lnTo>
                <a:lnTo>
                  <a:pt x="268" y="21"/>
                </a:lnTo>
                <a:lnTo>
                  <a:pt x="215" y="60"/>
                </a:lnTo>
                <a:lnTo>
                  <a:pt x="133" y="48"/>
                </a:lnTo>
                <a:lnTo>
                  <a:pt x="126" y="62"/>
                </a:lnTo>
                <a:lnTo>
                  <a:pt x="132" y="69"/>
                </a:lnTo>
                <a:lnTo>
                  <a:pt x="161" y="79"/>
                </a:lnTo>
                <a:lnTo>
                  <a:pt x="125" y="81"/>
                </a:lnTo>
                <a:lnTo>
                  <a:pt x="118" y="85"/>
                </a:lnTo>
                <a:lnTo>
                  <a:pt x="126" y="94"/>
                </a:lnTo>
                <a:lnTo>
                  <a:pt x="117" y="95"/>
                </a:lnTo>
                <a:lnTo>
                  <a:pt x="79" y="96"/>
                </a:lnTo>
                <a:lnTo>
                  <a:pt x="80" y="92"/>
                </a:lnTo>
                <a:lnTo>
                  <a:pt x="68" y="88"/>
                </a:lnTo>
                <a:lnTo>
                  <a:pt x="71" y="99"/>
                </a:lnTo>
                <a:lnTo>
                  <a:pt x="49" y="93"/>
                </a:lnTo>
                <a:lnTo>
                  <a:pt x="28" y="96"/>
                </a:lnTo>
                <a:lnTo>
                  <a:pt x="10" y="117"/>
                </a:lnTo>
                <a:lnTo>
                  <a:pt x="2" y="126"/>
                </a:lnTo>
                <a:lnTo>
                  <a:pt x="0" y="146"/>
                </a:lnTo>
                <a:lnTo>
                  <a:pt x="32" y="143"/>
                </a:lnTo>
                <a:lnTo>
                  <a:pt x="25" y="162"/>
                </a:lnTo>
                <a:lnTo>
                  <a:pt x="37" y="182"/>
                </a:lnTo>
                <a:lnTo>
                  <a:pt x="29" y="193"/>
                </a:lnTo>
                <a:lnTo>
                  <a:pt x="43" y="206"/>
                </a:lnTo>
                <a:lnTo>
                  <a:pt x="22" y="206"/>
                </a:lnTo>
                <a:lnTo>
                  <a:pt x="14" y="192"/>
                </a:lnTo>
                <a:lnTo>
                  <a:pt x="12" y="208"/>
                </a:lnTo>
                <a:lnTo>
                  <a:pt x="8" y="213"/>
                </a:lnTo>
                <a:lnTo>
                  <a:pt x="44" y="229"/>
                </a:lnTo>
                <a:lnTo>
                  <a:pt x="48" y="236"/>
                </a:lnTo>
                <a:lnTo>
                  <a:pt x="41" y="246"/>
                </a:lnTo>
                <a:lnTo>
                  <a:pt x="45" y="251"/>
                </a:lnTo>
                <a:lnTo>
                  <a:pt x="56" y="249"/>
                </a:lnTo>
                <a:lnTo>
                  <a:pt x="49" y="261"/>
                </a:lnTo>
                <a:lnTo>
                  <a:pt x="62" y="270"/>
                </a:lnTo>
                <a:lnTo>
                  <a:pt x="53" y="279"/>
                </a:lnTo>
                <a:lnTo>
                  <a:pt x="54" y="283"/>
                </a:lnTo>
                <a:lnTo>
                  <a:pt x="89" y="277"/>
                </a:lnTo>
                <a:lnTo>
                  <a:pt x="96" y="279"/>
                </a:lnTo>
                <a:lnTo>
                  <a:pt x="61" y="297"/>
                </a:lnTo>
                <a:lnTo>
                  <a:pt x="57" y="303"/>
                </a:lnTo>
                <a:lnTo>
                  <a:pt x="83" y="295"/>
                </a:lnTo>
                <a:lnTo>
                  <a:pt x="84" y="304"/>
                </a:lnTo>
                <a:lnTo>
                  <a:pt x="94" y="294"/>
                </a:lnTo>
                <a:lnTo>
                  <a:pt x="106" y="293"/>
                </a:lnTo>
                <a:lnTo>
                  <a:pt x="118" y="303"/>
                </a:lnTo>
                <a:lnTo>
                  <a:pt x="123" y="297"/>
                </a:lnTo>
                <a:lnTo>
                  <a:pt x="128" y="300"/>
                </a:lnTo>
                <a:lnTo>
                  <a:pt x="131" y="314"/>
                </a:lnTo>
                <a:lnTo>
                  <a:pt x="138" y="321"/>
                </a:lnTo>
                <a:lnTo>
                  <a:pt x="162" y="328"/>
                </a:lnTo>
                <a:lnTo>
                  <a:pt x="188" y="320"/>
                </a:lnTo>
                <a:lnTo>
                  <a:pt x="195" y="291"/>
                </a:lnTo>
                <a:lnTo>
                  <a:pt x="209" y="290"/>
                </a:lnTo>
                <a:lnTo>
                  <a:pt x="252" y="307"/>
                </a:lnTo>
                <a:lnTo>
                  <a:pt x="274" y="330"/>
                </a:lnTo>
                <a:lnTo>
                  <a:pt x="290" y="335"/>
                </a:lnTo>
                <a:lnTo>
                  <a:pt x="343" y="319"/>
                </a:lnTo>
                <a:lnTo>
                  <a:pt x="361" y="298"/>
                </a:lnTo>
                <a:lnTo>
                  <a:pt x="367" y="294"/>
                </a:lnTo>
                <a:lnTo>
                  <a:pt x="405" y="307"/>
                </a:lnTo>
                <a:lnTo>
                  <a:pt x="411" y="305"/>
                </a:lnTo>
                <a:lnTo>
                  <a:pt x="413" y="297"/>
                </a:lnTo>
                <a:lnTo>
                  <a:pt x="427" y="292"/>
                </a:lnTo>
                <a:lnTo>
                  <a:pt x="434" y="298"/>
                </a:lnTo>
                <a:lnTo>
                  <a:pt x="424" y="310"/>
                </a:lnTo>
                <a:lnTo>
                  <a:pt x="421" y="348"/>
                </a:lnTo>
                <a:lnTo>
                  <a:pt x="429" y="350"/>
                </a:lnTo>
                <a:lnTo>
                  <a:pt x="431" y="345"/>
                </a:lnTo>
                <a:lnTo>
                  <a:pt x="440" y="335"/>
                </a:lnTo>
                <a:lnTo>
                  <a:pt x="441" y="326"/>
                </a:lnTo>
                <a:lnTo>
                  <a:pt x="455" y="323"/>
                </a:lnTo>
                <a:lnTo>
                  <a:pt x="448" y="311"/>
                </a:lnTo>
                <a:lnTo>
                  <a:pt x="454" y="291"/>
                </a:lnTo>
                <a:lnTo>
                  <a:pt x="469" y="296"/>
                </a:lnTo>
                <a:lnTo>
                  <a:pt x="470" y="301"/>
                </a:lnTo>
                <a:lnTo>
                  <a:pt x="489" y="302"/>
                </a:lnTo>
                <a:lnTo>
                  <a:pt x="527" y="286"/>
                </a:lnTo>
                <a:lnTo>
                  <a:pt x="541" y="297"/>
                </a:lnTo>
                <a:lnTo>
                  <a:pt x="563" y="300"/>
                </a:lnTo>
                <a:lnTo>
                  <a:pt x="630" y="275"/>
                </a:lnTo>
                <a:lnTo>
                  <a:pt x="671" y="276"/>
                </a:lnTo>
                <a:lnTo>
                  <a:pt x="692" y="265"/>
                </a:lnTo>
                <a:lnTo>
                  <a:pt x="697" y="274"/>
                </a:lnTo>
                <a:lnTo>
                  <a:pt x="698" y="278"/>
                </a:lnTo>
                <a:lnTo>
                  <a:pt x="723" y="257"/>
                </a:lnTo>
                <a:lnTo>
                  <a:pt x="741" y="263"/>
                </a:lnTo>
                <a:lnTo>
                  <a:pt x="777" y="263"/>
                </a:lnTo>
                <a:lnTo>
                  <a:pt x="784" y="273"/>
                </a:lnTo>
                <a:lnTo>
                  <a:pt x="796" y="273"/>
                </a:lnTo>
                <a:lnTo>
                  <a:pt x="802" y="268"/>
                </a:lnTo>
                <a:lnTo>
                  <a:pt x="801" y="255"/>
                </a:lnTo>
                <a:lnTo>
                  <a:pt x="781" y="236"/>
                </a:lnTo>
                <a:lnTo>
                  <a:pt x="781" y="173"/>
                </a:lnTo>
                <a:lnTo>
                  <a:pt x="774" y="153"/>
                </a:lnTo>
                <a:lnTo>
                  <a:pt x="785" y="146"/>
                </a:lnTo>
                <a:lnTo>
                  <a:pt x="794" y="127"/>
                </a:lnTo>
                <a:close/>
              </a:path>
            </a:pathLst>
          </a:custGeom>
          <a:solidFill>
            <a:schemeClr val="accent1"/>
          </a:solidFill>
          <a:ln w="6350">
            <a:solidFill>
              <a:schemeClr val="tx2"/>
            </a:solidFill>
            <a:round/>
            <a:headEnd/>
            <a:tailEnd/>
          </a:ln>
        </p:spPr>
        <p:txBody>
          <a:bodyPr/>
          <a:lstStyle/>
          <a:p>
            <a:endParaRPr lang="en-US"/>
          </a:p>
        </p:txBody>
      </p:sp>
      <p:sp>
        <p:nvSpPr>
          <p:cNvPr id="690" name="Freeform 1437"/>
          <p:cNvSpPr>
            <a:spLocks/>
          </p:cNvSpPr>
          <p:nvPr/>
        </p:nvSpPr>
        <p:spPr bwMode="auto">
          <a:xfrm>
            <a:off x="6598871" y="3384188"/>
            <a:ext cx="134734" cy="58588"/>
          </a:xfrm>
          <a:custGeom>
            <a:avLst/>
            <a:gdLst>
              <a:gd name="T0" fmla="*/ 0 w 289"/>
              <a:gd name="T1" fmla="*/ 2147483647 h 141"/>
              <a:gd name="T2" fmla="*/ 2147483647 w 289"/>
              <a:gd name="T3" fmla="*/ 0 h 141"/>
              <a:gd name="T4" fmla="*/ 2147483647 w 289"/>
              <a:gd name="T5" fmla="*/ 2147483647 h 141"/>
              <a:gd name="T6" fmla="*/ 2147483647 w 289"/>
              <a:gd name="T7" fmla="*/ 2147483647 h 141"/>
              <a:gd name="T8" fmla="*/ 2147483647 w 289"/>
              <a:gd name="T9" fmla="*/ 2147483647 h 141"/>
              <a:gd name="T10" fmla="*/ 2147483647 w 289"/>
              <a:gd name="T11" fmla="*/ 2147483647 h 141"/>
              <a:gd name="T12" fmla="*/ 2147483647 w 289"/>
              <a:gd name="T13" fmla="*/ 2147483647 h 141"/>
              <a:gd name="T14" fmla="*/ 2147483647 w 289"/>
              <a:gd name="T15" fmla="*/ 2147483647 h 141"/>
              <a:gd name="T16" fmla="*/ 2147483647 w 289"/>
              <a:gd name="T17" fmla="*/ 2147483647 h 141"/>
              <a:gd name="T18" fmla="*/ 2147483647 w 289"/>
              <a:gd name="T19" fmla="*/ 2147483647 h 141"/>
              <a:gd name="T20" fmla="*/ 2147483647 w 289"/>
              <a:gd name="T21" fmla="*/ 2147483647 h 141"/>
              <a:gd name="T22" fmla="*/ 2147483647 w 289"/>
              <a:gd name="T23" fmla="*/ 2147483647 h 141"/>
              <a:gd name="T24" fmla="*/ 2147483647 w 289"/>
              <a:gd name="T25" fmla="*/ 2147483647 h 141"/>
              <a:gd name="T26" fmla="*/ 2147483647 w 289"/>
              <a:gd name="T27" fmla="*/ 2147483647 h 141"/>
              <a:gd name="T28" fmla="*/ 2147483647 w 289"/>
              <a:gd name="T29" fmla="*/ 2147483647 h 141"/>
              <a:gd name="T30" fmla="*/ 2147483647 w 289"/>
              <a:gd name="T31" fmla="*/ 2147483647 h 141"/>
              <a:gd name="T32" fmla="*/ 2147483647 w 289"/>
              <a:gd name="T33" fmla="*/ 2147483647 h 141"/>
              <a:gd name="T34" fmla="*/ 2147483647 w 289"/>
              <a:gd name="T35" fmla="*/ 2147483647 h 141"/>
              <a:gd name="T36" fmla="*/ 2147483647 w 289"/>
              <a:gd name="T37" fmla="*/ 2147483647 h 141"/>
              <a:gd name="T38" fmla="*/ 2147483647 w 289"/>
              <a:gd name="T39" fmla="*/ 2147483647 h 141"/>
              <a:gd name="T40" fmla="*/ 2147483647 w 289"/>
              <a:gd name="T41" fmla="*/ 2147483647 h 141"/>
              <a:gd name="T42" fmla="*/ 2147483647 w 289"/>
              <a:gd name="T43" fmla="*/ 2147483647 h 141"/>
              <a:gd name="T44" fmla="*/ 2147483647 w 289"/>
              <a:gd name="T45" fmla="*/ 2147483647 h 141"/>
              <a:gd name="T46" fmla="*/ 2147483647 w 289"/>
              <a:gd name="T47" fmla="*/ 2147483647 h 141"/>
              <a:gd name="T48" fmla="*/ 2147483647 w 289"/>
              <a:gd name="T49" fmla="*/ 2147483647 h 141"/>
              <a:gd name="T50" fmla="*/ 2147483647 w 289"/>
              <a:gd name="T51" fmla="*/ 2147483647 h 141"/>
              <a:gd name="T52" fmla="*/ 0 w 289"/>
              <a:gd name="T53" fmla="*/ 2147483647 h 1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89"/>
              <a:gd name="T82" fmla="*/ 0 h 141"/>
              <a:gd name="T83" fmla="*/ 289 w 289"/>
              <a:gd name="T84" fmla="*/ 141 h 1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89" h="141">
                <a:moveTo>
                  <a:pt x="0" y="3"/>
                </a:moveTo>
                <a:lnTo>
                  <a:pt x="32" y="0"/>
                </a:lnTo>
                <a:lnTo>
                  <a:pt x="78" y="18"/>
                </a:lnTo>
                <a:lnTo>
                  <a:pt x="129" y="20"/>
                </a:lnTo>
                <a:lnTo>
                  <a:pt x="175" y="55"/>
                </a:lnTo>
                <a:lnTo>
                  <a:pt x="229" y="49"/>
                </a:lnTo>
                <a:lnTo>
                  <a:pt x="250" y="60"/>
                </a:lnTo>
                <a:lnTo>
                  <a:pt x="249" y="78"/>
                </a:lnTo>
                <a:lnTo>
                  <a:pt x="280" y="97"/>
                </a:lnTo>
                <a:lnTo>
                  <a:pt x="269" y="111"/>
                </a:lnTo>
                <a:lnTo>
                  <a:pt x="287" y="128"/>
                </a:lnTo>
                <a:lnTo>
                  <a:pt x="289" y="134"/>
                </a:lnTo>
                <a:lnTo>
                  <a:pt x="286" y="139"/>
                </a:lnTo>
                <a:lnTo>
                  <a:pt x="261" y="134"/>
                </a:lnTo>
                <a:lnTo>
                  <a:pt x="239" y="122"/>
                </a:lnTo>
                <a:lnTo>
                  <a:pt x="218" y="130"/>
                </a:lnTo>
                <a:lnTo>
                  <a:pt x="151" y="141"/>
                </a:lnTo>
                <a:lnTo>
                  <a:pt x="126" y="117"/>
                </a:lnTo>
                <a:lnTo>
                  <a:pt x="107" y="123"/>
                </a:lnTo>
                <a:lnTo>
                  <a:pt x="75" y="121"/>
                </a:lnTo>
                <a:lnTo>
                  <a:pt x="71" y="116"/>
                </a:lnTo>
                <a:lnTo>
                  <a:pt x="79" y="109"/>
                </a:lnTo>
                <a:lnTo>
                  <a:pt x="80" y="89"/>
                </a:lnTo>
                <a:lnTo>
                  <a:pt x="63" y="46"/>
                </a:lnTo>
                <a:lnTo>
                  <a:pt x="46" y="31"/>
                </a:lnTo>
                <a:lnTo>
                  <a:pt x="18" y="21"/>
                </a:lnTo>
                <a:lnTo>
                  <a:pt x="0" y="3"/>
                </a:lnTo>
                <a:close/>
              </a:path>
            </a:pathLst>
          </a:custGeom>
          <a:solidFill>
            <a:schemeClr val="accent1"/>
          </a:solidFill>
          <a:ln w="6350">
            <a:solidFill>
              <a:schemeClr val="tx2"/>
            </a:solidFill>
            <a:round/>
            <a:headEnd/>
            <a:tailEnd/>
          </a:ln>
        </p:spPr>
        <p:txBody>
          <a:bodyPr/>
          <a:lstStyle/>
          <a:p>
            <a:endParaRPr lang="en-US"/>
          </a:p>
        </p:txBody>
      </p:sp>
      <p:sp>
        <p:nvSpPr>
          <p:cNvPr id="691" name="Freeform 1438"/>
          <p:cNvSpPr>
            <a:spLocks/>
          </p:cNvSpPr>
          <p:nvPr/>
        </p:nvSpPr>
        <p:spPr bwMode="auto">
          <a:xfrm>
            <a:off x="6319370" y="3423671"/>
            <a:ext cx="60200" cy="45852"/>
          </a:xfrm>
          <a:custGeom>
            <a:avLst/>
            <a:gdLst>
              <a:gd name="T0" fmla="*/ 2147483647 w 130"/>
              <a:gd name="T1" fmla="*/ 2147483647 h 111"/>
              <a:gd name="T2" fmla="*/ 2147483647 w 130"/>
              <a:gd name="T3" fmla="*/ 2147483647 h 111"/>
              <a:gd name="T4" fmla="*/ 2147483647 w 130"/>
              <a:gd name="T5" fmla="*/ 0 h 111"/>
              <a:gd name="T6" fmla="*/ 2147483647 w 130"/>
              <a:gd name="T7" fmla="*/ 2147483647 h 111"/>
              <a:gd name="T8" fmla="*/ 2147483647 w 130"/>
              <a:gd name="T9" fmla="*/ 2147483647 h 111"/>
              <a:gd name="T10" fmla="*/ 2147483647 w 130"/>
              <a:gd name="T11" fmla="*/ 2147483647 h 111"/>
              <a:gd name="T12" fmla="*/ 2147483647 w 130"/>
              <a:gd name="T13" fmla="*/ 2147483647 h 111"/>
              <a:gd name="T14" fmla="*/ 2147483647 w 130"/>
              <a:gd name="T15" fmla="*/ 2147483647 h 111"/>
              <a:gd name="T16" fmla="*/ 0 w 130"/>
              <a:gd name="T17" fmla="*/ 2147483647 h 111"/>
              <a:gd name="T18" fmla="*/ 2147483647 w 130"/>
              <a:gd name="T19" fmla="*/ 2147483647 h 111"/>
              <a:gd name="T20" fmla="*/ 2147483647 w 130"/>
              <a:gd name="T21" fmla="*/ 2147483647 h 111"/>
              <a:gd name="T22" fmla="*/ 2147483647 w 130"/>
              <a:gd name="T23" fmla="*/ 2147483647 h 111"/>
              <a:gd name="T24" fmla="*/ 2147483647 w 130"/>
              <a:gd name="T25" fmla="*/ 2147483647 h 111"/>
              <a:gd name="T26" fmla="*/ 2147483647 w 130"/>
              <a:gd name="T27" fmla="*/ 2147483647 h 111"/>
              <a:gd name="T28" fmla="*/ 2147483647 w 130"/>
              <a:gd name="T29" fmla="*/ 2147483647 h 111"/>
              <a:gd name="T30" fmla="*/ 2147483647 w 130"/>
              <a:gd name="T31" fmla="*/ 2147483647 h 111"/>
              <a:gd name="T32" fmla="*/ 2147483647 w 130"/>
              <a:gd name="T33" fmla="*/ 2147483647 h 111"/>
              <a:gd name="T34" fmla="*/ 2147483647 w 130"/>
              <a:gd name="T35" fmla="*/ 2147483647 h 111"/>
              <a:gd name="T36" fmla="*/ 2147483647 w 130"/>
              <a:gd name="T37" fmla="*/ 2147483647 h 1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0"/>
              <a:gd name="T58" fmla="*/ 0 h 111"/>
              <a:gd name="T59" fmla="*/ 130 w 130"/>
              <a:gd name="T60" fmla="*/ 111 h 1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0" h="111">
                <a:moveTo>
                  <a:pt x="85" y="7"/>
                </a:moveTo>
                <a:lnTo>
                  <a:pt x="61" y="8"/>
                </a:lnTo>
                <a:lnTo>
                  <a:pt x="47" y="0"/>
                </a:lnTo>
                <a:lnTo>
                  <a:pt x="13" y="14"/>
                </a:lnTo>
                <a:lnTo>
                  <a:pt x="22" y="24"/>
                </a:lnTo>
                <a:lnTo>
                  <a:pt x="21" y="33"/>
                </a:lnTo>
                <a:lnTo>
                  <a:pt x="12" y="40"/>
                </a:lnTo>
                <a:lnTo>
                  <a:pt x="8" y="63"/>
                </a:lnTo>
                <a:lnTo>
                  <a:pt x="0" y="75"/>
                </a:lnTo>
                <a:lnTo>
                  <a:pt x="8" y="81"/>
                </a:lnTo>
                <a:lnTo>
                  <a:pt x="34" y="79"/>
                </a:lnTo>
                <a:lnTo>
                  <a:pt x="8" y="94"/>
                </a:lnTo>
                <a:lnTo>
                  <a:pt x="7" y="111"/>
                </a:lnTo>
                <a:lnTo>
                  <a:pt x="67" y="59"/>
                </a:lnTo>
                <a:lnTo>
                  <a:pt x="126" y="57"/>
                </a:lnTo>
                <a:lnTo>
                  <a:pt x="130" y="43"/>
                </a:lnTo>
                <a:lnTo>
                  <a:pt x="92" y="28"/>
                </a:lnTo>
                <a:lnTo>
                  <a:pt x="86" y="21"/>
                </a:lnTo>
                <a:lnTo>
                  <a:pt x="85" y="7"/>
                </a:lnTo>
                <a:close/>
              </a:path>
            </a:pathLst>
          </a:custGeom>
          <a:solidFill>
            <a:schemeClr val="accent1"/>
          </a:solidFill>
          <a:ln w="6350">
            <a:solidFill>
              <a:schemeClr val="tx2"/>
            </a:solidFill>
            <a:round/>
            <a:headEnd/>
            <a:tailEnd/>
          </a:ln>
        </p:spPr>
        <p:txBody>
          <a:bodyPr/>
          <a:lstStyle/>
          <a:p>
            <a:endParaRPr lang="en-US"/>
          </a:p>
        </p:txBody>
      </p:sp>
      <p:sp>
        <p:nvSpPr>
          <p:cNvPr id="692" name="Freeform 1439"/>
          <p:cNvSpPr>
            <a:spLocks/>
          </p:cNvSpPr>
          <p:nvPr/>
        </p:nvSpPr>
        <p:spPr bwMode="auto">
          <a:xfrm>
            <a:off x="6200403" y="3430039"/>
            <a:ext cx="129001" cy="94250"/>
          </a:xfrm>
          <a:custGeom>
            <a:avLst/>
            <a:gdLst>
              <a:gd name="T0" fmla="*/ 0 w 276"/>
              <a:gd name="T1" fmla="*/ 2147483647 h 230"/>
              <a:gd name="T2" fmla="*/ 2147483647 w 276"/>
              <a:gd name="T3" fmla="*/ 2147483647 h 230"/>
              <a:gd name="T4" fmla="*/ 2147483647 w 276"/>
              <a:gd name="T5" fmla="*/ 2147483647 h 230"/>
              <a:gd name="T6" fmla="*/ 2147483647 w 276"/>
              <a:gd name="T7" fmla="*/ 2147483647 h 230"/>
              <a:gd name="T8" fmla="*/ 2147483647 w 276"/>
              <a:gd name="T9" fmla="*/ 2147483647 h 230"/>
              <a:gd name="T10" fmla="*/ 2147483647 w 276"/>
              <a:gd name="T11" fmla="*/ 2147483647 h 230"/>
              <a:gd name="T12" fmla="*/ 2147483647 w 276"/>
              <a:gd name="T13" fmla="*/ 2147483647 h 230"/>
              <a:gd name="T14" fmla="*/ 2147483647 w 276"/>
              <a:gd name="T15" fmla="*/ 2147483647 h 230"/>
              <a:gd name="T16" fmla="*/ 2147483647 w 276"/>
              <a:gd name="T17" fmla="*/ 2147483647 h 230"/>
              <a:gd name="T18" fmla="*/ 2147483647 w 276"/>
              <a:gd name="T19" fmla="*/ 2147483647 h 230"/>
              <a:gd name="T20" fmla="*/ 2147483647 w 276"/>
              <a:gd name="T21" fmla="*/ 2147483647 h 230"/>
              <a:gd name="T22" fmla="*/ 2147483647 w 276"/>
              <a:gd name="T23" fmla="*/ 2147483647 h 230"/>
              <a:gd name="T24" fmla="*/ 2147483647 w 276"/>
              <a:gd name="T25" fmla="*/ 0 h 230"/>
              <a:gd name="T26" fmla="*/ 2147483647 w 276"/>
              <a:gd name="T27" fmla="*/ 2147483647 h 230"/>
              <a:gd name="T28" fmla="*/ 2147483647 w 276"/>
              <a:gd name="T29" fmla="*/ 2147483647 h 230"/>
              <a:gd name="T30" fmla="*/ 2147483647 w 276"/>
              <a:gd name="T31" fmla="*/ 2147483647 h 230"/>
              <a:gd name="T32" fmla="*/ 2147483647 w 276"/>
              <a:gd name="T33" fmla="*/ 2147483647 h 230"/>
              <a:gd name="T34" fmla="*/ 2147483647 w 276"/>
              <a:gd name="T35" fmla="*/ 2147483647 h 230"/>
              <a:gd name="T36" fmla="*/ 2147483647 w 276"/>
              <a:gd name="T37" fmla="*/ 2147483647 h 230"/>
              <a:gd name="T38" fmla="*/ 2147483647 w 276"/>
              <a:gd name="T39" fmla="*/ 2147483647 h 230"/>
              <a:gd name="T40" fmla="*/ 2147483647 w 276"/>
              <a:gd name="T41" fmla="*/ 2147483647 h 230"/>
              <a:gd name="T42" fmla="*/ 2147483647 w 276"/>
              <a:gd name="T43" fmla="*/ 2147483647 h 230"/>
              <a:gd name="T44" fmla="*/ 2147483647 w 276"/>
              <a:gd name="T45" fmla="*/ 2147483647 h 230"/>
              <a:gd name="T46" fmla="*/ 2147483647 w 276"/>
              <a:gd name="T47" fmla="*/ 2147483647 h 230"/>
              <a:gd name="T48" fmla="*/ 2147483647 w 276"/>
              <a:gd name="T49" fmla="*/ 2147483647 h 230"/>
              <a:gd name="T50" fmla="*/ 2147483647 w 276"/>
              <a:gd name="T51" fmla="*/ 2147483647 h 230"/>
              <a:gd name="T52" fmla="*/ 2147483647 w 276"/>
              <a:gd name="T53" fmla="*/ 2147483647 h 230"/>
              <a:gd name="T54" fmla="*/ 2147483647 w 276"/>
              <a:gd name="T55" fmla="*/ 2147483647 h 230"/>
              <a:gd name="T56" fmla="*/ 2147483647 w 276"/>
              <a:gd name="T57" fmla="*/ 2147483647 h 230"/>
              <a:gd name="T58" fmla="*/ 2147483647 w 276"/>
              <a:gd name="T59" fmla="*/ 2147483647 h 230"/>
              <a:gd name="T60" fmla="*/ 2147483647 w 276"/>
              <a:gd name="T61" fmla="*/ 2147483647 h 230"/>
              <a:gd name="T62" fmla="*/ 2147483647 w 276"/>
              <a:gd name="T63" fmla="*/ 2147483647 h 230"/>
              <a:gd name="T64" fmla="*/ 2147483647 w 276"/>
              <a:gd name="T65" fmla="*/ 2147483647 h 230"/>
              <a:gd name="T66" fmla="*/ 2147483647 w 276"/>
              <a:gd name="T67" fmla="*/ 2147483647 h 230"/>
              <a:gd name="T68" fmla="*/ 2147483647 w 276"/>
              <a:gd name="T69" fmla="*/ 2147483647 h 230"/>
              <a:gd name="T70" fmla="*/ 2147483647 w 276"/>
              <a:gd name="T71" fmla="*/ 2147483647 h 230"/>
              <a:gd name="T72" fmla="*/ 2147483647 w 276"/>
              <a:gd name="T73" fmla="*/ 2147483647 h 230"/>
              <a:gd name="T74" fmla="*/ 2147483647 w 276"/>
              <a:gd name="T75" fmla="*/ 2147483647 h 230"/>
              <a:gd name="T76" fmla="*/ 2147483647 w 276"/>
              <a:gd name="T77" fmla="*/ 2147483647 h 230"/>
              <a:gd name="T78" fmla="*/ 2147483647 w 276"/>
              <a:gd name="T79" fmla="*/ 2147483647 h 230"/>
              <a:gd name="T80" fmla="*/ 2147483647 w 276"/>
              <a:gd name="T81" fmla="*/ 2147483647 h 230"/>
              <a:gd name="T82" fmla="*/ 2147483647 w 276"/>
              <a:gd name="T83" fmla="*/ 2147483647 h 230"/>
              <a:gd name="T84" fmla="*/ 2147483647 w 276"/>
              <a:gd name="T85" fmla="*/ 2147483647 h 230"/>
              <a:gd name="T86" fmla="*/ 2147483647 w 276"/>
              <a:gd name="T87" fmla="*/ 2147483647 h 230"/>
              <a:gd name="T88" fmla="*/ 2147483647 w 276"/>
              <a:gd name="T89" fmla="*/ 2147483647 h 230"/>
              <a:gd name="T90" fmla="*/ 2147483647 w 276"/>
              <a:gd name="T91" fmla="*/ 2147483647 h 230"/>
              <a:gd name="T92" fmla="*/ 2147483647 w 276"/>
              <a:gd name="T93" fmla="*/ 2147483647 h 230"/>
              <a:gd name="T94" fmla="*/ 2147483647 w 276"/>
              <a:gd name="T95" fmla="*/ 2147483647 h 230"/>
              <a:gd name="T96" fmla="*/ 2147483647 w 276"/>
              <a:gd name="T97" fmla="*/ 2147483647 h 230"/>
              <a:gd name="T98" fmla="*/ 2147483647 w 276"/>
              <a:gd name="T99" fmla="*/ 2147483647 h 230"/>
              <a:gd name="T100" fmla="*/ 2147483647 w 276"/>
              <a:gd name="T101" fmla="*/ 2147483647 h 230"/>
              <a:gd name="T102" fmla="*/ 2147483647 w 276"/>
              <a:gd name="T103" fmla="*/ 2147483647 h 230"/>
              <a:gd name="T104" fmla="*/ 2147483647 w 276"/>
              <a:gd name="T105" fmla="*/ 2147483647 h 230"/>
              <a:gd name="T106" fmla="*/ 2147483647 w 276"/>
              <a:gd name="T107" fmla="*/ 2147483647 h 230"/>
              <a:gd name="T108" fmla="*/ 2147483647 w 276"/>
              <a:gd name="T109" fmla="*/ 2147483647 h 230"/>
              <a:gd name="T110" fmla="*/ 2147483647 w 276"/>
              <a:gd name="T111" fmla="*/ 2147483647 h 230"/>
              <a:gd name="T112" fmla="*/ 2147483647 w 276"/>
              <a:gd name="T113" fmla="*/ 2147483647 h 230"/>
              <a:gd name="T114" fmla="*/ 2147483647 w 276"/>
              <a:gd name="T115" fmla="*/ 2147483647 h 230"/>
              <a:gd name="T116" fmla="*/ 2147483647 w 276"/>
              <a:gd name="T117" fmla="*/ 2147483647 h 230"/>
              <a:gd name="T118" fmla="*/ 2147483647 w 276"/>
              <a:gd name="T119" fmla="*/ 2147483647 h 230"/>
              <a:gd name="T120" fmla="*/ 2147483647 w 276"/>
              <a:gd name="T121" fmla="*/ 2147483647 h 230"/>
              <a:gd name="T122" fmla="*/ 0 w 276"/>
              <a:gd name="T123" fmla="*/ 2147483647 h 2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6"/>
              <a:gd name="T187" fmla="*/ 0 h 230"/>
              <a:gd name="T188" fmla="*/ 276 w 276"/>
              <a:gd name="T189" fmla="*/ 230 h 2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6" h="230">
                <a:moveTo>
                  <a:pt x="0" y="119"/>
                </a:moveTo>
                <a:lnTo>
                  <a:pt x="39" y="72"/>
                </a:lnTo>
                <a:lnTo>
                  <a:pt x="37" y="52"/>
                </a:lnTo>
                <a:lnTo>
                  <a:pt x="65" y="48"/>
                </a:lnTo>
                <a:lnTo>
                  <a:pt x="87" y="35"/>
                </a:lnTo>
                <a:lnTo>
                  <a:pt x="104" y="35"/>
                </a:lnTo>
                <a:lnTo>
                  <a:pt x="121" y="23"/>
                </a:lnTo>
                <a:lnTo>
                  <a:pt x="186" y="12"/>
                </a:lnTo>
                <a:lnTo>
                  <a:pt x="230" y="29"/>
                </a:lnTo>
                <a:lnTo>
                  <a:pt x="246" y="25"/>
                </a:lnTo>
                <a:lnTo>
                  <a:pt x="256" y="16"/>
                </a:lnTo>
                <a:lnTo>
                  <a:pt x="258" y="1"/>
                </a:lnTo>
                <a:lnTo>
                  <a:pt x="267" y="0"/>
                </a:lnTo>
                <a:lnTo>
                  <a:pt x="276" y="10"/>
                </a:lnTo>
                <a:lnTo>
                  <a:pt x="275" y="19"/>
                </a:lnTo>
                <a:lnTo>
                  <a:pt x="266" y="26"/>
                </a:lnTo>
                <a:lnTo>
                  <a:pt x="262" y="49"/>
                </a:lnTo>
                <a:lnTo>
                  <a:pt x="254" y="61"/>
                </a:lnTo>
                <a:lnTo>
                  <a:pt x="210" y="45"/>
                </a:lnTo>
                <a:lnTo>
                  <a:pt x="198" y="51"/>
                </a:lnTo>
                <a:lnTo>
                  <a:pt x="184" y="48"/>
                </a:lnTo>
                <a:lnTo>
                  <a:pt x="151" y="67"/>
                </a:lnTo>
                <a:lnTo>
                  <a:pt x="170" y="78"/>
                </a:lnTo>
                <a:lnTo>
                  <a:pt x="179" y="92"/>
                </a:lnTo>
                <a:lnTo>
                  <a:pt x="158" y="81"/>
                </a:lnTo>
                <a:lnTo>
                  <a:pt x="154" y="88"/>
                </a:lnTo>
                <a:lnTo>
                  <a:pt x="164" y="95"/>
                </a:lnTo>
                <a:lnTo>
                  <a:pt x="164" y="105"/>
                </a:lnTo>
                <a:lnTo>
                  <a:pt x="153" y="91"/>
                </a:lnTo>
                <a:lnTo>
                  <a:pt x="142" y="88"/>
                </a:lnTo>
                <a:lnTo>
                  <a:pt x="151" y="103"/>
                </a:lnTo>
                <a:lnTo>
                  <a:pt x="147" y="106"/>
                </a:lnTo>
                <a:lnTo>
                  <a:pt x="135" y="88"/>
                </a:lnTo>
                <a:lnTo>
                  <a:pt x="117" y="76"/>
                </a:lnTo>
                <a:lnTo>
                  <a:pt x="119" y="67"/>
                </a:lnTo>
                <a:lnTo>
                  <a:pt x="108" y="71"/>
                </a:lnTo>
                <a:lnTo>
                  <a:pt x="108" y="104"/>
                </a:lnTo>
                <a:lnTo>
                  <a:pt x="135" y="150"/>
                </a:lnTo>
                <a:lnTo>
                  <a:pt x="128" y="151"/>
                </a:lnTo>
                <a:lnTo>
                  <a:pt x="126" y="141"/>
                </a:lnTo>
                <a:lnTo>
                  <a:pt x="119" y="140"/>
                </a:lnTo>
                <a:lnTo>
                  <a:pt x="122" y="158"/>
                </a:lnTo>
                <a:lnTo>
                  <a:pt x="103" y="162"/>
                </a:lnTo>
                <a:lnTo>
                  <a:pt x="135" y="177"/>
                </a:lnTo>
                <a:lnTo>
                  <a:pt x="139" y="186"/>
                </a:lnTo>
                <a:lnTo>
                  <a:pt x="166" y="201"/>
                </a:lnTo>
                <a:lnTo>
                  <a:pt x="167" y="230"/>
                </a:lnTo>
                <a:lnTo>
                  <a:pt x="148" y="214"/>
                </a:lnTo>
                <a:lnTo>
                  <a:pt x="127" y="216"/>
                </a:lnTo>
                <a:lnTo>
                  <a:pt x="120" y="212"/>
                </a:lnTo>
                <a:lnTo>
                  <a:pt x="128" y="210"/>
                </a:lnTo>
                <a:lnTo>
                  <a:pt x="129" y="204"/>
                </a:lnTo>
                <a:lnTo>
                  <a:pt x="109" y="191"/>
                </a:lnTo>
                <a:lnTo>
                  <a:pt x="105" y="195"/>
                </a:lnTo>
                <a:lnTo>
                  <a:pt x="53" y="190"/>
                </a:lnTo>
                <a:lnTo>
                  <a:pt x="44" y="194"/>
                </a:lnTo>
                <a:lnTo>
                  <a:pt x="25" y="164"/>
                </a:lnTo>
                <a:lnTo>
                  <a:pt x="42" y="164"/>
                </a:lnTo>
                <a:lnTo>
                  <a:pt x="39" y="158"/>
                </a:lnTo>
                <a:lnTo>
                  <a:pt x="27" y="153"/>
                </a:lnTo>
                <a:lnTo>
                  <a:pt x="24" y="160"/>
                </a:lnTo>
                <a:lnTo>
                  <a:pt x="0" y="119"/>
                </a:lnTo>
                <a:close/>
              </a:path>
            </a:pathLst>
          </a:custGeom>
          <a:solidFill>
            <a:schemeClr val="accent1"/>
          </a:solidFill>
          <a:ln w="6350">
            <a:solidFill>
              <a:schemeClr val="tx2"/>
            </a:solidFill>
            <a:round/>
            <a:headEnd/>
            <a:tailEnd/>
          </a:ln>
        </p:spPr>
        <p:txBody>
          <a:bodyPr/>
          <a:lstStyle/>
          <a:p>
            <a:endParaRPr lang="en-US"/>
          </a:p>
        </p:txBody>
      </p:sp>
      <p:sp>
        <p:nvSpPr>
          <p:cNvPr id="693" name="Freeform 1440"/>
          <p:cNvSpPr>
            <a:spLocks/>
          </p:cNvSpPr>
          <p:nvPr/>
        </p:nvSpPr>
        <p:spPr bwMode="auto">
          <a:xfrm>
            <a:off x="6243403" y="3370178"/>
            <a:ext cx="129001" cy="70050"/>
          </a:xfrm>
          <a:custGeom>
            <a:avLst/>
            <a:gdLst>
              <a:gd name="T0" fmla="*/ 2147483647 w 270"/>
              <a:gd name="T1" fmla="*/ 2147483647 h 169"/>
              <a:gd name="T2" fmla="*/ 2147483647 w 270"/>
              <a:gd name="T3" fmla="*/ 2147483647 h 169"/>
              <a:gd name="T4" fmla="*/ 2147483647 w 270"/>
              <a:gd name="T5" fmla="*/ 2147483647 h 169"/>
              <a:gd name="T6" fmla="*/ 2147483647 w 270"/>
              <a:gd name="T7" fmla="*/ 2147483647 h 169"/>
              <a:gd name="T8" fmla="*/ 2147483647 w 270"/>
              <a:gd name="T9" fmla="*/ 2147483647 h 169"/>
              <a:gd name="T10" fmla="*/ 2147483647 w 270"/>
              <a:gd name="T11" fmla="*/ 2147483647 h 169"/>
              <a:gd name="T12" fmla="*/ 0 w 270"/>
              <a:gd name="T13" fmla="*/ 2147483647 h 169"/>
              <a:gd name="T14" fmla="*/ 2147483647 w 270"/>
              <a:gd name="T15" fmla="*/ 2147483647 h 169"/>
              <a:gd name="T16" fmla="*/ 2147483647 w 270"/>
              <a:gd name="T17" fmla="*/ 0 h 169"/>
              <a:gd name="T18" fmla="*/ 2147483647 w 270"/>
              <a:gd name="T19" fmla="*/ 2147483647 h 169"/>
              <a:gd name="T20" fmla="*/ 2147483647 w 270"/>
              <a:gd name="T21" fmla="*/ 2147483647 h 169"/>
              <a:gd name="T22" fmla="*/ 2147483647 w 270"/>
              <a:gd name="T23" fmla="*/ 2147483647 h 169"/>
              <a:gd name="T24" fmla="*/ 2147483647 w 270"/>
              <a:gd name="T25" fmla="*/ 2147483647 h 169"/>
              <a:gd name="T26" fmla="*/ 2147483647 w 270"/>
              <a:gd name="T27" fmla="*/ 2147483647 h 169"/>
              <a:gd name="T28" fmla="*/ 2147483647 w 270"/>
              <a:gd name="T29" fmla="*/ 2147483647 h 169"/>
              <a:gd name="T30" fmla="*/ 2147483647 w 270"/>
              <a:gd name="T31" fmla="*/ 2147483647 h 169"/>
              <a:gd name="T32" fmla="*/ 2147483647 w 270"/>
              <a:gd name="T33" fmla="*/ 2147483647 h 169"/>
              <a:gd name="T34" fmla="*/ 2147483647 w 270"/>
              <a:gd name="T35" fmla="*/ 2147483647 h 169"/>
              <a:gd name="T36" fmla="*/ 2147483647 w 270"/>
              <a:gd name="T37" fmla="*/ 2147483647 h 169"/>
              <a:gd name="T38" fmla="*/ 2147483647 w 270"/>
              <a:gd name="T39" fmla="*/ 2147483647 h 169"/>
              <a:gd name="T40" fmla="*/ 2147483647 w 270"/>
              <a:gd name="T41" fmla="*/ 2147483647 h 169"/>
              <a:gd name="T42" fmla="*/ 2147483647 w 270"/>
              <a:gd name="T43" fmla="*/ 2147483647 h 169"/>
              <a:gd name="T44" fmla="*/ 2147483647 w 270"/>
              <a:gd name="T45" fmla="*/ 2147483647 h 169"/>
              <a:gd name="T46" fmla="*/ 2147483647 w 270"/>
              <a:gd name="T47" fmla="*/ 2147483647 h 169"/>
              <a:gd name="T48" fmla="*/ 2147483647 w 270"/>
              <a:gd name="T49" fmla="*/ 2147483647 h 169"/>
              <a:gd name="T50" fmla="*/ 2147483647 w 270"/>
              <a:gd name="T51" fmla="*/ 2147483647 h 169"/>
              <a:gd name="T52" fmla="*/ 2147483647 w 270"/>
              <a:gd name="T53" fmla="*/ 2147483647 h 169"/>
              <a:gd name="T54" fmla="*/ 2147483647 w 270"/>
              <a:gd name="T55" fmla="*/ 2147483647 h 169"/>
              <a:gd name="T56" fmla="*/ 2147483647 w 270"/>
              <a:gd name="T57" fmla="*/ 2147483647 h 169"/>
              <a:gd name="T58" fmla="*/ 2147483647 w 270"/>
              <a:gd name="T59" fmla="*/ 2147483647 h 169"/>
              <a:gd name="T60" fmla="*/ 2147483647 w 270"/>
              <a:gd name="T61" fmla="*/ 2147483647 h 169"/>
              <a:gd name="T62" fmla="*/ 2147483647 w 270"/>
              <a:gd name="T63" fmla="*/ 2147483647 h 169"/>
              <a:gd name="T64" fmla="*/ 2147483647 w 270"/>
              <a:gd name="T65" fmla="*/ 2147483647 h 1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0"/>
              <a:gd name="T100" fmla="*/ 0 h 169"/>
              <a:gd name="T101" fmla="*/ 270 w 270"/>
              <a:gd name="T102" fmla="*/ 169 h 1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0" h="169">
                <a:moveTo>
                  <a:pt x="25" y="163"/>
                </a:moveTo>
                <a:lnTo>
                  <a:pt x="19" y="126"/>
                </a:lnTo>
                <a:lnTo>
                  <a:pt x="2" y="111"/>
                </a:lnTo>
                <a:lnTo>
                  <a:pt x="2" y="93"/>
                </a:lnTo>
                <a:lnTo>
                  <a:pt x="20" y="64"/>
                </a:lnTo>
                <a:lnTo>
                  <a:pt x="2" y="39"/>
                </a:lnTo>
                <a:lnTo>
                  <a:pt x="0" y="23"/>
                </a:lnTo>
                <a:lnTo>
                  <a:pt x="2" y="6"/>
                </a:lnTo>
                <a:lnTo>
                  <a:pt x="15" y="0"/>
                </a:lnTo>
                <a:lnTo>
                  <a:pt x="25" y="4"/>
                </a:lnTo>
                <a:lnTo>
                  <a:pt x="20" y="15"/>
                </a:lnTo>
                <a:lnTo>
                  <a:pt x="28" y="22"/>
                </a:lnTo>
                <a:lnTo>
                  <a:pt x="133" y="31"/>
                </a:lnTo>
                <a:lnTo>
                  <a:pt x="197" y="4"/>
                </a:lnTo>
                <a:lnTo>
                  <a:pt x="213" y="4"/>
                </a:lnTo>
                <a:lnTo>
                  <a:pt x="240" y="14"/>
                </a:lnTo>
                <a:lnTo>
                  <a:pt x="257" y="26"/>
                </a:lnTo>
                <a:lnTo>
                  <a:pt x="270" y="24"/>
                </a:lnTo>
                <a:lnTo>
                  <a:pt x="264" y="45"/>
                </a:lnTo>
                <a:lnTo>
                  <a:pt x="249" y="49"/>
                </a:lnTo>
                <a:lnTo>
                  <a:pt x="239" y="61"/>
                </a:lnTo>
                <a:lnTo>
                  <a:pt x="239" y="84"/>
                </a:lnTo>
                <a:lnTo>
                  <a:pt x="222" y="98"/>
                </a:lnTo>
                <a:lnTo>
                  <a:pt x="243" y="133"/>
                </a:lnTo>
                <a:lnTo>
                  <a:pt x="219" y="134"/>
                </a:lnTo>
                <a:lnTo>
                  <a:pt x="205" y="126"/>
                </a:lnTo>
                <a:lnTo>
                  <a:pt x="171" y="140"/>
                </a:lnTo>
                <a:lnTo>
                  <a:pt x="162" y="141"/>
                </a:lnTo>
                <a:lnTo>
                  <a:pt x="160" y="156"/>
                </a:lnTo>
                <a:lnTo>
                  <a:pt x="150" y="165"/>
                </a:lnTo>
                <a:lnTo>
                  <a:pt x="134" y="169"/>
                </a:lnTo>
                <a:lnTo>
                  <a:pt x="90" y="152"/>
                </a:lnTo>
                <a:lnTo>
                  <a:pt x="25" y="163"/>
                </a:lnTo>
                <a:close/>
              </a:path>
            </a:pathLst>
          </a:custGeom>
          <a:solidFill>
            <a:schemeClr val="accent1"/>
          </a:solidFill>
          <a:ln w="6350">
            <a:solidFill>
              <a:schemeClr val="tx2"/>
            </a:solidFill>
            <a:round/>
            <a:headEnd/>
            <a:tailEnd/>
          </a:ln>
        </p:spPr>
        <p:txBody>
          <a:bodyPr/>
          <a:lstStyle/>
          <a:p>
            <a:endParaRPr lang="en-US"/>
          </a:p>
        </p:txBody>
      </p:sp>
      <p:sp>
        <p:nvSpPr>
          <p:cNvPr id="694" name="Freeform 1441"/>
          <p:cNvSpPr>
            <a:spLocks/>
          </p:cNvSpPr>
          <p:nvPr/>
        </p:nvSpPr>
        <p:spPr bwMode="auto">
          <a:xfrm>
            <a:off x="6117270" y="3258096"/>
            <a:ext cx="134734" cy="71324"/>
          </a:xfrm>
          <a:custGeom>
            <a:avLst/>
            <a:gdLst>
              <a:gd name="T0" fmla="*/ 2147483647 w 291"/>
              <a:gd name="T1" fmla="*/ 2147483647 h 173"/>
              <a:gd name="T2" fmla="*/ 2147483647 w 291"/>
              <a:gd name="T3" fmla="*/ 2147483647 h 173"/>
              <a:gd name="T4" fmla="*/ 2147483647 w 291"/>
              <a:gd name="T5" fmla="*/ 2147483647 h 173"/>
              <a:gd name="T6" fmla="*/ 2147483647 w 291"/>
              <a:gd name="T7" fmla="*/ 0 h 173"/>
              <a:gd name="T8" fmla="*/ 2147483647 w 291"/>
              <a:gd name="T9" fmla="*/ 2147483647 h 173"/>
              <a:gd name="T10" fmla="*/ 2147483647 w 291"/>
              <a:gd name="T11" fmla="*/ 2147483647 h 173"/>
              <a:gd name="T12" fmla="*/ 2147483647 w 291"/>
              <a:gd name="T13" fmla="*/ 2147483647 h 173"/>
              <a:gd name="T14" fmla="*/ 2147483647 w 291"/>
              <a:gd name="T15" fmla="*/ 2147483647 h 173"/>
              <a:gd name="T16" fmla="*/ 2147483647 w 291"/>
              <a:gd name="T17" fmla="*/ 2147483647 h 173"/>
              <a:gd name="T18" fmla="*/ 2147483647 w 291"/>
              <a:gd name="T19" fmla="*/ 2147483647 h 173"/>
              <a:gd name="T20" fmla="*/ 2147483647 w 291"/>
              <a:gd name="T21" fmla="*/ 2147483647 h 173"/>
              <a:gd name="T22" fmla="*/ 2147483647 w 291"/>
              <a:gd name="T23" fmla="*/ 2147483647 h 173"/>
              <a:gd name="T24" fmla="*/ 2147483647 w 291"/>
              <a:gd name="T25" fmla="*/ 2147483647 h 173"/>
              <a:gd name="T26" fmla="*/ 2147483647 w 291"/>
              <a:gd name="T27" fmla="*/ 2147483647 h 173"/>
              <a:gd name="T28" fmla="*/ 2147483647 w 291"/>
              <a:gd name="T29" fmla="*/ 2147483647 h 173"/>
              <a:gd name="T30" fmla="*/ 2147483647 w 291"/>
              <a:gd name="T31" fmla="*/ 2147483647 h 173"/>
              <a:gd name="T32" fmla="*/ 2147483647 w 291"/>
              <a:gd name="T33" fmla="*/ 2147483647 h 173"/>
              <a:gd name="T34" fmla="*/ 2147483647 w 291"/>
              <a:gd name="T35" fmla="*/ 2147483647 h 173"/>
              <a:gd name="T36" fmla="*/ 0 w 291"/>
              <a:gd name="T37" fmla="*/ 2147483647 h 173"/>
              <a:gd name="T38" fmla="*/ 2147483647 w 291"/>
              <a:gd name="T39" fmla="*/ 2147483647 h 173"/>
              <a:gd name="T40" fmla="*/ 2147483647 w 291"/>
              <a:gd name="T41" fmla="*/ 2147483647 h 173"/>
              <a:gd name="T42" fmla="*/ 2147483647 w 291"/>
              <a:gd name="T43" fmla="*/ 2147483647 h 173"/>
              <a:gd name="T44" fmla="*/ 2147483647 w 291"/>
              <a:gd name="T45" fmla="*/ 2147483647 h 173"/>
              <a:gd name="T46" fmla="*/ 2147483647 w 291"/>
              <a:gd name="T47" fmla="*/ 2147483647 h 173"/>
              <a:gd name="T48" fmla="*/ 2147483647 w 291"/>
              <a:gd name="T49" fmla="*/ 2147483647 h 173"/>
              <a:gd name="T50" fmla="*/ 2147483647 w 291"/>
              <a:gd name="T51" fmla="*/ 2147483647 h 173"/>
              <a:gd name="T52" fmla="*/ 2147483647 w 291"/>
              <a:gd name="T53" fmla="*/ 2147483647 h 173"/>
              <a:gd name="T54" fmla="*/ 2147483647 w 291"/>
              <a:gd name="T55" fmla="*/ 2147483647 h 173"/>
              <a:gd name="T56" fmla="*/ 2147483647 w 291"/>
              <a:gd name="T57" fmla="*/ 2147483647 h 173"/>
              <a:gd name="T58" fmla="*/ 2147483647 w 291"/>
              <a:gd name="T59" fmla="*/ 2147483647 h 173"/>
              <a:gd name="T60" fmla="*/ 2147483647 w 291"/>
              <a:gd name="T61" fmla="*/ 2147483647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1"/>
              <a:gd name="T94" fmla="*/ 0 h 173"/>
              <a:gd name="T95" fmla="*/ 291 w 291"/>
              <a:gd name="T96" fmla="*/ 173 h 17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1" h="173">
                <a:moveTo>
                  <a:pt x="291" y="37"/>
                </a:moveTo>
                <a:lnTo>
                  <a:pt x="281" y="22"/>
                </a:lnTo>
                <a:lnTo>
                  <a:pt x="260" y="9"/>
                </a:lnTo>
                <a:lnTo>
                  <a:pt x="201" y="0"/>
                </a:lnTo>
                <a:lnTo>
                  <a:pt x="188" y="7"/>
                </a:lnTo>
                <a:lnTo>
                  <a:pt x="185" y="16"/>
                </a:lnTo>
                <a:lnTo>
                  <a:pt x="166" y="24"/>
                </a:lnTo>
                <a:lnTo>
                  <a:pt x="153" y="19"/>
                </a:lnTo>
                <a:lnTo>
                  <a:pt x="116" y="34"/>
                </a:lnTo>
                <a:lnTo>
                  <a:pt x="101" y="50"/>
                </a:lnTo>
                <a:lnTo>
                  <a:pt x="76" y="51"/>
                </a:lnTo>
                <a:lnTo>
                  <a:pt x="46" y="30"/>
                </a:lnTo>
                <a:lnTo>
                  <a:pt x="42" y="52"/>
                </a:lnTo>
                <a:lnTo>
                  <a:pt x="22" y="53"/>
                </a:lnTo>
                <a:lnTo>
                  <a:pt x="19" y="59"/>
                </a:lnTo>
                <a:lnTo>
                  <a:pt x="24" y="65"/>
                </a:lnTo>
                <a:lnTo>
                  <a:pt x="17" y="79"/>
                </a:lnTo>
                <a:lnTo>
                  <a:pt x="18" y="95"/>
                </a:lnTo>
                <a:lnTo>
                  <a:pt x="0" y="105"/>
                </a:lnTo>
                <a:lnTo>
                  <a:pt x="13" y="109"/>
                </a:lnTo>
                <a:lnTo>
                  <a:pt x="24" y="130"/>
                </a:lnTo>
                <a:lnTo>
                  <a:pt x="60" y="163"/>
                </a:lnTo>
                <a:lnTo>
                  <a:pt x="81" y="173"/>
                </a:lnTo>
                <a:lnTo>
                  <a:pt x="115" y="164"/>
                </a:lnTo>
                <a:lnTo>
                  <a:pt x="155" y="150"/>
                </a:lnTo>
                <a:lnTo>
                  <a:pt x="174" y="146"/>
                </a:lnTo>
                <a:lnTo>
                  <a:pt x="180" y="152"/>
                </a:lnTo>
                <a:lnTo>
                  <a:pt x="219" y="139"/>
                </a:lnTo>
                <a:lnTo>
                  <a:pt x="249" y="84"/>
                </a:lnTo>
                <a:lnTo>
                  <a:pt x="257" y="61"/>
                </a:lnTo>
                <a:lnTo>
                  <a:pt x="291" y="37"/>
                </a:lnTo>
                <a:close/>
              </a:path>
            </a:pathLst>
          </a:custGeom>
          <a:solidFill>
            <a:schemeClr val="accent1"/>
          </a:solidFill>
          <a:ln w="6350">
            <a:solidFill>
              <a:schemeClr val="tx2"/>
            </a:solidFill>
            <a:round/>
            <a:headEnd/>
            <a:tailEnd/>
          </a:ln>
        </p:spPr>
        <p:txBody>
          <a:bodyPr/>
          <a:lstStyle/>
          <a:p>
            <a:endParaRPr lang="en-US"/>
          </a:p>
        </p:txBody>
      </p:sp>
      <p:sp>
        <p:nvSpPr>
          <p:cNvPr id="695" name="Freeform 1442"/>
          <p:cNvSpPr>
            <a:spLocks/>
          </p:cNvSpPr>
          <p:nvPr/>
        </p:nvSpPr>
        <p:spPr bwMode="auto">
          <a:xfrm>
            <a:off x="6062803" y="3301401"/>
            <a:ext cx="64500" cy="40757"/>
          </a:xfrm>
          <a:custGeom>
            <a:avLst/>
            <a:gdLst>
              <a:gd name="T0" fmla="*/ 2147483647 w 136"/>
              <a:gd name="T1" fmla="*/ 2147483647 h 97"/>
              <a:gd name="T2" fmla="*/ 2147483647 w 136"/>
              <a:gd name="T3" fmla="*/ 2147483647 h 97"/>
              <a:gd name="T4" fmla="*/ 2147483647 w 136"/>
              <a:gd name="T5" fmla="*/ 2147483647 h 97"/>
              <a:gd name="T6" fmla="*/ 2147483647 w 136"/>
              <a:gd name="T7" fmla="*/ 2147483647 h 97"/>
              <a:gd name="T8" fmla="*/ 2147483647 w 136"/>
              <a:gd name="T9" fmla="*/ 2147483647 h 97"/>
              <a:gd name="T10" fmla="*/ 2147483647 w 136"/>
              <a:gd name="T11" fmla="*/ 2147483647 h 97"/>
              <a:gd name="T12" fmla="*/ 2147483647 w 136"/>
              <a:gd name="T13" fmla="*/ 2147483647 h 97"/>
              <a:gd name="T14" fmla="*/ 2147483647 w 136"/>
              <a:gd name="T15" fmla="*/ 2147483647 h 97"/>
              <a:gd name="T16" fmla="*/ 2147483647 w 136"/>
              <a:gd name="T17" fmla="*/ 2147483647 h 97"/>
              <a:gd name="T18" fmla="*/ 2147483647 w 136"/>
              <a:gd name="T19" fmla="*/ 2147483647 h 97"/>
              <a:gd name="T20" fmla="*/ 2147483647 w 136"/>
              <a:gd name="T21" fmla="*/ 2147483647 h 97"/>
              <a:gd name="T22" fmla="*/ 2147483647 w 136"/>
              <a:gd name="T23" fmla="*/ 2147483647 h 97"/>
              <a:gd name="T24" fmla="*/ 2147483647 w 136"/>
              <a:gd name="T25" fmla="*/ 2147483647 h 97"/>
              <a:gd name="T26" fmla="*/ 2147483647 w 136"/>
              <a:gd name="T27" fmla="*/ 2147483647 h 97"/>
              <a:gd name="T28" fmla="*/ 2147483647 w 136"/>
              <a:gd name="T29" fmla="*/ 2147483647 h 97"/>
              <a:gd name="T30" fmla="*/ 2147483647 w 136"/>
              <a:gd name="T31" fmla="*/ 2147483647 h 97"/>
              <a:gd name="T32" fmla="*/ 2147483647 w 136"/>
              <a:gd name="T33" fmla="*/ 2147483647 h 97"/>
              <a:gd name="T34" fmla="*/ 2147483647 w 136"/>
              <a:gd name="T35" fmla="*/ 0 h 97"/>
              <a:gd name="T36" fmla="*/ 2147483647 w 136"/>
              <a:gd name="T37" fmla="*/ 2147483647 h 97"/>
              <a:gd name="T38" fmla="*/ 2147483647 w 136"/>
              <a:gd name="T39" fmla="*/ 2147483647 h 97"/>
              <a:gd name="T40" fmla="*/ 2147483647 w 136"/>
              <a:gd name="T41" fmla="*/ 2147483647 h 97"/>
              <a:gd name="T42" fmla="*/ 2147483647 w 136"/>
              <a:gd name="T43" fmla="*/ 2147483647 h 97"/>
              <a:gd name="T44" fmla="*/ 0 w 136"/>
              <a:gd name="T45" fmla="*/ 2147483647 h 97"/>
              <a:gd name="T46" fmla="*/ 2147483647 w 136"/>
              <a:gd name="T47" fmla="*/ 2147483647 h 97"/>
              <a:gd name="T48" fmla="*/ 2147483647 w 136"/>
              <a:gd name="T49" fmla="*/ 2147483647 h 97"/>
              <a:gd name="T50" fmla="*/ 2147483647 w 136"/>
              <a:gd name="T51" fmla="*/ 2147483647 h 97"/>
              <a:gd name="T52" fmla="*/ 2147483647 w 136"/>
              <a:gd name="T53" fmla="*/ 2147483647 h 97"/>
              <a:gd name="T54" fmla="*/ 2147483647 w 136"/>
              <a:gd name="T55" fmla="*/ 2147483647 h 97"/>
              <a:gd name="T56" fmla="*/ 2147483647 w 136"/>
              <a:gd name="T57" fmla="*/ 2147483647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6"/>
              <a:gd name="T88" fmla="*/ 0 h 97"/>
              <a:gd name="T89" fmla="*/ 136 w 13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6" h="97">
                <a:moveTo>
                  <a:pt x="4" y="87"/>
                </a:moveTo>
                <a:lnTo>
                  <a:pt x="40" y="91"/>
                </a:lnTo>
                <a:lnTo>
                  <a:pt x="48" y="78"/>
                </a:lnTo>
                <a:lnTo>
                  <a:pt x="58" y="94"/>
                </a:lnTo>
                <a:lnTo>
                  <a:pt x="63" y="91"/>
                </a:lnTo>
                <a:lnTo>
                  <a:pt x="74" y="97"/>
                </a:lnTo>
                <a:lnTo>
                  <a:pt x="78" y="94"/>
                </a:lnTo>
                <a:lnTo>
                  <a:pt x="78" y="76"/>
                </a:lnTo>
                <a:lnTo>
                  <a:pt x="96" y="63"/>
                </a:lnTo>
                <a:lnTo>
                  <a:pt x="96" y="54"/>
                </a:lnTo>
                <a:lnTo>
                  <a:pt x="91" y="49"/>
                </a:lnTo>
                <a:lnTo>
                  <a:pt x="93" y="42"/>
                </a:lnTo>
                <a:lnTo>
                  <a:pt x="120" y="32"/>
                </a:lnTo>
                <a:lnTo>
                  <a:pt x="123" y="20"/>
                </a:lnTo>
                <a:lnTo>
                  <a:pt x="134" y="24"/>
                </a:lnTo>
                <a:lnTo>
                  <a:pt x="136" y="25"/>
                </a:lnTo>
                <a:lnTo>
                  <a:pt x="125" y="4"/>
                </a:lnTo>
                <a:lnTo>
                  <a:pt x="112" y="0"/>
                </a:lnTo>
                <a:lnTo>
                  <a:pt x="105" y="10"/>
                </a:lnTo>
                <a:lnTo>
                  <a:pt x="59" y="15"/>
                </a:lnTo>
                <a:lnTo>
                  <a:pt x="45" y="28"/>
                </a:lnTo>
                <a:lnTo>
                  <a:pt x="10" y="25"/>
                </a:lnTo>
                <a:lnTo>
                  <a:pt x="0" y="42"/>
                </a:lnTo>
                <a:lnTo>
                  <a:pt x="6" y="42"/>
                </a:lnTo>
                <a:lnTo>
                  <a:pt x="3" y="54"/>
                </a:lnTo>
                <a:lnTo>
                  <a:pt x="6" y="65"/>
                </a:lnTo>
                <a:lnTo>
                  <a:pt x="21" y="78"/>
                </a:lnTo>
                <a:lnTo>
                  <a:pt x="9" y="84"/>
                </a:lnTo>
                <a:lnTo>
                  <a:pt x="4" y="87"/>
                </a:lnTo>
                <a:close/>
              </a:path>
            </a:pathLst>
          </a:custGeom>
          <a:solidFill>
            <a:schemeClr val="accent1"/>
          </a:solidFill>
          <a:ln w="6350">
            <a:solidFill>
              <a:schemeClr val="tx2"/>
            </a:solidFill>
            <a:round/>
            <a:headEnd/>
            <a:tailEnd/>
          </a:ln>
        </p:spPr>
        <p:txBody>
          <a:bodyPr/>
          <a:lstStyle/>
          <a:p>
            <a:endParaRPr lang="en-US"/>
          </a:p>
        </p:txBody>
      </p:sp>
      <p:sp>
        <p:nvSpPr>
          <p:cNvPr id="696" name="Freeform 1443"/>
          <p:cNvSpPr>
            <a:spLocks/>
          </p:cNvSpPr>
          <p:nvPr/>
        </p:nvSpPr>
        <p:spPr bwMode="auto">
          <a:xfrm>
            <a:off x="6131603" y="3228802"/>
            <a:ext cx="111801" cy="50947"/>
          </a:xfrm>
          <a:custGeom>
            <a:avLst/>
            <a:gdLst>
              <a:gd name="T0" fmla="*/ 2147483647 w 240"/>
              <a:gd name="T1" fmla="*/ 2147483647 h 118"/>
              <a:gd name="T2" fmla="*/ 2147483647 w 240"/>
              <a:gd name="T3" fmla="*/ 2147483647 h 118"/>
              <a:gd name="T4" fmla="*/ 2147483647 w 240"/>
              <a:gd name="T5" fmla="*/ 2147483647 h 118"/>
              <a:gd name="T6" fmla="*/ 2147483647 w 240"/>
              <a:gd name="T7" fmla="*/ 2147483647 h 118"/>
              <a:gd name="T8" fmla="*/ 2147483647 w 240"/>
              <a:gd name="T9" fmla="*/ 2147483647 h 118"/>
              <a:gd name="T10" fmla="*/ 2147483647 w 240"/>
              <a:gd name="T11" fmla="*/ 2147483647 h 118"/>
              <a:gd name="T12" fmla="*/ 2147483647 w 240"/>
              <a:gd name="T13" fmla="*/ 2147483647 h 118"/>
              <a:gd name="T14" fmla="*/ 2147483647 w 240"/>
              <a:gd name="T15" fmla="*/ 2147483647 h 118"/>
              <a:gd name="T16" fmla="*/ 2147483647 w 240"/>
              <a:gd name="T17" fmla="*/ 2147483647 h 118"/>
              <a:gd name="T18" fmla="*/ 2147483647 w 240"/>
              <a:gd name="T19" fmla="*/ 2147483647 h 118"/>
              <a:gd name="T20" fmla="*/ 0 w 240"/>
              <a:gd name="T21" fmla="*/ 2147483647 h 118"/>
              <a:gd name="T22" fmla="*/ 2147483647 w 240"/>
              <a:gd name="T23" fmla="*/ 2147483647 h 118"/>
              <a:gd name="T24" fmla="*/ 2147483647 w 240"/>
              <a:gd name="T25" fmla="*/ 2147483647 h 118"/>
              <a:gd name="T26" fmla="*/ 2147483647 w 240"/>
              <a:gd name="T27" fmla="*/ 2147483647 h 118"/>
              <a:gd name="T28" fmla="*/ 2147483647 w 240"/>
              <a:gd name="T29" fmla="*/ 2147483647 h 118"/>
              <a:gd name="T30" fmla="*/ 2147483647 w 240"/>
              <a:gd name="T31" fmla="*/ 2147483647 h 118"/>
              <a:gd name="T32" fmla="*/ 2147483647 w 240"/>
              <a:gd name="T33" fmla="*/ 2147483647 h 118"/>
              <a:gd name="T34" fmla="*/ 2147483647 w 240"/>
              <a:gd name="T35" fmla="*/ 2147483647 h 118"/>
              <a:gd name="T36" fmla="*/ 2147483647 w 240"/>
              <a:gd name="T37" fmla="*/ 0 h 118"/>
              <a:gd name="T38" fmla="*/ 2147483647 w 240"/>
              <a:gd name="T39" fmla="*/ 2147483647 h 118"/>
              <a:gd name="T40" fmla="*/ 2147483647 w 240"/>
              <a:gd name="T41" fmla="*/ 2147483647 h 118"/>
              <a:gd name="T42" fmla="*/ 2147483647 w 240"/>
              <a:gd name="T43" fmla="*/ 2147483647 h 118"/>
              <a:gd name="T44" fmla="*/ 2147483647 w 240"/>
              <a:gd name="T45" fmla="*/ 2147483647 h 118"/>
              <a:gd name="T46" fmla="*/ 2147483647 w 240"/>
              <a:gd name="T47" fmla="*/ 2147483647 h 118"/>
              <a:gd name="T48" fmla="*/ 2147483647 w 240"/>
              <a:gd name="T49" fmla="*/ 2147483647 h 11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0"/>
              <a:gd name="T76" fmla="*/ 0 h 118"/>
              <a:gd name="T77" fmla="*/ 240 w 240"/>
              <a:gd name="T78" fmla="*/ 118 h 11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0" h="118">
                <a:moveTo>
                  <a:pt x="225" y="76"/>
                </a:moveTo>
                <a:lnTo>
                  <a:pt x="166" y="67"/>
                </a:lnTo>
                <a:lnTo>
                  <a:pt x="153" y="74"/>
                </a:lnTo>
                <a:lnTo>
                  <a:pt x="150" y="83"/>
                </a:lnTo>
                <a:lnTo>
                  <a:pt x="131" y="91"/>
                </a:lnTo>
                <a:lnTo>
                  <a:pt x="118" y="86"/>
                </a:lnTo>
                <a:lnTo>
                  <a:pt x="81" y="101"/>
                </a:lnTo>
                <a:lnTo>
                  <a:pt x="66" y="117"/>
                </a:lnTo>
                <a:lnTo>
                  <a:pt x="41" y="118"/>
                </a:lnTo>
                <a:lnTo>
                  <a:pt x="11" y="97"/>
                </a:lnTo>
                <a:lnTo>
                  <a:pt x="0" y="69"/>
                </a:lnTo>
                <a:lnTo>
                  <a:pt x="10" y="53"/>
                </a:lnTo>
                <a:lnTo>
                  <a:pt x="31" y="55"/>
                </a:lnTo>
                <a:lnTo>
                  <a:pt x="42" y="47"/>
                </a:lnTo>
                <a:lnTo>
                  <a:pt x="53" y="32"/>
                </a:lnTo>
                <a:lnTo>
                  <a:pt x="55" y="19"/>
                </a:lnTo>
                <a:lnTo>
                  <a:pt x="84" y="1"/>
                </a:lnTo>
                <a:lnTo>
                  <a:pt x="93" y="5"/>
                </a:lnTo>
                <a:lnTo>
                  <a:pt x="110" y="0"/>
                </a:lnTo>
                <a:lnTo>
                  <a:pt x="129" y="19"/>
                </a:lnTo>
                <a:lnTo>
                  <a:pt x="150" y="10"/>
                </a:lnTo>
                <a:lnTo>
                  <a:pt x="174" y="16"/>
                </a:lnTo>
                <a:lnTo>
                  <a:pt x="198" y="7"/>
                </a:lnTo>
                <a:lnTo>
                  <a:pt x="240" y="28"/>
                </a:lnTo>
                <a:lnTo>
                  <a:pt x="225" y="76"/>
                </a:lnTo>
                <a:close/>
              </a:path>
            </a:pathLst>
          </a:custGeom>
          <a:solidFill>
            <a:schemeClr val="accent1"/>
          </a:solidFill>
          <a:ln w="6350">
            <a:solidFill>
              <a:schemeClr val="tx2"/>
            </a:solidFill>
            <a:round/>
            <a:headEnd/>
            <a:tailEnd/>
          </a:ln>
        </p:spPr>
        <p:txBody>
          <a:bodyPr/>
          <a:lstStyle/>
          <a:p>
            <a:endParaRPr lang="en-US"/>
          </a:p>
        </p:txBody>
      </p:sp>
      <p:sp>
        <p:nvSpPr>
          <p:cNvPr id="697" name="Freeform 1444"/>
          <p:cNvSpPr>
            <a:spLocks/>
          </p:cNvSpPr>
          <p:nvPr/>
        </p:nvSpPr>
        <p:spPr bwMode="auto">
          <a:xfrm>
            <a:off x="6034136" y="3185497"/>
            <a:ext cx="137600" cy="72599"/>
          </a:xfrm>
          <a:custGeom>
            <a:avLst/>
            <a:gdLst>
              <a:gd name="T0" fmla="*/ 2147483647 w 296"/>
              <a:gd name="T1" fmla="*/ 2147483647 h 175"/>
              <a:gd name="T2" fmla="*/ 2147483647 w 296"/>
              <a:gd name="T3" fmla="*/ 2147483647 h 175"/>
              <a:gd name="T4" fmla="*/ 2147483647 w 296"/>
              <a:gd name="T5" fmla="*/ 2147483647 h 175"/>
              <a:gd name="T6" fmla="*/ 2147483647 w 296"/>
              <a:gd name="T7" fmla="*/ 2147483647 h 175"/>
              <a:gd name="T8" fmla="*/ 2147483647 w 296"/>
              <a:gd name="T9" fmla="*/ 2147483647 h 175"/>
              <a:gd name="T10" fmla="*/ 2147483647 w 296"/>
              <a:gd name="T11" fmla="*/ 2147483647 h 175"/>
              <a:gd name="T12" fmla="*/ 2147483647 w 296"/>
              <a:gd name="T13" fmla="*/ 2147483647 h 175"/>
              <a:gd name="T14" fmla="*/ 2147483647 w 296"/>
              <a:gd name="T15" fmla="*/ 2147483647 h 175"/>
              <a:gd name="T16" fmla="*/ 2147483647 w 296"/>
              <a:gd name="T17" fmla="*/ 2147483647 h 175"/>
              <a:gd name="T18" fmla="*/ 2147483647 w 296"/>
              <a:gd name="T19" fmla="*/ 2147483647 h 175"/>
              <a:gd name="T20" fmla="*/ 2147483647 w 296"/>
              <a:gd name="T21" fmla="*/ 2147483647 h 175"/>
              <a:gd name="T22" fmla="*/ 2147483647 w 296"/>
              <a:gd name="T23" fmla="*/ 2147483647 h 175"/>
              <a:gd name="T24" fmla="*/ 2147483647 w 296"/>
              <a:gd name="T25" fmla="*/ 2147483647 h 175"/>
              <a:gd name="T26" fmla="*/ 2147483647 w 296"/>
              <a:gd name="T27" fmla="*/ 2147483647 h 175"/>
              <a:gd name="T28" fmla="*/ 2147483647 w 296"/>
              <a:gd name="T29" fmla="*/ 2147483647 h 175"/>
              <a:gd name="T30" fmla="*/ 2147483647 w 296"/>
              <a:gd name="T31" fmla="*/ 0 h 175"/>
              <a:gd name="T32" fmla="*/ 2147483647 w 296"/>
              <a:gd name="T33" fmla="*/ 2147483647 h 175"/>
              <a:gd name="T34" fmla="*/ 2147483647 w 296"/>
              <a:gd name="T35" fmla="*/ 2147483647 h 175"/>
              <a:gd name="T36" fmla="*/ 2147483647 w 296"/>
              <a:gd name="T37" fmla="*/ 2147483647 h 175"/>
              <a:gd name="T38" fmla="*/ 2147483647 w 296"/>
              <a:gd name="T39" fmla="*/ 2147483647 h 175"/>
              <a:gd name="T40" fmla="*/ 0 w 296"/>
              <a:gd name="T41" fmla="*/ 2147483647 h 175"/>
              <a:gd name="T42" fmla="*/ 2147483647 w 296"/>
              <a:gd name="T43" fmla="*/ 2147483647 h 175"/>
              <a:gd name="T44" fmla="*/ 2147483647 w 296"/>
              <a:gd name="T45" fmla="*/ 2147483647 h 175"/>
              <a:gd name="T46" fmla="*/ 2147483647 w 296"/>
              <a:gd name="T47" fmla="*/ 2147483647 h 175"/>
              <a:gd name="T48" fmla="*/ 2147483647 w 296"/>
              <a:gd name="T49" fmla="*/ 2147483647 h 175"/>
              <a:gd name="T50" fmla="*/ 2147483647 w 296"/>
              <a:gd name="T51" fmla="*/ 2147483647 h 175"/>
              <a:gd name="T52" fmla="*/ 2147483647 w 296"/>
              <a:gd name="T53" fmla="*/ 2147483647 h 175"/>
              <a:gd name="T54" fmla="*/ 2147483647 w 296"/>
              <a:gd name="T55" fmla="*/ 2147483647 h 175"/>
              <a:gd name="T56" fmla="*/ 2147483647 w 296"/>
              <a:gd name="T57" fmla="*/ 2147483647 h 175"/>
              <a:gd name="T58" fmla="*/ 2147483647 w 296"/>
              <a:gd name="T59" fmla="*/ 2147483647 h 175"/>
              <a:gd name="T60" fmla="*/ 2147483647 w 296"/>
              <a:gd name="T61" fmla="*/ 2147483647 h 175"/>
              <a:gd name="T62" fmla="*/ 2147483647 w 296"/>
              <a:gd name="T63" fmla="*/ 2147483647 h 175"/>
              <a:gd name="T64" fmla="*/ 2147483647 w 296"/>
              <a:gd name="T65" fmla="*/ 2147483647 h 175"/>
              <a:gd name="T66" fmla="*/ 2147483647 w 296"/>
              <a:gd name="T67" fmla="*/ 2147483647 h 175"/>
              <a:gd name="T68" fmla="*/ 2147483647 w 296"/>
              <a:gd name="T69" fmla="*/ 2147483647 h 175"/>
              <a:gd name="T70" fmla="*/ 2147483647 w 296"/>
              <a:gd name="T71" fmla="*/ 2147483647 h 175"/>
              <a:gd name="T72" fmla="*/ 2147483647 w 296"/>
              <a:gd name="T73" fmla="*/ 2147483647 h 175"/>
              <a:gd name="T74" fmla="*/ 2147483647 w 296"/>
              <a:gd name="T75" fmla="*/ 2147483647 h 175"/>
              <a:gd name="T76" fmla="*/ 2147483647 w 296"/>
              <a:gd name="T77" fmla="*/ 2147483647 h 17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6"/>
              <a:gd name="T118" fmla="*/ 0 h 175"/>
              <a:gd name="T119" fmla="*/ 296 w 296"/>
              <a:gd name="T120" fmla="*/ 175 h 17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6" h="175">
                <a:moveTo>
                  <a:pt x="296" y="107"/>
                </a:moveTo>
                <a:lnTo>
                  <a:pt x="282" y="101"/>
                </a:lnTo>
                <a:lnTo>
                  <a:pt x="267" y="78"/>
                </a:lnTo>
                <a:lnTo>
                  <a:pt x="248" y="70"/>
                </a:lnTo>
                <a:lnTo>
                  <a:pt x="248" y="58"/>
                </a:lnTo>
                <a:lnTo>
                  <a:pt x="213" y="49"/>
                </a:lnTo>
                <a:lnTo>
                  <a:pt x="215" y="58"/>
                </a:lnTo>
                <a:lnTo>
                  <a:pt x="206" y="64"/>
                </a:lnTo>
                <a:lnTo>
                  <a:pt x="184" y="48"/>
                </a:lnTo>
                <a:lnTo>
                  <a:pt x="188" y="36"/>
                </a:lnTo>
                <a:lnTo>
                  <a:pt x="171" y="25"/>
                </a:lnTo>
                <a:lnTo>
                  <a:pt x="149" y="22"/>
                </a:lnTo>
                <a:lnTo>
                  <a:pt x="137" y="11"/>
                </a:lnTo>
                <a:lnTo>
                  <a:pt x="126" y="23"/>
                </a:lnTo>
                <a:lnTo>
                  <a:pt x="119" y="19"/>
                </a:lnTo>
                <a:lnTo>
                  <a:pt x="96" y="0"/>
                </a:lnTo>
                <a:lnTo>
                  <a:pt x="93" y="18"/>
                </a:lnTo>
                <a:lnTo>
                  <a:pt x="19" y="54"/>
                </a:lnTo>
                <a:lnTo>
                  <a:pt x="15" y="65"/>
                </a:lnTo>
                <a:lnTo>
                  <a:pt x="1" y="54"/>
                </a:lnTo>
                <a:lnTo>
                  <a:pt x="0" y="64"/>
                </a:lnTo>
                <a:lnTo>
                  <a:pt x="16" y="76"/>
                </a:lnTo>
                <a:lnTo>
                  <a:pt x="18" y="101"/>
                </a:lnTo>
                <a:lnTo>
                  <a:pt x="26" y="111"/>
                </a:lnTo>
                <a:lnTo>
                  <a:pt x="79" y="160"/>
                </a:lnTo>
                <a:lnTo>
                  <a:pt x="95" y="168"/>
                </a:lnTo>
                <a:lnTo>
                  <a:pt x="113" y="168"/>
                </a:lnTo>
                <a:lnTo>
                  <a:pt x="128" y="159"/>
                </a:lnTo>
                <a:lnTo>
                  <a:pt x="135" y="143"/>
                </a:lnTo>
                <a:lnTo>
                  <a:pt x="161" y="144"/>
                </a:lnTo>
                <a:lnTo>
                  <a:pt x="178" y="159"/>
                </a:lnTo>
                <a:lnTo>
                  <a:pt x="206" y="157"/>
                </a:lnTo>
                <a:lnTo>
                  <a:pt x="212" y="175"/>
                </a:lnTo>
                <a:lnTo>
                  <a:pt x="222" y="159"/>
                </a:lnTo>
                <a:lnTo>
                  <a:pt x="243" y="161"/>
                </a:lnTo>
                <a:lnTo>
                  <a:pt x="254" y="153"/>
                </a:lnTo>
                <a:lnTo>
                  <a:pt x="265" y="138"/>
                </a:lnTo>
                <a:lnTo>
                  <a:pt x="267" y="125"/>
                </a:lnTo>
                <a:lnTo>
                  <a:pt x="296" y="107"/>
                </a:lnTo>
                <a:close/>
              </a:path>
            </a:pathLst>
          </a:custGeom>
          <a:solidFill>
            <a:schemeClr val="accent1"/>
          </a:solidFill>
          <a:ln w="6350">
            <a:solidFill>
              <a:schemeClr val="tx2"/>
            </a:solidFill>
            <a:round/>
            <a:headEnd/>
            <a:tailEnd/>
          </a:ln>
        </p:spPr>
        <p:txBody>
          <a:bodyPr/>
          <a:lstStyle/>
          <a:p>
            <a:endParaRPr lang="en-US"/>
          </a:p>
        </p:txBody>
      </p:sp>
      <p:sp>
        <p:nvSpPr>
          <p:cNvPr id="698" name="Freeform 1445"/>
          <p:cNvSpPr>
            <a:spLocks/>
          </p:cNvSpPr>
          <p:nvPr/>
        </p:nvSpPr>
        <p:spPr bwMode="auto">
          <a:xfrm>
            <a:off x="5982536" y="3245360"/>
            <a:ext cx="156233" cy="67503"/>
          </a:xfrm>
          <a:custGeom>
            <a:avLst/>
            <a:gdLst>
              <a:gd name="T0" fmla="*/ 2147483647 w 329"/>
              <a:gd name="T1" fmla="*/ 2147483647 h 163"/>
              <a:gd name="T2" fmla="*/ 2147483647 w 329"/>
              <a:gd name="T3" fmla="*/ 2147483647 h 163"/>
              <a:gd name="T4" fmla="*/ 2147483647 w 329"/>
              <a:gd name="T5" fmla="*/ 2147483647 h 163"/>
              <a:gd name="T6" fmla="*/ 2147483647 w 329"/>
              <a:gd name="T7" fmla="*/ 2147483647 h 163"/>
              <a:gd name="T8" fmla="*/ 2147483647 w 329"/>
              <a:gd name="T9" fmla="*/ 2147483647 h 163"/>
              <a:gd name="T10" fmla="*/ 2147483647 w 329"/>
              <a:gd name="T11" fmla="*/ 2147483647 h 163"/>
              <a:gd name="T12" fmla="*/ 2147483647 w 329"/>
              <a:gd name="T13" fmla="*/ 2147483647 h 163"/>
              <a:gd name="T14" fmla="*/ 2147483647 w 329"/>
              <a:gd name="T15" fmla="*/ 2147483647 h 163"/>
              <a:gd name="T16" fmla="*/ 2147483647 w 329"/>
              <a:gd name="T17" fmla="*/ 2147483647 h 163"/>
              <a:gd name="T18" fmla="*/ 0 w 329"/>
              <a:gd name="T19" fmla="*/ 2147483647 h 163"/>
              <a:gd name="T20" fmla="*/ 2147483647 w 329"/>
              <a:gd name="T21" fmla="*/ 2147483647 h 163"/>
              <a:gd name="T22" fmla="*/ 2147483647 w 329"/>
              <a:gd name="T23" fmla="*/ 2147483647 h 163"/>
              <a:gd name="T24" fmla="*/ 2147483647 w 329"/>
              <a:gd name="T25" fmla="*/ 2147483647 h 163"/>
              <a:gd name="T26" fmla="*/ 2147483647 w 329"/>
              <a:gd name="T27" fmla="*/ 2147483647 h 163"/>
              <a:gd name="T28" fmla="*/ 2147483647 w 329"/>
              <a:gd name="T29" fmla="*/ 2147483647 h 163"/>
              <a:gd name="T30" fmla="*/ 2147483647 w 329"/>
              <a:gd name="T31" fmla="*/ 2147483647 h 163"/>
              <a:gd name="T32" fmla="*/ 2147483647 w 329"/>
              <a:gd name="T33" fmla="*/ 2147483647 h 163"/>
              <a:gd name="T34" fmla="*/ 2147483647 w 329"/>
              <a:gd name="T35" fmla="*/ 2147483647 h 163"/>
              <a:gd name="T36" fmla="*/ 2147483647 w 329"/>
              <a:gd name="T37" fmla="*/ 2147483647 h 163"/>
              <a:gd name="T38" fmla="*/ 2147483647 w 329"/>
              <a:gd name="T39" fmla="*/ 2147483647 h 163"/>
              <a:gd name="T40" fmla="*/ 2147483647 w 329"/>
              <a:gd name="T41" fmla="*/ 2147483647 h 163"/>
              <a:gd name="T42" fmla="*/ 2147483647 w 329"/>
              <a:gd name="T43" fmla="*/ 2147483647 h 163"/>
              <a:gd name="T44" fmla="*/ 2147483647 w 329"/>
              <a:gd name="T45" fmla="*/ 2147483647 h 163"/>
              <a:gd name="T46" fmla="*/ 2147483647 w 329"/>
              <a:gd name="T47" fmla="*/ 2147483647 h 163"/>
              <a:gd name="T48" fmla="*/ 2147483647 w 329"/>
              <a:gd name="T49" fmla="*/ 2147483647 h 163"/>
              <a:gd name="T50" fmla="*/ 2147483647 w 329"/>
              <a:gd name="T51" fmla="*/ 2147483647 h 163"/>
              <a:gd name="T52" fmla="*/ 2147483647 w 329"/>
              <a:gd name="T53" fmla="*/ 2147483647 h 163"/>
              <a:gd name="T54" fmla="*/ 2147483647 w 329"/>
              <a:gd name="T55" fmla="*/ 0 h 163"/>
              <a:gd name="T56" fmla="*/ 2147483647 w 329"/>
              <a:gd name="T57" fmla="*/ 2147483647 h 163"/>
              <a:gd name="T58" fmla="*/ 2147483647 w 329"/>
              <a:gd name="T59" fmla="*/ 2147483647 h 163"/>
              <a:gd name="T60" fmla="*/ 2147483647 w 329"/>
              <a:gd name="T61" fmla="*/ 2147483647 h 163"/>
              <a:gd name="T62" fmla="*/ 2147483647 w 329"/>
              <a:gd name="T63" fmla="*/ 2147483647 h 163"/>
              <a:gd name="T64" fmla="*/ 2147483647 w 329"/>
              <a:gd name="T65" fmla="*/ 2147483647 h 163"/>
              <a:gd name="T66" fmla="*/ 2147483647 w 329"/>
              <a:gd name="T67" fmla="*/ 2147483647 h 163"/>
              <a:gd name="T68" fmla="*/ 2147483647 w 329"/>
              <a:gd name="T69" fmla="*/ 2147483647 h 163"/>
              <a:gd name="T70" fmla="*/ 2147483647 w 329"/>
              <a:gd name="T71" fmla="*/ 2147483647 h 163"/>
              <a:gd name="T72" fmla="*/ 2147483647 w 329"/>
              <a:gd name="T73" fmla="*/ 2147483647 h 163"/>
              <a:gd name="T74" fmla="*/ 2147483647 w 329"/>
              <a:gd name="T75" fmla="*/ 2147483647 h 163"/>
              <a:gd name="T76" fmla="*/ 2147483647 w 329"/>
              <a:gd name="T77" fmla="*/ 2147483647 h 163"/>
              <a:gd name="T78" fmla="*/ 2147483647 w 329"/>
              <a:gd name="T79" fmla="*/ 2147483647 h 163"/>
              <a:gd name="T80" fmla="*/ 2147483647 w 329"/>
              <a:gd name="T81" fmla="*/ 2147483647 h 163"/>
              <a:gd name="T82" fmla="*/ 2147483647 w 329"/>
              <a:gd name="T83" fmla="*/ 2147483647 h 163"/>
              <a:gd name="T84" fmla="*/ 2147483647 w 329"/>
              <a:gd name="T85" fmla="*/ 2147483647 h 163"/>
              <a:gd name="T86" fmla="*/ 2147483647 w 329"/>
              <a:gd name="T87" fmla="*/ 2147483647 h 1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9"/>
              <a:gd name="T133" fmla="*/ 0 h 163"/>
              <a:gd name="T134" fmla="*/ 329 w 329"/>
              <a:gd name="T135" fmla="*/ 163 h 1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9" h="163">
                <a:moveTo>
                  <a:pt x="181" y="160"/>
                </a:moveTo>
                <a:lnTo>
                  <a:pt x="128" y="146"/>
                </a:lnTo>
                <a:lnTo>
                  <a:pt x="119" y="140"/>
                </a:lnTo>
                <a:lnTo>
                  <a:pt x="113" y="124"/>
                </a:lnTo>
                <a:lnTo>
                  <a:pt x="54" y="140"/>
                </a:lnTo>
                <a:lnTo>
                  <a:pt x="41" y="137"/>
                </a:lnTo>
                <a:lnTo>
                  <a:pt x="8" y="128"/>
                </a:lnTo>
                <a:lnTo>
                  <a:pt x="2" y="118"/>
                </a:lnTo>
                <a:lnTo>
                  <a:pt x="6" y="104"/>
                </a:lnTo>
                <a:lnTo>
                  <a:pt x="0" y="98"/>
                </a:lnTo>
                <a:lnTo>
                  <a:pt x="15" y="94"/>
                </a:lnTo>
                <a:lnTo>
                  <a:pt x="35" y="106"/>
                </a:lnTo>
                <a:lnTo>
                  <a:pt x="46" y="94"/>
                </a:lnTo>
                <a:lnTo>
                  <a:pt x="76" y="101"/>
                </a:lnTo>
                <a:lnTo>
                  <a:pt x="120" y="84"/>
                </a:lnTo>
                <a:lnTo>
                  <a:pt x="141" y="87"/>
                </a:lnTo>
                <a:lnTo>
                  <a:pt x="144" y="93"/>
                </a:lnTo>
                <a:lnTo>
                  <a:pt x="150" y="90"/>
                </a:lnTo>
                <a:lnTo>
                  <a:pt x="143" y="58"/>
                </a:lnTo>
                <a:lnTo>
                  <a:pt x="147" y="49"/>
                </a:lnTo>
                <a:lnTo>
                  <a:pt x="165" y="42"/>
                </a:lnTo>
                <a:lnTo>
                  <a:pt x="171" y="29"/>
                </a:lnTo>
                <a:lnTo>
                  <a:pt x="184" y="23"/>
                </a:lnTo>
                <a:lnTo>
                  <a:pt x="185" y="17"/>
                </a:lnTo>
                <a:lnTo>
                  <a:pt x="201" y="25"/>
                </a:lnTo>
                <a:lnTo>
                  <a:pt x="219" y="25"/>
                </a:lnTo>
                <a:lnTo>
                  <a:pt x="234" y="16"/>
                </a:lnTo>
                <a:lnTo>
                  <a:pt x="241" y="0"/>
                </a:lnTo>
                <a:lnTo>
                  <a:pt x="267" y="1"/>
                </a:lnTo>
                <a:lnTo>
                  <a:pt x="284" y="16"/>
                </a:lnTo>
                <a:lnTo>
                  <a:pt x="312" y="14"/>
                </a:lnTo>
                <a:lnTo>
                  <a:pt x="318" y="32"/>
                </a:lnTo>
                <a:lnTo>
                  <a:pt x="329" y="60"/>
                </a:lnTo>
                <a:lnTo>
                  <a:pt x="325" y="82"/>
                </a:lnTo>
                <a:lnTo>
                  <a:pt x="305" y="83"/>
                </a:lnTo>
                <a:lnTo>
                  <a:pt x="302" y="89"/>
                </a:lnTo>
                <a:lnTo>
                  <a:pt x="307" y="95"/>
                </a:lnTo>
                <a:lnTo>
                  <a:pt x="300" y="109"/>
                </a:lnTo>
                <a:lnTo>
                  <a:pt x="301" y="125"/>
                </a:lnTo>
                <a:lnTo>
                  <a:pt x="283" y="135"/>
                </a:lnTo>
                <a:lnTo>
                  <a:pt x="276" y="145"/>
                </a:lnTo>
                <a:lnTo>
                  <a:pt x="230" y="150"/>
                </a:lnTo>
                <a:lnTo>
                  <a:pt x="216" y="163"/>
                </a:lnTo>
                <a:lnTo>
                  <a:pt x="181" y="160"/>
                </a:lnTo>
                <a:close/>
              </a:path>
            </a:pathLst>
          </a:custGeom>
          <a:solidFill>
            <a:schemeClr val="accent1"/>
          </a:solidFill>
          <a:ln w="6350">
            <a:solidFill>
              <a:schemeClr val="tx2"/>
            </a:solidFill>
            <a:round/>
            <a:headEnd/>
            <a:tailEnd/>
          </a:ln>
        </p:spPr>
        <p:txBody>
          <a:bodyPr/>
          <a:lstStyle/>
          <a:p>
            <a:endParaRPr lang="en-US"/>
          </a:p>
        </p:txBody>
      </p:sp>
      <p:sp>
        <p:nvSpPr>
          <p:cNvPr id="699" name="Freeform 1446"/>
          <p:cNvSpPr>
            <a:spLocks/>
          </p:cNvSpPr>
          <p:nvPr/>
        </p:nvSpPr>
        <p:spPr bwMode="auto">
          <a:xfrm>
            <a:off x="5982536" y="3288663"/>
            <a:ext cx="5734" cy="10189"/>
          </a:xfrm>
          <a:custGeom>
            <a:avLst/>
            <a:gdLst>
              <a:gd name="T0" fmla="*/ 2147483647 w 11"/>
              <a:gd name="T1" fmla="*/ 2147483647 h 24"/>
              <a:gd name="T2" fmla="*/ 2147483647 w 11"/>
              <a:gd name="T3" fmla="*/ 2147483647 h 24"/>
              <a:gd name="T4" fmla="*/ 2147483647 w 11"/>
              <a:gd name="T5" fmla="*/ 0 h 24"/>
              <a:gd name="T6" fmla="*/ 0 w 11"/>
              <a:gd name="T7" fmla="*/ 2147483647 h 24"/>
              <a:gd name="T8" fmla="*/ 2147483647 w 11"/>
              <a:gd name="T9" fmla="*/ 2147483647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6" y="24"/>
                </a:moveTo>
                <a:lnTo>
                  <a:pt x="11" y="9"/>
                </a:lnTo>
                <a:lnTo>
                  <a:pt x="4" y="0"/>
                </a:lnTo>
                <a:lnTo>
                  <a:pt x="0" y="14"/>
                </a:lnTo>
                <a:lnTo>
                  <a:pt x="6" y="24"/>
                </a:lnTo>
                <a:close/>
              </a:path>
            </a:pathLst>
          </a:custGeom>
          <a:solidFill>
            <a:schemeClr val="accent1"/>
          </a:solidFill>
          <a:ln w="6350">
            <a:solidFill>
              <a:schemeClr val="tx2"/>
            </a:solidFill>
            <a:round/>
            <a:headEnd/>
            <a:tailEnd/>
          </a:ln>
        </p:spPr>
        <p:txBody>
          <a:bodyPr/>
          <a:lstStyle/>
          <a:p>
            <a:endParaRPr lang="en-US"/>
          </a:p>
        </p:txBody>
      </p:sp>
      <p:sp>
        <p:nvSpPr>
          <p:cNvPr id="700" name="Freeform 1447"/>
          <p:cNvSpPr>
            <a:spLocks/>
          </p:cNvSpPr>
          <p:nvPr/>
        </p:nvSpPr>
        <p:spPr bwMode="auto">
          <a:xfrm>
            <a:off x="5928070" y="3297579"/>
            <a:ext cx="237934" cy="221616"/>
          </a:xfrm>
          <a:custGeom>
            <a:avLst/>
            <a:gdLst>
              <a:gd name="T0" fmla="*/ 2147483647 w 506"/>
              <a:gd name="T1" fmla="*/ 2147483647 h 533"/>
              <a:gd name="T2" fmla="*/ 2147483647 w 506"/>
              <a:gd name="T3" fmla="*/ 2147483647 h 533"/>
              <a:gd name="T4" fmla="*/ 2147483647 w 506"/>
              <a:gd name="T5" fmla="*/ 2147483647 h 533"/>
              <a:gd name="T6" fmla="*/ 2147483647 w 506"/>
              <a:gd name="T7" fmla="*/ 2147483647 h 533"/>
              <a:gd name="T8" fmla="*/ 2147483647 w 506"/>
              <a:gd name="T9" fmla="*/ 2147483647 h 533"/>
              <a:gd name="T10" fmla="*/ 2147483647 w 506"/>
              <a:gd name="T11" fmla="*/ 2147483647 h 533"/>
              <a:gd name="T12" fmla="*/ 2147483647 w 506"/>
              <a:gd name="T13" fmla="*/ 2147483647 h 533"/>
              <a:gd name="T14" fmla="*/ 2147483647 w 506"/>
              <a:gd name="T15" fmla="*/ 2147483647 h 533"/>
              <a:gd name="T16" fmla="*/ 2147483647 w 506"/>
              <a:gd name="T17" fmla="*/ 2147483647 h 533"/>
              <a:gd name="T18" fmla="*/ 2147483647 w 506"/>
              <a:gd name="T19" fmla="*/ 2147483647 h 533"/>
              <a:gd name="T20" fmla="*/ 2147483647 w 506"/>
              <a:gd name="T21" fmla="*/ 2147483647 h 533"/>
              <a:gd name="T22" fmla="*/ 2147483647 w 506"/>
              <a:gd name="T23" fmla="*/ 2147483647 h 533"/>
              <a:gd name="T24" fmla="*/ 2147483647 w 506"/>
              <a:gd name="T25" fmla="*/ 2147483647 h 533"/>
              <a:gd name="T26" fmla="*/ 2147483647 w 506"/>
              <a:gd name="T27" fmla="*/ 2147483647 h 533"/>
              <a:gd name="T28" fmla="*/ 2147483647 w 506"/>
              <a:gd name="T29" fmla="*/ 2147483647 h 533"/>
              <a:gd name="T30" fmla="*/ 2147483647 w 506"/>
              <a:gd name="T31" fmla="*/ 2147483647 h 533"/>
              <a:gd name="T32" fmla="*/ 2147483647 w 506"/>
              <a:gd name="T33" fmla="*/ 2147483647 h 533"/>
              <a:gd name="T34" fmla="*/ 2147483647 w 506"/>
              <a:gd name="T35" fmla="*/ 2147483647 h 533"/>
              <a:gd name="T36" fmla="*/ 2147483647 w 506"/>
              <a:gd name="T37" fmla="*/ 2147483647 h 533"/>
              <a:gd name="T38" fmla="*/ 2147483647 w 506"/>
              <a:gd name="T39" fmla="*/ 2147483647 h 533"/>
              <a:gd name="T40" fmla="*/ 2147483647 w 506"/>
              <a:gd name="T41" fmla="*/ 2147483647 h 533"/>
              <a:gd name="T42" fmla="*/ 2147483647 w 506"/>
              <a:gd name="T43" fmla="*/ 2147483647 h 533"/>
              <a:gd name="T44" fmla="*/ 2147483647 w 506"/>
              <a:gd name="T45" fmla="*/ 2147483647 h 533"/>
              <a:gd name="T46" fmla="*/ 2147483647 w 506"/>
              <a:gd name="T47" fmla="*/ 2147483647 h 533"/>
              <a:gd name="T48" fmla="*/ 2147483647 w 506"/>
              <a:gd name="T49" fmla="*/ 2147483647 h 533"/>
              <a:gd name="T50" fmla="*/ 2147483647 w 506"/>
              <a:gd name="T51" fmla="*/ 2147483647 h 533"/>
              <a:gd name="T52" fmla="*/ 2147483647 w 506"/>
              <a:gd name="T53" fmla="*/ 2147483647 h 533"/>
              <a:gd name="T54" fmla="*/ 2147483647 w 506"/>
              <a:gd name="T55" fmla="*/ 2147483647 h 533"/>
              <a:gd name="T56" fmla="*/ 2147483647 w 506"/>
              <a:gd name="T57" fmla="*/ 2147483647 h 533"/>
              <a:gd name="T58" fmla="*/ 2147483647 w 506"/>
              <a:gd name="T59" fmla="*/ 2147483647 h 533"/>
              <a:gd name="T60" fmla="*/ 2147483647 w 506"/>
              <a:gd name="T61" fmla="*/ 2147483647 h 533"/>
              <a:gd name="T62" fmla="*/ 2147483647 w 506"/>
              <a:gd name="T63" fmla="*/ 2147483647 h 533"/>
              <a:gd name="T64" fmla="*/ 2147483647 w 506"/>
              <a:gd name="T65" fmla="*/ 2147483647 h 533"/>
              <a:gd name="T66" fmla="*/ 2147483647 w 506"/>
              <a:gd name="T67" fmla="*/ 2147483647 h 533"/>
              <a:gd name="T68" fmla="*/ 2147483647 w 506"/>
              <a:gd name="T69" fmla="*/ 2147483647 h 533"/>
              <a:gd name="T70" fmla="*/ 2147483647 w 506"/>
              <a:gd name="T71" fmla="*/ 2147483647 h 533"/>
              <a:gd name="T72" fmla="*/ 2147483647 w 506"/>
              <a:gd name="T73" fmla="*/ 2147483647 h 533"/>
              <a:gd name="T74" fmla="*/ 2147483647 w 506"/>
              <a:gd name="T75" fmla="*/ 2147483647 h 533"/>
              <a:gd name="T76" fmla="*/ 2147483647 w 506"/>
              <a:gd name="T77" fmla="*/ 2147483647 h 533"/>
              <a:gd name="T78" fmla="*/ 2147483647 w 506"/>
              <a:gd name="T79" fmla="*/ 2147483647 h 533"/>
              <a:gd name="T80" fmla="*/ 2147483647 w 506"/>
              <a:gd name="T81" fmla="*/ 2147483647 h 533"/>
              <a:gd name="T82" fmla="*/ 2147483647 w 506"/>
              <a:gd name="T83" fmla="*/ 2147483647 h 533"/>
              <a:gd name="T84" fmla="*/ 0 w 506"/>
              <a:gd name="T85" fmla="*/ 2147483647 h 533"/>
              <a:gd name="T86" fmla="*/ 2147483647 w 506"/>
              <a:gd name="T87" fmla="*/ 2147483647 h 533"/>
              <a:gd name="T88" fmla="*/ 2147483647 w 506"/>
              <a:gd name="T89" fmla="*/ 2147483647 h 5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06"/>
              <a:gd name="T136" fmla="*/ 0 h 533"/>
              <a:gd name="T137" fmla="*/ 506 w 506"/>
              <a:gd name="T138" fmla="*/ 533 h 53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06" h="533">
                <a:moveTo>
                  <a:pt x="36" y="198"/>
                </a:moveTo>
                <a:lnTo>
                  <a:pt x="62" y="192"/>
                </a:lnTo>
                <a:lnTo>
                  <a:pt x="76" y="170"/>
                </a:lnTo>
                <a:lnTo>
                  <a:pt x="91" y="163"/>
                </a:lnTo>
                <a:lnTo>
                  <a:pt x="104" y="166"/>
                </a:lnTo>
                <a:lnTo>
                  <a:pt x="149" y="189"/>
                </a:lnTo>
                <a:lnTo>
                  <a:pt x="166" y="245"/>
                </a:lnTo>
                <a:lnTo>
                  <a:pt x="189" y="270"/>
                </a:lnTo>
                <a:lnTo>
                  <a:pt x="192" y="281"/>
                </a:lnTo>
                <a:lnTo>
                  <a:pt x="203" y="279"/>
                </a:lnTo>
                <a:lnTo>
                  <a:pt x="210" y="285"/>
                </a:lnTo>
                <a:lnTo>
                  <a:pt x="222" y="300"/>
                </a:lnTo>
                <a:lnTo>
                  <a:pt x="230" y="301"/>
                </a:lnTo>
                <a:lnTo>
                  <a:pt x="273" y="347"/>
                </a:lnTo>
                <a:lnTo>
                  <a:pt x="303" y="348"/>
                </a:lnTo>
                <a:lnTo>
                  <a:pt x="317" y="369"/>
                </a:lnTo>
                <a:lnTo>
                  <a:pt x="330" y="374"/>
                </a:lnTo>
                <a:lnTo>
                  <a:pt x="330" y="383"/>
                </a:lnTo>
                <a:lnTo>
                  <a:pt x="350" y="382"/>
                </a:lnTo>
                <a:lnTo>
                  <a:pt x="358" y="406"/>
                </a:lnTo>
                <a:lnTo>
                  <a:pt x="375" y="420"/>
                </a:lnTo>
                <a:lnTo>
                  <a:pt x="383" y="413"/>
                </a:lnTo>
                <a:lnTo>
                  <a:pt x="409" y="483"/>
                </a:lnTo>
                <a:lnTo>
                  <a:pt x="392" y="493"/>
                </a:lnTo>
                <a:lnTo>
                  <a:pt x="395" y="501"/>
                </a:lnTo>
                <a:lnTo>
                  <a:pt x="387" y="518"/>
                </a:lnTo>
                <a:lnTo>
                  <a:pt x="389" y="533"/>
                </a:lnTo>
                <a:lnTo>
                  <a:pt x="401" y="533"/>
                </a:lnTo>
                <a:lnTo>
                  <a:pt x="413" y="514"/>
                </a:lnTo>
                <a:lnTo>
                  <a:pt x="423" y="508"/>
                </a:lnTo>
                <a:lnTo>
                  <a:pt x="428" y="482"/>
                </a:lnTo>
                <a:lnTo>
                  <a:pt x="447" y="473"/>
                </a:lnTo>
                <a:lnTo>
                  <a:pt x="445" y="450"/>
                </a:lnTo>
                <a:lnTo>
                  <a:pt x="422" y="432"/>
                </a:lnTo>
                <a:lnTo>
                  <a:pt x="427" y="410"/>
                </a:lnTo>
                <a:lnTo>
                  <a:pt x="433" y="399"/>
                </a:lnTo>
                <a:lnTo>
                  <a:pt x="450" y="388"/>
                </a:lnTo>
                <a:lnTo>
                  <a:pt x="483" y="405"/>
                </a:lnTo>
                <a:lnTo>
                  <a:pt x="492" y="422"/>
                </a:lnTo>
                <a:lnTo>
                  <a:pt x="500" y="426"/>
                </a:lnTo>
                <a:lnTo>
                  <a:pt x="506" y="412"/>
                </a:lnTo>
                <a:lnTo>
                  <a:pt x="483" y="375"/>
                </a:lnTo>
                <a:lnTo>
                  <a:pt x="397" y="336"/>
                </a:lnTo>
                <a:lnTo>
                  <a:pt x="395" y="329"/>
                </a:lnTo>
                <a:lnTo>
                  <a:pt x="405" y="320"/>
                </a:lnTo>
                <a:lnTo>
                  <a:pt x="406" y="313"/>
                </a:lnTo>
                <a:lnTo>
                  <a:pt x="401" y="306"/>
                </a:lnTo>
                <a:lnTo>
                  <a:pt x="366" y="309"/>
                </a:lnTo>
                <a:lnTo>
                  <a:pt x="366" y="315"/>
                </a:lnTo>
                <a:lnTo>
                  <a:pt x="343" y="298"/>
                </a:lnTo>
                <a:lnTo>
                  <a:pt x="318" y="270"/>
                </a:lnTo>
                <a:lnTo>
                  <a:pt x="294" y="211"/>
                </a:lnTo>
                <a:lnTo>
                  <a:pt x="247" y="179"/>
                </a:lnTo>
                <a:lnTo>
                  <a:pt x="240" y="164"/>
                </a:lnTo>
                <a:lnTo>
                  <a:pt x="240" y="150"/>
                </a:lnTo>
                <a:lnTo>
                  <a:pt x="247" y="134"/>
                </a:lnTo>
                <a:lnTo>
                  <a:pt x="247" y="128"/>
                </a:lnTo>
                <a:lnTo>
                  <a:pt x="239" y="121"/>
                </a:lnTo>
                <a:lnTo>
                  <a:pt x="239" y="104"/>
                </a:lnTo>
                <a:lnTo>
                  <a:pt x="280" y="84"/>
                </a:lnTo>
                <a:lnTo>
                  <a:pt x="301" y="83"/>
                </a:lnTo>
                <a:lnTo>
                  <a:pt x="298" y="95"/>
                </a:lnTo>
                <a:lnTo>
                  <a:pt x="310" y="89"/>
                </a:lnTo>
                <a:lnTo>
                  <a:pt x="295" y="76"/>
                </a:lnTo>
                <a:lnTo>
                  <a:pt x="292" y="65"/>
                </a:lnTo>
                <a:lnTo>
                  <a:pt x="295" y="53"/>
                </a:lnTo>
                <a:lnTo>
                  <a:pt x="289" y="53"/>
                </a:lnTo>
                <a:lnTo>
                  <a:pt x="299" y="36"/>
                </a:lnTo>
                <a:lnTo>
                  <a:pt x="246" y="22"/>
                </a:lnTo>
                <a:lnTo>
                  <a:pt x="237" y="16"/>
                </a:lnTo>
                <a:lnTo>
                  <a:pt x="231" y="0"/>
                </a:lnTo>
                <a:lnTo>
                  <a:pt x="172" y="16"/>
                </a:lnTo>
                <a:lnTo>
                  <a:pt x="159" y="13"/>
                </a:lnTo>
                <a:lnTo>
                  <a:pt x="157" y="27"/>
                </a:lnTo>
                <a:lnTo>
                  <a:pt x="145" y="30"/>
                </a:lnTo>
                <a:lnTo>
                  <a:pt x="145" y="49"/>
                </a:lnTo>
                <a:lnTo>
                  <a:pt x="110" y="38"/>
                </a:lnTo>
                <a:lnTo>
                  <a:pt x="97" y="72"/>
                </a:lnTo>
                <a:lnTo>
                  <a:pt x="77" y="56"/>
                </a:lnTo>
                <a:lnTo>
                  <a:pt x="72" y="41"/>
                </a:lnTo>
                <a:lnTo>
                  <a:pt x="47" y="70"/>
                </a:lnTo>
                <a:lnTo>
                  <a:pt x="10" y="74"/>
                </a:lnTo>
                <a:lnTo>
                  <a:pt x="2" y="78"/>
                </a:lnTo>
                <a:lnTo>
                  <a:pt x="13" y="111"/>
                </a:lnTo>
                <a:lnTo>
                  <a:pt x="1" y="122"/>
                </a:lnTo>
                <a:lnTo>
                  <a:pt x="0" y="132"/>
                </a:lnTo>
                <a:lnTo>
                  <a:pt x="8" y="138"/>
                </a:lnTo>
                <a:lnTo>
                  <a:pt x="7" y="160"/>
                </a:lnTo>
                <a:lnTo>
                  <a:pt x="14" y="176"/>
                </a:lnTo>
                <a:lnTo>
                  <a:pt x="34" y="178"/>
                </a:lnTo>
                <a:lnTo>
                  <a:pt x="36" y="198"/>
                </a:lnTo>
                <a:close/>
              </a:path>
            </a:pathLst>
          </a:custGeom>
          <a:solidFill>
            <a:schemeClr val="accent1"/>
          </a:solidFill>
          <a:ln w="6350">
            <a:solidFill>
              <a:schemeClr val="tx2"/>
            </a:solidFill>
            <a:round/>
            <a:headEnd/>
            <a:tailEnd/>
          </a:ln>
        </p:spPr>
        <p:txBody>
          <a:bodyPr/>
          <a:lstStyle/>
          <a:p>
            <a:endParaRPr lang="en-US"/>
          </a:p>
        </p:txBody>
      </p:sp>
      <p:sp>
        <p:nvSpPr>
          <p:cNvPr id="701" name="Freeform 1448"/>
          <p:cNvSpPr>
            <a:spLocks/>
          </p:cNvSpPr>
          <p:nvPr/>
        </p:nvSpPr>
        <p:spPr bwMode="auto">
          <a:xfrm>
            <a:off x="5850669" y="3247908"/>
            <a:ext cx="117533" cy="90430"/>
          </a:xfrm>
          <a:custGeom>
            <a:avLst/>
            <a:gdLst>
              <a:gd name="T0" fmla="*/ 2147483647 w 253"/>
              <a:gd name="T1" fmla="*/ 2147483647 h 216"/>
              <a:gd name="T2" fmla="*/ 2147483647 w 253"/>
              <a:gd name="T3" fmla="*/ 2147483647 h 216"/>
              <a:gd name="T4" fmla="*/ 2147483647 w 253"/>
              <a:gd name="T5" fmla="*/ 2147483647 h 216"/>
              <a:gd name="T6" fmla="*/ 2147483647 w 253"/>
              <a:gd name="T7" fmla="*/ 2147483647 h 216"/>
              <a:gd name="T8" fmla="*/ 2147483647 w 253"/>
              <a:gd name="T9" fmla="*/ 2147483647 h 216"/>
              <a:gd name="T10" fmla="*/ 2147483647 w 253"/>
              <a:gd name="T11" fmla="*/ 0 h 216"/>
              <a:gd name="T12" fmla="*/ 2147483647 w 253"/>
              <a:gd name="T13" fmla="*/ 2147483647 h 216"/>
              <a:gd name="T14" fmla="*/ 2147483647 w 253"/>
              <a:gd name="T15" fmla="*/ 2147483647 h 216"/>
              <a:gd name="T16" fmla="*/ 2147483647 w 253"/>
              <a:gd name="T17" fmla="*/ 2147483647 h 216"/>
              <a:gd name="T18" fmla="*/ 2147483647 w 253"/>
              <a:gd name="T19" fmla="*/ 2147483647 h 216"/>
              <a:gd name="T20" fmla="*/ 2147483647 w 253"/>
              <a:gd name="T21" fmla="*/ 2147483647 h 216"/>
              <a:gd name="T22" fmla="*/ 2147483647 w 253"/>
              <a:gd name="T23" fmla="*/ 2147483647 h 216"/>
              <a:gd name="T24" fmla="*/ 2147483647 w 253"/>
              <a:gd name="T25" fmla="*/ 2147483647 h 216"/>
              <a:gd name="T26" fmla="*/ 2147483647 w 253"/>
              <a:gd name="T27" fmla="*/ 2147483647 h 216"/>
              <a:gd name="T28" fmla="*/ 2147483647 w 253"/>
              <a:gd name="T29" fmla="*/ 2147483647 h 216"/>
              <a:gd name="T30" fmla="*/ 2147483647 w 253"/>
              <a:gd name="T31" fmla="*/ 2147483647 h 216"/>
              <a:gd name="T32" fmla="*/ 2147483647 w 253"/>
              <a:gd name="T33" fmla="*/ 2147483647 h 216"/>
              <a:gd name="T34" fmla="*/ 2147483647 w 253"/>
              <a:gd name="T35" fmla="*/ 2147483647 h 216"/>
              <a:gd name="T36" fmla="*/ 0 w 253"/>
              <a:gd name="T37" fmla="*/ 2147483647 h 216"/>
              <a:gd name="T38" fmla="*/ 0 w 253"/>
              <a:gd name="T39" fmla="*/ 2147483647 h 216"/>
              <a:gd name="T40" fmla="*/ 2147483647 w 253"/>
              <a:gd name="T41" fmla="*/ 2147483647 h 216"/>
              <a:gd name="T42" fmla="*/ 2147483647 w 253"/>
              <a:gd name="T43" fmla="*/ 2147483647 h 216"/>
              <a:gd name="T44" fmla="*/ 2147483647 w 253"/>
              <a:gd name="T45" fmla="*/ 2147483647 h 216"/>
              <a:gd name="T46" fmla="*/ 2147483647 w 253"/>
              <a:gd name="T47" fmla="*/ 2147483647 h 216"/>
              <a:gd name="T48" fmla="*/ 2147483647 w 253"/>
              <a:gd name="T49" fmla="*/ 2147483647 h 216"/>
              <a:gd name="T50" fmla="*/ 2147483647 w 253"/>
              <a:gd name="T51" fmla="*/ 2147483647 h 216"/>
              <a:gd name="T52" fmla="*/ 2147483647 w 253"/>
              <a:gd name="T53" fmla="*/ 2147483647 h 216"/>
              <a:gd name="T54" fmla="*/ 2147483647 w 253"/>
              <a:gd name="T55" fmla="*/ 2147483647 h 216"/>
              <a:gd name="T56" fmla="*/ 2147483647 w 253"/>
              <a:gd name="T57" fmla="*/ 2147483647 h 216"/>
              <a:gd name="T58" fmla="*/ 2147483647 w 253"/>
              <a:gd name="T59" fmla="*/ 2147483647 h 216"/>
              <a:gd name="T60" fmla="*/ 2147483647 w 253"/>
              <a:gd name="T61" fmla="*/ 2147483647 h 216"/>
              <a:gd name="T62" fmla="*/ 2147483647 w 253"/>
              <a:gd name="T63" fmla="*/ 2147483647 h 216"/>
              <a:gd name="T64" fmla="*/ 2147483647 w 253"/>
              <a:gd name="T65" fmla="*/ 2147483647 h 216"/>
              <a:gd name="T66" fmla="*/ 2147483647 w 253"/>
              <a:gd name="T67" fmla="*/ 2147483647 h 216"/>
              <a:gd name="T68" fmla="*/ 2147483647 w 253"/>
              <a:gd name="T69" fmla="*/ 2147483647 h 216"/>
              <a:gd name="T70" fmla="*/ 2147483647 w 253"/>
              <a:gd name="T71" fmla="*/ 2147483647 h 216"/>
              <a:gd name="T72" fmla="*/ 2147483647 w 253"/>
              <a:gd name="T73" fmla="*/ 2147483647 h 216"/>
              <a:gd name="T74" fmla="*/ 2147483647 w 253"/>
              <a:gd name="T75" fmla="*/ 2147483647 h 216"/>
              <a:gd name="T76" fmla="*/ 2147483647 w 253"/>
              <a:gd name="T77" fmla="*/ 2147483647 h 216"/>
              <a:gd name="T78" fmla="*/ 2147483647 w 253"/>
              <a:gd name="T79" fmla="*/ 2147483647 h 216"/>
              <a:gd name="T80" fmla="*/ 2147483647 w 253"/>
              <a:gd name="T81" fmla="*/ 2147483647 h 216"/>
              <a:gd name="T82" fmla="*/ 2147483647 w 253"/>
              <a:gd name="T83" fmla="*/ 2147483647 h 216"/>
              <a:gd name="T84" fmla="*/ 2147483647 w 253"/>
              <a:gd name="T85" fmla="*/ 2147483647 h 216"/>
              <a:gd name="T86" fmla="*/ 2147483647 w 253"/>
              <a:gd name="T87" fmla="*/ 2147483647 h 216"/>
              <a:gd name="T88" fmla="*/ 2147483647 w 253"/>
              <a:gd name="T89" fmla="*/ 2147483647 h 216"/>
              <a:gd name="T90" fmla="*/ 2147483647 w 253"/>
              <a:gd name="T91" fmla="*/ 2147483647 h 216"/>
              <a:gd name="T92" fmla="*/ 2147483647 w 253"/>
              <a:gd name="T93" fmla="*/ 2147483647 h 216"/>
              <a:gd name="T94" fmla="*/ 2147483647 w 253"/>
              <a:gd name="T95" fmla="*/ 2147483647 h 216"/>
              <a:gd name="T96" fmla="*/ 2147483647 w 253"/>
              <a:gd name="T97" fmla="*/ 2147483647 h 216"/>
              <a:gd name="T98" fmla="*/ 2147483647 w 253"/>
              <a:gd name="T99" fmla="*/ 2147483647 h 216"/>
              <a:gd name="T100" fmla="*/ 2147483647 w 253"/>
              <a:gd name="T101" fmla="*/ 2147483647 h 216"/>
              <a:gd name="T102" fmla="*/ 2147483647 w 253"/>
              <a:gd name="T103" fmla="*/ 2147483647 h 216"/>
              <a:gd name="T104" fmla="*/ 2147483647 w 253"/>
              <a:gd name="T105" fmla="*/ 2147483647 h 216"/>
              <a:gd name="T106" fmla="*/ 2147483647 w 253"/>
              <a:gd name="T107" fmla="*/ 2147483647 h 216"/>
              <a:gd name="T108" fmla="*/ 2147483647 w 253"/>
              <a:gd name="T109" fmla="*/ 2147483647 h 216"/>
              <a:gd name="T110" fmla="*/ 2147483647 w 253"/>
              <a:gd name="T111" fmla="*/ 2147483647 h 216"/>
              <a:gd name="T112" fmla="*/ 2147483647 w 253"/>
              <a:gd name="T113" fmla="*/ 2147483647 h 216"/>
              <a:gd name="T114" fmla="*/ 2147483647 w 253"/>
              <a:gd name="T115" fmla="*/ 2147483647 h 216"/>
              <a:gd name="T116" fmla="*/ 2147483647 w 253"/>
              <a:gd name="T117" fmla="*/ 2147483647 h 216"/>
              <a:gd name="T118" fmla="*/ 2147483647 w 253"/>
              <a:gd name="T119" fmla="*/ 2147483647 h 2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3"/>
              <a:gd name="T181" fmla="*/ 0 h 216"/>
              <a:gd name="T182" fmla="*/ 253 w 253"/>
              <a:gd name="T183" fmla="*/ 216 h 2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3" h="216">
                <a:moveTo>
                  <a:pt x="223" y="39"/>
                </a:moveTo>
                <a:lnTo>
                  <a:pt x="189" y="48"/>
                </a:lnTo>
                <a:lnTo>
                  <a:pt x="168" y="38"/>
                </a:lnTo>
                <a:lnTo>
                  <a:pt x="132" y="5"/>
                </a:lnTo>
                <a:lnTo>
                  <a:pt x="130" y="4"/>
                </a:lnTo>
                <a:lnTo>
                  <a:pt x="119" y="0"/>
                </a:lnTo>
                <a:lnTo>
                  <a:pt x="116" y="12"/>
                </a:lnTo>
                <a:lnTo>
                  <a:pt x="89" y="22"/>
                </a:lnTo>
                <a:lnTo>
                  <a:pt x="87" y="29"/>
                </a:lnTo>
                <a:lnTo>
                  <a:pt x="92" y="34"/>
                </a:lnTo>
                <a:lnTo>
                  <a:pt x="92" y="43"/>
                </a:lnTo>
                <a:lnTo>
                  <a:pt x="74" y="56"/>
                </a:lnTo>
                <a:lnTo>
                  <a:pt x="74" y="74"/>
                </a:lnTo>
                <a:lnTo>
                  <a:pt x="70" y="77"/>
                </a:lnTo>
                <a:lnTo>
                  <a:pt x="59" y="71"/>
                </a:lnTo>
                <a:lnTo>
                  <a:pt x="54" y="74"/>
                </a:lnTo>
                <a:lnTo>
                  <a:pt x="44" y="58"/>
                </a:lnTo>
                <a:lnTo>
                  <a:pt x="36" y="71"/>
                </a:lnTo>
                <a:lnTo>
                  <a:pt x="0" y="67"/>
                </a:lnTo>
                <a:lnTo>
                  <a:pt x="0" y="68"/>
                </a:lnTo>
                <a:lnTo>
                  <a:pt x="3" y="84"/>
                </a:lnTo>
                <a:lnTo>
                  <a:pt x="13" y="104"/>
                </a:lnTo>
                <a:lnTo>
                  <a:pt x="21" y="106"/>
                </a:lnTo>
                <a:lnTo>
                  <a:pt x="35" y="77"/>
                </a:lnTo>
                <a:lnTo>
                  <a:pt x="44" y="80"/>
                </a:lnTo>
                <a:lnTo>
                  <a:pt x="57" y="92"/>
                </a:lnTo>
                <a:lnTo>
                  <a:pt x="66" y="124"/>
                </a:lnTo>
                <a:lnTo>
                  <a:pt x="81" y="138"/>
                </a:lnTo>
                <a:lnTo>
                  <a:pt x="73" y="139"/>
                </a:lnTo>
                <a:lnTo>
                  <a:pt x="72" y="147"/>
                </a:lnTo>
                <a:lnTo>
                  <a:pt x="102" y="172"/>
                </a:lnTo>
                <a:lnTo>
                  <a:pt x="106" y="185"/>
                </a:lnTo>
                <a:lnTo>
                  <a:pt x="144" y="191"/>
                </a:lnTo>
                <a:lnTo>
                  <a:pt x="172" y="216"/>
                </a:lnTo>
                <a:lnTo>
                  <a:pt x="171" y="216"/>
                </a:lnTo>
                <a:lnTo>
                  <a:pt x="177" y="212"/>
                </a:lnTo>
                <a:lnTo>
                  <a:pt x="160" y="193"/>
                </a:lnTo>
                <a:lnTo>
                  <a:pt x="158" y="184"/>
                </a:lnTo>
                <a:lnTo>
                  <a:pt x="112" y="138"/>
                </a:lnTo>
                <a:lnTo>
                  <a:pt x="111" y="121"/>
                </a:lnTo>
                <a:lnTo>
                  <a:pt x="103" y="107"/>
                </a:lnTo>
                <a:lnTo>
                  <a:pt x="94" y="102"/>
                </a:lnTo>
                <a:lnTo>
                  <a:pt x="96" y="80"/>
                </a:lnTo>
                <a:lnTo>
                  <a:pt x="107" y="77"/>
                </a:lnTo>
                <a:lnTo>
                  <a:pt x="121" y="91"/>
                </a:lnTo>
                <a:lnTo>
                  <a:pt x="129" y="77"/>
                </a:lnTo>
                <a:lnTo>
                  <a:pt x="137" y="77"/>
                </a:lnTo>
                <a:lnTo>
                  <a:pt x="147" y="75"/>
                </a:lnTo>
                <a:lnTo>
                  <a:pt x="186" y="88"/>
                </a:lnTo>
                <a:lnTo>
                  <a:pt x="193" y="83"/>
                </a:lnTo>
                <a:lnTo>
                  <a:pt x="222" y="87"/>
                </a:lnTo>
                <a:lnTo>
                  <a:pt x="229" y="101"/>
                </a:lnTo>
                <a:lnTo>
                  <a:pt x="241" y="97"/>
                </a:lnTo>
                <a:lnTo>
                  <a:pt x="242" y="79"/>
                </a:lnTo>
                <a:lnTo>
                  <a:pt x="253" y="77"/>
                </a:lnTo>
                <a:lnTo>
                  <a:pt x="233" y="70"/>
                </a:lnTo>
                <a:lnTo>
                  <a:pt x="236" y="60"/>
                </a:lnTo>
                <a:lnTo>
                  <a:pt x="228" y="58"/>
                </a:lnTo>
                <a:lnTo>
                  <a:pt x="229" y="44"/>
                </a:lnTo>
                <a:lnTo>
                  <a:pt x="223" y="39"/>
                </a:lnTo>
                <a:close/>
              </a:path>
            </a:pathLst>
          </a:custGeom>
          <a:solidFill>
            <a:schemeClr val="accent1"/>
          </a:solidFill>
          <a:ln w="6350">
            <a:solidFill>
              <a:schemeClr val="tx2"/>
            </a:solidFill>
            <a:round/>
            <a:headEnd/>
            <a:tailEnd/>
          </a:ln>
        </p:spPr>
        <p:txBody>
          <a:bodyPr/>
          <a:lstStyle/>
          <a:p>
            <a:endParaRPr lang="en-US"/>
          </a:p>
        </p:txBody>
      </p:sp>
      <p:sp>
        <p:nvSpPr>
          <p:cNvPr id="702" name="Freeform 1449"/>
          <p:cNvSpPr>
            <a:spLocks/>
          </p:cNvSpPr>
          <p:nvPr/>
        </p:nvSpPr>
        <p:spPr bwMode="auto">
          <a:xfrm>
            <a:off x="6266337" y="2915482"/>
            <a:ext cx="94601" cy="70051"/>
          </a:xfrm>
          <a:custGeom>
            <a:avLst/>
            <a:gdLst>
              <a:gd name="T0" fmla="*/ 2147483647 w 205"/>
              <a:gd name="T1" fmla="*/ 2147483647 h 169"/>
              <a:gd name="T2" fmla="*/ 2147483647 w 205"/>
              <a:gd name="T3" fmla="*/ 2147483647 h 169"/>
              <a:gd name="T4" fmla="*/ 2147483647 w 205"/>
              <a:gd name="T5" fmla="*/ 2147483647 h 169"/>
              <a:gd name="T6" fmla="*/ 2147483647 w 205"/>
              <a:gd name="T7" fmla="*/ 2147483647 h 169"/>
              <a:gd name="T8" fmla="*/ 2147483647 w 205"/>
              <a:gd name="T9" fmla="*/ 2147483647 h 169"/>
              <a:gd name="T10" fmla="*/ 0 w 205"/>
              <a:gd name="T11" fmla="*/ 2147483647 h 169"/>
              <a:gd name="T12" fmla="*/ 2147483647 w 205"/>
              <a:gd name="T13" fmla="*/ 2147483647 h 169"/>
              <a:gd name="T14" fmla="*/ 0 w 205"/>
              <a:gd name="T15" fmla="*/ 2147483647 h 169"/>
              <a:gd name="T16" fmla="*/ 0 w 205"/>
              <a:gd name="T17" fmla="*/ 2147483647 h 169"/>
              <a:gd name="T18" fmla="*/ 2147483647 w 205"/>
              <a:gd name="T19" fmla="*/ 2147483647 h 169"/>
              <a:gd name="T20" fmla="*/ 2147483647 w 205"/>
              <a:gd name="T21" fmla="*/ 2147483647 h 169"/>
              <a:gd name="T22" fmla="*/ 2147483647 w 205"/>
              <a:gd name="T23" fmla="*/ 2147483647 h 169"/>
              <a:gd name="T24" fmla="*/ 2147483647 w 205"/>
              <a:gd name="T25" fmla="*/ 2147483647 h 169"/>
              <a:gd name="T26" fmla="*/ 2147483647 w 205"/>
              <a:gd name="T27" fmla="*/ 0 h 169"/>
              <a:gd name="T28" fmla="*/ 2147483647 w 205"/>
              <a:gd name="T29" fmla="*/ 2147483647 h 169"/>
              <a:gd name="T30" fmla="*/ 2147483647 w 205"/>
              <a:gd name="T31" fmla="*/ 2147483647 h 169"/>
              <a:gd name="T32" fmla="*/ 2147483647 w 205"/>
              <a:gd name="T33" fmla="*/ 2147483647 h 169"/>
              <a:gd name="T34" fmla="*/ 2147483647 w 205"/>
              <a:gd name="T35" fmla="*/ 2147483647 h 169"/>
              <a:gd name="T36" fmla="*/ 2147483647 w 205"/>
              <a:gd name="T37" fmla="*/ 2147483647 h 169"/>
              <a:gd name="T38" fmla="*/ 2147483647 w 205"/>
              <a:gd name="T39" fmla="*/ 2147483647 h 169"/>
              <a:gd name="T40" fmla="*/ 2147483647 w 205"/>
              <a:gd name="T41" fmla="*/ 2147483647 h 169"/>
              <a:gd name="T42" fmla="*/ 2147483647 w 205"/>
              <a:gd name="T43" fmla="*/ 2147483647 h 169"/>
              <a:gd name="T44" fmla="*/ 2147483647 w 205"/>
              <a:gd name="T45" fmla="*/ 2147483647 h 169"/>
              <a:gd name="T46" fmla="*/ 2147483647 w 205"/>
              <a:gd name="T47" fmla="*/ 2147483647 h 169"/>
              <a:gd name="T48" fmla="*/ 2147483647 w 205"/>
              <a:gd name="T49" fmla="*/ 2147483647 h 169"/>
              <a:gd name="T50" fmla="*/ 2147483647 w 205"/>
              <a:gd name="T51" fmla="*/ 2147483647 h 169"/>
              <a:gd name="T52" fmla="*/ 2147483647 w 205"/>
              <a:gd name="T53" fmla="*/ 2147483647 h 16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5"/>
              <a:gd name="T82" fmla="*/ 0 h 169"/>
              <a:gd name="T83" fmla="*/ 205 w 205"/>
              <a:gd name="T84" fmla="*/ 169 h 16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5" h="169">
                <a:moveTo>
                  <a:pt x="39" y="145"/>
                </a:moveTo>
                <a:lnTo>
                  <a:pt x="45" y="108"/>
                </a:lnTo>
                <a:lnTo>
                  <a:pt x="34" y="107"/>
                </a:lnTo>
                <a:lnTo>
                  <a:pt x="25" y="117"/>
                </a:lnTo>
                <a:lnTo>
                  <a:pt x="9" y="109"/>
                </a:lnTo>
                <a:lnTo>
                  <a:pt x="0" y="85"/>
                </a:lnTo>
                <a:lnTo>
                  <a:pt x="12" y="76"/>
                </a:lnTo>
                <a:lnTo>
                  <a:pt x="0" y="71"/>
                </a:lnTo>
                <a:lnTo>
                  <a:pt x="0" y="39"/>
                </a:lnTo>
                <a:lnTo>
                  <a:pt x="41" y="16"/>
                </a:lnTo>
                <a:lnTo>
                  <a:pt x="56" y="16"/>
                </a:lnTo>
                <a:lnTo>
                  <a:pt x="58" y="9"/>
                </a:lnTo>
                <a:lnTo>
                  <a:pt x="83" y="12"/>
                </a:lnTo>
                <a:lnTo>
                  <a:pt x="95" y="0"/>
                </a:lnTo>
                <a:lnTo>
                  <a:pt x="152" y="19"/>
                </a:lnTo>
                <a:lnTo>
                  <a:pt x="185" y="20"/>
                </a:lnTo>
                <a:lnTo>
                  <a:pt x="194" y="16"/>
                </a:lnTo>
                <a:lnTo>
                  <a:pt x="194" y="8"/>
                </a:lnTo>
                <a:lnTo>
                  <a:pt x="205" y="20"/>
                </a:lnTo>
                <a:lnTo>
                  <a:pt x="188" y="47"/>
                </a:lnTo>
                <a:lnTo>
                  <a:pt x="153" y="60"/>
                </a:lnTo>
                <a:lnTo>
                  <a:pt x="186" y="144"/>
                </a:lnTo>
                <a:lnTo>
                  <a:pt x="172" y="169"/>
                </a:lnTo>
                <a:lnTo>
                  <a:pt x="133" y="169"/>
                </a:lnTo>
                <a:lnTo>
                  <a:pt x="113" y="146"/>
                </a:lnTo>
                <a:lnTo>
                  <a:pt x="77" y="131"/>
                </a:lnTo>
                <a:lnTo>
                  <a:pt x="39" y="145"/>
                </a:lnTo>
                <a:close/>
              </a:path>
            </a:pathLst>
          </a:custGeom>
          <a:solidFill>
            <a:schemeClr val="accent1"/>
          </a:solidFill>
          <a:ln w="6350">
            <a:solidFill>
              <a:schemeClr val="tx2"/>
            </a:solidFill>
            <a:round/>
            <a:headEnd/>
            <a:tailEnd/>
          </a:ln>
        </p:spPr>
        <p:txBody>
          <a:bodyPr/>
          <a:lstStyle/>
          <a:p>
            <a:endParaRPr lang="en-US"/>
          </a:p>
        </p:txBody>
      </p:sp>
      <p:sp>
        <p:nvSpPr>
          <p:cNvPr id="703" name="Freeform 1450"/>
          <p:cNvSpPr>
            <a:spLocks/>
          </p:cNvSpPr>
          <p:nvPr/>
        </p:nvSpPr>
        <p:spPr bwMode="auto">
          <a:xfrm>
            <a:off x="6077136" y="3075963"/>
            <a:ext cx="202100" cy="165576"/>
          </a:xfrm>
          <a:custGeom>
            <a:avLst/>
            <a:gdLst>
              <a:gd name="T0" fmla="*/ 0 w 428"/>
              <a:gd name="T1" fmla="*/ 2147483647 h 399"/>
              <a:gd name="T2" fmla="*/ 2147483647 w 428"/>
              <a:gd name="T3" fmla="*/ 2147483647 h 399"/>
              <a:gd name="T4" fmla="*/ 2147483647 w 428"/>
              <a:gd name="T5" fmla="*/ 2147483647 h 399"/>
              <a:gd name="T6" fmla="*/ 0 w 428"/>
              <a:gd name="T7" fmla="*/ 2147483647 h 399"/>
              <a:gd name="T8" fmla="*/ 2147483647 w 428"/>
              <a:gd name="T9" fmla="*/ 2147483647 h 399"/>
              <a:gd name="T10" fmla="*/ 2147483647 w 428"/>
              <a:gd name="T11" fmla="*/ 2147483647 h 399"/>
              <a:gd name="T12" fmla="*/ 2147483647 w 428"/>
              <a:gd name="T13" fmla="*/ 2147483647 h 399"/>
              <a:gd name="T14" fmla="*/ 2147483647 w 428"/>
              <a:gd name="T15" fmla="*/ 2147483647 h 399"/>
              <a:gd name="T16" fmla="*/ 2147483647 w 428"/>
              <a:gd name="T17" fmla="*/ 2147483647 h 399"/>
              <a:gd name="T18" fmla="*/ 2147483647 w 428"/>
              <a:gd name="T19" fmla="*/ 2147483647 h 399"/>
              <a:gd name="T20" fmla="*/ 2147483647 w 428"/>
              <a:gd name="T21" fmla="*/ 2147483647 h 399"/>
              <a:gd name="T22" fmla="*/ 2147483647 w 428"/>
              <a:gd name="T23" fmla="*/ 2147483647 h 399"/>
              <a:gd name="T24" fmla="*/ 2147483647 w 428"/>
              <a:gd name="T25" fmla="*/ 2147483647 h 399"/>
              <a:gd name="T26" fmla="*/ 2147483647 w 428"/>
              <a:gd name="T27" fmla="*/ 2147483647 h 399"/>
              <a:gd name="T28" fmla="*/ 2147483647 w 428"/>
              <a:gd name="T29" fmla="*/ 2147483647 h 399"/>
              <a:gd name="T30" fmla="*/ 2147483647 w 428"/>
              <a:gd name="T31" fmla="*/ 2147483647 h 399"/>
              <a:gd name="T32" fmla="*/ 2147483647 w 428"/>
              <a:gd name="T33" fmla="*/ 2147483647 h 399"/>
              <a:gd name="T34" fmla="*/ 2147483647 w 428"/>
              <a:gd name="T35" fmla="*/ 2147483647 h 399"/>
              <a:gd name="T36" fmla="*/ 2147483647 w 428"/>
              <a:gd name="T37" fmla="*/ 2147483647 h 399"/>
              <a:gd name="T38" fmla="*/ 2147483647 w 428"/>
              <a:gd name="T39" fmla="*/ 2147483647 h 399"/>
              <a:gd name="T40" fmla="*/ 2147483647 w 428"/>
              <a:gd name="T41" fmla="*/ 2147483647 h 399"/>
              <a:gd name="T42" fmla="*/ 2147483647 w 428"/>
              <a:gd name="T43" fmla="*/ 2147483647 h 399"/>
              <a:gd name="T44" fmla="*/ 2147483647 w 428"/>
              <a:gd name="T45" fmla="*/ 2147483647 h 399"/>
              <a:gd name="T46" fmla="*/ 2147483647 w 428"/>
              <a:gd name="T47" fmla="*/ 2147483647 h 399"/>
              <a:gd name="T48" fmla="*/ 2147483647 w 428"/>
              <a:gd name="T49" fmla="*/ 2147483647 h 399"/>
              <a:gd name="T50" fmla="*/ 2147483647 w 428"/>
              <a:gd name="T51" fmla="*/ 2147483647 h 399"/>
              <a:gd name="T52" fmla="*/ 2147483647 w 428"/>
              <a:gd name="T53" fmla="*/ 2147483647 h 399"/>
              <a:gd name="T54" fmla="*/ 2147483647 w 428"/>
              <a:gd name="T55" fmla="*/ 2147483647 h 399"/>
              <a:gd name="T56" fmla="*/ 2147483647 w 428"/>
              <a:gd name="T57" fmla="*/ 2147483647 h 399"/>
              <a:gd name="T58" fmla="*/ 2147483647 w 428"/>
              <a:gd name="T59" fmla="*/ 2147483647 h 399"/>
              <a:gd name="T60" fmla="*/ 2147483647 w 428"/>
              <a:gd name="T61" fmla="*/ 2147483647 h 399"/>
              <a:gd name="T62" fmla="*/ 2147483647 w 428"/>
              <a:gd name="T63" fmla="*/ 2147483647 h 399"/>
              <a:gd name="T64" fmla="*/ 2147483647 w 428"/>
              <a:gd name="T65" fmla="*/ 2147483647 h 399"/>
              <a:gd name="T66" fmla="*/ 2147483647 w 428"/>
              <a:gd name="T67" fmla="*/ 2147483647 h 399"/>
              <a:gd name="T68" fmla="*/ 2147483647 w 428"/>
              <a:gd name="T69" fmla="*/ 2147483647 h 399"/>
              <a:gd name="T70" fmla="*/ 2147483647 w 428"/>
              <a:gd name="T71" fmla="*/ 2147483647 h 399"/>
              <a:gd name="T72" fmla="*/ 2147483647 w 428"/>
              <a:gd name="T73" fmla="*/ 2147483647 h 399"/>
              <a:gd name="T74" fmla="*/ 2147483647 w 428"/>
              <a:gd name="T75" fmla="*/ 2147483647 h 399"/>
              <a:gd name="T76" fmla="*/ 2147483647 w 428"/>
              <a:gd name="T77" fmla="*/ 2147483647 h 399"/>
              <a:gd name="T78" fmla="*/ 2147483647 w 428"/>
              <a:gd name="T79" fmla="*/ 2147483647 h 399"/>
              <a:gd name="T80" fmla="*/ 2147483647 w 428"/>
              <a:gd name="T81" fmla="*/ 2147483647 h 399"/>
              <a:gd name="T82" fmla="*/ 2147483647 w 428"/>
              <a:gd name="T83" fmla="*/ 2147483647 h 399"/>
              <a:gd name="T84" fmla="*/ 2147483647 w 428"/>
              <a:gd name="T85" fmla="*/ 2147483647 h 399"/>
              <a:gd name="T86" fmla="*/ 2147483647 w 428"/>
              <a:gd name="T87" fmla="*/ 2147483647 h 399"/>
              <a:gd name="T88" fmla="*/ 2147483647 w 428"/>
              <a:gd name="T89" fmla="*/ 2147483647 h 399"/>
              <a:gd name="T90" fmla="*/ 2147483647 w 428"/>
              <a:gd name="T91" fmla="*/ 2147483647 h 399"/>
              <a:gd name="T92" fmla="*/ 2147483647 w 428"/>
              <a:gd name="T93" fmla="*/ 2147483647 h 399"/>
              <a:gd name="T94" fmla="*/ 2147483647 w 428"/>
              <a:gd name="T95" fmla="*/ 2147483647 h 399"/>
              <a:gd name="T96" fmla="*/ 2147483647 w 428"/>
              <a:gd name="T97" fmla="*/ 2147483647 h 399"/>
              <a:gd name="T98" fmla="*/ 2147483647 w 428"/>
              <a:gd name="T99" fmla="*/ 2147483647 h 399"/>
              <a:gd name="T100" fmla="*/ 2147483647 w 428"/>
              <a:gd name="T101" fmla="*/ 2147483647 h 399"/>
              <a:gd name="T102" fmla="*/ 2147483647 w 428"/>
              <a:gd name="T103" fmla="*/ 0 h 399"/>
              <a:gd name="T104" fmla="*/ 2147483647 w 428"/>
              <a:gd name="T105" fmla="*/ 2147483647 h 399"/>
              <a:gd name="T106" fmla="*/ 2147483647 w 428"/>
              <a:gd name="T107" fmla="*/ 2147483647 h 399"/>
              <a:gd name="T108" fmla="*/ 2147483647 w 428"/>
              <a:gd name="T109" fmla="*/ 2147483647 h 399"/>
              <a:gd name="T110" fmla="*/ 2147483647 w 428"/>
              <a:gd name="T111" fmla="*/ 2147483647 h 399"/>
              <a:gd name="T112" fmla="*/ 2147483647 w 428"/>
              <a:gd name="T113" fmla="*/ 2147483647 h 399"/>
              <a:gd name="T114" fmla="*/ 2147483647 w 428"/>
              <a:gd name="T115" fmla="*/ 2147483647 h 399"/>
              <a:gd name="T116" fmla="*/ 0 w 428"/>
              <a:gd name="T117" fmla="*/ 2147483647 h 3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8"/>
              <a:gd name="T178" fmla="*/ 0 h 399"/>
              <a:gd name="T179" fmla="*/ 428 w 428"/>
              <a:gd name="T180" fmla="*/ 399 h 3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8" h="399">
                <a:moveTo>
                  <a:pt x="0" y="81"/>
                </a:moveTo>
                <a:lnTo>
                  <a:pt x="8" y="101"/>
                </a:lnTo>
                <a:lnTo>
                  <a:pt x="8" y="114"/>
                </a:lnTo>
                <a:lnTo>
                  <a:pt x="0" y="149"/>
                </a:lnTo>
                <a:lnTo>
                  <a:pt x="11" y="157"/>
                </a:lnTo>
                <a:lnTo>
                  <a:pt x="16" y="202"/>
                </a:lnTo>
                <a:lnTo>
                  <a:pt x="19" y="230"/>
                </a:lnTo>
                <a:lnTo>
                  <a:pt x="33" y="248"/>
                </a:lnTo>
                <a:lnTo>
                  <a:pt x="25" y="284"/>
                </a:lnTo>
                <a:lnTo>
                  <a:pt x="32" y="288"/>
                </a:lnTo>
                <a:lnTo>
                  <a:pt x="43" y="276"/>
                </a:lnTo>
                <a:lnTo>
                  <a:pt x="55" y="287"/>
                </a:lnTo>
                <a:lnTo>
                  <a:pt x="77" y="290"/>
                </a:lnTo>
                <a:lnTo>
                  <a:pt x="94" y="301"/>
                </a:lnTo>
                <a:lnTo>
                  <a:pt x="90" y="313"/>
                </a:lnTo>
                <a:lnTo>
                  <a:pt x="112" y="329"/>
                </a:lnTo>
                <a:lnTo>
                  <a:pt x="121" y="323"/>
                </a:lnTo>
                <a:lnTo>
                  <a:pt x="119" y="314"/>
                </a:lnTo>
                <a:lnTo>
                  <a:pt x="154" y="323"/>
                </a:lnTo>
                <a:lnTo>
                  <a:pt x="154" y="335"/>
                </a:lnTo>
                <a:lnTo>
                  <a:pt x="173" y="343"/>
                </a:lnTo>
                <a:lnTo>
                  <a:pt x="188" y="366"/>
                </a:lnTo>
                <a:lnTo>
                  <a:pt x="202" y="372"/>
                </a:lnTo>
                <a:lnTo>
                  <a:pt x="211" y="376"/>
                </a:lnTo>
                <a:lnTo>
                  <a:pt x="228" y="371"/>
                </a:lnTo>
                <a:lnTo>
                  <a:pt x="247" y="390"/>
                </a:lnTo>
                <a:lnTo>
                  <a:pt x="268" y="381"/>
                </a:lnTo>
                <a:lnTo>
                  <a:pt x="292" y="387"/>
                </a:lnTo>
                <a:lnTo>
                  <a:pt x="316" y="378"/>
                </a:lnTo>
                <a:lnTo>
                  <a:pt x="358" y="399"/>
                </a:lnTo>
                <a:lnTo>
                  <a:pt x="369" y="399"/>
                </a:lnTo>
                <a:lnTo>
                  <a:pt x="369" y="378"/>
                </a:lnTo>
                <a:lnTo>
                  <a:pt x="383" y="348"/>
                </a:lnTo>
                <a:lnTo>
                  <a:pt x="424" y="311"/>
                </a:lnTo>
                <a:lnTo>
                  <a:pt x="428" y="300"/>
                </a:lnTo>
                <a:lnTo>
                  <a:pt x="424" y="280"/>
                </a:lnTo>
                <a:lnTo>
                  <a:pt x="414" y="267"/>
                </a:lnTo>
                <a:lnTo>
                  <a:pt x="402" y="231"/>
                </a:lnTo>
                <a:lnTo>
                  <a:pt x="406" y="202"/>
                </a:lnTo>
                <a:lnTo>
                  <a:pt x="390" y="183"/>
                </a:lnTo>
                <a:lnTo>
                  <a:pt x="419" y="154"/>
                </a:lnTo>
                <a:lnTo>
                  <a:pt x="419" y="127"/>
                </a:lnTo>
                <a:lnTo>
                  <a:pt x="403" y="61"/>
                </a:lnTo>
                <a:lnTo>
                  <a:pt x="400" y="49"/>
                </a:lnTo>
                <a:lnTo>
                  <a:pt x="372" y="33"/>
                </a:lnTo>
                <a:lnTo>
                  <a:pt x="297" y="41"/>
                </a:lnTo>
                <a:lnTo>
                  <a:pt x="235" y="28"/>
                </a:lnTo>
                <a:lnTo>
                  <a:pt x="200" y="41"/>
                </a:lnTo>
                <a:lnTo>
                  <a:pt x="185" y="14"/>
                </a:lnTo>
                <a:lnTo>
                  <a:pt x="198" y="17"/>
                </a:lnTo>
                <a:lnTo>
                  <a:pt x="194" y="6"/>
                </a:lnTo>
                <a:lnTo>
                  <a:pt x="168" y="0"/>
                </a:lnTo>
                <a:lnTo>
                  <a:pt x="133" y="8"/>
                </a:lnTo>
                <a:lnTo>
                  <a:pt x="79" y="42"/>
                </a:lnTo>
                <a:lnTo>
                  <a:pt x="12" y="68"/>
                </a:lnTo>
                <a:lnTo>
                  <a:pt x="5" y="73"/>
                </a:lnTo>
                <a:lnTo>
                  <a:pt x="15" y="76"/>
                </a:lnTo>
                <a:lnTo>
                  <a:pt x="13" y="87"/>
                </a:lnTo>
                <a:lnTo>
                  <a:pt x="0" y="81"/>
                </a:lnTo>
                <a:close/>
              </a:path>
            </a:pathLst>
          </a:custGeom>
          <a:solidFill>
            <a:schemeClr val="accent1"/>
          </a:solidFill>
          <a:ln w="6350">
            <a:solidFill>
              <a:schemeClr val="tx2"/>
            </a:solidFill>
            <a:round/>
            <a:headEnd/>
            <a:tailEnd/>
          </a:ln>
        </p:spPr>
        <p:txBody>
          <a:bodyPr/>
          <a:lstStyle/>
          <a:p>
            <a:endParaRPr lang="en-US"/>
          </a:p>
        </p:txBody>
      </p:sp>
      <p:sp>
        <p:nvSpPr>
          <p:cNvPr id="704" name="Freeform 1451"/>
          <p:cNvSpPr>
            <a:spLocks/>
          </p:cNvSpPr>
          <p:nvPr/>
        </p:nvSpPr>
        <p:spPr bwMode="auto">
          <a:xfrm>
            <a:off x="6214737" y="2968976"/>
            <a:ext cx="149067" cy="78967"/>
          </a:xfrm>
          <a:custGeom>
            <a:avLst/>
            <a:gdLst>
              <a:gd name="T0" fmla="*/ 2147483647 w 315"/>
              <a:gd name="T1" fmla="*/ 2147483647 h 188"/>
              <a:gd name="T2" fmla="*/ 2147483647 w 315"/>
              <a:gd name="T3" fmla="*/ 2147483647 h 188"/>
              <a:gd name="T4" fmla="*/ 2147483647 w 315"/>
              <a:gd name="T5" fmla="*/ 2147483647 h 188"/>
              <a:gd name="T6" fmla="*/ 2147483647 w 315"/>
              <a:gd name="T7" fmla="*/ 2147483647 h 188"/>
              <a:gd name="T8" fmla="*/ 2147483647 w 315"/>
              <a:gd name="T9" fmla="*/ 2147483647 h 188"/>
              <a:gd name="T10" fmla="*/ 2147483647 w 315"/>
              <a:gd name="T11" fmla="*/ 2147483647 h 188"/>
              <a:gd name="T12" fmla="*/ 2147483647 w 315"/>
              <a:gd name="T13" fmla="*/ 2147483647 h 188"/>
              <a:gd name="T14" fmla="*/ 2147483647 w 315"/>
              <a:gd name="T15" fmla="*/ 2147483647 h 188"/>
              <a:gd name="T16" fmla="*/ 2147483647 w 315"/>
              <a:gd name="T17" fmla="*/ 2147483647 h 188"/>
              <a:gd name="T18" fmla="*/ 2147483647 w 315"/>
              <a:gd name="T19" fmla="*/ 2147483647 h 188"/>
              <a:gd name="T20" fmla="*/ 2147483647 w 315"/>
              <a:gd name="T21" fmla="*/ 2147483647 h 188"/>
              <a:gd name="T22" fmla="*/ 2147483647 w 315"/>
              <a:gd name="T23" fmla="*/ 0 h 188"/>
              <a:gd name="T24" fmla="*/ 2147483647 w 315"/>
              <a:gd name="T25" fmla="*/ 2147483647 h 188"/>
              <a:gd name="T26" fmla="*/ 2147483647 w 315"/>
              <a:gd name="T27" fmla="*/ 2147483647 h 188"/>
              <a:gd name="T28" fmla="*/ 2147483647 w 315"/>
              <a:gd name="T29" fmla="*/ 2147483647 h 188"/>
              <a:gd name="T30" fmla="*/ 2147483647 w 315"/>
              <a:gd name="T31" fmla="*/ 2147483647 h 188"/>
              <a:gd name="T32" fmla="*/ 2147483647 w 315"/>
              <a:gd name="T33" fmla="*/ 2147483647 h 188"/>
              <a:gd name="T34" fmla="*/ 2147483647 w 315"/>
              <a:gd name="T35" fmla="*/ 2147483647 h 188"/>
              <a:gd name="T36" fmla="*/ 2147483647 w 315"/>
              <a:gd name="T37" fmla="*/ 2147483647 h 188"/>
              <a:gd name="T38" fmla="*/ 2147483647 w 315"/>
              <a:gd name="T39" fmla="*/ 2147483647 h 188"/>
              <a:gd name="T40" fmla="*/ 2147483647 w 315"/>
              <a:gd name="T41" fmla="*/ 2147483647 h 188"/>
              <a:gd name="T42" fmla="*/ 2147483647 w 315"/>
              <a:gd name="T43" fmla="*/ 2147483647 h 188"/>
              <a:gd name="T44" fmla="*/ 2147483647 w 315"/>
              <a:gd name="T45" fmla="*/ 2147483647 h 188"/>
              <a:gd name="T46" fmla="*/ 2147483647 w 315"/>
              <a:gd name="T47" fmla="*/ 2147483647 h 188"/>
              <a:gd name="T48" fmla="*/ 0 w 315"/>
              <a:gd name="T49" fmla="*/ 2147483647 h 188"/>
              <a:gd name="T50" fmla="*/ 0 w 315"/>
              <a:gd name="T51" fmla="*/ 2147483647 h 188"/>
              <a:gd name="T52" fmla="*/ 2147483647 w 315"/>
              <a:gd name="T53" fmla="*/ 2147483647 h 188"/>
              <a:gd name="T54" fmla="*/ 2147483647 w 315"/>
              <a:gd name="T55" fmla="*/ 2147483647 h 188"/>
              <a:gd name="T56" fmla="*/ 2147483647 w 315"/>
              <a:gd name="T57" fmla="*/ 2147483647 h 188"/>
              <a:gd name="T58" fmla="*/ 2147483647 w 315"/>
              <a:gd name="T59" fmla="*/ 2147483647 h 188"/>
              <a:gd name="T60" fmla="*/ 2147483647 w 315"/>
              <a:gd name="T61" fmla="*/ 2147483647 h 188"/>
              <a:gd name="T62" fmla="*/ 2147483647 w 315"/>
              <a:gd name="T63" fmla="*/ 2147483647 h 188"/>
              <a:gd name="T64" fmla="*/ 2147483647 w 315"/>
              <a:gd name="T65" fmla="*/ 2147483647 h 188"/>
              <a:gd name="T66" fmla="*/ 2147483647 w 315"/>
              <a:gd name="T67" fmla="*/ 2147483647 h 188"/>
              <a:gd name="T68" fmla="*/ 2147483647 w 315"/>
              <a:gd name="T69" fmla="*/ 2147483647 h 1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15"/>
              <a:gd name="T106" fmla="*/ 0 h 188"/>
              <a:gd name="T107" fmla="*/ 315 w 315"/>
              <a:gd name="T108" fmla="*/ 188 h 1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15" h="188">
                <a:moveTo>
                  <a:pt x="246" y="188"/>
                </a:moveTo>
                <a:lnTo>
                  <a:pt x="265" y="175"/>
                </a:lnTo>
                <a:lnTo>
                  <a:pt x="283" y="179"/>
                </a:lnTo>
                <a:lnTo>
                  <a:pt x="302" y="152"/>
                </a:lnTo>
                <a:lnTo>
                  <a:pt x="315" y="148"/>
                </a:lnTo>
                <a:lnTo>
                  <a:pt x="312" y="117"/>
                </a:lnTo>
                <a:lnTo>
                  <a:pt x="290" y="88"/>
                </a:lnTo>
                <a:lnTo>
                  <a:pt x="296" y="58"/>
                </a:lnTo>
                <a:lnTo>
                  <a:pt x="280" y="38"/>
                </a:lnTo>
                <a:lnTo>
                  <a:pt x="241" y="38"/>
                </a:lnTo>
                <a:lnTo>
                  <a:pt x="221" y="15"/>
                </a:lnTo>
                <a:lnTo>
                  <a:pt x="185" y="0"/>
                </a:lnTo>
                <a:lnTo>
                  <a:pt x="147" y="14"/>
                </a:lnTo>
                <a:lnTo>
                  <a:pt x="146" y="19"/>
                </a:lnTo>
                <a:lnTo>
                  <a:pt x="145" y="69"/>
                </a:lnTo>
                <a:lnTo>
                  <a:pt x="137" y="91"/>
                </a:lnTo>
                <a:lnTo>
                  <a:pt x="133" y="82"/>
                </a:lnTo>
                <a:lnTo>
                  <a:pt x="115" y="87"/>
                </a:lnTo>
                <a:lnTo>
                  <a:pt x="103" y="80"/>
                </a:lnTo>
                <a:lnTo>
                  <a:pt x="95" y="61"/>
                </a:lnTo>
                <a:lnTo>
                  <a:pt x="93" y="70"/>
                </a:lnTo>
                <a:lnTo>
                  <a:pt x="68" y="28"/>
                </a:lnTo>
                <a:lnTo>
                  <a:pt x="33" y="43"/>
                </a:lnTo>
                <a:lnTo>
                  <a:pt x="4" y="108"/>
                </a:lnTo>
                <a:lnTo>
                  <a:pt x="0" y="147"/>
                </a:lnTo>
                <a:lnTo>
                  <a:pt x="0" y="154"/>
                </a:lnTo>
                <a:lnTo>
                  <a:pt x="9" y="155"/>
                </a:lnTo>
                <a:lnTo>
                  <a:pt x="21" y="140"/>
                </a:lnTo>
                <a:lnTo>
                  <a:pt x="50" y="128"/>
                </a:lnTo>
                <a:lnTo>
                  <a:pt x="118" y="130"/>
                </a:lnTo>
                <a:lnTo>
                  <a:pt x="143" y="139"/>
                </a:lnTo>
                <a:lnTo>
                  <a:pt x="170" y="125"/>
                </a:lnTo>
                <a:lnTo>
                  <a:pt x="181" y="146"/>
                </a:lnTo>
                <a:lnTo>
                  <a:pt x="201" y="148"/>
                </a:lnTo>
                <a:lnTo>
                  <a:pt x="246" y="188"/>
                </a:lnTo>
                <a:close/>
              </a:path>
            </a:pathLst>
          </a:custGeom>
          <a:solidFill>
            <a:schemeClr val="accent1"/>
          </a:solidFill>
          <a:ln w="6350">
            <a:solidFill>
              <a:schemeClr val="tx2"/>
            </a:solidFill>
            <a:round/>
            <a:headEnd/>
            <a:tailEnd/>
          </a:ln>
        </p:spPr>
        <p:txBody>
          <a:bodyPr/>
          <a:lstStyle/>
          <a:p>
            <a:endParaRPr lang="en-US"/>
          </a:p>
        </p:txBody>
      </p:sp>
      <p:sp>
        <p:nvSpPr>
          <p:cNvPr id="705" name="Freeform 1452"/>
          <p:cNvSpPr>
            <a:spLocks/>
          </p:cNvSpPr>
          <p:nvPr/>
        </p:nvSpPr>
        <p:spPr bwMode="auto">
          <a:xfrm>
            <a:off x="6214737" y="3021196"/>
            <a:ext cx="114667" cy="78967"/>
          </a:xfrm>
          <a:custGeom>
            <a:avLst/>
            <a:gdLst>
              <a:gd name="T0" fmla="*/ 2147483647 w 249"/>
              <a:gd name="T1" fmla="*/ 2147483647 h 189"/>
              <a:gd name="T2" fmla="*/ 2147483647 w 249"/>
              <a:gd name="T3" fmla="*/ 2147483647 h 189"/>
              <a:gd name="T4" fmla="*/ 2147483647 w 249"/>
              <a:gd name="T5" fmla="*/ 2147483647 h 189"/>
              <a:gd name="T6" fmla="*/ 2147483647 w 249"/>
              <a:gd name="T7" fmla="*/ 2147483647 h 189"/>
              <a:gd name="T8" fmla="*/ 2147483647 w 249"/>
              <a:gd name="T9" fmla="*/ 2147483647 h 189"/>
              <a:gd name="T10" fmla="*/ 2147483647 w 249"/>
              <a:gd name="T11" fmla="*/ 2147483647 h 189"/>
              <a:gd name="T12" fmla="*/ 2147483647 w 249"/>
              <a:gd name="T13" fmla="*/ 2147483647 h 189"/>
              <a:gd name="T14" fmla="*/ 2147483647 w 249"/>
              <a:gd name="T15" fmla="*/ 2147483647 h 189"/>
              <a:gd name="T16" fmla="*/ 2147483647 w 249"/>
              <a:gd name="T17" fmla="*/ 2147483647 h 189"/>
              <a:gd name="T18" fmla="*/ 2147483647 w 249"/>
              <a:gd name="T19" fmla="*/ 2147483647 h 189"/>
              <a:gd name="T20" fmla="*/ 2147483647 w 249"/>
              <a:gd name="T21" fmla="*/ 2147483647 h 189"/>
              <a:gd name="T22" fmla="*/ 2147483647 w 249"/>
              <a:gd name="T23" fmla="*/ 2147483647 h 189"/>
              <a:gd name="T24" fmla="*/ 2147483647 w 249"/>
              <a:gd name="T25" fmla="*/ 2147483647 h 189"/>
              <a:gd name="T26" fmla="*/ 2147483647 w 249"/>
              <a:gd name="T27" fmla="*/ 2147483647 h 189"/>
              <a:gd name="T28" fmla="*/ 2147483647 w 249"/>
              <a:gd name="T29" fmla="*/ 0 h 189"/>
              <a:gd name="T30" fmla="*/ 2147483647 w 249"/>
              <a:gd name="T31" fmla="*/ 2147483647 h 189"/>
              <a:gd name="T32" fmla="*/ 2147483647 w 249"/>
              <a:gd name="T33" fmla="*/ 2147483647 h 189"/>
              <a:gd name="T34" fmla="*/ 2147483647 w 249"/>
              <a:gd name="T35" fmla="*/ 2147483647 h 189"/>
              <a:gd name="T36" fmla="*/ 2147483647 w 249"/>
              <a:gd name="T37" fmla="*/ 2147483647 h 189"/>
              <a:gd name="T38" fmla="*/ 2147483647 w 249"/>
              <a:gd name="T39" fmla="*/ 2147483647 h 189"/>
              <a:gd name="T40" fmla="*/ 0 w 249"/>
              <a:gd name="T41" fmla="*/ 2147483647 h 189"/>
              <a:gd name="T42" fmla="*/ 2147483647 w 249"/>
              <a:gd name="T43" fmla="*/ 2147483647 h 189"/>
              <a:gd name="T44" fmla="*/ 2147483647 w 249"/>
              <a:gd name="T45" fmla="*/ 2147483647 h 189"/>
              <a:gd name="T46" fmla="*/ 2147483647 w 249"/>
              <a:gd name="T47" fmla="*/ 2147483647 h 189"/>
              <a:gd name="T48" fmla="*/ 2147483647 w 249"/>
              <a:gd name="T49" fmla="*/ 2147483647 h 189"/>
              <a:gd name="T50" fmla="*/ 2147483647 w 249"/>
              <a:gd name="T51" fmla="*/ 2147483647 h 189"/>
              <a:gd name="T52" fmla="*/ 2147483647 w 249"/>
              <a:gd name="T53" fmla="*/ 2147483647 h 189"/>
              <a:gd name="T54" fmla="*/ 2147483647 w 249"/>
              <a:gd name="T55" fmla="*/ 2147483647 h 189"/>
              <a:gd name="T56" fmla="*/ 2147483647 w 249"/>
              <a:gd name="T57" fmla="*/ 2147483647 h 1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9"/>
              <a:gd name="T88" fmla="*/ 0 h 189"/>
              <a:gd name="T89" fmla="*/ 249 w 249"/>
              <a:gd name="T90" fmla="*/ 189 h 1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9" h="189">
                <a:moveTo>
                  <a:pt x="167" y="186"/>
                </a:moveTo>
                <a:lnTo>
                  <a:pt x="164" y="175"/>
                </a:lnTo>
                <a:lnTo>
                  <a:pt x="186" y="165"/>
                </a:lnTo>
                <a:lnTo>
                  <a:pt x="207" y="173"/>
                </a:lnTo>
                <a:lnTo>
                  <a:pt x="200" y="156"/>
                </a:lnTo>
                <a:lnTo>
                  <a:pt x="208" y="139"/>
                </a:lnTo>
                <a:lnTo>
                  <a:pt x="211" y="113"/>
                </a:lnTo>
                <a:lnTo>
                  <a:pt x="242" y="102"/>
                </a:lnTo>
                <a:lnTo>
                  <a:pt x="249" y="87"/>
                </a:lnTo>
                <a:lnTo>
                  <a:pt x="237" y="85"/>
                </a:lnTo>
                <a:lnTo>
                  <a:pt x="237" y="72"/>
                </a:lnTo>
                <a:lnTo>
                  <a:pt x="246" y="63"/>
                </a:lnTo>
                <a:lnTo>
                  <a:pt x="201" y="23"/>
                </a:lnTo>
                <a:lnTo>
                  <a:pt x="181" y="21"/>
                </a:lnTo>
                <a:lnTo>
                  <a:pt x="170" y="0"/>
                </a:lnTo>
                <a:lnTo>
                  <a:pt x="143" y="14"/>
                </a:lnTo>
                <a:lnTo>
                  <a:pt x="118" y="5"/>
                </a:lnTo>
                <a:lnTo>
                  <a:pt x="50" y="3"/>
                </a:lnTo>
                <a:lnTo>
                  <a:pt x="21" y="15"/>
                </a:lnTo>
                <a:lnTo>
                  <a:pt x="9" y="30"/>
                </a:lnTo>
                <a:lnTo>
                  <a:pt x="0" y="29"/>
                </a:lnTo>
                <a:lnTo>
                  <a:pt x="15" y="93"/>
                </a:lnTo>
                <a:lnTo>
                  <a:pt x="73" y="108"/>
                </a:lnTo>
                <a:lnTo>
                  <a:pt x="81" y="126"/>
                </a:lnTo>
                <a:lnTo>
                  <a:pt x="77" y="138"/>
                </a:lnTo>
                <a:lnTo>
                  <a:pt x="78" y="161"/>
                </a:lnTo>
                <a:lnTo>
                  <a:pt x="106" y="177"/>
                </a:lnTo>
                <a:lnTo>
                  <a:pt x="109" y="189"/>
                </a:lnTo>
                <a:lnTo>
                  <a:pt x="167" y="186"/>
                </a:lnTo>
                <a:close/>
              </a:path>
            </a:pathLst>
          </a:custGeom>
          <a:solidFill>
            <a:schemeClr val="accent1"/>
          </a:solidFill>
          <a:ln w="6350">
            <a:solidFill>
              <a:schemeClr val="tx2"/>
            </a:solidFill>
            <a:round/>
            <a:headEnd/>
            <a:tailEnd/>
          </a:ln>
        </p:spPr>
        <p:txBody>
          <a:bodyPr/>
          <a:lstStyle/>
          <a:p>
            <a:endParaRPr lang="en-US"/>
          </a:p>
        </p:txBody>
      </p:sp>
      <p:sp>
        <p:nvSpPr>
          <p:cNvPr id="706" name="Freeform 1453"/>
          <p:cNvSpPr>
            <a:spLocks/>
          </p:cNvSpPr>
          <p:nvPr/>
        </p:nvSpPr>
        <p:spPr bwMode="auto">
          <a:xfrm>
            <a:off x="6186070" y="3047942"/>
            <a:ext cx="65933" cy="43304"/>
          </a:xfrm>
          <a:custGeom>
            <a:avLst/>
            <a:gdLst>
              <a:gd name="T0" fmla="*/ 0 w 140"/>
              <a:gd name="T1" fmla="*/ 2147483647 h 105"/>
              <a:gd name="T2" fmla="*/ 2147483647 w 140"/>
              <a:gd name="T3" fmla="*/ 2147483647 h 105"/>
              <a:gd name="T4" fmla="*/ 2147483647 w 140"/>
              <a:gd name="T5" fmla="*/ 2147483647 h 105"/>
              <a:gd name="T6" fmla="*/ 2147483647 w 140"/>
              <a:gd name="T7" fmla="*/ 2147483647 h 105"/>
              <a:gd name="T8" fmla="*/ 2147483647 w 140"/>
              <a:gd name="T9" fmla="*/ 2147483647 h 105"/>
              <a:gd name="T10" fmla="*/ 2147483647 w 140"/>
              <a:gd name="T11" fmla="*/ 2147483647 h 105"/>
              <a:gd name="T12" fmla="*/ 2147483647 w 140"/>
              <a:gd name="T13" fmla="*/ 2147483647 h 105"/>
              <a:gd name="T14" fmla="*/ 2147483647 w 140"/>
              <a:gd name="T15" fmla="*/ 2147483647 h 105"/>
              <a:gd name="T16" fmla="*/ 2147483647 w 140"/>
              <a:gd name="T17" fmla="*/ 2147483647 h 105"/>
              <a:gd name="T18" fmla="*/ 2147483647 w 140"/>
              <a:gd name="T19" fmla="*/ 2147483647 h 105"/>
              <a:gd name="T20" fmla="*/ 2147483647 w 140"/>
              <a:gd name="T21" fmla="*/ 0 h 105"/>
              <a:gd name="T22" fmla="*/ 2147483647 w 140"/>
              <a:gd name="T23" fmla="*/ 2147483647 h 105"/>
              <a:gd name="T24" fmla="*/ 2147483647 w 140"/>
              <a:gd name="T25" fmla="*/ 2147483647 h 105"/>
              <a:gd name="T26" fmla="*/ 2147483647 w 140"/>
              <a:gd name="T27" fmla="*/ 2147483647 h 105"/>
              <a:gd name="T28" fmla="*/ 2147483647 w 140"/>
              <a:gd name="T29" fmla="*/ 2147483647 h 105"/>
              <a:gd name="T30" fmla="*/ 0 w 140"/>
              <a:gd name="T31" fmla="*/ 2147483647 h 1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05"/>
              <a:gd name="T50" fmla="*/ 140 w 140"/>
              <a:gd name="T51" fmla="*/ 105 h 10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05">
                <a:moveTo>
                  <a:pt x="0" y="92"/>
                </a:moveTo>
                <a:lnTo>
                  <a:pt x="62" y="105"/>
                </a:lnTo>
                <a:lnTo>
                  <a:pt x="137" y="97"/>
                </a:lnTo>
                <a:lnTo>
                  <a:pt x="136" y="74"/>
                </a:lnTo>
                <a:lnTo>
                  <a:pt x="140" y="62"/>
                </a:lnTo>
                <a:lnTo>
                  <a:pt x="132" y="44"/>
                </a:lnTo>
                <a:lnTo>
                  <a:pt x="74" y="29"/>
                </a:lnTo>
                <a:lnTo>
                  <a:pt x="69" y="59"/>
                </a:lnTo>
                <a:lnTo>
                  <a:pt x="44" y="50"/>
                </a:lnTo>
                <a:lnTo>
                  <a:pt x="63" y="22"/>
                </a:lnTo>
                <a:lnTo>
                  <a:pt x="66" y="0"/>
                </a:lnTo>
                <a:lnTo>
                  <a:pt x="49" y="35"/>
                </a:lnTo>
                <a:lnTo>
                  <a:pt x="35" y="54"/>
                </a:lnTo>
                <a:lnTo>
                  <a:pt x="19" y="55"/>
                </a:lnTo>
                <a:lnTo>
                  <a:pt x="11" y="80"/>
                </a:lnTo>
                <a:lnTo>
                  <a:pt x="0" y="92"/>
                </a:lnTo>
                <a:close/>
              </a:path>
            </a:pathLst>
          </a:custGeom>
          <a:solidFill>
            <a:schemeClr val="accent1"/>
          </a:solidFill>
          <a:ln w="6350">
            <a:solidFill>
              <a:schemeClr val="tx2"/>
            </a:solidFill>
            <a:round/>
            <a:headEnd/>
            <a:tailEnd/>
          </a:ln>
        </p:spPr>
        <p:txBody>
          <a:bodyPr/>
          <a:lstStyle/>
          <a:p>
            <a:endParaRPr lang="en-US"/>
          </a:p>
        </p:txBody>
      </p:sp>
      <p:sp>
        <p:nvSpPr>
          <p:cNvPr id="707" name="Freeform 1454"/>
          <p:cNvSpPr>
            <a:spLocks/>
          </p:cNvSpPr>
          <p:nvPr/>
        </p:nvSpPr>
        <p:spPr bwMode="auto">
          <a:xfrm>
            <a:off x="5607001" y="3381640"/>
            <a:ext cx="252269" cy="179586"/>
          </a:xfrm>
          <a:custGeom>
            <a:avLst/>
            <a:gdLst>
              <a:gd name="T0" fmla="*/ 2147483647 w 539"/>
              <a:gd name="T1" fmla="*/ 2147483647 h 427"/>
              <a:gd name="T2" fmla="*/ 2147483647 w 539"/>
              <a:gd name="T3" fmla="*/ 2147483647 h 427"/>
              <a:gd name="T4" fmla="*/ 2147483647 w 539"/>
              <a:gd name="T5" fmla="*/ 2147483647 h 427"/>
              <a:gd name="T6" fmla="*/ 2147483647 w 539"/>
              <a:gd name="T7" fmla="*/ 2147483647 h 427"/>
              <a:gd name="T8" fmla="*/ 2147483647 w 539"/>
              <a:gd name="T9" fmla="*/ 2147483647 h 427"/>
              <a:gd name="T10" fmla="*/ 2147483647 w 539"/>
              <a:gd name="T11" fmla="*/ 2147483647 h 427"/>
              <a:gd name="T12" fmla="*/ 2147483647 w 539"/>
              <a:gd name="T13" fmla="*/ 2147483647 h 427"/>
              <a:gd name="T14" fmla="*/ 2147483647 w 539"/>
              <a:gd name="T15" fmla="*/ 2147483647 h 427"/>
              <a:gd name="T16" fmla="*/ 2147483647 w 539"/>
              <a:gd name="T17" fmla="*/ 2147483647 h 427"/>
              <a:gd name="T18" fmla="*/ 2147483647 w 539"/>
              <a:gd name="T19" fmla="*/ 2147483647 h 427"/>
              <a:gd name="T20" fmla="*/ 2147483647 w 539"/>
              <a:gd name="T21" fmla="*/ 2147483647 h 427"/>
              <a:gd name="T22" fmla="*/ 2147483647 w 539"/>
              <a:gd name="T23" fmla="*/ 2147483647 h 427"/>
              <a:gd name="T24" fmla="*/ 0 w 539"/>
              <a:gd name="T25" fmla="*/ 2147483647 h 427"/>
              <a:gd name="T26" fmla="*/ 2147483647 w 539"/>
              <a:gd name="T27" fmla="*/ 2147483647 h 427"/>
              <a:gd name="T28" fmla="*/ 2147483647 w 539"/>
              <a:gd name="T29" fmla="*/ 0 h 427"/>
              <a:gd name="T30" fmla="*/ 2147483647 w 539"/>
              <a:gd name="T31" fmla="*/ 2147483647 h 427"/>
              <a:gd name="T32" fmla="*/ 2147483647 w 539"/>
              <a:gd name="T33" fmla="*/ 2147483647 h 427"/>
              <a:gd name="T34" fmla="*/ 2147483647 w 539"/>
              <a:gd name="T35" fmla="*/ 2147483647 h 427"/>
              <a:gd name="T36" fmla="*/ 2147483647 w 539"/>
              <a:gd name="T37" fmla="*/ 2147483647 h 427"/>
              <a:gd name="T38" fmla="*/ 2147483647 w 539"/>
              <a:gd name="T39" fmla="*/ 2147483647 h 427"/>
              <a:gd name="T40" fmla="*/ 2147483647 w 539"/>
              <a:gd name="T41" fmla="*/ 2147483647 h 427"/>
              <a:gd name="T42" fmla="*/ 2147483647 w 539"/>
              <a:gd name="T43" fmla="*/ 2147483647 h 427"/>
              <a:gd name="T44" fmla="*/ 2147483647 w 539"/>
              <a:gd name="T45" fmla="*/ 2147483647 h 427"/>
              <a:gd name="T46" fmla="*/ 2147483647 w 539"/>
              <a:gd name="T47" fmla="*/ 2147483647 h 427"/>
              <a:gd name="T48" fmla="*/ 2147483647 w 539"/>
              <a:gd name="T49" fmla="*/ 2147483647 h 427"/>
              <a:gd name="T50" fmla="*/ 2147483647 w 539"/>
              <a:gd name="T51" fmla="*/ 2147483647 h 427"/>
              <a:gd name="T52" fmla="*/ 2147483647 w 539"/>
              <a:gd name="T53" fmla="*/ 2147483647 h 427"/>
              <a:gd name="T54" fmla="*/ 2147483647 w 539"/>
              <a:gd name="T55" fmla="*/ 2147483647 h 427"/>
              <a:gd name="T56" fmla="*/ 2147483647 w 539"/>
              <a:gd name="T57" fmla="*/ 2147483647 h 427"/>
              <a:gd name="T58" fmla="*/ 2147483647 w 539"/>
              <a:gd name="T59" fmla="*/ 2147483647 h 427"/>
              <a:gd name="T60" fmla="*/ 2147483647 w 539"/>
              <a:gd name="T61" fmla="*/ 2147483647 h 427"/>
              <a:gd name="T62" fmla="*/ 2147483647 w 539"/>
              <a:gd name="T63" fmla="*/ 2147483647 h 427"/>
              <a:gd name="T64" fmla="*/ 2147483647 w 539"/>
              <a:gd name="T65" fmla="*/ 2147483647 h 427"/>
              <a:gd name="T66" fmla="*/ 2147483647 w 539"/>
              <a:gd name="T67" fmla="*/ 2147483647 h 427"/>
              <a:gd name="T68" fmla="*/ 2147483647 w 539"/>
              <a:gd name="T69" fmla="*/ 2147483647 h 4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9"/>
              <a:gd name="T106" fmla="*/ 0 h 427"/>
              <a:gd name="T107" fmla="*/ 539 w 539"/>
              <a:gd name="T108" fmla="*/ 427 h 4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9" h="427">
                <a:moveTo>
                  <a:pt x="81" y="367"/>
                </a:moveTo>
                <a:lnTo>
                  <a:pt x="78" y="345"/>
                </a:lnTo>
                <a:lnTo>
                  <a:pt x="100" y="322"/>
                </a:lnTo>
                <a:lnTo>
                  <a:pt x="88" y="294"/>
                </a:lnTo>
                <a:lnTo>
                  <a:pt x="97" y="267"/>
                </a:lnTo>
                <a:lnTo>
                  <a:pt x="83" y="236"/>
                </a:lnTo>
                <a:lnTo>
                  <a:pt x="105" y="220"/>
                </a:lnTo>
                <a:lnTo>
                  <a:pt x="101" y="198"/>
                </a:lnTo>
                <a:lnTo>
                  <a:pt x="108" y="156"/>
                </a:lnTo>
                <a:lnTo>
                  <a:pt x="126" y="140"/>
                </a:lnTo>
                <a:lnTo>
                  <a:pt x="132" y="122"/>
                </a:lnTo>
                <a:lnTo>
                  <a:pt x="121" y="108"/>
                </a:lnTo>
                <a:lnTo>
                  <a:pt x="56" y="110"/>
                </a:lnTo>
                <a:lnTo>
                  <a:pt x="50" y="106"/>
                </a:lnTo>
                <a:lnTo>
                  <a:pt x="49" y="96"/>
                </a:lnTo>
                <a:lnTo>
                  <a:pt x="27" y="103"/>
                </a:lnTo>
                <a:lnTo>
                  <a:pt x="21" y="111"/>
                </a:lnTo>
                <a:lnTo>
                  <a:pt x="19" y="99"/>
                </a:lnTo>
                <a:lnTo>
                  <a:pt x="26" y="83"/>
                </a:lnTo>
                <a:lnTo>
                  <a:pt x="20" y="84"/>
                </a:lnTo>
                <a:lnTo>
                  <a:pt x="22" y="78"/>
                </a:lnTo>
                <a:lnTo>
                  <a:pt x="15" y="74"/>
                </a:lnTo>
                <a:lnTo>
                  <a:pt x="20" y="64"/>
                </a:lnTo>
                <a:lnTo>
                  <a:pt x="11" y="61"/>
                </a:lnTo>
                <a:lnTo>
                  <a:pt x="12" y="55"/>
                </a:lnTo>
                <a:lnTo>
                  <a:pt x="0" y="45"/>
                </a:lnTo>
                <a:lnTo>
                  <a:pt x="13" y="27"/>
                </a:lnTo>
                <a:lnTo>
                  <a:pt x="36" y="24"/>
                </a:lnTo>
                <a:lnTo>
                  <a:pt x="47" y="4"/>
                </a:lnTo>
                <a:lnTo>
                  <a:pt x="66" y="0"/>
                </a:lnTo>
                <a:lnTo>
                  <a:pt x="100" y="10"/>
                </a:lnTo>
                <a:lnTo>
                  <a:pt x="141" y="5"/>
                </a:lnTo>
                <a:lnTo>
                  <a:pt x="201" y="17"/>
                </a:lnTo>
                <a:lnTo>
                  <a:pt x="240" y="14"/>
                </a:lnTo>
                <a:lnTo>
                  <a:pt x="320" y="21"/>
                </a:lnTo>
                <a:lnTo>
                  <a:pt x="338" y="38"/>
                </a:lnTo>
                <a:lnTo>
                  <a:pt x="368" y="54"/>
                </a:lnTo>
                <a:lnTo>
                  <a:pt x="416" y="64"/>
                </a:lnTo>
                <a:lnTo>
                  <a:pt x="436" y="57"/>
                </a:lnTo>
                <a:lnTo>
                  <a:pt x="454" y="66"/>
                </a:lnTo>
                <a:lnTo>
                  <a:pt x="462" y="76"/>
                </a:lnTo>
                <a:lnTo>
                  <a:pt x="469" y="72"/>
                </a:lnTo>
                <a:lnTo>
                  <a:pt x="483" y="80"/>
                </a:lnTo>
                <a:lnTo>
                  <a:pt x="532" y="78"/>
                </a:lnTo>
                <a:lnTo>
                  <a:pt x="539" y="85"/>
                </a:lnTo>
                <a:lnTo>
                  <a:pt x="532" y="89"/>
                </a:lnTo>
                <a:lnTo>
                  <a:pt x="536" y="104"/>
                </a:lnTo>
                <a:lnTo>
                  <a:pt x="529" y="113"/>
                </a:lnTo>
                <a:lnTo>
                  <a:pt x="488" y="141"/>
                </a:lnTo>
                <a:lnTo>
                  <a:pt x="442" y="158"/>
                </a:lnTo>
                <a:lnTo>
                  <a:pt x="432" y="169"/>
                </a:lnTo>
                <a:lnTo>
                  <a:pt x="389" y="235"/>
                </a:lnTo>
                <a:lnTo>
                  <a:pt x="384" y="251"/>
                </a:lnTo>
                <a:lnTo>
                  <a:pt x="390" y="270"/>
                </a:lnTo>
                <a:lnTo>
                  <a:pt x="407" y="282"/>
                </a:lnTo>
                <a:lnTo>
                  <a:pt x="403" y="289"/>
                </a:lnTo>
                <a:lnTo>
                  <a:pt x="379" y="308"/>
                </a:lnTo>
                <a:lnTo>
                  <a:pt x="366" y="335"/>
                </a:lnTo>
                <a:lnTo>
                  <a:pt x="366" y="346"/>
                </a:lnTo>
                <a:lnTo>
                  <a:pt x="342" y="349"/>
                </a:lnTo>
                <a:lnTo>
                  <a:pt x="326" y="364"/>
                </a:lnTo>
                <a:lnTo>
                  <a:pt x="312" y="390"/>
                </a:lnTo>
                <a:lnTo>
                  <a:pt x="212" y="395"/>
                </a:lnTo>
                <a:lnTo>
                  <a:pt x="203" y="404"/>
                </a:lnTo>
                <a:lnTo>
                  <a:pt x="182" y="409"/>
                </a:lnTo>
                <a:lnTo>
                  <a:pt x="164" y="427"/>
                </a:lnTo>
                <a:lnTo>
                  <a:pt x="141" y="418"/>
                </a:lnTo>
                <a:lnTo>
                  <a:pt x="126" y="383"/>
                </a:lnTo>
                <a:lnTo>
                  <a:pt x="115" y="373"/>
                </a:lnTo>
                <a:lnTo>
                  <a:pt x="98" y="366"/>
                </a:lnTo>
                <a:lnTo>
                  <a:pt x="81" y="367"/>
                </a:lnTo>
                <a:close/>
              </a:path>
            </a:pathLst>
          </a:custGeom>
          <a:solidFill>
            <a:schemeClr val="accent1"/>
          </a:solidFill>
          <a:ln w="6350">
            <a:solidFill>
              <a:schemeClr val="tx2"/>
            </a:solidFill>
            <a:round/>
            <a:headEnd/>
            <a:tailEnd/>
          </a:ln>
        </p:spPr>
        <p:txBody>
          <a:bodyPr/>
          <a:lstStyle/>
          <a:p>
            <a:endParaRPr lang="en-US"/>
          </a:p>
        </p:txBody>
      </p:sp>
      <p:sp>
        <p:nvSpPr>
          <p:cNvPr id="708" name="Freeform 1455"/>
          <p:cNvSpPr>
            <a:spLocks/>
          </p:cNvSpPr>
          <p:nvPr/>
        </p:nvSpPr>
        <p:spPr bwMode="auto">
          <a:xfrm>
            <a:off x="5697301" y="3186771"/>
            <a:ext cx="256568" cy="229258"/>
          </a:xfrm>
          <a:custGeom>
            <a:avLst/>
            <a:gdLst>
              <a:gd name="T0" fmla="*/ 2147483647 w 544"/>
              <a:gd name="T1" fmla="*/ 2147483647 h 549"/>
              <a:gd name="T2" fmla="*/ 2147483647 w 544"/>
              <a:gd name="T3" fmla="*/ 2147483647 h 549"/>
              <a:gd name="T4" fmla="*/ 2147483647 w 544"/>
              <a:gd name="T5" fmla="*/ 2147483647 h 549"/>
              <a:gd name="T6" fmla="*/ 2147483647 w 544"/>
              <a:gd name="T7" fmla="*/ 2147483647 h 549"/>
              <a:gd name="T8" fmla="*/ 2147483647 w 544"/>
              <a:gd name="T9" fmla="*/ 2147483647 h 549"/>
              <a:gd name="T10" fmla="*/ 2147483647 w 544"/>
              <a:gd name="T11" fmla="*/ 2147483647 h 549"/>
              <a:gd name="T12" fmla="*/ 2147483647 w 544"/>
              <a:gd name="T13" fmla="*/ 2147483647 h 549"/>
              <a:gd name="T14" fmla="*/ 2147483647 w 544"/>
              <a:gd name="T15" fmla="*/ 2147483647 h 549"/>
              <a:gd name="T16" fmla="*/ 2147483647 w 544"/>
              <a:gd name="T17" fmla="*/ 2147483647 h 549"/>
              <a:gd name="T18" fmla="*/ 2147483647 w 544"/>
              <a:gd name="T19" fmla="*/ 2147483647 h 549"/>
              <a:gd name="T20" fmla="*/ 2147483647 w 544"/>
              <a:gd name="T21" fmla="*/ 2147483647 h 549"/>
              <a:gd name="T22" fmla="*/ 2147483647 w 544"/>
              <a:gd name="T23" fmla="*/ 2147483647 h 549"/>
              <a:gd name="T24" fmla="*/ 2147483647 w 544"/>
              <a:gd name="T25" fmla="*/ 2147483647 h 549"/>
              <a:gd name="T26" fmla="*/ 2147483647 w 544"/>
              <a:gd name="T27" fmla="*/ 2147483647 h 549"/>
              <a:gd name="T28" fmla="*/ 2147483647 w 544"/>
              <a:gd name="T29" fmla="*/ 2147483647 h 549"/>
              <a:gd name="T30" fmla="*/ 2147483647 w 544"/>
              <a:gd name="T31" fmla="*/ 2147483647 h 549"/>
              <a:gd name="T32" fmla="*/ 2147483647 w 544"/>
              <a:gd name="T33" fmla="*/ 2147483647 h 549"/>
              <a:gd name="T34" fmla="*/ 2147483647 w 544"/>
              <a:gd name="T35" fmla="*/ 2147483647 h 549"/>
              <a:gd name="T36" fmla="*/ 2147483647 w 544"/>
              <a:gd name="T37" fmla="*/ 2147483647 h 549"/>
              <a:gd name="T38" fmla="*/ 2147483647 w 544"/>
              <a:gd name="T39" fmla="*/ 2147483647 h 549"/>
              <a:gd name="T40" fmla="*/ 2147483647 w 544"/>
              <a:gd name="T41" fmla="*/ 2147483647 h 549"/>
              <a:gd name="T42" fmla="*/ 2147483647 w 544"/>
              <a:gd name="T43" fmla="*/ 2147483647 h 549"/>
              <a:gd name="T44" fmla="*/ 2147483647 w 544"/>
              <a:gd name="T45" fmla="*/ 2147483647 h 549"/>
              <a:gd name="T46" fmla="*/ 2147483647 w 544"/>
              <a:gd name="T47" fmla="*/ 2147483647 h 549"/>
              <a:gd name="T48" fmla="*/ 2147483647 w 544"/>
              <a:gd name="T49" fmla="*/ 2147483647 h 549"/>
              <a:gd name="T50" fmla="*/ 2147483647 w 544"/>
              <a:gd name="T51" fmla="*/ 2147483647 h 549"/>
              <a:gd name="T52" fmla="*/ 2147483647 w 544"/>
              <a:gd name="T53" fmla="*/ 2147483647 h 549"/>
              <a:gd name="T54" fmla="*/ 2147483647 w 544"/>
              <a:gd name="T55" fmla="*/ 2147483647 h 549"/>
              <a:gd name="T56" fmla="*/ 2147483647 w 544"/>
              <a:gd name="T57" fmla="*/ 2147483647 h 549"/>
              <a:gd name="T58" fmla="*/ 2147483647 w 544"/>
              <a:gd name="T59" fmla="*/ 2147483647 h 549"/>
              <a:gd name="T60" fmla="*/ 2147483647 w 544"/>
              <a:gd name="T61" fmla="*/ 2147483647 h 549"/>
              <a:gd name="T62" fmla="*/ 2147483647 w 544"/>
              <a:gd name="T63" fmla="*/ 2147483647 h 549"/>
              <a:gd name="T64" fmla="*/ 2147483647 w 544"/>
              <a:gd name="T65" fmla="*/ 2147483647 h 549"/>
              <a:gd name="T66" fmla="*/ 2147483647 w 544"/>
              <a:gd name="T67" fmla="*/ 2147483647 h 549"/>
              <a:gd name="T68" fmla="*/ 2147483647 w 544"/>
              <a:gd name="T69" fmla="*/ 2147483647 h 549"/>
              <a:gd name="T70" fmla="*/ 2147483647 w 544"/>
              <a:gd name="T71" fmla="*/ 2147483647 h 549"/>
              <a:gd name="T72" fmla="*/ 2147483647 w 544"/>
              <a:gd name="T73" fmla="*/ 2147483647 h 549"/>
              <a:gd name="T74" fmla="*/ 2147483647 w 544"/>
              <a:gd name="T75" fmla="*/ 2147483647 h 549"/>
              <a:gd name="T76" fmla="*/ 2147483647 w 544"/>
              <a:gd name="T77" fmla="*/ 2147483647 h 549"/>
              <a:gd name="T78" fmla="*/ 2147483647 w 544"/>
              <a:gd name="T79" fmla="*/ 2147483647 h 549"/>
              <a:gd name="T80" fmla="*/ 2147483647 w 544"/>
              <a:gd name="T81" fmla="*/ 2147483647 h 549"/>
              <a:gd name="T82" fmla="*/ 2147483647 w 544"/>
              <a:gd name="T83" fmla="*/ 2147483647 h 549"/>
              <a:gd name="T84" fmla="*/ 2147483647 w 544"/>
              <a:gd name="T85" fmla="*/ 2147483647 h 549"/>
              <a:gd name="T86" fmla="*/ 2147483647 w 544"/>
              <a:gd name="T87" fmla="*/ 2147483647 h 549"/>
              <a:gd name="T88" fmla="*/ 2147483647 w 544"/>
              <a:gd name="T89" fmla="*/ 2147483647 h 549"/>
              <a:gd name="T90" fmla="*/ 2147483647 w 544"/>
              <a:gd name="T91" fmla="*/ 2147483647 h 549"/>
              <a:gd name="T92" fmla="*/ 2147483647 w 544"/>
              <a:gd name="T93" fmla="*/ 2147483647 h 549"/>
              <a:gd name="T94" fmla="*/ 2147483647 w 544"/>
              <a:gd name="T95" fmla="*/ 2147483647 h 549"/>
              <a:gd name="T96" fmla="*/ 2147483647 w 544"/>
              <a:gd name="T97" fmla="*/ 2147483647 h 549"/>
              <a:gd name="T98" fmla="*/ 2147483647 w 544"/>
              <a:gd name="T99" fmla="*/ 2147483647 h 549"/>
              <a:gd name="T100" fmla="*/ 2147483647 w 544"/>
              <a:gd name="T101" fmla="*/ 0 h 5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4"/>
              <a:gd name="T154" fmla="*/ 0 h 549"/>
              <a:gd name="T155" fmla="*/ 544 w 544"/>
              <a:gd name="T156" fmla="*/ 549 h 5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4" h="549">
                <a:moveTo>
                  <a:pt x="320" y="0"/>
                </a:moveTo>
                <a:lnTo>
                  <a:pt x="279" y="14"/>
                </a:lnTo>
                <a:lnTo>
                  <a:pt x="273" y="29"/>
                </a:lnTo>
                <a:lnTo>
                  <a:pt x="273" y="61"/>
                </a:lnTo>
                <a:lnTo>
                  <a:pt x="253" y="79"/>
                </a:lnTo>
                <a:lnTo>
                  <a:pt x="215" y="94"/>
                </a:lnTo>
                <a:lnTo>
                  <a:pt x="211" y="108"/>
                </a:lnTo>
                <a:lnTo>
                  <a:pt x="225" y="112"/>
                </a:lnTo>
                <a:lnTo>
                  <a:pt x="195" y="121"/>
                </a:lnTo>
                <a:lnTo>
                  <a:pt x="159" y="117"/>
                </a:lnTo>
                <a:lnTo>
                  <a:pt x="149" y="105"/>
                </a:lnTo>
                <a:lnTo>
                  <a:pt x="150" y="98"/>
                </a:lnTo>
                <a:lnTo>
                  <a:pt x="123" y="95"/>
                </a:lnTo>
                <a:lnTo>
                  <a:pt x="139" y="160"/>
                </a:lnTo>
                <a:lnTo>
                  <a:pt x="144" y="163"/>
                </a:lnTo>
                <a:lnTo>
                  <a:pt x="141" y="167"/>
                </a:lnTo>
                <a:lnTo>
                  <a:pt x="126" y="163"/>
                </a:lnTo>
                <a:lnTo>
                  <a:pt x="93" y="170"/>
                </a:lnTo>
                <a:lnTo>
                  <a:pt x="73" y="154"/>
                </a:lnTo>
                <a:lnTo>
                  <a:pt x="56" y="154"/>
                </a:lnTo>
                <a:lnTo>
                  <a:pt x="51" y="160"/>
                </a:lnTo>
                <a:lnTo>
                  <a:pt x="3" y="174"/>
                </a:lnTo>
                <a:lnTo>
                  <a:pt x="0" y="185"/>
                </a:lnTo>
                <a:lnTo>
                  <a:pt x="16" y="183"/>
                </a:lnTo>
                <a:lnTo>
                  <a:pt x="7" y="192"/>
                </a:lnTo>
                <a:lnTo>
                  <a:pt x="16" y="199"/>
                </a:lnTo>
                <a:lnTo>
                  <a:pt x="4" y="204"/>
                </a:lnTo>
                <a:lnTo>
                  <a:pt x="18" y="220"/>
                </a:lnTo>
                <a:lnTo>
                  <a:pt x="34" y="215"/>
                </a:lnTo>
                <a:lnTo>
                  <a:pt x="68" y="234"/>
                </a:lnTo>
                <a:lnTo>
                  <a:pt x="97" y="237"/>
                </a:lnTo>
                <a:lnTo>
                  <a:pt x="98" y="251"/>
                </a:lnTo>
                <a:lnTo>
                  <a:pt x="130" y="255"/>
                </a:lnTo>
                <a:lnTo>
                  <a:pt x="113" y="257"/>
                </a:lnTo>
                <a:lnTo>
                  <a:pt x="115" y="280"/>
                </a:lnTo>
                <a:lnTo>
                  <a:pt x="129" y="300"/>
                </a:lnTo>
                <a:lnTo>
                  <a:pt x="157" y="313"/>
                </a:lnTo>
                <a:lnTo>
                  <a:pt x="160" y="338"/>
                </a:lnTo>
                <a:lnTo>
                  <a:pt x="156" y="346"/>
                </a:lnTo>
                <a:lnTo>
                  <a:pt x="172" y="368"/>
                </a:lnTo>
                <a:lnTo>
                  <a:pt x="175" y="378"/>
                </a:lnTo>
                <a:lnTo>
                  <a:pt x="161" y="361"/>
                </a:lnTo>
                <a:lnTo>
                  <a:pt x="155" y="406"/>
                </a:lnTo>
                <a:lnTo>
                  <a:pt x="161" y="413"/>
                </a:lnTo>
                <a:lnTo>
                  <a:pt x="154" y="430"/>
                </a:lnTo>
                <a:lnTo>
                  <a:pt x="145" y="476"/>
                </a:lnTo>
                <a:lnTo>
                  <a:pt x="142" y="485"/>
                </a:lnTo>
                <a:lnTo>
                  <a:pt x="126" y="490"/>
                </a:lnTo>
                <a:lnTo>
                  <a:pt x="144" y="507"/>
                </a:lnTo>
                <a:lnTo>
                  <a:pt x="174" y="523"/>
                </a:lnTo>
                <a:lnTo>
                  <a:pt x="222" y="533"/>
                </a:lnTo>
                <a:lnTo>
                  <a:pt x="242" y="526"/>
                </a:lnTo>
                <a:lnTo>
                  <a:pt x="260" y="535"/>
                </a:lnTo>
                <a:lnTo>
                  <a:pt x="270" y="534"/>
                </a:lnTo>
                <a:lnTo>
                  <a:pt x="275" y="541"/>
                </a:lnTo>
                <a:lnTo>
                  <a:pt x="289" y="549"/>
                </a:lnTo>
                <a:lnTo>
                  <a:pt x="338" y="547"/>
                </a:lnTo>
                <a:lnTo>
                  <a:pt x="333" y="521"/>
                </a:lnTo>
                <a:lnTo>
                  <a:pt x="340" y="501"/>
                </a:lnTo>
                <a:lnTo>
                  <a:pt x="374" y="480"/>
                </a:lnTo>
                <a:lnTo>
                  <a:pt x="403" y="490"/>
                </a:lnTo>
                <a:lnTo>
                  <a:pt x="419" y="489"/>
                </a:lnTo>
                <a:lnTo>
                  <a:pt x="465" y="507"/>
                </a:lnTo>
                <a:lnTo>
                  <a:pt x="484" y="498"/>
                </a:lnTo>
                <a:lnTo>
                  <a:pt x="507" y="471"/>
                </a:lnTo>
                <a:lnTo>
                  <a:pt x="524" y="462"/>
                </a:lnTo>
                <a:lnTo>
                  <a:pt x="522" y="442"/>
                </a:lnTo>
                <a:lnTo>
                  <a:pt x="502" y="440"/>
                </a:lnTo>
                <a:lnTo>
                  <a:pt x="495" y="424"/>
                </a:lnTo>
                <a:lnTo>
                  <a:pt x="496" y="402"/>
                </a:lnTo>
                <a:lnTo>
                  <a:pt x="488" y="396"/>
                </a:lnTo>
                <a:lnTo>
                  <a:pt x="489" y="386"/>
                </a:lnTo>
                <a:lnTo>
                  <a:pt x="501" y="375"/>
                </a:lnTo>
                <a:lnTo>
                  <a:pt x="490" y="342"/>
                </a:lnTo>
                <a:lnTo>
                  <a:pt x="498" y="338"/>
                </a:lnTo>
                <a:lnTo>
                  <a:pt x="496" y="330"/>
                </a:lnTo>
                <a:lnTo>
                  <a:pt x="490" y="329"/>
                </a:lnTo>
                <a:lnTo>
                  <a:pt x="489" y="307"/>
                </a:lnTo>
                <a:lnTo>
                  <a:pt x="473" y="306"/>
                </a:lnTo>
                <a:lnTo>
                  <a:pt x="459" y="322"/>
                </a:lnTo>
                <a:lnTo>
                  <a:pt x="458" y="303"/>
                </a:lnTo>
                <a:lnTo>
                  <a:pt x="479" y="265"/>
                </a:lnTo>
                <a:lnTo>
                  <a:pt x="497" y="245"/>
                </a:lnTo>
                <a:lnTo>
                  <a:pt x="494" y="241"/>
                </a:lnTo>
                <a:lnTo>
                  <a:pt x="497" y="236"/>
                </a:lnTo>
                <a:lnTo>
                  <a:pt x="523" y="230"/>
                </a:lnTo>
                <a:lnTo>
                  <a:pt x="521" y="198"/>
                </a:lnTo>
                <a:lnTo>
                  <a:pt x="529" y="170"/>
                </a:lnTo>
                <a:lnTo>
                  <a:pt x="544" y="141"/>
                </a:lnTo>
                <a:lnTo>
                  <a:pt x="487" y="126"/>
                </a:lnTo>
                <a:lnTo>
                  <a:pt x="467" y="104"/>
                </a:lnTo>
                <a:lnTo>
                  <a:pt x="444" y="101"/>
                </a:lnTo>
                <a:lnTo>
                  <a:pt x="429" y="100"/>
                </a:lnTo>
                <a:lnTo>
                  <a:pt x="414" y="90"/>
                </a:lnTo>
                <a:lnTo>
                  <a:pt x="412" y="65"/>
                </a:lnTo>
                <a:lnTo>
                  <a:pt x="399" y="76"/>
                </a:lnTo>
                <a:lnTo>
                  <a:pt x="384" y="74"/>
                </a:lnTo>
                <a:lnTo>
                  <a:pt x="375" y="51"/>
                </a:lnTo>
                <a:lnTo>
                  <a:pt x="346" y="39"/>
                </a:lnTo>
                <a:lnTo>
                  <a:pt x="339" y="24"/>
                </a:lnTo>
                <a:lnTo>
                  <a:pt x="322" y="21"/>
                </a:lnTo>
                <a:lnTo>
                  <a:pt x="320" y="0"/>
                </a:lnTo>
                <a:close/>
              </a:path>
            </a:pathLst>
          </a:custGeom>
          <a:solidFill>
            <a:schemeClr val="accent1"/>
          </a:solidFill>
          <a:ln w="6350">
            <a:solidFill>
              <a:schemeClr val="tx2"/>
            </a:solidFill>
            <a:round/>
            <a:headEnd/>
            <a:tailEnd/>
          </a:ln>
        </p:spPr>
        <p:txBody>
          <a:bodyPr/>
          <a:lstStyle/>
          <a:p>
            <a:endParaRPr lang="en-US"/>
          </a:p>
        </p:txBody>
      </p:sp>
      <p:sp>
        <p:nvSpPr>
          <p:cNvPr id="709" name="Freeform 1456"/>
          <p:cNvSpPr>
            <a:spLocks/>
          </p:cNvSpPr>
          <p:nvPr/>
        </p:nvSpPr>
        <p:spPr bwMode="auto">
          <a:xfrm>
            <a:off x="5604135" y="3422397"/>
            <a:ext cx="65933" cy="115903"/>
          </a:xfrm>
          <a:custGeom>
            <a:avLst/>
            <a:gdLst>
              <a:gd name="T0" fmla="*/ 2147483647 w 138"/>
              <a:gd name="T1" fmla="*/ 2147483647 h 279"/>
              <a:gd name="T2" fmla="*/ 2147483647 w 138"/>
              <a:gd name="T3" fmla="*/ 2147483647 h 279"/>
              <a:gd name="T4" fmla="*/ 2147483647 w 138"/>
              <a:gd name="T5" fmla="*/ 0 h 279"/>
              <a:gd name="T6" fmla="*/ 2147483647 w 138"/>
              <a:gd name="T7" fmla="*/ 2147483647 h 279"/>
              <a:gd name="T8" fmla="*/ 2147483647 w 138"/>
              <a:gd name="T9" fmla="*/ 2147483647 h 279"/>
              <a:gd name="T10" fmla="*/ 2147483647 w 138"/>
              <a:gd name="T11" fmla="*/ 2147483647 h 279"/>
              <a:gd name="T12" fmla="*/ 2147483647 w 138"/>
              <a:gd name="T13" fmla="*/ 2147483647 h 279"/>
              <a:gd name="T14" fmla="*/ 2147483647 w 138"/>
              <a:gd name="T15" fmla="*/ 2147483647 h 279"/>
              <a:gd name="T16" fmla="*/ 2147483647 w 138"/>
              <a:gd name="T17" fmla="*/ 2147483647 h 279"/>
              <a:gd name="T18" fmla="*/ 2147483647 w 138"/>
              <a:gd name="T19" fmla="*/ 2147483647 h 279"/>
              <a:gd name="T20" fmla="*/ 2147483647 w 138"/>
              <a:gd name="T21" fmla="*/ 2147483647 h 279"/>
              <a:gd name="T22" fmla="*/ 2147483647 w 138"/>
              <a:gd name="T23" fmla="*/ 2147483647 h 279"/>
              <a:gd name="T24" fmla="*/ 2147483647 w 138"/>
              <a:gd name="T25" fmla="*/ 2147483647 h 279"/>
              <a:gd name="T26" fmla="*/ 2147483647 w 138"/>
              <a:gd name="T27" fmla="*/ 2147483647 h 279"/>
              <a:gd name="T28" fmla="*/ 2147483647 w 138"/>
              <a:gd name="T29" fmla="*/ 2147483647 h 279"/>
              <a:gd name="T30" fmla="*/ 2147483647 w 138"/>
              <a:gd name="T31" fmla="*/ 2147483647 h 279"/>
              <a:gd name="T32" fmla="*/ 2147483647 w 138"/>
              <a:gd name="T33" fmla="*/ 2147483647 h 279"/>
              <a:gd name="T34" fmla="*/ 2147483647 w 138"/>
              <a:gd name="T35" fmla="*/ 2147483647 h 279"/>
              <a:gd name="T36" fmla="*/ 2147483647 w 138"/>
              <a:gd name="T37" fmla="*/ 2147483647 h 279"/>
              <a:gd name="T38" fmla="*/ 2147483647 w 138"/>
              <a:gd name="T39" fmla="*/ 2147483647 h 279"/>
              <a:gd name="T40" fmla="*/ 2147483647 w 138"/>
              <a:gd name="T41" fmla="*/ 2147483647 h 279"/>
              <a:gd name="T42" fmla="*/ 2147483647 w 138"/>
              <a:gd name="T43" fmla="*/ 2147483647 h 279"/>
              <a:gd name="T44" fmla="*/ 0 w 138"/>
              <a:gd name="T45" fmla="*/ 2147483647 h 279"/>
              <a:gd name="T46" fmla="*/ 2147483647 w 138"/>
              <a:gd name="T47" fmla="*/ 2147483647 h 279"/>
              <a:gd name="T48" fmla="*/ 2147483647 w 138"/>
              <a:gd name="T49" fmla="*/ 2147483647 h 279"/>
              <a:gd name="T50" fmla="*/ 2147483647 w 138"/>
              <a:gd name="T51" fmla="*/ 2147483647 h 279"/>
              <a:gd name="T52" fmla="*/ 2147483647 w 138"/>
              <a:gd name="T53" fmla="*/ 2147483647 h 2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8"/>
              <a:gd name="T82" fmla="*/ 0 h 279"/>
              <a:gd name="T83" fmla="*/ 138 w 138"/>
              <a:gd name="T84" fmla="*/ 279 h 2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8" h="279">
                <a:moveTo>
                  <a:pt x="27" y="15"/>
                </a:moveTo>
                <a:lnTo>
                  <a:pt x="33" y="7"/>
                </a:lnTo>
                <a:lnTo>
                  <a:pt x="55" y="0"/>
                </a:lnTo>
                <a:lnTo>
                  <a:pt x="56" y="10"/>
                </a:lnTo>
                <a:lnTo>
                  <a:pt x="62" y="14"/>
                </a:lnTo>
                <a:lnTo>
                  <a:pt x="127" y="12"/>
                </a:lnTo>
                <a:lnTo>
                  <a:pt x="138" y="26"/>
                </a:lnTo>
                <a:lnTo>
                  <a:pt x="132" y="44"/>
                </a:lnTo>
                <a:lnTo>
                  <a:pt x="114" y="60"/>
                </a:lnTo>
                <a:lnTo>
                  <a:pt x="107" y="102"/>
                </a:lnTo>
                <a:lnTo>
                  <a:pt x="111" y="124"/>
                </a:lnTo>
                <a:lnTo>
                  <a:pt x="89" y="140"/>
                </a:lnTo>
                <a:lnTo>
                  <a:pt x="103" y="171"/>
                </a:lnTo>
                <a:lnTo>
                  <a:pt x="94" y="198"/>
                </a:lnTo>
                <a:lnTo>
                  <a:pt x="106" y="226"/>
                </a:lnTo>
                <a:lnTo>
                  <a:pt x="84" y="249"/>
                </a:lnTo>
                <a:lnTo>
                  <a:pt x="87" y="271"/>
                </a:lnTo>
                <a:lnTo>
                  <a:pt x="68" y="279"/>
                </a:lnTo>
                <a:lnTo>
                  <a:pt x="24" y="279"/>
                </a:lnTo>
                <a:lnTo>
                  <a:pt x="31" y="199"/>
                </a:lnTo>
                <a:lnTo>
                  <a:pt x="14" y="204"/>
                </a:lnTo>
                <a:lnTo>
                  <a:pt x="7" y="192"/>
                </a:lnTo>
                <a:lnTo>
                  <a:pt x="0" y="187"/>
                </a:lnTo>
                <a:lnTo>
                  <a:pt x="3" y="160"/>
                </a:lnTo>
                <a:lnTo>
                  <a:pt x="21" y="122"/>
                </a:lnTo>
                <a:lnTo>
                  <a:pt x="32" y="64"/>
                </a:lnTo>
                <a:lnTo>
                  <a:pt x="27" y="15"/>
                </a:lnTo>
                <a:close/>
              </a:path>
            </a:pathLst>
          </a:custGeom>
          <a:solidFill>
            <a:schemeClr val="accent1"/>
          </a:solidFill>
          <a:ln w="6350">
            <a:solidFill>
              <a:schemeClr val="tx2"/>
            </a:solidFill>
            <a:round/>
            <a:headEnd/>
            <a:tailEnd/>
          </a:ln>
        </p:spPr>
        <p:txBody>
          <a:bodyPr/>
          <a:lstStyle/>
          <a:p>
            <a:endParaRPr lang="en-US"/>
          </a:p>
        </p:txBody>
      </p:sp>
      <p:sp>
        <p:nvSpPr>
          <p:cNvPr id="710" name="Freeform 1457"/>
          <p:cNvSpPr>
            <a:spLocks/>
          </p:cNvSpPr>
          <p:nvPr/>
        </p:nvSpPr>
        <p:spPr bwMode="auto">
          <a:xfrm>
            <a:off x="5905135" y="3213517"/>
            <a:ext cx="14334" cy="16558"/>
          </a:xfrm>
          <a:custGeom>
            <a:avLst/>
            <a:gdLst>
              <a:gd name="T0" fmla="*/ 2147483647 w 29"/>
              <a:gd name="T1" fmla="*/ 2147483647 h 41"/>
              <a:gd name="T2" fmla="*/ 2147483647 w 29"/>
              <a:gd name="T3" fmla="*/ 2147483647 h 41"/>
              <a:gd name="T4" fmla="*/ 2147483647 w 29"/>
              <a:gd name="T5" fmla="*/ 2147483647 h 41"/>
              <a:gd name="T6" fmla="*/ 2147483647 w 29"/>
              <a:gd name="T7" fmla="*/ 2147483647 h 41"/>
              <a:gd name="T8" fmla="*/ 2147483647 w 29"/>
              <a:gd name="T9" fmla="*/ 0 h 41"/>
              <a:gd name="T10" fmla="*/ 2147483647 w 29"/>
              <a:gd name="T11" fmla="*/ 2147483647 h 41"/>
              <a:gd name="T12" fmla="*/ 0 w 29"/>
              <a:gd name="T13" fmla="*/ 2147483647 h 41"/>
              <a:gd name="T14" fmla="*/ 2147483647 w 29"/>
              <a:gd name="T15" fmla="*/ 2147483647 h 41"/>
              <a:gd name="T16" fmla="*/ 2147483647 w 29"/>
              <a:gd name="T17" fmla="*/ 2147483647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41"/>
              <a:gd name="T29" fmla="*/ 29 w 29"/>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41">
                <a:moveTo>
                  <a:pt x="26" y="41"/>
                </a:moveTo>
                <a:lnTo>
                  <a:pt x="29" y="27"/>
                </a:lnTo>
                <a:lnTo>
                  <a:pt x="23" y="15"/>
                </a:lnTo>
                <a:lnTo>
                  <a:pt x="24" y="3"/>
                </a:lnTo>
                <a:lnTo>
                  <a:pt x="18" y="0"/>
                </a:lnTo>
                <a:lnTo>
                  <a:pt x="4" y="6"/>
                </a:lnTo>
                <a:lnTo>
                  <a:pt x="0" y="16"/>
                </a:lnTo>
                <a:lnTo>
                  <a:pt x="3" y="38"/>
                </a:lnTo>
                <a:lnTo>
                  <a:pt x="26" y="41"/>
                </a:lnTo>
                <a:close/>
              </a:path>
            </a:pathLst>
          </a:custGeom>
          <a:solidFill>
            <a:schemeClr val="accent1"/>
          </a:solidFill>
          <a:ln w="6350">
            <a:solidFill>
              <a:schemeClr val="tx2"/>
            </a:solidFill>
            <a:round/>
            <a:headEnd/>
            <a:tailEnd/>
          </a:ln>
        </p:spPr>
        <p:txBody>
          <a:bodyPr/>
          <a:lstStyle/>
          <a:p>
            <a:endParaRPr lang="en-US"/>
          </a:p>
        </p:txBody>
      </p:sp>
      <p:sp>
        <p:nvSpPr>
          <p:cNvPr id="711" name="Freeform 1458"/>
          <p:cNvSpPr>
            <a:spLocks/>
          </p:cNvSpPr>
          <p:nvPr/>
        </p:nvSpPr>
        <p:spPr bwMode="auto">
          <a:xfrm>
            <a:off x="5913735" y="3282295"/>
            <a:ext cx="88867" cy="45852"/>
          </a:xfrm>
          <a:custGeom>
            <a:avLst/>
            <a:gdLst>
              <a:gd name="T0" fmla="*/ 2147483647 w 189"/>
              <a:gd name="T1" fmla="*/ 2147483647 h 111"/>
              <a:gd name="T2" fmla="*/ 2147483647 w 189"/>
              <a:gd name="T3" fmla="*/ 2147483647 h 111"/>
              <a:gd name="T4" fmla="*/ 2147483647 w 189"/>
              <a:gd name="T5" fmla="*/ 2147483647 h 111"/>
              <a:gd name="T6" fmla="*/ 2147483647 w 189"/>
              <a:gd name="T7" fmla="*/ 2147483647 h 111"/>
              <a:gd name="T8" fmla="*/ 2147483647 w 189"/>
              <a:gd name="T9" fmla="*/ 2147483647 h 111"/>
              <a:gd name="T10" fmla="*/ 2147483647 w 189"/>
              <a:gd name="T11" fmla="*/ 0 h 111"/>
              <a:gd name="T12" fmla="*/ 2147483647 w 189"/>
              <a:gd name="T13" fmla="*/ 2147483647 h 111"/>
              <a:gd name="T14" fmla="*/ 2147483647 w 189"/>
              <a:gd name="T15" fmla="*/ 2147483647 h 111"/>
              <a:gd name="T16" fmla="*/ 2147483647 w 189"/>
              <a:gd name="T17" fmla="*/ 2147483647 h 111"/>
              <a:gd name="T18" fmla="*/ 2147483647 w 189"/>
              <a:gd name="T19" fmla="*/ 2147483647 h 111"/>
              <a:gd name="T20" fmla="*/ 2147483647 w 189"/>
              <a:gd name="T21" fmla="*/ 2147483647 h 111"/>
              <a:gd name="T22" fmla="*/ 2147483647 w 189"/>
              <a:gd name="T23" fmla="*/ 2147483647 h 111"/>
              <a:gd name="T24" fmla="*/ 0 w 189"/>
              <a:gd name="T25" fmla="*/ 2147483647 h 111"/>
              <a:gd name="T26" fmla="*/ 2147483647 w 189"/>
              <a:gd name="T27" fmla="*/ 2147483647 h 111"/>
              <a:gd name="T28" fmla="*/ 2147483647 w 189"/>
              <a:gd name="T29" fmla="*/ 2147483647 h 111"/>
              <a:gd name="T30" fmla="*/ 2147483647 w 189"/>
              <a:gd name="T31" fmla="*/ 2147483647 h 111"/>
              <a:gd name="T32" fmla="*/ 2147483647 w 189"/>
              <a:gd name="T33" fmla="*/ 2147483647 h 111"/>
              <a:gd name="T34" fmla="*/ 2147483647 w 189"/>
              <a:gd name="T35" fmla="*/ 2147483647 h 111"/>
              <a:gd name="T36" fmla="*/ 2147483647 w 189"/>
              <a:gd name="T37" fmla="*/ 2147483647 h 111"/>
              <a:gd name="T38" fmla="*/ 2147483647 w 189"/>
              <a:gd name="T39" fmla="*/ 2147483647 h 111"/>
              <a:gd name="T40" fmla="*/ 2147483647 w 189"/>
              <a:gd name="T41" fmla="*/ 2147483647 h 111"/>
              <a:gd name="T42" fmla="*/ 2147483647 w 189"/>
              <a:gd name="T43" fmla="*/ 2147483647 h 111"/>
              <a:gd name="T44" fmla="*/ 2147483647 w 189"/>
              <a:gd name="T45" fmla="*/ 2147483647 h 111"/>
              <a:gd name="T46" fmla="*/ 2147483647 w 189"/>
              <a:gd name="T47" fmla="*/ 2147483647 h 111"/>
              <a:gd name="T48" fmla="*/ 2147483647 w 189"/>
              <a:gd name="T49" fmla="*/ 2147483647 h 111"/>
              <a:gd name="T50" fmla="*/ 2147483647 w 189"/>
              <a:gd name="T51" fmla="*/ 2147483647 h 111"/>
              <a:gd name="T52" fmla="*/ 2147483647 w 189"/>
              <a:gd name="T53" fmla="*/ 2147483647 h 111"/>
              <a:gd name="T54" fmla="*/ 2147483647 w 189"/>
              <a:gd name="T55" fmla="*/ 2147483647 h 11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9"/>
              <a:gd name="T85" fmla="*/ 0 h 111"/>
              <a:gd name="T86" fmla="*/ 189 w 189"/>
              <a:gd name="T87" fmla="*/ 111 h 11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9" h="111">
                <a:moveTo>
                  <a:pt x="189" y="50"/>
                </a:moveTo>
                <a:lnTo>
                  <a:pt x="156" y="41"/>
                </a:lnTo>
                <a:lnTo>
                  <a:pt x="150" y="31"/>
                </a:lnTo>
                <a:lnTo>
                  <a:pt x="154" y="17"/>
                </a:lnTo>
                <a:lnTo>
                  <a:pt x="148" y="11"/>
                </a:lnTo>
                <a:lnTo>
                  <a:pt x="119" y="0"/>
                </a:lnTo>
                <a:lnTo>
                  <a:pt x="71" y="8"/>
                </a:lnTo>
                <a:lnTo>
                  <a:pt x="65" y="3"/>
                </a:lnTo>
                <a:lnTo>
                  <a:pt x="39" y="9"/>
                </a:lnTo>
                <a:lnTo>
                  <a:pt x="36" y="14"/>
                </a:lnTo>
                <a:lnTo>
                  <a:pt x="39" y="18"/>
                </a:lnTo>
                <a:lnTo>
                  <a:pt x="21" y="38"/>
                </a:lnTo>
                <a:lnTo>
                  <a:pt x="0" y="76"/>
                </a:lnTo>
                <a:lnTo>
                  <a:pt x="1" y="95"/>
                </a:lnTo>
                <a:lnTo>
                  <a:pt x="15" y="79"/>
                </a:lnTo>
                <a:lnTo>
                  <a:pt x="31" y="80"/>
                </a:lnTo>
                <a:lnTo>
                  <a:pt x="32" y="102"/>
                </a:lnTo>
                <a:lnTo>
                  <a:pt x="38" y="103"/>
                </a:lnTo>
                <a:lnTo>
                  <a:pt x="40" y="111"/>
                </a:lnTo>
                <a:lnTo>
                  <a:pt x="77" y="107"/>
                </a:lnTo>
                <a:lnTo>
                  <a:pt x="102" y="78"/>
                </a:lnTo>
                <a:lnTo>
                  <a:pt x="107" y="93"/>
                </a:lnTo>
                <a:lnTo>
                  <a:pt x="127" y="109"/>
                </a:lnTo>
                <a:lnTo>
                  <a:pt x="140" y="75"/>
                </a:lnTo>
                <a:lnTo>
                  <a:pt x="175" y="86"/>
                </a:lnTo>
                <a:lnTo>
                  <a:pt x="175" y="67"/>
                </a:lnTo>
                <a:lnTo>
                  <a:pt x="187" y="64"/>
                </a:lnTo>
                <a:lnTo>
                  <a:pt x="189" y="50"/>
                </a:lnTo>
                <a:close/>
              </a:path>
            </a:pathLst>
          </a:custGeom>
          <a:solidFill>
            <a:schemeClr val="accent1"/>
          </a:solidFill>
          <a:ln w="6350">
            <a:solidFill>
              <a:schemeClr val="tx2"/>
            </a:solidFill>
            <a:round/>
            <a:headEnd/>
            <a:tailEnd/>
          </a:ln>
        </p:spPr>
        <p:txBody>
          <a:bodyPr/>
          <a:lstStyle/>
          <a:p>
            <a:endParaRPr lang="en-US"/>
          </a:p>
        </p:txBody>
      </p:sp>
      <p:sp>
        <p:nvSpPr>
          <p:cNvPr id="712" name="Freeform 1459"/>
          <p:cNvSpPr>
            <a:spLocks/>
          </p:cNvSpPr>
          <p:nvPr/>
        </p:nvSpPr>
        <p:spPr bwMode="auto">
          <a:xfrm>
            <a:off x="5847802" y="3176582"/>
            <a:ext cx="70233" cy="52219"/>
          </a:xfrm>
          <a:custGeom>
            <a:avLst/>
            <a:gdLst>
              <a:gd name="T0" fmla="*/ 2147483647 w 147"/>
              <a:gd name="T1" fmla="*/ 2147483647 h 124"/>
              <a:gd name="T2" fmla="*/ 2147483647 w 147"/>
              <a:gd name="T3" fmla="*/ 2147483647 h 124"/>
              <a:gd name="T4" fmla="*/ 2147483647 w 147"/>
              <a:gd name="T5" fmla="*/ 2147483647 h 124"/>
              <a:gd name="T6" fmla="*/ 2147483647 w 147"/>
              <a:gd name="T7" fmla="*/ 2147483647 h 124"/>
              <a:gd name="T8" fmla="*/ 2147483647 w 147"/>
              <a:gd name="T9" fmla="*/ 2147483647 h 124"/>
              <a:gd name="T10" fmla="*/ 2147483647 w 147"/>
              <a:gd name="T11" fmla="*/ 2147483647 h 124"/>
              <a:gd name="T12" fmla="*/ 2147483647 w 147"/>
              <a:gd name="T13" fmla="*/ 2147483647 h 124"/>
              <a:gd name="T14" fmla="*/ 2147483647 w 147"/>
              <a:gd name="T15" fmla="*/ 2147483647 h 124"/>
              <a:gd name="T16" fmla="*/ 0 w 147"/>
              <a:gd name="T17" fmla="*/ 2147483647 h 124"/>
              <a:gd name="T18" fmla="*/ 2147483647 w 147"/>
              <a:gd name="T19" fmla="*/ 2147483647 h 124"/>
              <a:gd name="T20" fmla="*/ 2147483647 w 147"/>
              <a:gd name="T21" fmla="*/ 2147483647 h 124"/>
              <a:gd name="T22" fmla="*/ 2147483647 w 147"/>
              <a:gd name="T23" fmla="*/ 0 h 124"/>
              <a:gd name="T24" fmla="*/ 2147483647 w 147"/>
              <a:gd name="T25" fmla="*/ 2147483647 h 124"/>
              <a:gd name="T26" fmla="*/ 2147483647 w 147"/>
              <a:gd name="T27" fmla="*/ 2147483647 h 124"/>
              <a:gd name="T28" fmla="*/ 2147483647 w 147"/>
              <a:gd name="T29" fmla="*/ 2147483647 h 124"/>
              <a:gd name="T30" fmla="*/ 2147483647 w 147"/>
              <a:gd name="T31" fmla="*/ 2147483647 h 124"/>
              <a:gd name="T32" fmla="*/ 2147483647 w 147"/>
              <a:gd name="T33" fmla="*/ 2147483647 h 124"/>
              <a:gd name="T34" fmla="*/ 2147483647 w 147"/>
              <a:gd name="T35" fmla="*/ 2147483647 h 124"/>
              <a:gd name="T36" fmla="*/ 2147483647 w 147"/>
              <a:gd name="T37" fmla="*/ 2147483647 h 124"/>
              <a:gd name="T38" fmla="*/ 2147483647 w 147"/>
              <a:gd name="T39" fmla="*/ 2147483647 h 124"/>
              <a:gd name="T40" fmla="*/ 2147483647 w 147"/>
              <a:gd name="T41" fmla="*/ 2147483647 h 124"/>
              <a:gd name="T42" fmla="*/ 2147483647 w 147"/>
              <a:gd name="T43" fmla="*/ 2147483647 h 124"/>
              <a:gd name="T44" fmla="*/ 2147483647 w 147"/>
              <a:gd name="T45" fmla="*/ 2147483647 h 1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124"/>
              <a:gd name="T71" fmla="*/ 147 w 147"/>
              <a:gd name="T72" fmla="*/ 124 h 1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124">
                <a:moveTo>
                  <a:pt x="94" y="113"/>
                </a:moveTo>
                <a:lnTo>
                  <a:pt x="92" y="88"/>
                </a:lnTo>
                <a:lnTo>
                  <a:pt x="79" y="99"/>
                </a:lnTo>
                <a:lnTo>
                  <a:pt x="64" y="97"/>
                </a:lnTo>
                <a:lnTo>
                  <a:pt x="55" y="74"/>
                </a:lnTo>
                <a:lnTo>
                  <a:pt x="26" y="62"/>
                </a:lnTo>
                <a:lnTo>
                  <a:pt x="19" y="47"/>
                </a:lnTo>
                <a:lnTo>
                  <a:pt x="2" y="44"/>
                </a:lnTo>
                <a:lnTo>
                  <a:pt x="0" y="23"/>
                </a:lnTo>
                <a:lnTo>
                  <a:pt x="31" y="6"/>
                </a:lnTo>
                <a:lnTo>
                  <a:pt x="44" y="14"/>
                </a:lnTo>
                <a:lnTo>
                  <a:pt x="80" y="0"/>
                </a:lnTo>
                <a:lnTo>
                  <a:pt x="99" y="4"/>
                </a:lnTo>
                <a:lnTo>
                  <a:pt x="121" y="17"/>
                </a:lnTo>
                <a:lnTo>
                  <a:pt x="121" y="42"/>
                </a:lnTo>
                <a:lnTo>
                  <a:pt x="138" y="47"/>
                </a:lnTo>
                <a:lnTo>
                  <a:pt x="147" y="67"/>
                </a:lnTo>
                <a:lnTo>
                  <a:pt x="139" y="86"/>
                </a:lnTo>
                <a:lnTo>
                  <a:pt x="125" y="92"/>
                </a:lnTo>
                <a:lnTo>
                  <a:pt x="121" y="102"/>
                </a:lnTo>
                <a:lnTo>
                  <a:pt x="124" y="124"/>
                </a:lnTo>
                <a:lnTo>
                  <a:pt x="109" y="123"/>
                </a:lnTo>
                <a:lnTo>
                  <a:pt x="94" y="113"/>
                </a:lnTo>
                <a:close/>
              </a:path>
            </a:pathLst>
          </a:custGeom>
          <a:solidFill>
            <a:schemeClr val="accent1"/>
          </a:solidFill>
          <a:ln w="6350">
            <a:solidFill>
              <a:schemeClr val="tx2"/>
            </a:solidFill>
            <a:round/>
            <a:headEnd/>
            <a:tailEnd/>
          </a:ln>
        </p:spPr>
        <p:txBody>
          <a:bodyPr/>
          <a:lstStyle/>
          <a:p>
            <a:endParaRPr lang="en-US"/>
          </a:p>
        </p:txBody>
      </p:sp>
      <p:sp>
        <p:nvSpPr>
          <p:cNvPr id="713" name="Freeform 1460"/>
          <p:cNvSpPr>
            <a:spLocks/>
          </p:cNvSpPr>
          <p:nvPr/>
        </p:nvSpPr>
        <p:spPr bwMode="auto">
          <a:xfrm>
            <a:off x="5862135" y="3119267"/>
            <a:ext cx="71667" cy="77693"/>
          </a:xfrm>
          <a:custGeom>
            <a:avLst/>
            <a:gdLst>
              <a:gd name="T0" fmla="*/ 2147483647 w 152"/>
              <a:gd name="T1" fmla="*/ 2147483647 h 187"/>
              <a:gd name="T2" fmla="*/ 2147483647 w 152"/>
              <a:gd name="T3" fmla="*/ 0 h 187"/>
              <a:gd name="T4" fmla="*/ 2147483647 w 152"/>
              <a:gd name="T5" fmla="*/ 2147483647 h 187"/>
              <a:gd name="T6" fmla="*/ 2147483647 w 152"/>
              <a:gd name="T7" fmla="*/ 2147483647 h 187"/>
              <a:gd name="T8" fmla="*/ 2147483647 w 152"/>
              <a:gd name="T9" fmla="*/ 2147483647 h 187"/>
              <a:gd name="T10" fmla="*/ 2147483647 w 152"/>
              <a:gd name="T11" fmla="*/ 2147483647 h 187"/>
              <a:gd name="T12" fmla="*/ 2147483647 w 152"/>
              <a:gd name="T13" fmla="*/ 2147483647 h 187"/>
              <a:gd name="T14" fmla="*/ 2147483647 w 152"/>
              <a:gd name="T15" fmla="*/ 2147483647 h 187"/>
              <a:gd name="T16" fmla="*/ 2147483647 w 152"/>
              <a:gd name="T17" fmla="*/ 2147483647 h 187"/>
              <a:gd name="T18" fmla="*/ 2147483647 w 152"/>
              <a:gd name="T19" fmla="*/ 2147483647 h 187"/>
              <a:gd name="T20" fmla="*/ 2147483647 w 152"/>
              <a:gd name="T21" fmla="*/ 2147483647 h 187"/>
              <a:gd name="T22" fmla="*/ 2147483647 w 152"/>
              <a:gd name="T23" fmla="*/ 2147483647 h 187"/>
              <a:gd name="T24" fmla="*/ 2147483647 w 152"/>
              <a:gd name="T25" fmla="*/ 2147483647 h 187"/>
              <a:gd name="T26" fmla="*/ 2147483647 w 152"/>
              <a:gd name="T27" fmla="*/ 2147483647 h 187"/>
              <a:gd name="T28" fmla="*/ 2147483647 w 152"/>
              <a:gd name="T29" fmla="*/ 2147483647 h 187"/>
              <a:gd name="T30" fmla="*/ 2147483647 w 152"/>
              <a:gd name="T31" fmla="*/ 2147483647 h 187"/>
              <a:gd name="T32" fmla="*/ 2147483647 w 152"/>
              <a:gd name="T33" fmla="*/ 2147483647 h 187"/>
              <a:gd name="T34" fmla="*/ 2147483647 w 152"/>
              <a:gd name="T35" fmla="*/ 2147483647 h 187"/>
              <a:gd name="T36" fmla="*/ 2147483647 w 152"/>
              <a:gd name="T37" fmla="*/ 2147483647 h 187"/>
              <a:gd name="T38" fmla="*/ 2147483647 w 152"/>
              <a:gd name="T39" fmla="*/ 2147483647 h 187"/>
              <a:gd name="T40" fmla="*/ 2147483647 w 152"/>
              <a:gd name="T41" fmla="*/ 2147483647 h 187"/>
              <a:gd name="T42" fmla="*/ 0 w 152"/>
              <a:gd name="T43" fmla="*/ 2147483647 h 187"/>
              <a:gd name="T44" fmla="*/ 2147483647 w 152"/>
              <a:gd name="T45" fmla="*/ 2147483647 h 187"/>
              <a:gd name="T46" fmla="*/ 2147483647 w 152"/>
              <a:gd name="T47" fmla="*/ 2147483647 h 187"/>
              <a:gd name="T48" fmla="*/ 2147483647 w 152"/>
              <a:gd name="T49" fmla="*/ 2147483647 h 187"/>
              <a:gd name="T50" fmla="*/ 2147483647 w 152"/>
              <a:gd name="T51" fmla="*/ 2147483647 h 187"/>
              <a:gd name="T52" fmla="*/ 2147483647 w 152"/>
              <a:gd name="T53" fmla="*/ 2147483647 h 187"/>
              <a:gd name="T54" fmla="*/ 2147483647 w 152"/>
              <a:gd name="T55" fmla="*/ 2147483647 h 187"/>
              <a:gd name="T56" fmla="*/ 2147483647 w 152"/>
              <a:gd name="T57" fmla="*/ 2147483647 h 187"/>
              <a:gd name="T58" fmla="*/ 2147483647 w 152"/>
              <a:gd name="T59" fmla="*/ 2147483647 h 187"/>
              <a:gd name="T60" fmla="*/ 2147483647 w 152"/>
              <a:gd name="T61" fmla="*/ 2147483647 h 187"/>
              <a:gd name="T62" fmla="*/ 2147483647 w 152"/>
              <a:gd name="T63" fmla="*/ 2147483647 h 187"/>
              <a:gd name="T64" fmla="*/ 2147483647 w 152"/>
              <a:gd name="T65" fmla="*/ 2147483647 h 187"/>
              <a:gd name="T66" fmla="*/ 2147483647 w 152"/>
              <a:gd name="T67" fmla="*/ 2147483647 h 187"/>
              <a:gd name="T68" fmla="*/ 2147483647 w 152"/>
              <a:gd name="T69" fmla="*/ 2147483647 h 187"/>
              <a:gd name="T70" fmla="*/ 2147483647 w 152"/>
              <a:gd name="T71" fmla="*/ 2147483647 h 187"/>
              <a:gd name="T72" fmla="*/ 2147483647 w 152"/>
              <a:gd name="T73" fmla="*/ 2147483647 h 187"/>
              <a:gd name="T74" fmla="*/ 2147483647 w 152"/>
              <a:gd name="T75" fmla="*/ 2147483647 h 187"/>
              <a:gd name="T76" fmla="*/ 2147483647 w 152"/>
              <a:gd name="T77" fmla="*/ 2147483647 h 1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187"/>
              <a:gd name="T119" fmla="*/ 152 w 152"/>
              <a:gd name="T120" fmla="*/ 187 h 18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187">
                <a:moveTo>
                  <a:pt x="152" y="13"/>
                </a:moveTo>
                <a:lnTo>
                  <a:pt x="135" y="0"/>
                </a:lnTo>
                <a:lnTo>
                  <a:pt x="100" y="5"/>
                </a:lnTo>
                <a:lnTo>
                  <a:pt x="84" y="14"/>
                </a:lnTo>
                <a:lnTo>
                  <a:pt x="81" y="38"/>
                </a:lnTo>
                <a:lnTo>
                  <a:pt x="89" y="42"/>
                </a:lnTo>
                <a:lnTo>
                  <a:pt x="85" y="60"/>
                </a:lnTo>
                <a:lnTo>
                  <a:pt x="77" y="65"/>
                </a:lnTo>
                <a:lnTo>
                  <a:pt x="81" y="81"/>
                </a:lnTo>
                <a:lnTo>
                  <a:pt x="65" y="74"/>
                </a:lnTo>
                <a:lnTo>
                  <a:pt x="65" y="57"/>
                </a:lnTo>
                <a:lnTo>
                  <a:pt x="73" y="51"/>
                </a:lnTo>
                <a:lnTo>
                  <a:pt x="65" y="38"/>
                </a:lnTo>
                <a:lnTo>
                  <a:pt x="58" y="41"/>
                </a:lnTo>
                <a:lnTo>
                  <a:pt x="48" y="83"/>
                </a:lnTo>
                <a:lnTo>
                  <a:pt x="29" y="108"/>
                </a:lnTo>
                <a:lnTo>
                  <a:pt x="31" y="116"/>
                </a:lnTo>
                <a:lnTo>
                  <a:pt x="35" y="120"/>
                </a:lnTo>
                <a:lnTo>
                  <a:pt x="60" y="122"/>
                </a:lnTo>
                <a:lnTo>
                  <a:pt x="17" y="135"/>
                </a:lnTo>
                <a:lnTo>
                  <a:pt x="14" y="142"/>
                </a:lnTo>
                <a:lnTo>
                  <a:pt x="0" y="146"/>
                </a:lnTo>
                <a:lnTo>
                  <a:pt x="13" y="154"/>
                </a:lnTo>
                <a:lnTo>
                  <a:pt x="49" y="140"/>
                </a:lnTo>
                <a:lnTo>
                  <a:pt x="68" y="144"/>
                </a:lnTo>
                <a:lnTo>
                  <a:pt x="90" y="157"/>
                </a:lnTo>
                <a:lnTo>
                  <a:pt x="90" y="182"/>
                </a:lnTo>
                <a:lnTo>
                  <a:pt x="107" y="187"/>
                </a:lnTo>
                <a:lnTo>
                  <a:pt x="103" y="168"/>
                </a:lnTo>
                <a:lnTo>
                  <a:pt x="108" y="157"/>
                </a:lnTo>
                <a:lnTo>
                  <a:pt x="106" y="107"/>
                </a:lnTo>
                <a:lnTo>
                  <a:pt x="129" y="110"/>
                </a:lnTo>
                <a:lnTo>
                  <a:pt x="134" y="92"/>
                </a:lnTo>
                <a:lnTo>
                  <a:pt x="147" y="79"/>
                </a:lnTo>
                <a:lnTo>
                  <a:pt x="148" y="70"/>
                </a:lnTo>
                <a:lnTo>
                  <a:pt x="134" y="64"/>
                </a:lnTo>
                <a:lnTo>
                  <a:pt x="133" y="57"/>
                </a:lnTo>
                <a:lnTo>
                  <a:pt x="144" y="49"/>
                </a:lnTo>
                <a:lnTo>
                  <a:pt x="152" y="13"/>
                </a:lnTo>
                <a:close/>
              </a:path>
            </a:pathLst>
          </a:custGeom>
          <a:solidFill>
            <a:schemeClr val="accent1"/>
          </a:solidFill>
          <a:ln w="6350">
            <a:solidFill>
              <a:schemeClr val="tx2"/>
            </a:solidFill>
            <a:round/>
            <a:headEnd/>
            <a:tailEnd/>
          </a:ln>
        </p:spPr>
        <p:txBody>
          <a:bodyPr/>
          <a:lstStyle/>
          <a:p>
            <a:endParaRPr lang="en-US"/>
          </a:p>
        </p:txBody>
      </p:sp>
      <p:sp>
        <p:nvSpPr>
          <p:cNvPr id="714" name="Freeform 1461"/>
          <p:cNvSpPr>
            <a:spLocks/>
          </p:cNvSpPr>
          <p:nvPr/>
        </p:nvSpPr>
        <p:spPr bwMode="auto">
          <a:xfrm>
            <a:off x="5912302" y="3074690"/>
            <a:ext cx="180600" cy="215247"/>
          </a:xfrm>
          <a:custGeom>
            <a:avLst/>
            <a:gdLst>
              <a:gd name="T0" fmla="*/ 2147483647 w 385"/>
              <a:gd name="T1" fmla="*/ 2147483647 h 516"/>
              <a:gd name="T2" fmla="*/ 2147483647 w 385"/>
              <a:gd name="T3" fmla="*/ 2147483647 h 516"/>
              <a:gd name="T4" fmla="*/ 2147483647 w 385"/>
              <a:gd name="T5" fmla="*/ 2147483647 h 516"/>
              <a:gd name="T6" fmla="*/ 2147483647 w 385"/>
              <a:gd name="T7" fmla="*/ 2147483647 h 516"/>
              <a:gd name="T8" fmla="*/ 2147483647 w 385"/>
              <a:gd name="T9" fmla="*/ 2147483647 h 516"/>
              <a:gd name="T10" fmla="*/ 2147483647 w 385"/>
              <a:gd name="T11" fmla="*/ 2147483647 h 516"/>
              <a:gd name="T12" fmla="*/ 2147483647 w 385"/>
              <a:gd name="T13" fmla="*/ 2147483647 h 516"/>
              <a:gd name="T14" fmla="*/ 2147483647 w 385"/>
              <a:gd name="T15" fmla="*/ 2147483647 h 516"/>
              <a:gd name="T16" fmla="*/ 2147483647 w 385"/>
              <a:gd name="T17" fmla="*/ 2147483647 h 516"/>
              <a:gd name="T18" fmla="*/ 2147483647 w 385"/>
              <a:gd name="T19" fmla="*/ 2147483647 h 516"/>
              <a:gd name="T20" fmla="*/ 2147483647 w 385"/>
              <a:gd name="T21" fmla="*/ 2147483647 h 516"/>
              <a:gd name="T22" fmla="*/ 2147483647 w 385"/>
              <a:gd name="T23" fmla="*/ 2147483647 h 516"/>
              <a:gd name="T24" fmla="*/ 2147483647 w 385"/>
              <a:gd name="T25" fmla="*/ 2147483647 h 516"/>
              <a:gd name="T26" fmla="*/ 2147483647 w 385"/>
              <a:gd name="T27" fmla="*/ 2147483647 h 516"/>
              <a:gd name="T28" fmla="*/ 0 w 385"/>
              <a:gd name="T29" fmla="*/ 2147483647 h 516"/>
              <a:gd name="T30" fmla="*/ 2147483647 w 385"/>
              <a:gd name="T31" fmla="*/ 2147483647 h 516"/>
              <a:gd name="T32" fmla="*/ 2147483647 w 385"/>
              <a:gd name="T33" fmla="*/ 2147483647 h 516"/>
              <a:gd name="T34" fmla="*/ 2147483647 w 385"/>
              <a:gd name="T35" fmla="*/ 2147483647 h 516"/>
              <a:gd name="T36" fmla="*/ 2147483647 w 385"/>
              <a:gd name="T37" fmla="*/ 2147483647 h 516"/>
              <a:gd name="T38" fmla="*/ 2147483647 w 385"/>
              <a:gd name="T39" fmla="*/ 2147483647 h 516"/>
              <a:gd name="T40" fmla="*/ 2147483647 w 385"/>
              <a:gd name="T41" fmla="*/ 2147483647 h 516"/>
              <a:gd name="T42" fmla="*/ 2147483647 w 385"/>
              <a:gd name="T43" fmla="*/ 2147483647 h 516"/>
              <a:gd name="T44" fmla="*/ 2147483647 w 385"/>
              <a:gd name="T45" fmla="*/ 2147483647 h 516"/>
              <a:gd name="T46" fmla="*/ 2147483647 w 385"/>
              <a:gd name="T47" fmla="*/ 2147483647 h 516"/>
              <a:gd name="T48" fmla="*/ 2147483647 w 385"/>
              <a:gd name="T49" fmla="*/ 2147483647 h 516"/>
              <a:gd name="T50" fmla="*/ 2147483647 w 385"/>
              <a:gd name="T51" fmla="*/ 2147483647 h 516"/>
              <a:gd name="T52" fmla="*/ 2147483647 w 385"/>
              <a:gd name="T53" fmla="*/ 2147483647 h 516"/>
              <a:gd name="T54" fmla="*/ 2147483647 w 385"/>
              <a:gd name="T55" fmla="*/ 2147483647 h 516"/>
              <a:gd name="T56" fmla="*/ 2147483647 w 385"/>
              <a:gd name="T57" fmla="*/ 2147483647 h 516"/>
              <a:gd name="T58" fmla="*/ 2147483647 w 385"/>
              <a:gd name="T59" fmla="*/ 0 h 516"/>
              <a:gd name="T60" fmla="*/ 2147483647 w 385"/>
              <a:gd name="T61" fmla="*/ 2147483647 h 516"/>
              <a:gd name="T62" fmla="*/ 2147483647 w 385"/>
              <a:gd name="T63" fmla="*/ 2147483647 h 516"/>
              <a:gd name="T64" fmla="*/ 2147483647 w 385"/>
              <a:gd name="T65" fmla="*/ 2147483647 h 516"/>
              <a:gd name="T66" fmla="*/ 2147483647 w 385"/>
              <a:gd name="T67" fmla="*/ 2147483647 h 516"/>
              <a:gd name="T68" fmla="*/ 2147483647 w 385"/>
              <a:gd name="T69" fmla="*/ 2147483647 h 516"/>
              <a:gd name="T70" fmla="*/ 2147483647 w 385"/>
              <a:gd name="T71" fmla="*/ 2147483647 h 516"/>
              <a:gd name="T72" fmla="*/ 2147483647 w 385"/>
              <a:gd name="T73" fmla="*/ 2147483647 h 516"/>
              <a:gd name="T74" fmla="*/ 2147483647 w 385"/>
              <a:gd name="T75" fmla="*/ 2147483647 h 516"/>
              <a:gd name="T76" fmla="*/ 2147483647 w 385"/>
              <a:gd name="T77" fmla="*/ 2147483647 h 516"/>
              <a:gd name="T78" fmla="*/ 2147483647 w 385"/>
              <a:gd name="T79" fmla="*/ 2147483647 h 516"/>
              <a:gd name="T80" fmla="*/ 2147483647 w 385"/>
              <a:gd name="T81" fmla="*/ 2147483647 h 516"/>
              <a:gd name="T82" fmla="*/ 2147483647 w 385"/>
              <a:gd name="T83" fmla="*/ 2147483647 h 516"/>
              <a:gd name="T84" fmla="*/ 2147483647 w 385"/>
              <a:gd name="T85" fmla="*/ 2147483647 h 516"/>
              <a:gd name="T86" fmla="*/ 2147483647 w 385"/>
              <a:gd name="T87" fmla="*/ 2147483647 h 516"/>
              <a:gd name="T88" fmla="*/ 2147483647 w 385"/>
              <a:gd name="T89" fmla="*/ 2147483647 h 516"/>
              <a:gd name="T90" fmla="*/ 2147483647 w 385"/>
              <a:gd name="T91" fmla="*/ 2147483647 h 516"/>
              <a:gd name="T92" fmla="*/ 2147483647 w 385"/>
              <a:gd name="T93" fmla="*/ 2147483647 h 516"/>
              <a:gd name="T94" fmla="*/ 2147483647 w 385"/>
              <a:gd name="T95" fmla="*/ 2147483647 h 516"/>
              <a:gd name="T96" fmla="*/ 2147483647 w 385"/>
              <a:gd name="T97" fmla="*/ 2147483647 h 516"/>
              <a:gd name="T98" fmla="*/ 2147483647 w 385"/>
              <a:gd name="T99" fmla="*/ 2147483647 h 5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85"/>
              <a:gd name="T151" fmla="*/ 0 h 516"/>
              <a:gd name="T152" fmla="*/ 385 w 385"/>
              <a:gd name="T153" fmla="*/ 516 h 5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85" h="516">
                <a:moveTo>
                  <a:pt x="337" y="427"/>
                </a:moveTo>
                <a:lnTo>
                  <a:pt x="336" y="433"/>
                </a:lnTo>
                <a:lnTo>
                  <a:pt x="323" y="439"/>
                </a:lnTo>
                <a:lnTo>
                  <a:pt x="317" y="452"/>
                </a:lnTo>
                <a:lnTo>
                  <a:pt x="299" y="459"/>
                </a:lnTo>
                <a:lnTo>
                  <a:pt x="295" y="468"/>
                </a:lnTo>
                <a:lnTo>
                  <a:pt x="302" y="500"/>
                </a:lnTo>
                <a:lnTo>
                  <a:pt x="296" y="503"/>
                </a:lnTo>
                <a:lnTo>
                  <a:pt x="293" y="497"/>
                </a:lnTo>
                <a:lnTo>
                  <a:pt x="272" y="494"/>
                </a:lnTo>
                <a:lnTo>
                  <a:pt x="228" y="511"/>
                </a:lnTo>
                <a:lnTo>
                  <a:pt x="198" y="504"/>
                </a:lnTo>
                <a:lnTo>
                  <a:pt x="187" y="516"/>
                </a:lnTo>
                <a:lnTo>
                  <a:pt x="167" y="504"/>
                </a:lnTo>
                <a:lnTo>
                  <a:pt x="152" y="508"/>
                </a:lnTo>
                <a:lnTo>
                  <a:pt x="123" y="497"/>
                </a:lnTo>
                <a:lnTo>
                  <a:pt x="75" y="505"/>
                </a:lnTo>
                <a:lnTo>
                  <a:pt x="69" y="500"/>
                </a:lnTo>
                <a:lnTo>
                  <a:pt x="67" y="468"/>
                </a:lnTo>
                <a:lnTo>
                  <a:pt x="75" y="440"/>
                </a:lnTo>
                <a:lnTo>
                  <a:pt x="90" y="411"/>
                </a:lnTo>
                <a:lnTo>
                  <a:pt x="33" y="396"/>
                </a:lnTo>
                <a:lnTo>
                  <a:pt x="13" y="374"/>
                </a:lnTo>
                <a:lnTo>
                  <a:pt x="16" y="360"/>
                </a:lnTo>
                <a:lnTo>
                  <a:pt x="10" y="348"/>
                </a:lnTo>
                <a:lnTo>
                  <a:pt x="11" y="336"/>
                </a:lnTo>
                <a:lnTo>
                  <a:pt x="5" y="333"/>
                </a:lnTo>
                <a:lnTo>
                  <a:pt x="13" y="314"/>
                </a:lnTo>
                <a:lnTo>
                  <a:pt x="4" y="294"/>
                </a:lnTo>
                <a:lnTo>
                  <a:pt x="0" y="275"/>
                </a:lnTo>
                <a:lnTo>
                  <a:pt x="5" y="264"/>
                </a:lnTo>
                <a:lnTo>
                  <a:pt x="3" y="214"/>
                </a:lnTo>
                <a:lnTo>
                  <a:pt x="26" y="217"/>
                </a:lnTo>
                <a:lnTo>
                  <a:pt x="31" y="199"/>
                </a:lnTo>
                <a:lnTo>
                  <a:pt x="44" y="186"/>
                </a:lnTo>
                <a:lnTo>
                  <a:pt x="45" y="177"/>
                </a:lnTo>
                <a:lnTo>
                  <a:pt x="31" y="171"/>
                </a:lnTo>
                <a:lnTo>
                  <a:pt x="30" y="164"/>
                </a:lnTo>
                <a:lnTo>
                  <a:pt x="41" y="156"/>
                </a:lnTo>
                <a:lnTo>
                  <a:pt x="49" y="120"/>
                </a:lnTo>
                <a:lnTo>
                  <a:pt x="62" y="117"/>
                </a:lnTo>
                <a:lnTo>
                  <a:pt x="48" y="107"/>
                </a:lnTo>
                <a:lnTo>
                  <a:pt x="56" y="92"/>
                </a:lnTo>
                <a:lnTo>
                  <a:pt x="78" y="87"/>
                </a:lnTo>
                <a:lnTo>
                  <a:pt x="90" y="90"/>
                </a:lnTo>
                <a:lnTo>
                  <a:pt x="96" y="107"/>
                </a:lnTo>
                <a:lnTo>
                  <a:pt x="102" y="106"/>
                </a:lnTo>
                <a:lnTo>
                  <a:pt x="102" y="98"/>
                </a:lnTo>
                <a:lnTo>
                  <a:pt x="108" y="100"/>
                </a:lnTo>
                <a:lnTo>
                  <a:pt x="117" y="115"/>
                </a:lnTo>
                <a:lnTo>
                  <a:pt x="112" y="100"/>
                </a:lnTo>
                <a:lnTo>
                  <a:pt x="114" y="82"/>
                </a:lnTo>
                <a:lnTo>
                  <a:pt x="136" y="75"/>
                </a:lnTo>
                <a:lnTo>
                  <a:pt x="126" y="68"/>
                </a:lnTo>
                <a:lnTo>
                  <a:pt x="131" y="57"/>
                </a:lnTo>
                <a:lnTo>
                  <a:pt x="126" y="44"/>
                </a:lnTo>
                <a:lnTo>
                  <a:pt x="117" y="42"/>
                </a:lnTo>
                <a:lnTo>
                  <a:pt x="131" y="29"/>
                </a:lnTo>
                <a:lnTo>
                  <a:pt x="117" y="8"/>
                </a:lnTo>
                <a:lnTo>
                  <a:pt x="118" y="0"/>
                </a:lnTo>
                <a:lnTo>
                  <a:pt x="153" y="1"/>
                </a:lnTo>
                <a:lnTo>
                  <a:pt x="149" y="4"/>
                </a:lnTo>
                <a:lnTo>
                  <a:pt x="167" y="8"/>
                </a:lnTo>
                <a:lnTo>
                  <a:pt x="171" y="16"/>
                </a:lnTo>
                <a:lnTo>
                  <a:pt x="166" y="29"/>
                </a:lnTo>
                <a:lnTo>
                  <a:pt x="175" y="38"/>
                </a:lnTo>
                <a:lnTo>
                  <a:pt x="183" y="33"/>
                </a:lnTo>
                <a:lnTo>
                  <a:pt x="196" y="42"/>
                </a:lnTo>
                <a:lnTo>
                  <a:pt x="217" y="40"/>
                </a:lnTo>
                <a:lnTo>
                  <a:pt x="206" y="68"/>
                </a:lnTo>
                <a:lnTo>
                  <a:pt x="235" y="69"/>
                </a:lnTo>
                <a:lnTo>
                  <a:pt x="233" y="63"/>
                </a:lnTo>
                <a:lnTo>
                  <a:pt x="244" y="54"/>
                </a:lnTo>
                <a:lnTo>
                  <a:pt x="260" y="50"/>
                </a:lnTo>
                <a:lnTo>
                  <a:pt x="260" y="55"/>
                </a:lnTo>
                <a:lnTo>
                  <a:pt x="284" y="31"/>
                </a:lnTo>
                <a:lnTo>
                  <a:pt x="289" y="32"/>
                </a:lnTo>
                <a:lnTo>
                  <a:pt x="276" y="45"/>
                </a:lnTo>
                <a:lnTo>
                  <a:pt x="299" y="37"/>
                </a:lnTo>
                <a:lnTo>
                  <a:pt x="311" y="51"/>
                </a:lnTo>
                <a:lnTo>
                  <a:pt x="327" y="55"/>
                </a:lnTo>
                <a:lnTo>
                  <a:pt x="335" y="77"/>
                </a:lnTo>
                <a:lnTo>
                  <a:pt x="352" y="83"/>
                </a:lnTo>
                <a:lnTo>
                  <a:pt x="360" y="103"/>
                </a:lnTo>
                <a:lnTo>
                  <a:pt x="360" y="116"/>
                </a:lnTo>
                <a:lnTo>
                  <a:pt x="352" y="151"/>
                </a:lnTo>
                <a:lnTo>
                  <a:pt x="363" y="159"/>
                </a:lnTo>
                <a:lnTo>
                  <a:pt x="368" y="204"/>
                </a:lnTo>
                <a:lnTo>
                  <a:pt x="371" y="232"/>
                </a:lnTo>
                <a:lnTo>
                  <a:pt x="385" y="250"/>
                </a:lnTo>
                <a:lnTo>
                  <a:pt x="377" y="286"/>
                </a:lnTo>
                <a:lnTo>
                  <a:pt x="354" y="267"/>
                </a:lnTo>
                <a:lnTo>
                  <a:pt x="351" y="285"/>
                </a:lnTo>
                <a:lnTo>
                  <a:pt x="277" y="321"/>
                </a:lnTo>
                <a:lnTo>
                  <a:pt x="273" y="332"/>
                </a:lnTo>
                <a:lnTo>
                  <a:pt x="259" y="321"/>
                </a:lnTo>
                <a:lnTo>
                  <a:pt x="258" y="331"/>
                </a:lnTo>
                <a:lnTo>
                  <a:pt x="274" y="343"/>
                </a:lnTo>
                <a:lnTo>
                  <a:pt x="276" y="368"/>
                </a:lnTo>
                <a:lnTo>
                  <a:pt x="284" y="378"/>
                </a:lnTo>
                <a:lnTo>
                  <a:pt x="337" y="427"/>
                </a:lnTo>
                <a:close/>
              </a:path>
            </a:pathLst>
          </a:custGeom>
          <a:solidFill>
            <a:schemeClr val="accent1"/>
          </a:solidFill>
          <a:ln w="6350">
            <a:solidFill>
              <a:schemeClr val="tx2"/>
            </a:solidFill>
            <a:round/>
            <a:headEnd/>
            <a:tailEnd/>
          </a:ln>
        </p:spPr>
        <p:txBody>
          <a:bodyPr/>
          <a:lstStyle/>
          <a:p>
            <a:endParaRPr lang="en-US"/>
          </a:p>
        </p:txBody>
      </p:sp>
      <p:sp>
        <p:nvSpPr>
          <p:cNvPr id="715" name="Freeform 1462"/>
          <p:cNvSpPr>
            <a:spLocks/>
          </p:cNvSpPr>
          <p:nvPr/>
        </p:nvSpPr>
        <p:spPr bwMode="auto">
          <a:xfrm>
            <a:off x="6014069" y="2521923"/>
            <a:ext cx="265168" cy="536209"/>
          </a:xfrm>
          <a:custGeom>
            <a:avLst/>
            <a:gdLst>
              <a:gd name="T0" fmla="*/ 2147483647 w 562"/>
              <a:gd name="T1" fmla="*/ 2147483647 h 1284"/>
              <a:gd name="T2" fmla="*/ 2147483647 w 562"/>
              <a:gd name="T3" fmla="*/ 2147483647 h 1284"/>
              <a:gd name="T4" fmla="*/ 2147483647 w 562"/>
              <a:gd name="T5" fmla="*/ 2147483647 h 1284"/>
              <a:gd name="T6" fmla="*/ 2147483647 w 562"/>
              <a:gd name="T7" fmla="*/ 2147483647 h 1284"/>
              <a:gd name="T8" fmla="*/ 2147483647 w 562"/>
              <a:gd name="T9" fmla="*/ 2147483647 h 1284"/>
              <a:gd name="T10" fmla="*/ 2147483647 w 562"/>
              <a:gd name="T11" fmla="*/ 2147483647 h 1284"/>
              <a:gd name="T12" fmla="*/ 2147483647 w 562"/>
              <a:gd name="T13" fmla="*/ 2147483647 h 1284"/>
              <a:gd name="T14" fmla="*/ 2147483647 w 562"/>
              <a:gd name="T15" fmla="*/ 2147483647 h 1284"/>
              <a:gd name="T16" fmla="*/ 2147483647 w 562"/>
              <a:gd name="T17" fmla="*/ 2147483647 h 1284"/>
              <a:gd name="T18" fmla="*/ 2147483647 w 562"/>
              <a:gd name="T19" fmla="*/ 2147483647 h 1284"/>
              <a:gd name="T20" fmla="*/ 2147483647 w 562"/>
              <a:gd name="T21" fmla="*/ 2147483647 h 1284"/>
              <a:gd name="T22" fmla="*/ 2147483647 w 562"/>
              <a:gd name="T23" fmla="*/ 2147483647 h 1284"/>
              <a:gd name="T24" fmla="*/ 2147483647 w 562"/>
              <a:gd name="T25" fmla="*/ 2147483647 h 1284"/>
              <a:gd name="T26" fmla="*/ 2147483647 w 562"/>
              <a:gd name="T27" fmla="*/ 2147483647 h 1284"/>
              <a:gd name="T28" fmla="*/ 2147483647 w 562"/>
              <a:gd name="T29" fmla="*/ 2147483647 h 1284"/>
              <a:gd name="T30" fmla="*/ 2147483647 w 562"/>
              <a:gd name="T31" fmla="*/ 2147483647 h 1284"/>
              <a:gd name="T32" fmla="*/ 2147483647 w 562"/>
              <a:gd name="T33" fmla="*/ 2147483647 h 1284"/>
              <a:gd name="T34" fmla="*/ 2147483647 w 562"/>
              <a:gd name="T35" fmla="*/ 2147483647 h 1284"/>
              <a:gd name="T36" fmla="*/ 2147483647 w 562"/>
              <a:gd name="T37" fmla="*/ 2147483647 h 1284"/>
              <a:gd name="T38" fmla="*/ 2147483647 w 562"/>
              <a:gd name="T39" fmla="*/ 2147483647 h 1284"/>
              <a:gd name="T40" fmla="*/ 2147483647 w 562"/>
              <a:gd name="T41" fmla="*/ 2147483647 h 1284"/>
              <a:gd name="T42" fmla="*/ 2147483647 w 562"/>
              <a:gd name="T43" fmla="*/ 2147483647 h 1284"/>
              <a:gd name="T44" fmla="*/ 2147483647 w 562"/>
              <a:gd name="T45" fmla="*/ 2147483647 h 1284"/>
              <a:gd name="T46" fmla="*/ 2147483647 w 562"/>
              <a:gd name="T47" fmla="*/ 2147483647 h 1284"/>
              <a:gd name="T48" fmla="*/ 2147483647 w 562"/>
              <a:gd name="T49" fmla="*/ 2147483647 h 1284"/>
              <a:gd name="T50" fmla="*/ 2147483647 w 562"/>
              <a:gd name="T51" fmla="*/ 2147483647 h 1284"/>
              <a:gd name="T52" fmla="*/ 2147483647 w 562"/>
              <a:gd name="T53" fmla="*/ 2147483647 h 1284"/>
              <a:gd name="T54" fmla="*/ 2147483647 w 562"/>
              <a:gd name="T55" fmla="*/ 2147483647 h 1284"/>
              <a:gd name="T56" fmla="*/ 2147483647 w 562"/>
              <a:gd name="T57" fmla="*/ 2147483647 h 1284"/>
              <a:gd name="T58" fmla="*/ 2147483647 w 562"/>
              <a:gd name="T59" fmla="*/ 2147483647 h 1284"/>
              <a:gd name="T60" fmla="*/ 2147483647 w 562"/>
              <a:gd name="T61" fmla="*/ 2147483647 h 1284"/>
              <a:gd name="T62" fmla="*/ 2147483647 w 562"/>
              <a:gd name="T63" fmla="*/ 2147483647 h 1284"/>
              <a:gd name="T64" fmla="*/ 2147483647 w 562"/>
              <a:gd name="T65" fmla="*/ 2147483647 h 1284"/>
              <a:gd name="T66" fmla="*/ 2147483647 w 562"/>
              <a:gd name="T67" fmla="*/ 2147483647 h 1284"/>
              <a:gd name="T68" fmla="*/ 2147483647 w 562"/>
              <a:gd name="T69" fmla="*/ 2147483647 h 1284"/>
              <a:gd name="T70" fmla="*/ 2147483647 w 562"/>
              <a:gd name="T71" fmla="*/ 2147483647 h 1284"/>
              <a:gd name="T72" fmla="*/ 2147483647 w 562"/>
              <a:gd name="T73" fmla="*/ 2147483647 h 1284"/>
              <a:gd name="T74" fmla="*/ 0 w 562"/>
              <a:gd name="T75" fmla="*/ 2147483647 h 1284"/>
              <a:gd name="T76" fmla="*/ 2147483647 w 562"/>
              <a:gd name="T77" fmla="*/ 2147483647 h 1284"/>
              <a:gd name="T78" fmla="*/ 2147483647 w 562"/>
              <a:gd name="T79" fmla="*/ 2147483647 h 1284"/>
              <a:gd name="T80" fmla="*/ 2147483647 w 562"/>
              <a:gd name="T81" fmla="*/ 2147483647 h 1284"/>
              <a:gd name="T82" fmla="*/ 2147483647 w 562"/>
              <a:gd name="T83" fmla="*/ 2147483647 h 1284"/>
              <a:gd name="T84" fmla="*/ 2147483647 w 562"/>
              <a:gd name="T85" fmla="*/ 2147483647 h 1284"/>
              <a:gd name="T86" fmla="*/ 2147483647 w 562"/>
              <a:gd name="T87" fmla="*/ 2147483647 h 1284"/>
              <a:gd name="T88" fmla="*/ 2147483647 w 562"/>
              <a:gd name="T89" fmla="*/ 2147483647 h 1284"/>
              <a:gd name="T90" fmla="*/ 2147483647 w 562"/>
              <a:gd name="T91" fmla="*/ 2147483647 h 1284"/>
              <a:gd name="T92" fmla="*/ 2147483647 w 562"/>
              <a:gd name="T93" fmla="*/ 2147483647 h 1284"/>
              <a:gd name="T94" fmla="*/ 2147483647 w 562"/>
              <a:gd name="T95" fmla="*/ 2147483647 h 1284"/>
              <a:gd name="T96" fmla="*/ 2147483647 w 562"/>
              <a:gd name="T97" fmla="*/ 2147483647 h 1284"/>
              <a:gd name="T98" fmla="*/ 2147483647 w 562"/>
              <a:gd name="T99" fmla="*/ 2147483647 h 1284"/>
              <a:gd name="T100" fmla="*/ 2147483647 w 562"/>
              <a:gd name="T101" fmla="*/ 2147483647 h 1284"/>
              <a:gd name="T102" fmla="*/ 2147483647 w 562"/>
              <a:gd name="T103" fmla="*/ 2147483647 h 1284"/>
              <a:gd name="T104" fmla="*/ 2147483647 w 562"/>
              <a:gd name="T105" fmla="*/ 2147483647 h 1284"/>
              <a:gd name="T106" fmla="*/ 2147483647 w 562"/>
              <a:gd name="T107" fmla="*/ 2147483647 h 1284"/>
              <a:gd name="T108" fmla="*/ 2147483647 w 562"/>
              <a:gd name="T109" fmla="*/ 2147483647 h 1284"/>
              <a:gd name="T110" fmla="*/ 2147483647 w 562"/>
              <a:gd name="T111" fmla="*/ 2147483647 h 1284"/>
              <a:gd name="T112" fmla="*/ 2147483647 w 562"/>
              <a:gd name="T113" fmla="*/ 2147483647 h 12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62"/>
              <a:gd name="T172" fmla="*/ 0 h 1284"/>
              <a:gd name="T173" fmla="*/ 562 w 562"/>
              <a:gd name="T174" fmla="*/ 1284 h 12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62" h="1284">
                <a:moveTo>
                  <a:pt x="560" y="352"/>
                </a:moveTo>
                <a:lnTo>
                  <a:pt x="562" y="361"/>
                </a:lnTo>
                <a:lnTo>
                  <a:pt x="555" y="370"/>
                </a:lnTo>
                <a:lnTo>
                  <a:pt x="543" y="359"/>
                </a:lnTo>
                <a:lnTo>
                  <a:pt x="523" y="361"/>
                </a:lnTo>
                <a:lnTo>
                  <a:pt x="519" y="370"/>
                </a:lnTo>
                <a:lnTo>
                  <a:pt x="490" y="356"/>
                </a:lnTo>
                <a:lnTo>
                  <a:pt x="481" y="373"/>
                </a:lnTo>
                <a:lnTo>
                  <a:pt x="482" y="385"/>
                </a:lnTo>
                <a:lnTo>
                  <a:pt x="467" y="373"/>
                </a:lnTo>
                <a:lnTo>
                  <a:pt x="474" y="392"/>
                </a:lnTo>
                <a:lnTo>
                  <a:pt x="447" y="413"/>
                </a:lnTo>
                <a:lnTo>
                  <a:pt x="453" y="434"/>
                </a:lnTo>
                <a:lnTo>
                  <a:pt x="434" y="467"/>
                </a:lnTo>
                <a:lnTo>
                  <a:pt x="453" y="508"/>
                </a:lnTo>
                <a:lnTo>
                  <a:pt x="446" y="518"/>
                </a:lnTo>
                <a:lnTo>
                  <a:pt x="446" y="506"/>
                </a:lnTo>
                <a:lnTo>
                  <a:pt x="442" y="510"/>
                </a:lnTo>
                <a:lnTo>
                  <a:pt x="404" y="570"/>
                </a:lnTo>
                <a:lnTo>
                  <a:pt x="370" y="595"/>
                </a:lnTo>
                <a:lnTo>
                  <a:pt x="364" y="590"/>
                </a:lnTo>
                <a:lnTo>
                  <a:pt x="341" y="614"/>
                </a:lnTo>
                <a:lnTo>
                  <a:pt x="328" y="613"/>
                </a:lnTo>
                <a:lnTo>
                  <a:pt x="322" y="633"/>
                </a:lnTo>
                <a:lnTo>
                  <a:pt x="310" y="644"/>
                </a:lnTo>
                <a:lnTo>
                  <a:pt x="313" y="648"/>
                </a:lnTo>
                <a:lnTo>
                  <a:pt x="308" y="658"/>
                </a:lnTo>
                <a:lnTo>
                  <a:pt x="296" y="664"/>
                </a:lnTo>
                <a:lnTo>
                  <a:pt x="286" y="651"/>
                </a:lnTo>
                <a:lnTo>
                  <a:pt x="288" y="680"/>
                </a:lnTo>
                <a:lnTo>
                  <a:pt x="280" y="695"/>
                </a:lnTo>
                <a:lnTo>
                  <a:pt x="267" y="688"/>
                </a:lnTo>
                <a:lnTo>
                  <a:pt x="266" y="699"/>
                </a:lnTo>
                <a:lnTo>
                  <a:pt x="274" y="714"/>
                </a:lnTo>
                <a:lnTo>
                  <a:pt x="267" y="744"/>
                </a:lnTo>
                <a:lnTo>
                  <a:pt x="270" y="768"/>
                </a:lnTo>
                <a:lnTo>
                  <a:pt x="258" y="762"/>
                </a:lnTo>
                <a:lnTo>
                  <a:pt x="256" y="778"/>
                </a:lnTo>
                <a:lnTo>
                  <a:pt x="263" y="839"/>
                </a:lnTo>
                <a:lnTo>
                  <a:pt x="259" y="853"/>
                </a:lnTo>
                <a:lnTo>
                  <a:pt x="266" y="854"/>
                </a:lnTo>
                <a:lnTo>
                  <a:pt x="264" y="871"/>
                </a:lnTo>
                <a:lnTo>
                  <a:pt x="223" y="895"/>
                </a:lnTo>
                <a:lnTo>
                  <a:pt x="219" y="901"/>
                </a:lnTo>
                <a:lnTo>
                  <a:pt x="247" y="895"/>
                </a:lnTo>
                <a:lnTo>
                  <a:pt x="261" y="884"/>
                </a:lnTo>
                <a:lnTo>
                  <a:pt x="275" y="858"/>
                </a:lnTo>
                <a:lnTo>
                  <a:pt x="280" y="867"/>
                </a:lnTo>
                <a:lnTo>
                  <a:pt x="294" y="865"/>
                </a:lnTo>
                <a:lnTo>
                  <a:pt x="299" y="880"/>
                </a:lnTo>
                <a:lnTo>
                  <a:pt x="316" y="888"/>
                </a:lnTo>
                <a:lnTo>
                  <a:pt x="310" y="891"/>
                </a:lnTo>
                <a:lnTo>
                  <a:pt x="331" y="922"/>
                </a:lnTo>
                <a:lnTo>
                  <a:pt x="316" y="953"/>
                </a:lnTo>
                <a:lnTo>
                  <a:pt x="292" y="966"/>
                </a:lnTo>
                <a:lnTo>
                  <a:pt x="279" y="953"/>
                </a:lnTo>
                <a:lnTo>
                  <a:pt x="260" y="957"/>
                </a:lnTo>
                <a:lnTo>
                  <a:pt x="252" y="949"/>
                </a:lnTo>
                <a:lnTo>
                  <a:pt x="222" y="957"/>
                </a:lnTo>
                <a:lnTo>
                  <a:pt x="228" y="960"/>
                </a:lnTo>
                <a:lnTo>
                  <a:pt x="257" y="966"/>
                </a:lnTo>
                <a:lnTo>
                  <a:pt x="264" y="976"/>
                </a:lnTo>
                <a:lnTo>
                  <a:pt x="319" y="970"/>
                </a:lnTo>
                <a:lnTo>
                  <a:pt x="315" y="979"/>
                </a:lnTo>
                <a:lnTo>
                  <a:pt x="306" y="975"/>
                </a:lnTo>
                <a:lnTo>
                  <a:pt x="308" y="985"/>
                </a:lnTo>
                <a:lnTo>
                  <a:pt x="291" y="1004"/>
                </a:lnTo>
                <a:lnTo>
                  <a:pt x="281" y="1005"/>
                </a:lnTo>
                <a:lnTo>
                  <a:pt x="281" y="995"/>
                </a:lnTo>
                <a:lnTo>
                  <a:pt x="275" y="993"/>
                </a:lnTo>
                <a:lnTo>
                  <a:pt x="271" y="1008"/>
                </a:lnTo>
                <a:lnTo>
                  <a:pt x="250" y="1025"/>
                </a:lnTo>
                <a:lnTo>
                  <a:pt x="219" y="1026"/>
                </a:lnTo>
                <a:lnTo>
                  <a:pt x="215" y="1028"/>
                </a:lnTo>
                <a:lnTo>
                  <a:pt x="243" y="1034"/>
                </a:lnTo>
                <a:lnTo>
                  <a:pt x="245" y="1039"/>
                </a:lnTo>
                <a:lnTo>
                  <a:pt x="229" y="1041"/>
                </a:lnTo>
                <a:lnTo>
                  <a:pt x="227" y="1042"/>
                </a:lnTo>
                <a:lnTo>
                  <a:pt x="241" y="1055"/>
                </a:lnTo>
                <a:lnTo>
                  <a:pt x="239" y="1085"/>
                </a:lnTo>
                <a:lnTo>
                  <a:pt x="230" y="1086"/>
                </a:lnTo>
                <a:lnTo>
                  <a:pt x="236" y="1102"/>
                </a:lnTo>
                <a:lnTo>
                  <a:pt x="231" y="1111"/>
                </a:lnTo>
                <a:lnTo>
                  <a:pt x="235" y="1125"/>
                </a:lnTo>
                <a:lnTo>
                  <a:pt x="228" y="1142"/>
                </a:lnTo>
                <a:lnTo>
                  <a:pt x="223" y="1180"/>
                </a:lnTo>
                <a:lnTo>
                  <a:pt x="206" y="1227"/>
                </a:lnTo>
                <a:lnTo>
                  <a:pt x="161" y="1222"/>
                </a:lnTo>
                <a:lnTo>
                  <a:pt x="149" y="1236"/>
                </a:lnTo>
                <a:lnTo>
                  <a:pt x="141" y="1234"/>
                </a:lnTo>
                <a:lnTo>
                  <a:pt x="133" y="1254"/>
                </a:lnTo>
                <a:lnTo>
                  <a:pt x="135" y="1270"/>
                </a:lnTo>
                <a:lnTo>
                  <a:pt x="128" y="1284"/>
                </a:lnTo>
                <a:lnTo>
                  <a:pt x="73" y="1284"/>
                </a:lnTo>
                <a:lnTo>
                  <a:pt x="80" y="1266"/>
                </a:lnTo>
                <a:lnTo>
                  <a:pt x="59" y="1221"/>
                </a:lnTo>
                <a:lnTo>
                  <a:pt x="71" y="1219"/>
                </a:lnTo>
                <a:lnTo>
                  <a:pt x="65" y="1207"/>
                </a:lnTo>
                <a:lnTo>
                  <a:pt x="77" y="1202"/>
                </a:lnTo>
                <a:lnTo>
                  <a:pt x="77" y="1196"/>
                </a:lnTo>
                <a:lnTo>
                  <a:pt x="50" y="1165"/>
                </a:lnTo>
                <a:lnTo>
                  <a:pt x="39" y="1131"/>
                </a:lnTo>
                <a:lnTo>
                  <a:pt x="33" y="1130"/>
                </a:lnTo>
                <a:lnTo>
                  <a:pt x="35" y="1093"/>
                </a:lnTo>
                <a:lnTo>
                  <a:pt x="25" y="1095"/>
                </a:lnTo>
                <a:lnTo>
                  <a:pt x="25" y="1075"/>
                </a:lnTo>
                <a:lnTo>
                  <a:pt x="13" y="1070"/>
                </a:lnTo>
                <a:lnTo>
                  <a:pt x="23" y="1060"/>
                </a:lnTo>
                <a:lnTo>
                  <a:pt x="17" y="1058"/>
                </a:lnTo>
                <a:lnTo>
                  <a:pt x="20" y="1051"/>
                </a:lnTo>
                <a:lnTo>
                  <a:pt x="11" y="1059"/>
                </a:lnTo>
                <a:lnTo>
                  <a:pt x="11" y="1050"/>
                </a:lnTo>
                <a:lnTo>
                  <a:pt x="4" y="1041"/>
                </a:lnTo>
                <a:lnTo>
                  <a:pt x="0" y="1001"/>
                </a:lnTo>
                <a:lnTo>
                  <a:pt x="5" y="991"/>
                </a:lnTo>
                <a:lnTo>
                  <a:pt x="7" y="1012"/>
                </a:lnTo>
                <a:lnTo>
                  <a:pt x="10" y="1001"/>
                </a:lnTo>
                <a:lnTo>
                  <a:pt x="13" y="1008"/>
                </a:lnTo>
                <a:lnTo>
                  <a:pt x="19" y="1004"/>
                </a:lnTo>
                <a:lnTo>
                  <a:pt x="25" y="974"/>
                </a:lnTo>
                <a:lnTo>
                  <a:pt x="21" y="951"/>
                </a:lnTo>
                <a:lnTo>
                  <a:pt x="32" y="935"/>
                </a:lnTo>
                <a:lnTo>
                  <a:pt x="32" y="924"/>
                </a:lnTo>
                <a:lnTo>
                  <a:pt x="57" y="908"/>
                </a:lnTo>
                <a:lnTo>
                  <a:pt x="55" y="888"/>
                </a:lnTo>
                <a:lnTo>
                  <a:pt x="61" y="865"/>
                </a:lnTo>
                <a:lnTo>
                  <a:pt x="54" y="840"/>
                </a:lnTo>
                <a:lnTo>
                  <a:pt x="46" y="830"/>
                </a:lnTo>
                <a:lnTo>
                  <a:pt x="68" y="811"/>
                </a:lnTo>
                <a:lnTo>
                  <a:pt x="73" y="797"/>
                </a:lnTo>
                <a:lnTo>
                  <a:pt x="70" y="780"/>
                </a:lnTo>
                <a:lnTo>
                  <a:pt x="47" y="757"/>
                </a:lnTo>
                <a:lnTo>
                  <a:pt x="47" y="707"/>
                </a:lnTo>
                <a:lnTo>
                  <a:pt x="42" y="682"/>
                </a:lnTo>
                <a:lnTo>
                  <a:pt x="53" y="636"/>
                </a:lnTo>
                <a:lnTo>
                  <a:pt x="41" y="606"/>
                </a:lnTo>
                <a:lnTo>
                  <a:pt x="49" y="579"/>
                </a:lnTo>
                <a:lnTo>
                  <a:pt x="82" y="547"/>
                </a:lnTo>
                <a:lnTo>
                  <a:pt x="124" y="546"/>
                </a:lnTo>
                <a:lnTo>
                  <a:pt x="131" y="535"/>
                </a:lnTo>
                <a:lnTo>
                  <a:pt x="133" y="511"/>
                </a:lnTo>
                <a:lnTo>
                  <a:pt x="116" y="482"/>
                </a:lnTo>
                <a:lnTo>
                  <a:pt x="144" y="428"/>
                </a:lnTo>
                <a:lnTo>
                  <a:pt x="151" y="388"/>
                </a:lnTo>
                <a:lnTo>
                  <a:pt x="151" y="338"/>
                </a:lnTo>
                <a:lnTo>
                  <a:pt x="180" y="323"/>
                </a:lnTo>
                <a:lnTo>
                  <a:pt x="190" y="285"/>
                </a:lnTo>
                <a:lnTo>
                  <a:pt x="229" y="230"/>
                </a:lnTo>
                <a:lnTo>
                  <a:pt x="230" y="214"/>
                </a:lnTo>
                <a:lnTo>
                  <a:pt x="219" y="196"/>
                </a:lnTo>
                <a:lnTo>
                  <a:pt x="238" y="162"/>
                </a:lnTo>
                <a:lnTo>
                  <a:pt x="242" y="140"/>
                </a:lnTo>
                <a:lnTo>
                  <a:pt x="273" y="112"/>
                </a:lnTo>
                <a:lnTo>
                  <a:pt x="294" y="130"/>
                </a:lnTo>
                <a:lnTo>
                  <a:pt x="305" y="99"/>
                </a:lnTo>
                <a:lnTo>
                  <a:pt x="305" y="74"/>
                </a:lnTo>
                <a:lnTo>
                  <a:pt x="313" y="64"/>
                </a:lnTo>
                <a:lnTo>
                  <a:pt x="385" y="75"/>
                </a:lnTo>
                <a:lnTo>
                  <a:pt x="390" y="69"/>
                </a:lnTo>
                <a:lnTo>
                  <a:pt x="382" y="54"/>
                </a:lnTo>
                <a:lnTo>
                  <a:pt x="394" y="21"/>
                </a:lnTo>
                <a:lnTo>
                  <a:pt x="388" y="2"/>
                </a:lnTo>
                <a:lnTo>
                  <a:pt x="410" y="0"/>
                </a:lnTo>
                <a:lnTo>
                  <a:pt x="471" y="64"/>
                </a:lnTo>
                <a:lnTo>
                  <a:pt x="513" y="85"/>
                </a:lnTo>
                <a:lnTo>
                  <a:pt x="539" y="129"/>
                </a:lnTo>
                <a:lnTo>
                  <a:pt x="535" y="173"/>
                </a:lnTo>
                <a:lnTo>
                  <a:pt x="542" y="203"/>
                </a:lnTo>
                <a:lnTo>
                  <a:pt x="537" y="219"/>
                </a:lnTo>
                <a:lnTo>
                  <a:pt x="556" y="268"/>
                </a:lnTo>
                <a:lnTo>
                  <a:pt x="555" y="285"/>
                </a:lnTo>
                <a:lnTo>
                  <a:pt x="545" y="309"/>
                </a:lnTo>
                <a:lnTo>
                  <a:pt x="560" y="352"/>
                </a:lnTo>
                <a:close/>
              </a:path>
            </a:pathLst>
          </a:custGeom>
          <a:solidFill>
            <a:schemeClr val="accent1"/>
          </a:solidFill>
          <a:ln w="6350">
            <a:solidFill>
              <a:schemeClr val="tx2"/>
            </a:solidFill>
            <a:round/>
            <a:headEnd/>
            <a:tailEnd/>
          </a:ln>
        </p:spPr>
        <p:txBody>
          <a:bodyPr/>
          <a:lstStyle/>
          <a:p>
            <a:endParaRPr lang="en-US"/>
          </a:p>
        </p:txBody>
      </p:sp>
      <p:sp>
        <p:nvSpPr>
          <p:cNvPr id="716" name="Freeform 1463"/>
          <p:cNvSpPr>
            <a:spLocks/>
          </p:cNvSpPr>
          <p:nvPr/>
        </p:nvSpPr>
        <p:spPr bwMode="auto">
          <a:xfrm>
            <a:off x="5953869" y="2982986"/>
            <a:ext cx="57334" cy="91703"/>
          </a:xfrm>
          <a:custGeom>
            <a:avLst/>
            <a:gdLst>
              <a:gd name="T0" fmla="*/ 2147483647 w 121"/>
              <a:gd name="T1" fmla="*/ 2147483647 h 221"/>
              <a:gd name="T2" fmla="*/ 2147483647 w 121"/>
              <a:gd name="T3" fmla="*/ 2147483647 h 221"/>
              <a:gd name="T4" fmla="*/ 2147483647 w 121"/>
              <a:gd name="T5" fmla="*/ 2147483647 h 221"/>
              <a:gd name="T6" fmla="*/ 2147483647 w 121"/>
              <a:gd name="T7" fmla="*/ 2147483647 h 221"/>
              <a:gd name="T8" fmla="*/ 2147483647 w 121"/>
              <a:gd name="T9" fmla="*/ 2147483647 h 221"/>
              <a:gd name="T10" fmla="*/ 2147483647 w 121"/>
              <a:gd name="T11" fmla="*/ 2147483647 h 221"/>
              <a:gd name="T12" fmla="*/ 2147483647 w 121"/>
              <a:gd name="T13" fmla="*/ 2147483647 h 221"/>
              <a:gd name="T14" fmla="*/ 2147483647 w 121"/>
              <a:gd name="T15" fmla="*/ 2147483647 h 221"/>
              <a:gd name="T16" fmla="*/ 2147483647 w 121"/>
              <a:gd name="T17" fmla="*/ 2147483647 h 221"/>
              <a:gd name="T18" fmla="*/ 2147483647 w 121"/>
              <a:gd name="T19" fmla="*/ 2147483647 h 221"/>
              <a:gd name="T20" fmla="*/ 2147483647 w 121"/>
              <a:gd name="T21" fmla="*/ 2147483647 h 221"/>
              <a:gd name="T22" fmla="*/ 2147483647 w 121"/>
              <a:gd name="T23" fmla="*/ 2147483647 h 221"/>
              <a:gd name="T24" fmla="*/ 2147483647 w 121"/>
              <a:gd name="T25" fmla="*/ 2147483647 h 221"/>
              <a:gd name="T26" fmla="*/ 2147483647 w 121"/>
              <a:gd name="T27" fmla="*/ 2147483647 h 221"/>
              <a:gd name="T28" fmla="*/ 2147483647 w 121"/>
              <a:gd name="T29" fmla="*/ 2147483647 h 221"/>
              <a:gd name="T30" fmla="*/ 2147483647 w 121"/>
              <a:gd name="T31" fmla="*/ 2147483647 h 221"/>
              <a:gd name="T32" fmla="*/ 2147483647 w 121"/>
              <a:gd name="T33" fmla="*/ 2147483647 h 221"/>
              <a:gd name="T34" fmla="*/ 2147483647 w 121"/>
              <a:gd name="T35" fmla="*/ 2147483647 h 221"/>
              <a:gd name="T36" fmla="*/ 2147483647 w 121"/>
              <a:gd name="T37" fmla="*/ 2147483647 h 221"/>
              <a:gd name="T38" fmla="*/ 2147483647 w 121"/>
              <a:gd name="T39" fmla="*/ 2147483647 h 221"/>
              <a:gd name="T40" fmla="*/ 2147483647 w 121"/>
              <a:gd name="T41" fmla="*/ 2147483647 h 221"/>
              <a:gd name="T42" fmla="*/ 2147483647 w 121"/>
              <a:gd name="T43" fmla="*/ 2147483647 h 221"/>
              <a:gd name="T44" fmla="*/ 2147483647 w 121"/>
              <a:gd name="T45" fmla="*/ 2147483647 h 221"/>
              <a:gd name="T46" fmla="*/ 2147483647 w 121"/>
              <a:gd name="T47" fmla="*/ 0 h 221"/>
              <a:gd name="T48" fmla="*/ 2147483647 w 121"/>
              <a:gd name="T49" fmla="*/ 2147483647 h 221"/>
              <a:gd name="T50" fmla="*/ 2147483647 w 121"/>
              <a:gd name="T51" fmla="*/ 2147483647 h 221"/>
              <a:gd name="T52" fmla="*/ 2147483647 w 121"/>
              <a:gd name="T53" fmla="*/ 2147483647 h 221"/>
              <a:gd name="T54" fmla="*/ 2147483647 w 121"/>
              <a:gd name="T55" fmla="*/ 2147483647 h 221"/>
              <a:gd name="T56" fmla="*/ 0 w 121"/>
              <a:gd name="T57" fmla="*/ 2147483647 h 221"/>
              <a:gd name="T58" fmla="*/ 2147483647 w 121"/>
              <a:gd name="T59" fmla="*/ 2147483647 h 221"/>
              <a:gd name="T60" fmla="*/ 2147483647 w 121"/>
              <a:gd name="T61" fmla="*/ 2147483647 h 221"/>
              <a:gd name="T62" fmla="*/ 2147483647 w 121"/>
              <a:gd name="T63" fmla="*/ 2147483647 h 221"/>
              <a:gd name="T64" fmla="*/ 2147483647 w 121"/>
              <a:gd name="T65" fmla="*/ 2147483647 h 2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1"/>
              <a:gd name="T100" fmla="*/ 0 h 221"/>
              <a:gd name="T101" fmla="*/ 121 w 121"/>
              <a:gd name="T102" fmla="*/ 221 h 2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1" h="221">
                <a:moveTo>
                  <a:pt x="28" y="220"/>
                </a:moveTo>
                <a:lnTo>
                  <a:pt x="63" y="221"/>
                </a:lnTo>
                <a:lnTo>
                  <a:pt x="70" y="220"/>
                </a:lnTo>
                <a:lnTo>
                  <a:pt x="60" y="206"/>
                </a:lnTo>
                <a:lnTo>
                  <a:pt x="67" y="194"/>
                </a:lnTo>
                <a:lnTo>
                  <a:pt x="65" y="174"/>
                </a:lnTo>
                <a:lnTo>
                  <a:pt x="72" y="166"/>
                </a:lnTo>
                <a:lnTo>
                  <a:pt x="66" y="158"/>
                </a:lnTo>
                <a:lnTo>
                  <a:pt x="81" y="158"/>
                </a:lnTo>
                <a:lnTo>
                  <a:pt x="78" y="146"/>
                </a:lnTo>
                <a:lnTo>
                  <a:pt x="95" y="138"/>
                </a:lnTo>
                <a:lnTo>
                  <a:pt x="97" y="118"/>
                </a:lnTo>
                <a:lnTo>
                  <a:pt x="104" y="127"/>
                </a:lnTo>
                <a:lnTo>
                  <a:pt x="121" y="112"/>
                </a:lnTo>
                <a:lnTo>
                  <a:pt x="120" y="98"/>
                </a:lnTo>
                <a:lnTo>
                  <a:pt x="90" y="100"/>
                </a:lnTo>
                <a:lnTo>
                  <a:pt x="89" y="92"/>
                </a:lnTo>
                <a:lnTo>
                  <a:pt x="94" y="86"/>
                </a:lnTo>
                <a:lnTo>
                  <a:pt x="86" y="87"/>
                </a:lnTo>
                <a:lnTo>
                  <a:pt x="92" y="81"/>
                </a:lnTo>
                <a:lnTo>
                  <a:pt x="97" y="52"/>
                </a:lnTo>
                <a:lnTo>
                  <a:pt x="105" y="38"/>
                </a:lnTo>
                <a:lnTo>
                  <a:pt x="100" y="16"/>
                </a:lnTo>
                <a:lnTo>
                  <a:pt x="103" y="0"/>
                </a:lnTo>
                <a:lnTo>
                  <a:pt x="80" y="14"/>
                </a:lnTo>
                <a:lnTo>
                  <a:pt x="57" y="42"/>
                </a:lnTo>
                <a:lnTo>
                  <a:pt x="23" y="49"/>
                </a:lnTo>
                <a:lnTo>
                  <a:pt x="12" y="64"/>
                </a:lnTo>
                <a:lnTo>
                  <a:pt x="0" y="105"/>
                </a:lnTo>
                <a:lnTo>
                  <a:pt x="4" y="170"/>
                </a:lnTo>
                <a:lnTo>
                  <a:pt x="18" y="173"/>
                </a:lnTo>
                <a:lnTo>
                  <a:pt x="27" y="186"/>
                </a:lnTo>
                <a:lnTo>
                  <a:pt x="28" y="220"/>
                </a:lnTo>
                <a:close/>
              </a:path>
            </a:pathLst>
          </a:custGeom>
          <a:solidFill>
            <a:schemeClr val="accent1"/>
          </a:solidFill>
          <a:ln w="6350">
            <a:solidFill>
              <a:schemeClr val="tx2"/>
            </a:solidFill>
            <a:round/>
            <a:headEnd/>
            <a:tailEnd/>
          </a:ln>
        </p:spPr>
        <p:txBody>
          <a:bodyPr/>
          <a:lstStyle/>
          <a:p>
            <a:endParaRPr lang="en-US"/>
          </a:p>
        </p:txBody>
      </p:sp>
      <p:sp>
        <p:nvSpPr>
          <p:cNvPr id="717" name="Freeform 1489"/>
          <p:cNvSpPr>
            <a:spLocks/>
          </p:cNvSpPr>
          <p:nvPr/>
        </p:nvSpPr>
        <p:spPr bwMode="auto">
          <a:xfrm>
            <a:off x="5584069" y="3064500"/>
            <a:ext cx="87433" cy="112082"/>
          </a:xfrm>
          <a:custGeom>
            <a:avLst/>
            <a:gdLst>
              <a:gd name="T0" fmla="*/ 2147483647 w 184"/>
              <a:gd name="T1" fmla="*/ 2147483647 h 271"/>
              <a:gd name="T2" fmla="*/ 2147483647 w 184"/>
              <a:gd name="T3" fmla="*/ 2147483647 h 271"/>
              <a:gd name="T4" fmla="*/ 2147483647 w 184"/>
              <a:gd name="T5" fmla="*/ 2147483647 h 271"/>
              <a:gd name="T6" fmla="*/ 2147483647 w 184"/>
              <a:gd name="T7" fmla="*/ 2147483647 h 271"/>
              <a:gd name="T8" fmla="*/ 2147483647 w 184"/>
              <a:gd name="T9" fmla="*/ 2147483647 h 271"/>
              <a:gd name="T10" fmla="*/ 2147483647 w 184"/>
              <a:gd name="T11" fmla="*/ 2147483647 h 271"/>
              <a:gd name="T12" fmla="*/ 2147483647 w 184"/>
              <a:gd name="T13" fmla="*/ 2147483647 h 271"/>
              <a:gd name="T14" fmla="*/ 2147483647 w 184"/>
              <a:gd name="T15" fmla="*/ 2147483647 h 271"/>
              <a:gd name="T16" fmla="*/ 2147483647 w 184"/>
              <a:gd name="T17" fmla="*/ 2147483647 h 271"/>
              <a:gd name="T18" fmla="*/ 2147483647 w 184"/>
              <a:gd name="T19" fmla="*/ 2147483647 h 271"/>
              <a:gd name="T20" fmla="*/ 2147483647 w 184"/>
              <a:gd name="T21" fmla="*/ 2147483647 h 271"/>
              <a:gd name="T22" fmla="*/ 2147483647 w 184"/>
              <a:gd name="T23" fmla="*/ 2147483647 h 271"/>
              <a:gd name="T24" fmla="*/ 2147483647 w 184"/>
              <a:gd name="T25" fmla="*/ 0 h 271"/>
              <a:gd name="T26" fmla="*/ 2147483647 w 184"/>
              <a:gd name="T27" fmla="*/ 2147483647 h 271"/>
              <a:gd name="T28" fmla="*/ 2147483647 w 184"/>
              <a:gd name="T29" fmla="*/ 2147483647 h 271"/>
              <a:gd name="T30" fmla="*/ 2147483647 w 184"/>
              <a:gd name="T31" fmla="*/ 2147483647 h 271"/>
              <a:gd name="T32" fmla="*/ 2147483647 w 184"/>
              <a:gd name="T33" fmla="*/ 2147483647 h 271"/>
              <a:gd name="T34" fmla="*/ 2147483647 w 184"/>
              <a:gd name="T35" fmla="*/ 2147483647 h 271"/>
              <a:gd name="T36" fmla="*/ 2147483647 w 184"/>
              <a:gd name="T37" fmla="*/ 2147483647 h 271"/>
              <a:gd name="T38" fmla="*/ 2147483647 w 184"/>
              <a:gd name="T39" fmla="*/ 2147483647 h 271"/>
              <a:gd name="T40" fmla="*/ 2147483647 w 184"/>
              <a:gd name="T41" fmla="*/ 2147483647 h 271"/>
              <a:gd name="T42" fmla="*/ 2147483647 w 184"/>
              <a:gd name="T43" fmla="*/ 2147483647 h 271"/>
              <a:gd name="T44" fmla="*/ 2147483647 w 184"/>
              <a:gd name="T45" fmla="*/ 2147483647 h 271"/>
              <a:gd name="T46" fmla="*/ 2147483647 w 184"/>
              <a:gd name="T47" fmla="*/ 2147483647 h 271"/>
              <a:gd name="T48" fmla="*/ 2147483647 w 184"/>
              <a:gd name="T49" fmla="*/ 2147483647 h 271"/>
              <a:gd name="T50" fmla="*/ 2147483647 w 184"/>
              <a:gd name="T51" fmla="*/ 2147483647 h 271"/>
              <a:gd name="T52" fmla="*/ 2147483647 w 184"/>
              <a:gd name="T53" fmla="*/ 2147483647 h 271"/>
              <a:gd name="T54" fmla="*/ 2147483647 w 184"/>
              <a:gd name="T55" fmla="*/ 2147483647 h 271"/>
              <a:gd name="T56" fmla="*/ 2147483647 w 184"/>
              <a:gd name="T57" fmla="*/ 2147483647 h 271"/>
              <a:gd name="T58" fmla="*/ 2147483647 w 184"/>
              <a:gd name="T59" fmla="*/ 2147483647 h 271"/>
              <a:gd name="T60" fmla="*/ 2147483647 w 184"/>
              <a:gd name="T61" fmla="*/ 2147483647 h 271"/>
              <a:gd name="T62" fmla="*/ 2147483647 w 184"/>
              <a:gd name="T63" fmla="*/ 2147483647 h 271"/>
              <a:gd name="T64" fmla="*/ 2147483647 w 184"/>
              <a:gd name="T65" fmla="*/ 2147483647 h 271"/>
              <a:gd name="T66" fmla="*/ 2147483647 w 184"/>
              <a:gd name="T67" fmla="*/ 2147483647 h 271"/>
              <a:gd name="T68" fmla="*/ 2147483647 w 184"/>
              <a:gd name="T69" fmla="*/ 2147483647 h 271"/>
              <a:gd name="T70" fmla="*/ 2147483647 w 184"/>
              <a:gd name="T71" fmla="*/ 2147483647 h 271"/>
              <a:gd name="T72" fmla="*/ 2147483647 w 184"/>
              <a:gd name="T73" fmla="*/ 2147483647 h 271"/>
              <a:gd name="T74" fmla="*/ 0 w 184"/>
              <a:gd name="T75" fmla="*/ 2147483647 h 271"/>
              <a:gd name="T76" fmla="*/ 2147483647 w 184"/>
              <a:gd name="T77" fmla="*/ 2147483647 h 271"/>
              <a:gd name="T78" fmla="*/ 2147483647 w 184"/>
              <a:gd name="T79" fmla="*/ 2147483647 h 271"/>
              <a:gd name="T80" fmla="*/ 2147483647 w 184"/>
              <a:gd name="T81" fmla="*/ 2147483647 h 271"/>
              <a:gd name="T82" fmla="*/ 2147483647 w 184"/>
              <a:gd name="T83" fmla="*/ 2147483647 h 271"/>
              <a:gd name="T84" fmla="*/ 2147483647 w 184"/>
              <a:gd name="T85" fmla="*/ 2147483647 h 271"/>
              <a:gd name="T86" fmla="*/ 2147483647 w 184"/>
              <a:gd name="T87" fmla="*/ 2147483647 h 271"/>
              <a:gd name="T88" fmla="*/ 2147483647 w 184"/>
              <a:gd name="T89" fmla="*/ 2147483647 h 271"/>
              <a:gd name="T90" fmla="*/ 2147483647 w 184"/>
              <a:gd name="T91" fmla="*/ 2147483647 h 271"/>
              <a:gd name="T92" fmla="*/ 2147483647 w 184"/>
              <a:gd name="T93" fmla="*/ 2147483647 h 271"/>
              <a:gd name="T94" fmla="*/ 2147483647 w 184"/>
              <a:gd name="T95" fmla="*/ 2147483647 h 271"/>
              <a:gd name="T96" fmla="*/ 2147483647 w 184"/>
              <a:gd name="T97" fmla="*/ 2147483647 h 271"/>
              <a:gd name="T98" fmla="*/ 2147483647 w 184"/>
              <a:gd name="T99" fmla="*/ 2147483647 h 271"/>
              <a:gd name="T100" fmla="*/ 2147483647 w 184"/>
              <a:gd name="T101" fmla="*/ 2147483647 h 271"/>
              <a:gd name="T102" fmla="*/ 2147483647 w 184"/>
              <a:gd name="T103" fmla="*/ 2147483647 h 271"/>
              <a:gd name="T104" fmla="*/ 2147483647 w 184"/>
              <a:gd name="T105" fmla="*/ 2147483647 h 271"/>
              <a:gd name="T106" fmla="*/ 2147483647 w 184"/>
              <a:gd name="T107" fmla="*/ 2147483647 h 271"/>
              <a:gd name="T108" fmla="*/ 2147483647 w 184"/>
              <a:gd name="T109" fmla="*/ 2147483647 h 271"/>
              <a:gd name="T110" fmla="*/ 2147483647 w 184"/>
              <a:gd name="T111" fmla="*/ 2147483647 h 271"/>
              <a:gd name="T112" fmla="*/ 2147483647 w 184"/>
              <a:gd name="T113" fmla="*/ 2147483647 h 271"/>
              <a:gd name="T114" fmla="*/ 2147483647 w 184"/>
              <a:gd name="T115" fmla="*/ 2147483647 h 271"/>
              <a:gd name="T116" fmla="*/ 2147483647 w 184"/>
              <a:gd name="T117" fmla="*/ 2147483647 h 271"/>
              <a:gd name="T118" fmla="*/ 2147483647 w 184"/>
              <a:gd name="T119" fmla="*/ 2147483647 h 2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4"/>
              <a:gd name="T181" fmla="*/ 0 h 271"/>
              <a:gd name="T182" fmla="*/ 184 w 184"/>
              <a:gd name="T183" fmla="*/ 271 h 27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4" h="271">
                <a:moveTo>
                  <a:pt x="180" y="93"/>
                </a:moveTo>
                <a:lnTo>
                  <a:pt x="175" y="71"/>
                </a:lnTo>
                <a:lnTo>
                  <a:pt x="163" y="60"/>
                </a:lnTo>
                <a:lnTo>
                  <a:pt x="140" y="65"/>
                </a:lnTo>
                <a:lnTo>
                  <a:pt x="126" y="83"/>
                </a:lnTo>
                <a:lnTo>
                  <a:pt x="117" y="79"/>
                </a:lnTo>
                <a:lnTo>
                  <a:pt x="111" y="65"/>
                </a:lnTo>
                <a:lnTo>
                  <a:pt x="98" y="57"/>
                </a:lnTo>
                <a:lnTo>
                  <a:pt x="108" y="50"/>
                </a:lnTo>
                <a:lnTo>
                  <a:pt x="108" y="40"/>
                </a:lnTo>
                <a:lnTo>
                  <a:pt x="116" y="39"/>
                </a:lnTo>
                <a:lnTo>
                  <a:pt x="121" y="22"/>
                </a:lnTo>
                <a:lnTo>
                  <a:pt x="119" y="0"/>
                </a:lnTo>
                <a:lnTo>
                  <a:pt x="95" y="9"/>
                </a:lnTo>
                <a:lnTo>
                  <a:pt x="70" y="42"/>
                </a:lnTo>
                <a:lnTo>
                  <a:pt x="94" y="47"/>
                </a:lnTo>
                <a:lnTo>
                  <a:pt x="91" y="57"/>
                </a:lnTo>
                <a:lnTo>
                  <a:pt x="78" y="66"/>
                </a:lnTo>
                <a:lnTo>
                  <a:pt x="77" y="74"/>
                </a:lnTo>
                <a:lnTo>
                  <a:pt x="29" y="69"/>
                </a:lnTo>
                <a:lnTo>
                  <a:pt x="20" y="82"/>
                </a:lnTo>
                <a:lnTo>
                  <a:pt x="23" y="95"/>
                </a:lnTo>
                <a:lnTo>
                  <a:pt x="11" y="95"/>
                </a:lnTo>
                <a:lnTo>
                  <a:pt x="35" y="107"/>
                </a:lnTo>
                <a:lnTo>
                  <a:pt x="14" y="125"/>
                </a:lnTo>
                <a:lnTo>
                  <a:pt x="22" y="141"/>
                </a:lnTo>
                <a:lnTo>
                  <a:pt x="62" y="151"/>
                </a:lnTo>
                <a:lnTo>
                  <a:pt x="43" y="165"/>
                </a:lnTo>
                <a:lnTo>
                  <a:pt x="38" y="183"/>
                </a:lnTo>
                <a:lnTo>
                  <a:pt x="25" y="195"/>
                </a:lnTo>
                <a:lnTo>
                  <a:pt x="52" y="191"/>
                </a:lnTo>
                <a:lnTo>
                  <a:pt x="64" y="178"/>
                </a:lnTo>
                <a:lnTo>
                  <a:pt x="64" y="187"/>
                </a:lnTo>
                <a:lnTo>
                  <a:pt x="71" y="190"/>
                </a:lnTo>
                <a:lnTo>
                  <a:pt x="32" y="197"/>
                </a:lnTo>
                <a:lnTo>
                  <a:pt x="21" y="218"/>
                </a:lnTo>
                <a:lnTo>
                  <a:pt x="2" y="222"/>
                </a:lnTo>
                <a:lnTo>
                  <a:pt x="0" y="228"/>
                </a:lnTo>
                <a:lnTo>
                  <a:pt x="21" y="230"/>
                </a:lnTo>
                <a:lnTo>
                  <a:pt x="3" y="247"/>
                </a:lnTo>
                <a:lnTo>
                  <a:pt x="30" y="246"/>
                </a:lnTo>
                <a:lnTo>
                  <a:pt x="13" y="262"/>
                </a:lnTo>
                <a:lnTo>
                  <a:pt x="36" y="255"/>
                </a:lnTo>
                <a:lnTo>
                  <a:pt x="35" y="262"/>
                </a:lnTo>
                <a:lnTo>
                  <a:pt x="26" y="266"/>
                </a:lnTo>
                <a:lnTo>
                  <a:pt x="27" y="271"/>
                </a:lnTo>
                <a:lnTo>
                  <a:pt x="48" y="269"/>
                </a:lnTo>
                <a:lnTo>
                  <a:pt x="80" y="258"/>
                </a:lnTo>
                <a:lnTo>
                  <a:pt x="86" y="254"/>
                </a:lnTo>
                <a:lnTo>
                  <a:pt x="86" y="243"/>
                </a:lnTo>
                <a:lnTo>
                  <a:pt x="94" y="249"/>
                </a:lnTo>
                <a:lnTo>
                  <a:pt x="114" y="240"/>
                </a:lnTo>
                <a:lnTo>
                  <a:pt x="121" y="228"/>
                </a:lnTo>
                <a:lnTo>
                  <a:pt x="169" y="223"/>
                </a:lnTo>
                <a:lnTo>
                  <a:pt x="169" y="210"/>
                </a:lnTo>
                <a:lnTo>
                  <a:pt x="184" y="170"/>
                </a:lnTo>
                <a:lnTo>
                  <a:pt x="179" y="140"/>
                </a:lnTo>
                <a:lnTo>
                  <a:pt x="183" y="126"/>
                </a:lnTo>
                <a:lnTo>
                  <a:pt x="173" y="101"/>
                </a:lnTo>
                <a:lnTo>
                  <a:pt x="180" y="93"/>
                </a:lnTo>
                <a:close/>
              </a:path>
            </a:pathLst>
          </a:custGeom>
          <a:solidFill>
            <a:schemeClr val="accent1"/>
          </a:solidFill>
          <a:ln w="6350">
            <a:solidFill>
              <a:schemeClr val="tx2"/>
            </a:solidFill>
            <a:round/>
            <a:headEnd/>
            <a:tailEnd/>
          </a:ln>
        </p:spPr>
        <p:txBody>
          <a:bodyPr/>
          <a:lstStyle/>
          <a:p>
            <a:endParaRPr lang="en-US"/>
          </a:p>
        </p:txBody>
      </p:sp>
      <p:sp>
        <p:nvSpPr>
          <p:cNvPr id="718" name="Freeform 1490"/>
          <p:cNvSpPr>
            <a:spLocks/>
          </p:cNvSpPr>
          <p:nvPr/>
        </p:nvSpPr>
        <p:spPr bwMode="auto">
          <a:xfrm>
            <a:off x="6326537" y="3258096"/>
            <a:ext cx="68800" cy="76420"/>
          </a:xfrm>
          <a:custGeom>
            <a:avLst/>
            <a:gdLst>
              <a:gd name="T0" fmla="*/ 2147483647 w 146"/>
              <a:gd name="T1" fmla="*/ 2147483647 h 184"/>
              <a:gd name="T2" fmla="*/ 2147483647 w 146"/>
              <a:gd name="T3" fmla="*/ 2147483647 h 184"/>
              <a:gd name="T4" fmla="*/ 2147483647 w 146"/>
              <a:gd name="T5" fmla="*/ 2147483647 h 184"/>
              <a:gd name="T6" fmla="*/ 2147483647 w 146"/>
              <a:gd name="T7" fmla="*/ 2147483647 h 184"/>
              <a:gd name="T8" fmla="*/ 2147483647 w 146"/>
              <a:gd name="T9" fmla="*/ 2147483647 h 184"/>
              <a:gd name="T10" fmla="*/ 2147483647 w 146"/>
              <a:gd name="T11" fmla="*/ 2147483647 h 184"/>
              <a:gd name="T12" fmla="*/ 2147483647 w 146"/>
              <a:gd name="T13" fmla="*/ 2147483647 h 184"/>
              <a:gd name="T14" fmla="*/ 2147483647 w 146"/>
              <a:gd name="T15" fmla="*/ 2147483647 h 184"/>
              <a:gd name="T16" fmla="*/ 2147483647 w 146"/>
              <a:gd name="T17" fmla="*/ 2147483647 h 184"/>
              <a:gd name="T18" fmla="*/ 2147483647 w 146"/>
              <a:gd name="T19" fmla="*/ 2147483647 h 184"/>
              <a:gd name="T20" fmla="*/ 2147483647 w 146"/>
              <a:gd name="T21" fmla="*/ 2147483647 h 184"/>
              <a:gd name="T22" fmla="*/ 2147483647 w 146"/>
              <a:gd name="T23" fmla="*/ 2147483647 h 184"/>
              <a:gd name="T24" fmla="*/ 2147483647 w 146"/>
              <a:gd name="T25" fmla="*/ 2147483647 h 184"/>
              <a:gd name="T26" fmla="*/ 2147483647 w 146"/>
              <a:gd name="T27" fmla="*/ 2147483647 h 184"/>
              <a:gd name="T28" fmla="*/ 2147483647 w 146"/>
              <a:gd name="T29" fmla="*/ 0 h 184"/>
              <a:gd name="T30" fmla="*/ 2147483647 w 146"/>
              <a:gd name="T31" fmla="*/ 2147483647 h 184"/>
              <a:gd name="T32" fmla="*/ 0 w 146"/>
              <a:gd name="T33" fmla="*/ 2147483647 h 184"/>
              <a:gd name="T34" fmla="*/ 2147483647 w 146"/>
              <a:gd name="T35" fmla="*/ 2147483647 h 184"/>
              <a:gd name="T36" fmla="*/ 2147483647 w 146"/>
              <a:gd name="T37" fmla="*/ 2147483647 h 184"/>
              <a:gd name="T38" fmla="*/ 2147483647 w 146"/>
              <a:gd name="T39" fmla="*/ 2147483647 h 184"/>
              <a:gd name="T40" fmla="*/ 2147483647 w 146"/>
              <a:gd name="T41" fmla="*/ 2147483647 h 184"/>
              <a:gd name="T42" fmla="*/ 2147483647 w 146"/>
              <a:gd name="T43" fmla="*/ 2147483647 h 1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6"/>
              <a:gd name="T67" fmla="*/ 0 h 184"/>
              <a:gd name="T68" fmla="*/ 146 w 146"/>
              <a:gd name="T69" fmla="*/ 184 h 18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6" h="184">
                <a:moveTo>
                  <a:pt x="69" y="160"/>
                </a:moveTo>
                <a:lnTo>
                  <a:pt x="70" y="184"/>
                </a:lnTo>
                <a:lnTo>
                  <a:pt x="83" y="182"/>
                </a:lnTo>
                <a:lnTo>
                  <a:pt x="85" y="170"/>
                </a:lnTo>
                <a:lnTo>
                  <a:pt x="102" y="153"/>
                </a:lnTo>
                <a:lnTo>
                  <a:pt x="107" y="129"/>
                </a:lnTo>
                <a:lnTo>
                  <a:pt x="146" y="129"/>
                </a:lnTo>
                <a:lnTo>
                  <a:pt x="146" y="104"/>
                </a:lnTo>
                <a:lnTo>
                  <a:pt x="131" y="93"/>
                </a:lnTo>
                <a:lnTo>
                  <a:pt x="125" y="70"/>
                </a:lnTo>
                <a:lnTo>
                  <a:pt x="111" y="59"/>
                </a:lnTo>
                <a:lnTo>
                  <a:pt x="113" y="33"/>
                </a:lnTo>
                <a:lnTo>
                  <a:pt x="110" y="28"/>
                </a:lnTo>
                <a:lnTo>
                  <a:pt x="70" y="19"/>
                </a:lnTo>
                <a:lnTo>
                  <a:pt x="37" y="0"/>
                </a:lnTo>
                <a:lnTo>
                  <a:pt x="11" y="3"/>
                </a:lnTo>
                <a:lnTo>
                  <a:pt x="0" y="20"/>
                </a:lnTo>
                <a:lnTo>
                  <a:pt x="9" y="17"/>
                </a:lnTo>
                <a:lnTo>
                  <a:pt x="36" y="46"/>
                </a:lnTo>
                <a:lnTo>
                  <a:pt x="39" y="60"/>
                </a:lnTo>
                <a:lnTo>
                  <a:pt x="67" y="108"/>
                </a:lnTo>
                <a:lnTo>
                  <a:pt x="69" y="160"/>
                </a:lnTo>
                <a:close/>
              </a:path>
            </a:pathLst>
          </a:custGeom>
          <a:solidFill>
            <a:schemeClr val="accent1"/>
          </a:solidFill>
          <a:ln w="6350">
            <a:solidFill>
              <a:schemeClr val="tx2"/>
            </a:solidFill>
            <a:round/>
            <a:headEnd/>
            <a:tailEnd/>
          </a:ln>
        </p:spPr>
        <p:txBody>
          <a:bodyPr/>
          <a:lstStyle/>
          <a:p>
            <a:endParaRPr lang="en-US"/>
          </a:p>
        </p:txBody>
      </p:sp>
      <p:sp>
        <p:nvSpPr>
          <p:cNvPr id="719" name="Freeform 1491"/>
          <p:cNvSpPr>
            <a:spLocks/>
          </p:cNvSpPr>
          <p:nvPr/>
        </p:nvSpPr>
        <p:spPr bwMode="auto">
          <a:xfrm>
            <a:off x="6201837" y="3265738"/>
            <a:ext cx="192067" cy="117177"/>
          </a:xfrm>
          <a:custGeom>
            <a:avLst/>
            <a:gdLst>
              <a:gd name="T0" fmla="*/ 2147483647 w 408"/>
              <a:gd name="T1" fmla="*/ 2147483647 h 284"/>
              <a:gd name="T2" fmla="*/ 2147483647 w 408"/>
              <a:gd name="T3" fmla="*/ 2147483647 h 284"/>
              <a:gd name="T4" fmla="*/ 2147483647 w 408"/>
              <a:gd name="T5" fmla="*/ 2147483647 h 284"/>
              <a:gd name="T6" fmla="*/ 2147483647 w 408"/>
              <a:gd name="T7" fmla="*/ 0 h 284"/>
              <a:gd name="T8" fmla="*/ 2147483647 w 408"/>
              <a:gd name="T9" fmla="*/ 2147483647 h 284"/>
              <a:gd name="T10" fmla="*/ 2147483647 w 408"/>
              <a:gd name="T11" fmla="*/ 2147483647 h 284"/>
              <a:gd name="T12" fmla="*/ 2147483647 w 408"/>
              <a:gd name="T13" fmla="*/ 2147483647 h 284"/>
              <a:gd name="T14" fmla="*/ 2147483647 w 408"/>
              <a:gd name="T15" fmla="*/ 2147483647 h 284"/>
              <a:gd name="T16" fmla="*/ 2147483647 w 408"/>
              <a:gd name="T17" fmla="*/ 2147483647 h 284"/>
              <a:gd name="T18" fmla="*/ 2147483647 w 408"/>
              <a:gd name="T19" fmla="*/ 2147483647 h 284"/>
              <a:gd name="T20" fmla="*/ 2147483647 w 408"/>
              <a:gd name="T21" fmla="*/ 2147483647 h 284"/>
              <a:gd name="T22" fmla="*/ 0 w 408"/>
              <a:gd name="T23" fmla="*/ 2147483647 h 284"/>
              <a:gd name="T24" fmla="*/ 2147483647 w 408"/>
              <a:gd name="T25" fmla="*/ 2147483647 h 284"/>
              <a:gd name="T26" fmla="*/ 2147483647 w 408"/>
              <a:gd name="T27" fmla="*/ 2147483647 h 284"/>
              <a:gd name="T28" fmla="*/ 2147483647 w 408"/>
              <a:gd name="T29" fmla="*/ 2147483647 h 284"/>
              <a:gd name="T30" fmla="*/ 2147483647 w 408"/>
              <a:gd name="T31" fmla="*/ 2147483647 h 284"/>
              <a:gd name="T32" fmla="*/ 2147483647 w 408"/>
              <a:gd name="T33" fmla="*/ 2147483647 h 284"/>
              <a:gd name="T34" fmla="*/ 2147483647 w 408"/>
              <a:gd name="T35" fmla="*/ 2147483647 h 284"/>
              <a:gd name="T36" fmla="*/ 2147483647 w 408"/>
              <a:gd name="T37" fmla="*/ 2147483647 h 284"/>
              <a:gd name="T38" fmla="*/ 2147483647 w 408"/>
              <a:gd name="T39" fmla="*/ 2147483647 h 284"/>
              <a:gd name="T40" fmla="*/ 2147483647 w 408"/>
              <a:gd name="T41" fmla="*/ 2147483647 h 284"/>
              <a:gd name="T42" fmla="*/ 2147483647 w 408"/>
              <a:gd name="T43" fmla="*/ 2147483647 h 284"/>
              <a:gd name="T44" fmla="*/ 2147483647 w 408"/>
              <a:gd name="T45" fmla="*/ 2147483647 h 284"/>
              <a:gd name="T46" fmla="*/ 2147483647 w 408"/>
              <a:gd name="T47" fmla="*/ 2147483647 h 284"/>
              <a:gd name="T48" fmla="*/ 2147483647 w 408"/>
              <a:gd name="T49" fmla="*/ 2147483647 h 284"/>
              <a:gd name="T50" fmla="*/ 2147483647 w 408"/>
              <a:gd name="T51" fmla="*/ 2147483647 h 284"/>
              <a:gd name="T52" fmla="*/ 2147483647 w 408"/>
              <a:gd name="T53" fmla="*/ 2147483647 h 284"/>
              <a:gd name="T54" fmla="*/ 2147483647 w 408"/>
              <a:gd name="T55" fmla="*/ 2147483647 h 284"/>
              <a:gd name="T56" fmla="*/ 2147483647 w 408"/>
              <a:gd name="T57" fmla="*/ 2147483647 h 284"/>
              <a:gd name="T58" fmla="*/ 2147483647 w 408"/>
              <a:gd name="T59" fmla="*/ 2147483647 h 284"/>
              <a:gd name="T60" fmla="*/ 2147483647 w 408"/>
              <a:gd name="T61" fmla="*/ 2147483647 h 284"/>
              <a:gd name="T62" fmla="*/ 2147483647 w 408"/>
              <a:gd name="T63" fmla="*/ 2147483647 h 284"/>
              <a:gd name="T64" fmla="*/ 2147483647 w 408"/>
              <a:gd name="T65" fmla="*/ 2147483647 h 284"/>
              <a:gd name="T66" fmla="*/ 2147483647 w 408"/>
              <a:gd name="T67" fmla="*/ 2147483647 h 284"/>
              <a:gd name="T68" fmla="*/ 2147483647 w 408"/>
              <a:gd name="T69" fmla="*/ 2147483647 h 284"/>
              <a:gd name="T70" fmla="*/ 2147483647 w 408"/>
              <a:gd name="T71" fmla="*/ 2147483647 h 284"/>
              <a:gd name="T72" fmla="*/ 2147483647 w 408"/>
              <a:gd name="T73" fmla="*/ 2147483647 h 284"/>
              <a:gd name="T74" fmla="*/ 2147483647 w 408"/>
              <a:gd name="T75" fmla="*/ 2147483647 h 284"/>
              <a:gd name="T76" fmla="*/ 2147483647 w 408"/>
              <a:gd name="T77" fmla="*/ 2147483647 h 284"/>
              <a:gd name="T78" fmla="*/ 2147483647 w 408"/>
              <a:gd name="T79" fmla="*/ 2147483647 h 284"/>
              <a:gd name="T80" fmla="*/ 2147483647 w 408"/>
              <a:gd name="T81" fmla="*/ 2147483647 h 284"/>
              <a:gd name="T82" fmla="*/ 2147483647 w 408"/>
              <a:gd name="T83" fmla="*/ 2147483647 h 284"/>
              <a:gd name="T84" fmla="*/ 2147483647 w 408"/>
              <a:gd name="T85" fmla="*/ 2147483647 h 284"/>
              <a:gd name="T86" fmla="*/ 2147483647 w 408"/>
              <a:gd name="T87" fmla="*/ 2147483647 h 284"/>
              <a:gd name="T88" fmla="*/ 2147483647 w 408"/>
              <a:gd name="T89" fmla="*/ 2147483647 h 284"/>
              <a:gd name="T90" fmla="*/ 2147483647 w 408"/>
              <a:gd name="T91" fmla="*/ 2147483647 h 284"/>
              <a:gd name="T92" fmla="*/ 2147483647 w 408"/>
              <a:gd name="T93" fmla="*/ 2147483647 h 284"/>
              <a:gd name="T94" fmla="*/ 2147483647 w 408"/>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284"/>
              <a:gd name="T146" fmla="*/ 408 w 408"/>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284">
                <a:moveTo>
                  <a:pt x="338" y="91"/>
                </a:moveTo>
                <a:lnTo>
                  <a:pt x="310" y="43"/>
                </a:lnTo>
                <a:lnTo>
                  <a:pt x="307" y="29"/>
                </a:lnTo>
                <a:lnTo>
                  <a:pt x="280" y="0"/>
                </a:lnTo>
                <a:lnTo>
                  <a:pt x="271" y="3"/>
                </a:lnTo>
                <a:lnTo>
                  <a:pt x="203" y="28"/>
                </a:lnTo>
                <a:lnTo>
                  <a:pt x="187" y="16"/>
                </a:lnTo>
                <a:lnTo>
                  <a:pt x="111" y="19"/>
                </a:lnTo>
                <a:lnTo>
                  <a:pt x="77" y="43"/>
                </a:lnTo>
                <a:lnTo>
                  <a:pt x="69" y="66"/>
                </a:lnTo>
                <a:lnTo>
                  <a:pt x="39" y="121"/>
                </a:lnTo>
                <a:lnTo>
                  <a:pt x="0" y="134"/>
                </a:lnTo>
                <a:lnTo>
                  <a:pt x="20" y="151"/>
                </a:lnTo>
                <a:lnTo>
                  <a:pt x="37" y="186"/>
                </a:lnTo>
                <a:lnTo>
                  <a:pt x="52" y="192"/>
                </a:lnTo>
                <a:lnTo>
                  <a:pt x="55" y="211"/>
                </a:lnTo>
                <a:lnTo>
                  <a:pt x="88" y="228"/>
                </a:lnTo>
                <a:lnTo>
                  <a:pt x="98" y="221"/>
                </a:lnTo>
                <a:lnTo>
                  <a:pt x="104" y="230"/>
                </a:lnTo>
                <a:lnTo>
                  <a:pt x="96" y="238"/>
                </a:lnTo>
                <a:lnTo>
                  <a:pt x="102" y="252"/>
                </a:lnTo>
                <a:lnTo>
                  <a:pt x="109" y="253"/>
                </a:lnTo>
                <a:lnTo>
                  <a:pt x="119" y="257"/>
                </a:lnTo>
                <a:lnTo>
                  <a:pt x="114" y="268"/>
                </a:lnTo>
                <a:lnTo>
                  <a:pt x="122" y="275"/>
                </a:lnTo>
                <a:lnTo>
                  <a:pt x="227" y="284"/>
                </a:lnTo>
                <a:lnTo>
                  <a:pt x="291" y="257"/>
                </a:lnTo>
                <a:lnTo>
                  <a:pt x="307" y="257"/>
                </a:lnTo>
                <a:lnTo>
                  <a:pt x="334" y="267"/>
                </a:lnTo>
                <a:lnTo>
                  <a:pt x="351" y="279"/>
                </a:lnTo>
                <a:lnTo>
                  <a:pt x="364" y="277"/>
                </a:lnTo>
                <a:lnTo>
                  <a:pt x="364" y="248"/>
                </a:lnTo>
                <a:lnTo>
                  <a:pt x="375" y="205"/>
                </a:lnTo>
                <a:lnTo>
                  <a:pt x="381" y="205"/>
                </a:lnTo>
                <a:lnTo>
                  <a:pt x="381" y="216"/>
                </a:lnTo>
                <a:lnTo>
                  <a:pt x="371" y="231"/>
                </a:lnTo>
                <a:lnTo>
                  <a:pt x="373" y="236"/>
                </a:lnTo>
                <a:lnTo>
                  <a:pt x="400" y="215"/>
                </a:lnTo>
                <a:lnTo>
                  <a:pt x="404" y="211"/>
                </a:lnTo>
                <a:lnTo>
                  <a:pt x="408" y="198"/>
                </a:lnTo>
                <a:lnTo>
                  <a:pt x="406" y="179"/>
                </a:lnTo>
                <a:lnTo>
                  <a:pt x="395" y="176"/>
                </a:lnTo>
                <a:lnTo>
                  <a:pt x="360" y="188"/>
                </a:lnTo>
                <a:lnTo>
                  <a:pt x="350" y="175"/>
                </a:lnTo>
                <a:lnTo>
                  <a:pt x="343" y="177"/>
                </a:lnTo>
                <a:lnTo>
                  <a:pt x="341" y="167"/>
                </a:lnTo>
                <a:lnTo>
                  <a:pt x="340" y="143"/>
                </a:lnTo>
                <a:lnTo>
                  <a:pt x="338" y="91"/>
                </a:lnTo>
                <a:close/>
              </a:path>
            </a:pathLst>
          </a:custGeom>
          <a:solidFill>
            <a:schemeClr val="accent1"/>
          </a:solidFill>
          <a:ln w="6350">
            <a:solidFill>
              <a:schemeClr val="tx2"/>
            </a:solidFill>
            <a:round/>
            <a:headEnd/>
            <a:tailEnd/>
          </a:ln>
        </p:spPr>
        <p:txBody>
          <a:bodyPr/>
          <a:lstStyle/>
          <a:p>
            <a:endParaRPr lang="en-US"/>
          </a:p>
        </p:txBody>
      </p:sp>
      <p:sp>
        <p:nvSpPr>
          <p:cNvPr id="720" name="Freeform 1492"/>
          <p:cNvSpPr>
            <a:spLocks/>
          </p:cNvSpPr>
          <p:nvPr/>
        </p:nvSpPr>
        <p:spPr bwMode="auto">
          <a:xfrm>
            <a:off x="5631368" y="3061953"/>
            <a:ext cx="50167" cy="40757"/>
          </a:xfrm>
          <a:custGeom>
            <a:avLst/>
            <a:gdLst>
              <a:gd name="T0" fmla="*/ 2147483647 w 110"/>
              <a:gd name="T1" fmla="*/ 2147483647 h 99"/>
              <a:gd name="T2" fmla="*/ 2147483647 w 110"/>
              <a:gd name="T3" fmla="*/ 2147483647 h 99"/>
              <a:gd name="T4" fmla="*/ 2147483647 w 110"/>
              <a:gd name="T5" fmla="*/ 2147483647 h 99"/>
              <a:gd name="T6" fmla="*/ 2147483647 w 110"/>
              <a:gd name="T7" fmla="*/ 2147483647 h 99"/>
              <a:gd name="T8" fmla="*/ 2147483647 w 110"/>
              <a:gd name="T9" fmla="*/ 2147483647 h 99"/>
              <a:gd name="T10" fmla="*/ 2147483647 w 110"/>
              <a:gd name="T11" fmla="*/ 2147483647 h 99"/>
              <a:gd name="T12" fmla="*/ 2147483647 w 110"/>
              <a:gd name="T13" fmla="*/ 2147483647 h 99"/>
              <a:gd name="T14" fmla="*/ 2147483647 w 110"/>
              <a:gd name="T15" fmla="*/ 2147483647 h 99"/>
              <a:gd name="T16" fmla="*/ 2147483647 w 110"/>
              <a:gd name="T17" fmla="*/ 2147483647 h 99"/>
              <a:gd name="T18" fmla="*/ 2147483647 w 110"/>
              <a:gd name="T19" fmla="*/ 2147483647 h 99"/>
              <a:gd name="T20" fmla="*/ 2147483647 w 110"/>
              <a:gd name="T21" fmla="*/ 2147483647 h 99"/>
              <a:gd name="T22" fmla="*/ 2147483647 w 110"/>
              <a:gd name="T23" fmla="*/ 2147483647 h 99"/>
              <a:gd name="T24" fmla="*/ 2147483647 w 110"/>
              <a:gd name="T25" fmla="*/ 2147483647 h 99"/>
              <a:gd name="T26" fmla="*/ 2147483647 w 110"/>
              <a:gd name="T27" fmla="*/ 2147483647 h 99"/>
              <a:gd name="T28" fmla="*/ 2147483647 w 110"/>
              <a:gd name="T29" fmla="*/ 2147483647 h 99"/>
              <a:gd name="T30" fmla="*/ 2147483647 w 110"/>
              <a:gd name="T31" fmla="*/ 2147483647 h 99"/>
              <a:gd name="T32" fmla="*/ 2147483647 w 110"/>
              <a:gd name="T33" fmla="*/ 2147483647 h 99"/>
              <a:gd name="T34" fmla="*/ 2147483647 w 110"/>
              <a:gd name="T35" fmla="*/ 2147483647 h 99"/>
              <a:gd name="T36" fmla="*/ 2147483647 w 110"/>
              <a:gd name="T37" fmla="*/ 0 h 99"/>
              <a:gd name="T38" fmla="*/ 2147483647 w 110"/>
              <a:gd name="T39" fmla="*/ 2147483647 h 99"/>
              <a:gd name="T40" fmla="*/ 2147483647 w 110"/>
              <a:gd name="T41" fmla="*/ 2147483647 h 99"/>
              <a:gd name="T42" fmla="*/ 2147483647 w 110"/>
              <a:gd name="T43" fmla="*/ 2147483647 h 99"/>
              <a:gd name="T44" fmla="*/ 2147483647 w 110"/>
              <a:gd name="T45" fmla="*/ 2147483647 h 99"/>
              <a:gd name="T46" fmla="*/ 2147483647 w 110"/>
              <a:gd name="T47" fmla="*/ 2147483647 h 99"/>
              <a:gd name="T48" fmla="*/ 2147483647 w 110"/>
              <a:gd name="T49" fmla="*/ 2147483647 h 99"/>
              <a:gd name="T50" fmla="*/ 0 w 110"/>
              <a:gd name="T51" fmla="*/ 2147483647 h 99"/>
              <a:gd name="T52" fmla="*/ 2147483647 w 110"/>
              <a:gd name="T53" fmla="*/ 2147483647 h 99"/>
              <a:gd name="T54" fmla="*/ 2147483647 w 110"/>
              <a:gd name="T55" fmla="*/ 2147483647 h 99"/>
              <a:gd name="T56" fmla="*/ 2147483647 w 110"/>
              <a:gd name="T57" fmla="*/ 2147483647 h 99"/>
              <a:gd name="T58" fmla="*/ 2147483647 w 110"/>
              <a:gd name="T59" fmla="*/ 2147483647 h 99"/>
              <a:gd name="T60" fmla="*/ 2147483647 w 110"/>
              <a:gd name="T61" fmla="*/ 2147483647 h 99"/>
              <a:gd name="T62" fmla="*/ 2147483647 w 110"/>
              <a:gd name="T63" fmla="*/ 2147483647 h 99"/>
              <a:gd name="T64" fmla="*/ 2147483647 w 110"/>
              <a:gd name="T65" fmla="*/ 2147483647 h 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0"/>
              <a:gd name="T100" fmla="*/ 0 h 99"/>
              <a:gd name="T101" fmla="*/ 110 w 110"/>
              <a:gd name="T102" fmla="*/ 99 h 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0" h="99">
                <a:moveTo>
                  <a:pt x="82" y="99"/>
                </a:moveTo>
                <a:lnTo>
                  <a:pt x="92" y="91"/>
                </a:lnTo>
                <a:lnTo>
                  <a:pt x="94" y="83"/>
                </a:lnTo>
                <a:lnTo>
                  <a:pt x="104" y="81"/>
                </a:lnTo>
                <a:lnTo>
                  <a:pt x="108" y="76"/>
                </a:lnTo>
                <a:lnTo>
                  <a:pt x="103" y="61"/>
                </a:lnTo>
                <a:lnTo>
                  <a:pt x="109" y="70"/>
                </a:lnTo>
                <a:lnTo>
                  <a:pt x="110" y="61"/>
                </a:lnTo>
                <a:lnTo>
                  <a:pt x="103" y="50"/>
                </a:lnTo>
                <a:lnTo>
                  <a:pt x="92" y="52"/>
                </a:lnTo>
                <a:lnTo>
                  <a:pt x="96" y="44"/>
                </a:lnTo>
                <a:lnTo>
                  <a:pt x="96" y="30"/>
                </a:lnTo>
                <a:lnTo>
                  <a:pt x="84" y="12"/>
                </a:lnTo>
                <a:lnTo>
                  <a:pt x="69" y="7"/>
                </a:lnTo>
                <a:lnTo>
                  <a:pt x="40" y="20"/>
                </a:lnTo>
                <a:lnTo>
                  <a:pt x="39" y="17"/>
                </a:lnTo>
                <a:lnTo>
                  <a:pt x="47" y="8"/>
                </a:lnTo>
                <a:lnTo>
                  <a:pt x="39" y="1"/>
                </a:lnTo>
                <a:lnTo>
                  <a:pt x="32" y="0"/>
                </a:lnTo>
                <a:lnTo>
                  <a:pt x="27" y="10"/>
                </a:lnTo>
                <a:lnTo>
                  <a:pt x="26" y="25"/>
                </a:lnTo>
                <a:lnTo>
                  <a:pt x="23" y="28"/>
                </a:lnTo>
                <a:lnTo>
                  <a:pt x="18" y="45"/>
                </a:lnTo>
                <a:lnTo>
                  <a:pt x="10" y="46"/>
                </a:lnTo>
                <a:lnTo>
                  <a:pt x="10" y="56"/>
                </a:lnTo>
                <a:lnTo>
                  <a:pt x="0" y="63"/>
                </a:lnTo>
                <a:lnTo>
                  <a:pt x="13" y="71"/>
                </a:lnTo>
                <a:lnTo>
                  <a:pt x="19" y="85"/>
                </a:lnTo>
                <a:lnTo>
                  <a:pt x="28" y="89"/>
                </a:lnTo>
                <a:lnTo>
                  <a:pt x="42" y="71"/>
                </a:lnTo>
                <a:lnTo>
                  <a:pt x="65" y="66"/>
                </a:lnTo>
                <a:lnTo>
                  <a:pt x="77" y="77"/>
                </a:lnTo>
                <a:lnTo>
                  <a:pt x="82" y="99"/>
                </a:lnTo>
                <a:close/>
              </a:path>
            </a:pathLst>
          </a:custGeom>
          <a:solidFill>
            <a:schemeClr val="accent1"/>
          </a:solidFill>
          <a:ln w="6350">
            <a:solidFill>
              <a:schemeClr val="tx2"/>
            </a:solidFill>
            <a:round/>
            <a:headEnd/>
            <a:tailEnd/>
          </a:ln>
        </p:spPr>
        <p:txBody>
          <a:bodyPr/>
          <a:lstStyle/>
          <a:p>
            <a:endParaRPr lang="en-US"/>
          </a:p>
        </p:txBody>
      </p:sp>
      <p:sp>
        <p:nvSpPr>
          <p:cNvPr id="721" name="Freeform 1697"/>
          <p:cNvSpPr>
            <a:spLocks/>
          </p:cNvSpPr>
          <p:nvPr/>
        </p:nvSpPr>
        <p:spPr bwMode="auto">
          <a:xfrm>
            <a:off x="6800973" y="2496450"/>
            <a:ext cx="44434" cy="40757"/>
          </a:xfrm>
          <a:custGeom>
            <a:avLst/>
            <a:gdLst>
              <a:gd name="T0" fmla="*/ 2147483647 w 92"/>
              <a:gd name="T1" fmla="*/ 2147483647 h 98"/>
              <a:gd name="T2" fmla="*/ 2147483647 w 92"/>
              <a:gd name="T3" fmla="*/ 0 h 98"/>
              <a:gd name="T4" fmla="*/ 2147483647 w 92"/>
              <a:gd name="T5" fmla="*/ 2147483647 h 98"/>
              <a:gd name="T6" fmla="*/ 2147483647 w 92"/>
              <a:gd name="T7" fmla="*/ 2147483647 h 98"/>
              <a:gd name="T8" fmla="*/ 2147483647 w 92"/>
              <a:gd name="T9" fmla="*/ 2147483647 h 98"/>
              <a:gd name="T10" fmla="*/ 2147483647 w 92"/>
              <a:gd name="T11" fmla="*/ 2147483647 h 98"/>
              <a:gd name="T12" fmla="*/ 2147483647 w 92"/>
              <a:gd name="T13" fmla="*/ 2147483647 h 98"/>
              <a:gd name="T14" fmla="*/ 2147483647 w 92"/>
              <a:gd name="T15" fmla="*/ 2147483647 h 98"/>
              <a:gd name="T16" fmla="*/ 2147483647 w 92"/>
              <a:gd name="T17" fmla="*/ 2147483647 h 98"/>
              <a:gd name="T18" fmla="*/ 2147483647 w 92"/>
              <a:gd name="T19" fmla="*/ 2147483647 h 98"/>
              <a:gd name="T20" fmla="*/ 2147483647 w 92"/>
              <a:gd name="T21" fmla="*/ 2147483647 h 98"/>
              <a:gd name="T22" fmla="*/ 2147483647 w 92"/>
              <a:gd name="T23" fmla="*/ 2147483647 h 98"/>
              <a:gd name="T24" fmla="*/ 0 w 92"/>
              <a:gd name="T25" fmla="*/ 2147483647 h 98"/>
              <a:gd name="T26" fmla="*/ 2147483647 w 92"/>
              <a:gd name="T27" fmla="*/ 2147483647 h 98"/>
              <a:gd name="T28" fmla="*/ 2147483647 w 92"/>
              <a:gd name="T29" fmla="*/ 2147483647 h 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98"/>
              <a:gd name="T47" fmla="*/ 92 w 92"/>
              <a:gd name="T48" fmla="*/ 98 h 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98">
                <a:moveTo>
                  <a:pt x="21" y="6"/>
                </a:moveTo>
                <a:lnTo>
                  <a:pt x="42" y="0"/>
                </a:lnTo>
                <a:lnTo>
                  <a:pt x="79" y="40"/>
                </a:lnTo>
                <a:lnTo>
                  <a:pt x="82" y="26"/>
                </a:lnTo>
                <a:lnTo>
                  <a:pt x="92" y="50"/>
                </a:lnTo>
                <a:lnTo>
                  <a:pt x="90" y="61"/>
                </a:lnTo>
                <a:lnTo>
                  <a:pt x="85" y="50"/>
                </a:lnTo>
                <a:lnTo>
                  <a:pt x="61" y="82"/>
                </a:lnTo>
                <a:lnTo>
                  <a:pt x="36" y="96"/>
                </a:lnTo>
                <a:lnTo>
                  <a:pt x="21" y="98"/>
                </a:lnTo>
                <a:lnTo>
                  <a:pt x="5" y="81"/>
                </a:lnTo>
                <a:lnTo>
                  <a:pt x="7" y="97"/>
                </a:lnTo>
                <a:lnTo>
                  <a:pt x="0" y="81"/>
                </a:lnTo>
                <a:lnTo>
                  <a:pt x="3" y="44"/>
                </a:lnTo>
                <a:lnTo>
                  <a:pt x="21" y="6"/>
                </a:lnTo>
                <a:close/>
              </a:path>
            </a:pathLst>
          </a:custGeom>
          <a:solidFill>
            <a:schemeClr val="accent1"/>
          </a:solidFill>
          <a:ln w="6350">
            <a:solidFill>
              <a:schemeClr val="tx2"/>
            </a:solidFill>
            <a:round/>
            <a:headEnd/>
            <a:tailEnd/>
          </a:ln>
        </p:spPr>
        <p:txBody>
          <a:bodyPr/>
          <a:lstStyle/>
          <a:p>
            <a:endParaRPr lang="en-US"/>
          </a:p>
        </p:txBody>
      </p:sp>
      <p:sp>
        <p:nvSpPr>
          <p:cNvPr id="722" name="Freeform 1698"/>
          <p:cNvSpPr>
            <a:spLocks/>
          </p:cNvSpPr>
          <p:nvPr/>
        </p:nvSpPr>
        <p:spPr bwMode="auto">
          <a:xfrm>
            <a:off x="6869773" y="2278653"/>
            <a:ext cx="123267" cy="166850"/>
          </a:xfrm>
          <a:custGeom>
            <a:avLst/>
            <a:gdLst>
              <a:gd name="T0" fmla="*/ 2147483647 w 264"/>
              <a:gd name="T1" fmla="*/ 2147483647 h 399"/>
              <a:gd name="T2" fmla="*/ 2147483647 w 264"/>
              <a:gd name="T3" fmla="*/ 0 h 399"/>
              <a:gd name="T4" fmla="*/ 2147483647 w 264"/>
              <a:gd name="T5" fmla="*/ 2147483647 h 399"/>
              <a:gd name="T6" fmla="*/ 2147483647 w 264"/>
              <a:gd name="T7" fmla="*/ 2147483647 h 399"/>
              <a:gd name="T8" fmla="*/ 2147483647 w 264"/>
              <a:gd name="T9" fmla="*/ 2147483647 h 399"/>
              <a:gd name="T10" fmla="*/ 2147483647 w 264"/>
              <a:gd name="T11" fmla="*/ 2147483647 h 399"/>
              <a:gd name="T12" fmla="*/ 2147483647 w 264"/>
              <a:gd name="T13" fmla="*/ 2147483647 h 399"/>
              <a:gd name="T14" fmla="*/ 2147483647 w 264"/>
              <a:gd name="T15" fmla="*/ 2147483647 h 399"/>
              <a:gd name="T16" fmla="*/ 2147483647 w 264"/>
              <a:gd name="T17" fmla="*/ 2147483647 h 399"/>
              <a:gd name="T18" fmla="*/ 2147483647 w 264"/>
              <a:gd name="T19" fmla="*/ 2147483647 h 399"/>
              <a:gd name="T20" fmla="*/ 2147483647 w 264"/>
              <a:gd name="T21" fmla="*/ 2147483647 h 399"/>
              <a:gd name="T22" fmla="*/ 2147483647 w 264"/>
              <a:gd name="T23" fmla="*/ 2147483647 h 399"/>
              <a:gd name="T24" fmla="*/ 2147483647 w 264"/>
              <a:gd name="T25" fmla="*/ 2147483647 h 399"/>
              <a:gd name="T26" fmla="*/ 2147483647 w 264"/>
              <a:gd name="T27" fmla="*/ 2147483647 h 399"/>
              <a:gd name="T28" fmla="*/ 2147483647 w 264"/>
              <a:gd name="T29" fmla="*/ 2147483647 h 399"/>
              <a:gd name="T30" fmla="*/ 2147483647 w 264"/>
              <a:gd name="T31" fmla="*/ 2147483647 h 399"/>
              <a:gd name="T32" fmla="*/ 2147483647 w 264"/>
              <a:gd name="T33" fmla="*/ 2147483647 h 399"/>
              <a:gd name="T34" fmla="*/ 2147483647 w 264"/>
              <a:gd name="T35" fmla="*/ 2147483647 h 399"/>
              <a:gd name="T36" fmla="*/ 2147483647 w 264"/>
              <a:gd name="T37" fmla="*/ 2147483647 h 399"/>
              <a:gd name="T38" fmla="*/ 2147483647 w 264"/>
              <a:gd name="T39" fmla="*/ 2147483647 h 399"/>
              <a:gd name="T40" fmla="*/ 2147483647 w 264"/>
              <a:gd name="T41" fmla="*/ 2147483647 h 399"/>
              <a:gd name="T42" fmla="*/ 2147483647 w 264"/>
              <a:gd name="T43" fmla="*/ 2147483647 h 399"/>
              <a:gd name="T44" fmla="*/ 2147483647 w 264"/>
              <a:gd name="T45" fmla="*/ 2147483647 h 399"/>
              <a:gd name="T46" fmla="*/ 2147483647 w 264"/>
              <a:gd name="T47" fmla="*/ 2147483647 h 399"/>
              <a:gd name="T48" fmla="*/ 2147483647 w 264"/>
              <a:gd name="T49" fmla="*/ 2147483647 h 399"/>
              <a:gd name="T50" fmla="*/ 2147483647 w 264"/>
              <a:gd name="T51" fmla="*/ 2147483647 h 399"/>
              <a:gd name="T52" fmla="*/ 2147483647 w 264"/>
              <a:gd name="T53" fmla="*/ 2147483647 h 399"/>
              <a:gd name="T54" fmla="*/ 2147483647 w 264"/>
              <a:gd name="T55" fmla="*/ 2147483647 h 399"/>
              <a:gd name="T56" fmla="*/ 2147483647 w 264"/>
              <a:gd name="T57" fmla="*/ 2147483647 h 399"/>
              <a:gd name="T58" fmla="*/ 2147483647 w 264"/>
              <a:gd name="T59" fmla="*/ 2147483647 h 399"/>
              <a:gd name="T60" fmla="*/ 2147483647 w 264"/>
              <a:gd name="T61" fmla="*/ 2147483647 h 399"/>
              <a:gd name="T62" fmla="*/ 2147483647 w 264"/>
              <a:gd name="T63" fmla="*/ 2147483647 h 399"/>
              <a:gd name="T64" fmla="*/ 2147483647 w 264"/>
              <a:gd name="T65" fmla="*/ 2147483647 h 399"/>
              <a:gd name="T66" fmla="*/ 2147483647 w 264"/>
              <a:gd name="T67" fmla="*/ 2147483647 h 399"/>
              <a:gd name="T68" fmla="*/ 2147483647 w 264"/>
              <a:gd name="T69" fmla="*/ 2147483647 h 399"/>
              <a:gd name="T70" fmla="*/ 2147483647 w 264"/>
              <a:gd name="T71" fmla="*/ 2147483647 h 399"/>
              <a:gd name="T72" fmla="*/ 2147483647 w 264"/>
              <a:gd name="T73" fmla="*/ 2147483647 h 399"/>
              <a:gd name="T74" fmla="*/ 2147483647 w 264"/>
              <a:gd name="T75" fmla="*/ 2147483647 h 399"/>
              <a:gd name="T76" fmla="*/ 0 w 264"/>
              <a:gd name="T77" fmla="*/ 2147483647 h 399"/>
              <a:gd name="T78" fmla="*/ 2147483647 w 264"/>
              <a:gd name="T79" fmla="*/ 2147483647 h 399"/>
              <a:gd name="T80" fmla="*/ 2147483647 w 264"/>
              <a:gd name="T81" fmla="*/ 2147483647 h 399"/>
              <a:gd name="T82" fmla="*/ 2147483647 w 264"/>
              <a:gd name="T83" fmla="*/ 2147483647 h 399"/>
              <a:gd name="T84" fmla="*/ 2147483647 w 264"/>
              <a:gd name="T85" fmla="*/ 2147483647 h 399"/>
              <a:gd name="T86" fmla="*/ 2147483647 w 264"/>
              <a:gd name="T87" fmla="*/ 2147483647 h 399"/>
              <a:gd name="T88" fmla="*/ 2147483647 w 264"/>
              <a:gd name="T89" fmla="*/ 2147483647 h 399"/>
              <a:gd name="T90" fmla="*/ 2147483647 w 264"/>
              <a:gd name="T91" fmla="*/ 2147483647 h 399"/>
              <a:gd name="T92" fmla="*/ 2147483647 w 264"/>
              <a:gd name="T93" fmla="*/ 2147483647 h 399"/>
              <a:gd name="T94" fmla="*/ 2147483647 w 264"/>
              <a:gd name="T95" fmla="*/ 2147483647 h 399"/>
              <a:gd name="T96" fmla="*/ 2147483647 w 264"/>
              <a:gd name="T97" fmla="*/ 2147483647 h 399"/>
              <a:gd name="T98" fmla="*/ 2147483647 w 264"/>
              <a:gd name="T99" fmla="*/ 2147483647 h 399"/>
              <a:gd name="T100" fmla="*/ 2147483647 w 264"/>
              <a:gd name="T101" fmla="*/ 2147483647 h 399"/>
              <a:gd name="T102" fmla="*/ 2147483647 w 264"/>
              <a:gd name="T103" fmla="*/ 2147483647 h 399"/>
              <a:gd name="T104" fmla="*/ 2147483647 w 264"/>
              <a:gd name="T105" fmla="*/ 2147483647 h 399"/>
              <a:gd name="T106" fmla="*/ 2147483647 w 264"/>
              <a:gd name="T107" fmla="*/ 2147483647 h 399"/>
              <a:gd name="T108" fmla="*/ 2147483647 w 264"/>
              <a:gd name="T109" fmla="*/ 2147483647 h 399"/>
              <a:gd name="T110" fmla="*/ 2147483647 w 264"/>
              <a:gd name="T111" fmla="*/ 2147483647 h 39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4"/>
              <a:gd name="T169" fmla="*/ 0 h 399"/>
              <a:gd name="T170" fmla="*/ 264 w 264"/>
              <a:gd name="T171" fmla="*/ 399 h 39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4" h="399">
                <a:moveTo>
                  <a:pt x="96" y="16"/>
                </a:moveTo>
                <a:lnTo>
                  <a:pt x="154" y="0"/>
                </a:lnTo>
                <a:lnTo>
                  <a:pt x="214" y="36"/>
                </a:lnTo>
                <a:lnTo>
                  <a:pt x="190" y="50"/>
                </a:lnTo>
                <a:lnTo>
                  <a:pt x="208" y="58"/>
                </a:lnTo>
                <a:lnTo>
                  <a:pt x="206" y="63"/>
                </a:lnTo>
                <a:lnTo>
                  <a:pt x="204" y="81"/>
                </a:lnTo>
                <a:lnTo>
                  <a:pt x="173" y="95"/>
                </a:lnTo>
                <a:lnTo>
                  <a:pt x="188" y="102"/>
                </a:lnTo>
                <a:lnTo>
                  <a:pt x="170" y="139"/>
                </a:lnTo>
                <a:lnTo>
                  <a:pt x="174" y="176"/>
                </a:lnTo>
                <a:lnTo>
                  <a:pt x="170" y="209"/>
                </a:lnTo>
                <a:lnTo>
                  <a:pt x="179" y="260"/>
                </a:lnTo>
                <a:lnTo>
                  <a:pt x="198" y="309"/>
                </a:lnTo>
                <a:lnTo>
                  <a:pt x="264" y="371"/>
                </a:lnTo>
                <a:lnTo>
                  <a:pt x="249" y="390"/>
                </a:lnTo>
                <a:lnTo>
                  <a:pt x="241" y="399"/>
                </a:lnTo>
                <a:lnTo>
                  <a:pt x="219" y="378"/>
                </a:lnTo>
                <a:lnTo>
                  <a:pt x="221" y="369"/>
                </a:lnTo>
                <a:lnTo>
                  <a:pt x="202" y="378"/>
                </a:lnTo>
                <a:lnTo>
                  <a:pt x="214" y="390"/>
                </a:lnTo>
                <a:lnTo>
                  <a:pt x="171" y="374"/>
                </a:lnTo>
                <a:lnTo>
                  <a:pt x="157" y="392"/>
                </a:lnTo>
                <a:lnTo>
                  <a:pt x="138" y="370"/>
                </a:lnTo>
                <a:lnTo>
                  <a:pt x="98" y="363"/>
                </a:lnTo>
                <a:lnTo>
                  <a:pt x="93" y="333"/>
                </a:lnTo>
                <a:lnTo>
                  <a:pt x="121" y="324"/>
                </a:lnTo>
                <a:lnTo>
                  <a:pt x="88" y="305"/>
                </a:lnTo>
                <a:lnTo>
                  <a:pt x="107" y="273"/>
                </a:lnTo>
                <a:lnTo>
                  <a:pt x="84" y="299"/>
                </a:lnTo>
                <a:lnTo>
                  <a:pt x="84" y="264"/>
                </a:lnTo>
                <a:lnTo>
                  <a:pt x="58" y="278"/>
                </a:lnTo>
                <a:lnTo>
                  <a:pt x="56" y="256"/>
                </a:lnTo>
                <a:lnTo>
                  <a:pt x="50" y="250"/>
                </a:lnTo>
                <a:lnTo>
                  <a:pt x="42" y="272"/>
                </a:lnTo>
                <a:lnTo>
                  <a:pt x="38" y="260"/>
                </a:lnTo>
                <a:lnTo>
                  <a:pt x="23" y="272"/>
                </a:lnTo>
                <a:lnTo>
                  <a:pt x="7" y="259"/>
                </a:lnTo>
                <a:lnTo>
                  <a:pt x="0" y="231"/>
                </a:lnTo>
                <a:lnTo>
                  <a:pt x="4" y="192"/>
                </a:lnTo>
                <a:lnTo>
                  <a:pt x="31" y="183"/>
                </a:lnTo>
                <a:lnTo>
                  <a:pt x="35" y="195"/>
                </a:lnTo>
                <a:lnTo>
                  <a:pt x="44" y="162"/>
                </a:lnTo>
                <a:lnTo>
                  <a:pt x="49" y="161"/>
                </a:lnTo>
                <a:lnTo>
                  <a:pt x="47" y="148"/>
                </a:lnTo>
                <a:lnTo>
                  <a:pt x="66" y="117"/>
                </a:lnTo>
                <a:lnTo>
                  <a:pt x="58" y="124"/>
                </a:lnTo>
                <a:lnTo>
                  <a:pt x="54" y="119"/>
                </a:lnTo>
                <a:lnTo>
                  <a:pt x="58" y="109"/>
                </a:lnTo>
                <a:lnTo>
                  <a:pt x="39" y="99"/>
                </a:lnTo>
                <a:lnTo>
                  <a:pt x="42" y="87"/>
                </a:lnTo>
                <a:lnTo>
                  <a:pt x="79" y="68"/>
                </a:lnTo>
                <a:lnTo>
                  <a:pt x="69" y="62"/>
                </a:lnTo>
                <a:lnTo>
                  <a:pt x="77" y="56"/>
                </a:lnTo>
                <a:lnTo>
                  <a:pt x="70" y="41"/>
                </a:lnTo>
                <a:lnTo>
                  <a:pt x="96" y="16"/>
                </a:lnTo>
                <a:close/>
              </a:path>
            </a:pathLst>
          </a:custGeom>
          <a:solidFill>
            <a:schemeClr val="accent1"/>
          </a:solidFill>
          <a:ln w="6350">
            <a:solidFill>
              <a:schemeClr val="tx2"/>
            </a:solidFill>
            <a:round/>
            <a:headEnd/>
            <a:tailEnd/>
          </a:ln>
        </p:spPr>
        <p:txBody>
          <a:bodyPr/>
          <a:lstStyle/>
          <a:p>
            <a:endParaRPr lang="en-US"/>
          </a:p>
        </p:txBody>
      </p:sp>
      <p:sp>
        <p:nvSpPr>
          <p:cNvPr id="723" name="Freeform 1699"/>
          <p:cNvSpPr>
            <a:spLocks/>
          </p:cNvSpPr>
          <p:nvPr/>
        </p:nvSpPr>
        <p:spPr bwMode="auto">
          <a:xfrm>
            <a:off x="6884105" y="2023923"/>
            <a:ext cx="312468" cy="259826"/>
          </a:xfrm>
          <a:custGeom>
            <a:avLst/>
            <a:gdLst>
              <a:gd name="T0" fmla="*/ 2147483647 w 663"/>
              <a:gd name="T1" fmla="*/ 2147483647 h 624"/>
              <a:gd name="T2" fmla="*/ 2147483647 w 663"/>
              <a:gd name="T3" fmla="*/ 2147483647 h 624"/>
              <a:gd name="T4" fmla="*/ 2147483647 w 663"/>
              <a:gd name="T5" fmla="*/ 2147483647 h 624"/>
              <a:gd name="T6" fmla="*/ 2147483647 w 663"/>
              <a:gd name="T7" fmla="*/ 2147483647 h 624"/>
              <a:gd name="T8" fmla="*/ 2147483647 w 663"/>
              <a:gd name="T9" fmla="*/ 2147483647 h 624"/>
              <a:gd name="T10" fmla="*/ 2147483647 w 663"/>
              <a:gd name="T11" fmla="*/ 2147483647 h 624"/>
              <a:gd name="T12" fmla="*/ 2147483647 w 663"/>
              <a:gd name="T13" fmla="*/ 2147483647 h 624"/>
              <a:gd name="T14" fmla="*/ 2147483647 w 663"/>
              <a:gd name="T15" fmla="*/ 2147483647 h 624"/>
              <a:gd name="T16" fmla="*/ 2147483647 w 663"/>
              <a:gd name="T17" fmla="*/ 2147483647 h 624"/>
              <a:gd name="T18" fmla="*/ 2147483647 w 663"/>
              <a:gd name="T19" fmla="*/ 2147483647 h 624"/>
              <a:gd name="T20" fmla="*/ 2147483647 w 663"/>
              <a:gd name="T21" fmla="*/ 2147483647 h 624"/>
              <a:gd name="T22" fmla="*/ 2147483647 w 663"/>
              <a:gd name="T23" fmla="*/ 2147483647 h 624"/>
              <a:gd name="T24" fmla="*/ 2147483647 w 663"/>
              <a:gd name="T25" fmla="*/ 2147483647 h 624"/>
              <a:gd name="T26" fmla="*/ 2147483647 w 663"/>
              <a:gd name="T27" fmla="*/ 2147483647 h 624"/>
              <a:gd name="T28" fmla="*/ 2147483647 w 663"/>
              <a:gd name="T29" fmla="*/ 2147483647 h 624"/>
              <a:gd name="T30" fmla="*/ 2147483647 w 663"/>
              <a:gd name="T31" fmla="*/ 2147483647 h 624"/>
              <a:gd name="T32" fmla="*/ 2147483647 w 663"/>
              <a:gd name="T33" fmla="*/ 2147483647 h 624"/>
              <a:gd name="T34" fmla="*/ 2147483647 w 663"/>
              <a:gd name="T35" fmla="*/ 2147483647 h 624"/>
              <a:gd name="T36" fmla="*/ 2147483647 w 663"/>
              <a:gd name="T37" fmla="*/ 2147483647 h 624"/>
              <a:gd name="T38" fmla="*/ 2147483647 w 663"/>
              <a:gd name="T39" fmla="*/ 2147483647 h 624"/>
              <a:gd name="T40" fmla="*/ 2147483647 w 663"/>
              <a:gd name="T41" fmla="*/ 0 h 624"/>
              <a:gd name="T42" fmla="*/ 2147483647 w 663"/>
              <a:gd name="T43" fmla="*/ 2147483647 h 624"/>
              <a:gd name="T44" fmla="*/ 2147483647 w 663"/>
              <a:gd name="T45" fmla="*/ 2147483647 h 624"/>
              <a:gd name="T46" fmla="*/ 2147483647 w 663"/>
              <a:gd name="T47" fmla="*/ 2147483647 h 624"/>
              <a:gd name="T48" fmla="*/ 2147483647 w 663"/>
              <a:gd name="T49" fmla="*/ 2147483647 h 624"/>
              <a:gd name="T50" fmla="*/ 2147483647 w 663"/>
              <a:gd name="T51" fmla="*/ 2147483647 h 624"/>
              <a:gd name="T52" fmla="*/ 2147483647 w 663"/>
              <a:gd name="T53" fmla="*/ 2147483647 h 624"/>
              <a:gd name="T54" fmla="*/ 2147483647 w 663"/>
              <a:gd name="T55" fmla="*/ 2147483647 h 624"/>
              <a:gd name="T56" fmla="*/ 2147483647 w 663"/>
              <a:gd name="T57" fmla="*/ 2147483647 h 624"/>
              <a:gd name="T58" fmla="*/ 2147483647 w 663"/>
              <a:gd name="T59" fmla="*/ 2147483647 h 624"/>
              <a:gd name="T60" fmla="*/ 2147483647 w 663"/>
              <a:gd name="T61" fmla="*/ 2147483647 h 624"/>
              <a:gd name="T62" fmla="*/ 2147483647 w 663"/>
              <a:gd name="T63" fmla="*/ 2147483647 h 624"/>
              <a:gd name="T64" fmla="*/ 2147483647 w 663"/>
              <a:gd name="T65" fmla="*/ 2147483647 h 624"/>
              <a:gd name="T66" fmla="*/ 2147483647 w 663"/>
              <a:gd name="T67" fmla="*/ 2147483647 h 624"/>
              <a:gd name="T68" fmla="*/ 2147483647 w 663"/>
              <a:gd name="T69" fmla="*/ 2147483647 h 624"/>
              <a:gd name="T70" fmla="*/ 2147483647 w 663"/>
              <a:gd name="T71" fmla="*/ 2147483647 h 624"/>
              <a:gd name="T72" fmla="*/ 2147483647 w 663"/>
              <a:gd name="T73" fmla="*/ 2147483647 h 624"/>
              <a:gd name="T74" fmla="*/ 2147483647 w 663"/>
              <a:gd name="T75" fmla="*/ 2147483647 h 624"/>
              <a:gd name="T76" fmla="*/ 2147483647 w 663"/>
              <a:gd name="T77" fmla="*/ 2147483647 h 624"/>
              <a:gd name="T78" fmla="*/ 2147483647 w 663"/>
              <a:gd name="T79" fmla="*/ 2147483647 h 624"/>
              <a:gd name="T80" fmla="*/ 2147483647 w 663"/>
              <a:gd name="T81" fmla="*/ 2147483647 h 624"/>
              <a:gd name="T82" fmla="*/ 2147483647 w 663"/>
              <a:gd name="T83" fmla="*/ 2147483647 h 624"/>
              <a:gd name="T84" fmla="*/ 2147483647 w 663"/>
              <a:gd name="T85" fmla="*/ 2147483647 h 624"/>
              <a:gd name="T86" fmla="*/ 2147483647 w 663"/>
              <a:gd name="T87" fmla="*/ 2147483647 h 624"/>
              <a:gd name="T88" fmla="*/ 2147483647 w 663"/>
              <a:gd name="T89" fmla="*/ 2147483647 h 624"/>
              <a:gd name="T90" fmla="*/ 2147483647 w 663"/>
              <a:gd name="T91" fmla="*/ 2147483647 h 624"/>
              <a:gd name="T92" fmla="*/ 2147483647 w 663"/>
              <a:gd name="T93" fmla="*/ 2147483647 h 624"/>
              <a:gd name="T94" fmla="*/ 2147483647 w 663"/>
              <a:gd name="T95" fmla="*/ 2147483647 h 624"/>
              <a:gd name="T96" fmla="*/ 0 w 663"/>
              <a:gd name="T97" fmla="*/ 2147483647 h 62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3"/>
              <a:gd name="T148" fmla="*/ 0 h 624"/>
              <a:gd name="T149" fmla="*/ 663 w 663"/>
              <a:gd name="T150" fmla="*/ 624 h 62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3" h="624">
                <a:moveTo>
                  <a:pt x="0" y="543"/>
                </a:moveTo>
                <a:lnTo>
                  <a:pt x="47" y="516"/>
                </a:lnTo>
                <a:lnTo>
                  <a:pt x="43" y="512"/>
                </a:lnTo>
                <a:lnTo>
                  <a:pt x="47" y="499"/>
                </a:lnTo>
                <a:lnTo>
                  <a:pt x="60" y="487"/>
                </a:lnTo>
                <a:lnTo>
                  <a:pt x="60" y="474"/>
                </a:lnTo>
                <a:lnTo>
                  <a:pt x="85" y="466"/>
                </a:lnTo>
                <a:lnTo>
                  <a:pt x="66" y="448"/>
                </a:lnTo>
                <a:lnTo>
                  <a:pt x="100" y="443"/>
                </a:lnTo>
                <a:lnTo>
                  <a:pt x="81" y="428"/>
                </a:lnTo>
                <a:lnTo>
                  <a:pt x="79" y="408"/>
                </a:lnTo>
                <a:lnTo>
                  <a:pt x="85" y="391"/>
                </a:lnTo>
                <a:lnTo>
                  <a:pt x="96" y="358"/>
                </a:lnTo>
                <a:lnTo>
                  <a:pt x="81" y="358"/>
                </a:lnTo>
                <a:lnTo>
                  <a:pt x="76" y="343"/>
                </a:lnTo>
                <a:lnTo>
                  <a:pt x="83" y="321"/>
                </a:lnTo>
                <a:lnTo>
                  <a:pt x="103" y="339"/>
                </a:lnTo>
                <a:lnTo>
                  <a:pt x="120" y="329"/>
                </a:lnTo>
                <a:lnTo>
                  <a:pt x="130" y="303"/>
                </a:lnTo>
                <a:lnTo>
                  <a:pt x="164" y="300"/>
                </a:lnTo>
                <a:lnTo>
                  <a:pt x="179" y="284"/>
                </a:lnTo>
                <a:lnTo>
                  <a:pt x="177" y="266"/>
                </a:lnTo>
                <a:lnTo>
                  <a:pt x="183" y="252"/>
                </a:lnTo>
                <a:lnTo>
                  <a:pt x="211" y="237"/>
                </a:lnTo>
                <a:lnTo>
                  <a:pt x="218" y="210"/>
                </a:lnTo>
                <a:lnTo>
                  <a:pt x="293" y="153"/>
                </a:lnTo>
                <a:lnTo>
                  <a:pt x="301" y="157"/>
                </a:lnTo>
                <a:lnTo>
                  <a:pt x="292" y="180"/>
                </a:lnTo>
                <a:lnTo>
                  <a:pt x="317" y="166"/>
                </a:lnTo>
                <a:lnTo>
                  <a:pt x="321" y="157"/>
                </a:lnTo>
                <a:lnTo>
                  <a:pt x="313" y="144"/>
                </a:lnTo>
                <a:lnTo>
                  <a:pt x="321" y="127"/>
                </a:lnTo>
                <a:lnTo>
                  <a:pt x="317" y="123"/>
                </a:lnTo>
                <a:lnTo>
                  <a:pt x="370" y="129"/>
                </a:lnTo>
                <a:lnTo>
                  <a:pt x="370" y="145"/>
                </a:lnTo>
                <a:lnTo>
                  <a:pt x="378" y="148"/>
                </a:lnTo>
                <a:lnTo>
                  <a:pt x="458" y="122"/>
                </a:lnTo>
                <a:lnTo>
                  <a:pt x="519" y="82"/>
                </a:lnTo>
                <a:lnTo>
                  <a:pt x="524" y="75"/>
                </a:lnTo>
                <a:lnTo>
                  <a:pt x="521" y="54"/>
                </a:lnTo>
                <a:lnTo>
                  <a:pt x="524" y="44"/>
                </a:lnTo>
                <a:lnTo>
                  <a:pt x="589" y="0"/>
                </a:lnTo>
                <a:lnTo>
                  <a:pt x="637" y="9"/>
                </a:lnTo>
                <a:lnTo>
                  <a:pt x="654" y="28"/>
                </a:lnTo>
                <a:lnTo>
                  <a:pt x="662" y="59"/>
                </a:lnTo>
                <a:lnTo>
                  <a:pt x="651" y="86"/>
                </a:lnTo>
                <a:lnTo>
                  <a:pt x="663" y="87"/>
                </a:lnTo>
                <a:lnTo>
                  <a:pt x="627" y="138"/>
                </a:lnTo>
                <a:lnTo>
                  <a:pt x="633" y="147"/>
                </a:lnTo>
                <a:lnTo>
                  <a:pt x="614" y="141"/>
                </a:lnTo>
                <a:lnTo>
                  <a:pt x="575" y="172"/>
                </a:lnTo>
                <a:lnTo>
                  <a:pt x="509" y="192"/>
                </a:lnTo>
                <a:lnTo>
                  <a:pt x="439" y="243"/>
                </a:lnTo>
                <a:lnTo>
                  <a:pt x="428" y="226"/>
                </a:lnTo>
                <a:lnTo>
                  <a:pt x="420" y="249"/>
                </a:lnTo>
                <a:lnTo>
                  <a:pt x="369" y="284"/>
                </a:lnTo>
                <a:lnTo>
                  <a:pt x="333" y="338"/>
                </a:lnTo>
                <a:lnTo>
                  <a:pt x="294" y="337"/>
                </a:lnTo>
                <a:lnTo>
                  <a:pt x="289" y="349"/>
                </a:lnTo>
                <a:lnTo>
                  <a:pt x="303" y="364"/>
                </a:lnTo>
                <a:lnTo>
                  <a:pt x="284" y="385"/>
                </a:lnTo>
                <a:lnTo>
                  <a:pt x="282" y="401"/>
                </a:lnTo>
                <a:lnTo>
                  <a:pt x="248" y="392"/>
                </a:lnTo>
                <a:lnTo>
                  <a:pt x="269" y="426"/>
                </a:lnTo>
                <a:lnTo>
                  <a:pt x="231" y="408"/>
                </a:lnTo>
                <a:lnTo>
                  <a:pt x="238" y="430"/>
                </a:lnTo>
                <a:lnTo>
                  <a:pt x="230" y="425"/>
                </a:lnTo>
                <a:lnTo>
                  <a:pt x="233" y="441"/>
                </a:lnTo>
                <a:lnTo>
                  <a:pt x="223" y="447"/>
                </a:lnTo>
                <a:lnTo>
                  <a:pt x="197" y="422"/>
                </a:lnTo>
                <a:lnTo>
                  <a:pt x="219" y="474"/>
                </a:lnTo>
                <a:lnTo>
                  <a:pt x="206" y="481"/>
                </a:lnTo>
                <a:lnTo>
                  <a:pt x="208" y="493"/>
                </a:lnTo>
                <a:lnTo>
                  <a:pt x="205" y="497"/>
                </a:lnTo>
                <a:lnTo>
                  <a:pt x="197" y="490"/>
                </a:lnTo>
                <a:lnTo>
                  <a:pt x="197" y="510"/>
                </a:lnTo>
                <a:lnTo>
                  <a:pt x="191" y="512"/>
                </a:lnTo>
                <a:lnTo>
                  <a:pt x="167" y="472"/>
                </a:lnTo>
                <a:lnTo>
                  <a:pt x="163" y="487"/>
                </a:lnTo>
                <a:lnTo>
                  <a:pt x="165" y="497"/>
                </a:lnTo>
                <a:lnTo>
                  <a:pt x="155" y="501"/>
                </a:lnTo>
                <a:lnTo>
                  <a:pt x="181" y="523"/>
                </a:lnTo>
                <a:lnTo>
                  <a:pt x="177" y="526"/>
                </a:lnTo>
                <a:lnTo>
                  <a:pt x="177" y="549"/>
                </a:lnTo>
                <a:lnTo>
                  <a:pt x="152" y="542"/>
                </a:lnTo>
                <a:lnTo>
                  <a:pt x="165" y="567"/>
                </a:lnTo>
                <a:lnTo>
                  <a:pt x="157" y="579"/>
                </a:lnTo>
                <a:lnTo>
                  <a:pt x="136" y="561"/>
                </a:lnTo>
                <a:lnTo>
                  <a:pt x="151" y="595"/>
                </a:lnTo>
                <a:lnTo>
                  <a:pt x="130" y="624"/>
                </a:lnTo>
                <a:lnTo>
                  <a:pt x="64" y="596"/>
                </a:lnTo>
                <a:lnTo>
                  <a:pt x="19" y="609"/>
                </a:lnTo>
                <a:lnTo>
                  <a:pt x="31" y="594"/>
                </a:lnTo>
                <a:lnTo>
                  <a:pt x="26" y="593"/>
                </a:lnTo>
                <a:lnTo>
                  <a:pt x="30" y="578"/>
                </a:lnTo>
                <a:lnTo>
                  <a:pt x="60" y="557"/>
                </a:lnTo>
                <a:lnTo>
                  <a:pt x="15" y="568"/>
                </a:lnTo>
                <a:lnTo>
                  <a:pt x="0" y="543"/>
                </a:lnTo>
                <a:close/>
              </a:path>
            </a:pathLst>
          </a:custGeom>
          <a:solidFill>
            <a:schemeClr val="accent1"/>
          </a:solidFill>
          <a:ln w="6350">
            <a:solidFill>
              <a:schemeClr val="tx2"/>
            </a:solidFill>
            <a:round/>
            <a:headEnd/>
            <a:tailEnd/>
          </a:ln>
        </p:spPr>
        <p:txBody>
          <a:bodyPr/>
          <a:lstStyle/>
          <a:p>
            <a:endParaRPr lang="en-US"/>
          </a:p>
        </p:txBody>
      </p:sp>
      <p:sp>
        <p:nvSpPr>
          <p:cNvPr id="724" name="Freeform 1700"/>
          <p:cNvSpPr>
            <a:spLocks/>
          </p:cNvSpPr>
          <p:nvPr/>
        </p:nvSpPr>
        <p:spPr bwMode="auto">
          <a:xfrm>
            <a:off x="6856873" y="2397104"/>
            <a:ext cx="18633" cy="21652"/>
          </a:xfrm>
          <a:custGeom>
            <a:avLst/>
            <a:gdLst>
              <a:gd name="T0" fmla="*/ 0 w 39"/>
              <a:gd name="T1" fmla="*/ 2147483647 h 53"/>
              <a:gd name="T2" fmla="*/ 2147483647 w 39"/>
              <a:gd name="T3" fmla="*/ 0 h 53"/>
              <a:gd name="T4" fmla="*/ 2147483647 w 39"/>
              <a:gd name="T5" fmla="*/ 2147483647 h 53"/>
              <a:gd name="T6" fmla="*/ 2147483647 w 39"/>
              <a:gd name="T7" fmla="*/ 2147483647 h 53"/>
              <a:gd name="T8" fmla="*/ 2147483647 w 39"/>
              <a:gd name="T9" fmla="*/ 2147483647 h 53"/>
              <a:gd name="T10" fmla="*/ 0 w 39"/>
              <a:gd name="T11" fmla="*/ 2147483647 h 53"/>
              <a:gd name="T12" fmla="*/ 0 60000 65536"/>
              <a:gd name="T13" fmla="*/ 0 60000 65536"/>
              <a:gd name="T14" fmla="*/ 0 60000 65536"/>
              <a:gd name="T15" fmla="*/ 0 60000 65536"/>
              <a:gd name="T16" fmla="*/ 0 60000 65536"/>
              <a:gd name="T17" fmla="*/ 0 60000 65536"/>
              <a:gd name="T18" fmla="*/ 0 w 39"/>
              <a:gd name="T19" fmla="*/ 0 h 53"/>
              <a:gd name="T20" fmla="*/ 39 w 39"/>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39" h="53">
                <a:moveTo>
                  <a:pt x="0" y="1"/>
                </a:moveTo>
                <a:lnTo>
                  <a:pt x="29" y="0"/>
                </a:lnTo>
                <a:lnTo>
                  <a:pt x="38" y="15"/>
                </a:lnTo>
                <a:lnTo>
                  <a:pt x="39" y="53"/>
                </a:lnTo>
                <a:lnTo>
                  <a:pt x="20" y="13"/>
                </a:lnTo>
                <a:lnTo>
                  <a:pt x="0" y="1"/>
                </a:lnTo>
                <a:close/>
              </a:path>
            </a:pathLst>
          </a:custGeom>
          <a:solidFill>
            <a:schemeClr val="accent1"/>
          </a:solidFill>
          <a:ln w="6350">
            <a:solidFill>
              <a:schemeClr val="tx2"/>
            </a:solidFill>
            <a:round/>
            <a:headEnd/>
            <a:tailEnd/>
          </a:ln>
        </p:spPr>
        <p:txBody>
          <a:bodyPr/>
          <a:lstStyle/>
          <a:p>
            <a:endParaRPr lang="en-US"/>
          </a:p>
        </p:txBody>
      </p:sp>
      <p:sp>
        <p:nvSpPr>
          <p:cNvPr id="725" name="Freeform 1701"/>
          <p:cNvSpPr>
            <a:spLocks/>
          </p:cNvSpPr>
          <p:nvPr/>
        </p:nvSpPr>
        <p:spPr bwMode="auto">
          <a:xfrm>
            <a:off x="6983006" y="2444230"/>
            <a:ext cx="40133" cy="40757"/>
          </a:xfrm>
          <a:custGeom>
            <a:avLst/>
            <a:gdLst>
              <a:gd name="T0" fmla="*/ 2147483647 w 89"/>
              <a:gd name="T1" fmla="*/ 2147483647 h 97"/>
              <a:gd name="T2" fmla="*/ 0 w 89"/>
              <a:gd name="T3" fmla="*/ 2147483647 h 97"/>
              <a:gd name="T4" fmla="*/ 2147483647 w 89"/>
              <a:gd name="T5" fmla="*/ 2147483647 h 97"/>
              <a:gd name="T6" fmla="*/ 2147483647 w 89"/>
              <a:gd name="T7" fmla="*/ 2147483647 h 97"/>
              <a:gd name="T8" fmla="*/ 2147483647 w 89"/>
              <a:gd name="T9" fmla="*/ 0 h 97"/>
              <a:gd name="T10" fmla="*/ 2147483647 w 89"/>
              <a:gd name="T11" fmla="*/ 2147483647 h 97"/>
              <a:gd name="T12" fmla="*/ 2147483647 w 89"/>
              <a:gd name="T13" fmla="*/ 2147483647 h 97"/>
              <a:gd name="T14" fmla="*/ 2147483647 w 89"/>
              <a:gd name="T15" fmla="*/ 2147483647 h 97"/>
              <a:gd name="T16" fmla="*/ 2147483647 w 89"/>
              <a:gd name="T17" fmla="*/ 2147483647 h 97"/>
              <a:gd name="T18" fmla="*/ 2147483647 w 89"/>
              <a:gd name="T19" fmla="*/ 2147483647 h 97"/>
              <a:gd name="T20" fmla="*/ 2147483647 w 89"/>
              <a:gd name="T21" fmla="*/ 2147483647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9"/>
              <a:gd name="T34" fmla="*/ 0 h 97"/>
              <a:gd name="T35" fmla="*/ 89 w 89"/>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9" h="97">
                <a:moveTo>
                  <a:pt x="12" y="59"/>
                </a:moveTo>
                <a:lnTo>
                  <a:pt x="0" y="29"/>
                </a:lnTo>
                <a:lnTo>
                  <a:pt x="15" y="30"/>
                </a:lnTo>
                <a:lnTo>
                  <a:pt x="5" y="20"/>
                </a:lnTo>
                <a:lnTo>
                  <a:pt x="21" y="0"/>
                </a:lnTo>
                <a:lnTo>
                  <a:pt x="89" y="86"/>
                </a:lnTo>
                <a:lnTo>
                  <a:pt x="82" y="97"/>
                </a:lnTo>
                <a:lnTo>
                  <a:pt x="59" y="96"/>
                </a:lnTo>
                <a:lnTo>
                  <a:pt x="20" y="65"/>
                </a:lnTo>
                <a:lnTo>
                  <a:pt x="29" y="89"/>
                </a:lnTo>
                <a:lnTo>
                  <a:pt x="12" y="59"/>
                </a:lnTo>
                <a:close/>
              </a:path>
            </a:pathLst>
          </a:custGeom>
          <a:solidFill>
            <a:schemeClr val="accent1"/>
          </a:solidFill>
          <a:ln w="6350">
            <a:solidFill>
              <a:schemeClr val="tx2"/>
            </a:solidFill>
            <a:round/>
            <a:headEnd/>
            <a:tailEnd/>
          </a:ln>
        </p:spPr>
        <p:txBody>
          <a:bodyPr/>
          <a:lstStyle/>
          <a:p>
            <a:endParaRPr lang="en-US"/>
          </a:p>
        </p:txBody>
      </p:sp>
      <p:sp>
        <p:nvSpPr>
          <p:cNvPr id="726" name="Freeform 1702"/>
          <p:cNvSpPr>
            <a:spLocks/>
          </p:cNvSpPr>
          <p:nvPr/>
        </p:nvSpPr>
        <p:spPr bwMode="auto">
          <a:xfrm>
            <a:off x="7218073" y="2269738"/>
            <a:ext cx="28667" cy="26746"/>
          </a:xfrm>
          <a:custGeom>
            <a:avLst/>
            <a:gdLst>
              <a:gd name="T0" fmla="*/ 2147483647 w 62"/>
              <a:gd name="T1" fmla="*/ 2147483647 h 63"/>
              <a:gd name="T2" fmla="*/ 0 w 62"/>
              <a:gd name="T3" fmla="*/ 2147483647 h 63"/>
              <a:gd name="T4" fmla="*/ 2147483647 w 62"/>
              <a:gd name="T5" fmla="*/ 2147483647 h 63"/>
              <a:gd name="T6" fmla="*/ 2147483647 w 62"/>
              <a:gd name="T7" fmla="*/ 2147483647 h 63"/>
              <a:gd name="T8" fmla="*/ 2147483647 w 62"/>
              <a:gd name="T9" fmla="*/ 0 h 63"/>
              <a:gd name="T10" fmla="*/ 2147483647 w 62"/>
              <a:gd name="T11" fmla="*/ 2147483647 h 63"/>
              <a:gd name="T12" fmla="*/ 2147483647 w 62"/>
              <a:gd name="T13" fmla="*/ 2147483647 h 63"/>
              <a:gd name="T14" fmla="*/ 2147483647 w 62"/>
              <a:gd name="T15" fmla="*/ 2147483647 h 63"/>
              <a:gd name="T16" fmla="*/ 2147483647 w 62"/>
              <a:gd name="T17" fmla="*/ 2147483647 h 63"/>
              <a:gd name="T18" fmla="*/ 2147483647 w 62"/>
              <a:gd name="T19" fmla="*/ 2147483647 h 63"/>
              <a:gd name="T20" fmla="*/ 2147483647 w 62"/>
              <a:gd name="T21" fmla="*/ 2147483647 h 63"/>
              <a:gd name="T22" fmla="*/ 2147483647 w 62"/>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63"/>
              <a:gd name="T38" fmla="*/ 62 w 62"/>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63">
                <a:moveTo>
                  <a:pt x="4" y="63"/>
                </a:moveTo>
                <a:lnTo>
                  <a:pt x="0" y="62"/>
                </a:lnTo>
                <a:lnTo>
                  <a:pt x="5" y="46"/>
                </a:lnTo>
                <a:lnTo>
                  <a:pt x="4" y="24"/>
                </a:lnTo>
                <a:lnTo>
                  <a:pt x="15" y="0"/>
                </a:lnTo>
                <a:lnTo>
                  <a:pt x="41" y="1"/>
                </a:lnTo>
                <a:lnTo>
                  <a:pt x="46" y="10"/>
                </a:lnTo>
                <a:lnTo>
                  <a:pt x="40" y="29"/>
                </a:lnTo>
                <a:lnTo>
                  <a:pt x="62" y="40"/>
                </a:lnTo>
                <a:lnTo>
                  <a:pt x="17" y="59"/>
                </a:lnTo>
                <a:lnTo>
                  <a:pt x="14" y="47"/>
                </a:lnTo>
                <a:lnTo>
                  <a:pt x="4" y="63"/>
                </a:lnTo>
                <a:close/>
              </a:path>
            </a:pathLst>
          </a:custGeom>
          <a:solidFill>
            <a:schemeClr val="accent1"/>
          </a:solidFill>
          <a:ln w="6350">
            <a:solidFill>
              <a:schemeClr val="tx2"/>
            </a:solidFill>
            <a:round/>
            <a:headEnd/>
            <a:tailEnd/>
          </a:ln>
        </p:spPr>
        <p:txBody>
          <a:bodyPr/>
          <a:lstStyle/>
          <a:p>
            <a:endParaRPr lang="en-US"/>
          </a:p>
        </p:txBody>
      </p:sp>
      <p:sp>
        <p:nvSpPr>
          <p:cNvPr id="727" name="Freeform 1721"/>
          <p:cNvSpPr>
            <a:spLocks/>
          </p:cNvSpPr>
          <p:nvPr/>
        </p:nvSpPr>
        <p:spPr bwMode="auto">
          <a:xfrm>
            <a:off x="6322237" y="3477165"/>
            <a:ext cx="15767" cy="8915"/>
          </a:xfrm>
          <a:custGeom>
            <a:avLst/>
            <a:gdLst>
              <a:gd name="T0" fmla="*/ 2147483647 w 33"/>
              <a:gd name="T1" fmla="*/ 2147483647 h 21"/>
              <a:gd name="T2" fmla="*/ 2147483647 w 33"/>
              <a:gd name="T3" fmla="*/ 2147483647 h 21"/>
              <a:gd name="T4" fmla="*/ 2147483647 w 33"/>
              <a:gd name="T5" fmla="*/ 0 h 21"/>
              <a:gd name="T6" fmla="*/ 2147483647 w 33"/>
              <a:gd name="T7" fmla="*/ 2147483647 h 21"/>
              <a:gd name="T8" fmla="*/ 0 w 33"/>
              <a:gd name="T9" fmla="*/ 2147483647 h 21"/>
              <a:gd name="T10" fmla="*/ 2147483647 w 33"/>
              <a:gd name="T11" fmla="*/ 2147483647 h 21"/>
              <a:gd name="T12" fmla="*/ 2147483647 w 33"/>
              <a:gd name="T13" fmla="*/ 2147483647 h 21"/>
              <a:gd name="T14" fmla="*/ 2147483647 w 33"/>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21"/>
              <a:gd name="T26" fmla="*/ 33 w 33"/>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21">
                <a:moveTo>
                  <a:pt x="28" y="20"/>
                </a:moveTo>
                <a:lnTo>
                  <a:pt x="33" y="21"/>
                </a:lnTo>
                <a:lnTo>
                  <a:pt x="21" y="0"/>
                </a:lnTo>
                <a:lnTo>
                  <a:pt x="2" y="9"/>
                </a:lnTo>
                <a:lnTo>
                  <a:pt x="0" y="16"/>
                </a:lnTo>
                <a:lnTo>
                  <a:pt x="16" y="13"/>
                </a:lnTo>
                <a:lnTo>
                  <a:pt x="12" y="21"/>
                </a:lnTo>
                <a:lnTo>
                  <a:pt x="28" y="20"/>
                </a:lnTo>
                <a:close/>
              </a:path>
            </a:pathLst>
          </a:custGeom>
          <a:solidFill>
            <a:schemeClr val="accent1"/>
          </a:solidFill>
          <a:ln w="6350">
            <a:solidFill>
              <a:schemeClr val="tx2"/>
            </a:solidFill>
            <a:round/>
            <a:headEnd/>
            <a:tailEnd/>
          </a:ln>
        </p:spPr>
        <p:txBody>
          <a:bodyPr/>
          <a:lstStyle/>
          <a:p>
            <a:endParaRPr lang="en-US"/>
          </a:p>
        </p:txBody>
      </p:sp>
      <p:sp>
        <p:nvSpPr>
          <p:cNvPr id="728" name="Freeform 1725"/>
          <p:cNvSpPr>
            <a:spLocks/>
          </p:cNvSpPr>
          <p:nvPr/>
        </p:nvSpPr>
        <p:spPr bwMode="auto">
          <a:xfrm>
            <a:off x="6295003" y="3445323"/>
            <a:ext cx="5734" cy="3821"/>
          </a:xfrm>
          <a:custGeom>
            <a:avLst/>
            <a:gdLst>
              <a:gd name="T0" fmla="*/ 2147483647 w 12"/>
              <a:gd name="T1" fmla="*/ 2147483647 h 10"/>
              <a:gd name="T2" fmla="*/ 2147483647 w 12"/>
              <a:gd name="T3" fmla="*/ 2147483647 h 10"/>
              <a:gd name="T4" fmla="*/ 2147483647 w 12"/>
              <a:gd name="T5" fmla="*/ 0 h 10"/>
              <a:gd name="T6" fmla="*/ 0 w 12"/>
              <a:gd name="T7" fmla="*/ 2147483647 h 10"/>
              <a:gd name="T8" fmla="*/ 2147483647 w 12"/>
              <a:gd name="T9" fmla="*/ 2147483647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8" y="10"/>
                </a:moveTo>
                <a:lnTo>
                  <a:pt x="12" y="8"/>
                </a:lnTo>
                <a:lnTo>
                  <a:pt x="10" y="0"/>
                </a:lnTo>
                <a:lnTo>
                  <a:pt x="0" y="6"/>
                </a:lnTo>
                <a:lnTo>
                  <a:pt x="8" y="10"/>
                </a:lnTo>
                <a:close/>
              </a:path>
            </a:pathLst>
          </a:custGeom>
          <a:solidFill>
            <a:schemeClr val="accent1"/>
          </a:solidFill>
          <a:ln w="6350">
            <a:solidFill>
              <a:schemeClr val="tx2"/>
            </a:solidFill>
            <a:round/>
            <a:headEnd/>
            <a:tailEnd/>
          </a:ln>
        </p:spPr>
        <p:txBody>
          <a:bodyPr/>
          <a:lstStyle/>
          <a:p>
            <a:endParaRPr lang="en-US"/>
          </a:p>
        </p:txBody>
      </p:sp>
      <p:sp>
        <p:nvSpPr>
          <p:cNvPr id="729" name="Freeform 1726"/>
          <p:cNvSpPr>
            <a:spLocks/>
          </p:cNvSpPr>
          <p:nvPr/>
        </p:nvSpPr>
        <p:spPr bwMode="auto">
          <a:xfrm>
            <a:off x="6306471" y="3464428"/>
            <a:ext cx="5734" cy="5095"/>
          </a:xfrm>
          <a:custGeom>
            <a:avLst/>
            <a:gdLst>
              <a:gd name="T0" fmla="*/ 2147483647 w 16"/>
              <a:gd name="T1" fmla="*/ 2147483647 h 10"/>
              <a:gd name="T2" fmla="*/ 2147483647 w 16"/>
              <a:gd name="T3" fmla="*/ 0 h 10"/>
              <a:gd name="T4" fmla="*/ 2147483647 w 16"/>
              <a:gd name="T5" fmla="*/ 2147483647 h 10"/>
              <a:gd name="T6" fmla="*/ 0 w 16"/>
              <a:gd name="T7" fmla="*/ 2147483647 h 10"/>
              <a:gd name="T8" fmla="*/ 2147483647 w 16"/>
              <a:gd name="T9" fmla="*/ 2147483647 h 10"/>
              <a:gd name="T10" fmla="*/ 2147483647 w 16"/>
              <a:gd name="T11" fmla="*/ 2147483647 h 10"/>
              <a:gd name="T12" fmla="*/ 0 60000 65536"/>
              <a:gd name="T13" fmla="*/ 0 60000 65536"/>
              <a:gd name="T14" fmla="*/ 0 60000 65536"/>
              <a:gd name="T15" fmla="*/ 0 60000 65536"/>
              <a:gd name="T16" fmla="*/ 0 60000 65536"/>
              <a:gd name="T17" fmla="*/ 0 60000 65536"/>
              <a:gd name="T18" fmla="*/ 0 w 16"/>
              <a:gd name="T19" fmla="*/ 0 h 10"/>
              <a:gd name="T20" fmla="*/ 16 w 1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6" h="10">
                <a:moveTo>
                  <a:pt x="16" y="3"/>
                </a:moveTo>
                <a:lnTo>
                  <a:pt x="14" y="0"/>
                </a:lnTo>
                <a:lnTo>
                  <a:pt x="2" y="1"/>
                </a:lnTo>
                <a:lnTo>
                  <a:pt x="0" y="8"/>
                </a:lnTo>
                <a:lnTo>
                  <a:pt x="11" y="10"/>
                </a:lnTo>
                <a:lnTo>
                  <a:pt x="16" y="3"/>
                </a:lnTo>
                <a:close/>
              </a:path>
            </a:pathLst>
          </a:custGeom>
          <a:solidFill>
            <a:schemeClr val="accent1"/>
          </a:solidFill>
          <a:ln w="6350">
            <a:solidFill>
              <a:schemeClr val="tx2"/>
            </a:solidFill>
            <a:round/>
            <a:headEnd/>
            <a:tailEnd/>
          </a:ln>
        </p:spPr>
        <p:txBody>
          <a:bodyPr/>
          <a:lstStyle/>
          <a:p>
            <a:endParaRPr lang="en-US"/>
          </a:p>
        </p:txBody>
      </p:sp>
      <p:sp>
        <p:nvSpPr>
          <p:cNvPr id="730" name="Freeform 1733"/>
          <p:cNvSpPr>
            <a:spLocks/>
          </p:cNvSpPr>
          <p:nvPr/>
        </p:nvSpPr>
        <p:spPr bwMode="auto">
          <a:xfrm>
            <a:off x="6197537" y="3470797"/>
            <a:ext cx="5734" cy="7642"/>
          </a:xfrm>
          <a:custGeom>
            <a:avLst/>
            <a:gdLst>
              <a:gd name="T0" fmla="*/ 2147483647 w 17"/>
              <a:gd name="T1" fmla="*/ 2147483647 h 20"/>
              <a:gd name="T2" fmla="*/ 2147483647 w 17"/>
              <a:gd name="T3" fmla="*/ 2147483647 h 20"/>
              <a:gd name="T4" fmla="*/ 0 w 17"/>
              <a:gd name="T5" fmla="*/ 0 h 20"/>
              <a:gd name="T6" fmla="*/ 2147483647 w 17"/>
              <a:gd name="T7" fmla="*/ 2147483647 h 20"/>
              <a:gd name="T8" fmla="*/ 2147483647 w 17"/>
              <a:gd name="T9" fmla="*/ 2147483647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lnTo>
                  <a:pt x="10" y="2"/>
                </a:lnTo>
                <a:lnTo>
                  <a:pt x="0" y="0"/>
                </a:lnTo>
                <a:lnTo>
                  <a:pt x="7" y="15"/>
                </a:lnTo>
                <a:lnTo>
                  <a:pt x="17" y="20"/>
                </a:lnTo>
                <a:close/>
              </a:path>
            </a:pathLst>
          </a:custGeom>
          <a:solidFill>
            <a:schemeClr val="accent1"/>
          </a:solidFill>
          <a:ln w="6350">
            <a:solidFill>
              <a:schemeClr val="tx2"/>
            </a:solidFill>
            <a:round/>
            <a:headEnd/>
            <a:tailEnd/>
          </a:ln>
        </p:spPr>
        <p:txBody>
          <a:bodyPr/>
          <a:lstStyle/>
          <a:p>
            <a:endParaRPr lang="en-US"/>
          </a:p>
        </p:txBody>
      </p:sp>
      <p:sp>
        <p:nvSpPr>
          <p:cNvPr id="731" name="Freeform 1734"/>
          <p:cNvSpPr>
            <a:spLocks/>
          </p:cNvSpPr>
          <p:nvPr/>
        </p:nvSpPr>
        <p:spPr bwMode="auto">
          <a:xfrm>
            <a:off x="6088604" y="3337063"/>
            <a:ext cx="8600" cy="6368"/>
          </a:xfrm>
          <a:custGeom>
            <a:avLst/>
            <a:gdLst>
              <a:gd name="T0" fmla="*/ 2147483647 w 13"/>
              <a:gd name="T1" fmla="*/ 0 h 15"/>
              <a:gd name="T2" fmla="*/ 2147483647 w 13"/>
              <a:gd name="T3" fmla="*/ 2147483647 h 15"/>
              <a:gd name="T4" fmla="*/ 0 w 13"/>
              <a:gd name="T5" fmla="*/ 2147483647 h 15"/>
              <a:gd name="T6" fmla="*/ 2147483647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4" y="0"/>
                </a:moveTo>
                <a:lnTo>
                  <a:pt x="13" y="15"/>
                </a:lnTo>
                <a:lnTo>
                  <a:pt x="0" y="10"/>
                </a:lnTo>
                <a:lnTo>
                  <a:pt x="4" y="0"/>
                </a:lnTo>
                <a:close/>
              </a:path>
            </a:pathLst>
          </a:custGeom>
          <a:solidFill>
            <a:schemeClr val="accent1"/>
          </a:solidFill>
          <a:ln w="6350">
            <a:solidFill>
              <a:schemeClr val="tx2"/>
            </a:solidFill>
            <a:round/>
            <a:headEnd/>
            <a:tailEnd/>
          </a:ln>
        </p:spPr>
        <p:txBody>
          <a:bodyPr/>
          <a:lstStyle/>
          <a:p>
            <a:endParaRPr lang="en-US"/>
          </a:p>
        </p:txBody>
      </p:sp>
      <p:sp>
        <p:nvSpPr>
          <p:cNvPr id="732" name="Freeform 1735"/>
          <p:cNvSpPr>
            <a:spLocks/>
          </p:cNvSpPr>
          <p:nvPr/>
        </p:nvSpPr>
        <p:spPr bwMode="auto">
          <a:xfrm>
            <a:off x="6087170" y="3339610"/>
            <a:ext cx="4300" cy="11462"/>
          </a:xfrm>
          <a:custGeom>
            <a:avLst/>
            <a:gdLst>
              <a:gd name="T0" fmla="*/ 2147483647 w 7"/>
              <a:gd name="T1" fmla="*/ 0 h 28"/>
              <a:gd name="T2" fmla="*/ 2147483647 w 7"/>
              <a:gd name="T3" fmla="*/ 2147483647 h 28"/>
              <a:gd name="T4" fmla="*/ 0 w 7"/>
              <a:gd name="T5" fmla="*/ 2147483647 h 28"/>
              <a:gd name="T6" fmla="*/ 2147483647 w 7"/>
              <a:gd name="T7" fmla="*/ 0 h 28"/>
              <a:gd name="T8" fmla="*/ 0 60000 65536"/>
              <a:gd name="T9" fmla="*/ 0 60000 65536"/>
              <a:gd name="T10" fmla="*/ 0 60000 65536"/>
              <a:gd name="T11" fmla="*/ 0 60000 65536"/>
              <a:gd name="T12" fmla="*/ 0 w 7"/>
              <a:gd name="T13" fmla="*/ 0 h 28"/>
              <a:gd name="T14" fmla="*/ 7 w 7"/>
              <a:gd name="T15" fmla="*/ 28 h 28"/>
            </a:gdLst>
            <a:ahLst/>
            <a:cxnLst>
              <a:cxn ang="T8">
                <a:pos x="T0" y="T1"/>
              </a:cxn>
              <a:cxn ang="T9">
                <a:pos x="T2" y="T3"/>
              </a:cxn>
              <a:cxn ang="T10">
                <a:pos x="T4" y="T5"/>
              </a:cxn>
              <a:cxn ang="T11">
                <a:pos x="T6" y="T7"/>
              </a:cxn>
            </a:cxnLst>
            <a:rect l="T12" t="T13" r="T14" b="T15"/>
            <a:pathLst>
              <a:path w="7" h="28">
                <a:moveTo>
                  <a:pt x="1" y="0"/>
                </a:moveTo>
                <a:lnTo>
                  <a:pt x="7" y="28"/>
                </a:lnTo>
                <a:lnTo>
                  <a:pt x="0" y="16"/>
                </a:lnTo>
                <a:lnTo>
                  <a:pt x="1" y="0"/>
                </a:lnTo>
                <a:close/>
              </a:path>
            </a:pathLst>
          </a:custGeom>
          <a:solidFill>
            <a:schemeClr val="accent1"/>
          </a:solidFill>
          <a:ln w="6350">
            <a:solidFill>
              <a:schemeClr val="tx2"/>
            </a:solidFill>
            <a:round/>
            <a:headEnd/>
            <a:tailEnd/>
          </a:ln>
        </p:spPr>
        <p:txBody>
          <a:bodyPr/>
          <a:lstStyle/>
          <a:p>
            <a:endParaRPr lang="en-US"/>
          </a:p>
        </p:txBody>
      </p:sp>
      <p:sp>
        <p:nvSpPr>
          <p:cNvPr id="733" name="Freeform 1736"/>
          <p:cNvSpPr>
            <a:spLocks/>
          </p:cNvSpPr>
          <p:nvPr/>
        </p:nvSpPr>
        <p:spPr bwMode="auto">
          <a:xfrm>
            <a:off x="6130169" y="3381640"/>
            <a:ext cx="10034" cy="3821"/>
          </a:xfrm>
          <a:custGeom>
            <a:avLst/>
            <a:gdLst>
              <a:gd name="T0" fmla="*/ 0 w 19"/>
              <a:gd name="T1" fmla="*/ 0 h 8"/>
              <a:gd name="T2" fmla="*/ 2147483647 w 19"/>
              <a:gd name="T3" fmla="*/ 2147483647 h 8"/>
              <a:gd name="T4" fmla="*/ 2147483647 w 19"/>
              <a:gd name="T5" fmla="*/ 2147483647 h 8"/>
              <a:gd name="T6" fmla="*/ 2147483647 w 19"/>
              <a:gd name="T7" fmla="*/ 2147483647 h 8"/>
              <a:gd name="T8" fmla="*/ 0 w 19"/>
              <a:gd name="T9" fmla="*/ 0 h 8"/>
              <a:gd name="T10" fmla="*/ 0 60000 65536"/>
              <a:gd name="T11" fmla="*/ 0 60000 65536"/>
              <a:gd name="T12" fmla="*/ 0 60000 65536"/>
              <a:gd name="T13" fmla="*/ 0 60000 65536"/>
              <a:gd name="T14" fmla="*/ 0 60000 65536"/>
              <a:gd name="T15" fmla="*/ 0 w 19"/>
              <a:gd name="T16" fmla="*/ 0 h 8"/>
              <a:gd name="T17" fmla="*/ 19 w 19"/>
              <a:gd name="T18" fmla="*/ 8 h 8"/>
            </a:gdLst>
            <a:ahLst/>
            <a:cxnLst>
              <a:cxn ang="T10">
                <a:pos x="T0" y="T1"/>
              </a:cxn>
              <a:cxn ang="T11">
                <a:pos x="T2" y="T3"/>
              </a:cxn>
              <a:cxn ang="T12">
                <a:pos x="T4" y="T5"/>
              </a:cxn>
              <a:cxn ang="T13">
                <a:pos x="T6" y="T7"/>
              </a:cxn>
              <a:cxn ang="T14">
                <a:pos x="T8" y="T9"/>
              </a:cxn>
            </a:cxnLst>
            <a:rect l="T15" t="T16" r="T17" b="T18"/>
            <a:pathLst>
              <a:path w="19" h="8">
                <a:moveTo>
                  <a:pt x="0" y="0"/>
                </a:moveTo>
                <a:lnTo>
                  <a:pt x="19" y="5"/>
                </a:lnTo>
                <a:lnTo>
                  <a:pt x="18" y="8"/>
                </a:lnTo>
                <a:lnTo>
                  <a:pt x="2" y="6"/>
                </a:lnTo>
                <a:lnTo>
                  <a:pt x="0" y="0"/>
                </a:lnTo>
                <a:close/>
              </a:path>
            </a:pathLst>
          </a:custGeom>
          <a:solidFill>
            <a:schemeClr val="accent1"/>
          </a:solidFill>
          <a:ln w="6350">
            <a:solidFill>
              <a:schemeClr val="tx2"/>
            </a:solidFill>
            <a:round/>
            <a:headEnd/>
            <a:tailEnd/>
          </a:ln>
        </p:spPr>
        <p:txBody>
          <a:bodyPr/>
          <a:lstStyle/>
          <a:p>
            <a:endParaRPr lang="en-US"/>
          </a:p>
        </p:txBody>
      </p:sp>
      <p:sp>
        <p:nvSpPr>
          <p:cNvPr id="734" name="Freeform 1738"/>
          <p:cNvSpPr>
            <a:spLocks/>
          </p:cNvSpPr>
          <p:nvPr/>
        </p:nvSpPr>
        <p:spPr bwMode="auto">
          <a:xfrm>
            <a:off x="5965336" y="3433860"/>
            <a:ext cx="30100" cy="56041"/>
          </a:xfrm>
          <a:custGeom>
            <a:avLst/>
            <a:gdLst>
              <a:gd name="T0" fmla="*/ 2147483647 w 63"/>
              <a:gd name="T1" fmla="*/ 0 h 136"/>
              <a:gd name="T2" fmla="*/ 2147483647 w 63"/>
              <a:gd name="T3" fmla="*/ 2147483647 h 136"/>
              <a:gd name="T4" fmla="*/ 2147483647 w 63"/>
              <a:gd name="T5" fmla="*/ 2147483647 h 136"/>
              <a:gd name="T6" fmla="*/ 2147483647 w 63"/>
              <a:gd name="T7" fmla="*/ 2147483647 h 136"/>
              <a:gd name="T8" fmla="*/ 2147483647 w 63"/>
              <a:gd name="T9" fmla="*/ 2147483647 h 136"/>
              <a:gd name="T10" fmla="*/ 2147483647 w 63"/>
              <a:gd name="T11" fmla="*/ 2147483647 h 136"/>
              <a:gd name="T12" fmla="*/ 2147483647 w 63"/>
              <a:gd name="T13" fmla="*/ 2147483647 h 136"/>
              <a:gd name="T14" fmla="*/ 2147483647 w 63"/>
              <a:gd name="T15" fmla="*/ 2147483647 h 136"/>
              <a:gd name="T16" fmla="*/ 2147483647 w 63"/>
              <a:gd name="T17" fmla="*/ 2147483647 h 136"/>
              <a:gd name="T18" fmla="*/ 2147483647 w 63"/>
              <a:gd name="T19" fmla="*/ 2147483647 h 136"/>
              <a:gd name="T20" fmla="*/ 2147483647 w 63"/>
              <a:gd name="T21" fmla="*/ 2147483647 h 136"/>
              <a:gd name="T22" fmla="*/ 2147483647 w 63"/>
              <a:gd name="T23" fmla="*/ 2147483647 h 136"/>
              <a:gd name="T24" fmla="*/ 0 w 63"/>
              <a:gd name="T25" fmla="*/ 2147483647 h 136"/>
              <a:gd name="T26" fmla="*/ 0 w 63"/>
              <a:gd name="T27" fmla="*/ 2147483647 h 136"/>
              <a:gd name="T28" fmla="*/ 2147483647 w 63"/>
              <a:gd name="T29" fmla="*/ 2147483647 h 136"/>
              <a:gd name="T30" fmla="*/ 2147483647 w 63"/>
              <a:gd name="T31" fmla="*/ 0 h 1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136"/>
              <a:gd name="T50" fmla="*/ 63 w 63"/>
              <a:gd name="T51" fmla="*/ 136 h 1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136">
                <a:moveTo>
                  <a:pt x="40" y="0"/>
                </a:moveTo>
                <a:lnTo>
                  <a:pt x="54" y="9"/>
                </a:lnTo>
                <a:lnTo>
                  <a:pt x="63" y="34"/>
                </a:lnTo>
                <a:lnTo>
                  <a:pt x="62" y="109"/>
                </a:lnTo>
                <a:lnTo>
                  <a:pt x="55" y="121"/>
                </a:lnTo>
                <a:lnTo>
                  <a:pt x="45" y="118"/>
                </a:lnTo>
                <a:lnTo>
                  <a:pt x="37" y="130"/>
                </a:lnTo>
                <a:lnTo>
                  <a:pt x="25" y="136"/>
                </a:lnTo>
                <a:lnTo>
                  <a:pt x="10" y="114"/>
                </a:lnTo>
                <a:lnTo>
                  <a:pt x="8" y="103"/>
                </a:lnTo>
                <a:lnTo>
                  <a:pt x="14" y="79"/>
                </a:lnTo>
                <a:lnTo>
                  <a:pt x="10" y="48"/>
                </a:lnTo>
                <a:lnTo>
                  <a:pt x="0" y="37"/>
                </a:lnTo>
                <a:lnTo>
                  <a:pt x="0" y="19"/>
                </a:lnTo>
                <a:lnTo>
                  <a:pt x="15" y="24"/>
                </a:lnTo>
                <a:lnTo>
                  <a:pt x="40" y="0"/>
                </a:lnTo>
                <a:close/>
              </a:path>
            </a:pathLst>
          </a:custGeom>
          <a:solidFill>
            <a:schemeClr val="accent1"/>
          </a:solidFill>
          <a:ln w="6350">
            <a:solidFill>
              <a:schemeClr val="tx2"/>
            </a:solidFill>
            <a:round/>
            <a:headEnd/>
            <a:tailEnd/>
          </a:ln>
        </p:spPr>
        <p:txBody>
          <a:bodyPr/>
          <a:lstStyle/>
          <a:p>
            <a:endParaRPr lang="en-US"/>
          </a:p>
        </p:txBody>
      </p:sp>
      <p:sp>
        <p:nvSpPr>
          <p:cNvPr id="735" name="Freeform 1739"/>
          <p:cNvSpPr>
            <a:spLocks/>
          </p:cNvSpPr>
          <p:nvPr/>
        </p:nvSpPr>
        <p:spPr bwMode="auto">
          <a:xfrm>
            <a:off x="5972503" y="3391830"/>
            <a:ext cx="20066" cy="40757"/>
          </a:xfrm>
          <a:custGeom>
            <a:avLst/>
            <a:gdLst>
              <a:gd name="T0" fmla="*/ 2147483647 w 41"/>
              <a:gd name="T1" fmla="*/ 0 h 95"/>
              <a:gd name="T2" fmla="*/ 2147483647 w 41"/>
              <a:gd name="T3" fmla="*/ 2147483647 h 95"/>
              <a:gd name="T4" fmla="*/ 2147483647 w 41"/>
              <a:gd name="T5" fmla="*/ 2147483647 h 95"/>
              <a:gd name="T6" fmla="*/ 2147483647 w 41"/>
              <a:gd name="T7" fmla="*/ 2147483647 h 95"/>
              <a:gd name="T8" fmla="*/ 2147483647 w 41"/>
              <a:gd name="T9" fmla="*/ 2147483647 h 95"/>
              <a:gd name="T10" fmla="*/ 0 w 41"/>
              <a:gd name="T11" fmla="*/ 2147483647 h 95"/>
              <a:gd name="T12" fmla="*/ 2147483647 w 41"/>
              <a:gd name="T13" fmla="*/ 2147483647 h 95"/>
              <a:gd name="T14" fmla="*/ 2147483647 w 41"/>
              <a:gd name="T15" fmla="*/ 2147483647 h 95"/>
              <a:gd name="T16" fmla="*/ 2147483647 w 41"/>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95"/>
              <a:gd name="T29" fmla="*/ 41 w 41"/>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95">
                <a:moveTo>
                  <a:pt x="32" y="0"/>
                </a:moveTo>
                <a:lnTo>
                  <a:pt x="35" y="2"/>
                </a:lnTo>
                <a:lnTo>
                  <a:pt x="41" y="46"/>
                </a:lnTo>
                <a:lnTo>
                  <a:pt x="26" y="95"/>
                </a:lnTo>
                <a:lnTo>
                  <a:pt x="6" y="72"/>
                </a:lnTo>
                <a:lnTo>
                  <a:pt x="0" y="34"/>
                </a:lnTo>
                <a:lnTo>
                  <a:pt x="4" y="24"/>
                </a:lnTo>
                <a:lnTo>
                  <a:pt x="28" y="14"/>
                </a:lnTo>
                <a:lnTo>
                  <a:pt x="32" y="0"/>
                </a:lnTo>
                <a:close/>
              </a:path>
            </a:pathLst>
          </a:custGeom>
          <a:solidFill>
            <a:schemeClr val="accent1"/>
          </a:solidFill>
          <a:ln w="6350">
            <a:solidFill>
              <a:schemeClr val="tx2"/>
            </a:solidFill>
            <a:round/>
            <a:headEnd/>
            <a:tailEnd/>
          </a:ln>
        </p:spPr>
        <p:txBody>
          <a:bodyPr/>
          <a:lstStyle/>
          <a:p>
            <a:endParaRPr lang="en-US"/>
          </a:p>
        </p:txBody>
      </p:sp>
      <p:sp>
        <p:nvSpPr>
          <p:cNvPr id="736" name="Freeform 1741"/>
          <p:cNvSpPr>
            <a:spLocks/>
          </p:cNvSpPr>
          <p:nvPr/>
        </p:nvSpPr>
        <p:spPr bwMode="auto">
          <a:xfrm>
            <a:off x="5847802" y="3465702"/>
            <a:ext cx="20066" cy="15284"/>
          </a:xfrm>
          <a:custGeom>
            <a:avLst/>
            <a:gdLst>
              <a:gd name="T0" fmla="*/ 2147483647 w 44"/>
              <a:gd name="T1" fmla="*/ 0 h 37"/>
              <a:gd name="T2" fmla="*/ 2147483647 w 44"/>
              <a:gd name="T3" fmla="*/ 2147483647 h 37"/>
              <a:gd name="T4" fmla="*/ 2147483647 w 44"/>
              <a:gd name="T5" fmla="*/ 2147483647 h 37"/>
              <a:gd name="T6" fmla="*/ 2147483647 w 44"/>
              <a:gd name="T7" fmla="*/ 2147483647 h 37"/>
              <a:gd name="T8" fmla="*/ 2147483647 w 44"/>
              <a:gd name="T9" fmla="*/ 2147483647 h 37"/>
              <a:gd name="T10" fmla="*/ 2147483647 w 44"/>
              <a:gd name="T11" fmla="*/ 2147483647 h 37"/>
              <a:gd name="T12" fmla="*/ 0 w 44"/>
              <a:gd name="T13" fmla="*/ 2147483647 h 37"/>
              <a:gd name="T14" fmla="*/ 2147483647 w 44"/>
              <a:gd name="T15" fmla="*/ 2147483647 h 37"/>
              <a:gd name="T16" fmla="*/ 2147483647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35" y="0"/>
                </a:moveTo>
                <a:lnTo>
                  <a:pt x="33" y="10"/>
                </a:lnTo>
                <a:lnTo>
                  <a:pt x="44" y="16"/>
                </a:lnTo>
                <a:lnTo>
                  <a:pt x="31" y="37"/>
                </a:lnTo>
                <a:lnTo>
                  <a:pt x="16" y="23"/>
                </a:lnTo>
                <a:lnTo>
                  <a:pt x="5" y="27"/>
                </a:lnTo>
                <a:lnTo>
                  <a:pt x="0" y="20"/>
                </a:lnTo>
                <a:lnTo>
                  <a:pt x="8" y="11"/>
                </a:lnTo>
                <a:lnTo>
                  <a:pt x="35" y="0"/>
                </a:lnTo>
                <a:close/>
              </a:path>
            </a:pathLst>
          </a:custGeom>
          <a:solidFill>
            <a:schemeClr val="accent1"/>
          </a:solidFill>
          <a:ln w="6350">
            <a:solidFill>
              <a:schemeClr val="tx2"/>
            </a:solidFill>
            <a:round/>
            <a:headEnd/>
            <a:tailEnd/>
          </a:ln>
        </p:spPr>
        <p:txBody>
          <a:bodyPr/>
          <a:lstStyle/>
          <a:p>
            <a:endParaRPr lang="en-US"/>
          </a:p>
        </p:txBody>
      </p:sp>
      <p:sp>
        <p:nvSpPr>
          <p:cNvPr id="737" name="Freeform 1742"/>
          <p:cNvSpPr>
            <a:spLocks/>
          </p:cNvSpPr>
          <p:nvPr/>
        </p:nvSpPr>
        <p:spPr bwMode="auto">
          <a:xfrm>
            <a:off x="5877902" y="3463155"/>
            <a:ext cx="8600" cy="5095"/>
          </a:xfrm>
          <a:custGeom>
            <a:avLst/>
            <a:gdLst>
              <a:gd name="T0" fmla="*/ 2147483647 w 18"/>
              <a:gd name="T1" fmla="*/ 0 h 10"/>
              <a:gd name="T2" fmla="*/ 2147483647 w 18"/>
              <a:gd name="T3" fmla="*/ 2147483647 h 10"/>
              <a:gd name="T4" fmla="*/ 0 w 18"/>
              <a:gd name="T5" fmla="*/ 2147483647 h 10"/>
              <a:gd name="T6" fmla="*/ 2147483647 w 18"/>
              <a:gd name="T7" fmla="*/ 0 h 10"/>
              <a:gd name="T8" fmla="*/ 0 60000 65536"/>
              <a:gd name="T9" fmla="*/ 0 60000 65536"/>
              <a:gd name="T10" fmla="*/ 0 60000 65536"/>
              <a:gd name="T11" fmla="*/ 0 60000 65536"/>
              <a:gd name="T12" fmla="*/ 0 w 18"/>
              <a:gd name="T13" fmla="*/ 0 h 10"/>
              <a:gd name="T14" fmla="*/ 18 w 18"/>
              <a:gd name="T15" fmla="*/ 10 h 10"/>
            </a:gdLst>
            <a:ahLst/>
            <a:cxnLst>
              <a:cxn ang="T8">
                <a:pos x="T0" y="T1"/>
              </a:cxn>
              <a:cxn ang="T9">
                <a:pos x="T2" y="T3"/>
              </a:cxn>
              <a:cxn ang="T10">
                <a:pos x="T4" y="T5"/>
              </a:cxn>
              <a:cxn ang="T11">
                <a:pos x="T6" y="T7"/>
              </a:cxn>
            </a:cxnLst>
            <a:rect l="T12" t="T13" r="T14" b="T15"/>
            <a:pathLst>
              <a:path w="18" h="10">
                <a:moveTo>
                  <a:pt x="16" y="0"/>
                </a:moveTo>
                <a:lnTo>
                  <a:pt x="18" y="10"/>
                </a:lnTo>
                <a:lnTo>
                  <a:pt x="0" y="1"/>
                </a:lnTo>
                <a:lnTo>
                  <a:pt x="16" y="0"/>
                </a:lnTo>
                <a:close/>
              </a:path>
            </a:pathLst>
          </a:custGeom>
          <a:solidFill>
            <a:schemeClr val="accent1"/>
          </a:solidFill>
          <a:ln w="6350">
            <a:solidFill>
              <a:schemeClr val="tx2"/>
            </a:solidFill>
            <a:round/>
            <a:headEnd/>
            <a:tailEnd/>
          </a:ln>
        </p:spPr>
        <p:txBody>
          <a:bodyPr/>
          <a:lstStyle/>
          <a:p>
            <a:endParaRPr lang="en-US"/>
          </a:p>
        </p:txBody>
      </p:sp>
      <p:sp>
        <p:nvSpPr>
          <p:cNvPr id="738" name="Freeform 1743"/>
          <p:cNvSpPr>
            <a:spLocks/>
          </p:cNvSpPr>
          <p:nvPr/>
        </p:nvSpPr>
        <p:spPr bwMode="auto">
          <a:xfrm>
            <a:off x="5827735" y="3402019"/>
            <a:ext cx="7166" cy="5095"/>
          </a:xfrm>
          <a:custGeom>
            <a:avLst/>
            <a:gdLst>
              <a:gd name="T0" fmla="*/ 2147483647 w 15"/>
              <a:gd name="T1" fmla="*/ 0 h 11"/>
              <a:gd name="T2" fmla="*/ 2147483647 w 15"/>
              <a:gd name="T3" fmla="*/ 2147483647 h 11"/>
              <a:gd name="T4" fmla="*/ 2147483647 w 15"/>
              <a:gd name="T5" fmla="*/ 2147483647 h 11"/>
              <a:gd name="T6" fmla="*/ 0 w 15"/>
              <a:gd name="T7" fmla="*/ 2147483647 h 11"/>
              <a:gd name="T8" fmla="*/ 2147483647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10" y="0"/>
                </a:moveTo>
                <a:lnTo>
                  <a:pt x="15" y="7"/>
                </a:lnTo>
                <a:lnTo>
                  <a:pt x="8" y="11"/>
                </a:lnTo>
                <a:lnTo>
                  <a:pt x="0" y="1"/>
                </a:lnTo>
                <a:lnTo>
                  <a:pt x="10" y="0"/>
                </a:lnTo>
                <a:close/>
              </a:path>
            </a:pathLst>
          </a:custGeom>
          <a:solidFill>
            <a:schemeClr val="accent1"/>
          </a:solidFill>
          <a:ln w="6350">
            <a:solidFill>
              <a:schemeClr val="tx2"/>
            </a:solidFill>
            <a:round/>
            <a:headEnd/>
            <a:tailEnd/>
          </a:ln>
        </p:spPr>
        <p:txBody>
          <a:bodyPr/>
          <a:lstStyle/>
          <a:p>
            <a:endParaRPr lang="en-US"/>
          </a:p>
        </p:txBody>
      </p:sp>
      <p:sp>
        <p:nvSpPr>
          <p:cNvPr id="739" name="Freeform 1744"/>
          <p:cNvSpPr>
            <a:spLocks/>
          </p:cNvSpPr>
          <p:nvPr/>
        </p:nvSpPr>
        <p:spPr bwMode="auto">
          <a:xfrm>
            <a:off x="5895101" y="3117993"/>
            <a:ext cx="4300" cy="8915"/>
          </a:xfrm>
          <a:custGeom>
            <a:avLst/>
            <a:gdLst>
              <a:gd name="T0" fmla="*/ 2147483647 w 9"/>
              <a:gd name="T1" fmla="*/ 0 h 21"/>
              <a:gd name="T2" fmla="*/ 0 w 9"/>
              <a:gd name="T3" fmla="*/ 2147483647 h 21"/>
              <a:gd name="T4" fmla="*/ 2147483647 w 9"/>
              <a:gd name="T5" fmla="*/ 2147483647 h 21"/>
              <a:gd name="T6" fmla="*/ 2147483647 w 9"/>
              <a:gd name="T7" fmla="*/ 0 h 21"/>
              <a:gd name="T8" fmla="*/ 0 60000 65536"/>
              <a:gd name="T9" fmla="*/ 0 60000 65536"/>
              <a:gd name="T10" fmla="*/ 0 60000 65536"/>
              <a:gd name="T11" fmla="*/ 0 60000 65536"/>
              <a:gd name="T12" fmla="*/ 0 w 9"/>
              <a:gd name="T13" fmla="*/ 0 h 21"/>
              <a:gd name="T14" fmla="*/ 9 w 9"/>
              <a:gd name="T15" fmla="*/ 21 h 21"/>
            </a:gdLst>
            <a:ahLst/>
            <a:cxnLst>
              <a:cxn ang="T8">
                <a:pos x="T0" y="T1"/>
              </a:cxn>
              <a:cxn ang="T9">
                <a:pos x="T2" y="T3"/>
              </a:cxn>
              <a:cxn ang="T10">
                <a:pos x="T4" y="T5"/>
              </a:cxn>
              <a:cxn ang="T11">
                <a:pos x="T6" y="T7"/>
              </a:cxn>
            </a:cxnLst>
            <a:rect l="T12" t="T13" r="T14" b="T15"/>
            <a:pathLst>
              <a:path w="9" h="21">
                <a:moveTo>
                  <a:pt x="9" y="0"/>
                </a:moveTo>
                <a:lnTo>
                  <a:pt x="0" y="21"/>
                </a:lnTo>
                <a:lnTo>
                  <a:pt x="6" y="17"/>
                </a:lnTo>
                <a:lnTo>
                  <a:pt x="9" y="0"/>
                </a:lnTo>
                <a:close/>
              </a:path>
            </a:pathLst>
          </a:custGeom>
          <a:solidFill>
            <a:schemeClr val="accent1"/>
          </a:solidFill>
          <a:ln w="6350">
            <a:solidFill>
              <a:schemeClr val="tx2"/>
            </a:solidFill>
            <a:round/>
            <a:headEnd/>
            <a:tailEnd/>
          </a:ln>
        </p:spPr>
        <p:txBody>
          <a:bodyPr/>
          <a:lstStyle/>
          <a:p>
            <a:endParaRPr lang="en-US"/>
          </a:p>
        </p:txBody>
      </p:sp>
      <p:sp>
        <p:nvSpPr>
          <p:cNvPr id="740" name="Freeform 1745"/>
          <p:cNvSpPr>
            <a:spLocks/>
          </p:cNvSpPr>
          <p:nvPr/>
        </p:nvSpPr>
        <p:spPr bwMode="auto">
          <a:xfrm>
            <a:off x="5870736" y="3166393"/>
            <a:ext cx="2866" cy="3820"/>
          </a:xfrm>
          <a:custGeom>
            <a:avLst/>
            <a:gdLst>
              <a:gd name="T0" fmla="*/ 2147483647 w 4"/>
              <a:gd name="T1" fmla="*/ 0 h 7"/>
              <a:gd name="T2" fmla="*/ 0 w 4"/>
              <a:gd name="T3" fmla="*/ 2147483647 h 7"/>
              <a:gd name="T4" fmla="*/ 2147483647 w 4"/>
              <a:gd name="T5" fmla="*/ 2147483647 h 7"/>
              <a:gd name="T6" fmla="*/ 2147483647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1" y="0"/>
                </a:moveTo>
                <a:lnTo>
                  <a:pt x="0" y="7"/>
                </a:lnTo>
                <a:lnTo>
                  <a:pt x="4" y="4"/>
                </a:lnTo>
                <a:lnTo>
                  <a:pt x="1" y="0"/>
                </a:lnTo>
                <a:close/>
              </a:path>
            </a:pathLst>
          </a:custGeom>
          <a:solidFill>
            <a:schemeClr val="accent1"/>
          </a:solidFill>
          <a:ln w="6350">
            <a:solidFill>
              <a:schemeClr val="tx2"/>
            </a:solidFill>
            <a:round/>
            <a:headEnd/>
            <a:tailEnd/>
          </a:ln>
        </p:spPr>
        <p:txBody>
          <a:bodyPr/>
          <a:lstStyle/>
          <a:p>
            <a:endParaRPr lang="en-US"/>
          </a:p>
        </p:txBody>
      </p:sp>
      <p:sp>
        <p:nvSpPr>
          <p:cNvPr id="741" name="Freeform 1746"/>
          <p:cNvSpPr>
            <a:spLocks/>
          </p:cNvSpPr>
          <p:nvPr/>
        </p:nvSpPr>
        <p:spPr bwMode="auto">
          <a:xfrm>
            <a:off x="6127303" y="2986807"/>
            <a:ext cx="14334" cy="35662"/>
          </a:xfrm>
          <a:custGeom>
            <a:avLst/>
            <a:gdLst>
              <a:gd name="T0" fmla="*/ 0 w 30"/>
              <a:gd name="T1" fmla="*/ 2147483647 h 85"/>
              <a:gd name="T2" fmla="*/ 2147483647 w 30"/>
              <a:gd name="T3" fmla="*/ 2147483647 h 85"/>
              <a:gd name="T4" fmla="*/ 2147483647 w 30"/>
              <a:gd name="T5" fmla="*/ 0 h 85"/>
              <a:gd name="T6" fmla="*/ 2147483647 w 30"/>
              <a:gd name="T7" fmla="*/ 2147483647 h 85"/>
              <a:gd name="T8" fmla="*/ 0 w 30"/>
              <a:gd name="T9" fmla="*/ 2147483647 h 85"/>
              <a:gd name="T10" fmla="*/ 0 60000 65536"/>
              <a:gd name="T11" fmla="*/ 0 60000 65536"/>
              <a:gd name="T12" fmla="*/ 0 60000 65536"/>
              <a:gd name="T13" fmla="*/ 0 60000 65536"/>
              <a:gd name="T14" fmla="*/ 0 60000 65536"/>
              <a:gd name="T15" fmla="*/ 0 w 30"/>
              <a:gd name="T16" fmla="*/ 0 h 85"/>
              <a:gd name="T17" fmla="*/ 30 w 30"/>
              <a:gd name="T18" fmla="*/ 85 h 85"/>
            </a:gdLst>
            <a:ahLst/>
            <a:cxnLst>
              <a:cxn ang="T10">
                <a:pos x="T0" y="T1"/>
              </a:cxn>
              <a:cxn ang="T11">
                <a:pos x="T2" y="T3"/>
              </a:cxn>
              <a:cxn ang="T12">
                <a:pos x="T4" y="T5"/>
              </a:cxn>
              <a:cxn ang="T13">
                <a:pos x="T6" y="T7"/>
              </a:cxn>
              <a:cxn ang="T14">
                <a:pos x="T8" y="T9"/>
              </a:cxn>
            </a:cxnLst>
            <a:rect l="T15" t="T16" r="T17" b="T18"/>
            <a:pathLst>
              <a:path w="30" h="85">
                <a:moveTo>
                  <a:pt x="0" y="85"/>
                </a:moveTo>
                <a:lnTo>
                  <a:pt x="10" y="69"/>
                </a:lnTo>
                <a:lnTo>
                  <a:pt x="30" y="0"/>
                </a:lnTo>
                <a:lnTo>
                  <a:pt x="5" y="55"/>
                </a:lnTo>
                <a:lnTo>
                  <a:pt x="0" y="85"/>
                </a:lnTo>
                <a:close/>
              </a:path>
            </a:pathLst>
          </a:custGeom>
          <a:solidFill>
            <a:schemeClr val="accent1"/>
          </a:solidFill>
          <a:ln w="6350">
            <a:solidFill>
              <a:schemeClr val="tx2"/>
            </a:solidFill>
            <a:round/>
            <a:headEnd/>
            <a:tailEnd/>
          </a:ln>
        </p:spPr>
        <p:txBody>
          <a:bodyPr/>
          <a:lstStyle/>
          <a:p>
            <a:endParaRPr lang="en-US"/>
          </a:p>
        </p:txBody>
      </p:sp>
      <p:sp>
        <p:nvSpPr>
          <p:cNvPr id="742" name="Freeform 1747"/>
          <p:cNvSpPr>
            <a:spLocks/>
          </p:cNvSpPr>
          <p:nvPr/>
        </p:nvSpPr>
        <p:spPr bwMode="auto">
          <a:xfrm>
            <a:off x="6160270" y="2967702"/>
            <a:ext cx="20066" cy="33115"/>
          </a:xfrm>
          <a:custGeom>
            <a:avLst/>
            <a:gdLst>
              <a:gd name="T0" fmla="*/ 2147483647 w 37"/>
              <a:gd name="T1" fmla="*/ 2147483647 h 77"/>
              <a:gd name="T2" fmla="*/ 2147483647 w 37"/>
              <a:gd name="T3" fmla="*/ 2147483647 h 77"/>
              <a:gd name="T4" fmla="*/ 2147483647 w 37"/>
              <a:gd name="T5" fmla="*/ 2147483647 h 77"/>
              <a:gd name="T6" fmla="*/ 2147483647 w 37"/>
              <a:gd name="T7" fmla="*/ 0 h 77"/>
              <a:gd name="T8" fmla="*/ 2147483647 w 37"/>
              <a:gd name="T9" fmla="*/ 0 h 77"/>
              <a:gd name="T10" fmla="*/ 2147483647 w 37"/>
              <a:gd name="T11" fmla="*/ 2147483647 h 77"/>
              <a:gd name="T12" fmla="*/ 0 w 37"/>
              <a:gd name="T13" fmla="*/ 2147483647 h 77"/>
              <a:gd name="T14" fmla="*/ 2147483647 w 37"/>
              <a:gd name="T15" fmla="*/ 2147483647 h 77"/>
              <a:gd name="T16" fmla="*/ 2147483647 w 37"/>
              <a:gd name="T17" fmla="*/ 2147483647 h 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77"/>
              <a:gd name="T29" fmla="*/ 37 w 37"/>
              <a:gd name="T30" fmla="*/ 77 h 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77">
                <a:moveTo>
                  <a:pt x="1" y="77"/>
                </a:moveTo>
                <a:lnTo>
                  <a:pt x="33" y="40"/>
                </a:lnTo>
                <a:lnTo>
                  <a:pt x="30" y="16"/>
                </a:lnTo>
                <a:lnTo>
                  <a:pt x="37" y="0"/>
                </a:lnTo>
                <a:lnTo>
                  <a:pt x="22" y="0"/>
                </a:lnTo>
                <a:lnTo>
                  <a:pt x="3" y="29"/>
                </a:lnTo>
                <a:lnTo>
                  <a:pt x="0" y="56"/>
                </a:lnTo>
                <a:lnTo>
                  <a:pt x="6" y="65"/>
                </a:lnTo>
                <a:lnTo>
                  <a:pt x="1" y="77"/>
                </a:lnTo>
                <a:close/>
              </a:path>
            </a:pathLst>
          </a:custGeom>
          <a:solidFill>
            <a:schemeClr val="accent1"/>
          </a:solidFill>
          <a:ln w="6350">
            <a:solidFill>
              <a:schemeClr val="tx2"/>
            </a:solidFill>
            <a:round/>
            <a:headEnd/>
            <a:tailEnd/>
          </a:ln>
        </p:spPr>
        <p:txBody>
          <a:bodyPr/>
          <a:lstStyle/>
          <a:p>
            <a:endParaRPr lang="en-US"/>
          </a:p>
        </p:txBody>
      </p:sp>
      <p:sp>
        <p:nvSpPr>
          <p:cNvPr id="743" name="Freeform 1748"/>
          <p:cNvSpPr>
            <a:spLocks/>
          </p:cNvSpPr>
          <p:nvPr/>
        </p:nvSpPr>
        <p:spPr bwMode="auto">
          <a:xfrm>
            <a:off x="6194670" y="2882367"/>
            <a:ext cx="8600" cy="12737"/>
          </a:xfrm>
          <a:custGeom>
            <a:avLst/>
            <a:gdLst>
              <a:gd name="T0" fmla="*/ 2147483647 w 19"/>
              <a:gd name="T1" fmla="*/ 0 h 32"/>
              <a:gd name="T2" fmla="*/ 2147483647 w 19"/>
              <a:gd name="T3" fmla="*/ 0 h 32"/>
              <a:gd name="T4" fmla="*/ 2147483647 w 19"/>
              <a:gd name="T5" fmla="*/ 2147483647 h 32"/>
              <a:gd name="T6" fmla="*/ 0 w 19"/>
              <a:gd name="T7" fmla="*/ 2147483647 h 32"/>
              <a:gd name="T8" fmla="*/ 0 w 19"/>
              <a:gd name="T9" fmla="*/ 2147483647 h 32"/>
              <a:gd name="T10" fmla="*/ 2147483647 w 19"/>
              <a:gd name="T11" fmla="*/ 2147483647 h 32"/>
              <a:gd name="T12" fmla="*/ 2147483647 w 19"/>
              <a:gd name="T13" fmla="*/ 2147483647 h 32"/>
              <a:gd name="T14" fmla="*/ 2147483647 w 19"/>
              <a:gd name="T15" fmla="*/ 2147483647 h 32"/>
              <a:gd name="T16" fmla="*/ 2147483647 w 19"/>
              <a:gd name="T17" fmla="*/ 2147483647 h 32"/>
              <a:gd name="T18" fmla="*/ 2147483647 w 19"/>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32"/>
              <a:gd name="T32" fmla="*/ 19 w 1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32">
                <a:moveTo>
                  <a:pt x="15" y="0"/>
                </a:moveTo>
                <a:lnTo>
                  <a:pt x="2" y="0"/>
                </a:lnTo>
                <a:lnTo>
                  <a:pt x="5" y="9"/>
                </a:lnTo>
                <a:lnTo>
                  <a:pt x="0" y="7"/>
                </a:lnTo>
                <a:lnTo>
                  <a:pt x="0" y="22"/>
                </a:lnTo>
                <a:lnTo>
                  <a:pt x="16" y="32"/>
                </a:lnTo>
                <a:lnTo>
                  <a:pt x="19" y="27"/>
                </a:lnTo>
                <a:lnTo>
                  <a:pt x="12" y="17"/>
                </a:lnTo>
                <a:lnTo>
                  <a:pt x="18" y="9"/>
                </a:lnTo>
                <a:lnTo>
                  <a:pt x="15" y="0"/>
                </a:lnTo>
                <a:close/>
              </a:path>
            </a:pathLst>
          </a:custGeom>
          <a:solidFill>
            <a:schemeClr val="accent1"/>
          </a:solidFill>
          <a:ln w="6350">
            <a:solidFill>
              <a:schemeClr val="tx2"/>
            </a:solidFill>
            <a:round/>
            <a:headEnd/>
            <a:tailEnd/>
          </a:ln>
        </p:spPr>
        <p:txBody>
          <a:bodyPr/>
          <a:lstStyle/>
          <a:p>
            <a:endParaRPr lang="en-US"/>
          </a:p>
        </p:txBody>
      </p:sp>
      <p:sp>
        <p:nvSpPr>
          <p:cNvPr id="744" name="Freeform 1749"/>
          <p:cNvSpPr>
            <a:spLocks/>
          </p:cNvSpPr>
          <p:nvPr/>
        </p:nvSpPr>
        <p:spPr bwMode="auto">
          <a:xfrm>
            <a:off x="6094336" y="3054311"/>
            <a:ext cx="7166" cy="8915"/>
          </a:xfrm>
          <a:custGeom>
            <a:avLst/>
            <a:gdLst>
              <a:gd name="T0" fmla="*/ 2147483647 w 18"/>
              <a:gd name="T1" fmla="*/ 2147483647 h 19"/>
              <a:gd name="T2" fmla="*/ 2147483647 w 18"/>
              <a:gd name="T3" fmla="*/ 2147483647 h 19"/>
              <a:gd name="T4" fmla="*/ 2147483647 w 18"/>
              <a:gd name="T5" fmla="*/ 0 h 19"/>
              <a:gd name="T6" fmla="*/ 0 w 18"/>
              <a:gd name="T7" fmla="*/ 2147483647 h 19"/>
              <a:gd name="T8" fmla="*/ 2147483647 w 18"/>
              <a:gd name="T9" fmla="*/ 2147483647 h 19"/>
              <a:gd name="T10" fmla="*/ 0 60000 65536"/>
              <a:gd name="T11" fmla="*/ 0 60000 65536"/>
              <a:gd name="T12" fmla="*/ 0 60000 65536"/>
              <a:gd name="T13" fmla="*/ 0 60000 65536"/>
              <a:gd name="T14" fmla="*/ 0 60000 65536"/>
              <a:gd name="T15" fmla="*/ 0 w 18"/>
              <a:gd name="T16" fmla="*/ 0 h 19"/>
              <a:gd name="T17" fmla="*/ 18 w 18"/>
              <a:gd name="T18" fmla="*/ 19 h 19"/>
            </a:gdLst>
            <a:ahLst/>
            <a:cxnLst>
              <a:cxn ang="T10">
                <a:pos x="T0" y="T1"/>
              </a:cxn>
              <a:cxn ang="T11">
                <a:pos x="T2" y="T3"/>
              </a:cxn>
              <a:cxn ang="T12">
                <a:pos x="T4" y="T5"/>
              </a:cxn>
              <a:cxn ang="T13">
                <a:pos x="T6" y="T7"/>
              </a:cxn>
              <a:cxn ang="T14">
                <a:pos x="T8" y="T9"/>
              </a:cxn>
            </a:cxnLst>
            <a:rect l="T15" t="T16" r="T17" b="T18"/>
            <a:pathLst>
              <a:path w="18" h="19">
                <a:moveTo>
                  <a:pt x="18" y="19"/>
                </a:moveTo>
                <a:lnTo>
                  <a:pt x="16" y="8"/>
                </a:lnTo>
                <a:lnTo>
                  <a:pt x="3" y="0"/>
                </a:lnTo>
                <a:lnTo>
                  <a:pt x="0" y="13"/>
                </a:lnTo>
                <a:lnTo>
                  <a:pt x="18" y="19"/>
                </a:lnTo>
                <a:close/>
              </a:path>
            </a:pathLst>
          </a:custGeom>
          <a:solidFill>
            <a:schemeClr val="accent1"/>
          </a:solidFill>
          <a:ln w="6350">
            <a:solidFill>
              <a:schemeClr val="tx2"/>
            </a:solidFill>
            <a:round/>
            <a:headEnd/>
            <a:tailEnd/>
          </a:ln>
        </p:spPr>
        <p:txBody>
          <a:bodyPr/>
          <a:lstStyle/>
          <a:p>
            <a:endParaRPr lang="en-US"/>
          </a:p>
        </p:txBody>
      </p:sp>
      <p:sp>
        <p:nvSpPr>
          <p:cNvPr id="745" name="Freeform 1750"/>
          <p:cNvSpPr>
            <a:spLocks/>
          </p:cNvSpPr>
          <p:nvPr/>
        </p:nvSpPr>
        <p:spPr bwMode="auto">
          <a:xfrm>
            <a:off x="6019802" y="3026290"/>
            <a:ext cx="35834" cy="36935"/>
          </a:xfrm>
          <a:custGeom>
            <a:avLst/>
            <a:gdLst>
              <a:gd name="T0" fmla="*/ 2147483647 w 76"/>
              <a:gd name="T1" fmla="*/ 2147483647 h 86"/>
              <a:gd name="T2" fmla="*/ 2147483647 w 76"/>
              <a:gd name="T3" fmla="*/ 2147483647 h 86"/>
              <a:gd name="T4" fmla="*/ 2147483647 w 76"/>
              <a:gd name="T5" fmla="*/ 2147483647 h 86"/>
              <a:gd name="T6" fmla="*/ 2147483647 w 76"/>
              <a:gd name="T7" fmla="*/ 2147483647 h 86"/>
              <a:gd name="T8" fmla="*/ 2147483647 w 76"/>
              <a:gd name="T9" fmla="*/ 2147483647 h 86"/>
              <a:gd name="T10" fmla="*/ 2147483647 w 76"/>
              <a:gd name="T11" fmla="*/ 2147483647 h 86"/>
              <a:gd name="T12" fmla="*/ 2147483647 w 76"/>
              <a:gd name="T13" fmla="*/ 2147483647 h 86"/>
              <a:gd name="T14" fmla="*/ 2147483647 w 76"/>
              <a:gd name="T15" fmla="*/ 2147483647 h 86"/>
              <a:gd name="T16" fmla="*/ 2147483647 w 76"/>
              <a:gd name="T17" fmla="*/ 2147483647 h 86"/>
              <a:gd name="T18" fmla="*/ 2147483647 w 76"/>
              <a:gd name="T19" fmla="*/ 2147483647 h 86"/>
              <a:gd name="T20" fmla="*/ 2147483647 w 76"/>
              <a:gd name="T21" fmla="*/ 0 h 86"/>
              <a:gd name="T22" fmla="*/ 2147483647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0 w 76"/>
              <a:gd name="T47" fmla="*/ 2147483647 h 86"/>
              <a:gd name="T48" fmla="*/ 2147483647 w 76"/>
              <a:gd name="T49" fmla="*/ 2147483647 h 86"/>
              <a:gd name="T50" fmla="*/ 2147483647 w 76"/>
              <a:gd name="T51" fmla="*/ 2147483647 h 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6"/>
              <a:gd name="T79" fmla="*/ 0 h 86"/>
              <a:gd name="T80" fmla="*/ 76 w 76"/>
              <a:gd name="T81" fmla="*/ 86 h 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6" h="86">
                <a:moveTo>
                  <a:pt x="19" y="12"/>
                </a:moveTo>
                <a:lnTo>
                  <a:pt x="38" y="13"/>
                </a:lnTo>
                <a:lnTo>
                  <a:pt x="32" y="26"/>
                </a:lnTo>
                <a:lnTo>
                  <a:pt x="37" y="36"/>
                </a:lnTo>
                <a:lnTo>
                  <a:pt x="44" y="17"/>
                </a:lnTo>
                <a:lnTo>
                  <a:pt x="48" y="27"/>
                </a:lnTo>
                <a:lnTo>
                  <a:pt x="45" y="34"/>
                </a:lnTo>
                <a:lnTo>
                  <a:pt x="49" y="36"/>
                </a:lnTo>
                <a:lnTo>
                  <a:pt x="49" y="17"/>
                </a:lnTo>
                <a:lnTo>
                  <a:pt x="43" y="10"/>
                </a:lnTo>
                <a:lnTo>
                  <a:pt x="62" y="0"/>
                </a:lnTo>
                <a:lnTo>
                  <a:pt x="71" y="15"/>
                </a:lnTo>
                <a:lnTo>
                  <a:pt x="76" y="37"/>
                </a:lnTo>
                <a:lnTo>
                  <a:pt x="58" y="49"/>
                </a:lnTo>
                <a:lnTo>
                  <a:pt x="65" y="67"/>
                </a:lnTo>
                <a:lnTo>
                  <a:pt x="54" y="70"/>
                </a:lnTo>
                <a:lnTo>
                  <a:pt x="53" y="86"/>
                </a:lnTo>
                <a:lnTo>
                  <a:pt x="35" y="82"/>
                </a:lnTo>
                <a:lnTo>
                  <a:pt x="31" y="79"/>
                </a:lnTo>
                <a:lnTo>
                  <a:pt x="37" y="73"/>
                </a:lnTo>
                <a:lnTo>
                  <a:pt x="15" y="71"/>
                </a:lnTo>
                <a:lnTo>
                  <a:pt x="8" y="60"/>
                </a:lnTo>
                <a:lnTo>
                  <a:pt x="11" y="42"/>
                </a:lnTo>
                <a:lnTo>
                  <a:pt x="0" y="34"/>
                </a:lnTo>
                <a:lnTo>
                  <a:pt x="25" y="21"/>
                </a:lnTo>
                <a:lnTo>
                  <a:pt x="19" y="12"/>
                </a:lnTo>
                <a:close/>
              </a:path>
            </a:pathLst>
          </a:custGeom>
          <a:solidFill>
            <a:schemeClr val="accent1"/>
          </a:solidFill>
          <a:ln w="6350">
            <a:solidFill>
              <a:schemeClr val="tx2"/>
            </a:solidFill>
            <a:round/>
            <a:headEnd/>
            <a:tailEnd/>
          </a:ln>
        </p:spPr>
        <p:txBody>
          <a:bodyPr/>
          <a:lstStyle/>
          <a:p>
            <a:endParaRPr lang="en-US"/>
          </a:p>
        </p:txBody>
      </p:sp>
      <p:sp>
        <p:nvSpPr>
          <p:cNvPr id="746" name="Freeform 1751"/>
          <p:cNvSpPr>
            <a:spLocks/>
          </p:cNvSpPr>
          <p:nvPr/>
        </p:nvSpPr>
        <p:spPr bwMode="auto">
          <a:xfrm>
            <a:off x="6037003" y="3064500"/>
            <a:ext cx="7166" cy="12737"/>
          </a:xfrm>
          <a:custGeom>
            <a:avLst/>
            <a:gdLst>
              <a:gd name="T0" fmla="*/ 2147483647 w 16"/>
              <a:gd name="T1" fmla="*/ 0 h 29"/>
              <a:gd name="T2" fmla="*/ 2147483647 w 16"/>
              <a:gd name="T3" fmla="*/ 2147483647 h 29"/>
              <a:gd name="T4" fmla="*/ 2147483647 w 16"/>
              <a:gd name="T5" fmla="*/ 2147483647 h 29"/>
              <a:gd name="T6" fmla="*/ 0 w 16"/>
              <a:gd name="T7" fmla="*/ 2147483647 h 29"/>
              <a:gd name="T8" fmla="*/ 2147483647 w 16"/>
              <a:gd name="T9" fmla="*/ 0 h 29"/>
              <a:gd name="T10" fmla="*/ 0 60000 65536"/>
              <a:gd name="T11" fmla="*/ 0 60000 65536"/>
              <a:gd name="T12" fmla="*/ 0 60000 65536"/>
              <a:gd name="T13" fmla="*/ 0 60000 65536"/>
              <a:gd name="T14" fmla="*/ 0 60000 65536"/>
              <a:gd name="T15" fmla="*/ 0 w 16"/>
              <a:gd name="T16" fmla="*/ 0 h 29"/>
              <a:gd name="T17" fmla="*/ 16 w 16"/>
              <a:gd name="T18" fmla="*/ 29 h 29"/>
            </a:gdLst>
            <a:ahLst/>
            <a:cxnLst>
              <a:cxn ang="T10">
                <a:pos x="T0" y="T1"/>
              </a:cxn>
              <a:cxn ang="T11">
                <a:pos x="T2" y="T3"/>
              </a:cxn>
              <a:cxn ang="T12">
                <a:pos x="T4" y="T5"/>
              </a:cxn>
              <a:cxn ang="T13">
                <a:pos x="T6" y="T7"/>
              </a:cxn>
              <a:cxn ang="T14">
                <a:pos x="T8" y="T9"/>
              </a:cxn>
            </a:cxnLst>
            <a:rect l="T15" t="T16" r="T17" b="T18"/>
            <a:pathLst>
              <a:path w="16" h="29">
                <a:moveTo>
                  <a:pt x="4" y="0"/>
                </a:moveTo>
                <a:lnTo>
                  <a:pt x="16" y="8"/>
                </a:lnTo>
                <a:lnTo>
                  <a:pt x="11" y="29"/>
                </a:lnTo>
                <a:lnTo>
                  <a:pt x="0" y="3"/>
                </a:lnTo>
                <a:lnTo>
                  <a:pt x="4" y="0"/>
                </a:lnTo>
                <a:close/>
              </a:path>
            </a:pathLst>
          </a:custGeom>
          <a:solidFill>
            <a:schemeClr val="accent1"/>
          </a:solidFill>
          <a:ln w="6350">
            <a:solidFill>
              <a:schemeClr val="tx2"/>
            </a:solidFill>
            <a:round/>
            <a:headEnd/>
            <a:tailEnd/>
          </a:ln>
        </p:spPr>
        <p:txBody>
          <a:bodyPr/>
          <a:lstStyle/>
          <a:p>
            <a:endParaRPr lang="en-US"/>
          </a:p>
        </p:txBody>
      </p:sp>
      <p:sp>
        <p:nvSpPr>
          <p:cNvPr id="747" name="Freeform 1752"/>
          <p:cNvSpPr>
            <a:spLocks/>
          </p:cNvSpPr>
          <p:nvPr/>
        </p:nvSpPr>
        <p:spPr bwMode="auto">
          <a:xfrm>
            <a:off x="6019802" y="3064500"/>
            <a:ext cx="17201" cy="10189"/>
          </a:xfrm>
          <a:custGeom>
            <a:avLst/>
            <a:gdLst>
              <a:gd name="T0" fmla="*/ 2147483647 w 34"/>
              <a:gd name="T1" fmla="*/ 0 h 25"/>
              <a:gd name="T2" fmla="*/ 2147483647 w 34"/>
              <a:gd name="T3" fmla="*/ 2147483647 h 25"/>
              <a:gd name="T4" fmla="*/ 2147483647 w 34"/>
              <a:gd name="T5" fmla="*/ 2147483647 h 25"/>
              <a:gd name="T6" fmla="*/ 2147483647 w 34"/>
              <a:gd name="T7" fmla="*/ 2147483647 h 25"/>
              <a:gd name="T8" fmla="*/ 2147483647 w 34"/>
              <a:gd name="T9" fmla="*/ 2147483647 h 25"/>
              <a:gd name="T10" fmla="*/ 2147483647 w 34"/>
              <a:gd name="T11" fmla="*/ 2147483647 h 25"/>
              <a:gd name="T12" fmla="*/ 2147483647 w 34"/>
              <a:gd name="T13" fmla="*/ 2147483647 h 25"/>
              <a:gd name="T14" fmla="*/ 0 w 34"/>
              <a:gd name="T15" fmla="*/ 2147483647 h 25"/>
              <a:gd name="T16" fmla="*/ 2147483647 w 34"/>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25"/>
              <a:gd name="T29" fmla="*/ 34 w 34"/>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25">
                <a:moveTo>
                  <a:pt x="10" y="0"/>
                </a:moveTo>
                <a:lnTo>
                  <a:pt x="19" y="9"/>
                </a:lnTo>
                <a:lnTo>
                  <a:pt x="27" y="6"/>
                </a:lnTo>
                <a:lnTo>
                  <a:pt x="34" y="22"/>
                </a:lnTo>
                <a:lnTo>
                  <a:pt x="17" y="25"/>
                </a:lnTo>
                <a:lnTo>
                  <a:pt x="1" y="15"/>
                </a:lnTo>
                <a:lnTo>
                  <a:pt x="5" y="8"/>
                </a:lnTo>
                <a:lnTo>
                  <a:pt x="0" y="4"/>
                </a:lnTo>
                <a:lnTo>
                  <a:pt x="10" y="0"/>
                </a:lnTo>
                <a:close/>
              </a:path>
            </a:pathLst>
          </a:custGeom>
          <a:solidFill>
            <a:schemeClr val="accent1"/>
          </a:solidFill>
          <a:ln w="6350">
            <a:solidFill>
              <a:schemeClr val="tx2"/>
            </a:solidFill>
            <a:round/>
            <a:headEnd/>
            <a:tailEnd/>
          </a:ln>
        </p:spPr>
        <p:txBody>
          <a:bodyPr/>
          <a:lstStyle/>
          <a:p>
            <a:endParaRPr lang="en-US"/>
          </a:p>
        </p:txBody>
      </p:sp>
      <p:sp>
        <p:nvSpPr>
          <p:cNvPr id="748" name="Freeform 1753"/>
          <p:cNvSpPr>
            <a:spLocks/>
          </p:cNvSpPr>
          <p:nvPr/>
        </p:nvSpPr>
        <p:spPr bwMode="auto">
          <a:xfrm>
            <a:off x="5996869" y="3044121"/>
            <a:ext cx="20066" cy="16557"/>
          </a:xfrm>
          <a:custGeom>
            <a:avLst/>
            <a:gdLst>
              <a:gd name="T0" fmla="*/ 2147483647 w 49"/>
              <a:gd name="T1" fmla="*/ 2147483647 h 41"/>
              <a:gd name="T2" fmla="*/ 2147483647 w 49"/>
              <a:gd name="T3" fmla="*/ 2147483647 h 41"/>
              <a:gd name="T4" fmla="*/ 2147483647 w 49"/>
              <a:gd name="T5" fmla="*/ 0 h 41"/>
              <a:gd name="T6" fmla="*/ 2147483647 w 49"/>
              <a:gd name="T7" fmla="*/ 2147483647 h 41"/>
              <a:gd name="T8" fmla="*/ 2147483647 w 49"/>
              <a:gd name="T9" fmla="*/ 2147483647 h 41"/>
              <a:gd name="T10" fmla="*/ 2147483647 w 49"/>
              <a:gd name="T11" fmla="*/ 2147483647 h 41"/>
              <a:gd name="T12" fmla="*/ 2147483647 w 49"/>
              <a:gd name="T13" fmla="*/ 2147483647 h 41"/>
              <a:gd name="T14" fmla="*/ 2147483647 w 49"/>
              <a:gd name="T15" fmla="*/ 2147483647 h 41"/>
              <a:gd name="T16" fmla="*/ 0 w 49"/>
              <a:gd name="T17" fmla="*/ 2147483647 h 41"/>
              <a:gd name="T18" fmla="*/ 2147483647 w 49"/>
              <a:gd name="T19" fmla="*/ 214748364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1"/>
              <a:gd name="T32" fmla="*/ 49 w 49"/>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1">
                <a:moveTo>
                  <a:pt x="12" y="6"/>
                </a:moveTo>
                <a:lnTo>
                  <a:pt x="33" y="7"/>
                </a:lnTo>
                <a:lnTo>
                  <a:pt x="37" y="0"/>
                </a:lnTo>
                <a:lnTo>
                  <a:pt x="49" y="26"/>
                </a:lnTo>
                <a:lnTo>
                  <a:pt x="45" y="40"/>
                </a:lnTo>
                <a:lnTo>
                  <a:pt x="16" y="41"/>
                </a:lnTo>
                <a:lnTo>
                  <a:pt x="19" y="34"/>
                </a:lnTo>
                <a:lnTo>
                  <a:pt x="7" y="31"/>
                </a:lnTo>
                <a:lnTo>
                  <a:pt x="0" y="10"/>
                </a:lnTo>
                <a:lnTo>
                  <a:pt x="12" y="6"/>
                </a:lnTo>
                <a:close/>
              </a:path>
            </a:pathLst>
          </a:custGeom>
          <a:solidFill>
            <a:schemeClr val="accent1"/>
          </a:solidFill>
          <a:ln w="6350">
            <a:solidFill>
              <a:schemeClr val="tx2"/>
            </a:solidFill>
            <a:round/>
            <a:headEnd/>
            <a:tailEnd/>
          </a:ln>
        </p:spPr>
        <p:txBody>
          <a:bodyPr/>
          <a:lstStyle/>
          <a:p>
            <a:endParaRPr lang="en-US"/>
          </a:p>
        </p:txBody>
      </p:sp>
      <p:sp>
        <p:nvSpPr>
          <p:cNvPr id="749" name="Freeform 1754"/>
          <p:cNvSpPr>
            <a:spLocks/>
          </p:cNvSpPr>
          <p:nvPr/>
        </p:nvSpPr>
        <p:spPr bwMode="auto">
          <a:xfrm>
            <a:off x="6014069" y="3058132"/>
            <a:ext cx="5734" cy="14011"/>
          </a:xfrm>
          <a:custGeom>
            <a:avLst/>
            <a:gdLst>
              <a:gd name="T0" fmla="*/ 2147483647 w 13"/>
              <a:gd name="T1" fmla="*/ 2147483647 h 34"/>
              <a:gd name="T2" fmla="*/ 2147483647 w 13"/>
              <a:gd name="T3" fmla="*/ 0 h 34"/>
              <a:gd name="T4" fmla="*/ 2147483647 w 13"/>
              <a:gd name="T5" fmla="*/ 2147483647 h 34"/>
              <a:gd name="T6" fmla="*/ 2147483647 w 13"/>
              <a:gd name="T7" fmla="*/ 2147483647 h 34"/>
              <a:gd name="T8" fmla="*/ 0 w 13"/>
              <a:gd name="T9" fmla="*/ 2147483647 h 34"/>
              <a:gd name="T10" fmla="*/ 2147483647 w 13"/>
              <a:gd name="T11" fmla="*/ 2147483647 h 34"/>
              <a:gd name="T12" fmla="*/ 0 60000 65536"/>
              <a:gd name="T13" fmla="*/ 0 60000 65536"/>
              <a:gd name="T14" fmla="*/ 0 60000 65536"/>
              <a:gd name="T15" fmla="*/ 0 60000 65536"/>
              <a:gd name="T16" fmla="*/ 0 60000 65536"/>
              <a:gd name="T17" fmla="*/ 0 60000 65536"/>
              <a:gd name="T18" fmla="*/ 0 w 13"/>
              <a:gd name="T19" fmla="*/ 0 h 34"/>
              <a:gd name="T20" fmla="*/ 13 w 13"/>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13" h="34">
                <a:moveTo>
                  <a:pt x="9" y="8"/>
                </a:moveTo>
                <a:lnTo>
                  <a:pt x="13" y="0"/>
                </a:lnTo>
                <a:lnTo>
                  <a:pt x="13" y="11"/>
                </a:lnTo>
                <a:lnTo>
                  <a:pt x="3" y="34"/>
                </a:lnTo>
                <a:lnTo>
                  <a:pt x="0" y="23"/>
                </a:lnTo>
                <a:lnTo>
                  <a:pt x="9" y="8"/>
                </a:lnTo>
                <a:close/>
              </a:path>
            </a:pathLst>
          </a:custGeom>
          <a:solidFill>
            <a:schemeClr val="accent1"/>
          </a:solidFill>
          <a:ln w="6350">
            <a:solidFill>
              <a:schemeClr val="tx2"/>
            </a:solidFill>
            <a:round/>
            <a:headEnd/>
            <a:tailEnd/>
          </a:ln>
        </p:spPr>
        <p:txBody>
          <a:bodyPr/>
          <a:lstStyle/>
          <a:p>
            <a:endParaRPr lang="en-US"/>
          </a:p>
        </p:txBody>
      </p:sp>
      <p:sp>
        <p:nvSpPr>
          <p:cNvPr id="750" name="Freeform 1755"/>
          <p:cNvSpPr>
            <a:spLocks/>
          </p:cNvSpPr>
          <p:nvPr/>
        </p:nvSpPr>
        <p:spPr bwMode="auto">
          <a:xfrm>
            <a:off x="6062803" y="3073415"/>
            <a:ext cx="8600" cy="12737"/>
          </a:xfrm>
          <a:custGeom>
            <a:avLst/>
            <a:gdLst>
              <a:gd name="T0" fmla="*/ 2147483647 w 22"/>
              <a:gd name="T1" fmla="*/ 2147483647 h 28"/>
              <a:gd name="T2" fmla="*/ 2147483647 w 22"/>
              <a:gd name="T3" fmla="*/ 2147483647 h 28"/>
              <a:gd name="T4" fmla="*/ 0 w 22"/>
              <a:gd name="T5" fmla="*/ 2147483647 h 28"/>
              <a:gd name="T6" fmla="*/ 0 w 22"/>
              <a:gd name="T7" fmla="*/ 2147483647 h 28"/>
              <a:gd name="T8" fmla="*/ 2147483647 w 22"/>
              <a:gd name="T9" fmla="*/ 2147483647 h 28"/>
              <a:gd name="T10" fmla="*/ 2147483647 w 22"/>
              <a:gd name="T11" fmla="*/ 0 h 28"/>
              <a:gd name="T12" fmla="*/ 2147483647 w 22"/>
              <a:gd name="T13" fmla="*/ 2147483647 h 28"/>
              <a:gd name="T14" fmla="*/ 2147483647 w 22"/>
              <a:gd name="T15" fmla="*/ 2147483647 h 2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28"/>
              <a:gd name="T26" fmla="*/ 22 w 2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28">
                <a:moveTo>
                  <a:pt x="20" y="16"/>
                </a:moveTo>
                <a:lnTo>
                  <a:pt x="22" y="28"/>
                </a:lnTo>
                <a:lnTo>
                  <a:pt x="0" y="23"/>
                </a:lnTo>
                <a:lnTo>
                  <a:pt x="0" y="10"/>
                </a:lnTo>
                <a:lnTo>
                  <a:pt x="14" y="14"/>
                </a:lnTo>
                <a:lnTo>
                  <a:pt x="6" y="0"/>
                </a:lnTo>
                <a:lnTo>
                  <a:pt x="22" y="7"/>
                </a:lnTo>
                <a:lnTo>
                  <a:pt x="20" y="16"/>
                </a:lnTo>
                <a:close/>
              </a:path>
            </a:pathLst>
          </a:custGeom>
          <a:solidFill>
            <a:schemeClr val="accent1"/>
          </a:solidFill>
          <a:ln w="6350">
            <a:solidFill>
              <a:schemeClr val="tx2"/>
            </a:solidFill>
            <a:round/>
            <a:headEnd/>
            <a:tailEnd/>
          </a:ln>
        </p:spPr>
        <p:txBody>
          <a:bodyPr/>
          <a:lstStyle/>
          <a:p>
            <a:endParaRPr lang="en-US"/>
          </a:p>
        </p:txBody>
      </p:sp>
      <p:sp>
        <p:nvSpPr>
          <p:cNvPr id="751" name="Freeform 1756"/>
          <p:cNvSpPr>
            <a:spLocks/>
          </p:cNvSpPr>
          <p:nvPr/>
        </p:nvSpPr>
        <p:spPr bwMode="auto">
          <a:xfrm>
            <a:off x="6236236" y="2888736"/>
            <a:ext cx="2866" cy="2547"/>
          </a:xfrm>
          <a:custGeom>
            <a:avLst/>
            <a:gdLst>
              <a:gd name="T0" fmla="*/ 2147483647 w 8"/>
              <a:gd name="T1" fmla="*/ 0 h 6"/>
              <a:gd name="T2" fmla="*/ 0 w 8"/>
              <a:gd name="T3" fmla="*/ 2147483647 h 6"/>
              <a:gd name="T4" fmla="*/ 2147483647 w 8"/>
              <a:gd name="T5" fmla="*/ 2147483647 h 6"/>
              <a:gd name="T6" fmla="*/ 2147483647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8" y="0"/>
                </a:moveTo>
                <a:lnTo>
                  <a:pt x="0" y="3"/>
                </a:lnTo>
                <a:lnTo>
                  <a:pt x="7" y="6"/>
                </a:lnTo>
                <a:lnTo>
                  <a:pt x="8" y="0"/>
                </a:lnTo>
                <a:close/>
              </a:path>
            </a:pathLst>
          </a:custGeom>
          <a:solidFill>
            <a:schemeClr val="accent1"/>
          </a:solidFill>
          <a:ln w="6350">
            <a:solidFill>
              <a:schemeClr val="tx2"/>
            </a:solidFill>
            <a:round/>
            <a:headEnd/>
            <a:tailEnd/>
          </a:ln>
        </p:spPr>
        <p:txBody>
          <a:bodyPr/>
          <a:lstStyle/>
          <a:p>
            <a:endParaRPr lang="en-US"/>
          </a:p>
        </p:txBody>
      </p:sp>
      <p:sp>
        <p:nvSpPr>
          <p:cNvPr id="752" name="Freeform 1757"/>
          <p:cNvSpPr>
            <a:spLocks/>
          </p:cNvSpPr>
          <p:nvPr/>
        </p:nvSpPr>
        <p:spPr bwMode="auto">
          <a:xfrm>
            <a:off x="6249137" y="2884915"/>
            <a:ext cx="8600" cy="10189"/>
          </a:xfrm>
          <a:custGeom>
            <a:avLst/>
            <a:gdLst>
              <a:gd name="T0" fmla="*/ 2147483647 w 20"/>
              <a:gd name="T1" fmla="*/ 2147483647 h 23"/>
              <a:gd name="T2" fmla="*/ 2147483647 w 20"/>
              <a:gd name="T3" fmla="*/ 0 h 23"/>
              <a:gd name="T4" fmla="*/ 2147483647 w 20"/>
              <a:gd name="T5" fmla="*/ 2147483647 h 23"/>
              <a:gd name="T6" fmla="*/ 0 w 20"/>
              <a:gd name="T7" fmla="*/ 2147483647 h 23"/>
              <a:gd name="T8" fmla="*/ 2147483647 w 20"/>
              <a:gd name="T9" fmla="*/ 2147483647 h 23"/>
              <a:gd name="T10" fmla="*/ 0 60000 65536"/>
              <a:gd name="T11" fmla="*/ 0 60000 65536"/>
              <a:gd name="T12" fmla="*/ 0 60000 65536"/>
              <a:gd name="T13" fmla="*/ 0 60000 65536"/>
              <a:gd name="T14" fmla="*/ 0 60000 65536"/>
              <a:gd name="T15" fmla="*/ 0 w 20"/>
              <a:gd name="T16" fmla="*/ 0 h 23"/>
              <a:gd name="T17" fmla="*/ 20 w 20"/>
              <a:gd name="T18" fmla="*/ 23 h 23"/>
            </a:gdLst>
            <a:ahLst/>
            <a:cxnLst>
              <a:cxn ang="T10">
                <a:pos x="T0" y="T1"/>
              </a:cxn>
              <a:cxn ang="T11">
                <a:pos x="T2" y="T3"/>
              </a:cxn>
              <a:cxn ang="T12">
                <a:pos x="T4" y="T5"/>
              </a:cxn>
              <a:cxn ang="T13">
                <a:pos x="T6" y="T7"/>
              </a:cxn>
              <a:cxn ang="T14">
                <a:pos x="T8" y="T9"/>
              </a:cxn>
            </a:cxnLst>
            <a:rect l="T15" t="T16" r="T17" b="T18"/>
            <a:pathLst>
              <a:path w="20" h="23">
                <a:moveTo>
                  <a:pt x="14" y="23"/>
                </a:moveTo>
                <a:lnTo>
                  <a:pt x="20" y="0"/>
                </a:lnTo>
                <a:lnTo>
                  <a:pt x="7" y="9"/>
                </a:lnTo>
                <a:lnTo>
                  <a:pt x="0" y="21"/>
                </a:lnTo>
                <a:lnTo>
                  <a:pt x="14" y="23"/>
                </a:lnTo>
                <a:close/>
              </a:path>
            </a:pathLst>
          </a:custGeom>
          <a:solidFill>
            <a:schemeClr val="accent1"/>
          </a:solidFill>
          <a:ln w="6350">
            <a:solidFill>
              <a:schemeClr val="tx2"/>
            </a:solidFill>
            <a:round/>
            <a:headEnd/>
            <a:tailEnd/>
          </a:ln>
        </p:spPr>
        <p:txBody>
          <a:bodyPr/>
          <a:lstStyle/>
          <a:p>
            <a:endParaRPr lang="en-US"/>
          </a:p>
        </p:txBody>
      </p:sp>
      <p:sp>
        <p:nvSpPr>
          <p:cNvPr id="753" name="Freeform 1758"/>
          <p:cNvSpPr>
            <a:spLocks/>
          </p:cNvSpPr>
          <p:nvPr/>
        </p:nvSpPr>
        <p:spPr bwMode="auto">
          <a:xfrm>
            <a:off x="6240538" y="2944776"/>
            <a:ext cx="25800" cy="21652"/>
          </a:xfrm>
          <a:custGeom>
            <a:avLst/>
            <a:gdLst>
              <a:gd name="T0" fmla="*/ 2147483647 w 58"/>
              <a:gd name="T1" fmla="*/ 0 h 54"/>
              <a:gd name="T2" fmla="*/ 0 w 58"/>
              <a:gd name="T3" fmla="*/ 2147483647 h 54"/>
              <a:gd name="T4" fmla="*/ 0 w 58"/>
              <a:gd name="T5" fmla="*/ 2147483647 h 54"/>
              <a:gd name="T6" fmla="*/ 2147483647 w 58"/>
              <a:gd name="T7" fmla="*/ 2147483647 h 54"/>
              <a:gd name="T8" fmla="*/ 2147483647 w 58"/>
              <a:gd name="T9" fmla="*/ 2147483647 h 54"/>
              <a:gd name="T10" fmla="*/ 2147483647 w 58"/>
              <a:gd name="T11" fmla="*/ 2147483647 h 54"/>
              <a:gd name="T12" fmla="*/ 2147483647 w 58"/>
              <a:gd name="T13" fmla="*/ 2147483647 h 54"/>
              <a:gd name="T14" fmla="*/ 2147483647 w 58"/>
              <a:gd name="T15" fmla="*/ 2147483647 h 54"/>
              <a:gd name="T16" fmla="*/ 2147483647 w 58"/>
              <a:gd name="T17" fmla="*/ 2147483647 h 54"/>
              <a:gd name="T18" fmla="*/ 2147483647 w 58"/>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54"/>
              <a:gd name="T32" fmla="*/ 58 w 58"/>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54">
                <a:moveTo>
                  <a:pt x="48" y="0"/>
                </a:moveTo>
                <a:lnTo>
                  <a:pt x="0" y="9"/>
                </a:lnTo>
                <a:lnTo>
                  <a:pt x="0" y="27"/>
                </a:lnTo>
                <a:lnTo>
                  <a:pt x="9" y="35"/>
                </a:lnTo>
                <a:lnTo>
                  <a:pt x="4" y="49"/>
                </a:lnTo>
                <a:lnTo>
                  <a:pt x="5" y="54"/>
                </a:lnTo>
                <a:lnTo>
                  <a:pt x="21" y="26"/>
                </a:lnTo>
                <a:lnTo>
                  <a:pt x="33" y="30"/>
                </a:lnTo>
                <a:lnTo>
                  <a:pt x="58" y="13"/>
                </a:lnTo>
                <a:lnTo>
                  <a:pt x="48" y="0"/>
                </a:lnTo>
                <a:close/>
              </a:path>
            </a:pathLst>
          </a:custGeom>
          <a:solidFill>
            <a:schemeClr val="accent1"/>
          </a:solidFill>
          <a:ln w="6350">
            <a:solidFill>
              <a:schemeClr val="tx2"/>
            </a:solidFill>
            <a:round/>
            <a:headEnd/>
            <a:tailEnd/>
          </a:ln>
        </p:spPr>
        <p:txBody>
          <a:bodyPr/>
          <a:lstStyle/>
          <a:p>
            <a:endParaRPr lang="en-US"/>
          </a:p>
        </p:txBody>
      </p:sp>
      <p:sp>
        <p:nvSpPr>
          <p:cNvPr id="754" name="Freeform 1759"/>
          <p:cNvSpPr>
            <a:spLocks/>
          </p:cNvSpPr>
          <p:nvPr/>
        </p:nvSpPr>
        <p:spPr bwMode="auto">
          <a:xfrm>
            <a:off x="6243403" y="2928218"/>
            <a:ext cx="20066" cy="12737"/>
          </a:xfrm>
          <a:custGeom>
            <a:avLst/>
            <a:gdLst>
              <a:gd name="T0" fmla="*/ 2147483647 w 40"/>
              <a:gd name="T1" fmla="*/ 2147483647 h 31"/>
              <a:gd name="T2" fmla="*/ 2147483647 w 40"/>
              <a:gd name="T3" fmla="*/ 0 h 31"/>
              <a:gd name="T4" fmla="*/ 2147483647 w 40"/>
              <a:gd name="T5" fmla="*/ 2147483647 h 31"/>
              <a:gd name="T6" fmla="*/ 0 w 40"/>
              <a:gd name="T7" fmla="*/ 2147483647 h 31"/>
              <a:gd name="T8" fmla="*/ 2147483647 w 40"/>
              <a:gd name="T9" fmla="*/ 2147483647 h 31"/>
              <a:gd name="T10" fmla="*/ 2147483647 w 40"/>
              <a:gd name="T11" fmla="*/ 2147483647 h 31"/>
              <a:gd name="T12" fmla="*/ 2147483647 w 40"/>
              <a:gd name="T13" fmla="*/ 2147483647 h 31"/>
              <a:gd name="T14" fmla="*/ 2147483647 w 40"/>
              <a:gd name="T15" fmla="*/ 2147483647 h 31"/>
              <a:gd name="T16" fmla="*/ 2147483647 w 40"/>
              <a:gd name="T17" fmla="*/ 2147483647 h 31"/>
              <a:gd name="T18" fmla="*/ 2147483647 w 40"/>
              <a:gd name="T19" fmla="*/ 2147483647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1"/>
              <a:gd name="T32" fmla="*/ 40 w 40"/>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1">
                <a:moveTo>
                  <a:pt x="32" y="7"/>
                </a:moveTo>
                <a:lnTo>
                  <a:pt x="23" y="0"/>
                </a:lnTo>
                <a:lnTo>
                  <a:pt x="16" y="12"/>
                </a:lnTo>
                <a:lnTo>
                  <a:pt x="0" y="16"/>
                </a:lnTo>
                <a:lnTo>
                  <a:pt x="2" y="20"/>
                </a:lnTo>
                <a:lnTo>
                  <a:pt x="10" y="18"/>
                </a:lnTo>
                <a:lnTo>
                  <a:pt x="17" y="31"/>
                </a:lnTo>
                <a:lnTo>
                  <a:pt x="40" y="19"/>
                </a:lnTo>
                <a:lnTo>
                  <a:pt x="40" y="12"/>
                </a:lnTo>
                <a:lnTo>
                  <a:pt x="32" y="7"/>
                </a:lnTo>
                <a:close/>
              </a:path>
            </a:pathLst>
          </a:custGeom>
          <a:solidFill>
            <a:schemeClr val="accent1"/>
          </a:solidFill>
          <a:ln w="6350">
            <a:solidFill>
              <a:schemeClr val="tx2"/>
            </a:solidFill>
            <a:round/>
            <a:headEnd/>
            <a:tailEnd/>
          </a:ln>
        </p:spPr>
        <p:txBody>
          <a:bodyPr/>
          <a:lstStyle/>
          <a:p>
            <a:endParaRPr lang="en-US"/>
          </a:p>
        </p:txBody>
      </p:sp>
      <p:sp>
        <p:nvSpPr>
          <p:cNvPr id="755" name="Freeform 1760"/>
          <p:cNvSpPr>
            <a:spLocks/>
          </p:cNvSpPr>
          <p:nvPr/>
        </p:nvSpPr>
        <p:spPr bwMode="auto">
          <a:xfrm>
            <a:off x="6085736" y="2521923"/>
            <a:ext cx="45867" cy="34388"/>
          </a:xfrm>
          <a:custGeom>
            <a:avLst/>
            <a:gdLst>
              <a:gd name="T0" fmla="*/ 2147483647 w 98"/>
              <a:gd name="T1" fmla="*/ 2147483647 h 86"/>
              <a:gd name="T2" fmla="*/ 2147483647 w 98"/>
              <a:gd name="T3" fmla="*/ 0 h 86"/>
              <a:gd name="T4" fmla="*/ 2147483647 w 98"/>
              <a:gd name="T5" fmla="*/ 2147483647 h 86"/>
              <a:gd name="T6" fmla="*/ 2147483647 w 98"/>
              <a:gd name="T7" fmla="*/ 2147483647 h 86"/>
              <a:gd name="T8" fmla="*/ 2147483647 w 98"/>
              <a:gd name="T9" fmla="*/ 2147483647 h 86"/>
              <a:gd name="T10" fmla="*/ 2147483647 w 98"/>
              <a:gd name="T11" fmla="*/ 2147483647 h 86"/>
              <a:gd name="T12" fmla="*/ 2147483647 w 98"/>
              <a:gd name="T13" fmla="*/ 2147483647 h 86"/>
              <a:gd name="T14" fmla="*/ 2147483647 w 98"/>
              <a:gd name="T15" fmla="*/ 2147483647 h 86"/>
              <a:gd name="T16" fmla="*/ 2147483647 w 98"/>
              <a:gd name="T17" fmla="*/ 2147483647 h 86"/>
              <a:gd name="T18" fmla="*/ 2147483647 w 98"/>
              <a:gd name="T19" fmla="*/ 2147483647 h 86"/>
              <a:gd name="T20" fmla="*/ 2147483647 w 98"/>
              <a:gd name="T21" fmla="*/ 2147483647 h 86"/>
              <a:gd name="T22" fmla="*/ 2147483647 w 98"/>
              <a:gd name="T23" fmla="*/ 2147483647 h 86"/>
              <a:gd name="T24" fmla="*/ 2147483647 w 98"/>
              <a:gd name="T25" fmla="*/ 2147483647 h 86"/>
              <a:gd name="T26" fmla="*/ 2147483647 w 98"/>
              <a:gd name="T27" fmla="*/ 2147483647 h 86"/>
              <a:gd name="T28" fmla="*/ 0 w 98"/>
              <a:gd name="T29" fmla="*/ 2147483647 h 86"/>
              <a:gd name="T30" fmla="*/ 2147483647 w 98"/>
              <a:gd name="T31" fmla="*/ 2147483647 h 86"/>
              <a:gd name="T32" fmla="*/ 2147483647 w 98"/>
              <a:gd name="T33" fmla="*/ 2147483647 h 86"/>
              <a:gd name="T34" fmla="*/ 2147483647 w 98"/>
              <a:gd name="T35" fmla="*/ 2147483647 h 8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86"/>
              <a:gd name="T56" fmla="*/ 98 w 98"/>
              <a:gd name="T57" fmla="*/ 86 h 8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86">
                <a:moveTo>
                  <a:pt x="59" y="2"/>
                </a:moveTo>
                <a:lnTo>
                  <a:pt x="65" y="0"/>
                </a:lnTo>
                <a:lnTo>
                  <a:pt x="71" y="25"/>
                </a:lnTo>
                <a:lnTo>
                  <a:pt x="64" y="43"/>
                </a:lnTo>
                <a:lnTo>
                  <a:pt x="82" y="23"/>
                </a:lnTo>
                <a:lnTo>
                  <a:pt x="83" y="9"/>
                </a:lnTo>
                <a:lnTo>
                  <a:pt x="98" y="20"/>
                </a:lnTo>
                <a:lnTo>
                  <a:pt x="97" y="39"/>
                </a:lnTo>
                <a:lnTo>
                  <a:pt x="74" y="61"/>
                </a:lnTo>
                <a:lnTo>
                  <a:pt x="71" y="54"/>
                </a:lnTo>
                <a:lnTo>
                  <a:pt x="57" y="75"/>
                </a:lnTo>
                <a:lnTo>
                  <a:pt x="54" y="57"/>
                </a:lnTo>
                <a:lnTo>
                  <a:pt x="25" y="86"/>
                </a:lnTo>
                <a:lnTo>
                  <a:pt x="19" y="78"/>
                </a:lnTo>
                <a:lnTo>
                  <a:pt x="0" y="86"/>
                </a:lnTo>
                <a:lnTo>
                  <a:pt x="7" y="68"/>
                </a:lnTo>
                <a:lnTo>
                  <a:pt x="43" y="54"/>
                </a:lnTo>
                <a:lnTo>
                  <a:pt x="59" y="2"/>
                </a:lnTo>
                <a:close/>
              </a:path>
            </a:pathLst>
          </a:custGeom>
          <a:solidFill>
            <a:schemeClr val="accent1"/>
          </a:solidFill>
          <a:ln w="6350">
            <a:solidFill>
              <a:schemeClr val="tx2"/>
            </a:solidFill>
            <a:round/>
            <a:headEnd/>
            <a:tailEnd/>
          </a:ln>
        </p:spPr>
        <p:txBody>
          <a:bodyPr/>
          <a:lstStyle/>
          <a:p>
            <a:endParaRPr lang="en-US"/>
          </a:p>
        </p:txBody>
      </p:sp>
      <p:sp>
        <p:nvSpPr>
          <p:cNvPr id="756" name="Freeform 1761"/>
          <p:cNvSpPr>
            <a:spLocks/>
          </p:cNvSpPr>
          <p:nvPr/>
        </p:nvSpPr>
        <p:spPr bwMode="auto">
          <a:xfrm>
            <a:off x="6091469" y="2520649"/>
            <a:ext cx="17201" cy="17831"/>
          </a:xfrm>
          <a:custGeom>
            <a:avLst/>
            <a:gdLst>
              <a:gd name="T0" fmla="*/ 0 w 37"/>
              <a:gd name="T1" fmla="*/ 2147483647 h 45"/>
              <a:gd name="T2" fmla="*/ 2147483647 w 37"/>
              <a:gd name="T3" fmla="*/ 2147483647 h 45"/>
              <a:gd name="T4" fmla="*/ 2147483647 w 37"/>
              <a:gd name="T5" fmla="*/ 2147483647 h 45"/>
              <a:gd name="T6" fmla="*/ 2147483647 w 37"/>
              <a:gd name="T7" fmla="*/ 0 h 45"/>
              <a:gd name="T8" fmla="*/ 2147483647 w 37"/>
              <a:gd name="T9" fmla="*/ 2147483647 h 45"/>
              <a:gd name="T10" fmla="*/ 2147483647 w 37"/>
              <a:gd name="T11" fmla="*/ 2147483647 h 45"/>
              <a:gd name="T12" fmla="*/ 2147483647 w 37"/>
              <a:gd name="T13" fmla="*/ 2147483647 h 45"/>
              <a:gd name="T14" fmla="*/ 2147483647 w 37"/>
              <a:gd name="T15" fmla="*/ 2147483647 h 45"/>
              <a:gd name="T16" fmla="*/ 2147483647 w 37"/>
              <a:gd name="T17" fmla="*/ 2147483647 h 45"/>
              <a:gd name="T18" fmla="*/ 2147483647 w 37"/>
              <a:gd name="T19" fmla="*/ 2147483647 h 45"/>
              <a:gd name="T20" fmla="*/ 0 w 37"/>
              <a:gd name="T21" fmla="*/ 2147483647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5"/>
              <a:gd name="T35" fmla="*/ 37 w 37"/>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5">
                <a:moveTo>
                  <a:pt x="0" y="32"/>
                </a:moveTo>
                <a:lnTo>
                  <a:pt x="17" y="9"/>
                </a:lnTo>
                <a:lnTo>
                  <a:pt x="27" y="15"/>
                </a:lnTo>
                <a:lnTo>
                  <a:pt x="27" y="0"/>
                </a:lnTo>
                <a:lnTo>
                  <a:pt x="36" y="16"/>
                </a:lnTo>
                <a:lnTo>
                  <a:pt x="37" y="37"/>
                </a:lnTo>
                <a:lnTo>
                  <a:pt x="20" y="45"/>
                </a:lnTo>
                <a:lnTo>
                  <a:pt x="18" y="38"/>
                </a:lnTo>
                <a:lnTo>
                  <a:pt x="26" y="26"/>
                </a:lnTo>
                <a:lnTo>
                  <a:pt x="1" y="44"/>
                </a:lnTo>
                <a:lnTo>
                  <a:pt x="0" y="32"/>
                </a:lnTo>
                <a:close/>
              </a:path>
            </a:pathLst>
          </a:custGeom>
          <a:solidFill>
            <a:schemeClr val="accent1"/>
          </a:solidFill>
          <a:ln w="6350">
            <a:solidFill>
              <a:schemeClr val="tx2"/>
            </a:solidFill>
            <a:round/>
            <a:headEnd/>
            <a:tailEnd/>
          </a:ln>
        </p:spPr>
        <p:txBody>
          <a:bodyPr/>
          <a:lstStyle/>
          <a:p>
            <a:endParaRPr lang="en-US"/>
          </a:p>
        </p:txBody>
      </p:sp>
      <p:sp>
        <p:nvSpPr>
          <p:cNvPr id="757" name="Freeform 1762"/>
          <p:cNvSpPr>
            <a:spLocks/>
          </p:cNvSpPr>
          <p:nvPr/>
        </p:nvSpPr>
        <p:spPr bwMode="auto">
          <a:xfrm>
            <a:off x="6111536" y="2502818"/>
            <a:ext cx="14334" cy="15284"/>
          </a:xfrm>
          <a:custGeom>
            <a:avLst/>
            <a:gdLst>
              <a:gd name="T0" fmla="*/ 2147483647 w 28"/>
              <a:gd name="T1" fmla="*/ 2147483647 h 37"/>
              <a:gd name="T2" fmla="*/ 2147483647 w 28"/>
              <a:gd name="T3" fmla="*/ 0 h 37"/>
              <a:gd name="T4" fmla="*/ 2147483647 w 28"/>
              <a:gd name="T5" fmla="*/ 2147483647 h 37"/>
              <a:gd name="T6" fmla="*/ 2147483647 w 28"/>
              <a:gd name="T7" fmla="*/ 2147483647 h 37"/>
              <a:gd name="T8" fmla="*/ 0 w 28"/>
              <a:gd name="T9" fmla="*/ 2147483647 h 37"/>
              <a:gd name="T10" fmla="*/ 2147483647 w 28"/>
              <a:gd name="T11" fmla="*/ 2147483647 h 37"/>
              <a:gd name="T12" fmla="*/ 0 60000 65536"/>
              <a:gd name="T13" fmla="*/ 0 60000 65536"/>
              <a:gd name="T14" fmla="*/ 0 60000 65536"/>
              <a:gd name="T15" fmla="*/ 0 60000 65536"/>
              <a:gd name="T16" fmla="*/ 0 60000 65536"/>
              <a:gd name="T17" fmla="*/ 0 60000 65536"/>
              <a:gd name="T18" fmla="*/ 0 w 28"/>
              <a:gd name="T19" fmla="*/ 0 h 37"/>
              <a:gd name="T20" fmla="*/ 28 w 28"/>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8" h="37">
                <a:moveTo>
                  <a:pt x="11" y="14"/>
                </a:moveTo>
                <a:lnTo>
                  <a:pt x="17" y="0"/>
                </a:lnTo>
                <a:lnTo>
                  <a:pt x="28" y="4"/>
                </a:lnTo>
                <a:lnTo>
                  <a:pt x="12" y="37"/>
                </a:lnTo>
                <a:lnTo>
                  <a:pt x="0" y="35"/>
                </a:lnTo>
                <a:lnTo>
                  <a:pt x="11" y="14"/>
                </a:lnTo>
                <a:close/>
              </a:path>
            </a:pathLst>
          </a:custGeom>
          <a:solidFill>
            <a:schemeClr val="accent1"/>
          </a:solidFill>
          <a:ln w="6350">
            <a:solidFill>
              <a:schemeClr val="tx2"/>
            </a:solidFill>
            <a:round/>
            <a:headEnd/>
            <a:tailEnd/>
          </a:ln>
        </p:spPr>
        <p:txBody>
          <a:bodyPr/>
          <a:lstStyle/>
          <a:p>
            <a:endParaRPr lang="en-US"/>
          </a:p>
        </p:txBody>
      </p:sp>
      <p:sp>
        <p:nvSpPr>
          <p:cNvPr id="758" name="Freeform 1763"/>
          <p:cNvSpPr>
            <a:spLocks/>
          </p:cNvSpPr>
          <p:nvPr/>
        </p:nvSpPr>
        <p:spPr bwMode="auto">
          <a:xfrm>
            <a:off x="6097203" y="2574142"/>
            <a:ext cx="12899" cy="8916"/>
          </a:xfrm>
          <a:custGeom>
            <a:avLst/>
            <a:gdLst>
              <a:gd name="T0" fmla="*/ 2147483647 w 27"/>
              <a:gd name="T1" fmla="*/ 2147483647 h 21"/>
              <a:gd name="T2" fmla="*/ 2147483647 w 27"/>
              <a:gd name="T3" fmla="*/ 0 h 21"/>
              <a:gd name="T4" fmla="*/ 2147483647 w 27"/>
              <a:gd name="T5" fmla="*/ 0 h 21"/>
              <a:gd name="T6" fmla="*/ 2147483647 w 27"/>
              <a:gd name="T7" fmla="*/ 2147483647 h 21"/>
              <a:gd name="T8" fmla="*/ 0 w 27"/>
              <a:gd name="T9" fmla="*/ 2147483647 h 21"/>
              <a:gd name="T10" fmla="*/ 2147483647 w 27"/>
              <a:gd name="T11" fmla="*/ 2147483647 h 21"/>
              <a:gd name="T12" fmla="*/ 0 60000 65536"/>
              <a:gd name="T13" fmla="*/ 0 60000 65536"/>
              <a:gd name="T14" fmla="*/ 0 60000 65536"/>
              <a:gd name="T15" fmla="*/ 0 60000 65536"/>
              <a:gd name="T16" fmla="*/ 0 60000 65536"/>
              <a:gd name="T17" fmla="*/ 0 60000 65536"/>
              <a:gd name="T18" fmla="*/ 0 w 27"/>
              <a:gd name="T19" fmla="*/ 0 h 21"/>
              <a:gd name="T20" fmla="*/ 27 w 2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7" h="21">
                <a:moveTo>
                  <a:pt x="10" y="8"/>
                </a:moveTo>
                <a:lnTo>
                  <a:pt x="6" y="0"/>
                </a:lnTo>
                <a:lnTo>
                  <a:pt x="27" y="0"/>
                </a:lnTo>
                <a:lnTo>
                  <a:pt x="9" y="21"/>
                </a:lnTo>
                <a:lnTo>
                  <a:pt x="0" y="19"/>
                </a:lnTo>
                <a:lnTo>
                  <a:pt x="10" y="8"/>
                </a:lnTo>
                <a:close/>
              </a:path>
            </a:pathLst>
          </a:custGeom>
          <a:solidFill>
            <a:schemeClr val="accent1"/>
          </a:solidFill>
          <a:ln w="6350">
            <a:solidFill>
              <a:schemeClr val="tx2"/>
            </a:solidFill>
            <a:round/>
            <a:headEnd/>
            <a:tailEnd/>
          </a:ln>
        </p:spPr>
        <p:txBody>
          <a:bodyPr/>
          <a:lstStyle/>
          <a:p>
            <a:endParaRPr lang="en-US"/>
          </a:p>
        </p:txBody>
      </p:sp>
      <p:sp>
        <p:nvSpPr>
          <p:cNvPr id="759" name="Freeform 1764"/>
          <p:cNvSpPr>
            <a:spLocks/>
          </p:cNvSpPr>
          <p:nvPr/>
        </p:nvSpPr>
        <p:spPr bwMode="auto">
          <a:xfrm>
            <a:off x="6140203" y="2488808"/>
            <a:ext cx="20066" cy="28020"/>
          </a:xfrm>
          <a:custGeom>
            <a:avLst/>
            <a:gdLst>
              <a:gd name="T0" fmla="*/ 2147483647 w 51"/>
              <a:gd name="T1" fmla="*/ 2147483647 h 65"/>
              <a:gd name="T2" fmla="*/ 2147483647 w 51"/>
              <a:gd name="T3" fmla="*/ 2147483647 h 65"/>
              <a:gd name="T4" fmla="*/ 2147483647 w 51"/>
              <a:gd name="T5" fmla="*/ 2147483647 h 65"/>
              <a:gd name="T6" fmla="*/ 2147483647 w 51"/>
              <a:gd name="T7" fmla="*/ 2147483647 h 65"/>
              <a:gd name="T8" fmla="*/ 2147483647 w 51"/>
              <a:gd name="T9" fmla="*/ 2147483647 h 65"/>
              <a:gd name="T10" fmla="*/ 2147483647 w 51"/>
              <a:gd name="T11" fmla="*/ 2147483647 h 65"/>
              <a:gd name="T12" fmla="*/ 2147483647 w 51"/>
              <a:gd name="T13" fmla="*/ 0 h 65"/>
              <a:gd name="T14" fmla="*/ 2147483647 w 51"/>
              <a:gd name="T15" fmla="*/ 2147483647 h 65"/>
              <a:gd name="T16" fmla="*/ 2147483647 w 51"/>
              <a:gd name="T17" fmla="*/ 2147483647 h 65"/>
              <a:gd name="T18" fmla="*/ 2147483647 w 51"/>
              <a:gd name="T19" fmla="*/ 2147483647 h 65"/>
              <a:gd name="T20" fmla="*/ 2147483647 w 51"/>
              <a:gd name="T21" fmla="*/ 2147483647 h 65"/>
              <a:gd name="T22" fmla="*/ 0 w 51"/>
              <a:gd name="T23" fmla="*/ 2147483647 h 65"/>
              <a:gd name="T24" fmla="*/ 2147483647 w 51"/>
              <a:gd name="T25" fmla="*/ 2147483647 h 65"/>
              <a:gd name="T26" fmla="*/ 2147483647 w 51"/>
              <a:gd name="T27" fmla="*/ 2147483647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65"/>
              <a:gd name="T44" fmla="*/ 51 w 51"/>
              <a:gd name="T45" fmla="*/ 65 h 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65">
                <a:moveTo>
                  <a:pt x="6" y="46"/>
                </a:moveTo>
                <a:lnTo>
                  <a:pt x="1" y="41"/>
                </a:lnTo>
                <a:lnTo>
                  <a:pt x="8" y="39"/>
                </a:lnTo>
                <a:lnTo>
                  <a:pt x="6" y="27"/>
                </a:lnTo>
                <a:lnTo>
                  <a:pt x="28" y="14"/>
                </a:lnTo>
                <a:lnTo>
                  <a:pt x="31" y="11"/>
                </a:lnTo>
                <a:lnTo>
                  <a:pt x="28" y="0"/>
                </a:lnTo>
                <a:lnTo>
                  <a:pt x="40" y="1"/>
                </a:lnTo>
                <a:lnTo>
                  <a:pt x="51" y="26"/>
                </a:lnTo>
                <a:lnTo>
                  <a:pt x="47" y="50"/>
                </a:lnTo>
                <a:lnTo>
                  <a:pt x="3" y="65"/>
                </a:lnTo>
                <a:lnTo>
                  <a:pt x="0" y="59"/>
                </a:lnTo>
                <a:lnTo>
                  <a:pt x="10" y="49"/>
                </a:lnTo>
                <a:lnTo>
                  <a:pt x="6" y="46"/>
                </a:lnTo>
                <a:close/>
              </a:path>
            </a:pathLst>
          </a:custGeom>
          <a:solidFill>
            <a:schemeClr val="accent1"/>
          </a:solidFill>
          <a:ln w="6350">
            <a:solidFill>
              <a:schemeClr val="tx2"/>
            </a:solidFill>
            <a:round/>
            <a:headEnd/>
            <a:tailEnd/>
          </a:ln>
        </p:spPr>
        <p:txBody>
          <a:bodyPr/>
          <a:lstStyle/>
          <a:p>
            <a:endParaRPr lang="en-US"/>
          </a:p>
        </p:txBody>
      </p:sp>
      <p:sp>
        <p:nvSpPr>
          <p:cNvPr id="760" name="Freeform 1765"/>
          <p:cNvSpPr>
            <a:spLocks/>
          </p:cNvSpPr>
          <p:nvPr/>
        </p:nvSpPr>
        <p:spPr bwMode="auto">
          <a:xfrm>
            <a:off x="6163137" y="2474797"/>
            <a:ext cx="17201" cy="16558"/>
          </a:xfrm>
          <a:custGeom>
            <a:avLst/>
            <a:gdLst>
              <a:gd name="T0" fmla="*/ 2147483647 w 39"/>
              <a:gd name="T1" fmla="*/ 2147483647 h 39"/>
              <a:gd name="T2" fmla="*/ 2147483647 w 39"/>
              <a:gd name="T3" fmla="*/ 2147483647 h 39"/>
              <a:gd name="T4" fmla="*/ 2147483647 w 39"/>
              <a:gd name="T5" fmla="*/ 0 h 39"/>
              <a:gd name="T6" fmla="*/ 2147483647 w 39"/>
              <a:gd name="T7" fmla="*/ 2147483647 h 39"/>
              <a:gd name="T8" fmla="*/ 2147483647 w 39"/>
              <a:gd name="T9" fmla="*/ 2147483647 h 39"/>
              <a:gd name="T10" fmla="*/ 2147483647 w 39"/>
              <a:gd name="T11" fmla="*/ 2147483647 h 39"/>
              <a:gd name="T12" fmla="*/ 0 w 39"/>
              <a:gd name="T13" fmla="*/ 2147483647 h 39"/>
              <a:gd name="T14" fmla="*/ 2147483647 w 39"/>
              <a:gd name="T15" fmla="*/ 2147483647 h 39"/>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9"/>
              <a:gd name="T26" fmla="*/ 39 w 39"/>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9">
                <a:moveTo>
                  <a:pt x="8" y="20"/>
                </a:moveTo>
                <a:lnTo>
                  <a:pt x="26" y="16"/>
                </a:lnTo>
                <a:lnTo>
                  <a:pt x="28" y="0"/>
                </a:lnTo>
                <a:lnTo>
                  <a:pt x="39" y="11"/>
                </a:lnTo>
                <a:lnTo>
                  <a:pt x="32" y="31"/>
                </a:lnTo>
                <a:lnTo>
                  <a:pt x="13" y="39"/>
                </a:lnTo>
                <a:lnTo>
                  <a:pt x="0" y="35"/>
                </a:lnTo>
                <a:lnTo>
                  <a:pt x="8" y="20"/>
                </a:lnTo>
                <a:close/>
              </a:path>
            </a:pathLst>
          </a:custGeom>
          <a:solidFill>
            <a:schemeClr val="accent1"/>
          </a:solidFill>
          <a:ln w="6350">
            <a:solidFill>
              <a:schemeClr val="tx2"/>
            </a:solidFill>
            <a:round/>
            <a:headEnd/>
            <a:tailEnd/>
          </a:ln>
        </p:spPr>
        <p:txBody>
          <a:bodyPr/>
          <a:lstStyle/>
          <a:p>
            <a:endParaRPr lang="en-US"/>
          </a:p>
        </p:txBody>
      </p:sp>
      <p:sp>
        <p:nvSpPr>
          <p:cNvPr id="761" name="Freeform 1766"/>
          <p:cNvSpPr>
            <a:spLocks/>
          </p:cNvSpPr>
          <p:nvPr/>
        </p:nvSpPr>
        <p:spPr bwMode="auto">
          <a:xfrm>
            <a:off x="6180336" y="2465881"/>
            <a:ext cx="14334" cy="11462"/>
          </a:xfrm>
          <a:custGeom>
            <a:avLst/>
            <a:gdLst>
              <a:gd name="T0" fmla="*/ 2147483647 w 31"/>
              <a:gd name="T1" fmla="*/ 0 h 28"/>
              <a:gd name="T2" fmla="*/ 2147483647 w 31"/>
              <a:gd name="T3" fmla="*/ 2147483647 h 28"/>
              <a:gd name="T4" fmla="*/ 2147483647 w 31"/>
              <a:gd name="T5" fmla="*/ 2147483647 h 28"/>
              <a:gd name="T6" fmla="*/ 0 w 31"/>
              <a:gd name="T7" fmla="*/ 2147483647 h 28"/>
              <a:gd name="T8" fmla="*/ 2147483647 w 31"/>
              <a:gd name="T9" fmla="*/ 0 h 28"/>
              <a:gd name="T10" fmla="*/ 0 60000 65536"/>
              <a:gd name="T11" fmla="*/ 0 60000 65536"/>
              <a:gd name="T12" fmla="*/ 0 60000 65536"/>
              <a:gd name="T13" fmla="*/ 0 60000 65536"/>
              <a:gd name="T14" fmla="*/ 0 60000 65536"/>
              <a:gd name="T15" fmla="*/ 0 w 31"/>
              <a:gd name="T16" fmla="*/ 0 h 28"/>
              <a:gd name="T17" fmla="*/ 31 w 31"/>
              <a:gd name="T18" fmla="*/ 28 h 28"/>
            </a:gdLst>
            <a:ahLst/>
            <a:cxnLst>
              <a:cxn ang="T10">
                <a:pos x="T0" y="T1"/>
              </a:cxn>
              <a:cxn ang="T11">
                <a:pos x="T2" y="T3"/>
              </a:cxn>
              <a:cxn ang="T12">
                <a:pos x="T4" y="T5"/>
              </a:cxn>
              <a:cxn ang="T13">
                <a:pos x="T6" y="T7"/>
              </a:cxn>
              <a:cxn ang="T14">
                <a:pos x="T8" y="T9"/>
              </a:cxn>
            </a:cxnLst>
            <a:rect l="T15" t="T16" r="T17" b="T18"/>
            <a:pathLst>
              <a:path w="31" h="28">
                <a:moveTo>
                  <a:pt x="1" y="0"/>
                </a:moveTo>
                <a:lnTo>
                  <a:pt x="31" y="6"/>
                </a:lnTo>
                <a:lnTo>
                  <a:pt x="16" y="28"/>
                </a:lnTo>
                <a:lnTo>
                  <a:pt x="0" y="15"/>
                </a:lnTo>
                <a:lnTo>
                  <a:pt x="1" y="0"/>
                </a:lnTo>
                <a:close/>
              </a:path>
            </a:pathLst>
          </a:custGeom>
          <a:solidFill>
            <a:schemeClr val="accent1"/>
          </a:solidFill>
          <a:ln w="6350">
            <a:solidFill>
              <a:schemeClr val="tx2"/>
            </a:solidFill>
            <a:round/>
            <a:headEnd/>
            <a:tailEnd/>
          </a:ln>
        </p:spPr>
        <p:txBody>
          <a:bodyPr/>
          <a:lstStyle/>
          <a:p>
            <a:endParaRPr lang="en-US"/>
          </a:p>
        </p:txBody>
      </p:sp>
      <p:sp>
        <p:nvSpPr>
          <p:cNvPr id="762" name="Freeform 1767"/>
          <p:cNvSpPr>
            <a:spLocks/>
          </p:cNvSpPr>
          <p:nvPr/>
        </p:nvSpPr>
        <p:spPr bwMode="auto">
          <a:xfrm>
            <a:off x="6194670" y="2454418"/>
            <a:ext cx="8600" cy="8916"/>
          </a:xfrm>
          <a:custGeom>
            <a:avLst/>
            <a:gdLst>
              <a:gd name="T0" fmla="*/ 2147483647 w 22"/>
              <a:gd name="T1" fmla="*/ 2147483647 h 21"/>
              <a:gd name="T2" fmla="*/ 2147483647 w 22"/>
              <a:gd name="T3" fmla="*/ 2147483647 h 21"/>
              <a:gd name="T4" fmla="*/ 2147483647 w 22"/>
              <a:gd name="T5" fmla="*/ 2147483647 h 21"/>
              <a:gd name="T6" fmla="*/ 0 w 22"/>
              <a:gd name="T7" fmla="*/ 0 h 21"/>
              <a:gd name="T8" fmla="*/ 2147483647 w 22"/>
              <a:gd name="T9" fmla="*/ 2147483647 h 21"/>
              <a:gd name="T10" fmla="*/ 0 60000 65536"/>
              <a:gd name="T11" fmla="*/ 0 60000 65536"/>
              <a:gd name="T12" fmla="*/ 0 60000 65536"/>
              <a:gd name="T13" fmla="*/ 0 60000 65536"/>
              <a:gd name="T14" fmla="*/ 0 60000 65536"/>
              <a:gd name="T15" fmla="*/ 0 w 22"/>
              <a:gd name="T16" fmla="*/ 0 h 21"/>
              <a:gd name="T17" fmla="*/ 22 w 22"/>
              <a:gd name="T18" fmla="*/ 21 h 21"/>
            </a:gdLst>
            <a:ahLst/>
            <a:cxnLst>
              <a:cxn ang="T10">
                <a:pos x="T0" y="T1"/>
              </a:cxn>
              <a:cxn ang="T11">
                <a:pos x="T2" y="T3"/>
              </a:cxn>
              <a:cxn ang="T12">
                <a:pos x="T4" y="T5"/>
              </a:cxn>
              <a:cxn ang="T13">
                <a:pos x="T6" y="T7"/>
              </a:cxn>
              <a:cxn ang="T14">
                <a:pos x="T8" y="T9"/>
              </a:cxn>
            </a:cxnLst>
            <a:rect l="T15" t="T16" r="T17" b="T18"/>
            <a:pathLst>
              <a:path w="22" h="21">
                <a:moveTo>
                  <a:pt x="11" y="9"/>
                </a:moveTo>
                <a:lnTo>
                  <a:pt x="22" y="20"/>
                </a:lnTo>
                <a:lnTo>
                  <a:pt x="7" y="21"/>
                </a:lnTo>
                <a:lnTo>
                  <a:pt x="0" y="0"/>
                </a:lnTo>
                <a:lnTo>
                  <a:pt x="11" y="9"/>
                </a:lnTo>
                <a:close/>
              </a:path>
            </a:pathLst>
          </a:custGeom>
          <a:solidFill>
            <a:schemeClr val="accent1"/>
          </a:solidFill>
          <a:ln w="6350">
            <a:solidFill>
              <a:schemeClr val="tx2"/>
            </a:solidFill>
            <a:round/>
            <a:headEnd/>
            <a:tailEnd/>
          </a:ln>
        </p:spPr>
        <p:txBody>
          <a:bodyPr/>
          <a:lstStyle/>
          <a:p>
            <a:endParaRPr lang="en-US"/>
          </a:p>
        </p:txBody>
      </p:sp>
      <p:sp>
        <p:nvSpPr>
          <p:cNvPr id="763" name="Freeform 1768"/>
          <p:cNvSpPr>
            <a:spLocks/>
          </p:cNvSpPr>
          <p:nvPr/>
        </p:nvSpPr>
        <p:spPr bwMode="auto">
          <a:xfrm>
            <a:off x="6211870" y="2455693"/>
            <a:ext cx="7166" cy="8915"/>
          </a:xfrm>
          <a:custGeom>
            <a:avLst/>
            <a:gdLst>
              <a:gd name="T0" fmla="*/ 2147483647 w 14"/>
              <a:gd name="T1" fmla="*/ 0 h 21"/>
              <a:gd name="T2" fmla="*/ 2147483647 w 14"/>
              <a:gd name="T3" fmla="*/ 2147483647 h 21"/>
              <a:gd name="T4" fmla="*/ 2147483647 w 14"/>
              <a:gd name="T5" fmla="*/ 2147483647 h 21"/>
              <a:gd name="T6" fmla="*/ 0 w 14"/>
              <a:gd name="T7" fmla="*/ 2147483647 h 21"/>
              <a:gd name="T8" fmla="*/ 2147483647 w 14"/>
              <a:gd name="T9" fmla="*/ 0 h 21"/>
              <a:gd name="T10" fmla="*/ 0 60000 65536"/>
              <a:gd name="T11" fmla="*/ 0 60000 65536"/>
              <a:gd name="T12" fmla="*/ 0 60000 65536"/>
              <a:gd name="T13" fmla="*/ 0 60000 65536"/>
              <a:gd name="T14" fmla="*/ 0 60000 65536"/>
              <a:gd name="T15" fmla="*/ 0 w 14"/>
              <a:gd name="T16" fmla="*/ 0 h 21"/>
              <a:gd name="T17" fmla="*/ 14 w 14"/>
              <a:gd name="T18" fmla="*/ 21 h 21"/>
            </a:gdLst>
            <a:ahLst/>
            <a:cxnLst>
              <a:cxn ang="T10">
                <a:pos x="T0" y="T1"/>
              </a:cxn>
              <a:cxn ang="T11">
                <a:pos x="T2" y="T3"/>
              </a:cxn>
              <a:cxn ang="T12">
                <a:pos x="T4" y="T5"/>
              </a:cxn>
              <a:cxn ang="T13">
                <a:pos x="T6" y="T7"/>
              </a:cxn>
              <a:cxn ang="T14">
                <a:pos x="T8" y="T9"/>
              </a:cxn>
            </a:cxnLst>
            <a:rect l="T15" t="T16" r="T17" b="T18"/>
            <a:pathLst>
              <a:path w="14" h="21">
                <a:moveTo>
                  <a:pt x="9" y="0"/>
                </a:moveTo>
                <a:lnTo>
                  <a:pt x="14" y="5"/>
                </a:lnTo>
                <a:lnTo>
                  <a:pt x="11" y="21"/>
                </a:lnTo>
                <a:lnTo>
                  <a:pt x="0" y="16"/>
                </a:lnTo>
                <a:lnTo>
                  <a:pt x="9" y="0"/>
                </a:lnTo>
                <a:close/>
              </a:path>
            </a:pathLst>
          </a:custGeom>
          <a:solidFill>
            <a:schemeClr val="accent1"/>
          </a:solidFill>
          <a:ln w="6350">
            <a:solidFill>
              <a:schemeClr val="tx2"/>
            </a:solidFill>
            <a:round/>
            <a:headEnd/>
            <a:tailEnd/>
          </a:ln>
        </p:spPr>
        <p:txBody>
          <a:bodyPr/>
          <a:lstStyle/>
          <a:p>
            <a:endParaRPr lang="en-US"/>
          </a:p>
        </p:txBody>
      </p:sp>
      <p:sp>
        <p:nvSpPr>
          <p:cNvPr id="764" name="Freeform 1769"/>
          <p:cNvSpPr>
            <a:spLocks/>
          </p:cNvSpPr>
          <p:nvPr/>
        </p:nvSpPr>
        <p:spPr bwMode="auto">
          <a:xfrm>
            <a:off x="6253437" y="2450598"/>
            <a:ext cx="10034" cy="3820"/>
          </a:xfrm>
          <a:custGeom>
            <a:avLst/>
            <a:gdLst>
              <a:gd name="T0" fmla="*/ 2147483647 w 21"/>
              <a:gd name="T1" fmla="*/ 2147483647 h 13"/>
              <a:gd name="T2" fmla="*/ 0 w 21"/>
              <a:gd name="T3" fmla="*/ 0 h 13"/>
              <a:gd name="T4" fmla="*/ 2147483647 w 21"/>
              <a:gd name="T5" fmla="*/ 0 h 13"/>
              <a:gd name="T6" fmla="*/ 2147483647 w 21"/>
              <a:gd name="T7" fmla="*/ 2147483647 h 13"/>
              <a:gd name="T8" fmla="*/ 2147483647 w 21"/>
              <a:gd name="T9" fmla="*/ 2147483647 h 13"/>
              <a:gd name="T10" fmla="*/ 0 60000 65536"/>
              <a:gd name="T11" fmla="*/ 0 60000 65536"/>
              <a:gd name="T12" fmla="*/ 0 60000 65536"/>
              <a:gd name="T13" fmla="*/ 0 60000 65536"/>
              <a:gd name="T14" fmla="*/ 0 60000 65536"/>
              <a:gd name="T15" fmla="*/ 0 w 21"/>
              <a:gd name="T16" fmla="*/ 0 h 13"/>
              <a:gd name="T17" fmla="*/ 21 w 21"/>
              <a:gd name="T18" fmla="*/ 13 h 13"/>
            </a:gdLst>
            <a:ahLst/>
            <a:cxnLst>
              <a:cxn ang="T10">
                <a:pos x="T0" y="T1"/>
              </a:cxn>
              <a:cxn ang="T11">
                <a:pos x="T2" y="T3"/>
              </a:cxn>
              <a:cxn ang="T12">
                <a:pos x="T4" y="T5"/>
              </a:cxn>
              <a:cxn ang="T13">
                <a:pos x="T6" y="T7"/>
              </a:cxn>
              <a:cxn ang="T14">
                <a:pos x="T8" y="T9"/>
              </a:cxn>
            </a:cxnLst>
            <a:rect l="T15" t="T16" r="T17" b="T18"/>
            <a:pathLst>
              <a:path w="21" h="13">
                <a:moveTo>
                  <a:pt x="12" y="13"/>
                </a:moveTo>
                <a:lnTo>
                  <a:pt x="0" y="0"/>
                </a:lnTo>
                <a:lnTo>
                  <a:pt x="16" y="0"/>
                </a:lnTo>
                <a:lnTo>
                  <a:pt x="21" y="11"/>
                </a:lnTo>
                <a:lnTo>
                  <a:pt x="12" y="13"/>
                </a:lnTo>
                <a:close/>
              </a:path>
            </a:pathLst>
          </a:custGeom>
          <a:solidFill>
            <a:schemeClr val="accent1"/>
          </a:solidFill>
          <a:ln w="6350">
            <a:solidFill>
              <a:schemeClr val="tx2"/>
            </a:solidFill>
            <a:round/>
            <a:headEnd/>
            <a:tailEnd/>
          </a:ln>
        </p:spPr>
        <p:txBody>
          <a:bodyPr/>
          <a:lstStyle/>
          <a:p>
            <a:endParaRPr lang="en-US"/>
          </a:p>
        </p:txBody>
      </p:sp>
      <p:sp>
        <p:nvSpPr>
          <p:cNvPr id="765" name="Freeform 1770"/>
          <p:cNvSpPr>
            <a:spLocks/>
          </p:cNvSpPr>
          <p:nvPr/>
        </p:nvSpPr>
        <p:spPr bwMode="auto">
          <a:xfrm>
            <a:off x="6244836" y="2428945"/>
            <a:ext cx="21500" cy="14011"/>
          </a:xfrm>
          <a:custGeom>
            <a:avLst/>
            <a:gdLst>
              <a:gd name="T0" fmla="*/ 2147483647 w 46"/>
              <a:gd name="T1" fmla="*/ 2147483647 h 33"/>
              <a:gd name="T2" fmla="*/ 2147483647 w 46"/>
              <a:gd name="T3" fmla="*/ 0 h 33"/>
              <a:gd name="T4" fmla="*/ 2147483647 w 46"/>
              <a:gd name="T5" fmla="*/ 2147483647 h 33"/>
              <a:gd name="T6" fmla="*/ 2147483647 w 46"/>
              <a:gd name="T7" fmla="*/ 2147483647 h 33"/>
              <a:gd name="T8" fmla="*/ 2147483647 w 46"/>
              <a:gd name="T9" fmla="*/ 2147483647 h 33"/>
              <a:gd name="T10" fmla="*/ 0 w 46"/>
              <a:gd name="T11" fmla="*/ 2147483647 h 33"/>
              <a:gd name="T12" fmla="*/ 2147483647 w 46"/>
              <a:gd name="T13" fmla="*/ 2147483647 h 33"/>
              <a:gd name="T14" fmla="*/ 0 60000 65536"/>
              <a:gd name="T15" fmla="*/ 0 60000 65536"/>
              <a:gd name="T16" fmla="*/ 0 60000 65536"/>
              <a:gd name="T17" fmla="*/ 0 60000 65536"/>
              <a:gd name="T18" fmla="*/ 0 60000 65536"/>
              <a:gd name="T19" fmla="*/ 0 60000 65536"/>
              <a:gd name="T20" fmla="*/ 0 60000 65536"/>
              <a:gd name="T21" fmla="*/ 0 w 46"/>
              <a:gd name="T22" fmla="*/ 0 h 33"/>
              <a:gd name="T23" fmla="*/ 46 w 46"/>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33">
                <a:moveTo>
                  <a:pt x="14" y="8"/>
                </a:moveTo>
                <a:lnTo>
                  <a:pt x="36" y="0"/>
                </a:lnTo>
                <a:lnTo>
                  <a:pt x="46" y="11"/>
                </a:lnTo>
                <a:lnTo>
                  <a:pt x="37" y="26"/>
                </a:lnTo>
                <a:lnTo>
                  <a:pt x="9" y="33"/>
                </a:lnTo>
                <a:lnTo>
                  <a:pt x="0" y="16"/>
                </a:lnTo>
                <a:lnTo>
                  <a:pt x="14" y="8"/>
                </a:lnTo>
                <a:close/>
              </a:path>
            </a:pathLst>
          </a:custGeom>
          <a:solidFill>
            <a:schemeClr val="accent1"/>
          </a:solidFill>
          <a:ln w="6350">
            <a:solidFill>
              <a:schemeClr val="tx2"/>
            </a:solidFill>
            <a:round/>
            <a:headEnd/>
            <a:tailEnd/>
          </a:ln>
        </p:spPr>
        <p:txBody>
          <a:bodyPr/>
          <a:lstStyle/>
          <a:p>
            <a:endParaRPr lang="en-US"/>
          </a:p>
        </p:txBody>
      </p:sp>
      <p:sp>
        <p:nvSpPr>
          <p:cNvPr id="766" name="Freeform 1771"/>
          <p:cNvSpPr>
            <a:spLocks/>
          </p:cNvSpPr>
          <p:nvPr/>
        </p:nvSpPr>
        <p:spPr bwMode="auto">
          <a:xfrm>
            <a:off x="6263470" y="2437861"/>
            <a:ext cx="11467" cy="12737"/>
          </a:xfrm>
          <a:custGeom>
            <a:avLst/>
            <a:gdLst>
              <a:gd name="T0" fmla="*/ 2147483647 w 27"/>
              <a:gd name="T1" fmla="*/ 2147483647 h 34"/>
              <a:gd name="T2" fmla="*/ 2147483647 w 27"/>
              <a:gd name="T3" fmla="*/ 2147483647 h 34"/>
              <a:gd name="T4" fmla="*/ 0 w 27"/>
              <a:gd name="T5" fmla="*/ 2147483647 h 34"/>
              <a:gd name="T6" fmla="*/ 2147483647 w 27"/>
              <a:gd name="T7" fmla="*/ 0 h 34"/>
              <a:gd name="T8" fmla="*/ 2147483647 w 27"/>
              <a:gd name="T9" fmla="*/ 2147483647 h 34"/>
              <a:gd name="T10" fmla="*/ 2147483647 w 27"/>
              <a:gd name="T11" fmla="*/ 2147483647 h 34"/>
              <a:gd name="T12" fmla="*/ 0 60000 65536"/>
              <a:gd name="T13" fmla="*/ 0 60000 65536"/>
              <a:gd name="T14" fmla="*/ 0 60000 65536"/>
              <a:gd name="T15" fmla="*/ 0 60000 65536"/>
              <a:gd name="T16" fmla="*/ 0 60000 65536"/>
              <a:gd name="T17" fmla="*/ 0 60000 65536"/>
              <a:gd name="T18" fmla="*/ 0 w 27"/>
              <a:gd name="T19" fmla="*/ 0 h 34"/>
              <a:gd name="T20" fmla="*/ 27 w 27"/>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7" h="34">
                <a:moveTo>
                  <a:pt x="19" y="30"/>
                </a:moveTo>
                <a:lnTo>
                  <a:pt x="5" y="34"/>
                </a:lnTo>
                <a:lnTo>
                  <a:pt x="0" y="14"/>
                </a:lnTo>
                <a:lnTo>
                  <a:pt x="20" y="0"/>
                </a:lnTo>
                <a:lnTo>
                  <a:pt x="27" y="14"/>
                </a:lnTo>
                <a:lnTo>
                  <a:pt x="19" y="30"/>
                </a:lnTo>
                <a:close/>
              </a:path>
            </a:pathLst>
          </a:custGeom>
          <a:solidFill>
            <a:schemeClr val="accent1"/>
          </a:solidFill>
          <a:ln w="6350">
            <a:solidFill>
              <a:schemeClr val="tx2"/>
            </a:solidFill>
            <a:round/>
            <a:headEnd/>
            <a:tailEnd/>
          </a:ln>
        </p:spPr>
        <p:txBody>
          <a:bodyPr/>
          <a:lstStyle/>
          <a:p>
            <a:endParaRPr lang="en-US"/>
          </a:p>
        </p:txBody>
      </p:sp>
      <p:sp>
        <p:nvSpPr>
          <p:cNvPr id="767" name="Freeform 1772"/>
          <p:cNvSpPr>
            <a:spLocks/>
          </p:cNvSpPr>
          <p:nvPr/>
        </p:nvSpPr>
        <p:spPr bwMode="auto">
          <a:xfrm>
            <a:off x="6277804" y="2430219"/>
            <a:ext cx="8600" cy="11462"/>
          </a:xfrm>
          <a:custGeom>
            <a:avLst/>
            <a:gdLst>
              <a:gd name="T0" fmla="*/ 2147483647 w 16"/>
              <a:gd name="T1" fmla="*/ 2147483647 h 26"/>
              <a:gd name="T2" fmla="*/ 2147483647 w 16"/>
              <a:gd name="T3" fmla="*/ 2147483647 h 26"/>
              <a:gd name="T4" fmla="*/ 0 w 16"/>
              <a:gd name="T5" fmla="*/ 0 h 26"/>
              <a:gd name="T6" fmla="*/ 2147483647 w 16"/>
              <a:gd name="T7" fmla="*/ 2147483647 h 26"/>
              <a:gd name="T8" fmla="*/ 2147483647 w 16"/>
              <a:gd name="T9" fmla="*/ 2147483647 h 26"/>
              <a:gd name="T10" fmla="*/ 2147483647 w 16"/>
              <a:gd name="T11" fmla="*/ 2147483647 h 26"/>
              <a:gd name="T12" fmla="*/ 0 60000 65536"/>
              <a:gd name="T13" fmla="*/ 0 60000 65536"/>
              <a:gd name="T14" fmla="*/ 0 60000 65536"/>
              <a:gd name="T15" fmla="*/ 0 60000 65536"/>
              <a:gd name="T16" fmla="*/ 0 60000 65536"/>
              <a:gd name="T17" fmla="*/ 0 60000 65536"/>
              <a:gd name="T18" fmla="*/ 0 w 16"/>
              <a:gd name="T19" fmla="*/ 0 h 26"/>
              <a:gd name="T20" fmla="*/ 16 w 1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6" h="26">
                <a:moveTo>
                  <a:pt x="11" y="23"/>
                </a:moveTo>
                <a:lnTo>
                  <a:pt x="8" y="26"/>
                </a:lnTo>
                <a:lnTo>
                  <a:pt x="0" y="0"/>
                </a:lnTo>
                <a:lnTo>
                  <a:pt x="14" y="6"/>
                </a:lnTo>
                <a:lnTo>
                  <a:pt x="16" y="22"/>
                </a:lnTo>
                <a:lnTo>
                  <a:pt x="11" y="23"/>
                </a:lnTo>
                <a:close/>
              </a:path>
            </a:pathLst>
          </a:custGeom>
          <a:solidFill>
            <a:schemeClr val="accent1"/>
          </a:solidFill>
          <a:ln w="6350">
            <a:solidFill>
              <a:schemeClr val="tx2"/>
            </a:solidFill>
            <a:round/>
            <a:headEnd/>
            <a:tailEnd/>
          </a:ln>
        </p:spPr>
        <p:txBody>
          <a:bodyPr/>
          <a:lstStyle/>
          <a:p>
            <a:endParaRPr lang="en-US"/>
          </a:p>
        </p:txBody>
      </p:sp>
      <p:sp>
        <p:nvSpPr>
          <p:cNvPr id="768" name="Freeform 1773"/>
          <p:cNvSpPr>
            <a:spLocks/>
          </p:cNvSpPr>
          <p:nvPr/>
        </p:nvSpPr>
        <p:spPr bwMode="auto">
          <a:xfrm>
            <a:off x="6309337" y="2407293"/>
            <a:ext cx="14334" cy="8915"/>
          </a:xfrm>
          <a:custGeom>
            <a:avLst/>
            <a:gdLst>
              <a:gd name="T0" fmla="*/ 2147483647 w 32"/>
              <a:gd name="T1" fmla="*/ 2147483647 h 21"/>
              <a:gd name="T2" fmla="*/ 2147483647 w 32"/>
              <a:gd name="T3" fmla="*/ 2147483647 h 21"/>
              <a:gd name="T4" fmla="*/ 0 w 32"/>
              <a:gd name="T5" fmla="*/ 2147483647 h 21"/>
              <a:gd name="T6" fmla="*/ 2147483647 w 32"/>
              <a:gd name="T7" fmla="*/ 0 h 21"/>
              <a:gd name="T8" fmla="*/ 2147483647 w 32"/>
              <a:gd name="T9" fmla="*/ 2147483647 h 21"/>
              <a:gd name="T10" fmla="*/ 0 60000 65536"/>
              <a:gd name="T11" fmla="*/ 0 60000 65536"/>
              <a:gd name="T12" fmla="*/ 0 60000 65536"/>
              <a:gd name="T13" fmla="*/ 0 60000 65536"/>
              <a:gd name="T14" fmla="*/ 0 60000 65536"/>
              <a:gd name="T15" fmla="*/ 0 w 32"/>
              <a:gd name="T16" fmla="*/ 0 h 21"/>
              <a:gd name="T17" fmla="*/ 32 w 32"/>
              <a:gd name="T18" fmla="*/ 21 h 21"/>
            </a:gdLst>
            <a:ahLst/>
            <a:cxnLst>
              <a:cxn ang="T10">
                <a:pos x="T0" y="T1"/>
              </a:cxn>
              <a:cxn ang="T11">
                <a:pos x="T2" y="T3"/>
              </a:cxn>
              <a:cxn ang="T12">
                <a:pos x="T4" y="T5"/>
              </a:cxn>
              <a:cxn ang="T13">
                <a:pos x="T6" y="T7"/>
              </a:cxn>
              <a:cxn ang="T14">
                <a:pos x="T8" y="T9"/>
              </a:cxn>
            </a:cxnLst>
            <a:rect l="T15" t="T16" r="T17" b="T18"/>
            <a:pathLst>
              <a:path w="32" h="21">
                <a:moveTo>
                  <a:pt x="25" y="6"/>
                </a:moveTo>
                <a:lnTo>
                  <a:pt x="32" y="21"/>
                </a:lnTo>
                <a:lnTo>
                  <a:pt x="0" y="13"/>
                </a:lnTo>
                <a:lnTo>
                  <a:pt x="16" y="0"/>
                </a:lnTo>
                <a:lnTo>
                  <a:pt x="25" y="6"/>
                </a:lnTo>
                <a:close/>
              </a:path>
            </a:pathLst>
          </a:custGeom>
          <a:solidFill>
            <a:schemeClr val="accent1"/>
          </a:solidFill>
          <a:ln w="6350">
            <a:solidFill>
              <a:schemeClr val="tx2"/>
            </a:solidFill>
            <a:round/>
            <a:headEnd/>
            <a:tailEnd/>
          </a:ln>
        </p:spPr>
        <p:txBody>
          <a:bodyPr/>
          <a:lstStyle/>
          <a:p>
            <a:endParaRPr lang="en-US"/>
          </a:p>
        </p:txBody>
      </p:sp>
      <p:sp>
        <p:nvSpPr>
          <p:cNvPr id="769" name="Freeform 1774"/>
          <p:cNvSpPr>
            <a:spLocks/>
          </p:cNvSpPr>
          <p:nvPr/>
        </p:nvSpPr>
        <p:spPr bwMode="auto">
          <a:xfrm>
            <a:off x="5971069" y="2755001"/>
            <a:ext cx="14334" cy="10189"/>
          </a:xfrm>
          <a:custGeom>
            <a:avLst/>
            <a:gdLst>
              <a:gd name="T0" fmla="*/ 0 w 33"/>
              <a:gd name="T1" fmla="*/ 2147483647 h 22"/>
              <a:gd name="T2" fmla="*/ 2147483647 w 33"/>
              <a:gd name="T3" fmla="*/ 0 h 22"/>
              <a:gd name="T4" fmla="*/ 2147483647 w 33"/>
              <a:gd name="T5" fmla="*/ 0 h 22"/>
              <a:gd name="T6" fmla="*/ 2147483647 w 33"/>
              <a:gd name="T7" fmla="*/ 2147483647 h 22"/>
              <a:gd name="T8" fmla="*/ 2147483647 w 33"/>
              <a:gd name="T9" fmla="*/ 2147483647 h 22"/>
              <a:gd name="T10" fmla="*/ 0 w 33"/>
              <a:gd name="T11" fmla="*/ 2147483647 h 22"/>
              <a:gd name="T12" fmla="*/ 0 60000 65536"/>
              <a:gd name="T13" fmla="*/ 0 60000 65536"/>
              <a:gd name="T14" fmla="*/ 0 60000 65536"/>
              <a:gd name="T15" fmla="*/ 0 60000 65536"/>
              <a:gd name="T16" fmla="*/ 0 60000 65536"/>
              <a:gd name="T17" fmla="*/ 0 60000 65536"/>
              <a:gd name="T18" fmla="*/ 0 w 33"/>
              <a:gd name="T19" fmla="*/ 0 h 22"/>
              <a:gd name="T20" fmla="*/ 33 w 3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3" h="22">
                <a:moveTo>
                  <a:pt x="0" y="13"/>
                </a:moveTo>
                <a:lnTo>
                  <a:pt x="22" y="0"/>
                </a:lnTo>
                <a:lnTo>
                  <a:pt x="29" y="0"/>
                </a:lnTo>
                <a:lnTo>
                  <a:pt x="33" y="12"/>
                </a:lnTo>
                <a:lnTo>
                  <a:pt x="6" y="22"/>
                </a:lnTo>
                <a:lnTo>
                  <a:pt x="0" y="13"/>
                </a:lnTo>
                <a:close/>
              </a:path>
            </a:pathLst>
          </a:custGeom>
          <a:solidFill>
            <a:schemeClr val="accent1"/>
          </a:solidFill>
          <a:ln w="6350">
            <a:solidFill>
              <a:schemeClr val="tx2"/>
            </a:solidFill>
            <a:round/>
            <a:headEnd/>
            <a:tailEnd/>
          </a:ln>
        </p:spPr>
        <p:txBody>
          <a:bodyPr/>
          <a:lstStyle/>
          <a:p>
            <a:endParaRPr lang="en-US"/>
          </a:p>
        </p:txBody>
      </p:sp>
      <p:sp>
        <p:nvSpPr>
          <p:cNvPr id="770" name="Freeform 1775"/>
          <p:cNvSpPr>
            <a:spLocks/>
          </p:cNvSpPr>
          <p:nvPr/>
        </p:nvSpPr>
        <p:spPr bwMode="auto">
          <a:xfrm>
            <a:off x="5916603" y="2807221"/>
            <a:ext cx="2866" cy="6368"/>
          </a:xfrm>
          <a:custGeom>
            <a:avLst/>
            <a:gdLst>
              <a:gd name="T0" fmla="*/ 2147483647 w 8"/>
              <a:gd name="T1" fmla="*/ 2147483647 h 14"/>
              <a:gd name="T2" fmla="*/ 2147483647 w 8"/>
              <a:gd name="T3" fmla="*/ 0 h 14"/>
              <a:gd name="T4" fmla="*/ 0 w 8"/>
              <a:gd name="T5" fmla="*/ 2147483647 h 14"/>
              <a:gd name="T6" fmla="*/ 2147483647 w 8"/>
              <a:gd name="T7" fmla="*/ 2147483647 h 14"/>
              <a:gd name="T8" fmla="*/ 0 60000 65536"/>
              <a:gd name="T9" fmla="*/ 0 60000 65536"/>
              <a:gd name="T10" fmla="*/ 0 60000 65536"/>
              <a:gd name="T11" fmla="*/ 0 60000 65536"/>
              <a:gd name="T12" fmla="*/ 0 w 8"/>
              <a:gd name="T13" fmla="*/ 0 h 14"/>
              <a:gd name="T14" fmla="*/ 8 w 8"/>
              <a:gd name="T15" fmla="*/ 14 h 14"/>
            </a:gdLst>
            <a:ahLst/>
            <a:cxnLst>
              <a:cxn ang="T8">
                <a:pos x="T0" y="T1"/>
              </a:cxn>
              <a:cxn ang="T9">
                <a:pos x="T2" y="T3"/>
              </a:cxn>
              <a:cxn ang="T10">
                <a:pos x="T4" y="T5"/>
              </a:cxn>
              <a:cxn ang="T11">
                <a:pos x="T6" y="T7"/>
              </a:cxn>
            </a:cxnLst>
            <a:rect l="T12" t="T13" r="T14" b="T15"/>
            <a:pathLst>
              <a:path w="8" h="14">
                <a:moveTo>
                  <a:pt x="4" y="14"/>
                </a:moveTo>
                <a:lnTo>
                  <a:pt x="8" y="0"/>
                </a:lnTo>
                <a:lnTo>
                  <a:pt x="0" y="2"/>
                </a:lnTo>
                <a:lnTo>
                  <a:pt x="4" y="14"/>
                </a:lnTo>
                <a:close/>
              </a:path>
            </a:pathLst>
          </a:custGeom>
          <a:solidFill>
            <a:schemeClr val="accent1"/>
          </a:solidFill>
          <a:ln w="6350">
            <a:solidFill>
              <a:schemeClr val="tx2"/>
            </a:solidFill>
            <a:round/>
            <a:headEnd/>
            <a:tailEnd/>
          </a:ln>
        </p:spPr>
        <p:txBody>
          <a:bodyPr/>
          <a:lstStyle/>
          <a:p>
            <a:endParaRPr lang="en-US"/>
          </a:p>
        </p:txBody>
      </p:sp>
      <p:sp>
        <p:nvSpPr>
          <p:cNvPr id="771" name="Freeform 1776"/>
          <p:cNvSpPr>
            <a:spLocks/>
          </p:cNvSpPr>
          <p:nvPr/>
        </p:nvSpPr>
        <p:spPr bwMode="auto">
          <a:xfrm>
            <a:off x="5905135" y="2898925"/>
            <a:ext cx="2866" cy="6368"/>
          </a:xfrm>
          <a:custGeom>
            <a:avLst/>
            <a:gdLst>
              <a:gd name="T0" fmla="*/ 2147483647 w 7"/>
              <a:gd name="T1" fmla="*/ 2147483647 h 17"/>
              <a:gd name="T2" fmla="*/ 2147483647 w 7"/>
              <a:gd name="T3" fmla="*/ 2147483647 h 17"/>
              <a:gd name="T4" fmla="*/ 2147483647 w 7"/>
              <a:gd name="T5" fmla="*/ 0 h 17"/>
              <a:gd name="T6" fmla="*/ 0 w 7"/>
              <a:gd name="T7" fmla="*/ 2147483647 h 17"/>
              <a:gd name="T8" fmla="*/ 2147483647 w 7"/>
              <a:gd name="T9" fmla="*/ 2147483647 h 17"/>
              <a:gd name="T10" fmla="*/ 0 60000 65536"/>
              <a:gd name="T11" fmla="*/ 0 60000 65536"/>
              <a:gd name="T12" fmla="*/ 0 60000 65536"/>
              <a:gd name="T13" fmla="*/ 0 60000 65536"/>
              <a:gd name="T14" fmla="*/ 0 60000 65536"/>
              <a:gd name="T15" fmla="*/ 0 w 7"/>
              <a:gd name="T16" fmla="*/ 0 h 17"/>
              <a:gd name="T17" fmla="*/ 7 w 7"/>
              <a:gd name="T18" fmla="*/ 17 h 17"/>
            </a:gdLst>
            <a:ahLst/>
            <a:cxnLst>
              <a:cxn ang="T10">
                <a:pos x="T0" y="T1"/>
              </a:cxn>
              <a:cxn ang="T11">
                <a:pos x="T2" y="T3"/>
              </a:cxn>
              <a:cxn ang="T12">
                <a:pos x="T4" y="T5"/>
              </a:cxn>
              <a:cxn ang="T13">
                <a:pos x="T6" y="T7"/>
              </a:cxn>
              <a:cxn ang="T14">
                <a:pos x="T8" y="T9"/>
              </a:cxn>
            </a:cxnLst>
            <a:rect l="T15" t="T16" r="T17" b="T18"/>
            <a:pathLst>
              <a:path w="7" h="17">
                <a:moveTo>
                  <a:pt x="7" y="17"/>
                </a:moveTo>
                <a:lnTo>
                  <a:pt x="7" y="4"/>
                </a:lnTo>
                <a:lnTo>
                  <a:pt x="1" y="0"/>
                </a:lnTo>
                <a:lnTo>
                  <a:pt x="0" y="12"/>
                </a:lnTo>
                <a:lnTo>
                  <a:pt x="7" y="17"/>
                </a:lnTo>
                <a:close/>
              </a:path>
            </a:pathLst>
          </a:custGeom>
          <a:solidFill>
            <a:schemeClr val="accent1"/>
          </a:solidFill>
          <a:ln w="6350">
            <a:solidFill>
              <a:schemeClr val="tx2"/>
            </a:solidFill>
            <a:round/>
            <a:headEnd/>
            <a:tailEnd/>
          </a:ln>
        </p:spPr>
        <p:txBody>
          <a:bodyPr/>
          <a:lstStyle/>
          <a:p>
            <a:endParaRPr lang="en-US"/>
          </a:p>
        </p:txBody>
      </p:sp>
      <p:sp>
        <p:nvSpPr>
          <p:cNvPr id="772" name="Freeform 1777"/>
          <p:cNvSpPr>
            <a:spLocks/>
          </p:cNvSpPr>
          <p:nvPr/>
        </p:nvSpPr>
        <p:spPr bwMode="auto">
          <a:xfrm>
            <a:off x="5902269" y="2919304"/>
            <a:ext cx="2866" cy="7642"/>
          </a:xfrm>
          <a:custGeom>
            <a:avLst/>
            <a:gdLst>
              <a:gd name="T0" fmla="*/ 2147483647 w 4"/>
              <a:gd name="T1" fmla="*/ 2147483647 h 16"/>
              <a:gd name="T2" fmla="*/ 2147483647 w 4"/>
              <a:gd name="T3" fmla="*/ 0 h 16"/>
              <a:gd name="T4" fmla="*/ 0 w 4"/>
              <a:gd name="T5" fmla="*/ 2147483647 h 16"/>
              <a:gd name="T6" fmla="*/ 2147483647 w 4"/>
              <a:gd name="T7" fmla="*/ 2147483647 h 16"/>
              <a:gd name="T8" fmla="*/ 0 60000 65536"/>
              <a:gd name="T9" fmla="*/ 0 60000 65536"/>
              <a:gd name="T10" fmla="*/ 0 60000 65536"/>
              <a:gd name="T11" fmla="*/ 0 60000 65536"/>
              <a:gd name="T12" fmla="*/ 0 w 4"/>
              <a:gd name="T13" fmla="*/ 0 h 16"/>
              <a:gd name="T14" fmla="*/ 4 w 4"/>
              <a:gd name="T15" fmla="*/ 16 h 16"/>
            </a:gdLst>
            <a:ahLst/>
            <a:cxnLst>
              <a:cxn ang="T8">
                <a:pos x="T0" y="T1"/>
              </a:cxn>
              <a:cxn ang="T9">
                <a:pos x="T2" y="T3"/>
              </a:cxn>
              <a:cxn ang="T10">
                <a:pos x="T4" y="T5"/>
              </a:cxn>
              <a:cxn ang="T11">
                <a:pos x="T6" y="T7"/>
              </a:cxn>
            </a:cxnLst>
            <a:rect l="T12" t="T13" r="T14" b="T15"/>
            <a:pathLst>
              <a:path w="4" h="16">
                <a:moveTo>
                  <a:pt x="4" y="16"/>
                </a:moveTo>
                <a:lnTo>
                  <a:pt x="2" y="0"/>
                </a:lnTo>
                <a:lnTo>
                  <a:pt x="0" y="16"/>
                </a:lnTo>
                <a:lnTo>
                  <a:pt x="4" y="16"/>
                </a:lnTo>
                <a:close/>
              </a:path>
            </a:pathLst>
          </a:custGeom>
          <a:solidFill>
            <a:schemeClr val="accent1"/>
          </a:solidFill>
          <a:ln w="6350">
            <a:solidFill>
              <a:schemeClr val="tx2"/>
            </a:solidFill>
            <a:round/>
            <a:headEnd/>
            <a:tailEnd/>
          </a:ln>
        </p:spPr>
        <p:txBody>
          <a:bodyPr/>
          <a:lstStyle/>
          <a:p>
            <a:endParaRPr lang="en-US"/>
          </a:p>
        </p:txBody>
      </p:sp>
      <p:sp>
        <p:nvSpPr>
          <p:cNvPr id="773" name="Freeform 1795"/>
          <p:cNvSpPr>
            <a:spLocks/>
          </p:cNvSpPr>
          <p:nvPr/>
        </p:nvSpPr>
        <p:spPr bwMode="auto">
          <a:xfrm>
            <a:off x="5767535" y="2874725"/>
            <a:ext cx="11467" cy="25473"/>
          </a:xfrm>
          <a:custGeom>
            <a:avLst/>
            <a:gdLst>
              <a:gd name="T0" fmla="*/ 2147483647 w 22"/>
              <a:gd name="T1" fmla="*/ 0 h 65"/>
              <a:gd name="T2" fmla="*/ 2147483647 w 22"/>
              <a:gd name="T3" fmla="*/ 2147483647 h 65"/>
              <a:gd name="T4" fmla="*/ 2147483647 w 22"/>
              <a:gd name="T5" fmla="*/ 2147483647 h 65"/>
              <a:gd name="T6" fmla="*/ 0 w 22"/>
              <a:gd name="T7" fmla="*/ 2147483647 h 65"/>
              <a:gd name="T8" fmla="*/ 2147483647 w 22"/>
              <a:gd name="T9" fmla="*/ 2147483647 h 65"/>
              <a:gd name="T10" fmla="*/ 2147483647 w 22"/>
              <a:gd name="T11" fmla="*/ 2147483647 h 65"/>
              <a:gd name="T12" fmla="*/ 2147483647 w 22"/>
              <a:gd name="T13" fmla="*/ 2147483647 h 65"/>
              <a:gd name="T14" fmla="*/ 2147483647 w 22"/>
              <a:gd name="T15" fmla="*/ 2147483647 h 65"/>
              <a:gd name="T16" fmla="*/ 2147483647 w 22"/>
              <a:gd name="T17" fmla="*/ 2147483647 h 65"/>
              <a:gd name="T18" fmla="*/ 2147483647 w 22"/>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65"/>
              <a:gd name="T32" fmla="*/ 22 w 22"/>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65">
                <a:moveTo>
                  <a:pt x="13" y="0"/>
                </a:moveTo>
                <a:lnTo>
                  <a:pt x="3" y="10"/>
                </a:lnTo>
                <a:lnTo>
                  <a:pt x="8" y="25"/>
                </a:lnTo>
                <a:lnTo>
                  <a:pt x="0" y="33"/>
                </a:lnTo>
                <a:lnTo>
                  <a:pt x="13" y="40"/>
                </a:lnTo>
                <a:lnTo>
                  <a:pt x="10" y="65"/>
                </a:lnTo>
                <a:lnTo>
                  <a:pt x="19" y="53"/>
                </a:lnTo>
                <a:lnTo>
                  <a:pt x="22" y="18"/>
                </a:lnTo>
                <a:lnTo>
                  <a:pt x="14" y="14"/>
                </a:lnTo>
                <a:lnTo>
                  <a:pt x="13" y="0"/>
                </a:lnTo>
                <a:close/>
              </a:path>
            </a:pathLst>
          </a:custGeom>
          <a:solidFill>
            <a:schemeClr val="accent1"/>
          </a:solidFill>
          <a:ln w="6350">
            <a:solidFill>
              <a:schemeClr val="tx2"/>
            </a:solidFill>
            <a:round/>
            <a:headEnd/>
            <a:tailEnd/>
          </a:ln>
        </p:spPr>
        <p:txBody>
          <a:bodyPr/>
          <a:lstStyle/>
          <a:p>
            <a:endParaRPr lang="en-US"/>
          </a:p>
        </p:txBody>
      </p:sp>
      <p:sp>
        <p:nvSpPr>
          <p:cNvPr id="774" name="Freeform 1796"/>
          <p:cNvSpPr>
            <a:spLocks/>
          </p:cNvSpPr>
          <p:nvPr/>
        </p:nvSpPr>
        <p:spPr bwMode="auto">
          <a:xfrm>
            <a:off x="5658601" y="2949871"/>
            <a:ext cx="17201" cy="24199"/>
          </a:xfrm>
          <a:custGeom>
            <a:avLst/>
            <a:gdLst>
              <a:gd name="T0" fmla="*/ 2147483647 w 36"/>
              <a:gd name="T1" fmla="*/ 0 h 56"/>
              <a:gd name="T2" fmla="*/ 2147483647 w 36"/>
              <a:gd name="T3" fmla="*/ 2147483647 h 56"/>
              <a:gd name="T4" fmla="*/ 2147483647 w 36"/>
              <a:gd name="T5" fmla="*/ 2147483647 h 56"/>
              <a:gd name="T6" fmla="*/ 0 w 36"/>
              <a:gd name="T7" fmla="*/ 2147483647 h 56"/>
              <a:gd name="T8" fmla="*/ 0 w 36"/>
              <a:gd name="T9" fmla="*/ 2147483647 h 56"/>
              <a:gd name="T10" fmla="*/ 2147483647 w 36"/>
              <a:gd name="T11" fmla="*/ 2147483647 h 56"/>
              <a:gd name="T12" fmla="*/ 2147483647 w 36"/>
              <a:gd name="T13" fmla="*/ 2147483647 h 56"/>
              <a:gd name="T14" fmla="*/ 2147483647 w 36"/>
              <a:gd name="T15" fmla="*/ 2147483647 h 56"/>
              <a:gd name="T16" fmla="*/ 2147483647 w 36"/>
              <a:gd name="T17" fmla="*/ 2147483647 h 56"/>
              <a:gd name="T18" fmla="*/ 2147483647 w 36"/>
              <a:gd name="T19" fmla="*/ 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56"/>
              <a:gd name="T32" fmla="*/ 36 w 3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56">
                <a:moveTo>
                  <a:pt x="33" y="0"/>
                </a:moveTo>
                <a:lnTo>
                  <a:pt x="8" y="15"/>
                </a:lnTo>
                <a:lnTo>
                  <a:pt x="10" y="22"/>
                </a:lnTo>
                <a:lnTo>
                  <a:pt x="0" y="20"/>
                </a:lnTo>
                <a:lnTo>
                  <a:pt x="0" y="56"/>
                </a:lnTo>
                <a:lnTo>
                  <a:pt x="25" y="37"/>
                </a:lnTo>
                <a:lnTo>
                  <a:pt x="23" y="27"/>
                </a:lnTo>
                <a:lnTo>
                  <a:pt x="36" y="19"/>
                </a:lnTo>
                <a:lnTo>
                  <a:pt x="31" y="16"/>
                </a:lnTo>
                <a:lnTo>
                  <a:pt x="33" y="0"/>
                </a:lnTo>
                <a:close/>
              </a:path>
            </a:pathLst>
          </a:custGeom>
          <a:solidFill>
            <a:schemeClr val="accent1"/>
          </a:solidFill>
          <a:ln w="6350">
            <a:solidFill>
              <a:schemeClr val="tx2"/>
            </a:solidFill>
            <a:round/>
            <a:headEnd/>
            <a:tailEnd/>
          </a:ln>
        </p:spPr>
        <p:txBody>
          <a:bodyPr/>
          <a:lstStyle/>
          <a:p>
            <a:endParaRPr lang="en-US"/>
          </a:p>
        </p:txBody>
      </p:sp>
      <p:sp>
        <p:nvSpPr>
          <p:cNvPr id="775" name="Freeform 1797"/>
          <p:cNvSpPr>
            <a:spLocks/>
          </p:cNvSpPr>
          <p:nvPr/>
        </p:nvSpPr>
        <p:spPr bwMode="auto">
          <a:xfrm>
            <a:off x="5648567" y="2979165"/>
            <a:ext cx="8600" cy="3821"/>
          </a:xfrm>
          <a:custGeom>
            <a:avLst/>
            <a:gdLst>
              <a:gd name="T0" fmla="*/ 2147483647 w 16"/>
              <a:gd name="T1" fmla="*/ 0 h 8"/>
              <a:gd name="T2" fmla="*/ 0 w 16"/>
              <a:gd name="T3" fmla="*/ 2147483647 h 8"/>
              <a:gd name="T4" fmla="*/ 2147483647 w 16"/>
              <a:gd name="T5" fmla="*/ 2147483647 h 8"/>
              <a:gd name="T6" fmla="*/ 2147483647 w 16"/>
              <a:gd name="T7" fmla="*/ 0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16" y="0"/>
                </a:moveTo>
                <a:lnTo>
                  <a:pt x="0" y="2"/>
                </a:lnTo>
                <a:lnTo>
                  <a:pt x="14" y="8"/>
                </a:lnTo>
                <a:lnTo>
                  <a:pt x="16" y="0"/>
                </a:lnTo>
                <a:close/>
              </a:path>
            </a:pathLst>
          </a:custGeom>
          <a:solidFill>
            <a:schemeClr val="accent1"/>
          </a:solidFill>
          <a:ln w="6350">
            <a:solidFill>
              <a:schemeClr val="tx2"/>
            </a:solidFill>
            <a:round/>
            <a:headEnd/>
            <a:tailEnd/>
          </a:ln>
        </p:spPr>
        <p:txBody>
          <a:bodyPr/>
          <a:lstStyle/>
          <a:p>
            <a:endParaRPr lang="en-US"/>
          </a:p>
        </p:txBody>
      </p:sp>
      <p:sp>
        <p:nvSpPr>
          <p:cNvPr id="776" name="Freeform 1798"/>
          <p:cNvSpPr>
            <a:spLocks/>
          </p:cNvSpPr>
          <p:nvPr/>
        </p:nvSpPr>
        <p:spPr bwMode="auto">
          <a:xfrm>
            <a:off x="5733135" y="2926946"/>
            <a:ext cx="11467" cy="7642"/>
          </a:xfrm>
          <a:custGeom>
            <a:avLst/>
            <a:gdLst>
              <a:gd name="T0" fmla="*/ 2147483647 w 25"/>
              <a:gd name="T1" fmla="*/ 2147483647 h 17"/>
              <a:gd name="T2" fmla="*/ 2147483647 w 25"/>
              <a:gd name="T3" fmla="*/ 2147483647 h 17"/>
              <a:gd name="T4" fmla="*/ 2147483647 w 25"/>
              <a:gd name="T5" fmla="*/ 0 h 17"/>
              <a:gd name="T6" fmla="*/ 0 w 25"/>
              <a:gd name="T7" fmla="*/ 2147483647 h 17"/>
              <a:gd name="T8" fmla="*/ 2147483647 w 25"/>
              <a:gd name="T9" fmla="*/ 2147483647 h 17"/>
              <a:gd name="T10" fmla="*/ 2147483647 w 25"/>
              <a:gd name="T11" fmla="*/ 2147483647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25" y="17"/>
                </a:moveTo>
                <a:lnTo>
                  <a:pt x="11" y="12"/>
                </a:lnTo>
                <a:lnTo>
                  <a:pt x="5" y="0"/>
                </a:lnTo>
                <a:lnTo>
                  <a:pt x="0" y="7"/>
                </a:lnTo>
                <a:lnTo>
                  <a:pt x="4" y="16"/>
                </a:lnTo>
                <a:lnTo>
                  <a:pt x="25" y="17"/>
                </a:lnTo>
                <a:close/>
              </a:path>
            </a:pathLst>
          </a:custGeom>
          <a:solidFill>
            <a:schemeClr val="accent1"/>
          </a:solidFill>
          <a:ln w="6350">
            <a:solidFill>
              <a:schemeClr val="tx2"/>
            </a:solidFill>
            <a:round/>
            <a:headEnd/>
            <a:tailEnd/>
          </a:ln>
        </p:spPr>
        <p:txBody>
          <a:bodyPr/>
          <a:lstStyle/>
          <a:p>
            <a:endParaRPr lang="en-US"/>
          </a:p>
        </p:txBody>
      </p:sp>
      <p:sp>
        <p:nvSpPr>
          <p:cNvPr id="777" name="Freeform 1799"/>
          <p:cNvSpPr>
            <a:spLocks/>
          </p:cNvSpPr>
          <p:nvPr/>
        </p:nvSpPr>
        <p:spPr bwMode="auto">
          <a:xfrm>
            <a:off x="5733135" y="2935861"/>
            <a:ext cx="2866" cy="2547"/>
          </a:xfrm>
          <a:custGeom>
            <a:avLst/>
            <a:gdLst>
              <a:gd name="T0" fmla="*/ 2147483647 w 8"/>
              <a:gd name="T1" fmla="*/ 2147483647 h 6"/>
              <a:gd name="T2" fmla="*/ 0 w 8"/>
              <a:gd name="T3" fmla="*/ 0 h 6"/>
              <a:gd name="T4" fmla="*/ 2147483647 w 8"/>
              <a:gd name="T5" fmla="*/ 2147483647 h 6"/>
              <a:gd name="T6" fmla="*/ 0 60000 65536"/>
              <a:gd name="T7" fmla="*/ 0 60000 65536"/>
              <a:gd name="T8" fmla="*/ 0 60000 65536"/>
              <a:gd name="T9" fmla="*/ 0 w 8"/>
              <a:gd name="T10" fmla="*/ 0 h 6"/>
              <a:gd name="T11" fmla="*/ 8 w 8"/>
              <a:gd name="T12" fmla="*/ 6 h 6"/>
            </a:gdLst>
            <a:ahLst/>
            <a:cxnLst>
              <a:cxn ang="T6">
                <a:pos x="T0" y="T1"/>
              </a:cxn>
              <a:cxn ang="T7">
                <a:pos x="T2" y="T3"/>
              </a:cxn>
              <a:cxn ang="T8">
                <a:pos x="T4" y="T5"/>
              </a:cxn>
            </a:cxnLst>
            <a:rect l="T9" t="T10" r="T11" b="T12"/>
            <a:pathLst>
              <a:path w="8" h="6">
                <a:moveTo>
                  <a:pt x="8" y="6"/>
                </a:moveTo>
                <a:lnTo>
                  <a:pt x="0" y="0"/>
                </a:lnTo>
                <a:lnTo>
                  <a:pt x="8" y="6"/>
                </a:lnTo>
                <a:close/>
              </a:path>
            </a:pathLst>
          </a:custGeom>
          <a:solidFill>
            <a:schemeClr val="accent1"/>
          </a:solidFill>
          <a:ln w="6350">
            <a:solidFill>
              <a:schemeClr val="tx2"/>
            </a:solidFill>
            <a:round/>
            <a:headEnd/>
            <a:tailEnd/>
          </a:ln>
        </p:spPr>
        <p:txBody>
          <a:bodyPr/>
          <a:lstStyle/>
          <a:p>
            <a:endParaRPr lang="en-US"/>
          </a:p>
        </p:txBody>
      </p:sp>
      <p:sp>
        <p:nvSpPr>
          <p:cNvPr id="778" name="Freeform 1800"/>
          <p:cNvSpPr>
            <a:spLocks/>
          </p:cNvSpPr>
          <p:nvPr/>
        </p:nvSpPr>
        <p:spPr bwMode="auto">
          <a:xfrm>
            <a:off x="5675801" y="2944776"/>
            <a:ext cx="160534" cy="266194"/>
          </a:xfrm>
          <a:custGeom>
            <a:avLst/>
            <a:gdLst>
              <a:gd name="T0" fmla="*/ 2147483647 w 338"/>
              <a:gd name="T1" fmla="*/ 2147483647 h 638"/>
              <a:gd name="T2" fmla="*/ 2147483647 w 338"/>
              <a:gd name="T3" fmla="*/ 2147483647 h 638"/>
              <a:gd name="T4" fmla="*/ 2147483647 w 338"/>
              <a:gd name="T5" fmla="*/ 2147483647 h 638"/>
              <a:gd name="T6" fmla="*/ 2147483647 w 338"/>
              <a:gd name="T7" fmla="*/ 2147483647 h 638"/>
              <a:gd name="T8" fmla="*/ 2147483647 w 338"/>
              <a:gd name="T9" fmla="*/ 2147483647 h 638"/>
              <a:gd name="T10" fmla="*/ 2147483647 w 338"/>
              <a:gd name="T11" fmla="*/ 2147483647 h 638"/>
              <a:gd name="T12" fmla="*/ 2147483647 w 338"/>
              <a:gd name="T13" fmla="*/ 2147483647 h 638"/>
              <a:gd name="T14" fmla="*/ 2147483647 w 338"/>
              <a:gd name="T15" fmla="*/ 2147483647 h 638"/>
              <a:gd name="T16" fmla="*/ 2147483647 w 338"/>
              <a:gd name="T17" fmla="*/ 2147483647 h 638"/>
              <a:gd name="T18" fmla="*/ 2147483647 w 338"/>
              <a:gd name="T19" fmla="*/ 2147483647 h 638"/>
              <a:gd name="T20" fmla="*/ 2147483647 w 338"/>
              <a:gd name="T21" fmla="*/ 2147483647 h 638"/>
              <a:gd name="T22" fmla="*/ 2147483647 w 338"/>
              <a:gd name="T23" fmla="*/ 2147483647 h 638"/>
              <a:gd name="T24" fmla="*/ 2147483647 w 338"/>
              <a:gd name="T25" fmla="*/ 2147483647 h 638"/>
              <a:gd name="T26" fmla="*/ 2147483647 w 338"/>
              <a:gd name="T27" fmla="*/ 2147483647 h 638"/>
              <a:gd name="T28" fmla="*/ 2147483647 w 338"/>
              <a:gd name="T29" fmla="*/ 2147483647 h 638"/>
              <a:gd name="T30" fmla="*/ 2147483647 w 338"/>
              <a:gd name="T31" fmla="*/ 2147483647 h 638"/>
              <a:gd name="T32" fmla="*/ 2147483647 w 338"/>
              <a:gd name="T33" fmla="*/ 2147483647 h 638"/>
              <a:gd name="T34" fmla="*/ 2147483647 w 338"/>
              <a:gd name="T35" fmla="*/ 2147483647 h 638"/>
              <a:gd name="T36" fmla="*/ 2147483647 w 338"/>
              <a:gd name="T37" fmla="*/ 2147483647 h 638"/>
              <a:gd name="T38" fmla="*/ 2147483647 w 338"/>
              <a:gd name="T39" fmla="*/ 2147483647 h 638"/>
              <a:gd name="T40" fmla="*/ 2147483647 w 338"/>
              <a:gd name="T41" fmla="*/ 2147483647 h 638"/>
              <a:gd name="T42" fmla="*/ 2147483647 w 338"/>
              <a:gd name="T43" fmla="*/ 2147483647 h 638"/>
              <a:gd name="T44" fmla="*/ 2147483647 w 338"/>
              <a:gd name="T45" fmla="*/ 2147483647 h 638"/>
              <a:gd name="T46" fmla="*/ 2147483647 w 338"/>
              <a:gd name="T47" fmla="*/ 2147483647 h 638"/>
              <a:gd name="T48" fmla="*/ 2147483647 w 338"/>
              <a:gd name="T49" fmla="*/ 2147483647 h 638"/>
              <a:gd name="T50" fmla="*/ 2147483647 w 338"/>
              <a:gd name="T51" fmla="*/ 2147483647 h 638"/>
              <a:gd name="T52" fmla="*/ 2147483647 w 338"/>
              <a:gd name="T53" fmla="*/ 2147483647 h 638"/>
              <a:gd name="T54" fmla="*/ 2147483647 w 338"/>
              <a:gd name="T55" fmla="*/ 2147483647 h 638"/>
              <a:gd name="T56" fmla="*/ 2147483647 w 338"/>
              <a:gd name="T57" fmla="*/ 2147483647 h 638"/>
              <a:gd name="T58" fmla="*/ 2147483647 w 338"/>
              <a:gd name="T59" fmla="*/ 2147483647 h 638"/>
              <a:gd name="T60" fmla="*/ 2147483647 w 338"/>
              <a:gd name="T61" fmla="*/ 2147483647 h 638"/>
              <a:gd name="T62" fmla="*/ 2147483647 w 338"/>
              <a:gd name="T63" fmla="*/ 2147483647 h 638"/>
              <a:gd name="T64" fmla="*/ 2147483647 w 338"/>
              <a:gd name="T65" fmla="*/ 2147483647 h 638"/>
              <a:gd name="T66" fmla="*/ 2147483647 w 338"/>
              <a:gd name="T67" fmla="*/ 2147483647 h 638"/>
              <a:gd name="T68" fmla="*/ 2147483647 w 338"/>
              <a:gd name="T69" fmla="*/ 2147483647 h 638"/>
              <a:gd name="T70" fmla="*/ 2147483647 w 338"/>
              <a:gd name="T71" fmla="*/ 2147483647 h 638"/>
              <a:gd name="T72" fmla="*/ 2147483647 w 338"/>
              <a:gd name="T73" fmla="*/ 2147483647 h 638"/>
              <a:gd name="T74" fmla="*/ 2147483647 w 338"/>
              <a:gd name="T75" fmla="*/ 2147483647 h 638"/>
              <a:gd name="T76" fmla="*/ 2147483647 w 338"/>
              <a:gd name="T77" fmla="*/ 2147483647 h 638"/>
              <a:gd name="T78" fmla="*/ 2147483647 w 338"/>
              <a:gd name="T79" fmla="*/ 2147483647 h 638"/>
              <a:gd name="T80" fmla="*/ 2147483647 w 338"/>
              <a:gd name="T81" fmla="*/ 2147483647 h 638"/>
              <a:gd name="T82" fmla="*/ 2147483647 w 338"/>
              <a:gd name="T83" fmla="*/ 2147483647 h 638"/>
              <a:gd name="T84" fmla="*/ 2147483647 w 338"/>
              <a:gd name="T85" fmla="*/ 2147483647 h 638"/>
              <a:gd name="T86" fmla="*/ 2147483647 w 338"/>
              <a:gd name="T87" fmla="*/ 2147483647 h 638"/>
              <a:gd name="T88" fmla="*/ 2147483647 w 338"/>
              <a:gd name="T89" fmla="*/ 2147483647 h 638"/>
              <a:gd name="T90" fmla="*/ 2147483647 w 338"/>
              <a:gd name="T91" fmla="*/ 2147483647 h 638"/>
              <a:gd name="T92" fmla="*/ 2147483647 w 338"/>
              <a:gd name="T93" fmla="*/ 2147483647 h 638"/>
              <a:gd name="T94" fmla="*/ 2147483647 w 338"/>
              <a:gd name="T95" fmla="*/ 2147483647 h 638"/>
              <a:gd name="T96" fmla="*/ 2147483647 w 338"/>
              <a:gd name="T97" fmla="*/ 2147483647 h 638"/>
              <a:gd name="T98" fmla="*/ 2147483647 w 338"/>
              <a:gd name="T99" fmla="*/ 2147483647 h 638"/>
              <a:gd name="T100" fmla="*/ 2147483647 w 338"/>
              <a:gd name="T101" fmla="*/ 2147483647 h 638"/>
              <a:gd name="T102" fmla="*/ 2147483647 w 338"/>
              <a:gd name="T103" fmla="*/ 2147483647 h 638"/>
              <a:gd name="T104" fmla="*/ 2147483647 w 338"/>
              <a:gd name="T105" fmla="*/ 2147483647 h 638"/>
              <a:gd name="T106" fmla="*/ 2147483647 w 338"/>
              <a:gd name="T107" fmla="*/ 2147483647 h 638"/>
              <a:gd name="T108" fmla="*/ 2147483647 w 338"/>
              <a:gd name="T109" fmla="*/ 2147483647 h 638"/>
              <a:gd name="T110" fmla="*/ 2147483647 w 338"/>
              <a:gd name="T111" fmla="*/ 2147483647 h 638"/>
              <a:gd name="T112" fmla="*/ 2147483647 w 338"/>
              <a:gd name="T113" fmla="*/ 2147483647 h 638"/>
              <a:gd name="T114" fmla="*/ 2147483647 w 338"/>
              <a:gd name="T115" fmla="*/ 2147483647 h 638"/>
              <a:gd name="T116" fmla="*/ 2147483647 w 338"/>
              <a:gd name="T117" fmla="*/ 2147483647 h 638"/>
              <a:gd name="T118" fmla="*/ 2147483647 w 338"/>
              <a:gd name="T119" fmla="*/ 2147483647 h 638"/>
              <a:gd name="T120" fmla="*/ 2147483647 w 338"/>
              <a:gd name="T121" fmla="*/ 2147483647 h 638"/>
              <a:gd name="T122" fmla="*/ 2147483647 w 338"/>
              <a:gd name="T123" fmla="*/ 2147483647 h 638"/>
              <a:gd name="T124" fmla="*/ 2147483647 w 338"/>
              <a:gd name="T125" fmla="*/ 2147483647 h 6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8"/>
              <a:gd name="T190" fmla="*/ 0 h 638"/>
              <a:gd name="T191" fmla="*/ 338 w 338"/>
              <a:gd name="T192" fmla="*/ 638 h 6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8" h="638">
                <a:moveTo>
                  <a:pt x="157" y="603"/>
                </a:moveTo>
                <a:lnTo>
                  <a:pt x="179" y="597"/>
                </a:lnTo>
                <a:lnTo>
                  <a:pt x="177" y="592"/>
                </a:lnTo>
                <a:lnTo>
                  <a:pt x="198" y="591"/>
                </a:lnTo>
                <a:lnTo>
                  <a:pt x="205" y="587"/>
                </a:lnTo>
                <a:lnTo>
                  <a:pt x="206" y="579"/>
                </a:lnTo>
                <a:lnTo>
                  <a:pt x="228" y="589"/>
                </a:lnTo>
                <a:lnTo>
                  <a:pt x="305" y="576"/>
                </a:lnTo>
                <a:lnTo>
                  <a:pt x="324" y="560"/>
                </a:lnTo>
                <a:lnTo>
                  <a:pt x="326" y="551"/>
                </a:lnTo>
                <a:lnTo>
                  <a:pt x="294" y="548"/>
                </a:lnTo>
                <a:lnTo>
                  <a:pt x="290" y="536"/>
                </a:lnTo>
                <a:lnTo>
                  <a:pt x="303" y="525"/>
                </a:lnTo>
                <a:lnTo>
                  <a:pt x="297" y="520"/>
                </a:lnTo>
                <a:lnTo>
                  <a:pt x="318" y="516"/>
                </a:lnTo>
                <a:lnTo>
                  <a:pt x="318" y="504"/>
                </a:lnTo>
                <a:lnTo>
                  <a:pt x="333" y="493"/>
                </a:lnTo>
                <a:lnTo>
                  <a:pt x="338" y="465"/>
                </a:lnTo>
                <a:lnTo>
                  <a:pt x="336" y="453"/>
                </a:lnTo>
                <a:lnTo>
                  <a:pt x="315" y="436"/>
                </a:lnTo>
                <a:lnTo>
                  <a:pt x="287" y="438"/>
                </a:lnTo>
                <a:lnTo>
                  <a:pt x="279" y="449"/>
                </a:lnTo>
                <a:lnTo>
                  <a:pt x="270" y="445"/>
                </a:lnTo>
                <a:lnTo>
                  <a:pt x="265" y="444"/>
                </a:lnTo>
                <a:lnTo>
                  <a:pt x="279" y="412"/>
                </a:lnTo>
                <a:lnTo>
                  <a:pt x="250" y="381"/>
                </a:lnTo>
                <a:lnTo>
                  <a:pt x="271" y="389"/>
                </a:lnTo>
                <a:lnTo>
                  <a:pt x="270" y="376"/>
                </a:lnTo>
                <a:lnTo>
                  <a:pt x="237" y="322"/>
                </a:lnTo>
                <a:lnTo>
                  <a:pt x="215" y="314"/>
                </a:lnTo>
                <a:lnTo>
                  <a:pt x="199" y="275"/>
                </a:lnTo>
                <a:lnTo>
                  <a:pt x="196" y="246"/>
                </a:lnTo>
                <a:lnTo>
                  <a:pt x="175" y="223"/>
                </a:lnTo>
                <a:lnTo>
                  <a:pt x="153" y="209"/>
                </a:lnTo>
                <a:lnTo>
                  <a:pt x="124" y="210"/>
                </a:lnTo>
                <a:lnTo>
                  <a:pt x="130" y="198"/>
                </a:lnTo>
                <a:lnTo>
                  <a:pt x="151" y="192"/>
                </a:lnTo>
                <a:lnTo>
                  <a:pt x="138" y="174"/>
                </a:lnTo>
                <a:lnTo>
                  <a:pt x="150" y="172"/>
                </a:lnTo>
                <a:lnTo>
                  <a:pt x="166" y="143"/>
                </a:lnTo>
                <a:lnTo>
                  <a:pt x="173" y="114"/>
                </a:lnTo>
                <a:lnTo>
                  <a:pt x="185" y="101"/>
                </a:lnTo>
                <a:lnTo>
                  <a:pt x="181" y="80"/>
                </a:lnTo>
                <a:lnTo>
                  <a:pt x="122" y="75"/>
                </a:lnTo>
                <a:lnTo>
                  <a:pt x="85" y="89"/>
                </a:lnTo>
                <a:lnTo>
                  <a:pt x="86" y="81"/>
                </a:lnTo>
                <a:lnTo>
                  <a:pt x="80" y="79"/>
                </a:lnTo>
                <a:lnTo>
                  <a:pt x="98" y="68"/>
                </a:lnTo>
                <a:lnTo>
                  <a:pt x="85" y="66"/>
                </a:lnTo>
                <a:lnTo>
                  <a:pt x="86" y="60"/>
                </a:lnTo>
                <a:lnTo>
                  <a:pt x="127" y="24"/>
                </a:lnTo>
                <a:lnTo>
                  <a:pt x="130" y="3"/>
                </a:lnTo>
                <a:lnTo>
                  <a:pt x="121" y="0"/>
                </a:lnTo>
                <a:lnTo>
                  <a:pt x="50" y="8"/>
                </a:lnTo>
                <a:lnTo>
                  <a:pt x="42" y="33"/>
                </a:lnTo>
                <a:lnTo>
                  <a:pt x="33" y="34"/>
                </a:lnTo>
                <a:lnTo>
                  <a:pt x="34" y="45"/>
                </a:lnTo>
                <a:lnTo>
                  <a:pt x="29" y="47"/>
                </a:lnTo>
                <a:lnTo>
                  <a:pt x="37" y="57"/>
                </a:lnTo>
                <a:lnTo>
                  <a:pt x="16" y="69"/>
                </a:lnTo>
                <a:lnTo>
                  <a:pt x="16" y="86"/>
                </a:lnTo>
                <a:lnTo>
                  <a:pt x="21" y="89"/>
                </a:lnTo>
                <a:lnTo>
                  <a:pt x="13" y="91"/>
                </a:lnTo>
                <a:lnTo>
                  <a:pt x="13" y="103"/>
                </a:lnTo>
                <a:lnTo>
                  <a:pt x="27" y="101"/>
                </a:lnTo>
                <a:lnTo>
                  <a:pt x="22" y="107"/>
                </a:lnTo>
                <a:lnTo>
                  <a:pt x="27" y="109"/>
                </a:lnTo>
                <a:lnTo>
                  <a:pt x="13" y="151"/>
                </a:lnTo>
                <a:lnTo>
                  <a:pt x="0" y="156"/>
                </a:lnTo>
                <a:lnTo>
                  <a:pt x="19" y="174"/>
                </a:lnTo>
                <a:lnTo>
                  <a:pt x="36" y="162"/>
                </a:lnTo>
                <a:lnTo>
                  <a:pt x="21" y="216"/>
                </a:lnTo>
                <a:lnTo>
                  <a:pt x="27" y="230"/>
                </a:lnTo>
                <a:lnTo>
                  <a:pt x="15" y="263"/>
                </a:lnTo>
                <a:lnTo>
                  <a:pt x="23" y="259"/>
                </a:lnTo>
                <a:lnTo>
                  <a:pt x="34" y="230"/>
                </a:lnTo>
                <a:lnTo>
                  <a:pt x="30" y="209"/>
                </a:lnTo>
                <a:lnTo>
                  <a:pt x="42" y="194"/>
                </a:lnTo>
                <a:lnTo>
                  <a:pt x="36" y="223"/>
                </a:lnTo>
                <a:lnTo>
                  <a:pt x="50" y="216"/>
                </a:lnTo>
                <a:lnTo>
                  <a:pt x="50" y="206"/>
                </a:lnTo>
                <a:lnTo>
                  <a:pt x="63" y="214"/>
                </a:lnTo>
                <a:lnTo>
                  <a:pt x="57" y="220"/>
                </a:lnTo>
                <a:lnTo>
                  <a:pt x="55" y="236"/>
                </a:lnTo>
                <a:lnTo>
                  <a:pt x="63" y="251"/>
                </a:lnTo>
                <a:lnTo>
                  <a:pt x="47" y="293"/>
                </a:lnTo>
                <a:lnTo>
                  <a:pt x="41" y="293"/>
                </a:lnTo>
                <a:lnTo>
                  <a:pt x="47" y="311"/>
                </a:lnTo>
                <a:lnTo>
                  <a:pt x="53" y="312"/>
                </a:lnTo>
                <a:lnTo>
                  <a:pt x="56" y="299"/>
                </a:lnTo>
                <a:lnTo>
                  <a:pt x="74" y="310"/>
                </a:lnTo>
                <a:lnTo>
                  <a:pt x="76" y="299"/>
                </a:lnTo>
                <a:lnTo>
                  <a:pt x="131" y="292"/>
                </a:lnTo>
                <a:lnTo>
                  <a:pt x="119" y="299"/>
                </a:lnTo>
                <a:lnTo>
                  <a:pt x="107" y="326"/>
                </a:lnTo>
                <a:lnTo>
                  <a:pt x="126" y="353"/>
                </a:lnTo>
                <a:lnTo>
                  <a:pt x="146" y="344"/>
                </a:lnTo>
                <a:lnTo>
                  <a:pt x="135" y="376"/>
                </a:lnTo>
                <a:lnTo>
                  <a:pt x="143" y="379"/>
                </a:lnTo>
                <a:lnTo>
                  <a:pt x="134" y="397"/>
                </a:lnTo>
                <a:lnTo>
                  <a:pt x="140" y="402"/>
                </a:lnTo>
                <a:lnTo>
                  <a:pt x="134" y="411"/>
                </a:lnTo>
                <a:lnTo>
                  <a:pt x="102" y="409"/>
                </a:lnTo>
                <a:lnTo>
                  <a:pt x="63" y="444"/>
                </a:lnTo>
                <a:lnTo>
                  <a:pt x="87" y="437"/>
                </a:lnTo>
                <a:lnTo>
                  <a:pt x="89" y="459"/>
                </a:lnTo>
                <a:lnTo>
                  <a:pt x="94" y="466"/>
                </a:lnTo>
                <a:lnTo>
                  <a:pt x="86" y="483"/>
                </a:lnTo>
                <a:lnTo>
                  <a:pt x="37" y="512"/>
                </a:lnTo>
                <a:lnTo>
                  <a:pt x="47" y="529"/>
                </a:lnTo>
                <a:lnTo>
                  <a:pt x="73" y="518"/>
                </a:lnTo>
                <a:lnTo>
                  <a:pt x="80" y="532"/>
                </a:lnTo>
                <a:lnTo>
                  <a:pt x="98" y="527"/>
                </a:lnTo>
                <a:lnTo>
                  <a:pt x="116" y="545"/>
                </a:lnTo>
                <a:lnTo>
                  <a:pt x="154" y="521"/>
                </a:lnTo>
                <a:lnTo>
                  <a:pt x="154" y="526"/>
                </a:lnTo>
                <a:lnTo>
                  <a:pt x="134" y="555"/>
                </a:lnTo>
                <a:lnTo>
                  <a:pt x="87" y="560"/>
                </a:lnTo>
                <a:lnTo>
                  <a:pt x="25" y="628"/>
                </a:lnTo>
                <a:lnTo>
                  <a:pt x="22" y="638"/>
                </a:lnTo>
                <a:lnTo>
                  <a:pt x="28" y="631"/>
                </a:lnTo>
                <a:lnTo>
                  <a:pt x="42" y="638"/>
                </a:lnTo>
                <a:lnTo>
                  <a:pt x="63" y="615"/>
                </a:lnTo>
                <a:lnTo>
                  <a:pt x="107" y="621"/>
                </a:lnTo>
                <a:lnTo>
                  <a:pt x="117" y="596"/>
                </a:lnTo>
                <a:lnTo>
                  <a:pt x="144" y="589"/>
                </a:lnTo>
                <a:lnTo>
                  <a:pt x="157" y="603"/>
                </a:lnTo>
                <a:close/>
              </a:path>
            </a:pathLst>
          </a:custGeom>
          <a:solidFill>
            <a:schemeClr val="accent1"/>
          </a:solidFill>
          <a:ln w="6350">
            <a:solidFill>
              <a:schemeClr val="tx2"/>
            </a:solidFill>
            <a:round/>
            <a:headEnd/>
            <a:tailEnd/>
          </a:ln>
        </p:spPr>
        <p:txBody>
          <a:bodyPr/>
          <a:lstStyle/>
          <a:p>
            <a:endParaRPr lang="en-US"/>
          </a:p>
        </p:txBody>
      </p:sp>
      <p:sp>
        <p:nvSpPr>
          <p:cNvPr id="779" name="Freeform 1801"/>
          <p:cNvSpPr>
            <a:spLocks/>
          </p:cNvSpPr>
          <p:nvPr/>
        </p:nvSpPr>
        <p:spPr bwMode="auto">
          <a:xfrm>
            <a:off x="5771834" y="3190592"/>
            <a:ext cx="8600" cy="3821"/>
          </a:xfrm>
          <a:custGeom>
            <a:avLst/>
            <a:gdLst>
              <a:gd name="T0" fmla="*/ 2147483647 w 16"/>
              <a:gd name="T1" fmla="*/ 0 h 7"/>
              <a:gd name="T2" fmla="*/ 0 w 16"/>
              <a:gd name="T3" fmla="*/ 2147483647 h 7"/>
              <a:gd name="T4" fmla="*/ 2147483647 w 16"/>
              <a:gd name="T5" fmla="*/ 2147483647 h 7"/>
              <a:gd name="T6" fmla="*/ 2147483647 w 16"/>
              <a:gd name="T7" fmla="*/ 2147483647 h 7"/>
              <a:gd name="T8" fmla="*/ 2147483647 w 16"/>
              <a:gd name="T9" fmla="*/ 0 h 7"/>
              <a:gd name="T10" fmla="*/ 0 60000 65536"/>
              <a:gd name="T11" fmla="*/ 0 60000 65536"/>
              <a:gd name="T12" fmla="*/ 0 60000 65536"/>
              <a:gd name="T13" fmla="*/ 0 60000 65536"/>
              <a:gd name="T14" fmla="*/ 0 60000 65536"/>
              <a:gd name="T15" fmla="*/ 0 w 16"/>
              <a:gd name="T16" fmla="*/ 0 h 7"/>
              <a:gd name="T17" fmla="*/ 16 w 16"/>
              <a:gd name="T18" fmla="*/ 7 h 7"/>
            </a:gdLst>
            <a:ahLst/>
            <a:cxnLst>
              <a:cxn ang="T10">
                <a:pos x="T0" y="T1"/>
              </a:cxn>
              <a:cxn ang="T11">
                <a:pos x="T2" y="T3"/>
              </a:cxn>
              <a:cxn ang="T12">
                <a:pos x="T4" y="T5"/>
              </a:cxn>
              <a:cxn ang="T13">
                <a:pos x="T6" y="T7"/>
              </a:cxn>
              <a:cxn ang="T14">
                <a:pos x="T8" y="T9"/>
              </a:cxn>
            </a:cxnLst>
            <a:rect l="T15" t="T16" r="T17" b="T18"/>
            <a:pathLst>
              <a:path w="16" h="7">
                <a:moveTo>
                  <a:pt x="11" y="0"/>
                </a:moveTo>
                <a:lnTo>
                  <a:pt x="0" y="4"/>
                </a:lnTo>
                <a:lnTo>
                  <a:pt x="12" y="7"/>
                </a:lnTo>
                <a:lnTo>
                  <a:pt x="16" y="3"/>
                </a:lnTo>
                <a:lnTo>
                  <a:pt x="11" y="0"/>
                </a:lnTo>
                <a:close/>
              </a:path>
            </a:pathLst>
          </a:custGeom>
          <a:solidFill>
            <a:schemeClr val="accent1"/>
          </a:solidFill>
          <a:ln w="6350">
            <a:solidFill>
              <a:schemeClr val="tx2"/>
            </a:solidFill>
            <a:round/>
            <a:headEnd/>
            <a:tailEnd/>
          </a:ln>
        </p:spPr>
        <p:txBody>
          <a:bodyPr/>
          <a:lstStyle/>
          <a:p>
            <a:endParaRPr lang="en-US"/>
          </a:p>
        </p:txBody>
      </p:sp>
      <p:sp>
        <p:nvSpPr>
          <p:cNvPr id="780" name="Freeform 1802"/>
          <p:cNvSpPr>
            <a:spLocks/>
          </p:cNvSpPr>
          <p:nvPr/>
        </p:nvSpPr>
        <p:spPr bwMode="auto">
          <a:xfrm>
            <a:off x="5710201" y="3112900"/>
            <a:ext cx="5734" cy="5095"/>
          </a:xfrm>
          <a:custGeom>
            <a:avLst/>
            <a:gdLst>
              <a:gd name="T0" fmla="*/ 2147483647 w 13"/>
              <a:gd name="T1" fmla="*/ 2147483647 h 12"/>
              <a:gd name="T2" fmla="*/ 2147483647 w 13"/>
              <a:gd name="T3" fmla="*/ 2147483647 h 12"/>
              <a:gd name="T4" fmla="*/ 0 w 13"/>
              <a:gd name="T5" fmla="*/ 0 h 12"/>
              <a:gd name="T6" fmla="*/ 2147483647 w 13"/>
              <a:gd name="T7" fmla="*/ 2147483647 h 12"/>
              <a:gd name="T8" fmla="*/ 0 60000 65536"/>
              <a:gd name="T9" fmla="*/ 0 60000 65536"/>
              <a:gd name="T10" fmla="*/ 0 60000 65536"/>
              <a:gd name="T11" fmla="*/ 0 60000 65536"/>
              <a:gd name="T12" fmla="*/ 0 w 13"/>
              <a:gd name="T13" fmla="*/ 0 h 12"/>
              <a:gd name="T14" fmla="*/ 13 w 13"/>
              <a:gd name="T15" fmla="*/ 12 h 12"/>
            </a:gdLst>
            <a:ahLst/>
            <a:cxnLst>
              <a:cxn ang="T8">
                <a:pos x="T0" y="T1"/>
              </a:cxn>
              <a:cxn ang="T9">
                <a:pos x="T2" y="T3"/>
              </a:cxn>
              <a:cxn ang="T10">
                <a:pos x="T4" y="T5"/>
              </a:cxn>
              <a:cxn ang="T11">
                <a:pos x="T6" y="T7"/>
              </a:cxn>
            </a:cxnLst>
            <a:rect l="T12" t="T13" r="T14" b="T15"/>
            <a:pathLst>
              <a:path w="13" h="12">
                <a:moveTo>
                  <a:pt x="9" y="12"/>
                </a:moveTo>
                <a:lnTo>
                  <a:pt x="13" y="8"/>
                </a:lnTo>
                <a:lnTo>
                  <a:pt x="0" y="0"/>
                </a:lnTo>
                <a:lnTo>
                  <a:pt x="9" y="12"/>
                </a:lnTo>
                <a:close/>
              </a:path>
            </a:pathLst>
          </a:custGeom>
          <a:solidFill>
            <a:schemeClr val="accent1"/>
          </a:solidFill>
          <a:ln w="6350">
            <a:solidFill>
              <a:schemeClr val="tx2"/>
            </a:solidFill>
            <a:round/>
            <a:headEnd/>
            <a:tailEnd/>
          </a:ln>
        </p:spPr>
        <p:txBody>
          <a:bodyPr/>
          <a:lstStyle/>
          <a:p>
            <a:endParaRPr lang="en-US"/>
          </a:p>
        </p:txBody>
      </p:sp>
      <p:sp>
        <p:nvSpPr>
          <p:cNvPr id="781" name="Freeform 1803"/>
          <p:cNvSpPr>
            <a:spLocks/>
          </p:cNvSpPr>
          <p:nvPr/>
        </p:nvSpPr>
        <p:spPr bwMode="auto">
          <a:xfrm>
            <a:off x="5704468" y="3083605"/>
            <a:ext cx="8600" cy="8916"/>
          </a:xfrm>
          <a:custGeom>
            <a:avLst/>
            <a:gdLst>
              <a:gd name="T0" fmla="*/ 2147483647 w 19"/>
              <a:gd name="T1" fmla="*/ 0 h 23"/>
              <a:gd name="T2" fmla="*/ 0 w 19"/>
              <a:gd name="T3" fmla="*/ 2147483647 h 23"/>
              <a:gd name="T4" fmla="*/ 2147483647 w 19"/>
              <a:gd name="T5" fmla="*/ 2147483647 h 23"/>
              <a:gd name="T6" fmla="*/ 2147483647 w 19"/>
              <a:gd name="T7" fmla="*/ 2147483647 h 23"/>
              <a:gd name="T8" fmla="*/ 2147483647 w 19"/>
              <a:gd name="T9" fmla="*/ 0 h 23"/>
              <a:gd name="T10" fmla="*/ 0 60000 65536"/>
              <a:gd name="T11" fmla="*/ 0 60000 65536"/>
              <a:gd name="T12" fmla="*/ 0 60000 65536"/>
              <a:gd name="T13" fmla="*/ 0 60000 65536"/>
              <a:gd name="T14" fmla="*/ 0 60000 65536"/>
              <a:gd name="T15" fmla="*/ 0 w 19"/>
              <a:gd name="T16" fmla="*/ 0 h 23"/>
              <a:gd name="T17" fmla="*/ 19 w 19"/>
              <a:gd name="T18" fmla="*/ 23 h 23"/>
            </a:gdLst>
            <a:ahLst/>
            <a:cxnLst>
              <a:cxn ang="T10">
                <a:pos x="T0" y="T1"/>
              </a:cxn>
              <a:cxn ang="T11">
                <a:pos x="T2" y="T3"/>
              </a:cxn>
              <a:cxn ang="T12">
                <a:pos x="T4" y="T5"/>
              </a:cxn>
              <a:cxn ang="T13">
                <a:pos x="T6" y="T7"/>
              </a:cxn>
              <a:cxn ang="T14">
                <a:pos x="T8" y="T9"/>
              </a:cxn>
            </a:cxnLst>
            <a:rect l="T15" t="T16" r="T17" b="T18"/>
            <a:pathLst>
              <a:path w="19" h="23">
                <a:moveTo>
                  <a:pt x="16" y="0"/>
                </a:moveTo>
                <a:lnTo>
                  <a:pt x="0" y="23"/>
                </a:lnTo>
                <a:lnTo>
                  <a:pt x="15" y="17"/>
                </a:lnTo>
                <a:lnTo>
                  <a:pt x="19" y="7"/>
                </a:lnTo>
                <a:lnTo>
                  <a:pt x="16" y="0"/>
                </a:lnTo>
                <a:close/>
              </a:path>
            </a:pathLst>
          </a:custGeom>
          <a:solidFill>
            <a:schemeClr val="accent1"/>
          </a:solidFill>
          <a:ln w="6350">
            <a:solidFill>
              <a:schemeClr val="tx2"/>
            </a:solidFill>
            <a:round/>
            <a:headEnd/>
            <a:tailEnd/>
          </a:ln>
        </p:spPr>
        <p:txBody>
          <a:bodyPr/>
          <a:lstStyle/>
          <a:p>
            <a:endParaRPr lang="en-US"/>
          </a:p>
        </p:txBody>
      </p:sp>
      <p:sp>
        <p:nvSpPr>
          <p:cNvPr id="782" name="Freeform 1804"/>
          <p:cNvSpPr>
            <a:spLocks/>
          </p:cNvSpPr>
          <p:nvPr/>
        </p:nvSpPr>
        <p:spPr bwMode="auto">
          <a:xfrm>
            <a:off x="5693002" y="3042847"/>
            <a:ext cx="2866" cy="7642"/>
          </a:xfrm>
          <a:custGeom>
            <a:avLst/>
            <a:gdLst>
              <a:gd name="T0" fmla="*/ 0 w 8"/>
              <a:gd name="T1" fmla="*/ 0 h 18"/>
              <a:gd name="T2" fmla="*/ 0 w 8"/>
              <a:gd name="T3" fmla="*/ 2147483647 h 18"/>
              <a:gd name="T4" fmla="*/ 2147483647 w 8"/>
              <a:gd name="T5" fmla="*/ 2147483647 h 18"/>
              <a:gd name="T6" fmla="*/ 2147483647 w 8"/>
              <a:gd name="T7" fmla="*/ 0 h 18"/>
              <a:gd name="T8" fmla="*/ 0 w 8"/>
              <a:gd name="T9" fmla="*/ 0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0" y="0"/>
                </a:moveTo>
                <a:lnTo>
                  <a:pt x="0" y="14"/>
                </a:lnTo>
                <a:lnTo>
                  <a:pt x="7" y="18"/>
                </a:lnTo>
                <a:lnTo>
                  <a:pt x="8" y="0"/>
                </a:lnTo>
                <a:lnTo>
                  <a:pt x="0" y="0"/>
                </a:lnTo>
                <a:close/>
              </a:path>
            </a:pathLst>
          </a:custGeom>
          <a:solidFill>
            <a:schemeClr val="accent1"/>
          </a:solidFill>
          <a:ln w="6350">
            <a:solidFill>
              <a:schemeClr val="tx2"/>
            </a:solidFill>
            <a:round/>
            <a:headEnd/>
            <a:tailEnd/>
          </a:ln>
        </p:spPr>
        <p:txBody>
          <a:bodyPr/>
          <a:lstStyle/>
          <a:p>
            <a:endParaRPr lang="en-US"/>
          </a:p>
        </p:txBody>
      </p:sp>
      <p:sp>
        <p:nvSpPr>
          <p:cNvPr id="783" name="Freeform 1805"/>
          <p:cNvSpPr>
            <a:spLocks/>
          </p:cNvSpPr>
          <p:nvPr/>
        </p:nvSpPr>
        <p:spPr bwMode="auto">
          <a:xfrm>
            <a:off x="5670068" y="3036480"/>
            <a:ext cx="5734" cy="7642"/>
          </a:xfrm>
          <a:custGeom>
            <a:avLst/>
            <a:gdLst>
              <a:gd name="T0" fmla="*/ 2147483647 w 17"/>
              <a:gd name="T1" fmla="*/ 0 h 19"/>
              <a:gd name="T2" fmla="*/ 2147483647 w 17"/>
              <a:gd name="T3" fmla="*/ 2147483647 h 19"/>
              <a:gd name="T4" fmla="*/ 0 w 17"/>
              <a:gd name="T5" fmla="*/ 2147483647 h 19"/>
              <a:gd name="T6" fmla="*/ 2147483647 w 17"/>
              <a:gd name="T7" fmla="*/ 2147483647 h 19"/>
              <a:gd name="T8" fmla="*/ 2147483647 w 17"/>
              <a:gd name="T9" fmla="*/ 2147483647 h 19"/>
              <a:gd name="T10" fmla="*/ 2147483647 w 17"/>
              <a:gd name="T11" fmla="*/ 2147483647 h 19"/>
              <a:gd name="T12" fmla="*/ 2147483647 w 17"/>
              <a:gd name="T13" fmla="*/ 0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14" y="0"/>
                </a:moveTo>
                <a:lnTo>
                  <a:pt x="3" y="4"/>
                </a:lnTo>
                <a:lnTo>
                  <a:pt x="0" y="15"/>
                </a:lnTo>
                <a:lnTo>
                  <a:pt x="6" y="8"/>
                </a:lnTo>
                <a:lnTo>
                  <a:pt x="10" y="19"/>
                </a:lnTo>
                <a:lnTo>
                  <a:pt x="17" y="15"/>
                </a:lnTo>
                <a:lnTo>
                  <a:pt x="14" y="0"/>
                </a:lnTo>
                <a:close/>
              </a:path>
            </a:pathLst>
          </a:custGeom>
          <a:solidFill>
            <a:schemeClr val="accent1"/>
          </a:solidFill>
          <a:ln w="6350">
            <a:solidFill>
              <a:schemeClr val="tx2"/>
            </a:solidFill>
            <a:round/>
            <a:headEnd/>
            <a:tailEnd/>
          </a:ln>
        </p:spPr>
        <p:txBody>
          <a:bodyPr/>
          <a:lstStyle/>
          <a:p>
            <a:endParaRPr lang="en-US"/>
          </a:p>
        </p:txBody>
      </p:sp>
      <p:sp>
        <p:nvSpPr>
          <p:cNvPr id="784" name="Freeform 1806"/>
          <p:cNvSpPr>
            <a:spLocks/>
          </p:cNvSpPr>
          <p:nvPr/>
        </p:nvSpPr>
        <p:spPr bwMode="auto">
          <a:xfrm>
            <a:off x="5675801" y="3028838"/>
            <a:ext cx="5734" cy="10189"/>
          </a:xfrm>
          <a:custGeom>
            <a:avLst/>
            <a:gdLst>
              <a:gd name="T0" fmla="*/ 2147483647 w 12"/>
              <a:gd name="T1" fmla="*/ 0 h 23"/>
              <a:gd name="T2" fmla="*/ 0 w 12"/>
              <a:gd name="T3" fmla="*/ 2147483647 h 23"/>
              <a:gd name="T4" fmla="*/ 2147483647 w 12"/>
              <a:gd name="T5" fmla="*/ 0 h 23"/>
              <a:gd name="T6" fmla="*/ 0 60000 65536"/>
              <a:gd name="T7" fmla="*/ 0 60000 65536"/>
              <a:gd name="T8" fmla="*/ 0 60000 65536"/>
              <a:gd name="T9" fmla="*/ 0 w 12"/>
              <a:gd name="T10" fmla="*/ 0 h 23"/>
              <a:gd name="T11" fmla="*/ 12 w 12"/>
              <a:gd name="T12" fmla="*/ 23 h 23"/>
            </a:gdLst>
            <a:ahLst/>
            <a:cxnLst>
              <a:cxn ang="T6">
                <a:pos x="T0" y="T1"/>
              </a:cxn>
              <a:cxn ang="T7">
                <a:pos x="T2" y="T3"/>
              </a:cxn>
              <a:cxn ang="T8">
                <a:pos x="T4" y="T5"/>
              </a:cxn>
            </a:cxnLst>
            <a:rect l="T9" t="T10" r="T11" b="T12"/>
            <a:pathLst>
              <a:path w="12" h="23">
                <a:moveTo>
                  <a:pt x="12" y="0"/>
                </a:moveTo>
                <a:lnTo>
                  <a:pt x="0" y="23"/>
                </a:lnTo>
                <a:lnTo>
                  <a:pt x="12" y="0"/>
                </a:lnTo>
                <a:close/>
              </a:path>
            </a:pathLst>
          </a:custGeom>
          <a:solidFill>
            <a:schemeClr val="accent1"/>
          </a:solidFill>
          <a:ln w="6350">
            <a:solidFill>
              <a:schemeClr val="tx2"/>
            </a:solidFill>
            <a:round/>
            <a:headEnd/>
            <a:tailEnd/>
          </a:ln>
        </p:spPr>
        <p:txBody>
          <a:bodyPr/>
          <a:lstStyle/>
          <a:p>
            <a:endParaRPr lang="en-US"/>
          </a:p>
        </p:txBody>
      </p:sp>
      <p:sp>
        <p:nvSpPr>
          <p:cNvPr id="785" name="Freeform 1807"/>
          <p:cNvSpPr>
            <a:spLocks/>
          </p:cNvSpPr>
          <p:nvPr/>
        </p:nvSpPr>
        <p:spPr bwMode="auto">
          <a:xfrm>
            <a:off x="5672935" y="3013554"/>
            <a:ext cx="8600" cy="8915"/>
          </a:xfrm>
          <a:custGeom>
            <a:avLst/>
            <a:gdLst>
              <a:gd name="T0" fmla="*/ 0 w 25"/>
              <a:gd name="T1" fmla="*/ 2147483647 h 24"/>
              <a:gd name="T2" fmla="*/ 2147483647 w 25"/>
              <a:gd name="T3" fmla="*/ 2147483647 h 24"/>
              <a:gd name="T4" fmla="*/ 2147483647 w 25"/>
              <a:gd name="T5" fmla="*/ 0 h 24"/>
              <a:gd name="T6" fmla="*/ 2147483647 w 25"/>
              <a:gd name="T7" fmla="*/ 2147483647 h 24"/>
              <a:gd name="T8" fmla="*/ 2147483647 w 25"/>
              <a:gd name="T9" fmla="*/ 2147483647 h 24"/>
              <a:gd name="T10" fmla="*/ 0 w 25"/>
              <a:gd name="T11" fmla="*/ 2147483647 h 24"/>
              <a:gd name="T12" fmla="*/ 0 60000 65536"/>
              <a:gd name="T13" fmla="*/ 0 60000 65536"/>
              <a:gd name="T14" fmla="*/ 0 60000 65536"/>
              <a:gd name="T15" fmla="*/ 0 60000 65536"/>
              <a:gd name="T16" fmla="*/ 0 60000 65536"/>
              <a:gd name="T17" fmla="*/ 0 60000 65536"/>
              <a:gd name="T18" fmla="*/ 0 w 25"/>
              <a:gd name="T19" fmla="*/ 0 h 24"/>
              <a:gd name="T20" fmla="*/ 25 w 2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5" h="24">
                <a:moveTo>
                  <a:pt x="0" y="24"/>
                </a:moveTo>
                <a:lnTo>
                  <a:pt x="25" y="20"/>
                </a:lnTo>
                <a:lnTo>
                  <a:pt x="11" y="0"/>
                </a:lnTo>
                <a:lnTo>
                  <a:pt x="3" y="4"/>
                </a:lnTo>
                <a:lnTo>
                  <a:pt x="10" y="19"/>
                </a:lnTo>
                <a:lnTo>
                  <a:pt x="0" y="24"/>
                </a:lnTo>
                <a:close/>
              </a:path>
            </a:pathLst>
          </a:custGeom>
          <a:solidFill>
            <a:schemeClr val="accent1"/>
          </a:solidFill>
          <a:ln w="6350">
            <a:solidFill>
              <a:schemeClr val="tx2"/>
            </a:solidFill>
            <a:round/>
            <a:headEnd/>
            <a:tailEnd/>
          </a:ln>
        </p:spPr>
        <p:txBody>
          <a:bodyPr/>
          <a:lstStyle/>
          <a:p>
            <a:endParaRPr lang="en-US"/>
          </a:p>
        </p:txBody>
      </p:sp>
      <p:sp>
        <p:nvSpPr>
          <p:cNvPr id="786" name="Freeform 1808"/>
          <p:cNvSpPr>
            <a:spLocks/>
          </p:cNvSpPr>
          <p:nvPr/>
        </p:nvSpPr>
        <p:spPr bwMode="auto">
          <a:xfrm>
            <a:off x="5664334" y="2976618"/>
            <a:ext cx="18633" cy="20378"/>
          </a:xfrm>
          <a:custGeom>
            <a:avLst/>
            <a:gdLst>
              <a:gd name="T0" fmla="*/ 2147483647 w 42"/>
              <a:gd name="T1" fmla="*/ 0 h 48"/>
              <a:gd name="T2" fmla="*/ 2147483647 w 42"/>
              <a:gd name="T3" fmla="*/ 2147483647 h 48"/>
              <a:gd name="T4" fmla="*/ 2147483647 w 42"/>
              <a:gd name="T5" fmla="*/ 2147483647 h 48"/>
              <a:gd name="T6" fmla="*/ 0 w 42"/>
              <a:gd name="T7" fmla="*/ 2147483647 h 48"/>
              <a:gd name="T8" fmla="*/ 2147483647 w 42"/>
              <a:gd name="T9" fmla="*/ 2147483647 h 48"/>
              <a:gd name="T10" fmla="*/ 2147483647 w 42"/>
              <a:gd name="T11" fmla="*/ 2147483647 h 48"/>
              <a:gd name="T12" fmla="*/ 2147483647 w 42"/>
              <a:gd name="T13" fmla="*/ 2147483647 h 48"/>
              <a:gd name="T14" fmla="*/ 2147483647 w 42"/>
              <a:gd name="T15" fmla="*/ 2147483647 h 48"/>
              <a:gd name="T16" fmla="*/ 2147483647 w 42"/>
              <a:gd name="T17" fmla="*/ 2147483647 h 48"/>
              <a:gd name="T18" fmla="*/ 2147483647 w 42"/>
              <a:gd name="T19" fmla="*/ 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48"/>
              <a:gd name="T32" fmla="*/ 42 w 42"/>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48">
                <a:moveTo>
                  <a:pt x="17" y="0"/>
                </a:moveTo>
                <a:lnTo>
                  <a:pt x="12" y="16"/>
                </a:lnTo>
                <a:lnTo>
                  <a:pt x="6" y="10"/>
                </a:lnTo>
                <a:lnTo>
                  <a:pt x="0" y="23"/>
                </a:lnTo>
                <a:lnTo>
                  <a:pt x="9" y="26"/>
                </a:lnTo>
                <a:lnTo>
                  <a:pt x="17" y="43"/>
                </a:lnTo>
                <a:lnTo>
                  <a:pt x="38" y="48"/>
                </a:lnTo>
                <a:lnTo>
                  <a:pt x="42" y="36"/>
                </a:lnTo>
                <a:lnTo>
                  <a:pt x="29" y="32"/>
                </a:lnTo>
                <a:lnTo>
                  <a:pt x="17" y="0"/>
                </a:lnTo>
                <a:close/>
              </a:path>
            </a:pathLst>
          </a:custGeom>
          <a:solidFill>
            <a:schemeClr val="accent1"/>
          </a:solidFill>
          <a:ln w="6350">
            <a:solidFill>
              <a:schemeClr val="tx2"/>
            </a:solidFill>
            <a:round/>
            <a:headEnd/>
            <a:tailEnd/>
          </a:ln>
        </p:spPr>
        <p:txBody>
          <a:bodyPr/>
          <a:lstStyle/>
          <a:p>
            <a:endParaRPr lang="en-US"/>
          </a:p>
        </p:txBody>
      </p:sp>
      <p:sp>
        <p:nvSpPr>
          <p:cNvPr id="787" name="Freeform 1809"/>
          <p:cNvSpPr>
            <a:spLocks/>
          </p:cNvSpPr>
          <p:nvPr/>
        </p:nvSpPr>
        <p:spPr bwMode="auto">
          <a:xfrm>
            <a:off x="5651434" y="2811042"/>
            <a:ext cx="10034" cy="12737"/>
          </a:xfrm>
          <a:custGeom>
            <a:avLst/>
            <a:gdLst>
              <a:gd name="T0" fmla="*/ 2147483647 w 21"/>
              <a:gd name="T1" fmla="*/ 2147483647 h 29"/>
              <a:gd name="T2" fmla="*/ 2147483647 w 21"/>
              <a:gd name="T3" fmla="*/ 2147483647 h 29"/>
              <a:gd name="T4" fmla="*/ 2147483647 w 21"/>
              <a:gd name="T5" fmla="*/ 0 h 29"/>
              <a:gd name="T6" fmla="*/ 0 w 21"/>
              <a:gd name="T7" fmla="*/ 2147483647 h 29"/>
              <a:gd name="T8" fmla="*/ 2147483647 w 21"/>
              <a:gd name="T9" fmla="*/ 2147483647 h 29"/>
              <a:gd name="T10" fmla="*/ 0 60000 65536"/>
              <a:gd name="T11" fmla="*/ 0 60000 65536"/>
              <a:gd name="T12" fmla="*/ 0 60000 65536"/>
              <a:gd name="T13" fmla="*/ 0 60000 65536"/>
              <a:gd name="T14" fmla="*/ 0 60000 65536"/>
              <a:gd name="T15" fmla="*/ 0 w 21"/>
              <a:gd name="T16" fmla="*/ 0 h 29"/>
              <a:gd name="T17" fmla="*/ 21 w 21"/>
              <a:gd name="T18" fmla="*/ 29 h 29"/>
            </a:gdLst>
            <a:ahLst/>
            <a:cxnLst>
              <a:cxn ang="T10">
                <a:pos x="T0" y="T1"/>
              </a:cxn>
              <a:cxn ang="T11">
                <a:pos x="T2" y="T3"/>
              </a:cxn>
              <a:cxn ang="T12">
                <a:pos x="T4" y="T5"/>
              </a:cxn>
              <a:cxn ang="T13">
                <a:pos x="T6" y="T7"/>
              </a:cxn>
              <a:cxn ang="T14">
                <a:pos x="T8" y="T9"/>
              </a:cxn>
            </a:cxnLst>
            <a:rect l="T15" t="T16" r="T17" b="T18"/>
            <a:pathLst>
              <a:path w="21" h="29">
                <a:moveTo>
                  <a:pt x="21" y="29"/>
                </a:moveTo>
                <a:lnTo>
                  <a:pt x="11" y="6"/>
                </a:lnTo>
                <a:lnTo>
                  <a:pt x="3" y="0"/>
                </a:lnTo>
                <a:lnTo>
                  <a:pt x="0" y="9"/>
                </a:lnTo>
                <a:lnTo>
                  <a:pt x="21" y="29"/>
                </a:lnTo>
                <a:close/>
              </a:path>
            </a:pathLst>
          </a:custGeom>
          <a:solidFill>
            <a:schemeClr val="accent1"/>
          </a:solidFill>
          <a:ln w="6350">
            <a:solidFill>
              <a:schemeClr val="tx2"/>
            </a:solidFill>
            <a:round/>
            <a:headEnd/>
            <a:tailEnd/>
          </a:ln>
        </p:spPr>
        <p:txBody>
          <a:bodyPr/>
          <a:lstStyle/>
          <a:p>
            <a:endParaRPr lang="en-US"/>
          </a:p>
        </p:txBody>
      </p:sp>
      <p:sp>
        <p:nvSpPr>
          <p:cNvPr id="788" name="Freeform 1810"/>
          <p:cNvSpPr>
            <a:spLocks/>
          </p:cNvSpPr>
          <p:nvPr/>
        </p:nvSpPr>
        <p:spPr bwMode="auto">
          <a:xfrm>
            <a:off x="5658601" y="2827600"/>
            <a:ext cx="5734" cy="3820"/>
          </a:xfrm>
          <a:custGeom>
            <a:avLst/>
            <a:gdLst>
              <a:gd name="T0" fmla="*/ 2147483647 w 10"/>
              <a:gd name="T1" fmla="*/ 2147483647 h 10"/>
              <a:gd name="T2" fmla="*/ 2147483647 w 10"/>
              <a:gd name="T3" fmla="*/ 0 h 10"/>
              <a:gd name="T4" fmla="*/ 0 w 10"/>
              <a:gd name="T5" fmla="*/ 0 h 10"/>
              <a:gd name="T6" fmla="*/ 2147483647 w 10"/>
              <a:gd name="T7" fmla="*/ 2147483647 h 10"/>
              <a:gd name="T8" fmla="*/ 0 60000 65536"/>
              <a:gd name="T9" fmla="*/ 0 60000 65536"/>
              <a:gd name="T10" fmla="*/ 0 60000 65536"/>
              <a:gd name="T11" fmla="*/ 0 60000 65536"/>
              <a:gd name="T12" fmla="*/ 0 w 10"/>
              <a:gd name="T13" fmla="*/ 0 h 10"/>
              <a:gd name="T14" fmla="*/ 10 w 10"/>
              <a:gd name="T15" fmla="*/ 10 h 10"/>
            </a:gdLst>
            <a:ahLst/>
            <a:cxnLst>
              <a:cxn ang="T8">
                <a:pos x="T0" y="T1"/>
              </a:cxn>
              <a:cxn ang="T9">
                <a:pos x="T2" y="T3"/>
              </a:cxn>
              <a:cxn ang="T10">
                <a:pos x="T4" y="T5"/>
              </a:cxn>
              <a:cxn ang="T11">
                <a:pos x="T6" y="T7"/>
              </a:cxn>
            </a:cxnLst>
            <a:rect l="T12" t="T13" r="T14" b="T15"/>
            <a:pathLst>
              <a:path w="10" h="10">
                <a:moveTo>
                  <a:pt x="10" y="10"/>
                </a:moveTo>
                <a:lnTo>
                  <a:pt x="9" y="0"/>
                </a:lnTo>
                <a:lnTo>
                  <a:pt x="0" y="0"/>
                </a:lnTo>
                <a:lnTo>
                  <a:pt x="10" y="10"/>
                </a:lnTo>
                <a:close/>
              </a:path>
            </a:pathLst>
          </a:custGeom>
          <a:solidFill>
            <a:schemeClr val="accent1"/>
          </a:solidFill>
          <a:ln w="6350">
            <a:solidFill>
              <a:schemeClr val="tx2"/>
            </a:solidFill>
            <a:round/>
            <a:headEnd/>
            <a:tailEnd/>
          </a:ln>
        </p:spPr>
        <p:txBody>
          <a:bodyPr/>
          <a:lstStyle/>
          <a:p>
            <a:endParaRPr lang="en-US"/>
          </a:p>
        </p:txBody>
      </p:sp>
      <p:sp>
        <p:nvSpPr>
          <p:cNvPr id="789" name="Freeform 1811"/>
          <p:cNvSpPr>
            <a:spLocks/>
          </p:cNvSpPr>
          <p:nvPr/>
        </p:nvSpPr>
        <p:spPr bwMode="auto">
          <a:xfrm>
            <a:off x="5658601" y="2837790"/>
            <a:ext cx="2866" cy="7642"/>
          </a:xfrm>
          <a:custGeom>
            <a:avLst/>
            <a:gdLst>
              <a:gd name="T0" fmla="*/ 2147483647 w 7"/>
              <a:gd name="T1" fmla="*/ 0 h 18"/>
              <a:gd name="T2" fmla="*/ 0 w 7"/>
              <a:gd name="T3" fmla="*/ 2147483647 h 18"/>
              <a:gd name="T4" fmla="*/ 2147483647 w 7"/>
              <a:gd name="T5" fmla="*/ 2147483647 h 18"/>
              <a:gd name="T6" fmla="*/ 2147483647 w 7"/>
              <a:gd name="T7" fmla="*/ 0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1" y="0"/>
                </a:moveTo>
                <a:lnTo>
                  <a:pt x="0" y="14"/>
                </a:lnTo>
                <a:lnTo>
                  <a:pt x="7" y="18"/>
                </a:lnTo>
                <a:lnTo>
                  <a:pt x="1" y="0"/>
                </a:lnTo>
                <a:close/>
              </a:path>
            </a:pathLst>
          </a:custGeom>
          <a:solidFill>
            <a:schemeClr val="accent1"/>
          </a:solidFill>
          <a:ln w="6350">
            <a:solidFill>
              <a:schemeClr val="tx2"/>
            </a:solidFill>
            <a:round/>
            <a:headEnd/>
            <a:tailEnd/>
          </a:ln>
        </p:spPr>
        <p:txBody>
          <a:bodyPr/>
          <a:lstStyle/>
          <a:p>
            <a:endParaRPr lang="en-US"/>
          </a:p>
        </p:txBody>
      </p:sp>
      <p:sp>
        <p:nvSpPr>
          <p:cNvPr id="790" name="Freeform 1814"/>
          <p:cNvSpPr>
            <a:spLocks/>
          </p:cNvSpPr>
          <p:nvPr/>
        </p:nvSpPr>
        <p:spPr bwMode="auto">
          <a:xfrm>
            <a:off x="6137336" y="3395651"/>
            <a:ext cx="24367" cy="14010"/>
          </a:xfrm>
          <a:custGeom>
            <a:avLst/>
            <a:gdLst>
              <a:gd name="T0" fmla="*/ 2147483647 w 59"/>
              <a:gd name="T1" fmla="*/ 2147483647 h 33"/>
              <a:gd name="T2" fmla="*/ 2147483647 w 59"/>
              <a:gd name="T3" fmla="*/ 2147483647 h 33"/>
              <a:gd name="T4" fmla="*/ 2147483647 w 59"/>
              <a:gd name="T5" fmla="*/ 2147483647 h 33"/>
              <a:gd name="T6" fmla="*/ 2147483647 w 59"/>
              <a:gd name="T7" fmla="*/ 0 h 33"/>
              <a:gd name="T8" fmla="*/ 0 w 59"/>
              <a:gd name="T9" fmla="*/ 2147483647 h 33"/>
              <a:gd name="T10" fmla="*/ 2147483647 w 59"/>
              <a:gd name="T11" fmla="*/ 2147483647 h 33"/>
              <a:gd name="T12" fmla="*/ 2147483647 w 59"/>
              <a:gd name="T13" fmla="*/ 2147483647 h 33"/>
              <a:gd name="T14" fmla="*/ 2147483647 w 59"/>
              <a:gd name="T15" fmla="*/ 2147483647 h 33"/>
              <a:gd name="T16" fmla="*/ 2147483647 w 59"/>
              <a:gd name="T17" fmla="*/ 2147483647 h 33"/>
              <a:gd name="T18" fmla="*/ 2147483647 w 59"/>
              <a:gd name="T19" fmla="*/ 2147483647 h 33"/>
              <a:gd name="T20" fmla="*/ 2147483647 w 59"/>
              <a:gd name="T21" fmla="*/ 2147483647 h 33"/>
              <a:gd name="T22" fmla="*/ 2147483647 w 59"/>
              <a:gd name="T23" fmla="*/ 2147483647 h 33"/>
              <a:gd name="T24" fmla="*/ 2147483647 w 59"/>
              <a:gd name="T25" fmla="*/ 2147483647 h 33"/>
              <a:gd name="T26" fmla="*/ 2147483647 w 59"/>
              <a:gd name="T27" fmla="*/ 2147483647 h 33"/>
              <a:gd name="T28" fmla="*/ 2147483647 w 59"/>
              <a:gd name="T29" fmla="*/ 2147483647 h 33"/>
              <a:gd name="T30" fmla="*/ 2147483647 w 59"/>
              <a:gd name="T31" fmla="*/ 2147483647 h 33"/>
              <a:gd name="T32" fmla="*/ 2147483647 w 59"/>
              <a:gd name="T33" fmla="*/ 2147483647 h 33"/>
              <a:gd name="T34" fmla="*/ 2147483647 w 59"/>
              <a:gd name="T35" fmla="*/ 2147483647 h 33"/>
              <a:gd name="T36" fmla="*/ 2147483647 w 59"/>
              <a:gd name="T37" fmla="*/ 2147483647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33"/>
              <a:gd name="T59" fmla="*/ 59 w 59"/>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33">
                <a:moveTo>
                  <a:pt x="19" y="8"/>
                </a:moveTo>
                <a:lnTo>
                  <a:pt x="15" y="7"/>
                </a:lnTo>
                <a:lnTo>
                  <a:pt x="11" y="2"/>
                </a:lnTo>
                <a:lnTo>
                  <a:pt x="3" y="0"/>
                </a:lnTo>
                <a:lnTo>
                  <a:pt x="0" y="3"/>
                </a:lnTo>
                <a:lnTo>
                  <a:pt x="10" y="6"/>
                </a:lnTo>
                <a:lnTo>
                  <a:pt x="22" y="13"/>
                </a:lnTo>
                <a:lnTo>
                  <a:pt x="35" y="15"/>
                </a:lnTo>
                <a:lnTo>
                  <a:pt x="59" y="33"/>
                </a:lnTo>
                <a:lnTo>
                  <a:pt x="59" y="27"/>
                </a:lnTo>
                <a:lnTo>
                  <a:pt x="56" y="26"/>
                </a:lnTo>
                <a:lnTo>
                  <a:pt x="56" y="22"/>
                </a:lnTo>
                <a:lnTo>
                  <a:pt x="49" y="21"/>
                </a:lnTo>
                <a:lnTo>
                  <a:pt x="43" y="15"/>
                </a:lnTo>
                <a:lnTo>
                  <a:pt x="38" y="13"/>
                </a:lnTo>
                <a:lnTo>
                  <a:pt x="32" y="9"/>
                </a:lnTo>
                <a:lnTo>
                  <a:pt x="31" y="5"/>
                </a:lnTo>
                <a:lnTo>
                  <a:pt x="25" y="4"/>
                </a:lnTo>
                <a:lnTo>
                  <a:pt x="19" y="8"/>
                </a:lnTo>
                <a:close/>
              </a:path>
            </a:pathLst>
          </a:custGeom>
          <a:solidFill>
            <a:schemeClr val="accent1"/>
          </a:solidFill>
          <a:ln w="6350">
            <a:solidFill>
              <a:schemeClr val="tx2"/>
            </a:solidFill>
            <a:round/>
            <a:headEnd/>
            <a:tailEnd/>
          </a:ln>
        </p:spPr>
        <p:txBody>
          <a:bodyPr/>
          <a:lstStyle/>
          <a:p>
            <a:endParaRPr lang="en-US"/>
          </a:p>
        </p:txBody>
      </p:sp>
      <p:sp>
        <p:nvSpPr>
          <p:cNvPr id="791" name="Freeform 1816"/>
          <p:cNvSpPr>
            <a:spLocks/>
          </p:cNvSpPr>
          <p:nvPr/>
        </p:nvSpPr>
        <p:spPr bwMode="auto">
          <a:xfrm>
            <a:off x="5908002" y="2893831"/>
            <a:ext cx="5734" cy="5095"/>
          </a:xfrm>
          <a:custGeom>
            <a:avLst/>
            <a:gdLst>
              <a:gd name="T0" fmla="*/ 2147483647 w 13"/>
              <a:gd name="T1" fmla="*/ 2147483647 h 13"/>
              <a:gd name="T2" fmla="*/ 0 w 13"/>
              <a:gd name="T3" fmla="*/ 2147483647 h 13"/>
              <a:gd name="T4" fmla="*/ 2147483647 w 13"/>
              <a:gd name="T5" fmla="*/ 0 h 13"/>
              <a:gd name="T6" fmla="*/ 2147483647 w 13"/>
              <a:gd name="T7" fmla="*/ 2147483647 h 13"/>
              <a:gd name="T8" fmla="*/ 0 60000 65536"/>
              <a:gd name="T9" fmla="*/ 0 60000 65536"/>
              <a:gd name="T10" fmla="*/ 0 60000 65536"/>
              <a:gd name="T11" fmla="*/ 0 60000 65536"/>
              <a:gd name="T12" fmla="*/ 0 w 13"/>
              <a:gd name="T13" fmla="*/ 0 h 13"/>
              <a:gd name="T14" fmla="*/ 13 w 13"/>
              <a:gd name="T15" fmla="*/ 13 h 13"/>
            </a:gdLst>
            <a:ahLst/>
            <a:cxnLst>
              <a:cxn ang="T8">
                <a:pos x="T0" y="T1"/>
              </a:cxn>
              <a:cxn ang="T9">
                <a:pos x="T2" y="T3"/>
              </a:cxn>
              <a:cxn ang="T10">
                <a:pos x="T4" y="T5"/>
              </a:cxn>
              <a:cxn ang="T11">
                <a:pos x="T6" y="T7"/>
              </a:cxn>
            </a:cxnLst>
            <a:rect l="T12" t="T13" r="T14" b="T15"/>
            <a:pathLst>
              <a:path w="13" h="13">
                <a:moveTo>
                  <a:pt x="4" y="13"/>
                </a:moveTo>
                <a:lnTo>
                  <a:pt x="0" y="6"/>
                </a:lnTo>
                <a:lnTo>
                  <a:pt x="13" y="0"/>
                </a:lnTo>
                <a:lnTo>
                  <a:pt x="4" y="13"/>
                </a:lnTo>
                <a:close/>
              </a:path>
            </a:pathLst>
          </a:custGeom>
          <a:solidFill>
            <a:schemeClr val="accent1"/>
          </a:solidFill>
          <a:ln w="6350">
            <a:solidFill>
              <a:schemeClr val="tx2"/>
            </a:solidFill>
            <a:round/>
            <a:headEnd/>
            <a:tailEnd/>
          </a:ln>
        </p:spPr>
        <p:txBody>
          <a:bodyPr/>
          <a:lstStyle/>
          <a:p>
            <a:endParaRPr lang="en-US"/>
          </a:p>
        </p:txBody>
      </p:sp>
      <p:sp>
        <p:nvSpPr>
          <p:cNvPr id="792" name="Line 937"/>
          <p:cNvSpPr>
            <a:spLocks noChangeShapeType="1"/>
          </p:cNvSpPr>
          <p:nvPr/>
        </p:nvSpPr>
        <p:spPr bwMode="auto">
          <a:xfrm flipH="1">
            <a:off x="5667201" y="3158751"/>
            <a:ext cx="88867" cy="42030"/>
          </a:xfrm>
          <a:prstGeom prst="line">
            <a:avLst/>
          </a:prstGeom>
          <a:solidFill>
            <a:schemeClr val="accent1"/>
          </a:solidFill>
          <a:ln w="12700">
            <a:solidFill>
              <a:schemeClr val="tx2"/>
            </a:solidFill>
            <a:round/>
            <a:headEnd type="none" w="sm" len="sm"/>
            <a:tailEnd type="none" w="sm" len="sm"/>
          </a:ln>
        </p:spPr>
        <p:txBody>
          <a:bodyPr>
            <a:spAutoFit/>
          </a:bodyPr>
          <a:lstStyle/>
          <a:p>
            <a:endParaRPr lang="en-US"/>
          </a:p>
        </p:txBody>
      </p:sp>
    </p:spTree>
    <p:extLst>
      <p:ext uri="{BB962C8B-B14F-4D97-AF65-F5344CB8AC3E}">
        <p14:creationId xmlns:p14="http://schemas.microsoft.com/office/powerpoint/2010/main" val="1267274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1B661A7E-2E61-5F4C-ACEE-1049AB66297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93BA5BBA-D10C-3A49-8FF4-B66C53B50014}"/>
              </a:ext>
            </a:extLst>
          </p:cNvPr>
          <p:cNvSpPr>
            <a:spLocks noGrp="1"/>
          </p:cNvSpPr>
          <p:nvPr>
            <p:ph type="body" sz="quarter" idx="15"/>
          </p:nvPr>
        </p:nvSpPr>
        <p:spPr/>
        <p:txBody>
          <a:bodyPr/>
          <a:lstStyle/>
          <a:p>
            <a:endParaRPr lang="da-DK"/>
          </a:p>
        </p:txBody>
      </p:sp>
      <p:sp>
        <p:nvSpPr>
          <p:cNvPr id="4" name="Titel 3">
            <a:extLst>
              <a:ext uri="{FF2B5EF4-FFF2-40B4-BE49-F238E27FC236}">
                <a16:creationId xmlns:a16="http://schemas.microsoft.com/office/drawing/2014/main" id="{F5CA4D4A-464E-354E-9E27-F3B384B50072}"/>
              </a:ext>
            </a:extLst>
          </p:cNvPr>
          <p:cNvSpPr>
            <a:spLocks noGrp="1"/>
          </p:cNvSpPr>
          <p:nvPr>
            <p:ph type="title"/>
          </p:nvPr>
        </p:nvSpPr>
        <p:spPr/>
        <p:txBody>
          <a:bodyPr/>
          <a:lstStyle/>
          <a:p>
            <a:r>
              <a:rPr lang="da-DK" dirty="0"/>
              <a:t>Elements</a:t>
            </a:r>
          </a:p>
        </p:txBody>
      </p:sp>
    </p:spTree>
    <p:extLst>
      <p:ext uri="{BB962C8B-B14F-4D97-AF65-F5344CB8AC3E}">
        <p14:creationId xmlns:p14="http://schemas.microsoft.com/office/powerpoint/2010/main" val="30794100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2A96FCC-08E3-8D4F-86B8-B1A2BC556A14}"/>
              </a:ext>
            </a:extLst>
          </p:cNvPr>
          <p:cNvSpPr>
            <a:spLocks noGrp="1"/>
          </p:cNvSpPr>
          <p:nvPr>
            <p:ph type="body" sz="quarter" idx="13"/>
          </p:nvPr>
        </p:nvSpPr>
        <p:spPr/>
        <p:txBody>
          <a:bodyPr/>
          <a:lstStyle/>
          <a:p>
            <a:endParaRPr lang="en-GB"/>
          </a:p>
        </p:txBody>
      </p:sp>
      <p:sp>
        <p:nvSpPr>
          <p:cNvPr id="6" name="Text Placeholder 5">
            <a:extLst>
              <a:ext uri="{FF2B5EF4-FFF2-40B4-BE49-F238E27FC236}">
                <a16:creationId xmlns:a16="http://schemas.microsoft.com/office/drawing/2014/main" id="{AEBC70D3-5F31-294A-9ABC-735B4A2A6B4B}"/>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a:t>Canada Map</a:t>
            </a:r>
          </a:p>
        </p:txBody>
      </p:sp>
      <p:grpSp>
        <p:nvGrpSpPr>
          <p:cNvPr id="793" name="Group 792"/>
          <p:cNvGrpSpPr/>
          <p:nvPr/>
        </p:nvGrpSpPr>
        <p:grpSpPr>
          <a:xfrm>
            <a:off x="1792708" y="1684421"/>
            <a:ext cx="6112040" cy="3296654"/>
            <a:chOff x="2565459" y="1589601"/>
            <a:chExt cx="1795974" cy="2055677"/>
          </a:xfrm>
          <a:solidFill>
            <a:schemeClr val="bg2"/>
          </a:solidFill>
        </p:grpSpPr>
        <p:sp>
          <p:nvSpPr>
            <p:cNvPr id="86" name="Freeform 1155"/>
            <p:cNvSpPr>
              <a:spLocks/>
            </p:cNvSpPr>
            <p:nvPr/>
          </p:nvSpPr>
          <p:spPr bwMode="auto">
            <a:xfrm>
              <a:off x="2680126" y="2706594"/>
              <a:ext cx="28667" cy="3693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grpFill/>
            <a:ln w="6350">
              <a:solidFill>
                <a:schemeClr val="accent5"/>
              </a:solidFill>
              <a:round/>
              <a:headEnd/>
              <a:tailEnd/>
            </a:ln>
          </p:spPr>
          <p:txBody>
            <a:bodyPr/>
            <a:lstStyle/>
            <a:p>
              <a:endParaRPr lang="en-US"/>
            </a:p>
          </p:txBody>
        </p:sp>
        <p:sp>
          <p:nvSpPr>
            <p:cNvPr id="87" name="Freeform 1156"/>
            <p:cNvSpPr>
              <a:spLocks/>
            </p:cNvSpPr>
            <p:nvPr/>
          </p:nvSpPr>
          <p:spPr bwMode="auto">
            <a:xfrm>
              <a:off x="2668658" y="2730794"/>
              <a:ext cx="18633" cy="15284"/>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grpFill/>
            <a:ln w="6350">
              <a:solidFill>
                <a:schemeClr val="accent5"/>
              </a:solidFill>
              <a:round/>
              <a:headEnd/>
              <a:tailEnd/>
            </a:ln>
          </p:spPr>
          <p:txBody>
            <a:bodyPr/>
            <a:lstStyle/>
            <a:p>
              <a:endParaRPr lang="en-US"/>
            </a:p>
          </p:txBody>
        </p:sp>
        <p:sp>
          <p:nvSpPr>
            <p:cNvPr id="88" name="Freeform 1157"/>
            <p:cNvSpPr>
              <a:spLocks/>
            </p:cNvSpPr>
            <p:nvPr/>
          </p:nvSpPr>
          <p:spPr bwMode="auto">
            <a:xfrm>
              <a:off x="2869326" y="2421296"/>
              <a:ext cx="215001" cy="212700"/>
            </a:xfrm>
            <a:custGeom>
              <a:avLst/>
              <a:gdLst>
                <a:gd name="T0" fmla="*/ 2147483647 w 456"/>
                <a:gd name="T1" fmla="*/ 2147483647 h 510"/>
                <a:gd name="T2" fmla="*/ 2147483647 w 456"/>
                <a:gd name="T3" fmla="*/ 2147483647 h 510"/>
                <a:gd name="T4" fmla="*/ 2147483647 w 456"/>
                <a:gd name="T5" fmla="*/ 2147483647 h 510"/>
                <a:gd name="T6" fmla="*/ 2147483647 w 456"/>
                <a:gd name="T7" fmla="*/ 2147483647 h 510"/>
                <a:gd name="T8" fmla="*/ 2147483647 w 456"/>
                <a:gd name="T9" fmla="*/ 2147483647 h 510"/>
                <a:gd name="T10" fmla="*/ 2147483647 w 456"/>
                <a:gd name="T11" fmla="*/ 2147483647 h 510"/>
                <a:gd name="T12" fmla="*/ 2147483647 w 456"/>
                <a:gd name="T13" fmla="*/ 2147483647 h 510"/>
                <a:gd name="T14" fmla="*/ 2147483647 w 456"/>
                <a:gd name="T15" fmla="*/ 2147483647 h 510"/>
                <a:gd name="T16" fmla="*/ 2147483647 w 456"/>
                <a:gd name="T17" fmla="*/ 2147483647 h 510"/>
                <a:gd name="T18" fmla="*/ 2147483647 w 456"/>
                <a:gd name="T19" fmla="*/ 2147483647 h 510"/>
                <a:gd name="T20" fmla="*/ 2147483647 w 456"/>
                <a:gd name="T21" fmla="*/ 2147483647 h 510"/>
                <a:gd name="T22" fmla="*/ 2147483647 w 456"/>
                <a:gd name="T23" fmla="*/ 2147483647 h 510"/>
                <a:gd name="T24" fmla="*/ 2147483647 w 456"/>
                <a:gd name="T25" fmla="*/ 2147483647 h 510"/>
                <a:gd name="T26" fmla="*/ 2147483647 w 456"/>
                <a:gd name="T27" fmla="*/ 2147483647 h 510"/>
                <a:gd name="T28" fmla="*/ 2147483647 w 456"/>
                <a:gd name="T29" fmla="*/ 2147483647 h 510"/>
                <a:gd name="T30" fmla="*/ 2147483647 w 456"/>
                <a:gd name="T31" fmla="*/ 2147483647 h 510"/>
                <a:gd name="T32" fmla="*/ 2147483647 w 456"/>
                <a:gd name="T33" fmla="*/ 2147483647 h 510"/>
                <a:gd name="T34" fmla="*/ 0 w 456"/>
                <a:gd name="T35" fmla="*/ 2147483647 h 510"/>
                <a:gd name="T36" fmla="*/ 2147483647 w 456"/>
                <a:gd name="T37" fmla="*/ 2147483647 h 510"/>
                <a:gd name="T38" fmla="*/ 2147483647 w 456"/>
                <a:gd name="T39" fmla="*/ 2147483647 h 510"/>
                <a:gd name="T40" fmla="*/ 2147483647 w 456"/>
                <a:gd name="T41" fmla="*/ 2147483647 h 510"/>
                <a:gd name="T42" fmla="*/ 2147483647 w 456"/>
                <a:gd name="T43" fmla="*/ 2147483647 h 510"/>
                <a:gd name="T44" fmla="*/ 2147483647 w 456"/>
                <a:gd name="T45" fmla="*/ 2147483647 h 510"/>
                <a:gd name="T46" fmla="*/ 2147483647 w 456"/>
                <a:gd name="T47" fmla="*/ 2147483647 h 510"/>
                <a:gd name="T48" fmla="*/ 2147483647 w 456"/>
                <a:gd name="T49" fmla="*/ 2147483647 h 510"/>
                <a:gd name="T50" fmla="*/ 2147483647 w 456"/>
                <a:gd name="T51" fmla="*/ 2147483647 h 510"/>
                <a:gd name="T52" fmla="*/ 2147483647 w 456"/>
                <a:gd name="T53" fmla="*/ 2147483647 h 510"/>
                <a:gd name="T54" fmla="*/ 2147483647 w 456"/>
                <a:gd name="T55" fmla="*/ 2147483647 h 510"/>
                <a:gd name="T56" fmla="*/ 2147483647 w 456"/>
                <a:gd name="T57" fmla="*/ 2147483647 h 510"/>
                <a:gd name="T58" fmla="*/ 2147483647 w 456"/>
                <a:gd name="T59" fmla="*/ 2147483647 h 510"/>
                <a:gd name="T60" fmla="*/ 2147483647 w 456"/>
                <a:gd name="T61" fmla="*/ 2147483647 h 510"/>
                <a:gd name="T62" fmla="*/ 2147483647 w 456"/>
                <a:gd name="T63" fmla="*/ 2147483647 h 510"/>
                <a:gd name="T64" fmla="*/ 2147483647 w 456"/>
                <a:gd name="T65" fmla="*/ 2147483647 h 510"/>
                <a:gd name="T66" fmla="*/ 2147483647 w 456"/>
                <a:gd name="T67" fmla="*/ 2147483647 h 510"/>
                <a:gd name="T68" fmla="*/ 2147483647 w 456"/>
                <a:gd name="T69" fmla="*/ 2147483647 h 510"/>
                <a:gd name="T70" fmla="*/ 2147483647 w 456"/>
                <a:gd name="T71" fmla="*/ 2147483647 h 510"/>
                <a:gd name="T72" fmla="*/ 2147483647 w 456"/>
                <a:gd name="T73" fmla="*/ 2147483647 h 510"/>
                <a:gd name="T74" fmla="*/ 2147483647 w 456"/>
                <a:gd name="T75" fmla="*/ 2147483647 h 510"/>
                <a:gd name="T76" fmla="*/ 2147483647 w 456"/>
                <a:gd name="T77" fmla="*/ 2147483647 h 510"/>
                <a:gd name="T78" fmla="*/ 2147483647 w 456"/>
                <a:gd name="T79" fmla="*/ 2147483647 h 510"/>
                <a:gd name="T80" fmla="*/ 2147483647 w 456"/>
                <a:gd name="T81" fmla="*/ 2147483647 h 510"/>
                <a:gd name="T82" fmla="*/ 2147483647 w 456"/>
                <a:gd name="T83" fmla="*/ 2147483647 h 510"/>
                <a:gd name="T84" fmla="*/ 2147483647 w 456"/>
                <a:gd name="T85" fmla="*/ 2147483647 h 510"/>
                <a:gd name="T86" fmla="*/ 2147483647 w 456"/>
                <a:gd name="T87" fmla="*/ 2147483647 h 510"/>
                <a:gd name="T88" fmla="*/ 2147483647 w 456"/>
                <a:gd name="T89" fmla="*/ 2147483647 h 510"/>
                <a:gd name="T90" fmla="*/ 2147483647 w 456"/>
                <a:gd name="T91" fmla="*/ 0 h 510"/>
                <a:gd name="T92" fmla="*/ 2147483647 w 456"/>
                <a:gd name="T93" fmla="*/ 2147483647 h 510"/>
                <a:gd name="T94" fmla="*/ 2147483647 w 456"/>
                <a:gd name="T95" fmla="*/ 2147483647 h 510"/>
                <a:gd name="T96" fmla="*/ 2147483647 w 456"/>
                <a:gd name="T97" fmla="*/ 2147483647 h 510"/>
                <a:gd name="T98" fmla="*/ 2147483647 w 456"/>
                <a:gd name="T99" fmla="*/ 2147483647 h 510"/>
                <a:gd name="T100" fmla="*/ 2147483647 w 456"/>
                <a:gd name="T101" fmla="*/ 2147483647 h 510"/>
                <a:gd name="T102" fmla="*/ 2147483647 w 456"/>
                <a:gd name="T103" fmla="*/ 2147483647 h 510"/>
                <a:gd name="T104" fmla="*/ 2147483647 w 456"/>
                <a:gd name="T105" fmla="*/ 2147483647 h 5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56"/>
                <a:gd name="T160" fmla="*/ 0 h 510"/>
                <a:gd name="T161" fmla="*/ 456 w 456"/>
                <a:gd name="T162" fmla="*/ 510 h 5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56" h="510">
                  <a:moveTo>
                    <a:pt x="73" y="90"/>
                  </a:moveTo>
                  <a:lnTo>
                    <a:pt x="88" y="114"/>
                  </a:lnTo>
                  <a:lnTo>
                    <a:pt x="77" y="148"/>
                  </a:lnTo>
                  <a:lnTo>
                    <a:pt x="43" y="225"/>
                  </a:lnTo>
                  <a:lnTo>
                    <a:pt x="57" y="250"/>
                  </a:lnTo>
                  <a:lnTo>
                    <a:pt x="33" y="254"/>
                  </a:lnTo>
                  <a:lnTo>
                    <a:pt x="37" y="280"/>
                  </a:lnTo>
                  <a:lnTo>
                    <a:pt x="34" y="297"/>
                  </a:lnTo>
                  <a:lnTo>
                    <a:pt x="40" y="302"/>
                  </a:lnTo>
                  <a:lnTo>
                    <a:pt x="31" y="316"/>
                  </a:lnTo>
                  <a:lnTo>
                    <a:pt x="21" y="326"/>
                  </a:lnTo>
                  <a:lnTo>
                    <a:pt x="15" y="340"/>
                  </a:lnTo>
                  <a:lnTo>
                    <a:pt x="23" y="350"/>
                  </a:lnTo>
                  <a:lnTo>
                    <a:pt x="9" y="355"/>
                  </a:lnTo>
                  <a:lnTo>
                    <a:pt x="13" y="363"/>
                  </a:lnTo>
                  <a:lnTo>
                    <a:pt x="7" y="368"/>
                  </a:lnTo>
                  <a:lnTo>
                    <a:pt x="12" y="376"/>
                  </a:lnTo>
                  <a:lnTo>
                    <a:pt x="0" y="390"/>
                  </a:lnTo>
                  <a:lnTo>
                    <a:pt x="32" y="399"/>
                  </a:lnTo>
                  <a:lnTo>
                    <a:pt x="51" y="414"/>
                  </a:lnTo>
                  <a:lnTo>
                    <a:pt x="58" y="407"/>
                  </a:lnTo>
                  <a:lnTo>
                    <a:pt x="77" y="422"/>
                  </a:lnTo>
                  <a:lnTo>
                    <a:pt x="118" y="510"/>
                  </a:lnTo>
                  <a:lnTo>
                    <a:pt x="180" y="454"/>
                  </a:lnTo>
                  <a:lnTo>
                    <a:pt x="195" y="471"/>
                  </a:lnTo>
                  <a:lnTo>
                    <a:pt x="228" y="450"/>
                  </a:lnTo>
                  <a:lnTo>
                    <a:pt x="237" y="423"/>
                  </a:lnTo>
                  <a:lnTo>
                    <a:pt x="234" y="391"/>
                  </a:lnTo>
                  <a:lnTo>
                    <a:pt x="247" y="350"/>
                  </a:lnTo>
                  <a:lnTo>
                    <a:pt x="285" y="338"/>
                  </a:lnTo>
                  <a:lnTo>
                    <a:pt x="291" y="297"/>
                  </a:lnTo>
                  <a:lnTo>
                    <a:pt x="299" y="289"/>
                  </a:lnTo>
                  <a:lnTo>
                    <a:pt x="456" y="174"/>
                  </a:lnTo>
                  <a:lnTo>
                    <a:pt x="456" y="157"/>
                  </a:lnTo>
                  <a:lnTo>
                    <a:pt x="364" y="53"/>
                  </a:lnTo>
                  <a:lnTo>
                    <a:pt x="307" y="56"/>
                  </a:lnTo>
                  <a:lnTo>
                    <a:pt x="301" y="67"/>
                  </a:lnTo>
                  <a:lnTo>
                    <a:pt x="306" y="74"/>
                  </a:lnTo>
                  <a:lnTo>
                    <a:pt x="301" y="88"/>
                  </a:lnTo>
                  <a:lnTo>
                    <a:pt x="291" y="93"/>
                  </a:lnTo>
                  <a:lnTo>
                    <a:pt x="292" y="60"/>
                  </a:lnTo>
                  <a:lnTo>
                    <a:pt x="281" y="58"/>
                  </a:lnTo>
                  <a:lnTo>
                    <a:pt x="267" y="86"/>
                  </a:lnTo>
                  <a:lnTo>
                    <a:pt x="264" y="70"/>
                  </a:lnTo>
                  <a:lnTo>
                    <a:pt x="271" y="59"/>
                  </a:lnTo>
                  <a:lnTo>
                    <a:pt x="192" y="0"/>
                  </a:lnTo>
                  <a:lnTo>
                    <a:pt x="123" y="13"/>
                  </a:lnTo>
                  <a:lnTo>
                    <a:pt x="124" y="34"/>
                  </a:lnTo>
                  <a:lnTo>
                    <a:pt x="114" y="14"/>
                  </a:lnTo>
                  <a:lnTo>
                    <a:pt x="55" y="29"/>
                  </a:lnTo>
                  <a:lnTo>
                    <a:pt x="73" y="57"/>
                  </a:lnTo>
                  <a:lnTo>
                    <a:pt x="65" y="69"/>
                  </a:lnTo>
                  <a:lnTo>
                    <a:pt x="73" y="90"/>
                  </a:lnTo>
                  <a:close/>
                </a:path>
              </a:pathLst>
            </a:custGeom>
            <a:grpFill/>
            <a:ln w="6350">
              <a:solidFill>
                <a:schemeClr val="accent5"/>
              </a:solidFill>
              <a:round/>
              <a:headEnd/>
              <a:tailEnd/>
            </a:ln>
          </p:spPr>
          <p:txBody>
            <a:bodyPr/>
            <a:lstStyle/>
            <a:p>
              <a:endParaRPr lang="en-US"/>
            </a:p>
          </p:txBody>
        </p:sp>
        <p:sp>
          <p:nvSpPr>
            <p:cNvPr id="89" name="Freeform 1158"/>
            <p:cNvSpPr>
              <a:spLocks/>
            </p:cNvSpPr>
            <p:nvPr/>
          </p:nvSpPr>
          <p:spPr bwMode="auto">
            <a:xfrm>
              <a:off x="3009794" y="2501534"/>
              <a:ext cx="369801" cy="268741"/>
            </a:xfrm>
            <a:custGeom>
              <a:avLst/>
              <a:gdLst>
                <a:gd name="T0" fmla="*/ 2147483647 w 783"/>
                <a:gd name="T1" fmla="*/ 2147483647 h 643"/>
                <a:gd name="T2" fmla="*/ 2147483647 w 783"/>
                <a:gd name="T3" fmla="*/ 2147483647 h 643"/>
                <a:gd name="T4" fmla="*/ 2147483647 w 783"/>
                <a:gd name="T5" fmla="*/ 2147483647 h 643"/>
                <a:gd name="T6" fmla="*/ 2147483647 w 783"/>
                <a:gd name="T7" fmla="*/ 2147483647 h 643"/>
                <a:gd name="T8" fmla="*/ 2147483647 w 783"/>
                <a:gd name="T9" fmla="*/ 2147483647 h 643"/>
                <a:gd name="T10" fmla="*/ 2147483647 w 783"/>
                <a:gd name="T11" fmla="*/ 2147483647 h 643"/>
                <a:gd name="T12" fmla="*/ 2147483647 w 783"/>
                <a:gd name="T13" fmla="*/ 2147483647 h 643"/>
                <a:gd name="T14" fmla="*/ 0 w 783"/>
                <a:gd name="T15" fmla="*/ 2147483647 h 643"/>
                <a:gd name="T16" fmla="*/ 2147483647 w 783"/>
                <a:gd name="T17" fmla="*/ 2147483647 h 643"/>
                <a:gd name="T18" fmla="*/ 2147483647 w 783"/>
                <a:gd name="T19" fmla="*/ 2147483647 h 643"/>
                <a:gd name="T20" fmla="*/ 2147483647 w 783"/>
                <a:gd name="T21" fmla="*/ 2147483647 h 643"/>
                <a:gd name="T22" fmla="*/ 2147483647 w 783"/>
                <a:gd name="T23" fmla="*/ 2147483647 h 643"/>
                <a:gd name="T24" fmla="*/ 2147483647 w 783"/>
                <a:gd name="T25" fmla="*/ 2147483647 h 643"/>
                <a:gd name="T26" fmla="*/ 2147483647 w 783"/>
                <a:gd name="T27" fmla="*/ 2147483647 h 643"/>
                <a:gd name="T28" fmla="*/ 2147483647 w 783"/>
                <a:gd name="T29" fmla="*/ 2147483647 h 643"/>
                <a:gd name="T30" fmla="*/ 2147483647 w 783"/>
                <a:gd name="T31" fmla="*/ 2147483647 h 643"/>
                <a:gd name="T32" fmla="*/ 2147483647 w 783"/>
                <a:gd name="T33" fmla="*/ 2147483647 h 643"/>
                <a:gd name="T34" fmla="*/ 2147483647 w 783"/>
                <a:gd name="T35" fmla="*/ 2147483647 h 643"/>
                <a:gd name="T36" fmla="*/ 2147483647 w 783"/>
                <a:gd name="T37" fmla="*/ 2147483647 h 643"/>
                <a:gd name="T38" fmla="*/ 2147483647 w 783"/>
                <a:gd name="T39" fmla="*/ 2147483647 h 643"/>
                <a:gd name="T40" fmla="*/ 2147483647 w 783"/>
                <a:gd name="T41" fmla="*/ 2147483647 h 643"/>
                <a:gd name="T42" fmla="*/ 2147483647 w 783"/>
                <a:gd name="T43" fmla="*/ 2147483647 h 643"/>
                <a:gd name="T44" fmla="*/ 2147483647 w 783"/>
                <a:gd name="T45" fmla="*/ 2147483647 h 643"/>
                <a:gd name="T46" fmla="*/ 2147483647 w 783"/>
                <a:gd name="T47" fmla="*/ 2147483647 h 643"/>
                <a:gd name="T48" fmla="*/ 2147483647 w 783"/>
                <a:gd name="T49" fmla="*/ 2147483647 h 643"/>
                <a:gd name="T50" fmla="*/ 2147483647 w 783"/>
                <a:gd name="T51" fmla="*/ 2147483647 h 643"/>
                <a:gd name="T52" fmla="*/ 2147483647 w 783"/>
                <a:gd name="T53" fmla="*/ 2147483647 h 643"/>
                <a:gd name="T54" fmla="*/ 2147483647 w 783"/>
                <a:gd name="T55" fmla="*/ 2147483647 h 643"/>
                <a:gd name="T56" fmla="*/ 2147483647 w 783"/>
                <a:gd name="T57" fmla="*/ 2147483647 h 643"/>
                <a:gd name="T58" fmla="*/ 2147483647 w 783"/>
                <a:gd name="T59" fmla="*/ 2147483647 h 643"/>
                <a:gd name="T60" fmla="*/ 2147483647 w 783"/>
                <a:gd name="T61" fmla="*/ 2147483647 h 643"/>
                <a:gd name="T62" fmla="*/ 2147483647 w 783"/>
                <a:gd name="T63" fmla="*/ 2147483647 h 643"/>
                <a:gd name="T64" fmla="*/ 2147483647 w 783"/>
                <a:gd name="T65" fmla="*/ 2147483647 h 643"/>
                <a:gd name="T66" fmla="*/ 2147483647 w 783"/>
                <a:gd name="T67" fmla="*/ 2147483647 h 643"/>
                <a:gd name="T68" fmla="*/ 2147483647 w 783"/>
                <a:gd name="T69" fmla="*/ 2147483647 h 643"/>
                <a:gd name="T70" fmla="*/ 2147483647 w 783"/>
                <a:gd name="T71" fmla="*/ 2147483647 h 643"/>
                <a:gd name="T72" fmla="*/ 2147483647 w 783"/>
                <a:gd name="T73" fmla="*/ 2147483647 h 643"/>
                <a:gd name="T74" fmla="*/ 2147483647 w 783"/>
                <a:gd name="T75" fmla="*/ 2147483647 h 643"/>
                <a:gd name="T76" fmla="*/ 2147483647 w 783"/>
                <a:gd name="T77" fmla="*/ 2147483647 h 643"/>
                <a:gd name="T78" fmla="*/ 2147483647 w 783"/>
                <a:gd name="T79" fmla="*/ 2147483647 h 643"/>
                <a:gd name="T80" fmla="*/ 2147483647 w 783"/>
                <a:gd name="T81" fmla="*/ 2147483647 h 643"/>
                <a:gd name="T82" fmla="*/ 2147483647 w 783"/>
                <a:gd name="T83" fmla="*/ 2147483647 h 643"/>
                <a:gd name="T84" fmla="*/ 2147483647 w 783"/>
                <a:gd name="T85" fmla="*/ 2147483647 h 643"/>
                <a:gd name="T86" fmla="*/ 2147483647 w 783"/>
                <a:gd name="T87" fmla="*/ 2147483647 h 6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3"/>
                <a:gd name="T133" fmla="*/ 0 h 643"/>
                <a:gd name="T134" fmla="*/ 783 w 783"/>
                <a:gd name="T135" fmla="*/ 643 h 6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3" h="643">
                  <a:moveTo>
                    <a:pt x="179" y="547"/>
                  </a:moveTo>
                  <a:lnTo>
                    <a:pt x="135" y="546"/>
                  </a:lnTo>
                  <a:lnTo>
                    <a:pt x="106" y="526"/>
                  </a:lnTo>
                  <a:lnTo>
                    <a:pt x="92" y="511"/>
                  </a:lnTo>
                  <a:lnTo>
                    <a:pt x="71" y="457"/>
                  </a:lnTo>
                  <a:lnTo>
                    <a:pt x="198" y="417"/>
                  </a:lnTo>
                  <a:lnTo>
                    <a:pt x="279" y="428"/>
                  </a:lnTo>
                  <a:lnTo>
                    <a:pt x="288" y="419"/>
                  </a:lnTo>
                  <a:lnTo>
                    <a:pt x="285" y="409"/>
                  </a:lnTo>
                  <a:lnTo>
                    <a:pt x="220" y="372"/>
                  </a:lnTo>
                  <a:lnTo>
                    <a:pt x="152" y="391"/>
                  </a:lnTo>
                  <a:lnTo>
                    <a:pt x="122" y="378"/>
                  </a:lnTo>
                  <a:lnTo>
                    <a:pt x="63" y="379"/>
                  </a:lnTo>
                  <a:lnTo>
                    <a:pt x="32" y="328"/>
                  </a:lnTo>
                  <a:lnTo>
                    <a:pt x="63" y="304"/>
                  </a:lnTo>
                  <a:lnTo>
                    <a:pt x="105" y="295"/>
                  </a:lnTo>
                  <a:lnTo>
                    <a:pt x="139" y="285"/>
                  </a:lnTo>
                  <a:lnTo>
                    <a:pt x="127" y="277"/>
                  </a:lnTo>
                  <a:lnTo>
                    <a:pt x="39" y="284"/>
                  </a:lnTo>
                  <a:lnTo>
                    <a:pt x="33" y="272"/>
                  </a:lnTo>
                  <a:lnTo>
                    <a:pt x="52" y="261"/>
                  </a:lnTo>
                  <a:lnTo>
                    <a:pt x="51" y="244"/>
                  </a:lnTo>
                  <a:lnTo>
                    <a:pt x="5" y="247"/>
                  </a:lnTo>
                  <a:lnTo>
                    <a:pt x="0" y="214"/>
                  </a:lnTo>
                  <a:lnTo>
                    <a:pt x="24" y="170"/>
                  </a:lnTo>
                  <a:lnTo>
                    <a:pt x="40" y="164"/>
                  </a:lnTo>
                  <a:lnTo>
                    <a:pt x="36" y="149"/>
                  </a:lnTo>
                  <a:lnTo>
                    <a:pt x="24" y="143"/>
                  </a:lnTo>
                  <a:lnTo>
                    <a:pt x="27" y="118"/>
                  </a:lnTo>
                  <a:lnTo>
                    <a:pt x="35" y="107"/>
                  </a:lnTo>
                  <a:lnTo>
                    <a:pt x="114" y="35"/>
                  </a:lnTo>
                  <a:lnTo>
                    <a:pt x="186" y="0"/>
                  </a:lnTo>
                  <a:lnTo>
                    <a:pt x="204" y="11"/>
                  </a:lnTo>
                  <a:lnTo>
                    <a:pt x="213" y="56"/>
                  </a:lnTo>
                  <a:lnTo>
                    <a:pt x="212" y="74"/>
                  </a:lnTo>
                  <a:lnTo>
                    <a:pt x="186" y="104"/>
                  </a:lnTo>
                  <a:lnTo>
                    <a:pt x="189" y="114"/>
                  </a:lnTo>
                  <a:lnTo>
                    <a:pt x="230" y="100"/>
                  </a:lnTo>
                  <a:lnTo>
                    <a:pt x="234" y="89"/>
                  </a:lnTo>
                  <a:lnTo>
                    <a:pt x="229" y="77"/>
                  </a:lnTo>
                  <a:lnTo>
                    <a:pt x="234" y="65"/>
                  </a:lnTo>
                  <a:lnTo>
                    <a:pt x="257" y="49"/>
                  </a:lnTo>
                  <a:lnTo>
                    <a:pt x="332" y="100"/>
                  </a:lnTo>
                  <a:lnTo>
                    <a:pt x="333" y="113"/>
                  </a:lnTo>
                  <a:lnTo>
                    <a:pt x="303" y="151"/>
                  </a:lnTo>
                  <a:lnTo>
                    <a:pt x="333" y="130"/>
                  </a:lnTo>
                  <a:lnTo>
                    <a:pt x="329" y="147"/>
                  </a:lnTo>
                  <a:lnTo>
                    <a:pt x="338" y="150"/>
                  </a:lnTo>
                  <a:lnTo>
                    <a:pt x="354" y="116"/>
                  </a:lnTo>
                  <a:lnTo>
                    <a:pt x="379" y="128"/>
                  </a:lnTo>
                  <a:lnTo>
                    <a:pt x="377" y="113"/>
                  </a:lnTo>
                  <a:lnTo>
                    <a:pt x="390" y="116"/>
                  </a:lnTo>
                  <a:lnTo>
                    <a:pt x="378" y="97"/>
                  </a:lnTo>
                  <a:lnTo>
                    <a:pt x="393" y="97"/>
                  </a:lnTo>
                  <a:lnTo>
                    <a:pt x="366" y="53"/>
                  </a:lnTo>
                  <a:lnTo>
                    <a:pt x="406" y="68"/>
                  </a:lnTo>
                  <a:lnTo>
                    <a:pt x="444" y="121"/>
                  </a:lnTo>
                  <a:lnTo>
                    <a:pt x="443" y="146"/>
                  </a:lnTo>
                  <a:lnTo>
                    <a:pt x="451" y="190"/>
                  </a:lnTo>
                  <a:lnTo>
                    <a:pt x="463" y="202"/>
                  </a:lnTo>
                  <a:lnTo>
                    <a:pt x="457" y="214"/>
                  </a:lnTo>
                  <a:lnTo>
                    <a:pt x="458" y="232"/>
                  </a:lnTo>
                  <a:lnTo>
                    <a:pt x="470" y="244"/>
                  </a:lnTo>
                  <a:lnTo>
                    <a:pt x="484" y="233"/>
                  </a:lnTo>
                  <a:lnTo>
                    <a:pt x="500" y="208"/>
                  </a:lnTo>
                  <a:lnTo>
                    <a:pt x="491" y="194"/>
                  </a:lnTo>
                  <a:lnTo>
                    <a:pt x="483" y="159"/>
                  </a:lnTo>
                  <a:lnTo>
                    <a:pt x="484" y="130"/>
                  </a:lnTo>
                  <a:lnTo>
                    <a:pt x="465" y="48"/>
                  </a:lnTo>
                  <a:lnTo>
                    <a:pt x="470" y="39"/>
                  </a:lnTo>
                  <a:lnTo>
                    <a:pt x="463" y="30"/>
                  </a:lnTo>
                  <a:lnTo>
                    <a:pt x="476" y="21"/>
                  </a:lnTo>
                  <a:lnTo>
                    <a:pt x="468" y="7"/>
                  </a:lnTo>
                  <a:lnTo>
                    <a:pt x="494" y="8"/>
                  </a:lnTo>
                  <a:lnTo>
                    <a:pt x="521" y="31"/>
                  </a:lnTo>
                  <a:lnTo>
                    <a:pt x="524" y="24"/>
                  </a:lnTo>
                  <a:lnTo>
                    <a:pt x="518" y="13"/>
                  </a:lnTo>
                  <a:lnTo>
                    <a:pt x="530" y="15"/>
                  </a:lnTo>
                  <a:lnTo>
                    <a:pt x="588" y="81"/>
                  </a:lnTo>
                  <a:lnTo>
                    <a:pt x="584" y="96"/>
                  </a:lnTo>
                  <a:lnTo>
                    <a:pt x="593" y="110"/>
                  </a:lnTo>
                  <a:lnTo>
                    <a:pt x="602" y="193"/>
                  </a:lnTo>
                  <a:lnTo>
                    <a:pt x="630" y="253"/>
                  </a:lnTo>
                  <a:lnTo>
                    <a:pt x="631" y="279"/>
                  </a:lnTo>
                  <a:lnTo>
                    <a:pt x="624" y="282"/>
                  </a:lnTo>
                  <a:lnTo>
                    <a:pt x="622" y="311"/>
                  </a:lnTo>
                  <a:lnTo>
                    <a:pt x="625" y="321"/>
                  </a:lnTo>
                  <a:lnTo>
                    <a:pt x="674" y="379"/>
                  </a:lnTo>
                  <a:lnTo>
                    <a:pt x="701" y="377"/>
                  </a:lnTo>
                  <a:lnTo>
                    <a:pt x="734" y="417"/>
                  </a:lnTo>
                  <a:lnTo>
                    <a:pt x="751" y="421"/>
                  </a:lnTo>
                  <a:lnTo>
                    <a:pt x="755" y="440"/>
                  </a:lnTo>
                  <a:lnTo>
                    <a:pt x="780" y="440"/>
                  </a:lnTo>
                  <a:lnTo>
                    <a:pt x="783" y="458"/>
                  </a:lnTo>
                  <a:lnTo>
                    <a:pt x="778" y="499"/>
                  </a:lnTo>
                  <a:lnTo>
                    <a:pt x="765" y="499"/>
                  </a:lnTo>
                  <a:lnTo>
                    <a:pt x="758" y="484"/>
                  </a:lnTo>
                  <a:lnTo>
                    <a:pt x="758" y="466"/>
                  </a:lnTo>
                  <a:lnTo>
                    <a:pt x="751" y="499"/>
                  </a:lnTo>
                  <a:lnTo>
                    <a:pt x="740" y="497"/>
                  </a:lnTo>
                  <a:lnTo>
                    <a:pt x="732" y="468"/>
                  </a:lnTo>
                  <a:lnTo>
                    <a:pt x="707" y="491"/>
                  </a:lnTo>
                  <a:lnTo>
                    <a:pt x="712" y="515"/>
                  </a:lnTo>
                  <a:lnTo>
                    <a:pt x="685" y="513"/>
                  </a:lnTo>
                  <a:lnTo>
                    <a:pt x="688" y="549"/>
                  </a:lnTo>
                  <a:lnTo>
                    <a:pt x="709" y="521"/>
                  </a:lnTo>
                  <a:lnTo>
                    <a:pt x="728" y="520"/>
                  </a:lnTo>
                  <a:lnTo>
                    <a:pt x="737" y="526"/>
                  </a:lnTo>
                  <a:lnTo>
                    <a:pt x="725" y="544"/>
                  </a:lnTo>
                  <a:lnTo>
                    <a:pt x="727" y="558"/>
                  </a:lnTo>
                  <a:lnTo>
                    <a:pt x="733" y="549"/>
                  </a:lnTo>
                  <a:lnTo>
                    <a:pt x="753" y="564"/>
                  </a:lnTo>
                  <a:lnTo>
                    <a:pt x="740" y="584"/>
                  </a:lnTo>
                  <a:lnTo>
                    <a:pt x="701" y="594"/>
                  </a:lnTo>
                  <a:lnTo>
                    <a:pt x="693" y="607"/>
                  </a:lnTo>
                  <a:lnTo>
                    <a:pt x="594" y="588"/>
                  </a:lnTo>
                  <a:lnTo>
                    <a:pt x="606" y="569"/>
                  </a:lnTo>
                  <a:lnTo>
                    <a:pt x="546" y="558"/>
                  </a:lnTo>
                  <a:lnTo>
                    <a:pt x="546" y="531"/>
                  </a:lnTo>
                  <a:lnTo>
                    <a:pt x="534" y="520"/>
                  </a:lnTo>
                  <a:lnTo>
                    <a:pt x="516" y="537"/>
                  </a:lnTo>
                  <a:lnTo>
                    <a:pt x="521" y="556"/>
                  </a:lnTo>
                  <a:lnTo>
                    <a:pt x="501" y="582"/>
                  </a:lnTo>
                  <a:lnTo>
                    <a:pt x="451" y="591"/>
                  </a:lnTo>
                  <a:lnTo>
                    <a:pt x="443" y="604"/>
                  </a:lnTo>
                  <a:lnTo>
                    <a:pt x="408" y="624"/>
                  </a:lnTo>
                  <a:lnTo>
                    <a:pt x="249" y="643"/>
                  </a:lnTo>
                  <a:lnTo>
                    <a:pt x="259" y="634"/>
                  </a:lnTo>
                  <a:lnTo>
                    <a:pt x="238" y="614"/>
                  </a:lnTo>
                  <a:lnTo>
                    <a:pt x="231" y="595"/>
                  </a:lnTo>
                  <a:lnTo>
                    <a:pt x="234" y="572"/>
                  </a:lnTo>
                  <a:lnTo>
                    <a:pt x="216" y="550"/>
                  </a:lnTo>
                  <a:lnTo>
                    <a:pt x="179" y="547"/>
                  </a:lnTo>
                  <a:close/>
                </a:path>
              </a:pathLst>
            </a:custGeom>
            <a:grpFill/>
            <a:ln w="6350">
              <a:solidFill>
                <a:schemeClr val="accent5"/>
              </a:solidFill>
              <a:round/>
              <a:headEnd/>
              <a:tailEnd/>
            </a:ln>
          </p:spPr>
          <p:txBody>
            <a:bodyPr/>
            <a:lstStyle/>
            <a:p>
              <a:endParaRPr lang="en-US"/>
            </a:p>
          </p:txBody>
        </p:sp>
        <p:sp>
          <p:nvSpPr>
            <p:cNvPr id="90" name="Freeform 1159"/>
            <p:cNvSpPr>
              <a:spLocks/>
            </p:cNvSpPr>
            <p:nvPr/>
          </p:nvSpPr>
          <p:spPr bwMode="auto">
            <a:xfrm>
              <a:off x="3253462" y="2478610"/>
              <a:ext cx="48734" cy="52219"/>
            </a:xfrm>
            <a:custGeom>
              <a:avLst/>
              <a:gdLst>
                <a:gd name="T0" fmla="*/ 2147483647 w 108"/>
                <a:gd name="T1" fmla="*/ 2147483647 h 126"/>
                <a:gd name="T2" fmla="*/ 2147483647 w 108"/>
                <a:gd name="T3" fmla="*/ 2147483647 h 126"/>
                <a:gd name="T4" fmla="*/ 2147483647 w 108"/>
                <a:gd name="T5" fmla="*/ 2147483647 h 126"/>
                <a:gd name="T6" fmla="*/ 2147483647 w 108"/>
                <a:gd name="T7" fmla="*/ 0 h 126"/>
                <a:gd name="T8" fmla="*/ 0 w 108"/>
                <a:gd name="T9" fmla="*/ 2147483647 h 126"/>
                <a:gd name="T10" fmla="*/ 2147483647 w 108"/>
                <a:gd name="T11" fmla="*/ 2147483647 h 126"/>
                <a:gd name="T12" fmla="*/ 2147483647 w 108"/>
                <a:gd name="T13" fmla="*/ 2147483647 h 126"/>
                <a:gd name="T14" fmla="*/ 2147483647 w 108"/>
                <a:gd name="T15" fmla="*/ 2147483647 h 126"/>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26"/>
                <a:gd name="T26" fmla="*/ 108 w 108"/>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26">
                  <a:moveTo>
                    <a:pt x="90" y="96"/>
                  </a:moveTo>
                  <a:lnTo>
                    <a:pt x="108" y="25"/>
                  </a:lnTo>
                  <a:lnTo>
                    <a:pt x="95" y="7"/>
                  </a:lnTo>
                  <a:lnTo>
                    <a:pt x="27" y="0"/>
                  </a:lnTo>
                  <a:lnTo>
                    <a:pt x="0" y="40"/>
                  </a:lnTo>
                  <a:lnTo>
                    <a:pt x="35" y="67"/>
                  </a:lnTo>
                  <a:lnTo>
                    <a:pt x="74" y="126"/>
                  </a:lnTo>
                  <a:lnTo>
                    <a:pt x="90" y="96"/>
                  </a:lnTo>
                  <a:close/>
                </a:path>
              </a:pathLst>
            </a:custGeom>
            <a:grpFill/>
            <a:ln w="6350">
              <a:solidFill>
                <a:schemeClr val="accent5"/>
              </a:solidFill>
              <a:round/>
              <a:headEnd/>
              <a:tailEnd/>
            </a:ln>
          </p:spPr>
          <p:txBody>
            <a:bodyPr/>
            <a:lstStyle/>
            <a:p>
              <a:endParaRPr lang="en-US"/>
            </a:p>
          </p:txBody>
        </p:sp>
        <p:sp>
          <p:nvSpPr>
            <p:cNvPr id="91" name="Freeform 1160"/>
            <p:cNvSpPr>
              <a:spLocks/>
            </p:cNvSpPr>
            <p:nvPr/>
          </p:nvSpPr>
          <p:spPr bwMode="auto">
            <a:xfrm>
              <a:off x="3345195" y="2467147"/>
              <a:ext cx="123267" cy="159208"/>
            </a:xfrm>
            <a:custGeom>
              <a:avLst/>
              <a:gdLst>
                <a:gd name="T0" fmla="*/ 2147483647 w 260"/>
                <a:gd name="T1" fmla="*/ 2147483647 h 379"/>
                <a:gd name="T2" fmla="*/ 2147483647 w 260"/>
                <a:gd name="T3" fmla="*/ 2147483647 h 379"/>
                <a:gd name="T4" fmla="*/ 2147483647 w 260"/>
                <a:gd name="T5" fmla="*/ 2147483647 h 379"/>
                <a:gd name="T6" fmla="*/ 2147483647 w 260"/>
                <a:gd name="T7" fmla="*/ 2147483647 h 379"/>
                <a:gd name="T8" fmla="*/ 2147483647 w 260"/>
                <a:gd name="T9" fmla="*/ 2147483647 h 379"/>
                <a:gd name="T10" fmla="*/ 2147483647 w 260"/>
                <a:gd name="T11" fmla="*/ 2147483647 h 379"/>
                <a:gd name="T12" fmla="*/ 0 w 260"/>
                <a:gd name="T13" fmla="*/ 2147483647 h 379"/>
                <a:gd name="T14" fmla="*/ 2147483647 w 260"/>
                <a:gd name="T15" fmla="*/ 2147483647 h 379"/>
                <a:gd name="T16" fmla="*/ 2147483647 w 260"/>
                <a:gd name="T17" fmla="*/ 2147483647 h 379"/>
                <a:gd name="T18" fmla="*/ 2147483647 w 260"/>
                <a:gd name="T19" fmla="*/ 2147483647 h 379"/>
                <a:gd name="T20" fmla="*/ 2147483647 w 260"/>
                <a:gd name="T21" fmla="*/ 2147483647 h 379"/>
                <a:gd name="T22" fmla="*/ 2147483647 w 260"/>
                <a:gd name="T23" fmla="*/ 2147483647 h 379"/>
                <a:gd name="T24" fmla="*/ 2147483647 w 260"/>
                <a:gd name="T25" fmla="*/ 2147483647 h 379"/>
                <a:gd name="T26" fmla="*/ 2147483647 w 260"/>
                <a:gd name="T27" fmla="*/ 2147483647 h 379"/>
                <a:gd name="T28" fmla="*/ 2147483647 w 260"/>
                <a:gd name="T29" fmla="*/ 2147483647 h 379"/>
                <a:gd name="T30" fmla="*/ 2147483647 w 260"/>
                <a:gd name="T31" fmla="*/ 2147483647 h 379"/>
                <a:gd name="T32" fmla="*/ 2147483647 w 260"/>
                <a:gd name="T33" fmla="*/ 2147483647 h 379"/>
                <a:gd name="T34" fmla="*/ 2147483647 w 260"/>
                <a:gd name="T35" fmla="*/ 2147483647 h 379"/>
                <a:gd name="T36" fmla="*/ 2147483647 w 260"/>
                <a:gd name="T37" fmla="*/ 2147483647 h 379"/>
                <a:gd name="T38" fmla="*/ 2147483647 w 260"/>
                <a:gd name="T39" fmla="*/ 2147483647 h 379"/>
                <a:gd name="T40" fmla="*/ 2147483647 w 260"/>
                <a:gd name="T41" fmla="*/ 2147483647 h 379"/>
                <a:gd name="T42" fmla="*/ 2147483647 w 260"/>
                <a:gd name="T43" fmla="*/ 2147483647 h 379"/>
                <a:gd name="T44" fmla="*/ 2147483647 w 260"/>
                <a:gd name="T45" fmla="*/ 2147483647 h 379"/>
                <a:gd name="T46" fmla="*/ 2147483647 w 260"/>
                <a:gd name="T47" fmla="*/ 2147483647 h 379"/>
                <a:gd name="T48" fmla="*/ 2147483647 w 260"/>
                <a:gd name="T49" fmla="*/ 2147483647 h 379"/>
                <a:gd name="T50" fmla="*/ 2147483647 w 260"/>
                <a:gd name="T51" fmla="*/ 2147483647 h 379"/>
                <a:gd name="T52" fmla="*/ 2147483647 w 260"/>
                <a:gd name="T53" fmla="*/ 2147483647 h 379"/>
                <a:gd name="T54" fmla="*/ 2147483647 w 260"/>
                <a:gd name="T55" fmla="*/ 2147483647 h 379"/>
                <a:gd name="T56" fmla="*/ 2147483647 w 260"/>
                <a:gd name="T57" fmla="*/ 2147483647 h 379"/>
                <a:gd name="T58" fmla="*/ 2147483647 w 260"/>
                <a:gd name="T59" fmla="*/ 2147483647 h 379"/>
                <a:gd name="T60" fmla="*/ 2147483647 w 260"/>
                <a:gd name="T61" fmla="*/ 2147483647 h 379"/>
                <a:gd name="T62" fmla="*/ 2147483647 w 260"/>
                <a:gd name="T63" fmla="*/ 2147483647 h 379"/>
                <a:gd name="T64" fmla="*/ 2147483647 w 260"/>
                <a:gd name="T65" fmla="*/ 0 h 379"/>
                <a:gd name="T66" fmla="*/ 2147483647 w 260"/>
                <a:gd name="T67" fmla="*/ 2147483647 h 379"/>
                <a:gd name="T68" fmla="*/ 2147483647 w 260"/>
                <a:gd name="T69" fmla="*/ 2147483647 h 379"/>
                <a:gd name="T70" fmla="*/ 2147483647 w 260"/>
                <a:gd name="T71" fmla="*/ 2147483647 h 379"/>
                <a:gd name="T72" fmla="*/ 2147483647 w 260"/>
                <a:gd name="T73" fmla="*/ 2147483647 h 379"/>
                <a:gd name="T74" fmla="*/ 2147483647 w 260"/>
                <a:gd name="T75" fmla="*/ 2147483647 h 379"/>
                <a:gd name="T76" fmla="*/ 2147483647 w 260"/>
                <a:gd name="T77" fmla="*/ 2147483647 h 379"/>
                <a:gd name="T78" fmla="*/ 2147483647 w 260"/>
                <a:gd name="T79" fmla="*/ 2147483647 h 379"/>
                <a:gd name="T80" fmla="*/ 2147483647 w 260"/>
                <a:gd name="T81" fmla="*/ 2147483647 h 379"/>
                <a:gd name="T82" fmla="*/ 2147483647 w 260"/>
                <a:gd name="T83" fmla="*/ 2147483647 h 379"/>
                <a:gd name="T84" fmla="*/ 2147483647 w 260"/>
                <a:gd name="T85" fmla="*/ 2147483647 h 379"/>
                <a:gd name="T86" fmla="*/ 2147483647 w 260"/>
                <a:gd name="T87" fmla="*/ 2147483647 h 379"/>
                <a:gd name="T88" fmla="*/ 2147483647 w 260"/>
                <a:gd name="T89" fmla="*/ 2147483647 h 379"/>
                <a:gd name="T90" fmla="*/ 2147483647 w 260"/>
                <a:gd name="T91" fmla="*/ 2147483647 h 379"/>
                <a:gd name="T92" fmla="*/ 2147483647 w 260"/>
                <a:gd name="T93" fmla="*/ 2147483647 h 379"/>
                <a:gd name="T94" fmla="*/ 2147483647 w 260"/>
                <a:gd name="T95" fmla="*/ 2147483647 h 379"/>
                <a:gd name="T96" fmla="*/ 2147483647 w 260"/>
                <a:gd name="T97" fmla="*/ 2147483647 h 379"/>
                <a:gd name="T98" fmla="*/ 2147483647 w 260"/>
                <a:gd name="T99" fmla="*/ 2147483647 h 379"/>
                <a:gd name="T100" fmla="*/ 2147483647 w 260"/>
                <a:gd name="T101" fmla="*/ 2147483647 h 379"/>
                <a:gd name="T102" fmla="*/ 2147483647 w 260"/>
                <a:gd name="T103" fmla="*/ 2147483647 h 379"/>
                <a:gd name="T104" fmla="*/ 2147483647 w 260"/>
                <a:gd name="T105" fmla="*/ 2147483647 h 379"/>
                <a:gd name="T106" fmla="*/ 2147483647 w 260"/>
                <a:gd name="T107" fmla="*/ 2147483647 h 379"/>
                <a:gd name="T108" fmla="*/ 2147483647 w 260"/>
                <a:gd name="T109" fmla="*/ 2147483647 h 379"/>
                <a:gd name="T110" fmla="*/ 2147483647 w 260"/>
                <a:gd name="T111" fmla="*/ 2147483647 h 379"/>
                <a:gd name="T112" fmla="*/ 2147483647 w 260"/>
                <a:gd name="T113" fmla="*/ 2147483647 h 379"/>
                <a:gd name="T114" fmla="*/ 2147483647 w 260"/>
                <a:gd name="T115" fmla="*/ 2147483647 h 379"/>
                <a:gd name="T116" fmla="*/ 2147483647 w 260"/>
                <a:gd name="T117" fmla="*/ 2147483647 h 3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0"/>
                <a:gd name="T178" fmla="*/ 0 h 379"/>
                <a:gd name="T179" fmla="*/ 260 w 260"/>
                <a:gd name="T180" fmla="*/ 379 h 3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0" h="379">
                  <a:moveTo>
                    <a:pt x="107" y="294"/>
                  </a:moveTo>
                  <a:lnTo>
                    <a:pt x="91" y="263"/>
                  </a:lnTo>
                  <a:lnTo>
                    <a:pt x="77" y="267"/>
                  </a:lnTo>
                  <a:lnTo>
                    <a:pt x="69" y="248"/>
                  </a:lnTo>
                  <a:lnTo>
                    <a:pt x="42" y="252"/>
                  </a:lnTo>
                  <a:lnTo>
                    <a:pt x="1" y="192"/>
                  </a:lnTo>
                  <a:lnTo>
                    <a:pt x="0" y="177"/>
                  </a:lnTo>
                  <a:lnTo>
                    <a:pt x="5" y="148"/>
                  </a:lnTo>
                  <a:lnTo>
                    <a:pt x="21" y="140"/>
                  </a:lnTo>
                  <a:lnTo>
                    <a:pt x="49" y="170"/>
                  </a:lnTo>
                  <a:lnTo>
                    <a:pt x="55" y="191"/>
                  </a:lnTo>
                  <a:lnTo>
                    <a:pt x="97" y="174"/>
                  </a:lnTo>
                  <a:lnTo>
                    <a:pt x="91" y="154"/>
                  </a:lnTo>
                  <a:lnTo>
                    <a:pt x="100" y="162"/>
                  </a:lnTo>
                  <a:lnTo>
                    <a:pt x="104" y="149"/>
                  </a:lnTo>
                  <a:lnTo>
                    <a:pt x="87" y="132"/>
                  </a:lnTo>
                  <a:lnTo>
                    <a:pt x="86" y="112"/>
                  </a:lnTo>
                  <a:lnTo>
                    <a:pt x="109" y="114"/>
                  </a:lnTo>
                  <a:lnTo>
                    <a:pt x="92" y="89"/>
                  </a:lnTo>
                  <a:lnTo>
                    <a:pt x="81" y="103"/>
                  </a:lnTo>
                  <a:lnTo>
                    <a:pt x="60" y="96"/>
                  </a:lnTo>
                  <a:lnTo>
                    <a:pt x="46" y="69"/>
                  </a:lnTo>
                  <a:lnTo>
                    <a:pt x="63" y="61"/>
                  </a:lnTo>
                  <a:lnTo>
                    <a:pt x="78" y="77"/>
                  </a:lnTo>
                  <a:lnTo>
                    <a:pt x="77" y="55"/>
                  </a:lnTo>
                  <a:lnTo>
                    <a:pt x="52" y="36"/>
                  </a:lnTo>
                  <a:lnTo>
                    <a:pt x="75" y="17"/>
                  </a:lnTo>
                  <a:lnTo>
                    <a:pt x="97" y="30"/>
                  </a:lnTo>
                  <a:lnTo>
                    <a:pt x="98" y="20"/>
                  </a:lnTo>
                  <a:lnTo>
                    <a:pt x="85" y="10"/>
                  </a:lnTo>
                  <a:lnTo>
                    <a:pt x="93" y="3"/>
                  </a:lnTo>
                  <a:lnTo>
                    <a:pt x="151" y="29"/>
                  </a:lnTo>
                  <a:lnTo>
                    <a:pt x="215" y="0"/>
                  </a:lnTo>
                  <a:lnTo>
                    <a:pt x="231" y="22"/>
                  </a:lnTo>
                  <a:lnTo>
                    <a:pt x="229" y="40"/>
                  </a:lnTo>
                  <a:lnTo>
                    <a:pt x="206" y="61"/>
                  </a:lnTo>
                  <a:lnTo>
                    <a:pt x="220" y="67"/>
                  </a:lnTo>
                  <a:lnTo>
                    <a:pt x="221" y="88"/>
                  </a:lnTo>
                  <a:lnTo>
                    <a:pt x="197" y="102"/>
                  </a:lnTo>
                  <a:lnTo>
                    <a:pt x="173" y="134"/>
                  </a:lnTo>
                  <a:lnTo>
                    <a:pt x="172" y="153"/>
                  </a:lnTo>
                  <a:lnTo>
                    <a:pt x="208" y="135"/>
                  </a:lnTo>
                  <a:lnTo>
                    <a:pt x="229" y="174"/>
                  </a:lnTo>
                  <a:lnTo>
                    <a:pt x="227" y="194"/>
                  </a:lnTo>
                  <a:lnTo>
                    <a:pt x="247" y="174"/>
                  </a:lnTo>
                  <a:lnTo>
                    <a:pt x="260" y="214"/>
                  </a:lnTo>
                  <a:lnTo>
                    <a:pt x="246" y="235"/>
                  </a:lnTo>
                  <a:lnTo>
                    <a:pt x="254" y="264"/>
                  </a:lnTo>
                  <a:lnTo>
                    <a:pt x="247" y="277"/>
                  </a:lnTo>
                  <a:lnTo>
                    <a:pt x="254" y="281"/>
                  </a:lnTo>
                  <a:lnTo>
                    <a:pt x="256" y="302"/>
                  </a:lnTo>
                  <a:lnTo>
                    <a:pt x="219" y="336"/>
                  </a:lnTo>
                  <a:lnTo>
                    <a:pt x="186" y="331"/>
                  </a:lnTo>
                  <a:lnTo>
                    <a:pt x="195" y="357"/>
                  </a:lnTo>
                  <a:lnTo>
                    <a:pt x="173" y="379"/>
                  </a:lnTo>
                  <a:lnTo>
                    <a:pt x="161" y="365"/>
                  </a:lnTo>
                  <a:lnTo>
                    <a:pt x="146" y="371"/>
                  </a:lnTo>
                  <a:lnTo>
                    <a:pt x="131" y="318"/>
                  </a:lnTo>
                  <a:lnTo>
                    <a:pt x="107" y="294"/>
                  </a:lnTo>
                  <a:close/>
                </a:path>
              </a:pathLst>
            </a:custGeom>
            <a:grpFill/>
            <a:ln w="6350">
              <a:solidFill>
                <a:schemeClr val="accent5"/>
              </a:solidFill>
              <a:round/>
              <a:headEnd/>
              <a:tailEnd/>
            </a:ln>
          </p:spPr>
          <p:txBody>
            <a:bodyPr/>
            <a:lstStyle/>
            <a:p>
              <a:endParaRPr lang="en-US"/>
            </a:p>
          </p:txBody>
        </p:sp>
        <p:sp>
          <p:nvSpPr>
            <p:cNvPr id="92" name="Freeform 1161"/>
            <p:cNvSpPr>
              <a:spLocks/>
            </p:cNvSpPr>
            <p:nvPr/>
          </p:nvSpPr>
          <p:spPr bwMode="auto">
            <a:xfrm>
              <a:off x="3451262" y="2515545"/>
              <a:ext cx="14334" cy="15284"/>
            </a:xfrm>
            <a:custGeom>
              <a:avLst/>
              <a:gdLst>
                <a:gd name="T0" fmla="*/ 2147483647 w 27"/>
                <a:gd name="T1" fmla="*/ 2147483647 h 39"/>
                <a:gd name="T2" fmla="*/ 2147483647 w 27"/>
                <a:gd name="T3" fmla="*/ 2147483647 h 39"/>
                <a:gd name="T4" fmla="*/ 2147483647 w 27"/>
                <a:gd name="T5" fmla="*/ 0 h 39"/>
                <a:gd name="T6" fmla="*/ 0 w 27"/>
                <a:gd name="T7" fmla="*/ 2147483647 h 39"/>
                <a:gd name="T8" fmla="*/ 2147483647 w 27"/>
                <a:gd name="T9" fmla="*/ 2147483647 h 39"/>
                <a:gd name="T10" fmla="*/ 2147483647 w 27"/>
                <a:gd name="T11" fmla="*/ 2147483647 h 39"/>
                <a:gd name="T12" fmla="*/ 0 60000 65536"/>
                <a:gd name="T13" fmla="*/ 0 60000 65536"/>
                <a:gd name="T14" fmla="*/ 0 60000 65536"/>
                <a:gd name="T15" fmla="*/ 0 60000 65536"/>
                <a:gd name="T16" fmla="*/ 0 60000 65536"/>
                <a:gd name="T17" fmla="*/ 0 60000 65536"/>
                <a:gd name="T18" fmla="*/ 0 w 27"/>
                <a:gd name="T19" fmla="*/ 0 h 39"/>
                <a:gd name="T20" fmla="*/ 27 w 27"/>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7" h="39">
                  <a:moveTo>
                    <a:pt x="23" y="25"/>
                  </a:moveTo>
                  <a:lnTo>
                    <a:pt x="27" y="15"/>
                  </a:lnTo>
                  <a:lnTo>
                    <a:pt x="18" y="0"/>
                  </a:lnTo>
                  <a:lnTo>
                    <a:pt x="0" y="11"/>
                  </a:lnTo>
                  <a:lnTo>
                    <a:pt x="8" y="39"/>
                  </a:lnTo>
                  <a:lnTo>
                    <a:pt x="23" y="25"/>
                  </a:lnTo>
                  <a:close/>
                </a:path>
              </a:pathLst>
            </a:custGeom>
            <a:grpFill/>
            <a:ln w="6350">
              <a:solidFill>
                <a:schemeClr val="accent5"/>
              </a:solidFill>
              <a:round/>
              <a:headEnd/>
              <a:tailEnd/>
            </a:ln>
          </p:spPr>
          <p:txBody>
            <a:bodyPr/>
            <a:lstStyle/>
            <a:p>
              <a:endParaRPr lang="en-US"/>
            </a:p>
          </p:txBody>
        </p:sp>
        <p:sp>
          <p:nvSpPr>
            <p:cNvPr id="93" name="Freeform 1162"/>
            <p:cNvSpPr>
              <a:spLocks/>
            </p:cNvSpPr>
            <p:nvPr/>
          </p:nvSpPr>
          <p:spPr bwMode="auto">
            <a:xfrm>
              <a:off x="3406829" y="2455685"/>
              <a:ext cx="32967" cy="17831"/>
            </a:xfrm>
            <a:custGeom>
              <a:avLst/>
              <a:gdLst>
                <a:gd name="T0" fmla="*/ 2147483647 w 68"/>
                <a:gd name="T1" fmla="*/ 2147483647 h 43"/>
                <a:gd name="T2" fmla="*/ 2147483647 w 68"/>
                <a:gd name="T3" fmla="*/ 2147483647 h 43"/>
                <a:gd name="T4" fmla="*/ 2147483647 w 68"/>
                <a:gd name="T5" fmla="*/ 0 h 43"/>
                <a:gd name="T6" fmla="*/ 0 w 68"/>
                <a:gd name="T7" fmla="*/ 2147483647 h 43"/>
                <a:gd name="T8" fmla="*/ 2147483647 w 68"/>
                <a:gd name="T9" fmla="*/ 2147483647 h 43"/>
                <a:gd name="T10" fmla="*/ 0 60000 65536"/>
                <a:gd name="T11" fmla="*/ 0 60000 65536"/>
                <a:gd name="T12" fmla="*/ 0 60000 65536"/>
                <a:gd name="T13" fmla="*/ 0 60000 65536"/>
                <a:gd name="T14" fmla="*/ 0 60000 65536"/>
                <a:gd name="T15" fmla="*/ 0 w 68"/>
                <a:gd name="T16" fmla="*/ 0 h 43"/>
                <a:gd name="T17" fmla="*/ 68 w 68"/>
                <a:gd name="T18" fmla="*/ 43 h 43"/>
              </a:gdLst>
              <a:ahLst/>
              <a:cxnLst>
                <a:cxn ang="T10">
                  <a:pos x="T0" y="T1"/>
                </a:cxn>
                <a:cxn ang="T11">
                  <a:pos x="T2" y="T3"/>
                </a:cxn>
                <a:cxn ang="T12">
                  <a:pos x="T4" y="T5"/>
                </a:cxn>
                <a:cxn ang="T13">
                  <a:pos x="T6" y="T7"/>
                </a:cxn>
                <a:cxn ang="T14">
                  <a:pos x="T8" y="T9"/>
                </a:cxn>
              </a:cxnLst>
              <a:rect l="T15" t="T16" r="T17" b="T18"/>
              <a:pathLst>
                <a:path w="68" h="43">
                  <a:moveTo>
                    <a:pt x="33" y="43"/>
                  </a:moveTo>
                  <a:lnTo>
                    <a:pt x="58" y="25"/>
                  </a:lnTo>
                  <a:lnTo>
                    <a:pt x="68" y="0"/>
                  </a:lnTo>
                  <a:lnTo>
                    <a:pt x="0" y="36"/>
                  </a:lnTo>
                  <a:lnTo>
                    <a:pt x="33" y="43"/>
                  </a:lnTo>
                  <a:close/>
                </a:path>
              </a:pathLst>
            </a:custGeom>
            <a:grpFill/>
            <a:ln w="6350">
              <a:solidFill>
                <a:schemeClr val="accent5"/>
              </a:solidFill>
              <a:round/>
              <a:headEnd/>
              <a:tailEnd/>
            </a:ln>
          </p:spPr>
          <p:txBody>
            <a:bodyPr/>
            <a:lstStyle/>
            <a:p>
              <a:endParaRPr lang="en-US"/>
            </a:p>
          </p:txBody>
        </p:sp>
        <p:sp>
          <p:nvSpPr>
            <p:cNvPr id="94" name="Freeform 1163"/>
            <p:cNvSpPr>
              <a:spLocks/>
            </p:cNvSpPr>
            <p:nvPr/>
          </p:nvSpPr>
          <p:spPr bwMode="auto">
            <a:xfrm>
              <a:off x="3405395" y="2698952"/>
              <a:ext cx="86001" cy="71324"/>
            </a:xfrm>
            <a:custGeom>
              <a:avLst/>
              <a:gdLst>
                <a:gd name="T0" fmla="*/ 2147483647 w 184"/>
                <a:gd name="T1" fmla="*/ 2147483647 h 170"/>
                <a:gd name="T2" fmla="*/ 2147483647 w 184"/>
                <a:gd name="T3" fmla="*/ 2147483647 h 170"/>
                <a:gd name="T4" fmla="*/ 2147483647 w 184"/>
                <a:gd name="T5" fmla="*/ 2147483647 h 170"/>
                <a:gd name="T6" fmla="*/ 2147483647 w 184"/>
                <a:gd name="T7" fmla="*/ 0 h 170"/>
                <a:gd name="T8" fmla="*/ 2147483647 w 184"/>
                <a:gd name="T9" fmla="*/ 2147483647 h 170"/>
                <a:gd name="T10" fmla="*/ 2147483647 w 184"/>
                <a:gd name="T11" fmla="*/ 2147483647 h 170"/>
                <a:gd name="T12" fmla="*/ 2147483647 w 184"/>
                <a:gd name="T13" fmla="*/ 2147483647 h 170"/>
                <a:gd name="T14" fmla="*/ 2147483647 w 184"/>
                <a:gd name="T15" fmla="*/ 2147483647 h 170"/>
                <a:gd name="T16" fmla="*/ 2147483647 w 184"/>
                <a:gd name="T17" fmla="*/ 2147483647 h 170"/>
                <a:gd name="T18" fmla="*/ 2147483647 w 184"/>
                <a:gd name="T19" fmla="*/ 2147483647 h 170"/>
                <a:gd name="T20" fmla="*/ 0 w 184"/>
                <a:gd name="T21" fmla="*/ 2147483647 h 170"/>
                <a:gd name="T22" fmla="*/ 2147483647 w 184"/>
                <a:gd name="T23" fmla="*/ 2147483647 h 170"/>
                <a:gd name="T24" fmla="*/ 2147483647 w 184"/>
                <a:gd name="T25" fmla="*/ 2147483647 h 170"/>
                <a:gd name="T26" fmla="*/ 2147483647 w 184"/>
                <a:gd name="T27" fmla="*/ 2147483647 h 170"/>
                <a:gd name="T28" fmla="*/ 2147483647 w 184"/>
                <a:gd name="T29" fmla="*/ 2147483647 h 170"/>
                <a:gd name="T30" fmla="*/ 2147483647 w 184"/>
                <a:gd name="T31" fmla="*/ 2147483647 h 170"/>
                <a:gd name="T32" fmla="*/ 2147483647 w 184"/>
                <a:gd name="T33" fmla="*/ 2147483647 h 170"/>
                <a:gd name="T34" fmla="*/ 2147483647 w 184"/>
                <a:gd name="T35" fmla="*/ 2147483647 h 170"/>
                <a:gd name="T36" fmla="*/ 2147483647 w 184"/>
                <a:gd name="T37" fmla="*/ 2147483647 h 170"/>
                <a:gd name="T38" fmla="*/ 2147483647 w 184"/>
                <a:gd name="T39" fmla="*/ 2147483647 h 170"/>
                <a:gd name="T40" fmla="*/ 2147483647 w 184"/>
                <a:gd name="T41" fmla="*/ 2147483647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4"/>
                <a:gd name="T64" fmla="*/ 0 h 170"/>
                <a:gd name="T65" fmla="*/ 184 w 184"/>
                <a:gd name="T66" fmla="*/ 170 h 1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4" h="170">
                  <a:moveTo>
                    <a:pt x="109" y="44"/>
                  </a:moveTo>
                  <a:lnTo>
                    <a:pt x="92" y="27"/>
                  </a:lnTo>
                  <a:lnTo>
                    <a:pt x="92" y="15"/>
                  </a:lnTo>
                  <a:lnTo>
                    <a:pt x="67" y="0"/>
                  </a:lnTo>
                  <a:lnTo>
                    <a:pt x="50" y="36"/>
                  </a:lnTo>
                  <a:lnTo>
                    <a:pt x="54" y="46"/>
                  </a:lnTo>
                  <a:lnTo>
                    <a:pt x="40" y="46"/>
                  </a:lnTo>
                  <a:lnTo>
                    <a:pt x="44" y="71"/>
                  </a:lnTo>
                  <a:lnTo>
                    <a:pt x="36" y="86"/>
                  </a:lnTo>
                  <a:lnTo>
                    <a:pt x="1" y="98"/>
                  </a:lnTo>
                  <a:lnTo>
                    <a:pt x="0" y="120"/>
                  </a:lnTo>
                  <a:lnTo>
                    <a:pt x="15" y="132"/>
                  </a:lnTo>
                  <a:lnTo>
                    <a:pt x="24" y="120"/>
                  </a:lnTo>
                  <a:lnTo>
                    <a:pt x="85" y="159"/>
                  </a:lnTo>
                  <a:lnTo>
                    <a:pt x="137" y="170"/>
                  </a:lnTo>
                  <a:lnTo>
                    <a:pt x="146" y="154"/>
                  </a:lnTo>
                  <a:lnTo>
                    <a:pt x="174" y="143"/>
                  </a:lnTo>
                  <a:lnTo>
                    <a:pt x="184" y="129"/>
                  </a:lnTo>
                  <a:lnTo>
                    <a:pt x="171" y="133"/>
                  </a:lnTo>
                  <a:lnTo>
                    <a:pt x="149" y="87"/>
                  </a:lnTo>
                  <a:lnTo>
                    <a:pt x="109" y="44"/>
                  </a:lnTo>
                  <a:close/>
                </a:path>
              </a:pathLst>
            </a:custGeom>
            <a:grpFill/>
            <a:ln w="6350">
              <a:solidFill>
                <a:schemeClr val="accent5"/>
              </a:solidFill>
              <a:round/>
              <a:headEnd/>
              <a:tailEnd/>
            </a:ln>
          </p:spPr>
          <p:txBody>
            <a:bodyPr/>
            <a:lstStyle/>
            <a:p>
              <a:endParaRPr lang="en-US"/>
            </a:p>
          </p:txBody>
        </p:sp>
        <p:sp>
          <p:nvSpPr>
            <p:cNvPr id="95" name="Freeform 1164"/>
            <p:cNvSpPr>
              <a:spLocks/>
            </p:cNvSpPr>
            <p:nvPr/>
          </p:nvSpPr>
          <p:spPr bwMode="auto">
            <a:xfrm>
              <a:off x="3454130" y="2342330"/>
              <a:ext cx="20066" cy="21653"/>
            </a:xfrm>
            <a:custGeom>
              <a:avLst/>
              <a:gdLst>
                <a:gd name="T0" fmla="*/ 2147483647 w 48"/>
                <a:gd name="T1" fmla="*/ 2147483647 h 51"/>
                <a:gd name="T2" fmla="*/ 2147483647 w 48"/>
                <a:gd name="T3" fmla="*/ 2147483647 h 51"/>
                <a:gd name="T4" fmla="*/ 2147483647 w 48"/>
                <a:gd name="T5" fmla="*/ 2147483647 h 51"/>
                <a:gd name="T6" fmla="*/ 0 w 48"/>
                <a:gd name="T7" fmla="*/ 2147483647 h 51"/>
                <a:gd name="T8" fmla="*/ 2147483647 w 48"/>
                <a:gd name="T9" fmla="*/ 0 h 51"/>
                <a:gd name="T10" fmla="*/ 2147483647 w 48"/>
                <a:gd name="T11" fmla="*/ 2147483647 h 51"/>
                <a:gd name="T12" fmla="*/ 2147483647 w 48"/>
                <a:gd name="T13" fmla="*/ 2147483647 h 51"/>
                <a:gd name="T14" fmla="*/ 2147483647 w 48"/>
                <a:gd name="T15" fmla="*/ 2147483647 h 51"/>
                <a:gd name="T16" fmla="*/ 2147483647 w 48"/>
                <a:gd name="T17" fmla="*/ 2147483647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51"/>
                <a:gd name="T29" fmla="*/ 48 w 48"/>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51">
                  <a:moveTo>
                    <a:pt x="31" y="15"/>
                  </a:moveTo>
                  <a:lnTo>
                    <a:pt x="15" y="51"/>
                  </a:lnTo>
                  <a:lnTo>
                    <a:pt x="4" y="50"/>
                  </a:lnTo>
                  <a:lnTo>
                    <a:pt x="0" y="30"/>
                  </a:lnTo>
                  <a:lnTo>
                    <a:pt x="30" y="0"/>
                  </a:lnTo>
                  <a:lnTo>
                    <a:pt x="45" y="12"/>
                  </a:lnTo>
                  <a:lnTo>
                    <a:pt x="48" y="24"/>
                  </a:lnTo>
                  <a:lnTo>
                    <a:pt x="40" y="36"/>
                  </a:lnTo>
                  <a:lnTo>
                    <a:pt x="31" y="15"/>
                  </a:lnTo>
                  <a:close/>
                </a:path>
              </a:pathLst>
            </a:custGeom>
            <a:grpFill/>
            <a:ln w="6350">
              <a:solidFill>
                <a:schemeClr val="accent5"/>
              </a:solidFill>
              <a:round/>
              <a:headEnd/>
              <a:tailEnd/>
            </a:ln>
          </p:spPr>
          <p:txBody>
            <a:bodyPr/>
            <a:lstStyle/>
            <a:p>
              <a:endParaRPr lang="en-US"/>
            </a:p>
          </p:txBody>
        </p:sp>
        <p:sp>
          <p:nvSpPr>
            <p:cNvPr id="96" name="Freeform 1165"/>
            <p:cNvSpPr>
              <a:spLocks/>
            </p:cNvSpPr>
            <p:nvPr/>
          </p:nvSpPr>
          <p:spPr bwMode="auto">
            <a:xfrm>
              <a:off x="3338028" y="2269730"/>
              <a:ext cx="107501" cy="123545"/>
            </a:xfrm>
            <a:custGeom>
              <a:avLst/>
              <a:gdLst>
                <a:gd name="T0" fmla="*/ 2147483647 w 230"/>
                <a:gd name="T1" fmla="*/ 2147483647 h 298"/>
                <a:gd name="T2" fmla="*/ 2147483647 w 230"/>
                <a:gd name="T3" fmla="*/ 2147483647 h 298"/>
                <a:gd name="T4" fmla="*/ 2147483647 w 230"/>
                <a:gd name="T5" fmla="*/ 2147483647 h 298"/>
                <a:gd name="T6" fmla="*/ 2147483647 w 230"/>
                <a:gd name="T7" fmla="*/ 2147483647 h 298"/>
                <a:gd name="T8" fmla="*/ 2147483647 w 230"/>
                <a:gd name="T9" fmla="*/ 2147483647 h 298"/>
                <a:gd name="T10" fmla="*/ 2147483647 w 230"/>
                <a:gd name="T11" fmla="*/ 2147483647 h 298"/>
                <a:gd name="T12" fmla="*/ 2147483647 w 230"/>
                <a:gd name="T13" fmla="*/ 2147483647 h 298"/>
                <a:gd name="T14" fmla="*/ 2147483647 w 230"/>
                <a:gd name="T15" fmla="*/ 2147483647 h 298"/>
                <a:gd name="T16" fmla="*/ 2147483647 w 230"/>
                <a:gd name="T17" fmla="*/ 2147483647 h 298"/>
                <a:gd name="T18" fmla="*/ 2147483647 w 230"/>
                <a:gd name="T19" fmla="*/ 2147483647 h 298"/>
                <a:gd name="T20" fmla="*/ 2147483647 w 230"/>
                <a:gd name="T21" fmla="*/ 2147483647 h 298"/>
                <a:gd name="T22" fmla="*/ 2147483647 w 230"/>
                <a:gd name="T23" fmla="*/ 2147483647 h 298"/>
                <a:gd name="T24" fmla="*/ 2147483647 w 230"/>
                <a:gd name="T25" fmla="*/ 2147483647 h 298"/>
                <a:gd name="T26" fmla="*/ 2147483647 w 230"/>
                <a:gd name="T27" fmla="*/ 2147483647 h 298"/>
                <a:gd name="T28" fmla="*/ 2147483647 w 230"/>
                <a:gd name="T29" fmla="*/ 2147483647 h 298"/>
                <a:gd name="T30" fmla="*/ 2147483647 w 230"/>
                <a:gd name="T31" fmla="*/ 2147483647 h 298"/>
                <a:gd name="T32" fmla="*/ 2147483647 w 230"/>
                <a:gd name="T33" fmla="*/ 2147483647 h 298"/>
                <a:gd name="T34" fmla="*/ 2147483647 w 230"/>
                <a:gd name="T35" fmla="*/ 2147483647 h 298"/>
                <a:gd name="T36" fmla="*/ 2147483647 w 230"/>
                <a:gd name="T37" fmla="*/ 2147483647 h 298"/>
                <a:gd name="T38" fmla="*/ 2147483647 w 230"/>
                <a:gd name="T39" fmla="*/ 2147483647 h 298"/>
                <a:gd name="T40" fmla="*/ 2147483647 w 230"/>
                <a:gd name="T41" fmla="*/ 2147483647 h 298"/>
                <a:gd name="T42" fmla="*/ 2147483647 w 230"/>
                <a:gd name="T43" fmla="*/ 2147483647 h 298"/>
                <a:gd name="T44" fmla="*/ 2147483647 w 230"/>
                <a:gd name="T45" fmla="*/ 2147483647 h 298"/>
                <a:gd name="T46" fmla="*/ 2147483647 w 230"/>
                <a:gd name="T47" fmla="*/ 2147483647 h 298"/>
                <a:gd name="T48" fmla="*/ 2147483647 w 230"/>
                <a:gd name="T49" fmla="*/ 2147483647 h 298"/>
                <a:gd name="T50" fmla="*/ 2147483647 w 230"/>
                <a:gd name="T51" fmla="*/ 2147483647 h 298"/>
                <a:gd name="T52" fmla="*/ 0 w 230"/>
                <a:gd name="T53" fmla="*/ 2147483647 h 298"/>
                <a:gd name="T54" fmla="*/ 2147483647 w 230"/>
                <a:gd name="T55" fmla="*/ 2147483647 h 298"/>
                <a:gd name="T56" fmla="*/ 2147483647 w 230"/>
                <a:gd name="T57" fmla="*/ 2147483647 h 298"/>
                <a:gd name="T58" fmla="*/ 2147483647 w 230"/>
                <a:gd name="T59" fmla="*/ 2147483647 h 298"/>
                <a:gd name="T60" fmla="*/ 2147483647 w 230"/>
                <a:gd name="T61" fmla="*/ 2147483647 h 298"/>
                <a:gd name="T62" fmla="*/ 2147483647 w 230"/>
                <a:gd name="T63" fmla="*/ 2147483647 h 298"/>
                <a:gd name="T64" fmla="*/ 2147483647 w 230"/>
                <a:gd name="T65" fmla="*/ 2147483647 h 298"/>
                <a:gd name="T66" fmla="*/ 2147483647 w 230"/>
                <a:gd name="T67" fmla="*/ 2147483647 h 298"/>
                <a:gd name="T68" fmla="*/ 2147483647 w 230"/>
                <a:gd name="T69" fmla="*/ 2147483647 h 298"/>
                <a:gd name="T70" fmla="*/ 2147483647 w 230"/>
                <a:gd name="T71" fmla="*/ 2147483647 h 298"/>
                <a:gd name="T72" fmla="*/ 2147483647 w 230"/>
                <a:gd name="T73" fmla="*/ 2147483647 h 298"/>
                <a:gd name="T74" fmla="*/ 2147483647 w 230"/>
                <a:gd name="T75" fmla="*/ 2147483647 h 298"/>
                <a:gd name="T76" fmla="*/ 2147483647 w 230"/>
                <a:gd name="T77" fmla="*/ 2147483647 h 298"/>
                <a:gd name="T78" fmla="*/ 2147483647 w 230"/>
                <a:gd name="T79" fmla="*/ 2147483647 h 298"/>
                <a:gd name="T80" fmla="*/ 2147483647 w 230"/>
                <a:gd name="T81" fmla="*/ 2147483647 h 298"/>
                <a:gd name="T82" fmla="*/ 2147483647 w 230"/>
                <a:gd name="T83" fmla="*/ 2147483647 h 298"/>
                <a:gd name="T84" fmla="*/ 2147483647 w 230"/>
                <a:gd name="T85" fmla="*/ 2147483647 h 298"/>
                <a:gd name="T86" fmla="*/ 2147483647 w 230"/>
                <a:gd name="T87" fmla="*/ 2147483647 h 298"/>
                <a:gd name="T88" fmla="*/ 2147483647 w 230"/>
                <a:gd name="T89" fmla="*/ 2147483647 h 298"/>
                <a:gd name="T90" fmla="*/ 2147483647 w 230"/>
                <a:gd name="T91" fmla="*/ 2147483647 h 298"/>
                <a:gd name="T92" fmla="*/ 2147483647 w 230"/>
                <a:gd name="T93" fmla="*/ 2147483647 h 298"/>
                <a:gd name="T94" fmla="*/ 2147483647 w 230"/>
                <a:gd name="T95" fmla="*/ 2147483647 h 298"/>
                <a:gd name="T96" fmla="*/ 2147483647 w 230"/>
                <a:gd name="T97" fmla="*/ 2147483647 h 298"/>
                <a:gd name="T98" fmla="*/ 2147483647 w 230"/>
                <a:gd name="T99" fmla="*/ 2147483647 h 298"/>
                <a:gd name="T100" fmla="*/ 2147483647 w 230"/>
                <a:gd name="T101" fmla="*/ 2147483647 h 298"/>
                <a:gd name="T102" fmla="*/ 2147483647 w 230"/>
                <a:gd name="T103" fmla="*/ 2147483647 h 298"/>
                <a:gd name="T104" fmla="*/ 2147483647 w 230"/>
                <a:gd name="T105" fmla="*/ 2147483647 h 298"/>
                <a:gd name="T106" fmla="*/ 2147483647 w 230"/>
                <a:gd name="T107" fmla="*/ 2147483647 h 298"/>
                <a:gd name="T108" fmla="*/ 2147483647 w 230"/>
                <a:gd name="T109" fmla="*/ 2147483647 h 298"/>
                <a:gd name="T110" fmla="*/ 2147483647 w 230"/>
                <a:gd name="T111" fmla="*/ 2147483647 h 298"/>
                <a:gd name="T112" fmla="*/ 2147483647 w 230"/>
                <a:gd name="T113" fmla="*/ 0 h 298"/>
                <a:gd name="T114" fmla="*/ 2147483647 w 230"/>
                <a:gd name="T115" fmla="*/ 0 h 298"/>
                <a:gd name="T116" fmla="*/ 2147483647 w 230"/>
                <a:gd name="T117" fmla="*/ 2147483647 h 298"/>
                <a:gd name="T118" fmla="*/ 2147483647 w 230"/>
                <a:gd name="T119" fmla="*/ 2147483647 h 298"/>
                <a:gd name="T120" fmla="*/ 2147483647 w 230"/>
                <a:gd name="T121" fmla="*/ 2147483647 h 298"/>
                <a:gd name="T122" fmla="*/ 2147483647 w 230"/>
                <a:gd name="T123" fmla="*/ 2147483647 h 2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30"/>
                <a:gd name="T187" fmla="*/ 0 h 298"/>
                <a:gd name="T188" fmla="*/ 230 w 230"/>
                <a:gd name="T189" fmla="*/ 298 h 2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30" h="298">
                  <a:moveTo>
                    <a:pt x="221" y="124"/>
                  </a:moveTo>
                  <a:lnTo>
                    <a:pt x="221" y="147"/>
                  </a:lnTo>
                  <a:lnTo>
                    <a:pt x="210" y="161"/>
                  </a:lnTo>
                  <a:lnTo>
                    <a:pt x="228" y="164"/>
                  </a:lnTo>
                  <a:lnTo>
                    <a:pt x="230" y="223"/>
                  </a:lnTo>
                  <a:lnTo>
                    <a:pt x="219" y="190"/>
                  </a:lnTo>
                  <a:lnTo>
                    <a:pt x="206" y="189"/>
                  </a:lnTo>
                  <a:lnTo>
                    <a:pt x="212" y="206"/>
                  </a:lnTo>
                  <a:lnTo>
                    <a:pt x="202" y="207"/>
                  </a:lnTo>
                  <a:lnTo>
                    <a:pt x="206" y="218"/>
                  </a:lnTo>
                  <a:lnTo>
                    <a:pt x="194" y="236"/>
                  </a:lnTo>
                  <a:lnTo>
                    <a:pt x="215" y="271"/>
                  </a:lnTo>
                  <a:lnTo>
                    <a:pt x="195" y="259"/>
                  </a:lnTo>
                  <a:lnTo>
                    <a:pt x="200" y="289"/>
                  </a:lnTo>
                  <a:lnTo>
                    <a:pt x="141" y="293"/>
                  </a:lnTo>
                  <a:lnTo>
                    <a:pt x="140" y="277"/>
                  </a:lnTo>
                  <a:lnTo>
                    <a:pt x="131" y="298"/>
                  </a:lnTo>
                  <a:lnTo>
                    <a:pt x="112" y="298"/>
                  </a:lnTo>
                  <a:lnTo>
                    <a:pt x="97" y="286"/>
                  </a:lnTo>
                  <a:lnTo>
                    <a:pt x="94" y="256"/>
                  </a:lnTo>
                  <a:lnTo>
                    <a:pt x="91" y="234"/>
                  </a:lnTo>
                  <a:lnTo>
                    <a:pt x="90" y="219"/>
                  </a:lnTo>
                  <a:lnTo>
                    <a:pt x="111" y="208"/>
                  </a:lnTo>
                  <a:lnTo>
                    <a:pt x="132" y="188"/>
                  </a:lnTo>
                  <a:lnTo>
                    <a:pt x="130" y="175"/>
                  </a:lnTo>
                  <a:lnTo>
                    <a:pt x="14" y="206"/>
                  </a:lnTo>
                  <a:lnTo>
                    <a:pt x="0" y="188"/>
                  </a:lnTo>
                  <a:lnTo>
                    <a:pt x="8" y="173"/>
                  </a:lnTo>
                  <a:lnTo>
                    <a:pt x="31" y="177"/>
                  </a:lnTo>
                  <a:lnTo>
                    <a:pt x="22" y="161"/>
                  </a:lnTo>
                  <a:lnTo>
                    <a:pt x="34" y="144"/>
                  </a:lnTo>
                  <a:lnTo>
                    <a:pt x="56" y="163"/>
                  </a:lnTo>
                  <a:lnTo>
                    <a:pt x="65" y="160"/>
                  </a:lnTo>
                  <a:lnTo>
                    <a:pt x="51" y="138"/>
                  </a:lnTo>
                  <a:lnTo>
                    <a:pt x="61" y="117"/>
                  </a:lnTo>
                  <a:lnTo>
                    <a:pt x="42" y="125"/>
                  </a:lnTo>
                  <a:lnTo>
                    <a:pt x="35" y="106"/>
                  </a:lnTo>
                  <a:lnTo>
                    <a:pt x="38" y="86"/>
                  </a:lnTo>
                  <a:lnTo>
                    <a:pt x="27" y="86"/>
                  </a:lnTo>
                  <a:lnTo>
                    <a:pt x="27" y="66"/>
                  </a:lnTo>
                  <a:lnTo>
                    <a:pt x="42" y="39"/>
                  </a:lnTo>
                  <a:lnTo>
                    <a:pt x="61" y="44"/>
                  </a:lnTo>
                  <a:lnTo>
                    <a:pt x="90" y="103"/>
                  </a:lnTo>
                  <a:lnTo>
                    <a:pt x="100" y="102"/>
                  </a:lnTo>
                  <a:lnTo>
                    <a:pt x="96" y="109"/>
                  </a:lnTo>
                  <a:lnTo>
                    <a:pt x="132" y="124"/>
                  </a:lnTo>
                  <a:lnTo>
                    <a:pt x="111" y="90"/>
                  </a:lnTo>
                  <a:lnTo>
                    <a:pt x="120" y="82"/>
                  </a:lnTo>
                  <a:lnTo>
                    <a:pt x="116" y="67"/>
                  </a:lnTo>
                  <a:lnTo>
                    <a:pt x="75" y="35"/>
                  </a:lnTo>
                  <a:lnTo>
                    <a:pt x="102" y="6"/>
                  </a:lnTo>
                  <a:lnTo>
                    <a:pt x="131" y="5"/>
                  </a:lnTo>
                  <a:lnTo>
                    <a:pt x="160" y="27"/>
                  </a:lnTo>
                  <a:lnTo>
                    <a:pt x="160" y="40"/>
                  </a:lnTo>
                  <a:lnTo>
                    <a:pt x="173" y="31"/>
                  </a:lnTo>
                  <a:lnTo>
                    <a:pt x="169" y="12"/>
                  </a:lnTo>
                  <a:lnTo>
                    <a:pt x="172" y="0"/>
                  </a:lnTo>
                  <a:lnTo>
                    <a:pt x="186" y="0"/>
                  </a:lnTo>
                  <a:lnTo>
                    <a:pt x="218" y="37"/>
                  </a:lnTo>
                  <a:lnTo>
                    <a:pt x="216" y="70"/>
                  </a:lnTo>
                  <a:lnTo>
                    <a:pt x="223" y="95"/>
                  </a:lnTo>
                  <a:lnTo>
                    <a:pt x="221" y="124"/>
                  </a:lnTo>
                  <a:close/>
                </a:path>
              </a:pathLst>
            </a:custGeom>
            <a:grpFill/>
            <a:ln w="6350">
              <a:solidFill>
                <a:schemeClr val="accent5"/>
              </a:solidFill>
              <a:round/>
              <a:headEnd/>
              <a:tailEnd/>
            </a:ln>
          </p:spPr>
          <p:txBody>
            <a:bodyPr/>
            <a:lstStyle/>
            <a:p>
              <a:endParaRPr lang="en-US"/>
            </a:p>
          </p:txBody>
        </p:sp>
        <p:sp>
          <p:nvSpPr>
            <p:cNvPr id="97" name="Freeform 1166"/>
            <p:cNvSpPr>
              <a:spLocks/>
            </p:cNvSpPr>
            <p:nvPr/>
          </p:nvSpPr>
          <p:spPr bwMode="auto">
            <a:xfrm>
              <a:off x="3429762" y="2079957"/>
              <a:ext cx="71667" cy="101892"/>
            </a:xfrm>
            <a:custGeom>
              <a:avLst/>
              <a:gdLst>
                <a:gd name="T0" fmla="*/ 2147483647 w 155"/>
                <a:gd name="T1" fmla="*/ 2147483647 h 248"/>
                <a:gd name="T2" fmla="*/ 2147483647 w 155"/>
                <a:gd name="T3" fmla="*/ 2147483647 h 248"/>
                <a:gd name="T4" fmla="*/ 2147483647 w 155"/>
                <a:gd name="T5" fmla="*/ 2147483647 h 248"/>
                <a:gd name="T6" fmla="*/ 2147483647 w 155"/>
                <a:gd name="T7" fmla="*/ 2147483647 h 248"/>
                <a:gd name="T8" fmla="*/ 2147483647 w 155"/>
                <a:gd name="T9" fmla="*/ 2147483647 h 248"/>
                <a:gd name="T10" fmla="*/ 2147483647 w 155"/>
                <a:gd name="T11" fmla="*/ 2147483647 h 248"/>
                <a:gd name="T12" fmla="*/ 2147483647 w 155"/>
                <a:gd name="T13" fmla="*/ 2147483647 h 248"/>
                <a:gd name="T14" fmla="*/ 2147483647 w 155"/>
                <a:gd name="T15" fmla="*/ 2147483647 h 248"/>
                <a:gd name="T16" fmla="*/ 2147483647 w 155"/>
                <a:gd name="T17" fmla="*/ 2147483647 h 248"/>
                <a:gd name="T18" fmla="*/ 2147483647 w 155"/>
                <a:gd name="T19" fmla="*/ 2147483647 h 248"/>
                <a:gd name="T20" fmla="*/ 2147483647 w 155"/>
                <a:gd name="T21" fmla="*/ 2147483647 h 248"/>
                <a:gd name="T22" fmla="*/ 2147483647 w 155"/>
                <a:gd name="T23" fmla="*/ 2147483647 h 248"/>
                <a:gd name="T24" fmla="*/ 2147483647 w 155"/>
                <a:gd name="T25" fmla="*/ 2147483647 h 248"/>
                <a:gd name="T26" fmla="*/ 0 w 155"/>
                <a:gd name="T27" fmla="*/ 2147483647 h 248"/>
                <a:gd name="T28" fmla="*/ 2147483647 w 155"/>
                <a:gd name="T29" fmla="*/ 2147483647 h 248"/>
                <a:gd name="T30" fmla="*/ 2147483647 w 155"/>
                <a:gd name="T31" fmla="*/ 2147483647 h 248"/>
                <a:gd name="T32" fmla="*/ 2147483647 w 155"/>
                <a:gd name="T33" fmla="*/ 2147483647 h 248"/>
                <a:gd name="T34" fmla="*/ 2147483647 w 155"/>
                <a:gd name="T35" fmla="*/ 0 h 248"/>
                <a:gd name="T36" fmla="*/ 2147483647 w 155"/>
                <a:gd name="T37" fmla="*/ 2147483647 h 248"/>
                <a:gd name="T38" fmla="*/ 2147483647 w 155"/>
                <a:gd name="T39" fmla="*/ 2147483647 h 248"/>
                <a:gd name="T40" fmla="*/ 2147483647 w 155"/>
                <a:gd name="T41" fmla="*/ 2147483647 h 248"/>
                <a:gd name="T42" fmla="*/ 2147483647 w 155"/>
                <a:gd name="T43" fmla="*/ 2147483647 h 248"/>
                <a:gd name="T44" fmla="*/ 2147483647 w 155"/>
                <a:gd name="T45" fmla="*/ 2147483647 h 248"/>
                <a:gd name="T46" fmla="*/ 2147483647 w 155"/>
                <a:gd name="T47" fmla="*/ 2147483647 h 248"/>
                <a:gd name="T48" fmla="*/ 2147483647 w 155"/>
                <a:gd name="T49" fmla="*/ 2147483647 h 248"/>
                <a:gd name="T50" fmla="*/ 2147483647 w 155"/>
                <a:gd name="T51" fmla="*/ 2147483647 h 248"/>
                <a:gd name="T52" fmla="*/ 2147483647 w 155"/>
                <a:gd name="T53" fmla="*/ 2147483647 h 2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5"/>
                <a:gd name="T82" fmla="*/ 0 h 248"/>
                <a:gd name="T83" fmla="*/ 155 w 155"/>
                <a:gd name="T84" fmla="*/ 248 h 2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5" h="248">
                  <a:moveTo>
                    <a:pt x="141" y="212"/>
                  </a:moveTo>
                  <a:lnTo>
                    <a:pt x="84" y="215"/>
                  </a:lnTo>
                  <a:lnTo>
                    <a:pt x="67" y="248"/>
                  </a:lnTo>
                  <a:lnTo>
                    <a:pt x="51" y="242"/>
                  </a:lnTo>
                  <a:lnTo>
                    <a:pt x="56" y="219"/>
                  </a:lnTo>
                  <a:lnTo>
                    <a:pt x="27" y="185"/>
                  </a:lnTo>
                  <a:lnTo>
                    <a:pt x="61" y="177"/>
                  </a:lnTo>
                  <a:lnTo>
                    <a:pt x="69" y="169"/>
                  </a:lnTo>
                  <a:lnTo>
                    <a:pt x="66" y="158"/>
                  </a:lnTo>
                  <a:lnTo>
                    <a:pt x="22" y="144"/>
                  </a:lnTo>
                  <a:lnTo>
                    <a:pt x="26" y="135"/>
                  </a:lnTo>
                  <a:lnTo>
                    <a:pt x="17" y="126"/>
                  </a:lnTo>
                  <a:lnTo>
                    <a:pt x="15" y="99"/>
                  </a:lnTo>
                  <a:lnTo>
                    <a:pt x="0" y="76"/>
                  </a:lnTo>
                  <a:lnTo>
                    <a:pt x="12" y="64"/>
                  </a:lnTo>
                  <a:lnTo>
                    <a:pt x="4" y="40"/>
                  </a:lnTo>
                  <a:lnTo>
                    <a:pt x="4" y="12"/>
                  </a:lnTo>
                  <a:lnTo>
                    <a:pt x="18" y="0"/>
                  </a:lnTo>
                  <a:lnTo>
                    <a:pt x="99" y="51"/>
                  </a:lnTo>
                  <a:lnTo>
                    <a:pt x="103" y="57"/>
                  </a:lnTo>
                  <a:lnTo>
                    <a:pt x="99" y="82"/>
                  </a:lnTo>
                  <a:lnTo>
                    <a:pt x="122" y="80"/>
                  </a:lnTo>
                  <a:lnTo>
                    <a:pt x="154" y="116"/>
                  </a:lnTo>
                  <a:lnTo>
                    <a:pt x="144" y="136"/>
                  </a:lnTo>
                  <a:lnTo>
                    <a:pt x="144" y="171"/>
                  </a:lnTo>
                  <a:lnTo>
                    <a:pt x="155" y="195"/>
                  </a:lnTo>
                  <a:lnTo>
                    <a:pt x="141" y="212"/>
                  </a:lnTo>
                  <a:close/>
                </a:path>
              </a:pathLst>
            </a:custGeom>
            <a:grpFill/>
            <a:ln w="6350">
              <a:solidFill>
                <a:schemeClr val="accent5"/>
              </a:solidFill>
              <a:round/>
              <a:headEnd/>
              <a:tailEnd/>
            </a:ln>
          </p:spPr>
          <p:txBody>
            <a:bodyPr/>
            <a:lstStyle/>
            <a:p>
              <a:endParaRPr lang="en-US"/>
            </a:p>
          </p:txBody>
        </p:sp>
        <p:sp>
          <p:nvSpPr>
            <p:cNvPr id="98" name="Freeform 1167"/>
            <p:cNvSpPr>
              <a:spLocks/>
            </p:cNvSpPr>
            <p:nvPr/>
          </p:nvSpPr>
          <p:spPr bwMode="auto">
            <a:xfrm>
              <a:off x="3279261" y="2039199"/>
              <a:ext cx="134734" cy="140103"/>
            </a:xfrm>
            <a:custGeom>
              <a:avLst/>
              <a:gdLst>
                <a:gd name="T0" fmla="*/ 2147483647 w 288"/>
                <a:gd name="T1" fmla="*/ 2147483647 h 334"/>
                <a:gd name="T2" fmla="*/ 2147483647 w 288"/>
                <a:gd name="T3" fmla="*/ 2147483647 h 334"/>
                <a:gd name="T4" fmla="*/ 2147483647 w 288"/>
                <a:gd name="T5" fmla="*/ 2147483647 h 334"/>
                <a:gd name="T6" fmla="*/ 2147483647 w 288"/>
                <a:gd name="T7" fmla="*/ 2147483647 h 334"/>
                <a:gd name="T8" fmla="*/ 2147483647 w 288"/>
                <a:gd name="T9" fmla="*/ 2147483647 h 334"/>
                <a:gd name="T10" fmla="*/ 2147483647 w 288"/>
                <a:gd name="T11" fmla="*/ 2147483647 h 334"/>
                <a:gd name="T12" fmla="*/ 2147483647 w 288"/>
                <a:gd name="T13" fmla="*/ 2147483647 h 334"/>
                <a:gd name="T14" fmla="*/ 2147483647 w 288"/>
                <a:gd name="T15" fmla="*/ 2147483647 h 334"/>
                <a:gd name="T16" fmla="*/ 2147483647 w 288"/>
                <a:gd name="T17" fmla="*/ 2147483647 h 334"/>
                <a:gd name="T18" fmla="*/ 2147483647 w 288"/>
                <a:gd name="T19" fmla="*/ 2147483647 h 334"/>
                <a:gd name="T20" fmla="*/ 2147483647 w 288"/>
                <a:gd name="T21" fmla="*/ 2147483647 h 334"/>
                <a:gd name="T22" fmla="*/ 2147483647 w 288"/>
                <a:gd name="T23" fmla="*/ 2147483647 h 334"/>
                <a:gd name="T24" fmla="*/ 2147483647 w 288"/>
                <a:gd name="T25" fmla="*/ 2147483647 h 334"/>
                <a:gd name="T26" fmla="*/ 2147483647 w 288"/>
                <a:gd name="T27" fmla="*/ 2147483647 h 334"/>
                <a:gd name="T28" fmla="*/ 2147483647 w 288"/>
                <a:gd name="T29" fmla="*/ 2147483647 h 334"/>
                <a:gd name="T30" fmla="*/ 2147483647 w 288"/>
                <a:gd name="T31" fmla="*/ 2147483647 h 334"/>
                <a:gd name="T32" fmla="*/ 2147483647 w 288"/>
                <a:gd name="T33" fmla="*/ 2147483647 h 334"/>
                <a:gd name="T34" fmla="*/ 2147483647 w 288"/>
                <a:gd name="T35" fmla="*/ 2147483647 h 334"/>
                <a:gd name="T36" fmla="*/ 2147483647 w 288"/>
                <a:gd name="T37" fmla="*/ 2147483647 h 334"/>
                <a:gd name="T38" fmla="*/ 2147483647 w 288"/>
                <a:gd name="T39" fmla="*/ 2147483647 h 334"/>
                <a:gd name="T40" fmla="*/ 2147483647 w 288"/>
                <a:gd name="T41" fmla="*/ 2147483647 h 334"/>
                <a:gd name="T42" fmla="*/ 2147483647 w 288"/>
                <a:gd name="T43" fmla="*/ 2147483647 h 334"/>
                <a:gd name="T44" fmla="*/ 2147483647 w 288"/>
                <a:gd name="T45" fmla="*/ 2147483647 h 334"/>
                <a:gd name="T46" fmla="*/ 2147483647 w 288"/>
                <a:gd name="T47" fmla="*/ 2147483647 h 334"/>
                <a:gd name="T48" fmla="*/ 2147483647 w 288"/>
                <a:gd name="T49" fmla="*/ 2147483647 h 334"/>
                <a:gd name="T50" fmla="*/ 2147483647 w 288"/>
                <a:gd name="T51" fmla="*/ 2147483647 h 334"/>
                <a:gd name="T52" fmla="*/ 0 w 288"/>
                <a:gd name="T53" fmla="*/ 2147483647 h 334"/>
                <a:gd name="T54" fmla="*/ 2147483647 w 288"/>
                <a:gd name="T55" fmla="*/ 2147483647 h 334"/>
                <a:gd name="T56" fmla="*/ 2147483647 w 288"/>
                <a:gd name="T57" fmla="*/ 0 h 334"/>
                <a:gd name="T58" fmla="*/ 2147483647 w 288"/>
                <a:gd name="T59" fmla="*/ 2147483647 h 334"/>
                <a:gd name="T60" fmla="*/ 2147483647 w 288"/>
                <a:gd name="T61" fmla="*/ 2147483647 h 334"/>
                <a:gd name="T62" fmla="*/ 2147483647 w 288"/>
                <a:gd name="T63" fmla="*/ 2147483647 h 334"/>
                <a:gd name="T64" fmla="*/ 2147483647 w 288"/>
                <a:gd name="T65" fmla="*/ 2147483647 h 334"/>
                <a:gd name="T66" fmla="*/ 2147483647 w 288"/>
                <a:gd name="T67" fmla="*/ 2147483647 h 334"/>
                <a:gd name="T68" fmla="*/ 2147483647 w 288"/>
                <a:gd name="T69" fmla="*/ 2147483647 h 334"/>
                <a:gd name="T70" fmla="*/ 2147483647 w 288"/>
                <a:gd name="T71" fmla="*/ 2147483647 h 334"/>
                <a:gd name="T72" fmla="*/ 2147483647 w 288"/>
                <a:gd name="T73" fmla="*/ 2147483647 h 334"/>
                <a:gd name="T74" fmla="*/ 2147483647 w 288"/>
                <a:gd name="T75" fmla="*/ 2147483647 h 334"/>
                <a:gd name="T76" fmla="*/ 2147483647 w 288"/>
                <a:gd name="T77" fmla="*/ 2147483647 h 3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8"/>
                <a:gd name="T118" fmla="*/ 0 h 334"/>
                <a:gd name="T119" fmla="*/ 288 w 288"/>
                <a:gd name="T120" fmla="*/ 334 h 3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8" h="334">
                  <a:moveTo>
                    <a:pt x="244" y="135"/>
                  </a:moveTo>
                  <a:lnTo>
                    <a:pt x="260" y="156"/>
                  </a:lnTo>
                  <a:lnTo>
                    <a:pt x="248" y="186"/>
                  </a:lnTo>
                  <a:lnTo>
                    <a:pt x="250" y="214"/>
                  </a:lnTo>
                  <a:lnTo>
                    <a:pt x="288" y="277"/>
                  </a:lnTo>
                  <a:lnTo>
                    <a:pt x="279" y="318"/>
                  </a:lnTo>
                  <a:lnTo>
                    <a:pt x="246" y="334"/>
                  </a:lnTo>
                  <a:lnTo>
                    <a:pt x="218" y="309"/>
                  </a:lnTo>
                  <a:lnTo>
                    <a:pt x="198" y="243"/>
                  </a:lnTo>
                  <a:lnTo>
                    <a:pt x="133" y="235"/>
                  </a:lnTo>
                  <a:lnTo>
                    <a:pt x="124" y="211"/>
                  </a:lnTo>
                  <a:lnTo>
                    <a:pt x="81" y="239"/>
                  </a:lnTo>
                  <a:lnTo>
                    <a:pt x="44" y="223"/>
                  </a:lnTo>
                  <a:lnTo>
                    <a:pt x="34" y="207"/>
                  </a:lnTo>
                  <a:lnTo>
                    <a:pt x="32" y="181"/>
                  </a:lnTo>
                  <a:lnTo>
                    <a:pt x="93" y="185"/>
                  </a:lnTo>
                  <a:lnTo>
                    <a:pt x="100" y="166"/>
                  </a:lnTo>
                  <a:lnTo>
                    <a:pt x="73" y="161"/>
                  </a:lnTo>
                  <a:lnTo>
                    <a:pt x="96" y="129"/>
                  </a:lnTo>
                  <a:lnTo>
                    <a:pt x="65" y="130"/>
                  </a:lnTo>
                  <a:lnTo>
                    <a:pt x="73" y="98"/>
                  </a:lnTo>
                  <a:lnTo>
                    <a:pt x="62" y="82"/>
                  </a:lnTo>
                  <a:lnTo>
                    <a:pt x="32" y="123"/>
                  </a:lnTo>
                  <a:lnTo>
                    <a:pt x="28" y="113"/>
                  </a:lnTo>
                  <a:lnTo>
                    <a:pt x="41" y="74"/>
                  </a:lnTo>
                  <a:lnTo>
                    <a:pt x="4" y="79"/>
                  </a:lnTo>
                  <a:lnTo>
                    <a:pt x="0" y="40"/>
                  </a:lnTo>
                  <a:lnTo>
                    <a:pt x="8" y="9"/>
                  </a:lnTo>
                  <a:lnTo>
                    <a:pt x="73" y="0"/>
                  </a:lnTo>
                  <a:lnTo>
                    <a:pt x="102" y="14"/>
                  </a:lnTo>
                  <a:lnTo>
                    <a:pt x="101" y="72"/>
                  </a:lnTo>
                  <a:lnTo>
                    <a:pt x="112" y="87"/>
                  </a:lnTo>
                  <a:lnTo>
                    <a:pt x="118" y="48"/>
                  </a:lnTo>
                  <a:lnTo>
                    <a:pt x="137" y="31"/>
                  </a:lnTo>
                  <a:lnTo>
                    <a:pt x="181" y="63"/>
                  </a:lnTo>
                  <a:lnTo>
                    <a:pt x="178" y="96"/>
                  </a:lnTo>
                  <a:lnTo>
                    <a:pt x="186" y="107"/>
                  </a:lnTo>
                  <a:lnTo>
                    <a:pt x="208" y="89"/>
                  </a:lnTo>
                  <a:lnTo>
                    <a:pt x="244" y="135"/>
                  </a:lnTo>
                  <a:close/>
                </a:path>
              </a:pathLst>
            </a:custGeom>
            <a:grpFill/>
            <a:ln w="6350">
              <a:solidFill>
                <a:schemeClr val="accent5"/>
              </a:solidFill>
              <a:round/>
              <a:headEnd/>
              <a:tailEnd/>
            </a:ln>
          </p:spPr>
          <p:txBody>
            <a:bodyPr/>
            <a:lstStyle/>
            <a:p>
              <a:endParaRPr lang="en-US"/>
            </a:p>
          </p:txBody>
        </p:sp>
        <p:sp>
          <p:nvSpPr>
            <p:cNvPr id="99" name="Freeform 1168"/>
            <p:cNvSpPr>
              <a:spLocks/>
            </p:cNvSpPr>
            <p:nvPr/>
          </p:nvSpPr>
          <p:spPr bwMode="auto">
            <a:xfrm>
              <a:off x="3342328" y="2166565"/>
              <a:ext cx="34400" cy="16558"/>
            </a:xfrm>
            <a:custGeom>
              <a:avLst/>
              <a:gdLst>
                <a:gd name="T0" fmla="*/ 2147483647 w 74"/>
                <a:gd name="T1" fmla="*/ 0 h 40"/>
                <a:gd name="T2" fmla="*/ 2147483647 w 74"/>
                <a:gd name="T3" fmla="*/ 2147483647 h 40"/>
                <a:gd name="T4" fmla="*/ 2147483647 w 74"/>
                <a:gd name="T5" fmla="*/ 2147483647 h 40"/>
                <a:gd name="T6" fmla="*/ 0 w 74"/>
                <a:gd name="T7" fmla="*/ 2147483647 h 40"/>
                <a:gd name="T8" fmla="*/ 2147483647 w 74"/>
                <a:gd name="T9" fmla="*/ 0 h 40"/>
                <a:gd name="T10" fmla="*/ 0 60000 65536"/>
                <a:gd name="T11" fmla="*/ 0 60000 65536"/>
                <a:gd name="T12" fmla="*/ 0 60000 65536"/>
                <a:gd name="T13" fmla="*/ 0 60000 65536"/>
                <a:gd name="T14" fmla="*/ 0 60000 65536"/>
                <a:gd name="T15" fmla="*/ 0 w 74"/>
                <a:gd name="T16" fmla="*/ 0 h 40"/>
                <a:gd name="T17" fmla="*/ 74 w 74"/>
                <a:gd name="T18" fmla="*/ 40 h 40"/>
              </a:gdLst>
              <a:ahLst/>
              <a:cxnLst>
                <a:cxn ang="T10">
                  <a:pos x="T0" y="T1"/>
                </a:cxn>
                <a:cxn ang="T11">
                  <a:pos x="T2" y="T3"/>
                </a:cxn>
                <a:cxn ang="T12">
                  <a:pos x="T4" y="T5"/>
                </a:cxn>
                <a:cxn ang="T13">
                  <a:pos x="T6" y="T7"/>
                </a:cxn>
                <a:cxn ang="T14">
                  <a:pos x="T8" y="T9"/>
                </a:cxn>
              </a:cxnLst>
              <a:rect l="T15" t="T16" r="T17" b="T18"/>
              <a:pathLst>
                <a:path w="74" h="40">
                  <a:moveTo>
                    <a:pt x="27" y="0"/>
                  </a:moveTo>
                  <a:lnTo>
                    <a:pt x="74" y="33"/>
                  </a:lnTo>
                  <a:lnTo>
                    <a:pt x="22" y="40"/>
                  </a:lnTo>
                  <a:lnTo>
                    <a:pt x="0" y="8"/>
                  </a:lnTo>
                  <a:lnTo>
                    <a:pt x="27" y="0"/>
                  </a:lnTo>
                  <a:close/>
                </a:path>
              </a:pathLst>
            </a:custGeom>
            <a:grpFill/>
            <a:ln w="6350">
              <a:solidFill>
                <a:schemeClr val="accent5"/>
              </a:solidFill>
              <a:round/>
              <a:headEnd/>
              <a:tailEnd/>
            </a:ln>
          </p:spPr>
          <p:txBody>
            <a:bodyPr/>
            <a:lstStyle/>
            <a:p>
              <a:endParaRPr lang="en-US"/>
            </a:p>
          </p:txBody>
        </p:sp>
        <p:sp>
          <p:nvSpPr>
            <p:cNvPr id="100" name="Freeform 1169"/>
            <p:cNvSpPr>
              <a:spLocks/>
            </p:cNvSpPr>
            <p:nvPr/>
          </p:nvSpPr>
          <p:spPr bwMode="auto">
            <a:xfrm>
              <a:off x="3273529" y="2184396"/>
              <a:ext cx="34400" cy="52220"/>
            </a:xfrm>
            <a:custGeom>
              <a:avLst/>
              <a:gdLst>
                <a:gd name="T0" fmla="*/ 2147483647 w 75"/>
                <a:gd name="T1" fmla="*/ 2147483647 h 125"/>
                <a:gd name="T2" fmla="*/ 2147483647 w 75"/>
                <a:gd name="T3" fmla="*/ 2147483647 h 125"/>
                <a:gd name="T4" fmla="*/ 2147483647 w 75"/>
                <a:gd name="T5" fmla="*/ 2147483647 h 125"/>
                <a:gd name="T6" fmla="*/ 2147483647 w 75"/>
                <a:gd name="T7" fmla="*/ 2147483647 h 125"/>
                <a:gd name="T8" fmla="*/ 2147483647 w 75"/>
                <a:gd name="T9" fmla="*/ 2147483647 h 125"/>
                <a:gd name="T10" fmla="*/ 2147483647 w 75"/>
                <a:gd name="T11" fmla="*/ 2147483647 h 125"/>
                <a:gd name="T12" fmla="*/ 2147483647 w 75"/>
                <a:gd name="T13" fmla="*/ 2147483647 h 125"/>
                <a:gd name="T14" fmla="*/ 0 w 75"/>
                <a:gd name="T15" fmla="*/ 2147483647 h 125"/>
                <a:gd name="T16" fmla="*/ 2147483647 w 75"/>
                <a:gd name="T17" fmla="*/ 0 h 125"/>
                <a:gd name="T18" fmla="*/ 2147483647 w 75"/>
                <a:gd name="T19" fmla="*/ 2147483647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5"/>
                <a:gd name="T31" fmla="*/ 0 h 125"/>
                <a:gd name="T32" fmla="*/ 75 w 75"/>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5" h="125">
                  <a:moveTo>
                    <a:pt x="43" y="34"/>
                  </a:moveTo>
                  <a:lnTo>
                    <a:pt x="47" y="60"/>
                  </a:lnTo>
                  <a:lnTo>
                    <a:pt x="71" y="83"/>
                  </a:lnTo>
                  <a:lnTo>
                    <a:pt x="62" y="91"/>
                  </a:lnTo>
                  <a:lnTo>
                    <a:pt x="75" y="107"/>
                  </a:lnTo>
                  <a:lnTo>
                    <a:pt x="62" y="125"/>
                  </a:lnTo>
                  <a:lnTo>
                    <a:pt x="38" y="112"/>
                  </a:lnTo>
                  <a:lnTo>
                    <a:pt x="0" y="2"/>
                  </a:lnTo>
                  <a:lnTo>
                    <a:pt x="19" y="0"/>
                  </a:lnTo>
                  <a:lnTo>
                    <a:pt x="43" y="34"/>
                  </a:lnTo>
                  <a:close/>
                </a:path>
              </a:pathLst>
            </a:custGeom>
            <a:grpFill/>
            <a:ln w="6350">
              <a:solidFill>
                <a:schemeClr val="accent5"/>
              </a:solidFill>
              <a:round/>
              <a:headEnd/>
              <a:tailEnd/>
            </a:ln>
          </p:spPr>
          <p:txBody>
            <a:bodyPr/>
            <a:lstStyle/>
            <a:p>
              <a:endParaRPr lang="en-US"/>
            </a:p>
          </p:txBody>
        </p:sp>
        <p:sp>
          <p:nvSpPr>
            <p:cNvPr id="101" name="Freeform 1170"/>
            <p:cNvSpPr>
              <a:spLocks/>
            </p:cNvSpPr>
            <p:nvPr/>
          </p:nvSpPr>
          <p:spPr bwMode="auto">
            <a:xfrm>
              <a:off x="3299329" y="2271004"/>
              <a:ext cx="34400" cy="26747"/>
            </a:xfrm>
            <a:custGeom>
              <a:avLst/>
              <a:gdLst>
                <a:gd name="T0" fmla="*/ 2147483647 w 69"/>
                <a:gd name="T1" fmla="*/ 2147483647 h 63"/>
                <a:gd name="T2" fmla="*/ 2147483647 w 69"/>
                <a:gd name="T3" fmla="*/ 2147483647 h 63"/>
                <a:gd name="T4" fmla="*/ 2147483647 w 69"/>
                <a:gd name="T5" fmla="*/ 2147483647 h 63"/>
                <a:gd name="T6" fmla="*/ 2147483647 w 69"/>
                <a:gd name="T7" fmla="*/ 2147483647 h 63"/>
                <a:gd name="T8" fmla="*/ 2147483647 w 69"/>
                <a:gd name="T9" fmla="*/ 2147483647 h 63"/>
                <a:gd name="T10" fmla="*/ 2147483647 w 69"/>
                <a:gd name="T11" fmla="*/ 2147483647 h 63"/>
                <a:gd name="T12" fmla="*/ 0 w 69"/>
                <a:gd name="T13" fmla="*/ 2147483647 h 63"/>
                <a:gd name="T14" fmla="*/ 2147483647 w 69"/>
                <a:gd name="T15" fmla="*/ 0 h 63"/>
                <a:gd name="T16" fmla="*/ 2147483647 w 69"/>
                <a:gd name="T17" fmla="*/ 2147483647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63"/>
                <a:gd name="T29" fmla="*/ 69 w 69"/>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63">
                  <a:moveTo>
                    <a:pt x="30" y="13"/>
                  </a:moveTo>
                  <a:lnTo>
                    <a:pt x="69" y="48"/>
                  </a:lnTo>
                  <a:lnTo>
                    <a:pt x="16" y="63"/>
                  </a:lnTo>
                  <a:lnTo>
                    <a:pt x="24" y="58"/>
                  </a:lnTo>
                  <a:lnTo>
                    <a:pt x="8" y="46"/>
                  </a:lnTo>
                  <a:lnTo>
                    <a:pt x="12" y="27"/>
                  </a:lnTo>
                  <a:lnTo>
                    <a:pt x="0" y="16"/>
                  </a:lnTo>
                  <a:lnTo>
                    <a:pt x="20" y="0"/>
                  </a:lnTo>
                  <a:lnTo>
                    <a:pt x="30" y="13"/>
                  </a:lnTo>
                  <a:close/>
                </a:path>
              </a:pathLst>
            </a:custGeom>
            <a:grpFill/>
            <a:ln w="6350">
              <a:solidFill>
                <a:schemeClr val="accent5"/>
              </a:solidFill>
              <a:round/>
              <a:headEnd/>
              <a:tailEnd/>
            </a:ln>
          </p:spPr>
          <p:txBody>
            <a:bodyPr/>
            <a:lstStyle/>
            <a:p>
              <a:endParaRPr lang="en-US"/>
            </a:p>
          </p:txBody>
        </p:sp>
        <p:sp>
          <p:nvSpPr>
            <p:cNvPr id="102" name="Freeform 1171"/>
            <p:cNvSpPr>
              <a:spLocks/>
            </p:cNvSpPr>
            <p:nvPr/>
          </p:nvSpPr>
          <p:spPr bwMode="auto">
            <a:xfrm>
              <a:off x="3305062" y="2297750"/>
              <a:ext cx="37267" cy="20378"/>
            </a:xfrm>
            <a:custGeom>
              <a:avLst/>
              <a:gdLst>
                <a:gd name="T0" fmla="*/ 2147483647 w 83"/>
                <a:gd name="T1" fmla="*/ 0 h 47"/>
                <a:gd name="T2" fmla="*/ 2147483647 w 83"/>
                <a:gd name="T3" fmla="*/ 2147483647 h 47"/>
                <a:gd name="T4" fmla="*/ 2147483647 w 83"/>
                <a:gd name="T5" fmla="*/ 2147483647 h 47"/>
                <a:gd name="T6" fmla="*/ 2147483647 w 83"/>
                <a:gd name="T7" fmla="*/ 2147483647 h 47"/>
                <a:gd name="T8" fmla="*/ 2147483647 w 83"/>
                <a:gd name="T9" fmla="*/ 2147483647 h 47"/>
                <a:gd name="T10" fmla="*/ 0 w 83"/>
                <a:gd name="T11" fmla="*/ 2147483647 h 47"/>
                <a:gd name="T12" fmla="*/ 2147483647 w 83"/>
                <a:gd name="T13" fmla="*/ 0 h 47"/>
                <a:gd name="T14" fmla="*/ 0 60000 65536"/>
                <a:gd name="T15" fmla="*/ 0 60000 65536"/>
                <a:gd name="T16" fmla="*/ 0 60000 65536"/>
                <a:gd name="T17" fmla="*/ 0 60000 65536"/>
                <a:gd name="T18" fmla="*/ 0 60000 65536"/>
                <a:gd name="T19" fmla="*/ 0 60000 65536"/>
                <a:gd name="T20" fmla="*/ 0 60000 65536"/>
                <a:gd name="T21" fmla="*/ 0 w 83"/>
                <a:gd name="T22" fmla="*/ 0 h 47"/>
                <a:gd name="T23" fmla="*/ 83 w 83"/>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47">
                  <a:moveTo>
                    <a:pt x="63" y="0"/>
                  </a:moveTo>
                  <a:lnTo>
                    <a:pt x="83" y="14"/>
                  </a:lnTo>
                  <a:lnTo>
                    <a:pt x="78" y="32"/>
                  </a:lnTo>
                  <a:lnTo>
                    <a:pt x="60" y="43"/>
                  </a:lnTo>
                  <a:lnTo>
                    <a:pt x="15" y="47"/>
                  </a:lnTo>
                  <a:lnTo>
                    <a:pt x="0" y="26"/>
                  </a:lnTo>
                  <a:lnTo>
                    <a:pt x="63" y="0"/>
                  </a:lnTo>
                  <a:close/>
                </a:path>
              </a:pathLst>
            </a:custGeom>
            <a:grpFill/>
            <a:ln w="6350">
              <a:solidFill>
                <a:schemeClr val="accent5"/>
              </a:solidFill>
              <a:round/>
              <a:headEnd/>
              <a:tailEnd/>
            </a:ln>
          </p:spPr>
          <p:txBody>
            <a:bodyPr/>
            <a:lstStyle/>
            <a:p>
              <a:endParaRPr lang="en-US"/>
            </a:p>
          </p:txBody>
        </p:sp>
        <p:sp>
          <p:nvSpPr>
            <p:cNvPr id="103" name="Freeform 1172"/>
            <p:cNvSpPr>
              <a:spLocks/>
            </p:cNvSpPr>
            <p:nvPr/>
          </p:nvSpPr>
          <p:spPr bwMode="auto">
            <a:xfrm>
              <a:off x="3316528" y="2316856"/>
              <a:ext cx="31533" cy="11463"/>
            </a:xfrm>
            <a:custGeom>
              <a:avLst/>
              <a:gdLst>
                <a:gd name="T0" fmla="*/ 2147483647 w 66"/>
                <a:gd name="T1" fmla="*/ 2147483647 h 31"/>
                <a:gd name="T2" fmla="*/ 2147483647 w 66"/>
                <a:gd name="T3" fmla="*/ 0 h 31"/>
                <a:gd name="T4" fmla="*/ 2147483647 w 66"/>
                <a:gd name="T5" fmla="*/ 2147483647 h 31"/>
                <a:gd name="T6" fmla="*/ 0 w 66"/>
                <a:gd name="T7" fmla="*/ 2147483647 h 31"/>
                <a:gd name="T8" fmla="*/ 2147483647 w 66"/>
                <a:gd name="T9" fmla="*/ 2147483647 h 31"/>
                <a:gd name="T10" fmla="*/ 0 60000 65536"/>
                <a:gd name="T11" fmla="*/ 0 60000 65536"/>
                <a:gd name="T12" fmla="*/ 0 60000 65536"/>
                <a:gd name="T13" fmla="*/ 0 60000 65536"/>
                <a:gd name="T14" fmla="*/ 0 60000 65536"/>
                <a:gd name="T15" fmla="*/ 0 w 66"/>
                <a:gd name="T16" fmla="*/ 0 h 31"/>
                <a:gd name="T17" fmla="*/ 66 w 66"/>
                <a:gd name="T18" fmla="*/ 31 h 31"/>
              </a:gdLst>
              <a:ahLst/>
              <a:cxnLst>
                <a:cxn ang="T10">
                  <a:pos x="T0" y="T1"/>
                </a:cxn>
                <a:cxn ang="T11">
                  <a:pos x="T2" y="T3"/>
                </a:cxn>
                <a:cxn ang="T12">
                  <a:pos x="T4" y="T5"/>
                </a:cxn>
                <a:cxn ang="T13">
                  <a:pos x="T6" y="T7"/>
                </a:cxn>
                <a:cxn ang="T14">
                  <a:pos x="T8" y="T9"/>
                </a:cxn>
              </a:cxnLst>
              <a:rect l="T15" t="T16" r="T17" b="T18"/>
              <a:pathLst>
                <a:path w="66" h="31">
                  <a:moveTo>
                    <a:pt x="38" y="2"/>
                  </a:moveTo>
                  <a:lnTo>
                    <a:pt x="66" y="0"/>
                  </a:lnTo>
                  <a:lnTo>
                    <a:pt x="58" y="13"/>
                  </a:lnTo>
                  <a:lnTo>
                    <a:pt x="0" y="31"/>
                  </a:lnTo>
                  <a:lnTo>
                    <a:pt x="38" y="2"/>
                  </a:lnTo>
                  <a:close/>
                </a:path>
              </a:pathLst>
            </a:custGeom>
            <a:grpFill/>
            <a:ln w="6350">
              <a:solidFill>
                <a:schemeClr val="accent5"/>
              </a:solidFill>
              <a:round/>
              <a:headEnd/>
              <a:tailEnd/>
            </a:ln>
          </p:spPr>
          <p:txBody>
            <a:bodyPr/>
            <a:lstStyle/>
            <a:p>
              <a:endParaRPr lang="en-US"/>
            </a:p>
          </p:txBody>
        </p:sp>
        <p:sp>
          <p:nvSpPr>
            <p:cNvPr id="104" name="Freeform 1173"/>
            <p:cNvSpPr>
              <a:spLocks/>
            </p:cNvSpPr>
            <p:nvPr/>
          </p:nvSpPr>
          <p:spPr bwMode="auto">
            <a:xfrm>
              <a:off x="3326561" y="2324498"/>
              <a:ext cx="27234" cy="15284"/>
            </a:xfrm>
            <a:custGeom>
              <a:avLst/>
              <a:gdLst>
                <a:gd name="T0" fmla="*/ 2147483647 w 56"/>
                <a:gd name="T1" fmla="*/ 2147483647 h 35"/>
                <a:gd name="T2" fmla="*/ 2147483647 w 56"/>
                <a:gd name="T3" fmla="*/ 0 h 35"/>
                <a:gd name="T4" fmla="*/ 2147483647 w 56"/>
                <a:gd name="T5" fmla="*/ 2147483647 h 35"/>
                <a:gd name="T6" fmla="*/ 2147483647 w 56"/>
                <a:gd name="T7" fmla="*/ 2147483647 h 35"/>
                <a:gd name="T8" fmla="*/ 0 w 56"/>
                <a:gd name="T9" fmla="*/ 2147483647 h 35"/>
                <a:gd name="T10" fmla="*/ 2147483647 w 56"/>
                <a:gd name="T11" fmla="*/ 2147483647 h 35"/>
                <a:gd name="T12" fmla="*/ 0 60000 65536"/>
                <a:gd name="T13" fmla="*/ 0 60000 65536"/>
                <a:gd name="T14" fmla="*/ 0 60000 65536"/>
                <a:gd name="T15" fmla="*/ 0 60000 65536"/>
                <a:gd name="T16" fmla="*/ 0 60000 65536"/>
                <a:gd name="T17" fmla="*/ 0 60000 65536"/>
                <a:gd name="T18" fmla="*/ 0 w 56"/>
                <a:gd name="T19" fmla="*/ 0 h 35"/>
                <a:gd name="T20" fmla="*/ 56 w 56"/>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56" h="35">
                  <a:moveTo>
                    <a:pt x="15" y="6"/>
                  </a:moveTo>
                  <a:lnTo>
                    <a:pt x="56" y="0"/>
                  </a:lnTo>
                  <a:lnTo>
                    <a:pt x="33" y="31"/>
                  </a:lnTo>
                  <a:lnTo>
                    <a:pt x="12" y="35"/>
                  </a:lnTo>
                  <a:lnTo>
                    <a:pt x="0" y="31"/>
                  </a:lnTo>
                  <a:lnTo>
                    <a:pt x="15" y="6"/>
                  </a:lnTo>
                  <a:close/>
                </a:path>
              </a:pathLst>
            </a:custGeom>
            <a:grpFill/>
            <a:ln w="6350">
              <a:solidFill>
                <a:schemeClr val="accent5"/>
              </a:solidFill>
              <a:round/>
              <a:headEnd/>
              <a:tailEnd/>
            </a:ln>
          </p:spPr>
          <p:txBody>
            <a:bodyPr/>
            <a:lstStyle/>
            <a:p>
              <a:endParaRPr lang="en-US"/>
            </a:p>
          </p:txBody>
        </p:sp>
        <p:sp>
          <p:nvSpPr>
            <p:cNvPr id="105" name="Freeform 1174"/>
            <p:cNvSpPr>
              <a:spLocks/>
            </p:cNvSpPr>
            <p:nvPr/>
          </p:nvSpPr>
          <p:spPr bwMode="auto">
            <a:xfrm>
              <a:off x="3296462" y="2362707"/>
              <a:ext cx="25800" cy="26747"/>
            </a:xfrm>
            <a:custGeom>
              <a:avLst/>
              <a:gdLst>
                <a:gd name="T0" fmla="*/ 2147483647 w 55"/>
                <a:gd name="T1" fmla="*/ 0 h 67"/>
                <a:gd name="T2" fmla="*/ 2147483647 w 55"/>
                <a:gd name="T3" fmla="*/ 2147483647 h 67"/>
                <a:gd name="T4" fmla="*/ 2147483647 w 55"/>
                <a:gd name="T5" fmla="*/ 2147483647 h 67"/>
                <a:gd name="T6" fmla="*/ 2147483647 w 55"/>
                <a:gd name="T7" fmla="*/ 2147483647 h 67"/>
                <a:gd name="T8" fmla="*/ 0 w 55"/>
                <a:gd name="T9" fmla="*/ 2147483647 h 67"/>
                <a:gd name="T10" fmla="*/ 2147483647 w 55"/>
                <a:gd name="T11" fmla="*/ 2147483647 h 67"/>
                <a:gd name="T12" fmla="*/ 2147483647 w 55"/>
                <a:gd name="T13" fmla="*/ 0 h 67"/>
                <a:gd name="T14" fmla="*/ 0 60000 65536"/>
                <a:gd name="T15" fmla="*/ 0 60000 65536"/>
                <a:gd name="T16" fmla="*/ 0 60000 65536"/>
                <a:gd name="T17" fmla="*/ 0 60000 65536"/>
                <a:gd name="T18" fmla="*/ 0 60000 65536"/>
                <a:gd name="T19" fmla="*/ 0 60000 65536"/>
                <a:gd name="T20" fmla="*/ 0 60000 65536"/>
                <a:gd name="T21" fmla="*/ 0 w 55"/>
                <a:gd name="T22" fmla="*/ 0 h 67"/>
                <a:gd name="T23" fmla="*/ 55 w 55"/>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7">
                  <a:moveTo>
                    <a:pt x="35" y="0"/>
                  </a:moveTo>
                  <a:lnTo>
                    <a:pt x="55" y="45"/>
                  </a:lnTo>
                  <a:lnTo>
                    <a:pt x="48" y="59"/>
                  </a:lnTo>
                  <a:lnTo>
                    <a:pt x="30" y="67"/>
                  </a:lnTo>
                  <a:lnTo>
                    <a:pt x="0" y="44"/>
                  </a:lnTo>
                  <a:lnTo>
                    <a:pt x="14" y="2"/>
                  </a:lnTo>
                  <a:lnTo>
                    <a:pt x="35" y="0"/>
                  </a:lnTo>
                  <a:close/>
                </a:path>
              </a:pathLst>
            </a:custGeom>
            <a:grpFill/>
            <a:ln w="6350">
              <a:solidFill>
                <a:schemeClr val="accent5"/>
              </a:solidFill>
              <a:round/>
              <a:headEnd/>
              <a:tailEnd/>
            </a:ln>
          </p:spPr>
          <p:txBody>
            <a:bodyPr/>
            <a:lstStyle/>
            <a:p>
              <a:endParaRPr lang="en-US"/>
            </a:p>
          </p:txBody>
        </p:sp>
        <p:sp>
          <p:nvSpPr>
            <p:cNvPr id="106" name="Freeform 1175"/>
            <p:cNvSpPr>
              <a:spLocks/>
            </p:cNvSpPr>
            <p:nvPr/>
          </p:nvSpPr>
          <p:spPr bwMode="auto">
            <a:xfrm>
              <a:off x="3038461" y="2255721"/>
              <a:ext cx="247967" cy="175765"/>
            </a:xfrm>
            <a:custGeom>
              <a:avLst/>
              <a:gdLst>
                <a:gd name="T0" fmla="*/ 2147483647 w 529"/>
                <a:gd name="T1" fmla="*/ 2147483647 h 419"/>
                <a:gd name="T2" fmla="*/ 2147483647 w 529"/>
                <a:gd name="T3" fmla="*/ 0 h 419"/>
                <a:gd name="T4" fmla="*/ 2147483647 w 529"/>
                <a:gd name="T5" fmla="*/ 2147483647 h 419"/>
                <a:gd name="T6" fmla="*/ 2147483647 w 529"/>
                <a:gd name="T7" fmla="*/ 2147483647 h 419"/>
                <a:gd name="T8" fmla="*/ 2147483647 w 529"/>
                <a:gd name="T9" fmla="*/ 2147483647 h 419"/>
                <a:gd name="T10" fmla="*/ 2147483647 w 529"/>
                <a:gd name="T11" fmla="*/ 2147483647 h 419"/>
                <a:gd name="T12" fmla="*/ 2147483647 w 529"/>
                <a:gd name="T13" fmla="*/ 2147483647 h 419"/>
                <a:gd name="T14" fmla="*/ 2147483647 w 529"/>
                <a:gd name="T15" fmla="*/ 2147483647 h 419"/>
                <a:gd name="T16" fmla="*/ 2147483647 w 529"/>
                <a:gd name="T17" fmla="*/ 2147483647 h 419"/>
                <a:gd name="T18" fmla="*/ 2147483647 w 529"/>
                <a:gd name="T19" fmla="*/ 2147483647 h 419"/>
                <a:gd name="T20" fmla="*/ 2147483647 w 529"/>
                <a:gd name="T21" fmla="*/ 2147483647 h 419"/>
                <a:gd name="T22" fmla="*/ 2147483647 w 529"/>
                <a:gd name="T23" fmla="*/ 2147483647 h 419"/>
                <a:gd name="T24" fmla="*/ 2147483647 w 529"/>
                <a:gd name="T25" fmla="*/ 2147483647 h 419"/>
                <a:gd name="T26" fmla="*/ 2147483647 w 529"/>
                <a:gd name="T27" fmla="*/ 2147483647 h 419"/>
                <a:gd name="T28" fmla="*/ 2147483647 w 529"/>
                <a:gd name="T29" fmla="*/ 2147483647 h 419"/>
                <a:gd name="T30" fmla="*/ 2147483647 w 529"/>
                <a:gd name="T31" fmla="*/ 2147483647 h 419"/>
                <a:gd name="T32" fmla="*/ 2147483647 w 529"/>
                <a:gd name="T33" fmla="*/ 2147483647 h 419"/>
                <a:gd name="T34" fmla="*/ 2147483647 w 529"/>
                <a:gd name="T35" fmla="*/ 2147483647 h 419"/>
                <a:gd name="T36" fmla="*/ 2147483647 w 529"/>
                <a:gd name="T37" fmla="*/ 2147483647 h 419"/>
                <a:gd name="T38" fmla="*/ 2147483647 w 529"/>
                <a:gd name="T39" fmla="*/ 2147483647 h 419"/>
                <a:gd name="T40" fmla="*/ 2147483647 w 529"/>
                <a:gd name="T41" fmla="*/ 2147483647 h 419"/>
                <a:gd name="T42" fmla="*/ 2147483647 w 529"/>
                <a:gd name="T43" fmla="*/ 2147483647 h 419"/>
                <a:gd name="T44" fmla="*/ 2147483647 w 529"/>
                <a:gd name="T45" fmla="*/ 2147483647 h 419"/>
                <a:gd name="T46" fmla="*/ 2147483647 w 529"/>
                <a:gd name="T47" fmla="*/ 2147483647 h 419"/>
                <a:gd name="T48" fmla="*/ 2147483647 w 529"/>
                <a:gd name="T49" fmla="*/ 2147483647 h 419"/>
                <a:gd name="T50" fmla="*/ 2147483647 w 529"/>
                <a:gd name="T51" fmla="*/ 2147483647 h 419"/>
                <a:gd name="T52" fmla="*/ 2147483647 w 529"/>
                <a:gd name="T53" fmla="*/ 2147483647 h 419"/>
                <a:gd name="T54" fmla="*/ 2147483647 w 529"/>
                <a:gd name="T55" fmla="*/ 2147483647 h 419"/>
                <a:gd name="T56" fmla="*/ 2147483647 w 529"/>
                <a:gd name="T57" fmla="*/ 2147483647 h 419"/>
                <a:gd name="T58" fmla="*/ 2147483647 w 529"/>
                <a:gd name="T59" fmla="*/ 2147483647 h 419"/>
                <a:gd name="T60" fmla="*/ 2147483647 w 529"/>
                <a:gd name="T61" fmla="*/ 2147483647 h 419"/>
                <a:gd name="T62" fmla="*/ 2147483647 w 529"/>
                <a:gd name="T63" fmla="*/ 2147483647 h 419"/>
                <a:gd name="T64" fmla="*/ 2147483647 w 529"/>
                <a:gd name="T65" fmla="*/ 2147483647 h 419"/>
                <a:gd name="T66" fmla="*/ 2147483647 w 529"/>
                <a:gd name="T67" fmla="*/ 2147483647 h 419"/>
                <a:gd name="T68" fmla="*/ 2147483647 w 529"/>
                <a:gd name="T69" fmla="*/ 2147483647 h 419"/>
                <a:gd name="T70" fmla="*/ 2147483647 w 529"/>
                <a:gd name="T71" fmla="*/ 2147483647 h 419"/>
                <a:gd name="T72" fmla="*/ 2147483647 w 529"/>
                <a:gd name="T73" fmla="*/ 2147483647 h 419"/>
                <a:gd name="T74" fmla="*/ 2147483647 w 529"/>
                <a:gd name="T75" fmla="*/ 2147483647 h 419"/>
                <a:gd name="T76" fmla="*/ 2147483647 w 529"/>
                <a:gd name="T77" fmla="*/ 2147483647 h 419"/>
                <a:gd name="T78" fmla="*/ 2147483647 w 529"/>
                <a:gd name="T79" fmla="*/ 2147483647 h 419"/>
                <a:gd name="T80" fmla="*/ 2147483647 w 529"/>
                <a:gd name="T81" fmla="*/ 2147483647 h 419"/>
                <a:gd name="T82" fmla="*/ 2147483647 w 529"/>
                <a:gd name="T83" fmla="*/ 2147483647 h 419"/>
                <a:gd name="T84" fmla="*/ 2147483647 w 529"/>
                <a:gd name="T85" fmla="*/ 2147483647 h 419"/>
                <a:gd name="T86" fmla="*/ 2147483647 w 529"/>
                <a:gd name="T87" fmla="*/ 2147483647 h 419"/>
                <a:gd name="T88" fmla="*/ 2147483647 w 529"/>
                <a:gd name="T89" fmla="*/ 2147483647 h 419"/>
                <a:gd name="T90" fmla="*/ 2147483647 w 529"/>
                <a:gd name="T91" fmla="*/ 2147483647 h 419"/>
                <a:gd name="T92" fmla="*/ 2147483647 w 529"/>
                <a:gd name="T93" fmla="*/ 2147483647 h 419"/>
                <a:gd name="T94" fmla="*/ 2147483647 w 529"/>
                <a:gd name="T95" fmla="*/ 2147483647 h 4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9"/>
                <a:gd name="T145" fmla="*/ 0 h 419"/>
                <a:gd name="T146" fmla="*/ 529 w 529"/>
                <a:gd name="T147" fmla="*/ 419 h 4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9" h="419">
                  <a:moveTo>
                    <a:pt x="329" y="65"/>
                  </a:moveTo>
                  <a:lnTo>
                    <a:pt x="345" y="56"/>
                  </a:lnTo>
                  <a:lnTo>
                    <a:pt x="360" y="6"/>
                  </a:lnTo>
                  <a:lnTo>
                    <a:pt x="383" y="0"/>
                  </a:lnTo>
                  <a:lnTo>
                    <a:pt x="396" y="21"/>
                  </a:lnTo>
                  <a:lnTo>
                    <a:pt x="386" y="38"/>
                  </a:lnTo>
                  <a:lnTo>
                    <a:pt x="393" y="54"/>
                  </a:lnTo>
                  <a:lnTo>
                    <a:pt x="393" y="74"/>
                  </a:lnTo>
                  <a:lnTo>
                    <a:pt x="413" y="101"/>
                  </a:lnTo>
                  <a:lnTo>
                    <a:pt x="392" y="139"/>
                  </a:lnTo>
                  <a:lnTo>
                    <a:pt x="436" y="153"/>
                  </a:lnTo>
                  <a:lnTo>
                    <a:pt x="418" y="190"/>
                  </a:lnTo>
                  <a:lnTo>
                    <a:pt x="455" y="171"/>
                  </a:lnTo>
                  <a:lnTo>
                    <a:pt x="468" y="208"/>
                  </a:lnTo>
                  <a:lnTo>
                    <a:pt x="475" y="189"/>
                  </a:lnTo>
                  <a:lnTo>
                    <a:pt x="468" y="162"/>
                  </a:lnTo>
                  <a:lnTo>
                    <a:pt x="476" y="144"/>
                  </a:lnTo>
                  <a:lnTo>
                    <a:pt x="518" y="169"/>
                  </a:lnTo>
                  <a:lnTo>
                    <a:pt x="528" y="192"/>
                  </a:lnTo>
                  <a:lnTo>
                    <a:pt x="529" y="219"/>
                  </a:lnTo>
                  <a:lnTo>
                    <a:pt x="499" y="318"/>
                  </a:lnTo>
                  <a:lnTo>
                    <a:pt x="452" y="338"/>
                  </a:lnTo>
                  <a:lnTo>
                    <a:pt x="434" y="327"/>
                  </a:lnTo>
                  <a:lnTo>
                    <a:pt x="431" y="310"/>
                  </a:lnTo>
                  <a:lnTo>
                    <a:pt x="400" y="334"/>
                  </a:lnTo>
                  <a:lnTo>
                    <a:pt x="385" y="330"/>
                  </a:lnTo>
                  <a:lnTo>
                    <a:pt x="392" y="323"/>
                  </a:lnTo>
                  <a:lnTo>
                    <a:pt x="386" y="306"/>
                  </a:lnTo>
                  <a:lnTo>
                    <a:pt x="353" y="341"/>
                  </a:lnTo>
                  <a:lnTo>
                    <a:pt x="303" y="359"/>
                  </a:lnTo>
                  <a:lnTo>
                    <a:pt x="295" y="381"/>
                  </a:lnTo>
                  <a:lnTo>
                    <a:pt x="218" y="419"/>
                  </a:lnTo>
                  <a:lnTo>
                    <a:pt x="159" y="402"/>
                  </a:lnTo>
                  <a:lnTo>
                    <a:pt x="140" y="380"/>
                  </a:lnTo>
                  <a:lnTo>
                    <a:pt x="143" y="365"/>
                  </a:lnTo>
                  <a:lnTo>
                    <a:pt x="184" y="351"/>
                  </a:lnTo>
                  <a:lnTo>
                    <a:pt x="199" y="326"/>
                  </a:lnTo>
                  <a:lnTo>
                    <a:pt x="257" y="330"/>
                  </a:lnTo>
                  <a:lnTo>
                    <a:pt x="288" y="276"/>
                  </a:lnTo>
                  <a:lnTo>
                    <a:pt x="231" y="299"/>
                  </a:lnTo>
                  <a:lnTo>
                    <a:pt x="230" y="282"/>
                  </a:lnTo>
                  <a:lnTo>
                    <a:pt x="214" y="278"/>
                  </a:lnTo>
                  <a:lnTo>
                    <a:pt x="207" y="306"/>
                  </a:lnTo>
                  <a:lnTo>
                    <a:pt x="194" y="297"/>
                  </a:lnTo>
                  <a:lnTo>
                    <a:pt x="163" y="320"/>
                  </a:lnTo>
                  <a:lnTo>
                    <a:pt x="158" y="312"/>
                  </a:lnTo>
                  <a:lnTo>
                    <a:pt x="169" y="292"/>
                  </a:lnTo>
                  <a:lnTo>
                    <a:pt x="166" y="266"/>
                  </a:lnTo>
                  <a:lnTo>
                    <a:pt x="184" y="250"/>
                  </a:lnTo>
                  <a:lnTo>
                    <a:pt x="157" y="254"/>
                  </a:lnTo>
                  <a:lnTo>
                    <a:pt x="151" y="285"/>
                  </a:lnTo>
                  <a:lnTo>
                    <a:pt x="134" y="271"/>
                  </a:lnTo>
                  <a:lnTo>
                    <a:pt x="140" y="309"/>
                  </a:lnTo>
                  <a:lnTo>
                    <a:pt x="122" y="327"/>
                  </a:lnTo>
                  <a:lnTo>
                    <a:pt x="112" y="326"/>
                  </a:lnTo>
                  <a:lnTo>
                    <a:pt x="108" y="296"/>
                  </a:lnTo>
                  <a:lnTo>
                    <a:pt x="90" y="304"/>
                  </a:lnTo>
                  <a:lnTo>
                    <a:pt x="90" y="330"/>
                  </a:lnTo>
                  <a:lnTo>
                    <a:pt x="63" y="314"/>
                  </a:lnTo>
                  <a:lnTo>
                    <a:pt x="67" y="305"/>
                  </a:lnTo>
                  <a:lnTo>
                    <a:pt x="61" y="289"/>
                  </a:lnTo>
                  <a:lnTo>
                    <a:pt x="46" y="304"/>
                  </a:lnTo>
                  <a:lnTo>
                    <a:pt x="0" y="281"/>
                  </a:lnTo>
                  <a:lnTo>
                    <a:pt x="19" y="243"/>
                  </a:lnTo>
                  <a:lnTo>
                    <a:pt x="68" y="243"/>
                  </a:lnTo>
                  <a:lnTo>
                    <a:pt x="110" y="203"/>
                  </a:lnTo>
                  <a:lnTo>
                    <a:pt x="48" y="233"/>
                  </a:lnTo>
                  <a:lnTo>
                    <a:pt x="18" y="229"/>
                  </a:lnTo>
                  <a:lnTo>
                    <a:pt x="18" y="211"/>
                  </a:lnTo>
                  <a:lnTo>
                    <a:pt x="27" y="192"/>
                  </a:lnTo>
                  <a:lnTo>
                    <a:pt x="37" y="176"/>
                  </a:lnTo>
                  <a:lnTo>
                    <a:pt x="48" y="154"/>
                  </a:lnTo>
                  <a:lnTo>
                    <a:pt x="40" y="140"/>
                  </a:lnTo>
                  <a:lnTo>
                    <a:pt x="48" y="124"/>
                  </a:lnTo>
                  <a:lnTo>
                    <a:pt x="74" y="101"/>
                  </a:lnTo>
                  <a:lnTo>
                    <a:pt x="90" y="69"/>
                  </a:lnTo>
                  <a:lnTo>
                    <a:pt x="116" y="62"/>
                  </a:lnTo>
                  <a:lnTo>
                    <a:pt x="150" y="75"/>
                  </a:lnTo>
                  <a:lnTo>
                    <a:pt x="147" y="97"/>
                  </a:lnTo>
                  <a:lnTo>
                    <a:pt x="151" y="115"/>
                  </a:lnTo>
                  <a:lnTo>
                    <a:pt x="203" y="106"/>
                  </a:lnTo>
                  <a:lnTo>
                    <a:pt x="220" y="120"/>
                  </a:lnTo>
                  <a:lnTo>
                    <a:pt x="252" y="165"/>
                  </a:lnTo>
                  <a:lnTo>
                    <a:pt x="235" y="184"/>
                  </a:lnTo>
                  <a:lnTo>
                    <a:pt x="263" y="178"/>
                  </a:lnTo>
                  <a:lnTo>
                    <a:pt x="269" y="196"/>
                  </a:lnTo>
                  <a:lnTo>
                    <a:pt x="263" y="201"/>
                  </a:lnTo>
                  <a:lnTo>
                    <a:pt x="275" y="233"/>
                  </a:lnTo>
                  <a:lnTo>
                    <a:pt x="375" y="235"/>
                  </a:lnTo>
                  <a:lnTo>
                    <a:pt x="378" y="204"/>
                  </a:lnTo>
                  <a:lnTo>
                    <a:pt x="334" y="172"/>
                  </a:lnTo>
                  <a:lnTo>
                    <a:pt x="362" y="149"/>
                  </a:lnTo>
                  <a:lnTo>
                    <a:pt x="353" y="119"/>
                  </a:lnTo>
                  <a:lnTo>
                    <a:pt x="316" y="94"/>
                  </a:lnTo>
                  <a:lnTo>
                    <a:pt x="311" y="73"/>
                  </a:lnTo>
                  <a:lnTo>
                    <a:pt x="329" y="65"/>
                  </a:lnTo>
                  <a:close/>
                </a:path>
              </a:pathLst>
            </a:custGeom>
            <a:grpFill/>
            <a:ln w="6350">
              <a:solidFill>
                <a:schemeClr val="accent5"/>
              </a:solidFill>
              <a:round/>
              <a:headEnd/>
              <a:tailEnd/>
            </a:ln>
          </p:spPr>
          <p:txBody>
            <a:bodyPr/>
            <a:lstStyle/>
            <a:p>
              <a:endParaRPr lang="en-US"/>
            </a:p>
          </p:txBody>
        </p:sp>
        <p:sp>
          <p:nvSpPr>
            <p:cNvPr id="107" name="Freeform 1176"/>
            <p:cNvSpPr>
              <a:spLocks/>
            </p:cNvSpPr>
            <p:nvPr/>
          </p:nvSpPr>
          <p:spPr bwMode="auto">
            <a:xfrm>
              <a:off x="3004060" y="2313035"/>
              <a:ext cx="37267" cy="43304"/>
            </a:xfrm>
            <a:custGeom>
              <a:avLst/>
              <a:gdLst>
                <a:gd name="T0" fmla="*/ 2147483647 w 77"/>
                <a:gd name="T1" fmla="*/ 2147483647 h 105"/>
                <a:gd name="T2" fmla="*/ 2147483647 w 77"/>
                <a:gd name="T3" fmla="*/ 0 h 105"/>
                <a:gd name="T4" fmla="*/ 2147483647 w 77"/>
                <a:gd name="T5" fmla="*/ 2147483647 h 105"/>
                <a:gd name="T6" fmla="*/ 2147483647 w 77"/>
                <a:gd name="T7" fmla="*/ 2147483647 h 105"/>
                <a:gd name="T8" fmla="*/ 0 w 77"/>
                <a:gd name="T9" fmla="*/ 2147483647 h 105"/>
                <a:gd name="T10" fmla="*/ 2147483647 w 77"/>
                <a:gd name="T11" fmla="*/ 2147483647 h 105"/>
                <a:gd name="T12" fmla="*/ 0 60000 65536"/>
                <a:gd name="T13" fmla="*/ 0 60000 65536"/>
                <a:gd name="T14" fmla="*/ 0 60000 65536"/>
                <a:gd name="T15" fmla="*/ 0 60000 65536"/>
                <a:gd name="T16" fmla="*/ 0 60000 65536"/>
                <a:gd name="T17" fmla="*/ 0 60000 65536"/>
                <a:gd name="T18" fmla="*/ 0 w 77"/>
                <a:gd name="T19" fmla="*/ 0 h 105"/>
                <a:gd name="T20" fmla="*/ 77 w 77"/>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7" h="105">
                  <a:moveTo>
                    <a:pt x="57" y="13"/>
                  </a:moveTo>
                  <a:lnTo>
                    <a:pt x="70" y="0"/>
                  </a:lnTo>
                  <a:lnTo>
                    <a:pt x="77" y="14"/>
                  </a:lnTo>
                  <a:lnTo>
                    <a:pt x="40" y="105"/>
                  </a:lnTo>
                  <a:lnTo>
                    <a:pt x="0" y="76"/>
                  </a:lnTo>
                  <a:lnTo>
                    <a:pt x="57" y="13"/>
                  </a:lnTo>
                  <a:close/>
                </a:path>
              </a:pathLst>
            </a:custGeom>
            <a:grpFill/>
            <a:ln w="6350">
              <a:solidFill>
                <a:schemeClr val="accent5"/>
              </a:solidFill>
              <a:round/>
              <a:headEnd/>
              <a:tailEnd/>
            </a:ln>
          </p:spPr>
          <p:txBody>
            <a:bodyPr/>
            <a:lstStyle/>
            <a:p>
              <a:endParaRPr lang="en-US"/>
            </a:p>
          </p:txBody>
        </p:sp>
        <p:sp>
          <p:nvSpPr>
            <p:cNvPr id="108" name="Freeform 1177"/>
            <p:cNvSpPr>
              <a:spLocks/>
            </p:cNvSpPr>
            <p:nvPr/>
          </p:nvSpPr>
          <p:spPr bwMode="auto">
            <a:xfrm>
              <a:off x="2932393" y="2199680"/>
              <a:ext cx="146200" cy="135008"/>
            </a:xfrm>
            <a:custGeom>
              <a:avLst/>
              <a:gdLst>
                <a:gd name="T0" fmla="*/ 2147483647 w 315"/>
                <a:gd name="T1" fmla="*/ 2147483647 h 322"/>
                <a:gd name="T2" fmla="*/ 2147483647 w 315"/>
                <a:gd name="T3" fmla="*/ 2147483647 h 322"/>
                <a:gd name="T4" fmla="*/ 2147483647 w 315"/>
                <a:gd name="T5" fmla="*/ 2147483647 h 322"/>
                <a:gd name="T6" fmla="*/ 2147483647 w 315"/>
                <a:gd name="T7" fmla="*/ 2147483647 h 322"/>
                <a:gd name="T8" fmla="*/ 2147483647 w 315"/>
                <a:gd name="T9" fmla="*/ 2147483647 h 322"/>
                <a:gd name="T10" fmla="*/ 2147483647 w 315"/>
                <a:gd name="T11" fmla="*/ 2147483647 h 322"/>
                <a:gd name="T12" fmla="*/ 2147483647 w 315"/>
                <a:gd name="T13" fmla="*/ 2147483647 h 322"/>
                <a:gd name="T14" fmla="*/ 2147483647 w 315"/>
                <a:gd name="T15" fmla="*/ 2147483647 h 322"/>
                <a:gd name="T16" fmla="*/ 2147483647 w 315"/>
                <a:gd name="T17" fmla="*/ 0 h 322"/>
                <a:gd name="T18" fmla="*/ 2147483647 w 315"/>
                <a:gd name="T19" fmla="*/ 2147483647 h 322"/>
                <a:gd name="T20" fmla="*/ 2147483647 w 315"/>
                <a:gd name="T21" fmla="*/ 2147483647 h 322"/>
                <a:gd name="T22" fmla="*/ 2147483647 w 315"/>
                <a:gd name="T23" fmla="*/ 2147483647 h 322"/>
                <a:gd name="T24" fmla="*/ 2147483647 w 315"/>
                <a:gd name="T25" fmla="*/ 2147483647 h 322"/>
                <a:gd name="T26" fmla="*/ 2147483647 w 315"/>
                <a:gd name="T27" fmla="*/ 2147483647 h 322"/>
                <a:gd name="T28" fmla="*/ 2147483647 w 315"/>
                <a:gd name="T29" fmla="*/ 2147483647 h 322"/>
                <a:gd name="T30" fmla="*/ 2147483647 w 315"/>
                <a:gd name="T31" fmla="*/ 2147483647 h 322"/>
                <a:gd name="T32" fmla="*/ 2147483647 w 315"/>
                <a:gd name="T33" fmla="*/ 2147483647 h 322"/>
                <a:gd name="T34" fmla="*/ 2147483647 w 315"/>
                <a:gd name="T35" fmla="*/ 2147483647 h 322"/>
                <a:gd name="T36" fmla="*/ 2147483647 w 315"/>
                <a:gd name="T37" fmla="*/ 2147483647 h 322"/>
                <a:gd name="T38" fmla="*/ 2147483647 w 315"/>
                <a:gd name="T39" fmla="*/ 2147483647 h 322"/>
                <a:gd name="T40" fmla="*/ 2147483647 w 315"/>
                <a:gd name="T41" fmla="*/ 2147483647 h 322"/>
                <a:gd name="T42" fmla="*/ 2147483647 w 315"/>
                <a:gd name="T43" fmla="*/ 2147483647 h 322"/>
                <a:gd name="T44" fmla="*/ 2147483647 w 315"/>
                <a:gd name="T45" fmla="*/ 2147483647 h 322"/>
                <a:gd name="T46" fmla="*/ 2147483647 w 315"/>
                <a:gd name="T47" fmla="*/ 2147483647 h 322"/>
                <a:gd name="T48" fmla="*/ 2147483647 w 315"/>
                <a:gd name="T49" fmla="*/ 2147483647 h 322"/>
                <a:gd name="T50" fmla="*/ 2147483647 w 315"/>
                <a:gd name="T51" fmla="*/ 2147483647 h 322"/>
                <a:gd name="T52" fmla="*/ 2147483647 w 315"/>
                <a:gd name="T53" fmla="*/ 2147483647 h 322"/>
                <a:gd name="T54" fmla="*/ 2147483647 w 315"/>
                <a:gd name="T55" fmla="*/ 2147483647 h 322"/>
                <a:gd name="T56" fmla="*/ 2147483647 w 315"/>
                <a:gd name="T57" fmla="*/ 2147483647 h 322"/>
                <a:gd name="T58" fmla="*/ 2147483647 w 315"/>
                <a:gd name="T59" fmla="*/ 2147483647 h 322"/>
                <a:gd name="T60" fmla="*/ 2147483647 w 315"/>
                <a:gd name="T61" fmla="*/ 2147483647 h 322"/>
                <a:gd name="T62" fmla="*/ 2147483647 w 315"/>
                <a:gd name="T63" fmla="*/ 2147483647 h 322"/>
                <a:gd name="T64" fmla="*/ 2147483647 w 315"/>
                <a:gd name="T65" fmla="*/ 2147483647 h 322"/>
                <a:gd name="T66" fmla="*/ 2147483647 w 315"/>
                <a:gd name="T67" fmla="*/ 2147483647 h 322"/>
                <a:gd name="T68" fmla="*/ 2147483647 w 315"/>
                <a:gd name="T69" fmla="*/ 2147483647 h 322"/>
                <a:gd name="T70" fmla="*/ 2147483647 w 315"/>
                <a:gd name="T71" fmla="*/ 2147483647 h 322"/>
                <a:gd name="T72" fmla="*/ 2147483647 w 315"/>
                <a:gd name="T73" fmla="*/ 2147483647 h 322"/>
                <a:gd name="T74" fmla="*/ 2147483647 w 315"/>
                <a:gd name="T75" fmla="*/ 2147483647 h 322"/>
                <a:gd name="T76" fmla="*/ 2147483647 w 315"/>
                <a:gd name="T77" fmla="*/ 2147483647 h 322"/>
                <a:gd name="T78" fmla="*/ 2147483647 w 315"/>
                <a:gd name="T79" fmla="*/ 2147483647 h 322"/>
                <a:gd name="T80" fmla="*/ 2147483647 w 315"/>
                <a:gd name="T81" fmla="*/ 2147483647 h 322"/>
                <a:gd name="T82" fmla="*/ 2147483647 w 315"/>
                <a:gd name="T83" fmla="*/ 2147483647 h 322"/>
                <a:gd name="T84" fmla="*/ 2147483647 w 315"/>
                <a:gd name="T85" fmla="*/ 2147483647 h 322"/>
                <a:gd name="T86" fmla="*/ 2147483647 w 315"/>
                <a:gd name="T87" fmla="*/ 2147483647 h 322"/>
                <a:gd name="T88" fmla="*/ 2147483647 w 315"/>
                <a:gd name="T89" fmla="*/ 2147483647 h 322"/>
                <a:gd name="T90" fmla="*/ 2147483647 w 315"/>
                <a:gd name="T91" fmla="*/ 2147483647 h 322"/>
                <a:gd name="T92" fmla="*/ 2147483647 w 315"/>
                <a:gd name="T93" fmla="*/ 2147483647 h 322"/>
                <a:gd name="T94" fmla="*/ 0 w 315"/>
                <a:gd name="T95" fmla="*/ 2147483647 h 322"/>
                <a:gd name="T96" fmla="*/ 2147483647 w 315"/>
                <a:gd name="T97" fmla="*/ 2147483647 h 322"/>
                <a:gd name="T98" fmla="*/ 2147483647 w 315"/>
                <a:gd name="T99" fmla="*/ 2147483647 h 322"/>
                <a:gd name="T100" fmla="*/ 2147483647 w 315"/>
                <a:gd name="T101" fmla="*/ 2147483647 h 322"/>
                <a:gd name="T102" fmla="*/ 2147483647 w 315"/>
                <a:gd name="T103" fmla="*/ 2147483647 h 322"/>
                <a:gd name="T104" fmla="*/ 2147483647 w 315"/>
                <a:gd name="T105" fmla="*/ 2147483647 h 322"/>
                <a:gd name="T106" fmla="*/ 2147483647 w 315"/>
                <a:gd name="T107" fmla="*/ 2147483647 h 3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15"/>
                <a:gd name="T163" fmla="*/ 0 h 322"/>
                <a:gd name="T164" fmla="*/ 315 w 315"/>
                <a:gd name="T165" fmla="*/ 322 h 3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15" h="322">
                  <a:moveTo>
                    <a:pt x="122" y="105"/>
                  </a:moveTo>
                  <a:lnTo>
                    <a:pt x="177" y="38"/>
                  </a:lnTo>
                  <a:lnTo>
                    <a:pt x="212" y="35"/>
                  </a:lnTo>
                  <a:lnTo>
                    <a:pt x="213" y="60"/>
                  </a:lnTo>
                  <a:lnTo>
                    <a:pt x="217" y="38"/>
                  </a:lnTo>
                  <a:lnTo>
                    <a:pt x="252" y="48"/>
                  </a:lnTo>
                  <a:lnTo>
                    <a:pt x="259" y="34"/>
                  </a:lnTo>
                  <a:lnTo>
                    <a:pt x="243" y="19"/>
                  </a:lnTo>
                  <a:lnTo>
                    <a:pt x="270" y="0"/>
                  </a:lnTo>
                  <a:lnTo>
                    <a:pt x="315" y="52"/>
                  </a:lnTo>
                  <a:lnTo>
                    <a:pt x="275" y="78"/>
                  </a:lnTo>
                  <a:lnTo>
                    <a:pt x="296" y="117"/>
                  </a:lnTo>
                  <a:lnTo>
                    <a:pt x="278" y="125"/>
                  </a:lnTo>
                  <a:lnTo>
                    <a:pt x="294" y="164"/>
                  </a:lnTo>
                  <a:lnTo>
                    <a:pt x="251" y="192"/>
                  </a:lnTo>
                  <a:lnTo>
                    <a:pt x="247" y="238"/>
                  </a:lnTo>
                  <a:lnTo>
                    <a:pt x="227" y="241"/>
                  </a:lnTo>
                  <a:lnTo>
                    <a:pt x="209" y="210"/>
                  </a:lnTo>
                  <a:lnTo>
                    <a:pt x="218" y="143"/>
                  </a:lnTo>
                  <a:lnTo>
                    <a:pt x="194" y="148"/>
                  </a:lnTo>
                  <a:lnTo>
                    <a:pt x="187" y="168"/>
                  </a:lnTo>
                  <a:lnTo>
                    <a:pt x="194" y="192"/>
                  </a:lnTo>
                  <a:lnTo>
                    <a:pt x="168" y="201"/>
                  </a:lnTo>
                  <a:lnTo>
                    <a:pt x="185" y="229"/>
                  </a:lnTo>
                  <a:lnTo>
                    <a:pt x="172" y="244"/>
                  </a:lnTo>
                  <a:lnTo>
                    <a:pt x="166" y="268"/>
                  </a:lnTo>
                  <a:lnTo>
                    <a:pt x="159" y="269"/>
                  </a:lnTo>
                  <a:lnTo>
                    <a:pt x="146" y="224"/>
                  </a:lnTo>
                  <a:lnTo>
                    <a:pt x="137" y="227"/>
                  </a:lnTo>
                  <a:lnTo>
                    <a:pt x="141" y="254"/>
                  </a:lnTo>
                  <a:lnTo>
                    <a:pt x="137" y="262"/>
                  </a:lnTo>
                  <a:lnTo>
                    <a:pt x="129" y="272"/>
                  </a:lnTo>
                  <a:lnTo>
                    <a:pt x="143" y="294"/>
                  </a:lnTo>
                  <a:lnTo>
                    <a:pt x="129" y="313"/>
                  </a:lnTo>
                  <a:lnTo>
                    <a:pt x="116" y="302"/>
                  </a:lnTo>
                  <a:lnTo>
                    <a:pt x="111" y="322"/>
                  </a:lnTo>
                  <a:lnTo>
                    <a:pt x="104" y="288"/>
                  </a:lnTo>
                  <a:lnTo>
                    <a:pt x="90" y="275"/>
                  </a:lnTo>
                  <a:lnTo>
                    <a:pt x="90" y="251"/>
                  </a:lnTo>
                  <a:lnTo>
                    <a:pt x="81" y="258"/>
                  </a:lnTo>
                  <a:lnTo>
                    <a:pt x="71" y="300"/>
                  </a:lnTo>
                  <a:lnTo>
                    <a:pt x="45" y="281"/>
                  </a:lnTo>
                  <a:lnTo>
                    <a:pt x="46" y="261"/>
                  </a:lnTo>
                  <a:lnTo>
                    <a:pt x="17" y="301"/>
                  </a:lnTo>
                  <a:lnTo>
                    <a:pt x="10" y="292"/>
                  </a:lnTo>
                  <a:lnTo>
                    <a:pt x="19" y="261"/>
                  </a:lnTo>
                  <a:lnTo>
                    <a:pt x="2" y="271"/>
                  </a:lnTo>
                  <a:lnTo>
                    <a:pt x="0" y="256"/>
                  </a:lnTo>
                  <a:lnTo>
                    <a:pt x="23" y="214"/>
                  </a:lnTo>
                  <a:lnTo>
                    <a:pt x="56" y="213"/>
                  </a:lnTo>
                  <a:lnTo>
                    <a:pt x="71" y="182"/>
                  </a:lnTo>
                  <a:lnTo>
                    <a:pt x="71" y="164"/>
                  </a:lnTo>
                  <a:lnTo>
                    <a:pt x="110" y="134"/>
                  </a:lnTo>
                  <a:lnTo>
                    <a:pt x="122" y="105"/>
                  </a:lnTo>
                  <a:close/>
                </a:path>
              </a:pathLst>
            </a:custGeom>
            <a:grpFill/>
            <a:ln w="6350">
              <a:solidFill>
                <a:schemeClr val="accent5"/>
              </a:solidFill>
              <a:round/>
              <a:headEnd/>
              <a:tailEnd/>
            </a:ln>
          </p:spPr>
          <p:txBody>
            <a:bodyPr/>
            <a:lstStyle/>
            <a:p>
              <a:endParaRPr lang="en-US"/>
            </a:p>
          </p:txBody>
        </p:sp>
        <p:sp>
          <p:nvSpPr>
            <p:cNvPr id="109" name="Freeform 1178"/>
            <p:cNvSpPr>
              <a:spLocks/>
            </p:cNvSpPr>
            <p:nvPr/>
          </p:nvSpPr>
          <p:spPr bwMode="auto">
            <a:xfrm>
              <a:off x="3092928" y="2253172"/>
              <a:ext cx="25800" cy="12737"/>
            </a:xfrm>
            <a:custGeom>
              <a:avLst/>
              <a:gdLst>
                <a:gd name="T0" fmla="*/ 2147483647 w 57"/>
                <a:gd name="T1" fmla="*/ 0 h 30"/>
                <a:gd name="T2" fmla="*/ 2147483647 w 57"/>
                <a:gd name="T3" fmla="*/ 2147483647 h 30"/>
                <a:gd name="T4" fmla="*/ 2147483647 w 57"/>
                <a:gd name="T5" fmla="*/ 2147483647 h 30"/>
                <a:gd name="T6" fmla="*/ 0 w 57"/>
                <a:gd name="T7" fmla="*/ 2147483647 h 30"/>
                <a:gd name="T8" fmla="*/ 2147483647 w 57"/>
                <a:gd name="T9" fmla="*/ 0 h 30"/>
                <a:gd name="T10" fmla="*/ 0 60000 65536"/>
                <a:gd name="T11" fmla="*/ 0 60000 65536"/>
                <a:gd name="T12" fmla="*/ 0 60000 65536"/>
                <a:gd name="T13" fmla="*/ 0 60000 65536"/>
                <a:gd name="T14" fmla="*/ 0 60000 65536"/>
                <a:gd name="T15" fmla="*/ 0 w 57"/>
                <a:gd name="T16" fmla="*/ 0 h 30"/>
                <a:gd name="T17" fmla="*/ 57 w 57"/>
                <a:gd name="T18" fmla="*/ 30 h 30"/>
              </a:gdLst>
              <a:ahLst/>
              <a:cxnLst>
                <a:cxn ang="T10">
                  <a:pos x="T0" y="T1"/>
                </a:cxn>
                <a:cxn ang="T11">
                  <a:pos x="T2" y="T3"/>
                </a:cxn>
                <a:cxn ang="T12">
                  <a:pos x="T4" y="T5"/>
                </a:cxn>
                <a:cxn ang="T13">
                  <a:pos x="T6" y="T7"/>
                </a:cxn>
                <a:cxn ang="T14">
                  <a:pos x="T8" y="T9"/>
                </a:cxn>
              </a:cxnLst>
              <a:rect l="T15" t="T16" r="T17" b="T18"/>
              <a:pathLst>
                <a:path w="57" h="30">
                  <a:moveTo>
                    <a:pt x="36" y="0"/>
                  </a:moveTo>
                  <a:lnTo>
                    <a:pt x="57" y="16"/>
                  </a:lnTo>
                  <a:lnTo>
                    <a:pt x="54" y="30"/>
                  </a:lnTo>
                  <a:lnTo>
                    <a:pt x="0" y="15"/>
                  </a:lnTo>
                  <a:lnTo>
                    <a:pt x="36" y="0"/>
                  </a:lnTo>
                  <a:close/>
                </a:path>
              </a:pathLst>
            </a:custGeom>
            <a:grpFill/>
            <a:ln w="6350">
              <a:solidFill>
                <a:schemeClr val="accent5"/>
              </a:solidFill>
              <a:round/>
              <a:headEnd/>
              <a:tailEnd/>
            </a:ln>
          </p:spPr>
          <p:txBody>
            <a:bodyPr/>
            <a:lstStyle/>
            <a:p>
              <a:endParaRPr lang="en-US"/>
            </a:p>
          </p:txBody>
        </p:sp>
        <p:sp>
          <p:nvSpPr>
            <p:cNvPr id="110" name="Freeform 1179"/>
            <p:cNvSpPr>
              <a:spLocks/>
            </p:cNvSpPr>
            <p:nvPr/>
          </p:nvSpPr>
          <p:spPr bwMode="auto">
            <a:xfrm>
              <a:off x="3124461" y="2153828"/>
              <a:ext cx="71667" cy="63683"/>
            </a:xfrm>
            <a:custGeom>
              <a:avLst/>
              <a:gdLst>
                <a:gd name="T0" fmla="*/ 2147483647 w 157"/>
                <a:gd name="T1" fmla="*/ 2147483647 h 153"/>
                <a:gd name="T2" fmla="*/ 2147483647 w 157"/>
                <a:gd name="T3" fmla="*/ 0 h 153"/>
                <a:gd name="T4" fmla="*/ 2147483647 w 157"/>
                <a:gd name="T5" fmla="*/ 2147483647 h 153"/>
                <a:gd name="T6" fmla="*/ 2147483647 w 157"/>
                <a:gd name="T7" fmla="*/ 2147483647 h 153"/>
                <a:gd name="T8" fmla="*/ 2147483647 w 157"/>
                <a:gd name="T9" fmla="*/ 2147483647 h 153"/>
                <a:gd name="T10" fmla="*/ 2147483647 w 157"/>
                <a:gd name="T11" fmla="*/ 2147483647 h 153"/>
                <a:gd name="T12" fmla="*/ 2147483647 w 157"/>
                <a:gd name="T13" fmla="*/ 2147483647 h 153"/>
                <a:gd name="T14" fmla="*/ 2147483647 w 157"/>
                <a:gd name="T15" fmla="*/ 2147483647 h 153"/>
                <a:gd name="T16" fmla="*/ 2147483647 w 157"/>
                <a:gd name="T17" fmla="*/ 2147483647 h 153"/>
                <a:gd name="T18" fmla="*/ 2147483647 w 157"/>
                <a:gd name="T19" fmla="*/ 2147483647 h 153"/>
                <a:gd name="T20" fmla="*/ 2147483647 w 157"/>
                <a:gd name="T21" fmla="*/ 2147483647 h 153"/>
                <a:gd name="T22" fmla="*/ 2147483647 w 157"/>
                <a:gd name="T23" fmla="*/ 2147483647 h 153"/>
                <a:gd name="T24" fmla="*/ 2147483647 w 157"/>
                <a:gd name="T25" fmla="*/ 2147483647 h 153"/>
                <a:gd name="T26" fmla="*/ 0 w 157"/>
                <a:gd name="T27" fmla="*/ 2147483647 h 153"/>
                <a:gd name="T28" fmla="*/ 2147483647 w 157"/>
                <a:gd name="T29" fmla="*/ 2147483647 h 153"/>
                <a:gd name="T30" fmla="*/ 2147483647 w 157"/>
                <a:gd name="T31" fmla="*/ 2147483647 h 1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153"/>
                <a:gd name="T50" fmla="*/ 157 w 157"/>
                <a:gd name="T51" fmla="*/ 153 h 1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153">
                  <a:moveTo>
                    <a:pt x="60" y="14"/>
                  </a:moveTo>
                  <a:lnTo>
                    <a:pt x="135" y="0"/>
                  </a:lnTo>
                  <a:lnTo>
                    <a:pt x="157" y="15"/>
                  </a:lnTo>
                  <a:lnTo>
                    <a:pt x="152" y="35"/>
                  </a:lnTo>
                  <a:lnTo>
                    <a:pt x="81" y="64"/>
                  </a:lnTo>
                  <a:lnTo>
                    <a:pt x="90" y="69"/>
                  </a:lnTo>
                  <a:lnTo>
                    <a:pt x="87" y="82"/>
                  </a:lnTo>
                  <a:lnTo>
                    <a:pt x="135" y="68"/>
                  </a:lnTo>
                  <a:lnTo>
                    <a:pt x="138" y="90"/>
                  </a:lnTo>
                  <a:lnTo>
                    <a:pt x="131" y="123"/>
                  </a:lnTo>
                  <a:lnTo>
                    <a:pt x="50" y="153"/>
                  </a:lnTo>
                  <a:lnTo>
                    <a:pt x="5" y="116"/>
                  </a:lnTo>
                  <a:lnTo>
                    <a:pt x="7" y="100"/>
                  </a:lnTo>
                  <a:lnTo>
                    <a:pt x="0" y="65"/>
                  </a:lnTo>
                  <a:lnTo>
                    <a:pt x="5" y="44"/>
                  </a:lnTo>
                  <a:lnTo>
                    <a:pt x="60" y="14"/>
                  </a:lnTo>
                  <a:close/>
                </a:path>
              </a:pathLst>
            </a:custGeom>
            <a:grpFill/>
            <a:ln w="6350">
              <a:solidFill>
                <a:schemeClr val="accent5"/>
              </a:solidFill>
              <a:round/>
              <a:headEnd/>
              <a:tailEnd/>
            </a:ln>
          </p:spPr>
          <p:txBody>
            <a:bodyPr/>
            <a:lstStyle/>
            <a:p>
              <a:endParaRPr lang="en-US"/>
            </a:p>
          </p:txBody>
        </p:sp>
        <p:sp>
          <p:nvSpPr>
            <p:cNvPr id="112" name="Freeform 1182"/>
            <p:cNvSpPr>
              <a:spLocks/>
            </p:cNvSpPr>
            <p:nvPr/>
          </p:nvSpPr>
          <p:spPr bwMode="auto">
            <a:xfrm>
              <a:off x="3405395" y="1965329"/>
              <a:ext cx="25800" cy="47126"/>
            </a:xfrm>
            <a:custGeom>
              <a:avLst/>
              <a:gdLst>
                <a:gd name="T0" fmla="*/ 2147483647 w 56"/>
                <a:gd name="T1" fmla="*/ 0 h 112"/>
                <a:gd name="T2" fmla="*/ 2147483647 w 56"/>
                <a:gd name="T3" fmla="*/ 2147483647 h 112"/>
                <a:gd name="T4" fmla="*/ 2147483647 w 56"/>
                <a:gd name="T5" fmla="*/ 2147483647 h 112"/>
                <a:gd name="T6" fmla="*/ 2147483647 w 56"/>
                <a:gd name="T7" fmla="*/ 2147483647 h 112"/>
                <a:gd name="T8" fmla="*/ 2147483647 w 56"/>
                <a:gd name="T9" fmla="*/ 2147483647 h 112"/>
                <a:gd name="T10" fmla="*/ 0 w 56"/>
                <a:gd name="T11" fmla="*/ 2147483647 h 112"/>
                <a:gd name="T12" fmla="*/ 2147483647 w 56"/>
                <a:gd name="T13" fmla="*/ 2147483647 h 112"/>
                <a:gd name="T14" fmla="*/ 2147483647 w 56"/>
                <a:gd name="T15" fmla="*/ 0 h 112"/>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112"/>
                <a:gd name="T26" fmla="*/ 56 w 56"/>
                <a:gd name="T27" fmla="*/ 112 h 1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112">
                  <a:moveTo>
                    <a:pt x="19" y="0"/>
                  </a:moveTo>
                  <a:lnTo>
                    <a:pt x="52" y="12"/>
                  </a:lnTo>
                  <a:lnTo>
                    <a:pt x="56" y="72"/>
                  </a:lnTo>
                  <a:lnTo>
                    <a:pt x="48" y="112"/>
                  </a:lnTo>
                  <a:lnTo>
                    <a:pt x="22" y="60"/>
                  </a:lnTo>
                  <a:lnTo>
                    <a:pt x="0" y="59"/>
                  </a:lnTo>
                  <a:lnTo>
                    <a:pt x="3" y="19"/>
                  </a:lnTo>
                  <a:lnTo>
                    <a:pt x="19" y="0"/>
                  </a:lnTo>
                  <a:close/>
                </a:path>
              </a:pathLst>
            </a:custGeom>
            <a:grpFill/>
            <a:ln w="6350">
              <a:solidFill>
                <a:schemeClr val="accent5"/>
              </a:solidFill>
              <a:round/>
              <a:headEnd/>
              <a:tailEnd/>
            </a:ln>
          </p:spPr>
          <p:txBody>
            <a:bodyPr/>
            <a:lstStyle/>
            <a:p>
              <a:endParaRPr lang="en-US"/>
            </a:p>
          </p:txBody>
        </p:sp>
        <p:sp>
          <p:nvSpPr>
            <p:cNvPr id="113" name="Freeform 1183"/>
            <p:cNvSpPr>
              <a:spLocks/>
            </p:cNvSpPr>
            <p:nvPr/>
          </p:nvSpPr>
          <p:spPr bwMode="auto">
            <a:xfrm>
              <a:off x="3471329" y="1827773"/>
              <a:ext cx="226468" cy="328602"/>
            </a:xfrm>
            <a:custGeom>
              <a:avLst/>
              <a:gdLst>
                <a:gd name="T0" fmla="*/ 2147483647 w 482"/>
                <a:gd name="T1" fmla="*/ 2147483647 h 786"/>
                <a:gd name="T2" fmla="*/ 2147483647 w 482"/>
                <a:gd name="T3" fmla="*/ 2147483647 h 786"/>
                <a:gd name="T4" fmla="*/ 2147483647 w 482"/>
                <a:gd name="T5" fmla="*/ 2147483647 h 786"/>
                <a:gd name="T6" fmla="*/ 2147483647 w 482"/>
                <a:gd name="T7" fmla="*/ 2147483647 h 786"/>
                <a:gd name="T8" fmla="*/ 2147483647 w 482"/>
                <a:gd name="T9" fmla="*/ 2147483647 h 786"/>
                <a:gd name="T10" fmla="*/ 2147483647 w 482"/>
                <a:gd name="T11" fmla="*/ 2147483647 h 786"/>
                <a:gd name="T12" fmla="*/ 2147483647 w 482"/>
                <a:gd name="T13" fmla="*/ 0 h 786"/>
                <a:gd name="T14" fmla="*/ 2147483647 w 482"/>
                <a:gd name="T15" fmla="*/ 2147483647 h 786"/>
                <a:gd name="T16" fmla="*/ 2147483647 w 482"/>
                <a:gd name="T17" fmla="*/ 2147483647 h 786"/>
                <a:gd name="T18" fmla="*/ 2147483647 w 482"/>
                <a:gd name="T19" fmla="*/ 2147483647 h 786"/>
                <a:gd name="T20" fmla="*/ 2147483647 w 482"/>
                <a:gd name="T21" fmla="*/ 2147483647 h 786"/>
                <a:gd name="T22" fmla="*/ 2147483647 w 482"/>
                <a:gd name="T23" fmla="*/ 2147483647 h 786"/>
                <a:gd name="T24" fmla="*/ 2147483647 w 482"/>
                <a:gd name="T25" fmla="*/ 2147483647 h 786"/>
                <a:gd name="T26" fmla="*/ 2147483647 w 482"/>
                <a:gd name="T27" fmla="*/ 2147483647 h 786"/>
                <a:gd name="T28" fmla="*/ 2147483647 w 482"/>
                <a:gd name="T29" fmla="*/ 2147483647 h 786"/>
                <a:gd name="T30" fmla="*/ 2147483647 w 482"/>
                <a:gd name="T31" fmla="*/ 2147483647 h 786"/>
                <a:gd name="T32" fmla="*/ 2147483647 w 482"/>
                <a:gd name="T33" fmla="*/ 2147483647 h 786"/>
                <a:gd name="T34" fmla="*/ 2147483647 w 482"/>
                <a:gd name="T35" fmla="*/ 2147483647 h 786"/>
                <a:gd name="T36" fmla="*/ 2147483647 w 482"/>
                <a:gd name="T37" fmla="*/ 2147483647 h 786"/>
                <a:gd name="T38" fmla="*/ 2147483647 w 482"/>
                <a:gd name="T39" fmla="*/ 2147483647 h 786"/>
                <a:gd name="T40" fmla="*/ 2147483647 w 482"/>
                <a:gd name="T41" fmla="*/ 2147483647 h 786"/>
                <a:gd name="T42" fmla="*/ 2147483647 w 482"/>
                <a:gd name="T43" fmla="*/ 2147483647 h 786"/>
                <a:gd name="T44" fmla="*/ 2147483647 w 482"/>
                <a:gd name="T45" fmla="*/ 2147483647 h 786"/>
                <a:gd name="T46" fmla="*/ 2147483647 w 482"/>
                <a:gd name="T47" fmla="*/ 2147483647 h 786"/>
                <a:gd name="T48" fmla="*/ 2147483647 w 482"/>
                <a:gd name="T49" fmla="*/ 2147483647 h 786"/>
                <a:gd name="T50" fmla="*/ 2147483647 w 482"/>
                <a:gd name="T51" fmla="*/ 2147483647 h 786"/>
                <a:gd name="T52" fmla="*/ 2147483647 w 482"/>
                <a:gd name="T53" fmla="*/ 2147483647 h 786"/>
                <a:gd name="T54" fmla="*/ 2147483647 w 482"/>
                <a:gd name="T55" fmla="*/ 2147483647 h 786"/>
                <a:gd name="T56" fmla="*/ 2147483647 w 482"/>
                <a:gd name="T57" fmla="*/ 2147483647 h 786"/>
                <a:gd name="T58" fmla="*/ 2147483647 w 482"/>
                <a:gd name="T59" fmla="*/ 2147483647 h 786"/>
                <a:gd name="T60" fmla="*/ 2147483647 w 482"/>
                <a:gd name="T61" fmla="*/ 2147483647 h 786"/>
                <a:gd name="T62" fmla="*/ 2147483647 w 482"/>
                <a:gd name="T63" fmla="*/ 2147483647 h 786"/>
                <a:gd name="T64" fmla="*/ 2147483647 w 482"/>
                <a:gd name="T65" fmla="*/ 2147483647 h 786"/>
                <a:gd name="T66" fmla="*/ 2147483647 w 482"/>
                <a:gd name="T67" fmla="*/ 2147483647 h 786"/>
                <a:gd name="T68" fmla="*/ 2147483647 w 482"/>
                <a:gd name="T69" fmla="*/ 2147483647 h 786"/>
                <a:gd name="T70" fmla="*/ 2147483647 w 482"/>
                <a:gd name="T71" fmla="*/ 2147483647 h 786"/>
                <a:gd name="T72" fmla="*/ 2147483647 w 482"/>
                <a:gd name="T73" fmla="*/ 2147483647 h 786"/>
                <a:gd name="T74" fmla="*/ 2147483647 w 482"/>
                <a:gd name="T75" fmla="*/ 2147483647 h 786"/>
                <a:gd name="T76" fmla="*/ 2147483647 w 482"/>
                <a:gd name="T77" fmla="*/ 2147483647 h 786"/>
                <a:gd name="T78" fmla="*/ 2147483647 w 482"/>
                <a:gd name="T79" fmla="*/ 2147483647 h 786"/>
                <a:gd name="T80" fmla="*/ 2147483647 w 482"/>
                <a:gd name="T81" fmla="*/ 2147483647 h 786"/>
                <a:gd name="T82" fmla="*/ 2147483647 w 482"/>
                <a:gd name="T83" fmla="*/ 2147483647 h 786"/>
                <a:gd name="T84" fmla="*/ 2147483647 w 482"/>
                <a:gd name="T85" fmla="*/ 2147483647 h 786"/>
                <a:gd name="T86" fmla="*/ 2147483647 w 482"/>
                <a:gd name="T87" fmla="*/ 2147483647 h 786"/>
                <a:gd name="T88" fmla="*/ 2147483647 w 482"/>
                <a:gd name="T89" fmla="*/ 2147483647 h 786"/>
                <a:gd name="T90" fmla="*/ 2147483647 w 482"/>
                <a:gd name="T91" fmla="*/ 2147483647 h 786"/>
                <a:gd name="T92" fmla="*/ 2147483647 w 482"/>
                <a:gd name="T93" fmla="*/ 2147483647 h 786"/>
                <a:gd name="T94" fmla="*/ 2147483647 w 482"/>
                <a:gd name="T95" fmla="*/ 2147483647 h 786"/>
                <a:gd name="T96" fmla="*/ 2147483647 w 482"/>
                <a:gd name="T97" fmla="*/ 2147483647 h 786"/>
                <a:gd name="T98" fmla="*/ 2147483647 w 482"/>
                <a:gd name="T99" fmla="*/ 2147483647 h 786"/>
                <a:gd name="T100" fmla="*/ 2147483647 w 482"/>
                <a:gd name="T101" fmla="*/ 2147483647 h 786"/>
                <a:gd name="T102" fmla="*/ 2147483647 w 482"/>
                <a:gd name="T103" fmla="*/ 2147483647 h 786"/>
                <a:gd name="T104" fmla="*/ 2147483647 w 482"/>
                <a:gd name="T105" fmla="*/ 2147483647 h 786"/>
                <a:gd name="T106" fmla="*/ 0 w 482"/>
                <a:gd name="T107" fmla="*/ 2147483647 h 786"/>
                <a:gd name="T108" fmla="*/ 2147483647 w 482"/>
                <a:gd name="T109" fmla="*/ 2147483647 h 786"/>
                <a:gd name="T110" fmla="*/ 2147483647 w 482"/>
                <a:gd name="T111" fmla="*/ 2147483647 h 786"/>
                <a:gd name="T112" fmla="*/ 2147483647 w 482"/>
                <a:gd name="T113" fmla="*/ 2147483647 h 7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2"/>
                <a:gd name="T172" fmla="*/ 0 h 786"/>
                <a:gd name="T173" fmla="*/ 482 w 482"/>
                <a:gd name="T174" fmla="*/ 786 h 7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2" h="786">
                  <a:moveTo>
                    <a:pt x="46" y="201"/>
                  </a:moveTo>
                  <a:lnTo>
                    <a:pt x="115" y="218"/>
                  </a:lnTo>
                  <a:lnTo>
                    <a:pt x="87" y="183"/>
                  </a:lnTo>
                  <a:lnTo>
                    <a:pt x="60" y="152"/>
                  </a:lnTo>
                  <a:lnTo>
                    <a:pt x="58" y="139"/>
                  </a:lnTo>
                  <a:lnTo>
                    <a:pt x="66" y="127"/>
                  </a:lnTo>
                  <a:lnTo>
                    <a:pt x="58" y="106"/>
                  </a:lnTo>
                  <a:lnTo>
                    <a:pt x="73" y="85"/>
                  </a:lnTo>
                  <a:lnTo>
                    <a:pt x="95" y="107"/>
                  </a:lnTo>
                  <a:lnTo>
                    <a:pt x="99" y="71"/>
                  </a:lnTo>
                  <a:lnTo>
                    <a:pt x="157" y="54"/>
                  </a:lnTo>
                  <a:lnTo>
                    <a:pt x="84" y="40"/>
                  </a:lnTo>
                  <a:lnTo>
                    <a:pt x="73" y="11"/>
                  </a:lnTo>
                  <a:lnTo>
                    <a:pt x="77" y="0"/>
                  </a:lnTo>
                  <a:lnTo>
                    <a:pt x="174" y="17"/>
                  </a:lnTo>
                  <a:lnTo>
                    <a:pt x="204" y="59"/>
                  </a:lnTo>
                  <a:lnTo>
                    <a:pt x="203" y="84"/>
                  </a:lnTo>
                  <a:lnTo>
                    <a:pt x="246" y="197"/>
                  </a:lnTo>
                  <a:lnTo>
                    <a:pt x="240" y="223"/>
                  </a:lnTo>
                  <a:lnTo>
                    <a:pt x="251" y="205"/>
                  </a:lnTo>
                  <a:lnTo>
                    <a:pt x="311" y="226"/>
                  </a:lnTo>
                  <a:lnTo>
                    <a:pt x="317" y="247"/>
                  </a:lnTo>
                  <a:lnTo>
                    <a:pt x="309" y="255"/>
                  </a:lnTo>
                  <a:lnTo>
                    <a:pt x="316" y="271"/>
                  </a:lnTo>
                  <a:lnTo>
                    <a:pt x="313" y="302"/>
                  </a:lnTo>
                  <a:lnTo>
                    <a:pt x="332" y="332"/>
                  </a:lnTo>
                  <a:lnTo>
                    <a:pt x="351" y="324"/>
                  </a:lnTo>
                  <a:lnTo>
                    <a:pt x="333" y="286"/>
                  </a:lnTo>
                  <a:lnTo>
                    <a:pt x="339" y="247"/>
                  </a:lnTo>
                  <a:lnTo>
                    <a:pt x="374" y="261"/>
                  </a:lnTo>
                  <a:lnTo>
                    <a:pt x="377" y="308"/>
                  </a:lnTo>
                  <a:lnTo>
                    <a:pt x="357" y="330"/>
                  </a:lnTo>
                  <a:lnTo>
                    <a:pt x="389" y="337"/>
                  </a:lnTo>
                  <a:lnTo>
                    <a:pt x="395" y="363"/>
                  </a:lnTo>
                  <a:lnTo>
                    <a:pt x="399" y="375"/>
                  </a:lnTo>
                  <a:lnTo>
                    <a:pt x="372" y="450"/>
                  </a:lnTo>
                  <a:lnTo>
                    <a:pt x="407" y="424"/>
                  </a:lnTo>
                  <a:lnTo>
                    <a:pt x="430" y="452"/>
                  </a:lnTo>
                  <a:lnTo>
                    <a:pt x="433" y="476"/>
                  </a:lnTo>
                  <a:lnTo>
                    <a:pt x="449" y="446"/>
                  </a:lnTo>
                  <a:lnTo>
                    <a:pt x="482" y="509"/>
                  </a:lnTo>
                  <a:lnTo>
                    <a:pt x="481" y="530"/>
                  </a:lnTo>
                  <a:lnTo>
                    <a:pt x="411" y="579"/>
                  </a:lnTo>
                  <a:lnTo>
                    <a:pt x="412" y="592"/>
                  </a:lnTo>
                  <a:lnTo>
                    <a:pt x="400" y="607"/>
                  </a:lnTo>
                  <a:lnTo>
                    <a:pt x="391" y="578"/>
                  </a:lnTo>
                  <a:lnTo>
                    <a:pt x="393" y="619"/>
                  </a:lnTo>
                  <a:lnTo>
                    <a:pt x="366" y="668"/>
                  </a:lnTo>
                  <a:lnTo>
                    <a:pt x="353" y="648"/>
                  </a:lnTo>
                  <a:lnTo>
                    <a:pt x="348" y="573"/>
                  </a:lnTo>
                  <a:lnTo>
                    <a:pt x="338" y="632"/>
                  </a:lnTo>
                  <a:lnTo>
                    <a:pt x="342" y="668"/>
                  </a:lnTo>
                  <a:lnTo>
                    <a:pt x="352" y="689"/>
                  </a:lnTo>
                  <a:lnTo>
                    <a:pt x="351" y="711"/>
                  </a:lnTo>
                  <a:lnTo>
                    <a:pt x="322" y="675"/>
                  </a:lnTo>
                  <a:lnTo>
                    <a:pt x="320" y="704"/>
                  </a:lnTo>
                  <a:lnTo>
                    <a:pt x="333" y="728"/>
                  </a:lnTo>
                  <a:lnTo>
                    <a:pt x="324" y="777"/>
                  </a:lnTo>
                  <a:lnTo>
                    <a:pt x="266" y="682"/>
                  </a:lnTo>
                  <a:lnTo>
                    <a:pt x="262" y="700"/>
                  </a:lnTo>
                  <a:lnTo>
                    <a:pt x="295" y="782"/>
                  </a:lnTo>
                  <a:lnTo>
                    <a:pt x="265" y="749"/>
                  </a:lnTo>
                  <a:lnTo>
                    <a:pt x="244" y="750"/>
                  </a:lnTo>
                  <a:lnTo>
                    <a:pt x="263" y="767"/>
                  </a:lnTo>
                  <a:lnTo>
                    <a:pt x="264" y="786"/>
                  </a:lnTo>
                  <a:lnTo>
                    <a:pt x="185" y="770"/>
                  </a:lnTo>
                  <a:lnTo>
                    <a:pt x="174" y="752"/>
                  </a:lnTo>
                  <a:lnTo>
                    <a:pt x="178" y="741"/>
                  </a:lnTo>
                  <a:lnTo>
                    <a:pt x="165" y="745"/>
                  </a:lnTo>
                  <a:lnTo>
                    <a:pt x="149" y="708"/>
                  </a:lnTo>
                  <a:lnTo>
                    <a:pt x="200" y="697"/>
                  </a:lnTo>
                  <a:lnTo>
                    <a:pt x="144" y="683"/>
                  </a:lnTo>
                  <a:lnTo>
                    <a:pt x="128" y="646"/>
                  </a:lnTo>
                  <a:lnTo>
                    <a:pt x="123" y="631"/>
                  </a:lnTo>
                  <a:lnTo>
                    <a:pt x="108" y="594"/>
                  </a:lnTo>
                  <a:lnTo>
                    <a:pt x="145" y="558"/>
                  </a:lnTo>
                  <a:lnTo>
                    <a:pt x="187" y="541"/>
                  </a:lnTo>
                  <a:lnTo>
                    <a:pt x="173" y="525"/>
                  </a:lnTo>
                  <a:lnTo>
                    <a:pt x="190" y="513"/>
                  </a:lnTo>
                  <a:lnTo>
                    <a:pt x="178" y="506"/>
                  </a:lnTo>
                  <a:lnTo>
                    <a:pt x="180" y="493"/>
                  </a:lnTo>
                  <a:lnTo>
                    <a:pt x="146" y="515"/>
                  </a:lnTo>
                  <a:lnTo>
                    <a:pt x="143" y="512"/>
                  </a:lnTo>
                  <a:lnTo>
                    <a:pt x="147" y="484"/>
                  </a:lnTo>
                  <a:lnTo>
                    <a:pt x="124" y="533"/>
                  </a:lnTo>
                  <a:lnTo>
                    <a:pt x="109" y="526"/>
                  </a:lnTo>
                  <a:lnTo>
                    <a:pt x="122" y="500"/>
                  </a:lnTo>
                  <a:lnTo>
                    <a:pt x="100" y="494"/>
                  </a:lnTo>
                  <a:lnTo>
                    <a:pt x="75" y="533"/>
                  </a:lnTo>
                  <a:lnTo>
                    <a:pt x="65" y="499"/>
                  </a:lnTo>
                  <a:lnTo>
                    <a:pt x="38" y="490"/>
                  </a:lnTo>
                  <a:lnTo>
                    <a:pt x="44" y="464"/>
                  </a:lnTo>
                  <a:lnTo>
                    <a:pt x="90" y="461"/>
                  </a:lnTo>
                  <a:lnTo>
                    <a:pt x="108" y="432"/>
                  </a:lnTo>
                  <a:lnTo>
                    <a:pt x="92" y="449"/>
                  </a:lnTo>
                  <a:lnTo>
                    <a:pt x="35" y="431"/>
                  </a:lnTo>
                  <a:lnTo>
                    <a:pt x="9" y="382"/>
                  </a:lnTo>
                  <a:lnTo>
                    <a:pt x="8" y="356"/>
                  </a:lnTo>
                  <a:lnTo>
                    <a:pt x="8" y="341"/>
                  </a:lnTo>
                  <a:lnTo>
                    <a:pt x="2" y="316"/>
                  </a:lnTo>
                  <a:lnTo>
                    <a:pt x="96" y="362"/>
                  </a:lnTo>
                  <a:lnTo>
                    <a:pt x="86" y="333"/>
                  </a:lnTo>
                  <a:lnTo>
                    <a:pt x="116" y="317"/>
                  </a:lnTo>
                  <a:lnTo>
                    <a:pt x="91" y="302"/>
                  </a:lnTo>
                  <a:lnTo>
                    <a:pt x="64" y="331"/>
                  </a:lnTo>
                  <a:lnTo>
                    <a:pt x="41" y="311"/>
                  </a:lnTo>
                  <a:lnTo>
                    <a:pt x="9" y="288"/>
                  </a:lnTo>
                  <a:lnTo>
                    <a:pt x="0" y="263"/>
                  </a:lnTo>
                  <a:lnTo>
                    <a:pt x="8" y="257"/>
                  </a:lnTo>
                  <a:lnTo>
                    <a:pt x="62" y="262"/>
                  </a:lnTo>
                  <a:lnTo>
                    <a:pt x="21" y="234"/>
                  </a:lnTo>
                  <a:lnTo>
                    <a:pt x="25" y="227"/>
                  </a:lnTo>
                  <a:lnTo>
                    <a:pt x="23" y="204"/>
                  </a:lnTo>
                  <a:lnTo>
                    <a:pt x="46" y="201"/>
                  </a:lnTo>
                  <a:close/>
                </a:path>
              </a:pathLst>
            </a:custGeom>
            <a:grpFill/>
            <a:ln w="6350">
              <a:solidFill>
                <a:schemeClr val="accent5"/>
              </a:solidFill>
              <a:round/>
              <a:headEnd/>
              <a:tailEnd/>
            </a:ln>
          </p:spPr>
          <p:txBody>
            <a:bodyPr/>
            <a:lstStyle/>
            <a:p>
              <a:endParaRPr lang="en-US"/>
            </a:p>
          </p:txBody>
        </p:sp>
        <p:sp>
          <p:nvSpPr>
            <p:cNvPr id="114" name="Freeform 1184"/>
            <p:cNvSpPr>
              <a:spLocks/>
            </p:cNvSpPr>
            <p:nvPr/>
          </p:nvSpPr>
          <p:spPr bwMode="auto">
            <a:xfrm>
              <a:off x="3472763" y="2179300"/>
              <a:ext cx="60200" cy="33115"/>
            </a:xfrm>
            <a:custGeom>
              <a:avLst/>
              <a:gdLst>
                <a:gd name="T0" fmla="*/ 2147483647 w 129"/>
                <a:gd name="T1" fmla="*/ 2147483647 h 78"/>
                <a:gd name="T2" fmla="*/ 2147483647 w 129"/>
                <a:gd name="T3" fmla="*/ 2147483647 h 78"/>
                <a:gd name="T4" fmla="*/ 2147483647 w 129"/>
                <a:gd name="T5" fmla="*/ 2147483647 h 78"/>
                <a:gd name="T6" fmla="*/ 2147483647 w 129"/>
                <a:gd name="T7" fmla="*/ 2147483647 h 78"/>
                <a:gd name="T8" fmla="*/ 2147483647 w 129"/>
                <a:gd name="T9" fmla="*/ 2147483647 h 78"/>
                <a:gd name="T10" fmla="*/ 2147483647 w 129"/>
                <a:gd name="T11" fmla="*/ 2147483647 h 78"/>
                <a:gd name="T12" fmla="*/ 2147483647 w 129"/>
                <a:gd name="T13" fmla="*/ 2147483647 h 78"/>
                <a:gd name="T14" fmla="*/ 2147483647 w 129"/>
                <a:gd name="T15" fmla="*/ 2147483647 h 78"/>
                <a:gd name="T16" fmla="*/ 0 w 129"/>
                <a:gd name="T17" fmla="*/ 2147483647 h 78"/>
                <a:gd name="T18" fmla="*/ 2147483647 w 129"/>
                <a:gd name="T19" fmla="*/ 0 h 78"/>
                <a:gd name="T20" fmla="*/ 2147483647 w 129"/>
                <a:gd name="T21" fmla="*/ 2147483647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9"/>
                <a:gd name="T34" fmla="*/ 0 h 78"/>
                <a:gd name="T35" fmla="*/ 129 w 129"/>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9" h="78">
                  <a:moveTo>
                    <a:pt x="47" y="10"/>
                  </a:moveTo>
                  <a:lnTo>
                    <a:pt x="110" y="11"/>
                  </a:lnTo>
                  <a:lnTo>
                    <a:pt x="129" y="34"/>
                  </a:lnTo>
                  <a:lnTo>
                    <a:pt x="117" y="44"/>
                  </a:lnTo>
                  <a:lnTo>
                    <a:pt x="119" y="70"/>
                  </a:lnTo>
                  <a:lnTo>
                    <a:pt x="115" y="78"/>
                  </a:lnTo>
                  <a:lnTo>
                    <a:pt x="50" y="75"/>
                  </a:lnTo>
                  <a:lnTo>
                    <a:pt x="13" y="58"/>
                  </a:lnTo>
                  <a:lnTo>
                    <a:pt x="0" y="31"/>
                  </a:lnTo>
                  <a:lnTo>
                    <a:pt x="27" y="0"/>
                  </a:lnTo>
                  <a:lnTo>
                    <a:pt x="47" y="10"/>
                  </a:lnTo>
                  <a:close/>
                </a:path>
              </a:pathLst>
            </a:custGeom>
            <a:grpFill/>
            <a:ln w="6350">
              <a:solidFill>
                <a:schemeClr val="accent5"/>
              </a:solidFill>
              <a:round/>
              <a:headEnd/>
              <a:tailEnd/>
            </a:ln>
          </p:spPr>
          <p:txBody>
            <a:bodyPr/>
            <a:lstStyle/>
            <a:p>
              <a:endParaRPr lang="en-US"/>
            </a:p>
          </p:txBody>
        </p:sp>
        <p:sp>
          <p:nvSpPr>
            <p:cNvPr id="115" name="Freeform 1185"/>
            <p:cNvSpPr>
              <a:spLocks/>
            </p:cNvSpPr>
            <p:nvPr/>
          </p:nvSpPr>
          <p:spPr bwMode="auto">
            <a:xfrm>
              <a:off x="3456995" y="2241711"/>
              <a:ext cx="346868" cy="189773"/>
            </a:xfrm>
            <a:custGeom>
              <a:avLst/>
              <a:gdLst>
                <a:gd name="T0" fmla="*/ 2147483647 w 745"/>
                <a:gd name="T1" fmla="*/ 2147483647 h 456"/>
                <a:gd name="T2" fmla="*/ 0 w 745"/>
                <a:gd name="T3" fmla="*/ 2147483647 h 456"/>
                <a:gd name="T4" fmla="*/ 2147483647 w 745"/>
                <a:gd name="T5" fmla="*/ 2147483647 h 456"/>
                <a:gd name="T6" fmla="*/ 2147483647 w 745"/>
                <a:gd name="T7" fmla="*/ 2147483647 h 456"/>
                <a:gd name="T8" fmla="*/ 2147483647 w 745"/>
                <a:gd name="T9" fmla="*/ 2147483647 h 456"/>
                <a:gd name="T10" fmla="*/ 2147483647 w 745"/>
                <a:gd name="T11" fmla="*/ 2147483647 h 456"/>
                <a:gd name="T12" fmla="*/ 2147483647 w 745"/>
                <a:gd name="T13" fmla="*/ 2147483647 h 456"/>
                <a:gd name="T14" fmla="*/ 2147483647 w 745"/>
                <a:gd name="T15" fmla="*/ 2147483647 h 456"/>
                <a:gd name="T16" fmla="*/ 2147483647 w 745"/>
                <a:gd name="T17" fmla="*/ 2147483647 h 456"/>
                <a:gd name="T18" fmla="*/ 2147483647 w 745"/>
                <a:gd name="T19" fmla="*/ 2147483647 h 456"/>
                <a:gd name="T20" fmla="*/ 2147483647 w 745"/>
                <a:gd name="T21" fmla="*/ 2147483647 h 456"/>
                <a:gd name="T22" fmla="*/ 2147483647 w 745"/>
                <a:gd name="T23" fmla="*/ 2147483647 h 456"/>
                <a:gd name="T24" fmla="*/ 2147483647 w 745"/>
                <a:gd name="T25" fmla="*/ 2147483647 h 456"/>
                <a:gd name="T26" fmla="*/ 2147483647 w 745"/>
                <a:gd name="T27" fmla="*/ 2147483647 h 456"/>
                <a:gd name="T28" fmla="*/ 2147483647 w 745"/>
                <a:gd name="T29" fmla="*/ 2147483647 h 456"/>
                <a:gd name="T30" fmla="*/ 2147483647 w 745"/>
                <a:gd name="T31" fmla="*/ 2147483647 h 456"/>
                <a:gd name="T32" fmla="*/ 2147483647 w 745"/>
                <a:gd name="T33" fmla="*/ 2147483647 h 456"/>
                <a:gd name="T34" fmla="*/ 2147483647 w 745"/>
                <a:gd name="T35" fmla="*/ 2147483647 h 456"/>
                <a:gd name="T36" fmla="*/ 2147483647 w 745"/>
                <a:gd name="T37" fmla="*/ 2147483647 h 456"/>
                <a:gd name="T38" fmla="*/ 2147483647 w 745"/>
                <a:gd name="T39" fmla="*/ 2147483647 h 456"/>
                <a:gd name="T40" fmla="*/ 2147483647 w 745"/>
                <a:gd name="T41" fmla="*/ 2147483647 h 456"/>
                <a:gd name="T42" fmla="*/ 2147483647 w 745"/>
                <a:gd name="T43" fmla="*/ 2147483647 h 456"/>
                <a:gd name="T44" fmla="*/ 2147483647 w 745"/>
                <a:gd name="T45" fmla="*/ 2147483647 h 456"/>
                <a:gd name="T46" fmla="*/ 2147483647 w 745"/>
                <a:gd name="T47" fmla="*/ 2147483647 h 456"/>
                <a:gd name="T48" fmla="*/ 2147483647 w 745"/>
                <a:gd name="T49" fmla="*/ 2147483647 h 456"/>
                <a:gd name="T50" fmla="*/ 2147483647 w 745"/>
                <a:gd name="T51" fmla="*/ 2147483647 h 456"/>
                <a:gd name="T52" fmla="*/ 2147483647 w 745"/>
                <a:gd name="T53" fmla="*/ 2147483647 h 456"/>
                <a:gd name="T54" fmla="*/ 2147483647 w 745"/>
                <a:gd name="T55" fmla="*/ 2147483647 h 456"/>
                <a:gd name="T56" fmla="*/ 2147483647 w 745"/>
                <a:gd name="T57" fmla="*/ 2147483647 h 456"/>
                <a:gd name="T58" fmla="*/ 2147483647 w 745"/>
                <a:gd name="T59" fmla="*/ 2147483647 h 456"/>
                <a:gd name="T60" fmla="*/ 2147483647 w 745"/>
                <a:gd name="T61" fmla="*/ 2147483647 h 456"/>
                <a:gd name="T62" fmla="*/ 2147483647 w 745"/>
                <a:gd name="T63" fmla="*/ 2147483647 h 456"/>
                <a:gd name="T64" fmla="*/ 2147483647 w 745"/>
                <a:gd name="T65" fmla="*/ 2147483647 h 456"/>
                <a:gd name="T66" fmla="*/ 2147483647 w 745"/>
                <a:gd name="T67" fmla="*/ 2147483647 h 456"/>
                <a:gd name="T68" fmla="*/ 2147483647 w 745"/>
                <a:gd name="T69" fmla="*/ 2147483647 h 456"/>
                <a:gd name="T70" fmla="*/ 2147483647 w 745"/>
                <a:gd name="T71" fmla="*/ 2147483647 h 456"/>
                <a:gd name="T72" fmla="*/ 2147483647 w 745"/>
                <a:gd name="T73" fmla="*/ 2147483647 h 456"/>
                <a:gd name="T74" fmla="*/ 2147483647 w 745"/>
                <a:gd name="T75" fmla="*/ 2147483647 h 456"/>
                <a:gd name="T76" fmla="*/ 2147483647 w 745"/>
                <a:gd name="T77" fmla="*/ 2147483647 h 456"/>
                <a:gd name="T78" fmla="*/ 2147483647 w 745"/>
                <a:gd name="T79" fmla="*/ 2147483647 h 456"/>
                <a:gd name="T80" fmla="*/ 2147483647 w 745"/>
                <a:gd name="T81" fmla="*/ 2147483647 h 456"/>
                <a:gd name="T82" fmla="*/ 2147483647 w 745"/>
                <a:gd name="T83" fmla="*/ 2147483647 h 4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5"/>
                <a:gd name="T127" fmla="*/ 0 h 456"/>
                <a:gd name="T128" fmla="*/ 745 w 745"/>
                <a:gd name="T129" fmla="*/ 456 h 4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5" h="456">
                  <a:moveTo>
                    <a:pt x="86" y="4"/>
                  </a:moveTo>
                  <a:lnTo>
                    <a:pt x="21" y="0"/>
                  </a:lnTo>
                  <a:lnTo>
                    <a:pt x="4" y="22"/>
                  </a:lnTo>
                  <a:lnTo>
                    <a:pt x="30" y="51"/>
                  </a:lnTo>
                  <a:lnTo>
                    <a:pt x="5" y="41"/>
                  </a:lnTo>
                  <a:lnTo>
                    <a:pt x="0" y="57"/>
                  </a:lnTo>
                  <a:lnTo>
                    <a:pt x="42" y="86"/>
                  </a:lnTo>
                  <a:lnTo>
                    <a:pt x="56" y="122"/>
                  </a:lnTo>
                  <a:lnTo>
                    <a:pt x="79" y="132"/>
                  </a:lnTo>
                  <a:lnTo>
                    <a:pt x="86" y="156"/>
                  </a:lnTo>
                  <a:lnTo>
                    <a:pt x="89" y="142"/>
                  </a:lnTo>
                  <a:lnTo>
                    <a:pt x="133" y="156"/>
                  </a:lnTo>
                  <a:lnTo>
                    <a:pt x="163" y="135"/>
                  </a:lnTo>
                  <a:lnTo>
                    <a:pt x="177" y="172"/>
                  </a:lnTo>
                  <a:lnTo>
                    <a:pt x="181" y="202"/>
                  </a:lnTo>
                  <a:lnTo>
                    <a:pt x="201" y="231"/>
                  </a:lnTo>
                  <a:lnTo>
                    <a:pt x="204" y="262"/>
                  </a:lnTo>
                  <a:lnTo>
                    <a:pt x="210" y="269"/>
                  </a:lnTo>
                  <a:lnTo>
                    <a:pt x="189" y="302"/>
                  </a:lnTo>
                  <a:lnTo>
                    <a:pt x="193" y="305"/>
                  </a:lnTo>
                  <a:lnTo>
                    <a:pt x="188" y="334"/>
                  </a:lnTo>
                  <a:lnTo>
                    <a:pt x="219" y="353"/>
                  </a:lnTo>
                  <a:lnTo>
                    <a:pt x="201" y="370"/>
                  </a:lnTo>
                  <a:lnTo>
                    <a:pt x="203" y="399"/>
                  </a:lnTo>
                  <a:lnTo>
                    <a:pt x="222" y="418"/>
                  </a:lnTo>
                  <a:lnTo>
                    <a:pt x="227" y="429"/>
                  </a:lnTo>
                  <a:lnTo>
                    <a:pt x="242" y="426"/>
                  </a:lnTo>
                  <a:lnTo>
                    <a:pt x="242" y="413"/>
                  </a:lnTo>
                  <a:lnTo>
                    <a:pt x="259" y="396"/>
                  </a:lnTo>
                  <a:lnTo>
                    <a:pt x="251" y="414"/>
                  </a:lnTo>
                  <a:lnTo>
                    <a:pt x="263" y="432"/>
                  </a:lnTo>
                  <a:lnTo>
                    <a:pt x="263" y="411"/>
                  </a:lnTo>
                  <a:lnTo>
                    <a:pt x="280" y="430"/>
                  </a:lnTo>
                  <a:lnTo>
                    <a:pt x="277" y="438"/>
                  </a:lnTo>
                  <a:lnTo>
                    <a:pt x="312" y="447"/>
                  </a:lnTo>
                  <a:lnTo>
                    <a:pt x="327" y="429"/>
                  </a:lnTo>
                  <a:lnTo>
                    <a:pt x="318" y="407"/>
                  </a:lnTo>
                  <a:lnTo>
                    <a:pt x="330" y="409"/>
                  </a:lnTo>
                  <a:lnTo>
                    <a:pt x="329" y="396"/>
                  </a:lnTo>
                  <a:lnTo>
                    <a:pt x="340" y="423"/>
                  </a:lnTo>
                  <a:lnTo>
                    <a:pt x="348" y="397"/>
                  </a:lnTo>
                  <a:lnTo>
                    <a:pt x="352" y="399"/>
                  </a:lnTo>
                  <a:lnTo>
                    <a:pt x="359" y="405"/>
                  </a:lnTo>
                  <a:lnTo>
                    <a:pt x="356" y="450"/>
                  </a:lnTo>
                  <a:lnTo>
                    <a:pt x="367" y="455"/>
                  </a:lnTo>
                  <a:lnTo>
                    <a:pt x="401" y="455"/>
                  </a:lnTo>
                  <a:lnTo>
                    <a:pt x="436" y="456"/>
                  </a:lnTo>
                  <a:lnTo>
                    <a:pt x="441" y="452"/>
                  </a:lnTo>
                  <a:lnTo>
                    <a:pt x="435" y="437"/>
                  </a:lnTo>
                  <a:lnTo>
                    <a:pt x="449" y="453"/>
                  </a:lnTo>
                  <a:lnTo>
                    <a:pt x="458" y="436"/>
                  </a:lnTo>
                  <a:lnTo>
                    <a:pt x="467" y="456"/>
                  </a:lnTo>
                  <a:lnTo>
                    <a:pt x="488" y="443"/>
                  </a:lnTo>
                  <a:lnTo>
                    <a:pt x="488" y="423"/>
                  </a:lnTo>
                  <a:lnTo>
                    <a:pt x="503" y="450"/>
                  </a:lnTo>
                  <a:lnTo>
                    <a:pt x="512" y="437"/>
                  </a:lnTo>
                  <a:lnTo>
                    <a:pt x="511" y="418"/>
                  </a:lnTo>
                  <a:lnTo>
                    <a:pt x="516" y="446"/>
                  </a:lnTo>
                  <a:lnTo>
                    <a:pt x="574" y="438"/>
                  </a:lnTo>
                  <a:lnTo>
                    <a:pt x="587" y="409"/>
                  </a:lnTo>
                  <a:lnTo>
                    <a:pt x="562" y="383"/>
                  </a:lnTo>
                  <a:lnTo>
                    <a:pt x="572" y="383"/>
                  </a:lnTo>
                  <a:lnTo>
                    <a:pt x="594" y="398"/>
                  </a:lnTo>
                  <a:lnTo>
                    <a:pt x="595" y="431"/>
                  </a:lnTo>
                  <a:lnTo>
                    <a:pt x="610" y="449"/>
                  </a:lnTo>
                  <a:lnTo>
                    <a:pt x="621" y="439"/>
                  </a:lnTo>
                  <a:lnTo>
                    <a:pt x="649" y="455"/>
                  </a:lnTo>
                  <a:lnTo>
                    <a:pt x="721" y="438"/>
                  </a:lnTo>
                  <a:lnTo>
                    <a:pt x="721" y="411"/>
                  </a:lnTo>
                  <a:lnTo>
                    <a:pt x="719" y="400"/>
                  </a:lnTo>
                  <a:lnTo>
                    <a:pt x="704" y="380"/>
                  </a:lnTo>
                  <a:lnTo>
                    <a:pt x="705" y="359"/>
                  </a:lnTo>
                  <a:lnTo>
                    <a:pt x="745" y="317"/>
                  </a:lnTo>
                  <a:lnTo>
                    <a:pt x="744" y="288"/>
                  </a:lnTo>
                  <a:lnTo>
                    <a:pt x="736" y="275"/>
                  </a:lnTo>
                  <a:lnTo>
                    <a:pt x="709" y="275"/>
                  </a:lnTo>
                  <a:lnTo>
                    <a:pt x="718" y="270"/>
                  </a:lnTo>
                  <a:lnTo>
                    <a:pt x="715" y="259"/>
                  </a:lnTo>
                  <a:lnTo>
                    <a:pt x="677" y="248"/>
                  </a:lnTo>
                  <a:lnTo>
                    <a:pt x="676" y="228"/>
                  </a:lnTo>
                  <a:lnTo>
                    <a:pt x="627" y="219"/>
                  </a:lnTo>
                  <a:lnTo>
                    <a:pt x="594" y="237"/>
                  </a:lnTo>
                  <a:lnTo>
                    <a:pt x="560" y="226"/>
                  </a:lnTo>
                  <a:lnTo>
                    <a:pt x="529" y="259"/>
                  </a:lnTo>
                  <a:lnTo>
                    <a:pt x="506" y="257"/>
                  </a:lnTo>
                  <a:lnTo>
                    <a:pt x="500" y="263"/>
                  </a:lnTo>
                  <a:lnTo>
                    <a:pt x="501" y="280"/>
                  </a:lnTo>
                  <a:lnTo>
                    <a:pt x="488" y="264"/>
                  </a:lnTo>
                  <a:lnTo>
                    <a:pt x="459" y="281"/>
                  </a:lnTo>
                  <a:lnTo>
                    <a:pt x="485" y="304"/>
                  </a:lnTo>
                  <a:lnTo>
                    <a:pt x="436" y="311"/>
                  </a:lnTo>
                  <a:lnTo>
                    <a:pt x="446" y="300"/>
                  </a:lnTo>
                  <a:lnTo>
                    <a:pt x="402" y="268"/>
                  </a:lnTo>
                  <a:lnTo>
                    <a:pt x="395" y="294"/>
                  </a:lnTo>
                  <a:lnTo>
                    <a:pt x="387" y="272"/>
                  </a:lnTo>
                  <a:lnTo>
                    <a:pt x="366" y="292"/>
                  </a:lnTo>
                  <a:lnTo>
                    <a:pt x="368" y="280"/>
                  </a:lnTo>
                  <a:lnTo>
                    <a:pt x="350" y="257"/>
                  </a:lnTo>
                  <a:lnTo>
                    <a:pt x="343" y="263"/>
                  </a:lnTo>
                  <a:lnTo>
                    <a:pt x="345" y="292"/>
                  </a:lnTo>
                  <a:lnTo>
                    <a:pt x="340" y="302"/>
                  </a:lnTo>
                  <a:lnTo>
                    <a:pt x="332" y="278"/>
                  </a:lnTo>
                  <a:lnTo>
                    <a:pt x="322" y="265"/>
                  </a:lnTo>
                  <a:lnTo>
                    <a:pt x="328" y="240"/>
                  </a:lnTo>
                  <a:lnTo>
                    <a:pt x="320" y="229"/>
                  </a:lnTo>
                  <a:lnTo>
                    <a:pt x="300" y="231"/>
                  </a:lnTo>
                  <a:lnTo>
                    <a:pt x="305" y="223"/>
                  </a:lnTo>
                  <a:lnTo>
                    <a:pt x="295" y="206"/>
                  </a:lnTo>
                  <a:lnTo>
                    <a:pt x="242" y="236"/>
                  </a:lnTo>
                  <a:lnTo>
                    <a:pt x="247" y="204"/>
                  </a:lnTo>
                  <a:lnTo>
                    <a:pt x="279" y="198"/>
                  </a:lnTo>
                  <a:lnTo>
                    <a:pt x="229" y="171"/>
                  </a:lnTo>
                  <a:lnTo>
                    <a:pt x="234" y="154"/>
                  </a:lnTo>
                  <a:lnTo>
                    <a:pt x="275" y="180"/>
                  </a:lnTo>
                  <a:lnTo>
                    <a:pt x="316" y="176"/>
                  </a:lnTo>
                  <a:lnTo>
                    <a:pt x="327" y="166"/>
                  </a:lnTo>
                  <a:lnTo>
                    <a:pt x="329" y="143"/>
                  </a:lnTo>
                  <a:lnTo>
                    <a:pt x="278" y="113"/>
                  </a:lnTo>
                  <a:lnTo>
                    <a:pt x="272" y="93"/>
                  </a:lnTo>
                  <a:lnTo>
                    <a:pt x="231" y="66"/>
                  </a:lnTo>
                  <a:lnTo>
                    <a:pt x="166" y="86"/>
                  </a:lnTo>
                  <a:lnTo>
                    <a:pt x="142" y="120"/>
                  </a:lnTo>
                  <a:lnTo>
                    <a:pt x="153" y="88"/>
                  </a:lnTo>
                  <a:lnTo>
                    <a:pt x="156" y="59"/>
                  </a:lnTo>
                  <a:lnTo>
                    <a:pt x="153" y="46"/>
                  </a:lnTo>
                  <a:lnTo>
                    <a:pt x="139" y="20"/>
                  </a:lnTo>
                  <a:lnTo>
                    <a:pt x="114" y="27"/>
                  </a:lnTo>
                  <a:lnTo>
                    <a:pt x="86" y="4"/>
                  </a:lnTo>
                  <a:close/>
                </a:path>
              </a:pathLst>
            </a:custGeom>
            <a:grpFill/>
            <a:ln w="6350">
              <a:solidFill>
                <a:schemeClr val="accent5"/>
              </a:solidFill>
              <a:round/>
              <a:headEnd/>
              <a:tailEnd/>
            </a:ln>
          </p:spPr>
          <p:txBody>
            <a:bodyPr/>
            <a:lstStyle/>
            <a:p>
              <a:endParaRPr lang="en-US"/>
            </a:p>
          </p:txBody>
        </p:sp>
        <p:sp>
          <p:nvSpPr>
            <p:cNvPr id="116" name="Freeform 1186"/>
            <p:cNvSpPr>
              <a:spLocks/>
            </p:cNvSpPr>
            <p:nvPr/>
          </p:nvSpPr>
          <p:spPr bwMode="auto">
            <a:xfrm>
              <a:off x="3803863" y="2315582"/>
              <a:ext cx="17201" cy="20378"/>
            </a:xfrm>
            <a:custGeom>
              <a:avLst/>
              <a:gdLst>
                <a:gd name="T0" fmla="*/ 2147483647 w 35"/>
                <a:gd name="T1" fmla="*/ 2147483647 h 49"/>
                <a:gd name="T2" fmla="*/ 2147483647 w 35"/>
                <a:gd name="T3" fmla="*/ 2147483647 h 49"/>
                <a:gd name="T4" fmla="*/ 2147483647 w 35"/>
                <a:gd name="T5" fmla="*/ 2147483647 h 49"/>
                <a:gd name="T6" fmla="*/ 0 w 35"/>
                <a:gd name="T7" fmla="*/ 2147483647 h 49"/>
                <a:gd name="T8" fmla="*/ 2147483647 w 35"/>
                <a:gd name="T9" fmla="*/ 0 h 49"/>
                <a:gd name="T10" fmla="*/ 2147483647 w 35"/>
                <a:gd name="T11" fmla="*/ 2147483647 h 49"/>
                <a:gd name="T12" fmla="*/ 0 60000 65536"/>
                <a:gd name="T13" fmla="*/ 0 60000 65536"/>
                <a:gd name="T14" fmla="*/ 0 60000 65536"/>
                <a:gd name="T15" fmla="*/ 0 60000 65536"/>
                <a:gd name="T16" fmla="*/ 0 60000 65536"/>
                <a:gd name="T17" fmla="*/ 0 60000 65536"/>
                <a:gd name="T18" fmla="*/ 0 w 35"/>
                <a:gd name="T19" fmla="*/ 0 h 49"/>
                <a:gd name="T20" fmla="*/ 35 w 35"/>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35" h="49">
                  <a:moveTo>
                    <a:pt x="28" y="6"/>
                  </a:moveTo>
                  <a:lnTo>
                    <a:pt x="23" y="31"/>
                  </a:lnTo>
                  <a:lnTo>
                    <a:pt x="35" y="48"/>
                  </a:lnTo>
                  <a:lnTo>
                    <a:pt x="0" y="49"/>
                  </a:lnTo>
                  <a:lnTo>
                    <a:pt x="16" y="0"/>
                  </a:lnTo>
                  <a:lnTo>
                    <a:pt x="28" y="6"/>
                  </a:lnTo>
                  <a:close/>
                </a:path>
              </a:pathLst>
            </a:custGeom>
            <a:grpFill/>
            <a:ln w="6350">
              <a:solidFill>
                <a:schemeClr val="accent5"/>
              </a:solidFill>
              <a:round/>
              <a:headEnd/>
              <a:tailEnd/>
            </a:ln>
          </p:spPr>
          <p:txBody>
            <a:bodyPr/>
            <a:lstStyle/>
            <a:p>
              <a:endParaRPr lang="en-US"/>
            </a:p>
          </p:txBody>
        </p:sp>
        <p:sp>
          <p:nvSpPr>
            <p:cNvPr id="117" name="Freeform 1187"/>
            <p:cNvSpPr>
              <a:spLocks/>
            </p:cNvSpPr>
            <p:nvPr/>
          </p:nvSpPr>
          <p:spPr bwMode="auto">
            <a:xfrm>
              <a:off x="3789531" y="2390727"/>
              <a:ext cx="20066" cy="15284"/>
            </a:xfrm>
            <a:custGeom>
              <a:avLst/>
              <a:gdLst>
                <a:gd name="T0" fmla="*/ 2147483647 w 45"/>
                <a:gd name="T1" fmla="*/ 2147483647 h 37"/>
                <a:gd name="T2" fmla="*/ 2147483647 w 45"/>
                <a:gd name="T3" fmla="*/ 2147483647 h 37"/>
                <a:gd name="T4" fmla="*/ 2147483647 w 45"/>
                <a:gd name="T5" fmla="*/ 0 h 37"/>
                <a:gd name="T6" fmla="*/ 0 w 45"/>
                <a:gd name="T7" fmla="*/ 2147483647 h 37"/>
                <a:gd name="T8" fmla="*/ 2147483647 w 45"/>
                <a:gd name="T9" fmla="*/ 2147483647 h 37"/>
                <a:gd name="T10" fmla="*/ 2147483647 w 45"/>
                <a:gd name="T11" fmla="*/ 2147483647 h 37"/>
                <a:gd name="T12" fmla="*/ 0 60000 65536"/>
                <a:gd name="T13" fmla="*/ 0 60000 65536"/>
                <a:gd name="T14" fmla="*/ 0 60000 65536"/>
                <a:gd name="T15" fmla="*/ 0 60000 65536"/>
                <a:gd name="T16" fmla="*/ 0 60000 65536"/>
                <a:gd name="T17" fmla="*/ 0 60000 65536"/>
                <a:gd name="T18" fmla="*/ 0 w 45"/>
                <a:gd name="T19" fmla="*/ 0 h 37"/>
                <a:gd name="T20" fmla="*/ 45 w 45"/>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45" h="37">
                  <a:moveTo>
                    <a:pt x="34" y="30"/>
                  </a:moveTo>
                  <a:lnTo>
                    <a:pt x="45" y="21"/>
                  </a:lnTo>
                  <a:lnTo>
                    <a:pt x="36" y="0"/>
                  </a:lnTo>
                  <a:lnTo>
                    <a:pt x="0" y="17"/>
                  </a:lnTo>
                  <a:lnTo>
                    <a:pt x="13" y="37"/>
                  </a:lnTo>
                  <a:lnTo>
                    <a:pt x="34" y="30"/>
                  </a:lnTo>
                  <a:close/>
                </a:path>
              </a:pathLst>
            </a:custGeom>
            <a:grpFill/>
            <a:ln w="6350">
              <a:solidFill>
                <a:schemeClr val="accent5"/>
              </a:solidFill>
              <a:round/>
              <a:headEnd/>
              <a:tailEnd/>
            </a:ln>
          </p:spPr>
          <p:txBody>
            <a:bodyPr/>
            <a:lstStyle/>
            <a:p>
              <a:endParaRPr lang="en-US"/>
            </a:p>
          </p:txBody>
        </p:sp>
        <p:sp>
          <p:nvSpPr>
            <p:cNvPr id="118" name="Freeform 1188"/>
            <p:cNvSpPr>
              <a:spLocks/>
            </p:cNvSpPr>
            <p:nvPr/>
          </p:nvSpPr>
          <p:spPr bwMode="auto">
            <a:xfrm>
              <a:off x="3465596" y="2346150"/>
              <a:ext cx="60200" cy="73872"/>
            </a:xfrm>
            <a:custGeom>
              <a:avLst/>
              <a:gdLst>
                <a:gd name="T0" fmla="*/ 2147483647 w 127"/>
                <a:gd name="T1" fmla="*/ 2147483647 h 177"/>
                <a:gd name="T2" fmla="*/ 2147483647 w 127"/>
                <a:gd name="T3" fmla="*/ 2147483647 h 177"/>
                <a:gd name="T4" fmla="*/ 2147483647 w 127"/>
                <a:gd name="T5" fmla="*/ 2147483647 h 177"/>
                <a:gd name="T6" fmla="*/ 2147483647 w 127"/>
                <a:gd name="T7" fmla="*/ 2147483647 h 177"/>
                <a:gd name="T8" fmla="*/ 2147483647 w 127"/>
                <a:gd name="T9" fmla="*/ 2147483647 h 177"/>
                <a:gd name="T10" fmla="*/ 2147483647 w 127"/>
                <a:gd name="T11" fmla="*/ 2147483647 h 177"/>
                <a:gd name="T12" fmla="*/ 2147483647 w 127"/>
                <a:gd name="T13" fmla="*/ 2147483647 h 177"/>
                <a:gd name="T14" fmla="*/ 2147483647 w 127"/>
                <a:gd name="T15" fmla="*/ 2147483647 h 177"/>
                <a:gd name="T16" fmla="*/ 2147483647 w 127"/>
                <a:gd name="T17" fmla="*/ 2147483647 h 177"/>
                <a:gd name="T18" fmla="*/ 2147483647 w 127"/>
                <a:gd name="T19" fmla="*/ 2147483647 h 177"/>
                <a:gd name="T20" fmla="*/ 2147483647 w 127"/>
                <a:gd name="T21" fmla="*/ 2147483647 h 177"/>
                <a:gd name="T22" fmla="*/ 0 w 127"/>
                <a:gd name="T23" fmla="*/ 2147483647 h 177"/>
                <a:gd name="T24" fmla="*/ 2147483647 w 127"/>
                <a:gd name="T25" fmla="*/ 2147483647 h 177"/>
                <a:gd name="T26" fmla="*/ 2147483647 w 127"/>
                <a:gd name="T27" fmla="*/ 2147483647 h 177"/>
                <a:gd name="T28" fmla="*/ 2147483647 w 127"/>
                <a:gd name="T29" fmla="*/ 2147483647 h 177"/>
                <a:gd name="T30" fmla="*/ 2147483647 w 127"/>
                <a:gd name="T31" fmla="*/ 2147483647 h 177"/>
                <a:gd name="T32" fmla="*/ 2147483647 w 127"/>
                <a:gd name="T33" fmla="*/ 2147483647 h 177"/>
                <a:gd name="T34" fmla="*/ 2147483647 w 127"/>
                <a:gd name="T35" fmla="*/ 2147483647 h 177"/>
                <a:gd name="T36" fmla="*/ 2147483647 w 127"/>
                <a:gd name="T37" fmla="*/ 0 h 177"/>
                <a:gd name="T38" fmla="*/ 2147483647 w 127"/>
                <a:gd name="T39" fmla="*/ 2147483647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77"/>
                <a:gd name="T62" fmla="*/ 127 w 12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77">
                  <a:moveTo>
                    <a:pt x="65" y="2"/>
                  </a:moveTo>
                  <a:lnTo>
                    <a:pt x="127" y="74"/>
                  </a:lnTo>
                  <a:lnTo>
                    <a:pt x="124" y="82"/>
                  </a:lnTo>
                  <a:lnTo>
                    <a:pt x="127" y="163"/>
                  </a:lnTo>
                  <a:lnTo>
                    <a:pt x="78" y="177"/>
                  </a:lnTo>
                  <a:lnTo>
                    <a:pt x="53" y="143"/>
                  </a:lnTo>
                  <a:lnTo>
                    <a:pt x="27" y="137"/>
                  </a:lnTo>
                  <a:lnTo>
                    <a:pt x="20" y="122"/>
                  </a:lnTo>
                  <a:lnTo>
                    <a:pt x="24" y="109"/>
                  </a:lnTo>
                  <a:lnTo>
                    <a:pt x="11" y="121"/>
                  </a:lnTo>
                  <a:lnTo>
                    <a:pt x="5" y="108"/>
                  </a:lnTo>
                  <a:lnTo>
                    <a:pt x="0" y="77"/>
                  </a:lnTo>
                  <a:lnTo>
                    <a:pt x="19" y="61"/>
                  </a:lnTo>
                  <a:lnTo>
                    <a:pt x="28" y="59"/>
                  </a:lnTo>
                  <a:lnTo>
                    <a:pt x="20" y="49"/>
                  </a:lnTo>
                  <a:lnTo>
                    <a:pt x="18" y="37"/>
                  </a:lnTo>
                  <a:lnTo>
                    <a:pt x="34" y="35"/>
                  </a:lnTo>
                  <a:lnTo>
                    <a:pt x="32" y="19"/>
                  </a:lnTo>
                  <a:lnTo>
                    <a:pt x="51" y="0"/>
                  </a:lnTo>
                  <a:lnTo>
                    <a:pt x="65" y="2"/>
                  </a:lnTo>
                  <a:close/>
                </a:path>
              </a:pathLst>
            </a:custGeom>
            <a:grpFill/>
            <a:ln w="6350">
              <a:solidFill>
                <a:schemeClr val="accent5"/>
              </a:solidFill>
              <a:round/>
              <a:headEnd/>
              <a:tailEnd/>
            </a:ln>
          </p:spPr>
          <p:txBody>
            <a:bodyPr/>
            <a:lstStyle/>
            <a:p>
              <a:endParaRPr lang="en-US"/>
            </a:p>
          </p:txBody>
        </p:sp>
        <p:sp>
          <p:nvSpPr>
            <p:cNvPr id="119" name="Freeform 1189"/>
            <p:cNvSpPr>
              <a:spLocks/>
            </p:cNvSpPr>
            <p:nvPr/>
          </p:nvSpPr>
          <p:spPr bwMode="auto">
            <a:xfrm>
              <a:off x="3484229" y="2450590"/>
              <a:ext cx="107501" cy="133734"/>
            </a:xfrm>
            <a:custGeom>
              <a:avLst/>
              <a:gdLst>
                <a:gd name="T0" fmla="*/ 2147483647 w 232"/>
                <a:gd name="T1" fmla="*/ 2147483647 h 321"/>
                <a:gd name="T2" fmla="*/ 2147483647 w 232"/>
                <a:gd name="T3" fmla="*/ 0 h 321"/>
                <a:gd name="T4" fmla="*/ 2147483647 w 232"/>
                <a:gd name="T5" fmla="*/ 2147483647 h 321"/>
                <a:gd name="T6" fmla="*/ 2147483647 w 232"/>
                <a:gd name="T7" fmla="*/ 2147483647 h 321"/>
                <a:gd name="T8" fmla="*/ 2147483647 w 232"/>
                <a:gd name="T9" fmla="*/ 2147483647 h 321"/>
                <a:gd name="T10" fmla="*/ 2147483647 w 232"/>
                <a:gd name="T11" fmla="*/ 2147483647 h 321"/>
                <a:gd name="T12" fmla="*/ 2147483647 w 232"/>
                <a:gd name="T13" fmla="*/ 2147483647 h 321"/>
                <a:gd name="T14" fmla="*/ 2147483647 w 232"/>
                <a:gd name="T15" fmla="*/ 2147483647 h 321"/>
                <a:gd name="T16" fmla="*/ 2147483647 w 232"/>
                <a:gd name="T17" fmla="*/ 2147483647 h 321"/>
                <a:gd name="T18" fmla="*/ 2147483647 w 232"/>
                <a:gd name="T19" fmla="*/ 2147483647 h 321"/>
                <a:gd name="T20" fmla="*/ 2147483647 w 232"/>
                <a:gd name="T21" fmla="*/ 2147483647 h 321"/>
                <a:gd name="T22" fmla="*/ 2147483647 w 232"/>
                <a:gd name="T23" fmla="*/ 2147483647 h 321"/>
                <a:gd name="T24" fmla="*/ 2147483647 w 232"/>
                <a:gd name="T25" fmla="*/ 2147483647 h 321"/>
                <a:gd name="T26" fmla="*/ 2147483647 w 232"/>
                <a:gd name="T27" fmla="*/ 2147483647 h 321"/>
                <a:gd name="T28" fmla="*/ 2147483647 w 232"/>
                <a:gd name="T29" fmla="*/ 2147483647 h 321"/>
                <a:gd name="T30" fmla="*/ 2147483647 w 232"/>
                <a:gd name="T31" fmla="*/ 2147483647 h 321"/>
                <a:gd name="T32" fmla="*/ 2147483647 w 232"/>
                <a:gd name="T33" fmla="*/ 2147483647 h 321"/>
                <a:gd name="T34" fmla="*/ 2147483647 w 232"/>
                <a:gd name="T35" fmla="*/ 2147483647 h 321"/>
                <a:gd name="T36" fmla="*/ 2147483647 w 232"/>
                <a:gd name="T37" fmla="*/ 2147483647 h 321"/>
                <a:gd name="T38" fmla="*/ 2147483647 w 232"/>
                <a:gd name="T39" fmla="*/ 2147483647 h 321"/>
                <a:gd name="T40" fmla="*/ 2147483647 w 232"/>
                <a:gd name="T41" fmla="*/ 2147483647 h 321"/>
                <a:gd name="T42" fmla="*/ 2147483647 w 232"/>
                <a:gd name="T43" fmla="*/ 2147483647 h 321"/>
                <a:gd name="T44" fmla="*/ 2147483647 w 232"/>
                <a:gd name="T45" fmla="*/ 2147483647 h 321"/>
                <a:gd name="T46" fmla="*/ 2147483647 w 232"/>
                <a:gd name="T47" fmla="*/ 2147483647 h 321"/>
                <a:gd name="T48" fmla="*/ 2147483647 w 232"/>
                <a:gd name="T49" fmla="*/ 2147483647 h 321"/>
                <a:gd name="T50" fmla="*/ 2147483647 w 232"/>
                <a:gd name="T51" fmla="*/ 2147483647 h 321"/>
                <a:gd name="T52" fmla="*/ 2147483647 w 232"/>
                <a:gd name="T53" fmla="*/ 2147483647 h 321"/>
                <a:gd name="T54" fmla="*/ 0 w 232"/>
                <a:gd name="T55" fmla="*/ 2147483647 h 321"/>
                <a:gd name="T56" fmla="*/ 2147483647 w 232"/>
                <a:gd name="T57" fmla="*/ 2147483647 h 321"/>
                <a:gd name="T58" fmla="*/ 0 w 232"/>
                <a:gd name="T59" fmla="*/ 2147483647 h 321"/>
                <a:gd name="T60" fmla="*/ 2147483647 w 232"/>
                <a:gd name="T61" fmla="*/ 2147483647 h 321"/>
                <a:gd name="T62" fmla="*/ 2147483647 w 232"/>
                <a:gd name="T63" fmla="*/ 2147483647 h 321"/>
                <a:gd name="T64" fmla="*/ 2147483647 w 232"/>
                <a:gd name="T65" fmla="*/ 2147483647 h 321"/>
                <a:gd name="T66" fmla="*/ 2147483647 w 232"/>
                <a:gd name="T67" fmla="*/ 2147483647 h 3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321"/>
                <a:gd name="T104" fmla="*/ 232 w 232"/>
                <a:gd name="T105" fmla="*/ 321 h 32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321">
                  <a:moveTo>
                    <a:pt x="26" y="14"/>
                  </a:moveTo>
                  <a:lnTo>
                    <a:pt x="96" y="0"/>
                  </a:lnTo>
                  <a:lnTo>
                    <a:pt x="136" y="14"/>
                  </a:lnTo>
                  <a:lnTo>
                    <a:pt x="146" y="33"/>
                  </a:lnTo>
                  <a:lnTo>
                    <a:pt x="177" y="23"/>
                  </a:lnTo>
                  <a:lnTo>
                    <a:pt x="232" y="41"/>
                  </a:lnTo>
                  <a:lnTo>
                    <a:pt x="213" y="90"/>
                  </a:lnTo>
                  <a:lnTo>
                    <a:pt x="198" y="90"/>
                  </a:lnTo>
                  <a:lnTo>
                    <a:pt x="201" y="108"/>
                  </a:lnTo>
                  <a:lnTo>
                    <a:pt x="193" y="137"/>
                  </a:lnTo>
                  <a:lnTo>
                    <a:pt x="177" y="146"/>
                  </a:lnTo>
                  <a:lnTo>
                    <a:pt x="184" y="148"/>
                  </a:lnTo>
                  <a:lnTo>
                    <a:pt x="181" y="163"/>
                  </a:lnTo>
                  <a:lnTo>
                    <a:pt x="151" y="219"/>
                  </a:lnTo>
                  <a:lnTo>
                    <a:pt x="104" y="207"/>
                  </a:lnTo>
                  <a:lnTo>
                    <a:pt x="57" y="216"/>
                  </a:lnTo>
                  <a:lnTo>
                    <a:pt x="78" y="225"/>
                  </a:lnTo>
                  <a:lnTo>
                    <a:pt x="94" y="255"/>
                  </a:lnTo>
                  <a:lnTo>
                    <a:pt x="66" y="309"/>
                  </a:lnTo>
                  <a:lnTo>
                    <a:pt x="32" y="321"/>
                  </a:lnTo>
                  <a:lnTo>
                    <a:pt x="20" y="316"/>
                  </a:lnTo>
                  <a:lnTo>
                    <a:pt x="33" y="300"/>
                  </a:lnTo>
                  <a:lnTo>
                    <a:pt x="20" y="294"/>
                  </a:lnTo>
                  <a:lnTo>
                    <a:pt x="20" y="263"/>
                  </a:lnTo>
                  <a:lnTo>
                    <a:pt x="34" y="241"/>
                  </a:lnTo>
                  <a:lnTo>
                    <a:pt x="19" y="245"/>
                  </a:lnTo>
                  <a:lnTo>
                    <a:pt x="3" y="222"/>
                  </a:lnTo>
                  <a:lnTo>
                    <a:pt x="0" y="190"/>
                  </a:lnTo>
                  <a:lnTo>
                    <a:pt x="4" y="158"/>
                  </a:lnTo>
                  <a:lnTo>
                    <a:pt x="0" y="67"/>
                  </a:lnTo>
                  <a:lnTo>
                    <a:pt x="7" y="58"/>
                  </a:lnTo>
                  <a:lnTo>
                    <a:pt x="12" y="41"/>
                  </a:lnTo>
                  <a:lnTo>
                    <a:pt x="13" y="21"/>
                  </a:lnTo>
                  <a:lnTo>
                    <a:pt x="26" y="14"/>
                  </a:lnTo>
                  <a:close/>
                </a:path>
              </a:pathLst>
            </a:custGeom>
            <a:grpFill/>
            <a:ln w="6350">
              <a:solidFill>
                <a:schemeClr val="accent5"/>
              </a:solidFill>
              <a:round/>
              <a:headEnd/>
              <a:tailEnd/>
            </a:ln>
          </p:spPr>
          <p:txBody>
            <a:bodyPr/>
            <a:lstStyle/>
            <a:p>
              <a:endParaRPr lang="en-US"/>
            </a:p>
          </p:txBody>
        </p:sp>
        <p:sp>
          <p:nvSpPr>
            <p:cNvPr id="120" name="Freeform 1190"/>
            <p:cNvSpPr>
              <a:spLocks/>
            </p:cNvSpPr>
            <p:nvPr/>
          </p:nvSpPr>
          <p:spPr bwMode="auto">
            <a:xfrm>
              <a:off x="3659096" y="2777918"/>
              <a:ext cx="10034" cy="28020"/>
            </a:xfrm>
            <a:custGeom>
              <a:avLst/>
              <a:gdLst>
                <a:gd name="T0" fmla="*/ 2147483647 w 20"/>
                <a:gd name="T1" fmla="*/ 2147483647 h 64"/>
                <a:gd name="T2" fmla="*/ 2147483647 w 20"/>
                <a:gd name="T3" fmla="*/ 2147483647 h 64"/>
                <a:gd name="T4" fmla="*/ 2147483647 w 20"/>
                <a:gd name="T5" fmla="*/ 2147483647 h 64"/>
                <a:gd name="T6" fmla="*/ 0 w 20"/>
                <a:gd name="T7" fmla="*/ 2147483647 h 64"/>
                <a:gd name="T8" fmla="*/ 2147483647 w 20"/>
                <a:gd name="T9" fmla="*/ 2147483647 h 64"/>
                <a:gd name="T10" fmla="*/ 2147483647 w 20"/>
                <a:gd name="T11" fmla="*/ 0 h 64"/>
                <a:gd name="T12" fmla="*/ 2147483647 w 20"/>
                <a:gd name="T13" fmla="*/ 2147483647 h 64"/>
                <a:gd name="T14" fmla="*/ 0 60000 65536"/>
                <a:gd name="T15" fmla="*/ 0 60000 65536"/>
                <a:gd name="T16" fmla="*/ 0 60000 65536"/>
                <a:gd name="T17" fmla="*/ 0 60000 65536"/>
                <a:gd name="T18" fmla="*/ 0 60000 65536"/>
                <a:gd name="T19" fmla="*/ 0 60000 65536"/>
                <a:gd name="T20" fmla="*/ 0 60000 65536"/>
                <a:gd name="T21" fmla="*/ 0 w 20"/>
                <a:gd name="T22" fmla="*/ 0 h 64"/>
                <a:gd name="T23" fmla="*/ 20 w 2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64">
                  <a:moveTo>
                    <a:pt x="14" y="6"/>
                  </a:moveTo>
                  <a:lnTo>
                    <a:pt x="20" y="52"/>
                  </a:lnTo>
                  <a:lnTo>
                    <a:pt x="17" y="64"/>
                  </a:lnTo>
                  <a:lnTo>
                    <a:pt x="0" y="52"/>
                  </a:lnTo>
                  <a:lnTo>
                    <a:pt x="1" y="10"/>
                  </a:lnTo>
                  <a:lnTo>
                    <a:pt x="7" y="0"/>
                  </a:lnTo>
                  <a:lnTo>
                    <a:pt x="14" y="6"/>
                  </a:lnTo>
                  <a:close/>
                </a:path>
              </a:pathLst>
            </a:custGeom>
            <a:grpFill/>
            <a:ln w="6350">
              <a:solidFill>
                <a:schemeClr val="accent5"/>
              </a:solidFill>
              <a:round/>
              <a:headEnd/>
              <a:tailEnd/>
            </a:ln>
          </p:spPr>
          <p:txBody>
            <a:bodyPr/>
            <a:lstStyle/>
            <a:p>
              <a:endParaRPr lang="en-US"/>
            </a:p>
          </p:txBody>
        </p:sp>
        <p:sp>
          <p:nvSpPr>
            <p:cNvPr id="121" name="Freeform 1191"/>
            <p:cNvSpPr>
              <a:spLocks/>
            </p:cNvSpPr>
            <p:nvPr/>
          </p:nvSpPr>
          <p:spPr bwMode="auto">
            <a:xfrm>
              <a:off x="3656230" y="2889999"/>
              <a:ext cx="140467" cy="114630"/>
            </a:xfrm>
            <a:custGeom>
              <a:avLst/>
              <a:gdLst>
                <a:gd name="T0" fmla="*/ 2147483647 w 302"/>
                <a:gd name="T1" fmla="*/ 2147483647 h 273"/>
                <a:gd name="T2" fmla="*/ 2147483647 w 302"/>
                <a:gd name="T3" fmla="*/ 0 h 273"/>
                <a:gd name="T4" fmla="*/ 2147483647 w 302"/>
                <a:gd name="T5" fmla="*/ 2147483647 h 273"/>
                <a:gd name="T6" fmla="*/ 2147483647 w 302"/>
                <a:gd name="T7" fmla="*/ 2147483647 h 273"/>
                <a:gd name="T8" fmla="*/ 2147483647 w 302"/>
                <a:gd name="T9" fmla="*/ 2147483647 h 273"/>
                <a:gd name="T10" fmla="*/ 2147483647 w 302"/>
                <a:gd name="T11" fmla="*/ 2147483647 h 273"/>
                <a:gd name="T12" fmla="*/ 2147483647 w 302"/>
                <a:gd name="T13" fmla="*/ 2147483647 h 273"/>
                <a:gd name="T14" fmla="*/ 2147483647 w 302"/>
                <a:gd name="T15" fmla="*/ 2147483647 h 273"/>
                <a:gd name="T16" fmla="*/ 2147483647 w 302"/>
                <a:gd name="T17" fmla="*/ 2147483647 h 273"/>
                <a:gd name="T18" fmla="*/ 2147483647 w 302"/>
                <a:gd name="T19" fmla="*/ 2147483647 h 273"/>
                <a:gd name="T20" fmla="*/ 2147483647 w 302"/>
                <a:gd name="T21" fmla="*/ 2147483647 h 273"/>
                <a:gd name="T22" fmla="*/ 2147483647 w 302"/>
                <a:gd name="T23" fmla="*/ 2147483647 h 273"/>
                <a:gd name="T24" fmla="*/ 2147483647 w 302"/>
                <a:gd name="T25" fmla="*/ 2147483647 h 273"/>
                <a:gd name="T26" fmla="*/ 2147483647 w 302"/>
                <a:gd name="T27" fmla="*/ 2147483647 h 273"/>
                <a:gd name="T28" fmla="*/ 2147483647 w 302"/>
                <a:gd name="T29" fmla="*/ 2147483647 h 273"/>
                <a:gd name="T30" fmla="*/ 2147483647 w 302"/>
                <a:gd name="T31" fmla="*/ 2147483647 h 273"/>
                <a:gd name="T32" fmla="*/ 2147483647 w 302"/>
                <a:gd name="T33" fmla="*/ 2147483647 h 273"/>
                <a:gd name="T34" fmla="*/ 2147483647 w 302"/>
                <a:gd name="T35" fmla="*/ 2147483647 h 273"/>
                <a:gd name="T36" fmla="*/ 2147483647 w 302"/>
                <a:gd name="T37" fmla="*/ 2147483647 h 273"/>
                <a:gd name="T38" fmla="*/ 2147483647 w 302"/>
                <a:gd name="T39" fmla="*/ 2147483647 h 273"/>
                <a:gd name="T40" fmla="*/ 2147483647 w 302"/>
                <a:gd name="T41" fmla="*/ 2147483647 h 273"/>
                <a:gd name="T42" fmla="*/ 2147483647 w 302"/>
                <a:gd name="T43" fmla="*/ 2147483647 h 273"/>
                <a:gd name="T44" fmla="*/ 2147483647 w 302"/>
                <a:gd name="T45" fmla="*/ 2147483647 h 273"/>
                <a:gd name="T46" fmla="*/ 2147483647 w 302"/>
                <a:gd name="T47" fmla="*/ 2147483647 h 273"/>
                <a:gd name="T48" fmla="*/ 2147483647 w 302"/>
                <a:gd name="T49" fmla="*/ 2147483647 h 273"/>
                <a:gd name="T50" fmla="*/ 2147483647 w 302"/>
                <a:gd name="T51" fmla="*/ 2147483647 h 273"/>
                <a:gd name="T52" fmla="*/ 2147483647 w 302"/>
                <a:gd name="T53" fmla="*/ 2147483647 h 273"/>
                <a:gd name="T54" fmla="*/ 2147483647 w 302"/>
                <a:gd name="T55" fmla="*/ 2147483647 h 273"/>
                <a:gd name="T56" fmla="*/ 2147483647 w 302"/>
                <a:gd name="T57" fmla="*/ 2147483647 h 273"/>
                <a:gd name="T58" fmla="*/ 2147483647 w 302"/>
                <a:gd name="T59" fmla="*/ 2147483647 h 273"/>
                <a:gd name="T60" fmla="*/ 2147483647 w 302"/>
                <a:gd name="T61" fmla="*/ 2147483647 h 273"/>
                <a:gd name="T62" fmla="*/ 2147483647 w 302"/>
                <a:gd name="T63" fmla="*/ 2147483647 h 273"/>
                <a:gd name="T64" fmla="*/ 2147483647 w 302"/>
                <a:gd name="T65" fmla="*/ 2147483647 h 273"/>
                <a:gd name="T66" fmla="*/ 2147483647 w 302"/>
                <a:gd name="T67" fmla="*/ 2147483647 h 273"/>
                <a:gd name="T68" fmla="*/ 2147483647 w 302"/>
                <a:gd name="T69" fmla="*/ 2147483647 h 273"/>
                <a:gd name="T70" fmla="*/ 2147483647 w 302"/>
                <a:gd name="T71" fmla="*/ 2147483647 h 273"/>
                <a:gd name="T72" fmla="*/ 2147483647 w 302"/>
                <a:gd name="T73" fmla="*/ 2147483647 h 273"/>
                <a:gd name="T74" fmla="*/ 2147483647 w 302"/>
                <a:gd name="T75" fmla="*/ 2147483647 h 273"/>
                <a:gd name="T76" fmla="*/ 0 w 302"/>
                <a:gd name="T77" fmla="*/ 2147483647 h 273"/>
                <a:gd name="T78" fmla="*/ 2147483647 w 302"/>
                <a:gd name="T79" fmla="*/ 2147483647 h 273"/>
                <a:gd name="T80" fmla="*/ 2147483647 w 302"/>
                <a:gd name="T81" fmla="*/ 2147483647 h 273"/>
                <a:gd name="T82" fmla="*/ 2147483647 w 302"/>
                <a:gd name="T83" fmla="*/ 2147483647 h 273"/>
                <a:gd name="T84" fmla="*/ 2147483647 w 302"/>
                <a:gd name="T85" fmla="*/ 2147483647 h 273"/>
                <a:gd name="T86" fmla="*/ 2147483647 w 302"/>
                <a:gd name="T87" fmla="*/ 2147483647 h 273"/>
                <a:gd name="T88" fmla="*/ 2147483647 w 302"/>
                <a:gd name="T89" fmla="*/ 2147483647 h 2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2"/>
                <a:gd name="T136" fmla="*/ 0 h 273"/>
                <a:gd name="T137" fmla="*/ 302 w 302"/>
                <a:gd name="T138" fmla="*/ 273 h 2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2" h="273">
                  <a:moveTo>
                    <a:pt x="61" y="11"/>
                  </a:moveTo>
                  <a:lnTo>
                    <a:pt x="71" y="0"/>
                  </a:lnTo>
                  <a:lnTo>
                    <a:pt x="73" y="9"/>
                  </a:lnTo>
                  <a:lnTo>
                    <a:pt x="82" y="8"/>
                  </a:lnTo>
                  <a:lnTo>
                    <a:pt x="93" y="30"/>
                  </a:lnTo>
                  <a:lnTo>
                    <a:pt x="89" y="37"/>
                  </a:lnTo>
                  <a:lnTo>
                    <a:pt x="94" y="63"/>
                  </a:lnTo>
                  <a:lnTo>
                    <a:pt x="100" y="66"/>
                  </a:lnTo>
                  <a:lnTo>
                    <a:pt x="110" y="45"/>
                  </a:lnTo>
                  <a:lnTo>
                    <a:pt x="116" y="46"/>
                  </a:lnTo>
                  <a:lnTo>
                    <a:pt x="132" y="57"/>
                  </a:lnTo>
                  <a:lnTo>
                    <a:pt x="131" y="70"/>
                  </a:lnTo>
                  <a:lnTo>
                    <a:pt x="162" y="79"/>
                  </a:lnTo>
                  <a:lnTo>
                    <a:pt x="191" y="113"/>
                  </a:lnTo>
                  <a:lnTo>
                    <a:pt x="224" y="127"/>
                  </a:lnTo>
                  <a:lnTo>
                    <a:pt x="240" y="174"/>
                  </a:lnTo>
                  <a:lnTo>
                    <a:pt x="237" y="184"/>
                  </a:lnTo>
                  <a:lnTo>
                    <a:pt x="259" y="188"/>
                  </a:lnTo>
                  <a:lnTo>
                    <a:pt x="269" y="177"/>
                  </a:lnTo>
                  <a:lnTo>
                    <a:pt x="285" y="193"/>
                  </a:lnTo>
                  <a:lnTo>
                    <a:pt x="284" y="204"/>
                  </a:lnTo>
                  <a:lnTo>
                    <a:pt x="302" y="214"/>
                  </a:lnTo>
                  <a:lnTo>
                    <a:pt x="263" y="243"/>
                  </a:lnTo>
                  <a:lnTo>
                    <a:pt x="219" y="219"/>
                  </a:lnTo>
                  <a:lnTo>
                    <a:pt x="206" y="221"/>
                  </a:lnTo>
                  <a:lnTo>
                    <a:pt x="206" y="199"/>
                  </a:lnTo>
                  <a:lnTo>
                    <a:pt x="175" y="192"/>
                  </a:lnTo>
                  <a:lnTo>
                    <a:pt x="182" y="174"/>
                  </a:lnTo>
                  <a:lnTo>
                    <a:pt x="154" y="182"/>
                  </a:lnTo>
                  <a:lnTo>
                    <a:pt x="153" y="215"/>
                  </a:lnTo>
                  <a:lnTo>
                    <a:pt x="127" y="231"/>
                  </a:lnTo>
                  <a:lnTo>
                    <a:pt x="107" y="263"/>
                  </a:lnTo>
                  <a:lnTo>
                    <a:pt x="84" y="273"/>
                  </a:lnTo>
                  <a:lnTo>
                    <a:pt x="75" y="273"/>
                  </a:lnTo>
                  <a:lnTo>
                    <a:pt x="69" y="260"/>
                  </a:lnTo>
                  <a:lnTo>
                    <a:pt x="64" y="204"/>
                  </a:lnTo>
                  <a:lnTo>
                    <a:pt x="60" y="220"/>
                  </a:lnTo>
                  <a:lnTo>
                    <a:pt x="6" y="235"/>
                  </a:lnTo>
                  <a:lnTo>
                    <a:pt x="0" y="222"/>
                  </a:lnTo>
                  <a:lnTo>
                    <a:pt x="9" y="202"/>
                  </a:lnTo>
                  <a:lnTo>
                    <a:pt x="40" y="175"/>
                  </a:lnTo>
                  <a:lnTo>
                    <a:pt x="34" y="137"/>
                  </a:lnTo>
                  <a:lnTo>
                    <a:pt x="44" y="87"/>
                  </a:lnTo>
                  <a:lnTo>
                    <a:pt x="45" y="46"/>
                  </a:lnTo>
                  <a:lnTo>
                    <a:pt x="61" y="11"/>
                  </a:lnTo>
                  <a:close/>
                </a:path>
              </a:pathLst>
            </a:custGeom>
            <a:grpFill/>
            <a:ln w="6350">
              <a:solidFill>
                <a:schemeClr val="accent5"/>
              </a:solidFill>
              <a:round/>
              <a:headEnd/>
              <a:tailEnd/>
            </a:ln>
          </p:spPr>
          <p:txBody>
            <a:bodyPr/>
            <a:lstStyle/>
            <a:p>
              <a:endParaRPr lang="en-US"/>
            </a:p>
          </p:txBody>
        </p:sp>
        <p:sp>
          <p:nvSpPr>
            <p:cNvPr id="122" name="Freeform 1192"/>
            <p:cNvSpPr>
              <a:spLocks/>
            </p:cNvSpPr>
            <p:nvPr/>
          </p:nvSpPr>
          <p:spPr bwMode="auto">
            <a:xfrm>
              <a:off x="3710696" y="2881084"/>
              <a:ext cx="21500" cy="20378"/>
            </a:xfrm>
            <a:custGeom>
              <a:avLst/>
              <a:gdLst>
                <a:gd name="T0" fmla="*/ 2147483647 w 49"/>
                <a:gd name="T1" fmla="*/ 2147483647 h 52"/>
                <a:gd name="T2" fmla="*/ 2147483647 w 49"/>
                <a:gd name="T3" fmla="*/ 2147483647 h 52"/>
                <a:gd name="T4" fmla="*/ 2147483647 w 49"/>
                <a:gd name="T5" fmla="*/ 2147483647 h 52"/>
                <a:gd name="T6" fmla="*/ 2147483647 w 49"/>
                <a:gd name="T7" fmla="*/ 2147483647 h 52"/>
                <a:gd name="T8" fmla="*/ 0 w 49"/>
                <a:gd name="T9" fmla="*/ 0 h 52"/>
                <a:gd name="T10" fmla="*/ 2147483647 w 49"/>
                <a:gd name="T11" fmla="*/ 2147483647 h 52"/>
                <a:gd name="T12" fmla="*/ 0 60000 65536"/>
                <a:gd name="T13" fmla="*/ 0 60000 65536"/>
                <a:gd name="T14" fmla="*/ 0 60000 65536"/>
                <a:gd name="T15" fmla="*/ 0 60000 65536"/>
                <a:gd name="T16" fmla="*/ 0 60000 65536"/>
                <a:gd name="T17" fmla="*/ 0 60000 65536"/>
                <a:gd name="T18" fmla="*/ 0 w 49"/>
                <a:gd name="T19" fmla="*/ 0 h 52"/>
                <a:gd name="T20" fmla="*/ 49 w 49"/>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9" h="52">
                  <a:moveTo>
                    <a:pt x="26" y="17"/>
                  </a:moveTo>
                  <a:lnTo>
                    <a:pt x="49" y="52"/>
                  </a:lnTo>
                  <a:lnTo>
                    <a:pt x="32" y="50"/>
                  </a:lnTo>
                  <a:lnTo>
                    <a:pt x="18" y="34"/>
                  </a:lnTo>
                  <a:lnTo>
                    <a:pt x="0" y="0"/>
                  </a:lnTo>
                  <a:lnTo>
                    <a:pt x="26" y="17"/>
                  </a:lnTo>
                  <a:close/>
                </a:path>
              </a:pathLst>
            </a:custGeom>
            <a:grpFill/>
            <a:ln w="6350">
              <a:solidFill>
                <a:schemeClr val="accent5"/>
              </a:solidFill>
              <a:round/>
              <a:headEnd/>
              <a:tailEnd/>
            </a:ln>
          </p:spPr>
          <p:txBody>
            <a:bodyPr/>
            <a:lstStyle/>
            <a:p>
              <a:endParaRPr lang="en-US"/>
            </a:p>
          </p:txBody>
        </p:sp>
        <p:sp>
          <p:nvSpPr>
            <p:cNvPr id="123" name="Freeform 1193"/>
            <p:cNvSpPr>
              <a:spLocks/>
            </p:cNvSpPr>
            <p:nvPr/>
          </p:nvSpPr>
          <p:spPr bwMode="auto">
            <a:xfrm>
              <a:off x="3855464" y="2779192"/>
              <a:ext cx="43001" cy="49672"/>
            </a:xfrm>
            <a:custGeom>
              <a:avLst/>
              <a:gdLst>
                <a:gd name="T0" fmla="*/ 2147483647 w 94"/>
                <a:gd name="T1" fmla="*/ 0 h 118"/>
                <a:gd name="T2" fmla="*/ 2147483647 w 94"/>
                <a:gd name="T3" fmla="*/ 2147483647 h 118"/>
                <a:gd name="T4" fmla="*/ 2147483647 w 94"/>
                <a:gd name="T5" fmla="*/ 2147483647 h 118"/>
                <a:gd name="T6" fmla="*/ 2147483647 w 94"/>
                <a:gd name="T7" fmla="*/ 2147483647 h 118"/>
                <a:gd name="T8" fmla="*/ 2147483647 w 94"/>
                <a:gd name="T9" fmla="*/ 2147483647 h 118"/>
                <a:gd name="T10" fmla="*/ 2147483647 w 94"/>
                <a:gd name="T11" fmla="*/ 2147483647 h 118"/>
                <a:gd name="T12" fmla="*/ 0 w 94"/>
                <a:gd name="T13" fmla="*/ 2147483647 h 118"/>
                <a:gd name="T14" fmla="*/ 2147483647 w 94"/>
                <a:gd name="T15" fmla="*/ 2147483647 h 118"/>
                <a:gd name="T16" fmla="*/ 2147483647 w 94"/>
                <a:gd name="T17" fmla="*/ 2147483647 h 118"/>
                <a:gd name="T18" fmla="*/ 2147483647 w 94"/>
                <a:gd name="T19" fmla="*/ 0 h 1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4"/>
                <a:gd name="T31" fmla="*/ 0 h 118"/>
                <a:gd name="T32" fmla="*/ 94 w 94"/>
                <a:gd name="T33" fmla="*/ 118 h 1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4" h="118">
                  <a:moveTo>
                    <a:pt x="41" y="0"/>
                  </a:moveTo>
                  <a:lnTo>
                    <a:pt x="87" y="9"/>
                  </a:lnTo>
                  <a:lnTo>
                    <a:pt x="94" y="36"/>
                  </a:lnTo>
                  <a:lnTo>
                    <a:pt x="93" y="90"/>
                  </a:lnTo>
                  <a:lnTo>
                    <a:pt x="68" y="117"/>
                  </a:lnTo>
                  <a:lnTo>
                    <a:pt x="12" y="118"/>
                  </a:lnTo>
                  <a:lnTo>
                    <a:pt x="0" y="82"/>
                  </a:lnTo>
                  <a:lnTo>
                    <a:pt x="1" y="52"/>
                  </a:lnTo>
                  <a:lnTo>
                    <a:pt x="25" y="6"/>
                  </a:lnTo>
                  <a:lnTo>
                    <a:pt x="41" y="0"/>
                  </a:lnTo>
                  <a:close/>
                </a:path>
              </a:pathLst>
            </a:custGeom>
            <a:grpFill/>
            <a:ln w="6350">
              <a:solidFill>
                <a:schemeClr val="accent5"/>
              </a:solidFill>
              <a:round/>
              <a:headEnd/>
              <a:tailEnd/>
            </a:ln>
          </p:spPr>
          <p:txBody>
            <a:bodyPr/>
            <a:lstStyle/>
            <a:p>
              <a:endParaRPr lang="en-US"/>
            </a:p>
          </p:txBody>
        </p:sp>
        <p:sp>
          <p:nvSpPr>
            <p:cNvPr id="124" name="Freeform 1194"/>
            <p:cNvSpPr>
              <a:spLocks/>
            </p:cNvSpPr>
            <p:nvPr/>
          </p:nvSpPr>
          <p:spPr bwMode="auto">
            <a:xfrm>
              <a:off x="3907065" y="2786834"/>
              <a:ext cx="22933" cy="17831"/>
            </a:xfrm>
            <a:custGeom>
              <a:avLst/>
              <a:gdLst>
                <a:gd name="T0" fmla="*/ 0 w 53"/>
                <a:gd name="T1" fmla="*/ 2147483647 h 44"/>
                <a:gd name="T2" fmla="*/ 2147483647 w 53"/>
                <a:gd name="T3" fmla="*/ 0 h 44"/>
                <a:gd name="T4" fmla="*/ 2147483647 w 53"/>
                <a:gd name="T5" fmla="*/ 2147483647 h 44"/>
                <a:gd name="T6" fmla="*/ 2147483647 w 53"/>
                <a:gd name="T7" fmla="*/ 2147483647 h 44"/>
                <a:gd name="T8" fmla="*/ 2147483647 w 53"/>
                <a:gd name="T9" fmla="*/ 2147483647 h 44"/>
                <a:gd name="T10" fmla="*/ 2147483647 w 53"/>
                <a:gd name="T11" fmla="*/ 2147483647 h 44"/>
                <a:gd name="T12" fmla="*/ 0 w 53"/>
                <a:gd name="T13" fmla="*/ 2147483647 h 44"/>
                <a:gd name="T14" fmla="*/ 0 60000 65536"/>
                <a:gd name="T15" fmla="*/ 0 60000 65536"/>
                <a:gd name="T16" fmla="*/ 0 60000 65536"/>
                <a:gd name="T17" fmla="*/ 0 60000 65536"/>
                <a:gd name="T18" fmla="*/ 0 60000 65536"/>
                <a:gd name="T19" fmla="*/ 0 60000 65536"/>
                <a:gd name="T20" fmla="*/ 0 60000 65536"/>
                <a:gd name="T21" fmla="*/ 0 w 53"/>
                <a:gd name="T22" fmla="*/ 0 h 44"/>
                <a:gd name="T23" fmla="*/ 53 w 53"/>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44">
                  <a:moveTo>
                    <a:pt x="0" y="19"/>
                  </a:moveTo>
                  <a:lnTo>
                    <a:pt x="18" y="0"/>
                  </a:lnTo>
                  <a:lnTo>
                    <a:pt x="46" y="21"/>
                  </a:lnTo>
                  <a:lnTo>
                    <a:pt x="53" y="41"/>
                  </a:lnTo>
                  <a:lnTo>
                    <a:pt x="14" y="44"/>
                  </a:lnTo>
                  <a:lnTo>
                    <a:pt x="2" y="32"/>
                  </a:lnTo>
                  <a:lnTo>
                    <a:pt x="0" y="19"/>
                  </a:lnTo>
                  <a:close/>
                </a:path>
              </a:pathLst>
            </a:custGeom>
            <a:grpFill/>
            <a:ln w="6350">
              <a:solidFill>
                <a:schemeClr val="accent5"/>
              </a:solidFill>
              <a:round/>
              <a:headEnd/>
              <a:tailEnd/>
            </a:ln>
          </p:spPr>
          <p:txBody>
            <a:bodyPr/>
            <a:lstStyle/>
            <a:p>
              <a:endParaRPr lang="en-US"/>
            </a:p>
          </p:txBody>
        </p:sp>
        <p:sp>
          <p:nvSpPr>
            <p:cNvPr id="125" name="Freeform 1195"/>
            <p:cNvSpPr>
              <a:spLocks/>
            </p:cNvSpPr>
            <p:nvPr/>
          </p:nvSpPr>
          <p:spPr bwMode="auto">
            <a:xfrm>
              <a:off x="3809597" y="2726972"/>
              <a:ext cx="22933" cy="22926"/>
            </a:xfrm>
            <a:custGeom>
              <a:avLst/>
              <a:gdLst>
                <a:gd name="T0" fmla="*/ 2147483647 w 47"/>
                <a:gd name="T1" fmla="*/ 2147483647 h 57"/>
                <a:gd name="T2" fmla="*/ 2147483647 w 47"/>
                <a:gd name="T3" fmla="*/ 2147483647 h 57"/>
                <a:gd name="T4" fmla="*/ 0 w 47"/>
                <a:gd name="T5" fmla="*/ 2147483647 h 57"/>
                <a:gd name="T6" fmla="*/ 2147483647 w 47"/>
                <a:gd name="T7" fmla="*/ 2147483647 h 57"/>
                <a:gd name="T8" fmla="*/ 2147483647 w 47"/>
                <a:gd name="T9" fmla="*/ 2147483647 h 57"/>
                <a:gd name="T10" fmla="*/ 2147483647 w 47"/>
                <a:gd name="T11" fmla="*/ 2147483647 h 57"/>
                <a:gd name="T12" fmla="*/ 2147483647 w 47"/>
                <a:gd name="T13" fmla="*/ 2147483647 h 57"/>
                <a:gd name="T14" fmla="*/ 2147483647 w 47"/>
                <a:gd name="T15" fmla="*/ 0 h 57"/>
                <a:gd name="T16" fmla="*/ 2147483647 w 47"/>
                <a:gd name="T17" fmla="*/ 2147483647 h 57"/>
                <a:gd name="T18" fmla="*/ 2147483647 w 47"/>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57"/>
                <a:gd name="T32" fmla="*/ 47 w 47"/>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57">
                  <a:moveTo>
                    <a:pt x="37" y="18"/>
                  </a:moveTo>
                  <a:lnTo>
                    <a:pt x="25" y="47"/>
                  </a:lnTo>
                  <a:lnTo>
                    <a:pt x="0" y="57"/>
                  </a:lnTo>
                  <a:lnTo>
                    <a:pt x="8" y="34"/>
                  </a:lnTo>
                  <a:lnTo>
                    <a:pt x="28" y="12"/>
                  </a:lnTo>
                  <a:lnTo>
                    <a:pt x="45" y="18"/>
                  </a:lnTo>
                  <a:lnTo>
                    <a:pt x="47" y="1"/>
                  </a:lnTo>
                  <a:lnTo>
                    <a:pt x="34" y="0"/>
                  </a:lnTo>
                  <a:lnTo>
                    <a:pt x="31" y="11"/>
                  </a:lnTo>
                  <a:lnTo>
                    <a:pt x="37" y="18"/>
                  </a:lnTo>
                  <a:close/>
                </a:path>
              </a:pathLst>
            </a:custGeom>
            <a:grpFill/>
            <a:ln w="6350">
              <a:solidFill>
                <a:schemeClr val="accent5"/>
              </a:solidFill>
              <a:round/>
              <a:headEnd/>
              <a:tailEnd/>
            </a:ln>
          </p:spPr>
          <p:txBody>
            <a:bodyPr/>
            <a:lstStyle/>
            <a:p>
              <a:endParaRPr lang="en-US"/>
            </a:p>
          </p:txBody>
        </p:sp>
        <p:sp>
          <p:nvSpPr>
            <p:cNvPr id="126" name="Freeform 1196"/>
            <p:cNvSpPr>
              <a:spLocks/>
            </p:cNvSpPr>
            <p:nvPr/>
          </p:nvSpPr>
          <p:spPr bwMode="auto">
            <a:xfrm>
              <a:off x="3789531" y="2705319"/>
              <a:ext cx="22933" cy="16557"/>
            </a:xfrm>
            <a:custGeom>
              <a:avLst/>
              <a:gdLst>
                <a:gd name="T0" fmla="*/ 2147483647 w 48"/>
                <a:gd name="T1" fmla="*/ 0 h 39"/>
                <a:gd name="T2" fmla="*/ 2147483647 w 48"/>
                <a:gd name="T3" fmla="*/ 2147483647 h 39"/>
                <a:gd name="T4" fmla="*/ 2147483647 w 48"/>
                <a:gd name="T5" fmla="*/ 2147483647 h 39"/>
                <a:gd name="T6" fmla="*/ 2147483647 w 48"/>
                <a:gd name="T7" fmla="*/ 2147483647 h 39"/>
                <a:gd name="T8" fmla="*/ 2147483647 w 48"/>
                <a:gd name="T9" fmla="*/ 2147483647 h 39"/>
                <a:gd name="T10" fmla="*/ 0 w 48"/>
                <a:gd name="T11" fmla="*/ 2147483647 h 39"/>
                <a:gd name="T12" fmla="*/ 2147483647 w 48"/>
                <a:gd name="T13" fmla="*/ 0 h 39"/>
                <a:gd name="T14" fmla="*/ 0 60000 65536"/>
                <a:gd name="T15" fmla="*/ 0 60000 65536"/>
                <a:gd name="T16" fmla="*/ 0 60000 65536"/>
                <a:gd name="T17" fmla="*/ 0 60000 65536"/>
                <a:gd name="T18" fmla="*/ 0 60000 65536"/>
                <a:gd name="T19" fmla="*/ 0 60000 65536"/>
                <a:gd name="T20" fmla="*/ 0 60000 65536"/>
                <a:gd name="T21" fmla="*/ 0 w 48"/>
                <a:gd name="T22" fmla="*/ 0 h 39"/>
                <a:gd name="T23" fmla="*/ 48 w 48"/>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9">
                  <a:moveTo>
                    <a:pt x="12" y="0"/>
                  </a:moveTo>
                  <a:lnTo>
                    <a:pt x="48" y="8"/>
                  </a:lnTo>
                  <a:lnTo>
                    <a:pt x="28" y="26"/>
                  </a:lnTo>
                  <a:lnTo>
                    <a:pt x="20" y="19"/>
                  </a:lnTo>
                  <a:lnTo>
                    <a:pt x="20" y="39"/>
                  </a:lnTo>
                  <a:lnTo>
                    <a:pt x="0" y="2"/>
                  </a:lnTo>
                  <a:lnTo>
                    <a:pt x="12" y="0"/>
                  </a:lnTo>
                  <a:close/>
                </a:path>
              </a:pathLst>
            </a:custGeom>
            <a:grpFill/>
            <a:ln w="6350">
              <a:solidFill>
                <a:schemeClr val="accent5"/>
              </a:solidFill>
              <a:round/>
              <a:headEnd/>
              <a:tailEnd/>
            </a:ln>
          </p:spPr>
          <p:txBody>
            <a:bodyPr/>
            <a:lstStyle/>
            <a:p>
              <a:endParaRPr lang="en-US"/>
            </a:p>
          </p:txBody>
        </p:sp>
        <p:sp>
          <p:nvSpPr>
            <p:cNvPr id="127" name="Freeform 1197"/>
            <p:cNvSpPr>
              <a:spLocks/>
            </p:cNvSpPr>
            <p:nvPr/>
          </p:nvSpPr>
          <p:spPr bwMode="auto">
            <a:xfrm>
              <a:off x="3829665" y="2993165"/>
              <a:ext cx="20066" cy="14010"/>
            </a:xfrm>
            <a:custGeom>
              <a:avLst/>
              <a:gdLst>
                <a:gd name="T0" fmla="*/ 0 w 41"/>
                <a:gd name="T1" fmla="*/ 2147483647 h 32"/>
                <a:gd name="T2" fmla="*/ 2147483647 w 41"/>
                <a:gd name="T3" fmla="*/ 0 h 32"/>
                <a:gd name="T4" fmla="*/ 2147483647 w 41"/>
                <a:gd name="T5" fmla="*/ 2147483647 h 32"/>
                <a:gd name="T6" fmla="*/ 2147483647 w 41"/>
                <a:gd name="T7" fmla="*/ 2147483647 h 32"/>
                <a:gd name="T8" fmla="*/ 0 w 41"/>
                <a:gd name="T9" fmla="*/ 2147483647 h 32"/>
                <a:gd name="T10" fmla="*/ 0 60000 65536"/>
                <a:gd name="T11" fmla="*/ 0 60000 65536"/>
                <a:gd name="T12" fmla="*/ 0 60000 65536"/>
                <a:gd name="T13" fmla="*/ 0 60000 65536"/>
                <a:gd name="T14" fmla="*/ 0 60000 65536"/>
                <a:gd name="T15" fmla="*/ 0 w 41"/>
                <a:gd name="T16" fmla="*/ 0 h 32"/>
                <a:gd name="T17" fmla="*/ 41 w 41"/>
                <a:gd name="T18" fmla="*/ 32 h 32"/>
              </a:gdLst>
              <a:ahLst/>
              <a:cxnLst>
                <a:cxn ang="T10">
                  <a:pos x="T0" y="T1"/>
                </a:cxn>
                <a:cxn ang="T11">
                  <a:pos x="T2" y="T3"/>
                </a:cxn>
                <a:cxn ang="T12">
                  <a:pos x="T4" y="T5"/>
                </a:cxn>
                <a:cxn ang="T13">
                  <a:pos x="T6" y="T7"/>
                </a:cxn>
                <a:cxn ang="T14">
                  <a:pos x="T8" y="T9"/>
                </a:cxn>
              </a:cxnLst>
              <a:rect l="T15" t="T16" r="T17" b="T18"/>
              <a:pathLst>
                <a:path w="41" h="32">
                  <a:moveTo>
                    <a:pt x="0" y="2"/>
                  </a:moveTo>
                  <a:lnTo>
                    <a:pt x="32" y="0"/>
                  </a:lnTo>
                  <a:lnTo>
                    <a:pt x="41" y="20"/>
                  </a:lnTo>
                  <a:lnTo>
                    <a:pt x="28" y="32"/>
                  </a:lnTo>
                  <a:lnTo>
                    <a:pt x="0" y="2"/>
                  </a:lnTo>
                  <a:close/>
                </a:path>
              </a:pathLst>
            </a:custGeom>
            <a:grpFill/>
            <a:ln w="6350">
              <a:solidFill>
                <a:schemeClr val="accent5"/>
              </a:solidFill>
              <a:round/>
              <a:headEnd/>
              <a:tailEnd/>
            </a:ln>
          </p:spPr>
          <p:txBody>
            <a:bodyPr/>
            <a:lstStyle/>
            <a:p>
              <a:endParaRPr lang="en-US"/>
            </a:p>
          </p:txBody>
        </p:sp>
        <p:sp>
          <p:nvSpPr>
            <p:cNvPr id="128" name="Freeform 1198"/>
            <p:cNvSpPr>
              <a:spLocks/>
            </p:cNvSpPr>
            <p:nvPr/>
          </p:nvSpPr>
          <p:spPr bwMode="auto">
            <a:xfrm>
              <a:off x="3852598" y="2982977"/>
              <a:ext cx="14334" cy="11462"/>
            </a:xfrm>
            <a:custGeom>
              <a:avLst/>
              <a:gdLst>
                <a:gd name="T0" fmla="*/ 0 w 32"/>
                <a:gd name="T1" fmla="*/ 0 h 27"/>
                <a:gd name="T2" fmla="*/ 2147483647 w 32"/>
                <a:gd name="T3" fmla="*/ 2147483647 h 27"/>
                <a:gd name="T4" fmla="*/ 2147483647 w 32"/>
                <a:gd name="T5" fmla="*/ 2147483647 h 27"/>
                <a:gd name="T6" fmla="*/ 2147483647 w 32"/>
                <a:gd name="T7" fmla="*/ 2147483647 h 27"/>
                <a:gd name="T8" fmla="*/ 0 w 32"/>
                <a:gd name="T9" fmla="*/ 0 h 27"/>
                <a:gd name="T10" fmla="*/ 0 60000 65536"/>
                <a:gd name="T11" fmla="*/ 0 60000 65536"/>
                <a:gd name="T12" fmla="*/ 0 60000 65536"/>
                <a:gd name="T13" fmla="*/ 0 60000 65536"/>
                <a:gd name="T14" fmla="*/ 0 60000 65536"/>
                <a:gd name="T15" fmla="*/ 0 w 32"/>
                <a:gd name="T16" fmla="*/ 0 h 27"/>
                <a:gd name="T17" fmla="*/ 32 w 32"/>
                <a:gd name="T18" fmla="*/ 27 h 27"/>
              </a:gdLst>
              <a:ahLst/>
              <a:cxnLst>
                <a:cxn ang="T10">
                  <a:pos x="T0" y="T1"/>
                </a:cxn>
                <a:cxn ang="T11">
                  <a:pos x="T2" y="T3"/>
                </a:cxn>
                <a:cxn ang="T12">
                  <a:pos x="T4" y="T5"/>
                </a:cxn>
                <a:cxn ang="T13">
                  <a:pos x="T6" y="T7"/>
                </a:cxn>
                <a:cxn ang="T14">
                  <a:pos x="T8" y="T9"/>
                </a:cxn>
              </a:cxnLst>
              <a:rect l="T15" t="T16" r="T17" b="T18"/>
              <a:pathLst>
                <a:path w="32" h="27">
                  <a:moveTo>
                    <a:pt x="0" y="0"/>
                  </a:moveTo>
                  <a:lnTo>
                    <a:pt x="28" y="12"/>
                  </a:lnTo>
                  <a:lnTo>
                    <a:pt x="32" y="27"/>
                  </a:lnTo>
                  <a:lnTo>
                    <a:pt x="14" y="22"/>
                  </a:lnTo>
                  <a:lnTo>
                    <a:pt x="0" y="0"/>
                  </a:lnTo>
                  <a:close/>
                </a:path>
              </a:pathLst>
            </a:custGeom>
            <a:grpFill/>
            <a:ln w="6350">
              <a:solidFill>
                <a:schemeClr val="accent5"/>
              </a:solidFill>
              <a:round/>
              <a:headEnd/>
              <a:tailEnd/>
            </a:ln>
          </p:spPr>
          <p:txBody>
            <a:bodyPr/>
            <a:lstStyle/>
            <a:p>
              <a:endParaRPr lang="en-US"/>
            </a:p>
          </p:txBody>
        </p:sp>
        <p:sp>
          <p:nvSpPr>
            <p:cNvPr id="129" name="Freeform 1199"/>
            <p:cNvSpPr>
              <a:spLocks/>
            </p:cNvSpPr>
            <p:nvPr/>
          </p:nvSpPr>
          <p:spPr bwMode="auto">
            <a:xfrm>
              <a:off x="3557329" y="1589601"/>
              <a:ext cx="624936" cy="723435"/>
            </a:xfrm>
            <a:custGeom>
              <a:avLst/>
              <a:gdLst>
                <a:gd name="T0" fmla="*/ 2147483647 w 1329"/>
                <a:gd name="T1" fmla="*/ 2147483647 h 1734"/>
                <a:gd name="T2" fmla="*/ 2147483647 w 1329"/>
                <a:gd name="T3" fmla="*/ 2147483647 h 1734"/>
                <a:gd name="T4" fmla="*/ 2147483647 w 1329"/>
                <a:gd name="T5" fmla="*/ 2147483647 h 1734"/>
                <a:gd name="T6" fmla="*/ 2147483647 w 1329"/>
                <a:gd name="T7" fmla="*/ 2147483647 h 1734"/>
                <a:gd name="T8" fmla="*/ 2147483647 w 1329"/>
                <a:gd name="T9" fmla="*/ 2147483647 h 1734"/>
                <a:gd name="T10" fmla="*/ 2147483647 w 1329"/>
                <a:gd name="T11" fmla="*/ 2147483647 h 1734"/>
                <a:gd name="T12" fmla="*/ 2147483647 w 1329"/>
                <a:gd name="T13" fmla="*/ 2147483647 h 1734"/>
                <a:gd name="T14" fmla="*/ 2147483647 w 1329"/>
                <a:gd name="T15" fmla="*/ 2147483647 h 1734"/>
                <a:gd name="T16" fmla="*/ 2147483647 w 1329"/>
                <a:gd name="T17" fmla="*/ 2147483647 h 1734"/>
                <a:gd name="T18" fmla="*/ 2147483647 w 1329"/>
                <a:gd name="T19" fmla="*/ 2147483647 h 1734"/>
                <a:gd name="T20" fmla="*/ 2147483647 w 1329"/>
                <a:gd name="T21" fmla="*/ 2147483647 h 1734"/>
                <a:gd name="T22" fmla="*/ 2147483647 w 1329"/>
                <a:gd name="T23" fmla="*/ 2147483647 h 1734"/>
                <a:gd name="T24" fmla="*/ 2147483647 w 1329"/>
                <a:gd name="T25" fmla="*/ 2147483647 h 1734"/>
                <a:gd name="T26" fmla="*/ 2147483647 w 1329"/>
                <a:gd name="T27" fmla="*/ 2147483647 h 1734"/>
                <a:gd name="T28" fmla="*/ 2147483647 w 1329"/>
                <a:gd name="T29" fmla="*/ 2147483647 h 1734"/>
                <a:gd name="T30" fmla="*/ 2147483647 w 1329"/>
                <a:gd name="T31" fmla="*/ 2147483647 h 1734"/>
                <a:gd name="T32" fmla="*/ 2147483647 w 1329"/>
                <a:gd name="T33" fmla="*/ 2147483647 h 1734"/>
                <a:gd name="T34" fmla="*/ 2147483647 w 1329"/>
                <a:gd name="T35" fmla="*/ 2147483647 h 1734"/>
                <a:gd name="T36" fmla="*/ 2147483647 w 1329"/>
                <a:gd name="T37" fmla="*/ 2147483647 h 1734"/>
                <a:gd name="T38" fmla="*/ 2147483647 w 1329"/>
                <a:gd name="T39" fmla="*/ 2147483647 h 1734"/>
                <a:gd name="T40" fmla="*/ 2147483647 w 1329"/>
                <a:gd name="T41" fmla="*/ 2147483647 h 1734"/>
                <a:gd name="T42" fmla="*/ 2147483647 w 1329"/>
                <a:gd name="T43" fmla="*/ 2147483647 h 1734"/>
                <a:gd name="T44" fmla="*/ 2147483647 w 1329"/>
                <a:gd name="T45" fmla="*/ 2147483647 h 1734"/>
                <a:gd name="T46" fmla="*/ 2147483647 w 1329"/>
                <a:gd name="T47" fmla="*/ 2147483647 h 1734"/>
                <a:gd name="T48" fmla="*/ 2147483647 w 1329"/>
                <a:gd name="T49" fmla="*/ 2147483647 h 1734"/>
                <a:gd name="T50" fmla="*/ 2147483647 w 1329"/>
                <a:gd name="T51" fmla="*/ 2147483647 h 1734"/>
                <a:gd name="T52" fmla="*/ 2147483647 w 1329"/>
                <a:gd name="T53" fmla="*/ 2147483647 h 1734"/>
                <a:gd name="T54" fmla="*/ 2147483647 w 1329"/>
                <a:gd name="T55" fmla="*/ 2147483647 h 1734"/>
                <a:gd name="T56" fmla="*/ 2147483647 w 1329"/>
                <a:gd name="T57" fmla="*/ 2147483647 h 1734"/>
                <a:gd name="T58" fmla="*/ 2147483647 w 1329"/>
                <a:gd name="T59" fmla="*/ 2147483647 h 1734"/>
                <a:gd name="T60" fmla="*/ 2147483647 w 1329"/>
                <a:gd name="T61" fmla="*/ 2147483647 h 1734"/>
                <a:gd name="T62" fmla="*/ 2147483647 w 1329"/>
                <a:gd name="T63" fmla="*/ 2147483647 h 1734"/>
                <a:gd name="T64" fmla="*/ 2147483647 w 1329"/>
                <a:gd name="T65" fmla="*/ 2147483647 h 1734"/>
                <a:gd name="T66" fmla="*/ 2147483647 w 1329"/>
                <a:gd name="T67" fmla="*/ 2147483647 h 1734"/>
                <a:gd name="T68" fmla="*/ 2147483647 w 1329"/>
                <a:gd name="T69" fmla="*/ 2147483647 h 1734"/>
                <a:gd name="T70" fmla="*/ 2147483647 w 1329"/>
                <a:gd name="T71" fmla="*/ 2147483647 h 1734"/>
                <a:gd name="T72" fmla="*/ 2147483647 w 1329"/>
                <a:gd name="T73" fmla="*/ 2147483647 h 1734"/>
                <a:gd name="T74" fmla="*/ 2147483647 w 1329"/>
                <a:gd name="T75" fmla="*/ 2147483647 h 1734"/>
                <a:gd name="T76" fmla="*/ 2147483647 w 1329"/>
                <a:gd name="T77" fmla="*/ 2147483647 h 1734"/>
                <a:gd name="T78" fmla="*/ 2147483647 w 1329"/>
                <a:gd name="T79" fmla="*/ 2147483647 h 1734"/>
                <a:gd name="T80" fmla="*/ 2147483647 w 1329"/>
                <a:gd name="T81" fmla="*/ 2147483647 h 1734"/>
                <a:gd name="T82" fmla="*/ 2147483647 w 1329"/>
                <a:gd name="T83" fmla="*/ 2147483647 h 1734"/>
                <a:gd name="T84" fmla="*/ 2147483647 w 1329"/>
                <a:gd name="T85" fmla="*/ 2147483647 h 1734"/>
                <a:gd name="T86" fmla="*/ 2147483647 w 1329"/>
                <a:gd name="T87" fmla="*/ 2147483647 h 1734"/>
                <a:gd name="T88" fmla="*/ 2147483647 w 1329"/>
                <a:gd name="T89" fmla="*/ 2147483647 h 1734"/>
                <a:gd name="T90" fmla="*/ 2147483647 w 1329"/>
                <a:gd name="T91" fmla="*/ 2147483647 h 1734"/>
                <a:gd name="T92" fmla="*/ 2147483647 w 1329"/>
                <a:gd name="T93" fmla="*/ 2147483647 h 1734"/>
                <a:gd name="T94" fmla="*/ 2147483647 w 1329"/>
                <a:gd name="T95" fmla="*/ 2147483647 h 1734"/>
                <a:gd name="T96" fmla="*/ 2147483647 w 1329"/>
                <a:gd name="T97" fmla="*/ 2147483647 h 1734"/>
                <a:gd name="T98" fmla="*/ 2147483647 w 1329"/>
                <a:gd name="T99" fmla="*/ 2147483647 h 1734"/>
                <a:gd name="T100" fmla="*/ 2147483647 w 1329"/>
                <a:gd name="T101" fmla="*/ 2147483647 h 1734"/>
                <a:gd name="T102" fmla="*/ 2147483647 w 1329"/>
                <a:gd name="T103" fmla="*/ 2147483647 h 1734"/>
                <a:gd name="T104" fmla="*/ 2147483647 w 1329"/>
                <a:gd name="T105" fmla="*/ 2147483647 h 1734"/>
                <a:gd name="T106" fmla="*/ 2147483647 w 1329"/>
                <a:gd name="T107" fmla="*/ 2147483647 h 1734"/>
                <a:gd name="T108" fmla="*/ 2147483647 w 1329"/>
                <a:gd name="T109" fmla="*/ 2147483647 h 173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29"/>
                <a:gd name="T166" fmla="*/ 0 h 1734"/>
                <a:gd name="T167" fmla="*/ 1329 w 1329"/>
                <a:gd name="T168" fmla="*/ 1734 h 173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29" h="1734">
                  <a:moveTo>
                    <a:pt x="227" y="1696"/>
                  </a:moveTo>
                  <a:lnTo>
                    <a:pt x="280" y="1718"/>
                  </a:lnTo>
                  <a:lnTo>
                    <a:pt x="316" y="1712"/>
                  </a:lnTo>
                  <a:lnTo>
                    <a:pt x="292" y="1678"/>
                  </a:lnTo>
                  <a:lnTo>
                    <a:pt x="291" y="1661"/>
                  </a:lnTo>
                  <a:lnTo>
                    <a:pt x="312" y="1685"/>
                  </a:lnTo>
                  <a:lnTo>
                    <a:pt x="326" y="1672"/>
                  </a:lnTo>
                  <a:lnTo>
                    <a:pt x="326" y="1647"/>
                  </a:lnTo>
                  <a:lnTo>
                    <a:pt x="360" y="1687"/>
                  </a:lnTo>
                  <a:lnTo>
                    <a:pt x="371" y="1680"/>
                  </a:lnTo>
                  <a:lnTo>
                    <a:pt x="372" y="1661"/>
                  </a:lnTo>
                  <a:lnTo>
                    <a:pt x="381" y="1685"/>
                  </a:lnTo>
                  <a:lnTo>
                    <a:pt x="394" y="1695"/>
                  </a:lnTo>
                  <a:lnTo>
                    <a:pt x="415" y="1688"/>
                  </a:lnTo>
                  <a:lnTo>
                    <a:pt x="420" y="1669"/>
                  </a:lnTo>
                  <a:lnTo>
                    <a:pt x="403" y="1638"/>
                  </a:lnTo>
                  <a:lnTo>
                    <a:pt x="424" y="1648"/>
                  </a:lnTo>
                  <a:lnTo>
                    <a:pt x="431" y="1675"/>
                  </a:lnTo>
                  <a:lnTo>
                    <a:pt x="468" y="1674"/>
                  </a:lnTo>
                  <a:lnTo>
                    <a:pt x="475" y="1697"/>
                  </a:lnTo>
                  <a:lnTo>
                    <a:pt x="466" y="1724"/>
                  </a:lnTo>
                  <a:lnTo>
                    <a:pt x="470" y="1734"/>
                  </a:lnTo>
                  <a:lnTo>
                    <a:pt x="527" y="1710"/>
                  </a:lnTo>
                  <a:lnTo>
                    <a:pt x="558" y="1661"/>
                  </a:lnTo>
                  <a:lnTo>
                    <a:pt x="562" y="1684"/>
                  </a:lnTo>
                  <a:lnTo>
                    <a:pt x="598" y="1654"/>
                  </a:lnTo>
                  <a:lnTo>
                    <a:pt x="603" y="1621"/>
                  </a:lnTo>
                  <a:lnTo>
                    <a:pt x="593" y="1583"/>
                  </a:lnTo>
                  <a:lnTo>
                    <a:pt x="562" y="1611"/>
                  </a:lnTo>
                  <a:lnTo>
                    <a:pt x="538" y="1587"/>
                  </a:lnTo>
                  <a:lnTo>
                    <a:pt x="545" y="1578"/>
                  </a:lnTo>
                  <a:lnTo>
                    <a:pt x="558" y="1562"/>
                  </a:lnTo>
                  <a:lnTo>
                    <a:pt x="539" y="1540"/>
                  </a:lnTo>
                  <a:lnTo>
                    <a:pt x="503" y="1565"/>
                  </a:lnTo>
                  <a:lnTo>
                    <a:pt x="499" y="1565"/>
                  </a:lnTo>
                  <a:lnTo>
                    <a:pt x="508" y="1540"/>
                  </a:lnTo>
                  <a:lnTo>
                    <a:pt x="474" y="1534"/>
                  </a:lnTo>
                  <a:lnTo>
                    <a:pt x="436" y="1564"/>
                  </a:lnTo>
                  <a:lnTo>
                    <a:pt x="426" y="1530"/>
                  </a:lnTo>
                  <a:lnTo>
                    <a:pt x="462" y="1523"/>
                  </a:lnTo>
                  <a:lnTo>
                    <a:pt x="448" y="1509"/>
                  </a:lnTo>
                  <a:lnTo>
                    <a:pt x="445" y="1489"/>
                  </a:lnTo>
                  <a:lnTo>
                    <a:pt x="492" y="1528"/>
                  </a:lnTo>
                  <a:lnTo>
                    <a:pt x="590" y="1513"/>
                  </a:lnTo>
                  <a:lnTo>
                    <a:pt x="601" y="1471"/>
                  </a:lnTo>
                  <a:lnTo>
                    <a:pt x="615" y="1461"/>
                  </a:lnTo>
                  <a:lnTo>
                    <a:pt x="600" y="1446"/>
                  </a:lnTo>
                  <a:lnTo>
                    <a:pt x="601" y="1431"/>
                  </a:lnTo>
                  <a:lnTo>
                    <a:pt x="591" y="1414"/>
                  </a:lnTo>
                  <a:lnTo>
                    <a:pt x="590" y="1388"/>
                  </a:lnTo>
                  <a:lnTo>
                    <a:pt x="687" y="1392"/>
                  </a:lnTo>
                  <a:lnTo>
                    <a:pt x="704" y="1357"/>
                  </a:lnTo>
                  <a:lnTo>
                    <a:pt x="701" y="1344"/>
                  </a:lnTo>
                  <a:lnTo>
                    <a:pt x="728" y="1307"/>
                  </a:lnTo>
                  <a:lnTo>
                    <a:pt x="671" y="1274"/>
                  </a:lnTo>
                  <a:lnTo>
                    <a:pt x="745" y="1251"/>
                  </a:lnTo>
                  <a:lnTo>
                    <a:pt x="740" y="1245"/>
                  </a:lnTo>
                  <a:lnTo>
                    <a:pt x="740" y="1200"/>
                  </a:lnTo>
                  <a:lnTo>
                    <a:pt x="731" y="1191"/>
                  </a:lnTo>
                  <a:lnTo>
                    <a:pt x="677" y="1188"/>
                  </a:lnTo>
                  <a:lnTo>
                    <a:pt x="695" y="1171"/>
                  </a:lnTo>
                  <a:lnTo>
                    <a:pt x="690" y="1160"/>
                  </a:lnTo>
                  <a:lnTo>
                    <a:pt x="610" y="1180"/>
                  </a:lnTo>
                  <a:lnTo>
                    <a:pt x="619" y="1158"/>
                  </a:lnTo>
                  <a:lnTo>
                    <a:pt x="608" y="1150"/>
                  </a:lnTo>
                  <a:lnTo>
                    <a:pt x="608" y="1125"/>
                  </a:lnTo>
                  <a:lnTo>
                    <a:pt x="676" y="1117"/>
                  </a:lnTo>
                  <a:lnTo>
                    <a:pt x="697" y="1148"/>
                  </a:lnTo>
                  <a:lnTo>
                    <a:pt x="745" y="1158"/>
                  </a:lnTo>
                  <a:lnTo>
                    <a:pt x="751" y="1137"/>
                  </a:lnTo>
                  <a:lnTo>
                    <a:pt x="741" y="1122"/>
                  </a:lnTo>
                  <a:lnTo>
                    <a:pt x="750" y="1109"/>
                  </a:lnTo>
                  <a:lnTo>
                    <a:pt x="629" y="1100"/>
                  </a:lnTo>
                  <a:lnTo>
                    <a:pt x="638" y="1088"/>
                  </a:lnTo>
                  <a:lnTo>
                    <a:pt x="629" y="1064"/>
                  </a:lnTo>
                  <a:lnTo>
                    <a:pt x="635" y="1062"/>
                  </a:lnTo>
                  <a:lnTo>
                    <a:pt x="641" y="1044"/>
                  </a:lnTo>
                  <a:lnTo>
                    <a:pt x="725" y="1074"/>
                  </a:lnTo>
                  <a:lnTo>
                    <a:pt x="730" y="1068"/>
                  </a:lnTo>
                  <a:lnTo>
                    <a:pt x="728" y="1054"/>
                  </a:lnTo>
                  <a:lnTo>
                    <a:pt x="790" y="1044"/>
                  </a:lnTo>
                  <a:lnTo>
                    <a:pt x="793" y="1031"/>
                  </a:lnTo>
                  <a:lnTo>
                    <a:pt x="786" y="994"/>
                  </a:lnTo>
                  <a:lnTo>
                    <a:pt x="796" y="983"/>
                  </a:lnTo>
                  <a:lnTo>
                    <a:pt x="796" y="1003"/>
                  </a:lnTo>
                  <a:lnTo>
                    <a:pt x="808" y="1010"/>
                  </a:lnTo>
                  <a:lnTo>
                    <a:pt x="856" y="1007"/>
                  </a:lnTo>
                  <a:lnTo>
                    <a:pt x="889" y="969"/>
                  </a:lnTo>
                  <a:lnTo>
                    <a:pt x="871" y="957"/>
                  </a:lnTo>
                  <a:lnTo>
                    <a:pt x="911" y="911"/>
                  </a:lnTo>
                  <a:lnTo>
                    <a:pt x="832" y="922"/>
                  </a:lnTo>
                  <a:lnTo>
                    <a:pt x="845" y="902"/>
                  </a:lnTo>
                  <a:lnTo>
                    <a:pt x="931" y="887"/>
                  </a:lnTo>
                  <a:lnTo>
                    <a:pt x="911" y="842"/>
                  </a:lnTo>
                  <a:lnTo>
                    <a:pt x="918" y="817"/>
                  </a:lnTo>
                  <a:lnTo>
                    <a:pt x="922" y="850"/>
                  </a:lnTo>
                  <a:lnTo>
                    <a:pt x="958" y="837"/>
                  </a:lnTo>
                  <a:lnTo>
                    <a:pt x="976" y="782"/>
                  </a:lnTo>
                  <a:lnTo>
                    <a:pt x="1006" y="741"/>
                  </a:lnTo>
                  <a:lnTo>
                    <a:pt x="1181" y="542"/>
                  </a:lnTo>
                  <a:lnTo>
                    <a:pt x="1182" y="510"/>
                  </a:lnTo>
                  <a:lnTo>
                    <a:pt x="1134" y="524"/>
                  </a:lnTo>
                  <a:lnTo>
                    <a:pt x="935" y="647"/>
                  </a:lnTo>
                  <a:lnTo>
                    <a:pt x="941" y="629"/>
                  </a:lnTo>
                  <a:lnTo>
                    <a:pt x="937" y="622"/>
                  </a:lnTo>
                  <a:lnTo>
                    <a:pt x="1076" y="519"/>
                  </a:lnTo>
                  <a:lnTo>
                    <a:pt x="986" y="526"/>
                  </a:lnTo>
                  <a:lnTo>
                    <a:pt x="986" y="505"/>
                  </a:lnTo>
                  <a:lnTo>
                    <a:pt x="1003" y="504"/>
                  </a:lnTo>
                  <a:lnTo>
                    <a:pt x="1012" y="502"/>
                  </a:lnTo>
                  <a:lnTo>
                    <a:pt x="1204" y="447"/>
                  </a:lnTo>
                  <a:lnTo>
                    <a:pt x="1324" y="305"/>
                  </a:lnTo>
                  <a:lnTo>
                    <a:pt x="1329" y="260"/>
                  </a:lnTo>
                  <a:lnTo>
                    <a:pt x="1319" y="233"/>
                  </a:lnTo>
                  <a:lnTo>
                    <a:pt x="1277" y="208"/>
                  </a:lnTo>
                  <a:lnTo>
                    <a:pt x="1234" y="237"/>
                  </a:lnTo>
                  <a:lnTo>
                    <a:pt x="1248" y="189"/>
                  </a:lnTo>
                  <a:lnTo>
                    <a:pt x="1208" y="131"/>
                  </a:lnTo>
                  <a:lnTo>
                    <a:pt x="1217" y="122"/>
                  </a:lnTo>
                  <a:lnTo>
                    <a:pt x="1215" y="89"/>
                  </a:lnTo>
                  <a:lnTo>
                    <a:pt x="1180" y="114"/>
                  </a:lnTo>
                  <a:lnTo>
                    <a:pt x="1162" y="68"/>
                  </a:lnTo>
                  <a:lnTo>
                    <a:pt x="1134" y="106"/>
                  </a:lnTo>
                  <a:lnTo>
                    <a:pt x="1143" y="122"/>
                  </a:lnTo>
                  <a:lnTo>
                    <a:pt x="1139" y="131"/>
                  </a:lnTo>
                  <a:lnTo>
                    <a:pt x="1118" y="91"/>
                  </a:lnTo>
                  <a:lnTo>
                    <a:pt x="988" y="174"/>
                  </a:lnTo>
                  <a:lnTo>
                    <a:pt x="1087" y="56"/>
                  </a:lnTo>
                  <a:lnTo>
                    <a:pt x="964" y="54"/>
                  </a:lnTo>
                  <a:lnTo>
                    <a:pt x="920" y="0"/>
                  </a:lnTo>
                  <a:lnTo>
                    <a:pt x="853" y="41"/>
                  </a:lnTo>
                  <a:lnTo>
                    <a:pt x="822" y="1"/>
                  </a:lnTo>
                  <a:lnTo>
                    <a:pt x="788" y="8"/>
                  </a:lnTo>
                  <a:lnTo>
                    <a:pt x="761" y="63"/>
                  </a:lnTo>
                  <a:lnTo>
                    <a:pt x="785" y="127"/>
                  </a:lnTo>
                  <a:lnTo>
                    <a:pt x="725" y="34"/>
                  </a:lnTo>
                  <a:lnTo>
                    <a:pt x="593" y="38"/>
                  </a:lnTo>
                  <a:lnTo>
                    <a:pt x="690" y="193"/>
                  </a:lnTo>
                  <a:lnTo>
                    <a:pt x="657" y="237"/>
                  </a:lnTo>
                  <a:lnTo>
                    <a:pt x="663" y="202"/>
                  </a:lnTo>
                  <a:lnTo>
                    <a:pt x="659" y="181"/>
                  </a:lnTo>
                  <a:lnTo>
                    <a:pt x="607" y="86"/>
                  </a:lnTo>
                  <a:lnTo>
                    <a:pt x="482" y="58"/>
                  </a:lnTo>
                  <a:lnTo>
                    <a:pt x="466" y="82"/>
                  </a:lnTo>
                  <a:lnTo>
                    <a:pt x="508" y="148"/>
                  </a:lnTo>
                  <a:lnTo>
                    <a:pt x="417" y="120"/>
                  </a:lnTo>
                  <a:lnTo>
                    <a:pt x="464" y="218"/>
                  </a:lnTo>
                  <a:lnTo>
                    <a:pt x="388" y="168"/>
                  </a:lnTo>
                  <a:lnTo>
                    <a:pt x="377" y="194"/>
                  </a:lnTo>
                  <a:lnTo>
                    <a:pt x="411" y="219"/>
                  </a:lnTo>
                  <a:lnTo>
                    <a:pt x="365" y="241"/>
                  </a:lnTo>
                  <a:lnTo>
                    <a:pt x="371" y="274"/>
                  </a:lnTo>
                  <a:lnTo>
                    <a:pt x="457" y="335"/>
                  </a:lnTo>
                  <a:lnTo>
                    <a:pt x="450" y="356"/>
                  </a:lnTo>
                  <a:lnTo>
                    <a:pt x="371" y="289"/>
                  </a:lnTo>
                  <a:lnTo>
                    <a:pt x="352" y="301"/>
                  </a:lnTo>
                  <a:lnTo>
                    <a:pt x="380" y="346"/>
                  </a:lnTo>
                  <a:lnTo>
                    <a:pt x="351" y="345"/>
                  </a:lnTo>
                  <a:lnTo>
                    <a:pt x="352" y="325"/>
                  </a:lnTo>
                  <a:lnTo>
                    <a:pt x="337" y="277"/>
                  </a:lnTo>
                  <a:lnTo>
                    <a:pt x="264" y="228"/>
                  </a:lnTo>
                  <a:lnTo>
                    <a:pt x="235" y="243"/>
                  </a:lnTo>
                  <a:lnTo>
                    <a:pt x="253" y="274"/>
                  </a:lnTo>
                  <a:lnTo>
                    <a:pt x="250" y="291"/>
                  </a:lnTo>
                  <a:lnTo>
                    <a:pt x="202" y="321"/>
                  </a:lnTo>
                  <a:lnTo>
                    <a:pt x="291" y="366"/>
                  </a:lnTo>
                  <a:lnTo>
                    <a:pt x="284" y="371"/>
                  </a:lnTo>
                  <a:lnTo>
                    <a:pt x="286" y="388"/>
                  </a:lnTo>
                  <a:lnTo>
                    <a:pt x="258" y="370"/>
                  </a:lnTo>
                  <a:lnTo>
                    <a:pt x="263" y="401"/>
                  </a:lnTo>
                  <a:lnTo>
                    <a:pt x="226" y="355"/>
                  </a:lnTo>
                  <a:lnTo>
                    <a:pt x="205" y="358"/>
                  </a:lnTo>
                  <a:lnTo>
                    <a:pt x="199" y="377"/>
                  </a:lnTo>
                  <a:lnTo>
                    <a:pt x="201" y="394"/>
                  </a:lnTo>
                  <a:lnTo>
                    <a:pt x="188" y="355"/>
                  </a:lnTo>
                  <a:lnTo>
                    <a:pt x="148" y="339"/>
                  </a:lnTo>
                  <a:lnTo>
                    <a:pt x="106" y="380"/>
                  </a:lnTo>
                  <a:lnTo>
                    <a:pt x="119" y="415"/>
                  </a:lnTo>
                  <a:lnTo>
                    <a:pt x="102" y="396"/>
                  </a:lnTo>
                  <a:lnTo>
                    <a:pt x="103" y="435"/>
                  </a:lnTo>
                  <a:lnTo>
                    <a:pt x="80" y="399"/>
                  </a:lnTo>
                  <a:lnTo>
                    <a:pt x="12" y="451"/>
                  </a:lnTo>
                  <a:lnTo>
                    <a:pt x="0" y="484"/>
                  </a:lnTo>
                  <a:lnTo>
                    <a:pt x="30" y="514"/>
                  </a:lnTo>
                  <a:lnTo>
                    <a:pt x="86" y="469"/>
                  </a:lnTo>
                  <a:lnTo>
                    <a:pt x="113" y="492"/>
                  </a:lnTo>
                  <a:lnTo>
                    <a:pt x="59" y="545"/>
                  </a:lnTo>
                  <a:lnTo>
                    <a:pt x="75" y="567"/>
                  </a:lnTo>
                  <a:lnTo>
                    <a:pt x="169" y="502"/>
                  </a:lnTo>
                  <a:lnTo>
                    <a:pt x="168" y="520"/>
                  </a:lnTo>
                  <a:lnTo>
                    <a:pt x="98" y="574"/>
                  </a:lnTo>
                  <a:lnTo>
                    <a:pt x="140" y="595"/>
                  </a:lnTo>
                  <a:lnTo>
                    <a:pt x="92" y="609"/>
                  </a:lnTo>
                  <a:lnTo>
                    <a:pt x="91" y="645"/>
                  </a:lnTo>
                  <a:lnTo>
                    <a:pt x="108" y="662"/>
                  </a:lnTo>
                  <a:lnTo>
                    <a:pt x="207" y="653"/>
                  </a:lnTo>
                  <a:lnTo>
                    <a:pt x="236" y="668"/>
                  </a:lnTo>
                  <a:lnTo>
                    <a:pt x="116" y="697"/>
                  </a:lnTo>
                  <a:lnTo>
                    <a:pt x="215" y="780"/>
                  </a:lnTo>
                  <a:lnTo>
                    <a:pt x="245" y="703"/>
                  </a:lnTo>
                  <a:lnTo>
                    <a:pt x="283" y="658"/>
                  </a:lnTo>
                  <a:lnTo>
                    <a:pt x="280" y="680"/>
                  </a:lnTo>
                  <a:lnTo>
                    <a:pt x="244" y="759"/>
                  </a:lnTo>
                  <a:lnTo>
                    <a:pt x="243" y="783"/>
                  </a:lnTo>
                  <a:lnTo>
                    <a:pt x="262" y="794"/>
                  </a:lnTo>
                  <a:lnTo>
                    <a:pt x="294" y="773"/>
                  </a:lnTo>
                  <a:lnTo>
                    <a:pt x="288" y="798"/>
                  </a:lnTo>
                  <a:lnTo>
                    <a:pt x="331" y="805"/>
                  </a:lnTo>
                  <a:lnTo>
                    <a:pt x="341" y="780"/>
                  </a:lnTo>
                  <a:lnTo>
                    <a:pt x="337" y="754"/>
                  </a:lnTo>
                  <a:lnTo>
                    <a:pt x="357" y="726"/>
                  </a:lnTo>
                  <a:lnTo>
                    <a:pt x="349" y="766"/>
                  </a:lnTo>
                  <a:lnTo>
                    <a:pt x="367" y="768"/>
                  </a:lnTo>
                  <a:lnTo>
                    <a:pt x="422" y="691"/>
                  </a:lnTo>
                  <a:lnTo>
                    <a:pt x="418" y="703"/>
                  </a:lnTo>
                  <a:lnTo>
                    <a:pt x="420" y="724"/>
                  </a:lnTo>
                  <a:lnTo>
                    <a:pt x="433" y="720"/>
                  </a:lnTo>
                  <a:lnTo>
                    <a:pt x="363" y="781"/>
                  </a:lnTo>
                  <a:lnTo>
                    <a:pt x="375" y="807"/>
                  </a:lnTo>
                  <a:lnTo>
                    <a:pt x="516" y="716"/>
                  </a:lnTo>
                  <a:lnTo>
                    <a:pt x="530" y="684"/>
                  </a:lnTo>
                  <a:lnTo>
                    <a:pt x="522" y="678"/>
                  </a:lnTo>
                  <a:lnTo>
                    <a:pt x="529" y="646"/>
                  </a:lnTo>
                  <a:lnTo>
                    <a:pt x="511" y="613"/>
                  </a:lnTo>
                  <a:lnTo>
                    <a:pt x="538" y="640"/>
                  </a:lnTo>
                  <a:lnTo>
                    <a:pt x="564" y="581"/>
                  </a:lnTo>
                  <a:lnTo>
                    <a:pt x="616" y="529"/>
                  </a:lnTo>
                  <a:lnTo>
                    <a:pt x="559" y="615"/>
                  </a:lnTo>
                  <a:lnTo>
                    <a:pt x="538" y="673"/>
                  </a:lnTo>
                  <a:lnTo>
                    <a:pt x="540" y="699"/>
                  </a:lnTo>
                  <a:lnTo>
                    <a:pt x="664" y="696"/>
                  </a:lnTo>
                  <a:lnTo>
                    <a:pt x="667" y="717"/>
                  </a:lnTo>
                  <a:lnTo>
                    <a:pt x="595" y="714"/>
                  </a:lnTo>
                  <a:lnTo>
                    <a:pt x="509" y="761"/>
                  </a:lnTo>
                  <a:lnTo>
                    <a:pt x="370" y="842"/>
                  </a:lnTo>
                  <a:lnTo>
                    <a:pt x="410" y="923"/>
                  </a:lnTo>
                  <a:lnTo>
                    <a:pt x="447" y="944"/>
                  </a:lnTo>
                  <a:lnTo>
                    <a:pt x="437" y="954"/>
                  </a:lnTo>
                  <a:lnTo>
                    <a:pt x="448" y="1002"/>
                  </a:lnTo>
                  <a:lnTo>
                    <a:pt x="514" y="1006"/>
                  </a:lnTo>
                  <a:lnTo>
                    <a:pt x="478" y="1042"/>
                  </a:lnTo>
                  <a:lnTo>
                    <a:pt x="434" y="1030"/>
                  </a:lnTo>
                  <a:lnTo>
                    <a:pt x="419" y="975"/>
                  </a:lnTo>
                  <a:lnTo>
                    <a:pt x="337" y="862"/>
                  </a:lnTo>
                  <a:lnTo>
                    <a:pt x="243" y="840"/>
                  </a:lnTo>
                  <a:lnTo>
                    <a:pt x="233" y="854"/>
                  </a:lnTo>
                  <a:lnTo>
                    <a:pt x="228" y="892"/>
                  </a:lnTo>
                  <a:lnTo>
                    <a:pt x="231" y="917"/>
                  </a:lnTo>
                  <a:lnTo>
                    <a:pt x="238" y="928"/>
                  </a:lnTo>
                  <a:lnTo>
                    <a:pt x="234" y="931"/>
                  </a:lnTo>
                  <a:lnTo>
                    <a:pt x="234" y="966"/>
                  </a:lnTo>
                  <a:lnTo>
                    <a:pt x="292" y="1008"/>
                  </a:lnTo>
                  <a:lnTo>
                    <a:pt x="320" y="1064"/>
                  </a:lnTo>
                  <a:lnTo>
                    <a:pt x="329" y="1120"/>
                  </a:lnTo>
                  <a:lnTo>
                    <a:pt x="345" y="1109"/>
                  </a:lnTo>
                  <a:lnTo>
                    <a:pt x="339" y="1125"/>
                  </a:lnTo>
                  <a:lnTo>
                    <a:pt x="317" y="1133"/>
                  </a:lnTo>
                  <a:lnTo>
                    <a:pt x="307" y="1146"/>
                  </a:lnTo>
                  <a:lnTo>
                    <a:pt x="310" y="1158"/>
                  </a:lnTo>
                  <a:lnTo>
                    <a:pt x="397" y="1192"/>
                  </a:lnTo>
                  <a:lnTo>
                    <a:pt x="449" y="1170"/>
                  </a:lnTo>
                  <a:lnTo>
                    <a:pt x="432" y="1210"/>
                  </a:lnTo>
                  <a:lnTo>
                    <a:pt x="419" y="1231"/>
                  </a:lnTo>
                  <a:lnTo>
                    <a:pt x="406" y="1236"/>
                  </a:lnTo>
                  <a:lnTo>
                    <a:pt x="414" y="1263"/>
                  </a:lnTo>
                  <a:lnTo>
                    <a:pt x="347" y="1198"/>
                  </a:lnTo>
                  <a:lnTo>
                    <a:pt x="292" y="1181"/>
                  </a:lnTo>
                  <a:lnTo>
                    <a:pt x="221" y="1213"/>
                  </a:lnTo>
                  <a:lnTo>
                    <a:pt x="209" y="1255"/>
                  </a:lnTo>
                  <a:lnTo>
                    <a:pt x="217" y="1258"/>
                  </a:lnTo>
                  <a:lnTo>
                    <a:pt x="186" y="1293"/>
                  </a:lnTo>
                  <a:lnTo>
                    <a:pt x="192" y="1336"/>
                  </a:lnTo>
                  <a:lnTo>
                    <a:pt x="193" y="1354"/>
                  </a:lnTo>
                  <a:lnTo>
                    <a:pt x="235" y="1349"/>
                  </a:lnTo>
                  <a:lnTo>
                    <a:pt x="263" y="1302"/>
                  </a:lnTo>
                  <a:lnTo>
                    <a:pt x="246" y="1346"/>
                  </a:lnTo>
                  <a:lnTo>
                    <a:pt x="249" y="1361"/>
                  </a:lnTo>
                  <a:lnTo>
                    <a:pt x="279" y="1359"/>
                  </a:lnTo>
                  <a:lnTo>
                    <a:pt x="295" y="1331"/>
                  </a:lnTo>
                  <a:lnTo>
                    <a:pt x="315" y="1254"/>
                  </a:lnTo>
                  <a:lnTo>
                    <a:pt x="307" y="1300"/>
                  </a:lnTo>
                  <a:lnTo>
                    <a:pt x="317" y="1303"/>
                  </a:lnTo>
                  <a:lnTo>
                    <a:pt x="304" y="1337"/>
                  </a:lnTo>
                  <a:lnTo>
                    <a:pt x="299" y="1350"/>
                  </a:lnTo>
                  <a:lnTo>
                    <a:pt x="292" y="1368"/>
                  </a:lnTo>
                  <a:lnTo>
                    <a:pt x="302" y="1373"/>
                  </a:lnTo>
                  <a:lnTo>
                    <a:pt x="265" y="1394"/>
                  </a:lnTo>
                  <a:lnTo>
                    <a:pt x="279" y="1414"/>
                  </a:lnTo>
                  <a:lnTo>
                    <a:pt x="294" y="1414"/>
                  </a:lnTo>
                  <a:lnTo>
                    <a:pt x="285" y="1436"/>
                  </a:lnTo>
                  <a:lnTo>
                    <a:pt x="301" y="1456"/>
                  </a:lnTo>
                  <a:lnTo>
                    <a:pt x="312" y="1428"/>
                  </a:lnTo>
                  <a:lnTo>
                    <a:pt x="307" y="1472"/>
                  </a:lnTo>
                  <a:lnTo>
                    <a:pt x="362" y="1469"/>
                  </a:lnTo>
                  <a:lnTo>
                    <a:pt x="397" y="1374"/>
                  </a:lnTo>
                  <a:lnTo>
                    <a:pt x="412" y="1370"/>
                  </a:lnTo>
                  <a:lnTo>
                    <a:pt x="383" y="1446"/>
                  </a:lnTo>
                  <a:lnTo>
                    <a:pt x="355" y="1485"/>
                  </a:lnTo>
                  <a:lnTo>
                    <a:pt x="364" y="1501"/>
                  </a:lnTo>
                  <a:lnTo>
                    <a:pt x="319" y="1497"/>
                  </a:lnTo>
                  <a:lnTo>
                    <a:pt x="323" y="1516"/>
                  </a:lnTo>
                  <a:lnTo>
                    <a:pt x="268" y="1491"/>
                  </a:lnTo>
                  <a:lnTo>
                    <a:pt x="263" y="1462"/>
                  </a:lnTo>
                  <a:lnTo>
                    <a:pt x="234" y="1410"/>
                  </a:lnTo>
                  <a:lnTo>
                    <a:pt x="156" y="1421"/>
                  </a:lnTo>
                  <a:lnTo>
                    <a:pt x="157" y="1454"/>
                  </a:lnTo>
                  <a:lnTo>
                    <a:pt x="179" y="1482"/>
                  </a:lnTo>
                  <a:lnTo>
                    <a:pt x="182" y="1510"/>
                  </a:lnTo>
                  <a:lnTo>
                    <a:pt x="215" y="1508"/>
                  </a:lnTo>
                  <a:lnTo>
                    <a:pt x="201" y="1523"/>
                  </a:lnTo>
                  <a:lnTo>
                    <a:pt x="211" y="1527"/>
                  </a:lnTo>
                  <a:lnTo>
                    <a:pt x="202" y="1541"/>
                  </a:lnTo>
                  <a:lnTo>
                    <a:pt x="146" y="1572"/>
                  </a:lnTo>
                  <a:lnTo>
                    <a:pt x="104" y="1621"/>
                  </a:lnTo>
                  <a:lnTo>
                    <a:pt x="101" y="1660"/>
                  </a:lnTo>
                  <a:lnTo>
                    <a:pt x="116" y="1685"/>
                  </a:lnTo>
                  <a:lnTo>
                    <a:pt x="134" y="1660"/>
                  </a:lnTo>
                  <a:lnTo>
                    <a:pt x="138" y="1682"/>
                  </a:lnTo>
                  <a:lnTo>
                    <a:pt x="144" y="1663"/>
                  </a:lnTo>
                  <a:lnTo>
                    <a:pt x="138" y="1626"/>
                  </a:lnTo>
                  <a:lnTo>
                    <a:pt x="143" y="1615"/>
                  </a:lnTo>
                  <a:lnTo>
                    <a:pt x="148" y="1687"/>
                  </a:lnTo>
                  <a:lnTo>
                    <a:pt x="167" y="1699"/>
                  </a:lnTo>
                  <a:lnTo>
                    <a:pt x="179" y="1694"/>
                  </a:lnTo>
                  <a:lnTo>
                    <a:pt x="181" y="1662"/>
                  </a:lnTo>
                  <a:lnTo>
                    <a:pt x="213" y="1698"/>
                  </a:lnTo>
                  <a:lnTo>
                    <a:pt x="225" y="1673"/>
                  </a:lnTo>
                  <a:lnTo>
                    <a:pt x="226" y="1654"/>
                  </a:lnTo>
                  <a:lnTo>
                    <a:pt x="230" y="1675"/>
                  </a:lnTo>
                  <a:lnTo>
                    <a:pt x="227" y="1696"/>
                  </a:lnTo>
                  <a:close/>
                </a:path>
              </a:pathLst>
            </a:custGeom>
            <a:grpFill/>
            <a:ln w="6350">
              <a:solidFill>
                <a:schemeClr val="accent5"/>
              </a:solidFill>
              <a:round/>
              <a:headEnd/>
              <a:tailEnd/>
            </a:ln>
          </p:spPr>
          <p:txBody>
            <a:bodyPr/>
            <a:lstStyle/>
            <a:p>
              <a:endParaRPr lang="en-US"/>
            </a:p>
          </p:txBody>
        </p:sp>
        <p:sp>
          <p:nvSpPr>
            <p:cNvPr id="130" name="Freeform 1200"/>
            <p:cNvSpPr>
              <a:spLocks/>
            </p:cNvSpPr>
            <p:nvPr/>
          </p:nvSpPr>
          <p:spPr bwMode="auto">
            <a:xfrm>
              <a:off x="3780931" y="2479885"/>
              <a:ext cx="98900" cy="61135"/>
            </a:xfrm>
            <a:custGeom>
              <a:avLst/>
              <a:gdLst>
                <a:gd name="T0" fmla="*/ 2147483647 w 208"/>
                <a:gd name="T1" fmla="*/ 2147483647 h 149"/>
                <a:gd name="T2" fmla="*/ 2147483647 w 208"/>
                <a:gd name="T3" fmla="*/ 2147483647 h 149"/>
                <a:gd name="T4" fmla="*/ 2147483647 w 208"/>
                <a:gd name="T5" fmla="*/ 2147483647 h 149"/>
                <a:gd name="T6" fmla="*/ 2147483647 w 208"/>
                <a:gd name="T7" fmla="*/ 2147483647 h 149"/>
                <a:gd name="T8" fmla="*/ 2147483647 w 208"/>
                <a:gd name="T9" fmla="*/ 2147483647 h 149"/>
                <a:gd name="T10" fmla="*/ 2147483647 w 208"/>
                <a:gd name="T11" fmla="*/ 2147483647 h 149"/>
                <a:gd name="T12" fmla="*/ 2147483647 w 208"/>
                <a:gd name="T13" fmla="*/ 2147483647 h 149"/>
                <a:gd name="T14" fmla="*/ 2147483647 w 208"/>
                <a:gd name="T15" fmla="*/ 2147483647 h 149"/>
                <a:gd name="T16" fmla="*/ 2147483647 w 208"/>
                <a:gd name="T17" fmla="*/ 2147483647 h 149"/>
                <a:gd name="T18" fmla="*/ 0 w 208"/>
                <a:gd name="T19" fmla="*/ 2147483647 h 149"/>
                <a:gd name="T20" fmla="*/ 2147483647 w 208"/>
                <a:gd name="T21" fmla="*/ 2147483647 h 149"/>
                <a:gd name="T22" fmla="*/ 2147483647 w 208"/>
                <a:gd name="T23" fmla="*/ 0 h 149"/>
                <a:gd name="T24" fmla="*/ 2147483647 w 208"/>
                <a:gd name="T25" fmla="*/ 214748364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49"/>
                <a:gd name="T41" fmla="*/ 208 w 208"/>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49">
                  <a:moveTo>
                    <a:pt x="87" y="15"/>
                  </a:moveTo>
                  <a:lnTo>
                    <a:pt x="118" y="13"/>
                  </a:lnTo>
                  <a:lnTo>
                    <a:pt x="157" y="36"/>
                  </a:lnTo>
                  <a:lnTo>
                    <a:pt x="208" y="125"/>
                  </a:lnTo>
                  <a:lnTo>
                    <a:pt x="187" y="136"/>
                  </a:lnTo>
                  <a:lnTo>
                    <a:pt x="117" y="125"/>
                  </a:lnTo>
                  <a:lnTo>
                    <a:pt x="67" y="149"/>
                  </a:lnTo>
                  <a:lnTo>
                    <a:pt x="38" y="131"/>
                  </a:lnTo>
                  <a:lnTo>
                    <a:pt x="31" y="80"/>
                  </a:lnTo>
                  <a:lnTo>
                    <a:pt x="0" y="58"/>
                  </a:lnTo>
                  <a:lnTo>
                    <a:pt x="5" y="15"/>
                  </a:lnTo>
                  <a:lnTo>
                    <a:pt x="22" y="0"/>
                  </a:lnTo>
                  <a:lnTo>
                    <a:pt x="87" y="15"/>
                  </a:lnTo>
                  <a:close/>
                </a:path>
              </a:pathLst>
            </a:custGeom>
            <a:grpFill/>
            <a:ln w="6350">
              <a:solidFill>
                <a:schemeClr val="accent5"/>
              </a:solidFill>
              <a:round/>
              <a:headEnd/>
              <a:tailEnd/>
            </a:ln>
          </p:spPr>
          <p:txBody>
            <a:bodyPr/>
            <a:lstStyle/>
            <a:p>
              <a:endParaRPr lang="en-US"/>
            </a:p>
          </p:txBody>
        </p:sp>
        <p:sp>
          <p:nvSpPr>
            <p:cNvPr id="131" name="Freeform 1201"/>
            <p:cNvSpPr>
              <a:spLocks/>
            </p:cNvSpPr>
            <p:nvPr/>
          </p:nvSpPr>
          <p:spPr bwMode="auto">
            <a:xfrm>
              <a:off x="3722163" y="3013545"/>
              <a:ext cx="37267" cy="30568"/>
            </a:xfrm>
            <a:custGeom>
              <a:avLst/>
              <a:gdLst>
                <a:gd name="T0" fmla="*/ 2147483647 w 78"/>
                <a:gd name="T1" fmla="*/ 0 h 76"/>
                <a:gd name="T2" fmla="*/ 2147483647 w 78"/>
                <a:gd name="T3" fmla="*/ 2147483647 h 76"/>
                <a:gd name="T4" fmla="*/ 0 w 78"/>
                <a:gd name="T5" fmla="*/ 2147483647 h 76"/>
                <a:gd name="T6" fmla="*/ 2147483647 w 78"/>
                <a:gd name="T7" fmla="*/ 2147483647 h 76"/>
                <a:gd name="T8" fmla="*/ 2147483647 w 78"/>
                <a:gd name="T9" fmla="*/ 2147483647 h 76"/>
                <a:gd name="T10" fmla="*/ 2147483647 w 78"/>
                <a:gd name="T11" fmla="*/ 2147483647 h 76"/>
                <a:gd name="T12" fmla="*/ 2147483647 w 78"/>
                <a:gd name="T13" fmla="*/ 2147483647 h 76"/>
                <a:gd name="T14" fmla="*/ 2147483647 w 78"/>
                <a:gd name="T15" fmla="*/ 2147483647 h 76"/>
                <a:gd name="T16" fmla="*/ 2147483647 w 78"/>
                <a:gd name="T17" fmla="*/ 0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76"/>
                <a:gd name="T29" fmla="*/ 78 w 78"/>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76">
                  <a:moveTo>
                    <a:pt x="56" y="0"/>
                  </a:moveTo>
                  <a:lnTo>
                    <a:pt x="23" y="18"/>
                  </a:lnTo>
                  <a:lnTo>
                    <a:pt x="0" y="76"/>
                  </a:lnTo>
                  <a:lnTo>
                    <a:pt x="27" y="70"/>
                  </a:lnTo>
                  <a:lnTo>
                    <a:pt x="44" y="58"/>
                  </a:lnTo>
                  <a:lnTo>
                    <a:pt x="48" y="40"/>
                  </a:lnTo>
                  <a:lnTo>
                    <a:pt x="73" y="22"/>
                  </a:lnTo>
                  <a:lnTo>
                    <a:pt x="78" y="3"/>
                  </a:lnTo>
                  <a:lnTo>
                    <a:pt x="56" y="0"/>
                  </a:lnTo>
                  <a:close/>
                </a:path>
              </a:pathLst>
            </a:custGeom>
            <a:grpFill/>
            <a:ln w="6350">
              <a:solidFill>
                <a:schemeClr val="accent5"/>
              </a:solidFill>
              <a:round/>
              <a:headEnd/>
              <a:tailEnd/>
            </a:ln>
          </p:spPr>
          <p:txBody>
            <a:bodyPr/>
            <a:lstStyle/>
            <a:p>
              <a:endParaRPr lang="en-US"/>
            </a:p>
          </p:txBody>
        </p:sp>
        <p:sp>
          <p:nvSpPr>
            <p:cNvPr id="132" name="Freeform 1202"/>
            <p:cNvSpPr>
              <a:spLocks/>
            </p:cNvSpPr>
            <p:nvPr/>
          </p:nvSpPr>
          <p:spPr bwMode="auto">
            <a:xfrm>
              <a:off x="3792397" y="3035196"/>
              <a:ext cx="20066" cy="31842"/>
            </a:xfrm>
            <a:custGeom>
              <a:avLst/>
              <a:gdLst>
                <a:gd name="T0" fmla="*/ 2147483647 w 42"/>
                <a:gd name="T1" fmla="*/ 0 h 75"/>
                <a:gd name="T2" fmla="*/ 2147483647 w 42"/>
                <a:gd name="T3" fmla="*/ 2147483647 h 75"/>
                <a:gd name="T4" fmla="*/ 0 w 42"/>
                <a:gd name="T5" fmla="*/ 2147483647 h 75"/>
                <a:gd name="T6" fmla="*/ 2147483647 w 42"/>
                <a:gd name="T7" fmla="*/ 2147483647 h 75"/>
                <a:gd name="T8" fmla="*/ 2147483647 w 42"/>
                <a:gd name="T9" fmla="*/ 2147483647 h 75"/>
                <a:gd name="T10" fmla="*/ 2147483647 w 42"/>
                <a:gd name="T11" fmla="*/ 0 h 75"/>
                <a:gd name="T12" fmla="*/ 0 60000 65536"/>
                <a:gd name="T13" fmla="*/ 0 60000 65536"/>
                <a:gd name="T14" fmla="*/ 0 60000 65536"/>
                <a:gd name="T15" fmla="*/ 0 60000 65536"/>
                <a:gd name="T16" fmla="*/ 0 60000 65536"/>
                <a:gd name="T17" fmla="*/ 0 60000 65536"/>
                <a:gd name="T18" fmla="*/ 0 w 42"/>
                <a:gd name="T19" fmla="*/ 0 h 75"/>
                <a:gd name="T20" fmla="*/ 42 w 42"/>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42" h="75">
                  <a:moveTo>
                    <a:pt x="13" y="0"/>
                  </a:moveTo>
                  <a:lnTo>
                    <a:pt x="4" y="10"/>
                  </a:lnTo>
                  <a:lnTo>
                    <a:pt x="0" y="54"/>
                  </a:lnTo>
                  <a:lnTo>
                    <a:pt x="21" y="75"/>
                  </a:lnTo>
                  <a:lnTo>
                    <a:pt x="42" y="8"/>
                  </a:lnTo>
                  <a:lnTo>
                    <a:pt x="13" y="0"/>
                  </a:lnTo>
                  <a:close/>
                </a:path>
              </a:pathLst>
            </a:custGeom>
            <a:grpFill/>
            <a:ln w="6350">
              <a:solidFill>
                <a:schemeClr val="accent5"/>
              </a:solidFill>
              <a:round/>
              <a:headEnd/>
              <a:tailEnd/>
            </a:ln>
          </p:spPr>
          <p:txBody>
            <a:bodyPr/>
            <a:lstStyle/>
            <a:p>
              <a:endParaRPr lang="en-US"/>
            </a:p>
          </p:txBody>
        </p:sp>
        <p:sp>
          <p:nvSpPr>
            <p:cNvPr id="133" name="Freeform 1203"/>
            <p:cNvSpPr>
              <a:spLocks/>
            </p:cNvSpPr>
            <p:nvPr/>
          </p:nvSpPr>
          <p:spPr bwMode="auto">
            <a:xfrm>
              <a:off x="4037498" y="3101426"/>
              <a:ext cx="10034" cy="11463"/>
            </a:xfrm>
            <a:custGeom>
              <a:avLst/>
              <a:gdLst>
                <a:gd name="T0" fmla="*/ 2147483647 w 20"/>
                <a:gd name="T1" fmla="*/ 2147483647 h 27"/>
                <a:gd name="T2" fmla="*/ 0 w 20"/>
                <a:gd name="T3" fmla="*/ 2147483647 h 27"/>
                <a:gd name="T4" fmla="*/ 2147483647 w 20"/>
                <a:gd name="T5" fmla="*/ 2147483647 h 27"/>
                <a:gd name="T6" fmla="*/ 2147483647 w 20"/>
                <a:gd name="T7" fmla="*/ 0 h 27"/>
                <a:gd name="T8" fmla="*/ 2147483647 w 20"/>
                <a:gd name="T9" fmla="*/ 2147483647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2" y="10"/>
                  </a:moveTo>
                  <a:lnTo>
                    <a:pt x="0" y="27"/>
                  </a:lnTo>
                  <a:lnTo>
                    <a:pt x="20" y="11"/>
                  </a:lnTo>
                  <a:lnTo>
                    <a:pt x="18" y="0"/>
                  </a:lnTo>
                  <a:lnTo>
                    <a:pt x="2" y="10"/>
                  </a:lnTo>
                  <a:close/>
                </a:path>
              </a:pathLst>
            </a:custGeom>
            <a:grpFill/>
            <a:ln w="6350">
              <a:solidFill>
                <a:schemeClr val="accent5"/>
              </a:solidFill>
              <a:round/>
              <a:headEnd/>
              <a:tailEnd/>
            </a:ln>
          </p:spPr>
          <p:txBody>
            <a:bodyPr/>
            <a:lstStyle/>
            <a:p>
              <a:endParaRPr lang="en-US"/>
            </a:p>
          </p:txBody>
        </p:sp>
        <p:sp>
          <p:nvSpPr>
            <p:cNvPr id="134" name="Freeform 1204"/>
            <p:cNvSpPr>
              <a:spLocks/>
            </p:cNvSpPr>
            <p:nvPr/>
          </p:nvSpPr>
          <p:spPr bwMode="auto">
            <a:xfrm>
              <a:off x="4093399" y="3060669"/>
              <a:ext cx="17201" cy="12737"/>
            </a:xfrm>
            <a:custGeom>
              <a:avLst/>
              <a:gdLst>
                <a:gd name="T0" fmla="*/ 2147483647 w 35"/>
                <a:gd name="T1" fmla="*/ 0 h 29"/>
                <a:gd name="T2" fmla="*/ 2147483647 w 35"/>
                <a:gd name="T3" fmla="*/ 2147483647 h 29"/>
                <a:gd name="T4" fmla="*/ 2147483647 w 35"/>
                <a:gd name="T5" fmla="*/ 2147483647 h 29"/>
                <a:gd name="T6" fmla="*/ 0 w 35"/>
                <a:gd name="T7" fmla="*/ 2147483647 h 29"/>
                <a:gd name="T8" fmla="*/ 2147483647 w 35"/>
                <a:gd name="T9" fmla="*/ 2147483647 h 29"/>
                <a:gd name="T10" fmla="*/ 2147483647 w 35"/>
                <a:gd name="T11" fmla="*/ 0 h 29"/>
                <a:gd name="T12" fmla="*/ 0 60000 65536"/>
                <a:gd name="T13" fmla="*/ 0 60000 65536"/>
                <a:gd name="T14" fmla="*/ 0 60000 65536"/>
                <a:gd name="T15" fmla="*/ 0 60000 65536"/>
                <a:gd name="T16" fmla="*/ 0 60000 65536"/>
                <a:gd name="T17" fmla="*/ 0 60000 65536"/>
                <a:gd name="T18" fmla="*/ 0 w 35"/>
                <a:gd name="T19" fmla="*/ 0 h 29"/>
                <a:gd name="T20" fmla="*/ 35 w 3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5" h="29">
                  <a:moveTo>
                    <a:pt x="19" y="0"/>
                  </a:moveTo>
                  <a:lnTo>
                    <a:pt x="35" y="10"/>
                  </a:lnTo>
                  <a:lnTo>
                    <a:pt x="33" y="29"/>
                  </a:lnTo>
                  <a:lnTo>
                    <a:pt x="0" y="14"/>
                  </a:lnTo>
                  <a:lnTo>
                    <a:pt x="1" y="6"/>
                  </a:lnTo>
                  <a:lnTo>
                    <a:pt x="19" y="0"/>
                  </a:lnTo>
                  <a:close/>
                </a:path>
              </a:pathLst>
            </a:custGeom>
            <a:grpFill/>
            <a:ln w="6350">
              <a:solidFill>
                <a:schemeClr val="accent5"/>
              </a:solidFill>
              <a:round/>
              <a:headEnd/>
              <a:tailEnd/>
            </a:ln>
          </p:spPr>
          <p:txBody>
            <a:bodyPr/>
            <a:lstStyle/>
            <a:p>
              <a:endParaRPr lang="en-US"/>
            </a:p>
          </p:txBody>
        </p:sp>
        <p:sp>
          <p:nvSpPr>
            <p:cNvPr id="135" name="Freeform 1205"/>
            <p:cNvSpPr>
              <a:spLocks/>
            </p:cNvSpPr>
            <p:nvPr/>
          </p:nvSpPr>
          <p:spPr bwMode="auto">
            <a:xfrm>
              <a:off x="3594596" y="2472243"/>
              <a:ext cx="581935" cy="582060"/>
            </a:xfrm>
            <a:custGeom>
              <a:avLst/>
              <a:gdLst>
                <a:gd name="T0" fmla="*/ 2147483647 w 1241"/>
                <a:gd name="T1" fmla="*/ 2147483647 h 1394"/>
                <a:gd name="T2" fmla="*/ 2147483647 w 1241"/>
                <a:gd name="T3" fmla="*/ 2147483647 h 1394"/>
                <a:gd name="T4" fmla="*/ 2147483647 w 1241"/>
                <a:gd name="T5" fmla="*/ 2147483647 h 1394"/>
                <a:gd name="T6" fmla="*/ 2147483647 w 1241"/>
                <a:gd name="T7" fmla="*/ 2147483647 h 1394"/>
                <a:gd name="T8" fmla="*/ 2147483647 w 1241"/>
                <a:gd name="T9" fmla="*/ 2147483647 h 1394"/>
                <a:gd name="T10" fmla="*/ 2147483647 w 1241"/>
                <a:gd name="T11" fmla="*/ 2147483647 h 1394"/>
                <a:gd name="T12" fmla="*/ 2147483647 w 1241"/>
                <a:gd name="T13" fmla="*/ 2147483647 h 1394"/>
                <a:gd name="T14" fmla="*/ 2147483647 w 1241"/>
                <a:gd name="T15" fmla="*/ 2147483647 h 1394"/>
                <a:gd name="T16" fmla="*/ 2147483647 w 1241"/>
                <a:gd name="T17" fmla="*/ 2147483647 h 1394"/>
                <a:gd name="T18" fmla="*/ 2147483647 w 1241"/>
                <a:gd name="T19" fmla="*/ 2147483647 h 1394"/>
                <a:gd name="T20" fmla="*/ 2147483647 w 1241"/>
                <a:gd name="T21" fmla="*/ 2147483647 h 1394"/>
                <a:gd name="T22" fmla="*/ 2147483647 w 1241"/>
                <a:gd name="T23" fmla="*/ 2147483647 h 1394"/>
                <a:gd name="T24" fmla="*/ 2147483647 w 1241"/>
                <a:gd name="T25" fmla="*/ 2147483647 h 1394"/>
                <a:gd name="T26" fmla="*/ 2147483647 w 1241"/>
                <a:gd name="T27" fmla="*/ 2147483647 h 1394"/>
                <a:gd name="T28" fmla="*/ 2147483647 w 1241"/>
                <a:gd name="T29" fmla="*/ 2147483647 h 1394"/>
                <a:gd name="T30" fmla="*/ 2147483647 w 1241"/>
                <a:gd name="T31" fmla="*/ 2147483647 h 1394"/>
                <a:gd name="T32" fmla="*/ 2147483647 w 1241"/>
                <a:gd name="T33" fmla="*/ 2147483647 h 1394"/>
                <a:gd name="T34" fmla="*/ 2147483647 w 1241"/>
                <a:gd name="T35" fmla="*/ 2147483647 h 1394"/>
                <a:gd name="T36" fmla="*/ 2147483647 w 1241"/>
                <a:gd name="T37" fmla="*/ 2147483647 h 1394"/>
                <a:gd name="T38" fmla="*/ 2147483647 w 1241"/>
                <a:gd name="T39" fmla="*/ 2147483647 h 1394"/>
                <a:gd name="T40" fmla="*/ 2147483647 w 1241"/>
                <a:gd name="T41" fmla="*/ 2147483647 h 1394"/>
                <a:gd name="T42" fmla="*/ 2147483647 w 1241"/>
                <a:gd name="T43" fmla="*/ 2147483647 h 1394"/>
                <a:gd name="T44" fmla="*/ 2147483647 w 1241"/>
                <a:gd name="T45" fmla="*/ 2147483647 h 1394"/>
                <a:gd name="T46" fmla="*/ 2147483647 w 1241"/>
                <a:gd name="T47" fmla="*/ 2147483647 h 1394"/>
                <a:gd name="T48" fmla="*/ 2147483647 w 1241"/>
                <a:gd name="T49" fmla="*/ 2147483647 h 1394"/>
                <a:gd name="T50" fmla="*/ 2147483647 w 1241"/>
                <a:gd name="T51" fmla="*/ 2147483647 h 1394"/>
                <a:gd name="T52" fmla="*/ 2147483647 w 1241"/>
                <a:gd name="T53" fmla="*/ 2147483647 h 1394"/>
                <a:gd name="T54" fmla="*/ 2147483647 w 1241"/>
                <a:gd name="T55" fmla="*/ 2147483647 h 1394"/>
                <a:gd name="T56" fmla="*/ 2147483647 w 1241"/>
                <a:gd name="T57" fmla="*/ 2147483647 h 1394"/>
                <a:gd name="T58" fmla="*/ 2147483647 w 1241"/>
                <a:gd name="T59" fmla="*/ 2147483647 h 1394"/>
                <a:gd name="T60" fmla="*/ 2147483647 w 1241"/>
                <a:gd name="T61" fmla="*/ 2147483647 h 1394"/>
                <a:gd name="T62" fmla="*/ 2147483647 w 1241"/>
                <a:gd name="T63" fmla="*/ 2147483647 h 1394"/>
                <a:gd name="T64" fmla="*/ 2147483647 w 1241"/>
                <a:gd name="T65" fmla="*/ 2147483647 h 1394"/>
                <a:gd name="T66" fmla="*/ 2147483647 w 1241"/>
                <a:gd name="T67" fmla="*/ 2147483647 h 1394"/>
                <a:gd name="T68" fmla="*/ 2147483647 w 1241"/>
                <a:gd name="T69" fmla="*/ 2147483647 h 1394"/>
                <a:gd name="T70" fmla="*/ 2147483647 w 1241"/>
                <a:gd name="T71" fmla="*/ 2147483647 h 1394"/>
                <a:gd name="T72" fmla="*/ 2147483647 w 1241"/>
                <a:gd name="T73" fmla="*/ 2147483647 h 1394"/>
                <a:gd name="T74" fmla="*/ 2147483647 w 1241"/>
                <a:gd name="T75" fmla="*/ 2147483647 h 1394"/>
                <a:gd name="T76" fmla="*/ 2147483647 w 1241"/>
                <a:gd name="T77" fmla="*/ 2147483647 h 1394"/>
                <a:gd name="T78" fmla="*/ 2147483647 w 1241"/>
                <a:gd name="T79" fmla="*/ 2147483647 h 1394"/>
                <a:gd name="T80" fmla="*/ 2147483647 w 1241"/>
                <a:gd name="T81" fmla="*/ 2147483647 h 1394"/>
                <a:gd name="T82" fmla="*/ 2147483647 w 1241"/>
                <a:gd name="T83" fmla="*/ 2147483647 h 1394"/>
                <a:gd name="T84" fmla="*/ 2147483647 w 1241"/>
                <a:gd name="T85" fmla="*/ 2147483647 h 1394"/>
                <a:gd name="T86" fmla="*/ 2147483647 w 1241"/>
                <a:gd name="T87" fmla="*/ 2147483647 h 1394"/>
                <a:gd name="T88" fmla="*/ 2147483647 w 1241"/>
                <a:gd name="T89" fmla="*/ 2147483647 h 1394"/>
                <a:gd name="T90" fmla="*/ 2147483647 w 1241"/>
                <a:gd name="T91" fmla="*/ 2147483647 h 1394"/>
                <a:gd name="T92" fmla="*/ 2147483647 w 1241"/>
                <a:gd name="T93" fmla="*/ 2147483647 h 1394"/>
                <a:gd name="T94" fmla="*/ 2147483647 w 1241"/>
                <a:gd name="T95" fmla="*/ 2147483647 h 1394"/>
                <a:gd name="T96" fmla="*/ 2147483647 w 1241"/>
                <a:gd name="T97" fmla="*/ 2147483647 h 1394"/>
                <a:gd name="T98" fmla="*/ 2147483647 w 1241"/>
                <a:gd name="T99" fmla="*/ 2147483647 h 1394"/>
                <a:gd name="T100" fmla="*/ 2147483647 w 1241"/>
                <a:gd name="T101" fmla="*/ 2147483647 h 1394"/>
                <a:gd name="T102" fmla="*/ 2147483647 w 1241"/>
                <a:gd name="T103" fmla="*/ 2147483647 h 1394"/>
                <a:gd name="T104" fmla="*/ 2147483647 w 1241"/>
                <a:gd name="T105" fmla="*/ 2147483647 h 1394"/>
                <a:gd name="T106" fmla="*/ 2147483647 w 1241"/>
                <a:gd name="T107" fmla="*/ 2147483647 h 1394"/>
                <a:gd name="T108" fmla="*/ 2147483647 w 1241"/>
                <a:gd name="T109" fmla="*/ 2147483647 h 1394"/>
                <a:gd name="T110" fmla="*/ 2147483647 w 1241"/>
                <a:gd name="T111" fmla="*/ 2147483647 h 1394"/>
                <a:gd name="T112" fmla="*/ 2147483647 w 1241"/>
                <a:gd name="T113" fmla="*/ 2147483647 h 1394"/>
                <a:gd name="T114" fmla="*/ 2147483647 w 1241"/>
                <a:gd name="T115" fmla="*/ 2147483647 h 1394"/>
                <a:gd name="T116" fmla="*/ 2147483647 w 1241"/>
                <a:gd name="T117" fmla="*/ 2147483647 h 1394"/>
                <a:gd name="T118" fmla="*/ 2147483647 w 1241"/>
                <a:gd name="T119" fmla="*/ 2147483647 h 1394"/>
                <a:gd name="T120" fmla="*/ 2147483647 w 1241"/>
                <a:gd name="T121" fmla="*/ 2147483647 h 1394"/>
                <a:gd name="T122" fmla="*/ 2147483647 w 1241"/>
                <a:gd name="T123" fmla="*/ 2147483647 h 1394"/>
                <a:gd name="T124" fmla="*/ 2147483647 w 1241"/>
                <a:gd name="T125" fmla="*/ 2147483647 h 139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41"/>
                <a:gd name="T190" fmla="*/ 0 h 1394"/>
                <a:gd name="T191" fmla="*/ 1241 w 1241"/>
                <a:gd name="T192" fmla="*/ 1394 h 139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41" h="1394">
                  <a:moveTo>
                    <a:pt x="218" y="12"/>
                  </a:moveTo>
                  <a:lnTo>
                    <a:pt x="161" y="0"/>
                  </a:lnTo>
                  <a:lnTo>
                    <a:pt x="114" y="15"/>
                  </a:lnTo>
                  <a:lnTo>
                    <a:pt x="63" y="59"/>
                  </a:lnTo>
                  <a:lnTo>
                    <a:pt x="38" y="104"/>
                  </a:lnTo>
                  <a:lnTo>
                    <a:pt x="34" y="115"/>
                  </a:lnTo>
                  <a:lnTo>
                    <a:pt x="39" y="127"/>
                  </a:lnTo>
                  <a:lnTo>
                    <a:pt x="30" y="133"/>
                  </a:lnTo>
                  <a:lnTo>
                    <a:pt x="29" y="155"/>
                  </a:lnTo>
                  <a:lnTo>
                    <a:pt x="22" y="159"/>
                  </a:lnTo>
                  <a:lnTo>
                    <a:pt x="6" y="214"/>
                  </a:lnTo>
                  <a:lnTo>
                    <a:pt x="9" y="241"/>
                  </a:lnTo>
                  <a:lnTo>
                    <a:pt x="21" y="242"/>
                  </a:lnTo>
                  <a:lnTo>
                    <a:pt x="0" y="270"/>
                  </a:lnTo>
                  <a:lnTo>
                    <a:pt x="10" y="298"/>
                  </a:lnTo>
                  <a:lnTo>
                    <a:pt x="2" y="314"/>
                  </a:lnTo>
                  <a:lnTo>
                    <a:pt x="2" y="346"/>
                  </a:lnTo>
                  <a:lnTo>
                    <a:pt x="9" y="360"/>
                  </a:lnTo>
                  <a:lnTo>
                    <a:pt x="89" y="373"/>
                  </a:lnTo>
                  <a:lnTo>
                    <a:pt x="127" y="404"/>
                  </a:lnTo>
                  <a:lnTo>
                    <a:pt x="83" y="414"/>
                  </a:lnTo>
                  <a:lnTo>
                    <a:pt x="28" y="394"/>
                  </a:lnTo>
                  <a:lnTo>
                    <a:pt x="29" y="417"/>
                  </a:lnTo>
                  <a:lnTo>
                    <a:pt x="65" y="471"/>
                  </a:lnTo>
                  <a:lnTo>
                    <a:pt x="82" y="491"/>
                  </a:lnTo>
                  <a:lnTo>
                    <a:pt x="131" y="495"/>
                  </a:lnTo>
                  <a:lnTo>
                    <a:pt x="146" y="491"/>
                  </a:lnTo>
                  <a:lnTo>
                    <a:pt x="151" y="474"/>
                  </a:lnTo>
                  <a:lnTo>
                    <a:pt x="154" y="498"/>
                  </a:lnTo>
                  <a:lnTo>
                    <a:pt x="177" y="528"/>
                  </a:lnTo>
                  <a:lnTo>
                    <a:pt x="207" y="533"/>
                  </a:lnTo>
                  <a:lnTo>
                    <a:pt x="207" y="524"/>
                  </a:lnTo>
                  <a:lnTo>
                    <a:pt x="280" y="544"/>
                  </a:lnTo>
                  <a:lnTo>
                    <a:pt x="300" y="531"/>
                  </a:lnTo>
                  <a:lnTo>
                    <a:pt x="351" y="555"/>
                  </a:lnTo>
                  <a:lnTo>
                    <a:pt x="367" y="537"/>
                  </a:lnTo>
                  <a:lnTo>
                    <a:pt x="389" y="562"/>
                  </a:lnTo>
                  <a:lnTo>
                    <a:pt x="397" y="563"/>
                  </a:lnTo>
                  <a:lnTo>
                    <a:pt x="393" y="551"/>
                  </a:lnTo>
                  <a:lnTo>
                    <a:pt x="362" y="526"/>
                  </a:lnTo>
                  <a:lnTo>
                    <a:pt x="364" y="516"/>
                  </a:lnTo>
                  <a:lnTo>
                    <a:pt x="436" y="533"/>
                  </a:lnTo>
                  <a:lnTo>
                    <a:pt x="446" y="553"/>
                  </a:lnTo>
                  <a:lnTo>
                    <a:pt x="485" y="545"/>
                  </a:lnTo>
                  <a:lnTo>
                    <a:pt x="490" y="536"/>
                  </a:lnTo>
                  <a:lnTo>
                    <a:pt x="475" y="489"/>
                  </a:lnTo>
                  <a:lnTo>
                    <a:pt x="486" y="480"/>
                  </a:lnTo>
                  <a:lnTo>
                    <a:pt x="513" y="508"/>
                  </a:lnTo>
                  <a:lnTo>
                    <a:pt x="536" y="504"/>
                  </a:lnTo>
                  <a:lnTo>
                    <a:pt x="538" y="553"/>
                  </a:lnTo>
                  <a:lnTo>
                    <a:pt x="567" y="553"/>
                  </a:lnTo>
                  <a:lnTo>
                    <a:pt x="571" y="569"/>
                  </a:lnTo>
                  <a:lnTo>
                    <a:pt x="560" y="576"/>
                  </a:lnTo>
                  <a:lnTo>
                    <a:pt x="617" y="621"/>
                  </a:lnTo>
                  <a:lnTo>
                    <a:pt x="621" y="639"/>
                  </a:lnTo>
                  <a:lnTo>
                    <a:pt x="606" y="653"/>
                  </a:lnTo>
                  <a:lnTo>
                    <a:pt x="579" y="649"/>
                  </a:lnTo>
                  <a:lnTo>
                    <a:pt x="583" y="668"/>
                  </a:lnTo>
                  <a:lnTo>
                    <a:pt x="582" y="693"/>
                  </a:lnTo>
                  <a:lnTo>
                    <a:pt x="626" y="660"/>
                  </a:lnTo>
                  <a:lnTo>
                    <a:pt x="657" y="660"/>
                  </a:lnTo>
                  <a:lnTo>
                    <a:pt x="661" y="664"/>
                  </a:lnTo>
                  <a:lnTo>
                    <a:pt x="656" y="675"/>
                  </a:lnTo>
                  <a:lnTo>
                    <a:pt x="684" y="710"/>
                  </a:lnTo>
                  <a:lnTo>
                    <a:pt x="688" y="705"/>
                  </a:lnTo>
                  <a:lnTo>
                    <a:pt x="684" y="686"/>
                  </a:lnTo>
                  <a:lnTo>
                    <a:pt x="700" y="691"/>
                  </a:lnTo>
                  <a:lnTo>
                    <a:pt x="699" y="720"/>
                  </a:lnTo>
                  <a:lnTo>
                    <a:pt x="703" y="732"/>
                  </a:lnTo>
                  <a:lnTo>
                    <a:pt x="726" y="736"/>
                  </a:lnTo>
                  <a:lnTo>
                    <a:pt x="737" y="754"/>
                  </a:lnTo>
                  <a:lnTo>
                    <a:pt x="761" y="851"/>
                  </a:lnTo>
                  <a:lnTo>
                    <a:pt x="767" y="854"/>
                  </a:lnTo>
                  <a:lnTo>
                    <a:pt x="739" y="885"/>
                  </a:lnTo>
                  <a:lnTo>
                    <a:pt x="738" y="914"/>
                  </a:lnTo>
                  <a:lnTo>
                    <a:pt x="724" y="920"/>
                  </a:lnTo>
                  <a:lnTo>
                    <a:pt x="676" y="973"/>
                  </a:lnTo>
                  <a:lnTo>
                    <a:pt x="712" y="1029"/>
                  </a:lnTo>
                  <a:lnTo>
                    <a:pt x="712" y="1047"/>
                  </a:lnTo>
                  <a:lnTo>
                    <a:pt x="686" y="1039"/>
                  </a:lnTo>
                  <a:lnTo>
                    <a:pt x="665" y="1056"/>
                  </a:lnTo>
                  <a:lnTo>
                    <a:pt x="645" y="1055"/>
                  </a:lnTo>
                  <a:lnTo>
                    <a:pt x="644" y="1066"/>
                  </a:lnTo>
                  <a:lnTo>
                    <a:pt x="637" y="1069"/>
                  </a:lnTo>
                  <a:lnTo>
                    <a:pt x="549" y="1050"/>
                  </a:lnTo>
                  <a:lnTo>
                    <a:pt x="555" y="1058"/>
                  </a:lnTo>
                  <a:lnTo>
                    <a:pt x="547" y="1058"/>
                  </a:lnTo>
                  <a:lnTo>
                    <a:pt x="549" y="1076"/>
                  </a:lnTo>
                  <a:lnTo>
                    <a:pt x="525" y="1091"/>
                  </a:lnTo>
                  <a:lnTo>
                    <a:pt x="518" y="1103"/>
                  </a:lnTo>
                  <a:lnTo>
                    <a:pt x="517" y="1129"/>
                  </a:lnTo>
                  <a:lnTo>
                    <a:pt x="534" y="1154"/>
                  </a:lnTo>
                  <a:lnTo>
                    <a:pt x="578" y="1172"/>
                  </a:lnTo>
                  <a:lnTo>
                    <a:pt x="614" y="1154"/>
                  </a:lnTo>
                  <a:lnTo>
                    <a:pt x="612" y="1138"/>
                  </a:lnTo>
                  <a:lnTo>
                    <a:pt x="621" y="1134"/>
                  </a:lnTo>
                  <a:lnTo>
                    <a:pt x="632" y="1134"/>
                  </a:lnTo>
                  <a:lnTo>
                    <a:pt x="640" y="1149"/>
                  </a:lnTo>
                  <a:lnTo>
                    <a:pt x="666" y="1153"/>
                  </a:lnTo>
                  <a:lnTo>
                    <a:pt x="665" y="1145"/>
                  </a:lnTo>
                  <a:lnTo>
                    <a:pt x="672" y="1143"/>
                  </a:lnTo>
                  <a:lnTo>
                    <a:pt x="655" y="1126"/>
                  </a:lnTo>
                  <a:lnTo>
                    <a:pt x="655" y="1114"/>
                  </a:lnTo>
                  <a:lnTo>
                    <a:pt x="668" y="1107"/>
                  </a:lnTo>
                  <a:lnTo>
                    <a:pt x="669" y="1125"/>
                  </a:lnTo>
                  <a:lnTo>
                    <a:pt x="675" y="1117"/>
                  </a:lnTo>
                  <a:lnTo>
                    <a:pt x="683" y="1131"/>
                  </a:lnTo>
                  <a:lnTo>
                    <a:pt x="694" y="1125"/>
                  </a:lnTo>
                  <a:lnTo>
                    <a:pt x="705" y="1136"/>
                  </a:lnTo>
                  <a:lnTo>
                    <a:pt x="717" y="1133"/>
                  </a:lnTo>
                  <a:lnTo>
                    <a:pt x="722" y="1163"/>
                  </a:lnTo>
                  <a:lnTo>
                    <a:pt x="736" y="1173"/>
                  </a:lnTo>
                  <a:lnTo>
                    <a:pt x="740" y="1197"/>
                  </a:lnTo>
                  <a:lnTo>
                    <a:pt x="770" y="1209"/>
                  </a:lnTo>
                  <a:lnTo>
                    <a:pt x="780" y="1225"/>
                  </a:lnTo>
                  <a:lnTo>
                    <a:pt x="785" y="1208"/>
                  </a:lnTo>
                  <a:lnTo>
                    <a:pt x="801" y="1231"/>
                  </a:lnTo>
                  <a:lnTo>
                    <a:pt x="810" y="1231"/>
                  </a:lnTo>
                  <a:lnTo>
                    <a:pt x="788" y="1247"/>
                  </a:lnTo>
                  <a:lnTo>
                    <a:pt x="779" y="1237"/>
                  </a:lnTo>
                  <a:lnTo>
                    <a:pt x="796" y="1275"/>
                  </a:lnTo>
                  <a:lnTo>
                    <a:pt x="813" y="1289"/>
                  </a:lnTo>
                  <a:lnTo>
                    <a:pt x="856" y="1311"/>
                  </a:lnTo>
                  <a:lnTo>
                    <a:pt x="870" y="1296"/>
                  </a:lnTo>
                  <a:lnTo>
                    <a:pt x="870" y="1310"/>
                  </a:lnTo>
                  <a:lnTo>
                    <a:pt x="877" y="1313"/>
                  </a:lnTo>
                  <a:lnTo>
                    <a:pt x="892" y="1306"/>
                  </a:lnTo>
                  <a:lnTo>
                    <a:pt x="892" y="1322"/>
                  </a:lnTo>
                  <a:lnTo>
                    <a:pt x="903" y="1325"/>
                  </a:lnTo>
                  <a:lnTo>
                    <a:pt x="910" y="1344"/>
                  </a:lnTo>
                  <a:lnTo>
                    <a:pt x="919" y="1347"/>
                  </a:lnTo>
                  <a:lnTo>
                    <a:pt x="923" y="1338"/>
                  </a:lnTo>
                  <a:lnTo>
                    <a:pt x="923" y="1348"/>
                  </a:lnTo>
                  <a:lnTo>
                    <a:pt x="931" y="1356"/>
                  </a:lnTo>
                  <a:lnTo>
                    <a:pt x="970" y="1364"/>
                  </a:lnTo>
                  <a:lnTo>
                    <a:pt x="985" y="1379"/>
                  </a:lnTo>
                  <a:lnTo>
                    <a:pt x="1005" y="1372"/>
                  </a:lnTo>
                  <a:lnTo>
                    <a:pt x="1026" y="1394"/>
                  </a:lnTo>
                  <a:lnTo>
                    <a:pt x="1040" y="1392"/>
                  </a:lnTo>
                  <a:lnTo>
                    <a:pt x="1034" y="1379"/>
                  </a:lnTo>
                  <a:lnTo>
                    <a:pt x="1036" y="1353"/>
                  </a:lnTo>
                  <a:lnTo>
                    <a:pt x="970" y="1288"/>
                  </a:lnTo>
                  <a:lnTo>
                    <a:pt x="970" y="1279"/>
                  </a:lnTo>
                  <a:lnTo>
                    <a:pt x="962" y="1281"/>
                  </a:lnTo>
                  <a:lnTo>
                    <a:pt x="925" y="1236"/>
                  </a:lnTo>
                  <a:lnTo>
                    <a:pt x="917" y="1219"/>
                  </a:lnTo>
                  <a:lnTo>
                    <a:pt x="927" y="1216"/>
                  </a:lnTo>
                  <a:lnTo>
                    <a:pt x="955" y="1244"/>
                  </a:lnTo>
                  <a:lnTo>
                    <a:pt x="966" y="1245"/>
                  </a:lnTo>
                  <a:lnTo>
                    <a:pt x="964" y="1237"/>
                  </a:lnTo>
                  <a:lnTo>
                    <a:pt x="970" y="1234"/>
                  </a:lnTo>
                  <a:lnTo>
                    <a:pt x="988" y="1263"/>
                  </a:lnTo>
                  <a:lnTo>
                    <a:pt x="1005" y="1268"/>
                  </a:lnTo>
                  <a:lnTo>
                    <a:pt x="1010" y="1285"/>
                  </a:lnTo>
                  <a:lnTo>
                    <a:pt x="1035" y="1286"/>
                  </a:lnTo>
                  <a:lnTo>
                    <a:pt x="1045" y="1299"/>
                  </a:lnTo>
                  <a:lnTo>
                    <a:pt x="1064" y="1291"/>
                  </a:lnTo>
                  <a:lnTo>
                    <a:pt x="1072" y="1307"/>
                  </a:lnTo>
                  <a:lnTo>
                    <a:pt x="1079" y="1303"/>
                  </a:lnTo>
                  <a:lnTo>
                    <a:pt x="1076" y="1319"/>
                  </a:lnTo>
                  <a:lnTo>
                    <a:pt x="1089" y="1332"/>
                  </a:lnTo>
                  <a:lnTo>
                    <a:pt x="1095" y="1329"/>
                  </a:lnTo>
                  <a:lnTo>
                    <a:pt x="1083" y="1300"/>
                  </a:lnTo>
                  <a:lnTo>
                    <a:pt x="1107" y="1304"/>
                  </a:lnTo>
                  <a:lnTo>
                    <a:pt x="1108" y="1293"/>
                  </a:lnTo>
                  <a:lnTo>
                    <a:pt x="1101" y="1287"/>
                  </a:lnTo>
                  <a:lnTo>
                    <a:pt x="1093" y="1288"/>
                  </a:lnTo>
                  <a:lnTo>
                    <a:pt x="1084" y="1265"/>
                  </a:lnTo>
                  <a:lnTo>
                    <a:pt x="1085" y="1245"/>
                  </a:lnTo>
                  <a:lnTo>
                    <a:pt x="1105" y="1263"/>
                  </a:lnTo>
                  <a:lnTo>
                    <a:pt x="1103" y="1247"/>
                  </a:lnTo>
                  <a:lnTo>
                    <a:pt x="1108" y="1222"/>
                  </a:lnTo>
                  <a:lnTo>
                    <a:pt x="1100" y="1191"/>
                  </a:lnTo>
                  <a:lnTo>
                    <a:pt x="1074" y="1178"/>
                  </a:lnTo>
                  <a:lnTo>
                    <a:pt x="1073" y="1164"/>
                  </a:lnTo>
                  <a:lnTo>
                    <a:pt x="1082" y="1161"/>
                  </a:lnTo>
                  <a:lnTo>
                    <a:pt x="1085" y="1147"/>
                  </a:lnTo>
                  <a:lnTo>
                    <a:pt x="1083" y="1136"/>
                  </a:lnTo>
                  <a:lnTo>
                    <a:pt x="1073" y="1138"/>
                  </a:lnTo>
                  <a:lnTo>
                    <a:pt x="1069" y="1123"/>
                  </a:lnTo>
                  <a:lnTo>
                    <a:pt x="1057" y="1134"/>
                  </a:lnTo>
                  <a:lnTo>
                    <a:pt x="1055" y="1107"/>
                  </a:lnTo>
                  <a:lnTo>
                    <a:pt x="1027" y="1113"/>
                  </a:lnTo>
                  <a:lnTo>
                    <a:pt x="1036" y="1100"/>
                  </a:lnTo>
                  <a:lnTo>
                    <a:pt x="1014" y="1100"/>
                  </a:lnTo>
                  <a:lnTo>
                    <a:pt x="1011" y="1113"/>
                  </a:lnTo>
                  <a:lnTo>
                    <a:pt x="998" y="1075"/>
                  </a:lnTo>
                  <a:lnTo>
                    <a:pt x="987" y="1071"/>
                  </a:lnTo>
                  <a:lnTo>
                    <a:pt x="991" y="1062"/>
                  </a:lnTo>
                  <a:lnTo>
                    <a:pt x="986" y="1056"/>
                  </a:lnTo>
                  <a:lnTo>
                    <a:pt x="991" y="1053"/>
                  </a:lnTo>
                  <a:lnTo>
                    <a:pt x="984" y="1045"/>
                  </a:lnTo>
                  <a:lnTo>
                    <a:pt x="986" y="1031"/>
                  </a:lnTo>
                  <a:lnTo>
                    <a:pt x="958" y="1030"/>
                  </a:lnTo>
                  <a:lnTo>
                    <a:pt x="959" y="1003"/>
                  </a:lnTo>
                  <a:lnTo>
                    <a:pt x="992" y="996"/>
                  </a:lnTo>
                  <a:lnTo>
                    <a:pt x="975" y="971"/>
                  </a:lnTo>
                  <a:lnTo>
                    <a:pt x="953" y="963"/>
                  </a:lnTo>
                  <a:lnTo>
                    <a:pt x="948" y="949"/>
                  </a:lnTo>
                  <a:lnTo>
                    <a:pt x="963" y="950"/>
                  </a:lnTo>
                  <a:lnTo>
                    <a:pt x="959" y="942"/>
                  </a:lnTo>
                  <a:lnTo>
                    <a:pt x="966" y="941"/>
                  </a:lnTo>
                  <a:lnTo>
                    <a:pt x="989" y="958"/>
                  </a:lnTo>
                  <a:lnTo>
                    <a:pt x="983" y="943"/>
                  </a:lnTo>
                  <a:lnTo>
                    <a:pt x="990" y="944"/>
                  </a:lnTo>
                  <a:lnTo>
                    <a:pt x="979" y="934"/>
                  </a:lnTo>
                  <a:lnTo>
                    <a:pt x="984" y="927"/>
                  </a:lnTo>
                  <a:lnTo>
                    <a:pt x="1002" y="935"/>
                  </a:lnTo>
                  <a:lnTo>
                    <a:pt x="999" y="956"/>
                  </a:lnTo>
                  <a:lnTo>
                    <a:pt x="1043" y="980"/>
                  </a:lnTo>
                  <a:lnTo>
                    <a:pt x="1046" y="996"/>
                  </a:lnTo>
                  <a:lnTo>
                    <a:pt x="1069" y="992"/>
                  </a:lnTo>
                  <a:lnTo>
                    <a:pt x="1066" y="1005"/>
                  </a:lnTo>
                  <a:lnTo>
                    <a:pt x="1069" y="1023"/>
                  </a:lnTo>
                  <a:lnTo>
                    <a:pt x="1086" y="1051"/>
                  </a:lnTo>
                  <a:lnTo>
                    <a:pt x="1099" y="1043"/>
                  </a:lnTo>
                  <a:lnTo>
                    <a:pt x="1101" y="1052"/>
                  </a:lnTo>
                  <a:lnTo>
                    <a:pt x="1095" y="1064"/>
                  </a:lnTo>
                  <a:lnTo>
                    <a:pt x="1104" y="1077"/>
                  </a:lnTo>
                  <a:lnTo>
                    <a:pt x="1117" y="1070"/>
                  </a:lnTo>
                  <a:lnTo>
                    <a:pt x="1122" y="1088"/>
                  </a:lnTo>
                  <a:lnTo>
                    <a:pt x="1132" y="1081"/>
                  </a:lnTo>
                  <a:lnTo>
                    <a:pt x="1145" y="1104"/>
                  </a:lnTo>
                  <a:lnTo>
                    <a:pt x="1154" y="1065"/>
                  </a:lnTo>
                  <a:lnTo>
                    <a:pt x="1161" y="1064"/>
                  </a:lnTo>
                  <a:lnTo>
                    <a:pt x="1151" y="1017"/>
                  </a:lnTo>
                  <a:lnTo>
                    <a:pt x="1182" y="1035"/>
                  </a:lnTo>
                  <a:lnTo>
                    <a:pt x="1187" y="1017"/>
                  </a:lnTo>
                  <a:lnTo>
                    <a:pt x="1196" y="1014"/>
                  </a:lnTo>
                  <a:lnTo>
                    <a:pt x="1196" y="995"/>
                  </a:lnTo>
                  <a:lnTo>
                    <a:pt x="1209" y="990"/>
                  </a:lnTo>
                  <a:lnTo>
                    <a:pt x="1203" y="981"/>
                  </a:lnTo>
                  <a:lnTo>
                    <a:pt x="1187" y="983"/>
                  </a:lnTo>
                  <a:lnTo>
                    <a:pt x="1200" y="962"/>
                  </a:lnTo>
                  <a:lnTo>
                    <a:pt x="1227" y="965"/>
                  </a:lnTo>
                  <a:lnTo>
                    <a:pt x="1231" y="958"/>
                  </a:lnTo>
                  <a:lnTo>
                    <a:pt x="1223" y="949"/>
                  </a:lnTo>
                  <a:lnTo>
                    <a:pt x="1241" y="926"/>
                  </a:lnTo>
                  <a:lnTo>
                    <a:pt x="1205" y="886"/>
                  </a:lnTo>
                  <a:lnTo>
                    <a:pt x="1157" y="896"/>
                  </a:lnTo>
                  <a:lnTo>
                    <a:pt x="1169" y="854"/>
                  </a:lnTo>
                  <a:lnTo>
                    <a:pt x="1119" y="861"/>
                  </a:lnTo>
                  <a:lnTo>
                    <a:pt x="1117" y="853"/>
                  </a:lnTo>
                  <a:lnTo>
                    <a:pt x="1130" y="839"/>
                  </a:lnTo>
                  <a:lnTo>
                    <a:pt x="1108" y="796"/>
                  </a:lnTo>
                  <a:lnTo>
                    <a:pt x="1079" y="790"/>
                  </a:lnTo>
                  <a:lnTo>
                    <a:pt x="1085" y="765"/>
                  </a:lnTo>
                  <a:lnTo>
                    <a:pt x="1043" y="783"/>
                  </a:lnTo>
                  <a:lnTo>
                    <a:pt x="1030" y="771"/>
                  </a:lnTo>
                  <a:lnTo>
                    <a:pt x="1039" y="757"/>
                  </a:lnTo>
                  <a:lnTo>
                    <a:pt x="1033" y="745"/>
                  </a:lnTo>
                  <a:lnTo>
                    <a:pt x="1003" y="744"/>
                  </a:lnTo>
                  <a:lnTo>
                    <a:pt x="1011" y="727"/>
                  </a:lnTo>
                  <a:lnTo>
                    <a:pt x="941" y="700"/>
                  </a:lnTo>
                  <a:lnTo>
                    <a:pt x="969" y="691"/>
                  </a:lnTo>
                  <a:lnTo>
                    <a:pt x="948" y="667"/>
                  </a:lnTo>
                  <a:lnTo>
                    <a:pt x="966" y="655"/>
                  </a:lnTo>
                  <a:lnTo>
                    <a:pt x="932" y="632"/>
                  </a:lnTo>
                  <a:lnTo>
                    <a:pt x="954" y="630"/>
                  </a:lnTo>
                  <a:lnTo>
                    <a:pt x="953" y="619"/>
                  </a:lnTo>
                  <a:lnTo>
                    <a:pt x="980" y="636"/>
                  </a:lnTo>
                  <a:lnTo>
                    <a:pt x="1016" y="635"/>
                  </a:lnTo>
                  <a:lnTo>
                    <a:pt x="1020" y="620"/>
                  </a:lnTo>
                  <a:lnTo>
                    <a:pt x="996" y="601"/>
                  </a:lnTo>
                  <a:lnTo>
                    <a:pt x="950" y="593"/>
                  </a:lnTo>
                  <a:lnTo>
                    <a:pt x="947" y="603"/>
                  </a:lnTo>
                  <a:lnTo>
                    <a:pt x="925" y="583"/>
                  </a:lnTo>
                  <a:lnTo>
                    <a:pt x="919" y="588"/>
                  </a:lnTo>
                  <a:lnTo>
                    <a:pt x="960" y="562"/>
                  </a:lnTo>
                  <a:lnTo>
                    <a:pt x="988" y="566"/>
                  </a:lnTo>
                  <a:lnTo>
                    <a:pt x="995" y="552"/>
                  </a:lnTo>
                  <a:lnTo>
                    <a:pt x="990" y="541"/>
                  </a:lnTo>
                  <a:lnTo>
                    <a:pt x="963" y="502"/>
                  </a:lnTo>
                  <a:lnTo>
                    <a:pt x="947" y="495"/>
                  </a:lnTo>
                  <a:lnTo>
                    <a:pt x="942" y="507"/>
                  </a:lnTo>
                  <a:lnTo>
                    <a:pt x="943" y="518"/>
                  </a:lnTo>
                  <a:lnTo>
                    <a:pt x="925" y="538"/>
                  </a:lnTo>
                  <a:lnTo>
                    <a:pt x="911" y="537"/>
                  </a:lnTo>
                  <a:lnTo>
                    <a:pt x="925" y="509"/>
                  </a:lnTo>
                  <a:lnTo>
                    <a:pt x="882" y="511"/>
                  </a:lnTo>
                  <a:lnTo>
                    <a:pt x="919" y="492"/>
                  </a:lnTo>
                  <a:lnTo>
                    <a:pt x="925" y="474"/>
                  </a:lnTo>
                  <a:lnTo>
                    <a:pt x="933" y="484"/>
                  </a:lnTo>
                  <a:lnTo>
                    <a:pt x="934" y="458"/>
                  </a:lnTo>
                  <a:lnTo>
                    <a:pt x="887" y="436"/>
                  </a:lnTo>
                  <a:lnTo>
                    <a:pt x="849" y="467"/>
                  </a:lnTo>
                  <a:lnTo>
                    <a:pt x="871" y="425"/>
                  </a:lnTo>
                  <a:lnTo>
                    <a:pt x="830" y="450"/>
                  </a:lnTo>
                  <a:lnTo>
                    <a:pt x="843" y="413"/>
                  </a:lnTo>
                  <a:lnTo>
                    <a:pt x="841" y="398"/>
                  </a:lnTo>
                  <a:lnTo>
                    <a:pt x="807" y="410"/>
                  </a:lnTo>
                  <a:lnTo>
                    <a:pt x="777" y="397"/>
                  </a:lnTo>
                  <a:lnTo>
                    <a:pt x="817" y="383"/>
                  </a:lnTo>
                  <a:lnTo>
                    <a:pt x="821" y="374"/>
                  </a:lnTo>
                  <a:lnTo>
                    <a:pt x="806" y="338"/>
                  </a:lnTo>
                  <a:lnTo>
                    <a:pt x="757" y="308"/>
                  </a:lnTo>
                  <a:lnTo>
                    <a:pt x="744" y="333"/>
                  </a:lnTo>
                  <a:lnTo>
                    <a:pt x="724" y="331"/>
                  </a:lnTo>
                  <a:lnTo>
                    <a:pt x="727" y="363"/>
                  </a:lnTo>
                  <a:lnTo>
                    <a:pt x="710" y="347"/>
                  </a:lnTo>
                  <a:lnTo>
                    <a:pt x="712" y="328"/>
                  </a:lnTo>
                  <a:lnTo>
                    <a:pt x="692" y="342"/>
                  </a:lnTo>
                  <a:lnTo>
                    <a:pt x="714" y="295"/>
                  </a:lnTo>
                  <a:lnTo>
                    <a:pt x="680" y="300"/>
                  </a:lnTo>
                  <a:lnTo>
                    <a:pt x="662" y="321"/>
                  </a:lnTo>
                  <a:lnTo>
                    <a:pt x="663" y="306"/>
                  </a:lnTo>
                  <a:lnTo>
                    <a:pt x="678" y="289"/>
                  </a:lnTo>
                  <a:lnTo>
                    <a:pt x="683" y="279"/>
                  </a:lnTo>
                  <a:lnTo>
                    <a:pt x="680" y="261"/>
                  </a:lnTo>
                  <a:lnTo>
                    <a:pt x="643" y="251"/>
                  </a:lnTo>
                  <a:lnTo>
                    <a:pt x="652" y="238"/>
                  </a:lnTo>
                  <a:lnTo>
                    <a:pt x="650" y="225"/>
                  </a:lnTo>
                  <a:lnTo>
                    <a:pt x="635" y="201"/>
                  </a:lnTo>
                  <a:lnTo>
                    <a:pt x="638" y="194"/>
                  </a:lnTo>
                  <a:lnTo>
                    <a:pt x="620" y="186"/>
                  </a:lnTo>
                  <a:lnTo>
                    <a:pt x="537" y="162"/>
                  </a:lnTo>
                  <a:lnTo>
                    <a:pt x="495" y="190"/>
                  </a:lnTo>
                  <a:lnTo>
                    <a:pt x="494" y="207"/>
                  </a:lnTo>
                  <a:lnTo>
                    <a:pt x="508" y="219"/>
                  </a:lnTo>
                  <a:lnTo>
                    <a:pt x="476" y="234"/>
                  </a:lnTo>
                  <a:lnTo>
                    <a:pt x="462" y="214"/>
                  </a:lnTo>
                  <a:lnTo>
                    <a:pt x="444" y="221"/>
                  </a:lnTo>
                  <a:lnTo>
                    <a:pt x="442" y="195"/>
                  </a:lnTo>
                  <a:lnTo>
                    <a:pt x="428" y="239"/>
                  </a:lnTo>
                  <a:lnTo>
                    <a:pt x="421" y="237"/>
                  </a:lnTo>
                  <a:lnTo>
                    <a:pt x="395" y="279"/>
                  </a:lnTo>
                  <a:lnTo>
                    <a:pt x="392" y="261"/>
                  </a:lnTo>
                  <a:lnTo>
                    <a:pt x="408" y="252"/>
                  </a:lnTo>
                  <a:lnTo>
                    <a:pt x="397" y="244"/>
                  </a:lnTo>
                  <a:lnTo>
                    <a:pt x="419" y="164"/>
                  </a:lnTo>
                  <a:lnTo>
                    <a:pt x="400" y="137"/>
                  </a:lnTo>
                  <a:lnTo>
                    <a:pt x="408" y="114"/>
                  </a:lnTo>
                  <a:lnTo>
                    <a:pt x="372" y="89"/>
                  </a:lnTo>
                  <a:lnTo>
                    <a:pt x="384" y="77"/>
                  </a:lnTo>
                  <a:lnTo>
                    <a:pt x="380" y="36"/>
                  </a:lnTo>
                  <a:lnTo>
                    <a:pt x="369" y="16"/>
                  </a:lnTo>
                  <a:lnTo>
                    <a:pt x="315" y="18"/>
                  </a:lnTo>
                  <a:lnTo>
                    <a:pt x="280" y="38"/>
                  </a:lnTo>
                  <a:lnTo>
                    <a:pt x="266" y="52"/>
                  </a:lnTo>
                  <a:lnTo>
                    <a:pt x="278" y="65"/>
                  </a:lnTo>
                  <a:lnTo>
                    <a:pt x="275" y="80"/>
                  </a:lnTo>
                  <a:lnTo>
                    <a:pt x="266" y="61"/>
                  </a:lnTo>
                  <a:lnTo>
                    <a:pt x="240" y="62"/>
                  </a:lnTo>
                  <a:lnTo>
                    <a:pt x="238" y="72"/>
                  </a:lnTo>
                  <a:lnTo>
                    <a:pt x="246" y="92"/>
                  </a:lnTo>
                  <a:lnTo>
                    <a:pt x="217" y="76"/>
                  </a:lnTo>
                  <a:lnTo>
                    <a:pt x="213" y="89"/>
                  </a:lnTo>
                  <a:lnTo>
                    <a:pt x="222" y="101"/>
                  </a:lnTo>
                  <a:lnTo>
                    <a:pt x="196" y="115"/>
                  </a:lnTo>
                  <a:lnTo>
                    <a:pt x="219" y="137"/>
                  </a:lnTo>
                  <a:lnTo>
                    <a:pt x="187" y="141"/>
                  </a:lnTo>
                  <a:lnTo>
                    <a:pt x="194" y="184"/>
                  </a:lnTo>
                  <a:lnTo>
                    <a:pt x="191" y="192"/>
                  </a:lnTo>
                  <a:lnTo>
                    <a:pt x="196" y="204"/>
                  </a:lnTo>
                  <a:lnTo>
                    <a:pt x="225" y="213"/>
                  </a:lnTo>
                  <a:lnTo>
                    <a:pt x="176" y="268"/>
                  </a:lnTo>
                  <a:lnTo>
                    <a:pt x="203" y="311"/>
                  </a:lnTo>
                  <a:lnTo>
                    <a:pt x="230" y="317"/>
                  </a:lnTo>
                  <a:lnTo>
                    <a:pt x="233" y="328"/>
                  </a:lnTo>
                  <a:lnTo>
                    <a:pt x="226" y="356"/>
                  </a:lnTo>
                  <a:lnTo>
                    <a:pt x="226" y="394"/>
                  </a:lnTo>
                  <a:lnTo>
                    <a:pt x="220" y="411"/>
                  </a:lnTo>
                  <a:lnTo>
                    <a:pt x="215" y="406"/>
                  </a:lnTo>
                  <a:lnTo>
                    <a:pt x="220" y="384"/>
                  </a:lnTo>
                  <a:lnTo>
                    <a:pt x="217" y="380"/>
                  </a:lnTo>
                  <a:lnTo>
                    <a:pt x="149" y="401"/>
                  </a:lnTo>
                  <a:lnTo>
                    <a:pt x="177" y="377"/>
                  </a:lnTo>
                  <a:lnTo>
                    <a:pt x="220" y="366"/>
                  </a:lnTo>
                  <a:lnTo>
                    <a:pt x="214" y="342"/>
                  </a:lnTo>
                  <a:lnTo>
                    <a:pt x="200" y="339"/>
                  </a:lnTo>
                  <a:lnTo>
                    <a:pt x="160" y="282"/>
                  </a:lnTo>
                  <a:lnTo>
                    <a:pt x="153" y="260"/>
                  </a:lnTo>
                  <a:lnTo>
                    <a:pt x="161" y="215"/>
                  </a:lnTo>
                  <a:lnTo>
                    <a:pt x="145" y="178"/>
                  </a:lnTo>
                  <a:lnTo>
                    <a:pt x="146" y="154"/>
                  </a:lnTo>
                  <a:lnTo>
                    <a:pt x="162" y="120"/>
                  </a:lnTo>
                  <a:lnTo>
                    <a:pt x="165" y="97"/>
                  </a:lnTo>
                  <a:lnTo>
                    <a:pt x="222" y="18"/>
                  </a:lnTo>
                  <a:lnTo>
                    <a:pt x="218" y="12"/>
                  </a:lnTo>
                  <a:close/>
                </a:path>
              </a:pathLst>
            </a:custGeom>
            <a:grpFill/>
            <a:ln w="6350">
              <a:solidFill>
                <a:schemeClr val="accent5"/>
              </a:solidFill>
              <a:round/>
              <a:headEnd/>
              <a:tailEnd/>
            </a:ln>
          </p:spPr>
          <p:txBody>
            <a:bodyPr/>
            <a:lstStyle/>
            <a:p>
              <a:endParaRPr lang="en-US"/>
            </a:p>
          </p:txBody>
        </p:sp>
        <p:sp>
          <p:nvSpPr>
            <p:cNvPr id="136" name="Freeform 1206"/>
            <p:cNvSpPr>
              <a:spLocks/>
            </p:cNvSpPr>
            <p:nvPr/>
          </p:nvSpPr>
          <p:spPr bwMode="auto">
            <a:xfrm>
              <a:off x="3981598" y="3018640"/>
              <a:ext cx="12899" cy="7642"/>
            </a:xfrm>
            <a:custGeom>
              <a:avLst/>
              <a:gdLst>
                <a:gd name="T0" fmla="*/ 0 w 27"/>
                <a:gd name="T1" fmla="*/ 0 h 20"/>
                <a:gd name="T2" fmla="*/ 2147483647 w 27"/>
                <a:gd name="T3" fmla="*/ 2147483647 h 20"/>
                <a:gd name="T4" fmla="*/ 2147483647 w 27"/>
                <a:gd name="T5" fmla="*/ 2147483647 h 20"/>
                <a:gd name="T6" fmla="*/ 0 w 27"/>
                <a:gd name="T7" fmla="*/ 0 h 20"/>
                <a:gd name="T8" fmla="*/ 0 60000 65536"/>
                <a:gd name="T9" fmla="*/ 0 60000 65536"/>
                <a:gd name="T10" fmla="*/ 0 60000 65536"/>
                <a:gd name="T11" fmla="*/ 0 60000 65536"/>
                <a:gd name="T12" fmla="*/ 0 w 27"/>
                <a:gd name="T13" fmla="*/ 0 h 20"/>
                <a:gd name="T14" fmla="*/ 27 w 27"/>
                <a:gd name="T15" fmla="*/ 20 h 20"/>
              </a:gdLst>
              <a:ahLst/>
              <a:cxnLst>
                <a:cxn ang="T8">
                  <a:pos x="T0" y="T1"/>
                </a:cxn>
                <a:cxn ang="T9">
                  <a:pos x="T2" y="T3"/>
                </a:cxn>
                <a:cxn ang="T10">
                  <a:pos x="T4" y="T5"/>
                </a:cxn>
                <a:cxn ang="T11">
                  <a:pos x="T6" y="T7"/>
                </a:cxn>
              </a:cxnLst>
              <a:rect l="T12" t="T13" r="T14" b="T15"/>
              <a:pathLst>
                <a:path w="27" h="20">
                  <a:moveTo>
                    <a:pt x="0" y="0"/>
                  </a:moveTo>
                  <a:lnTo>
                    <a:pt x="27" y="13"/>
                  </a:lnTo>
                  <a:lnTo>
                    <a:pt x="17" y="20"/>
                  </a:lnTo>
                  <a:lnTo>
                    <a:pt x="0" y="0"/>
                  </a:lnTo>
                  <a:close/>
                </a:path>
              </a:pathLst>
            </a:custGeom>
            <a:grpFill/>
            <a:ln w="6350">
              <a:solidFill>
                <a:schemeClr val="accent5"/>
              </a:solidFill>
              <a:round/>
              <a:headEnd/>
              <a:tailEnd/>
            </a:ln>
          </p:spPr>
          <p:txBody>
            <a:bodyPr/>
            <a:lstStyle/>
            <a:p>
              <a:endParaRPr lang="en-US"/>
            </a:p>
          </p:txBody>
        </p:sp>
        <p:sp>
          <p:nvSpPr>
            <p:cNvPr id="137" name="Freeform 1268"/>
            <p:cNvSpPr>
              <a:spLocks/>
            </p:cNvSpPr>
            <p:nvPr/>
          </p:nvSpPr>
          <p:spPr bwMode="auto">
            <a:xfrm>
              <a:off x="2688725" y="2701500"/>
              <a:ext cx="30100" cy="3693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grpFill/>
            <a:ln w="6350">
              <a:solidFill>
                <a:schemeClr val="accent5"/>
              </a:solidFill>
              <a:round/>
              <a:headEnd/>
              <a:tailEnd/>
            </a:ln>
          </p:spPr>
          <p:txBody>
            <a:bodyPr/>
            <a:lstStyle/>
            <a:p>
              <a:endParaRPr lang="en-US"/>
            </a:p>
          </p:txBody>
        </p:sp>
        <p:sp>
          <p:nvSpPr>
            <p:cNvPr id="138" name="Freeform 1269"/>
            <p:cNvSpPr>
              <a:spLocks/>
            </p:cNvSpPr>
            <p:nvPr/>
          </p:nvSpPr>
          <p:spPr bwMode="auto">
            <a:xfrm>
              <a:off x="2677259" y="2725700"/>
              <a:ext cx="20066" cy="16557"/>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grpFill/>
            <a:ln w="6350">
              <a:solidFill>
                <a:schemeClr val="accent5"/>
              </a:solidFill>
              <a:round/>
              <a:headEnd/>
              <a:tailEnd/>
            </a:ln>
          </p:spPr>
          <p:txBody>
            <a:bodyPr/>
            <a:lstStyle/>
            <a:p>
              <a:endParaRPr lang="en-US"/>
            </a:p>
          </p:txBody>
        </p:sp>
        <p:sp>
          <p:nvSpPr>
            <p:cNvPr id="139" name="Freeform 1286"/>
            <p:cNvSpPr>
              <a:spLocks/>
            </p:cNvSpPr>
            <p:nvPr/>
          </p:nvSpPr>
          <p:spPr bwMode="auto">
            <a:xfrm>
              <a:off x="2668658" y="3176573"/>
              <a:ext cx="28667" cy="30568"/>
            </a:xfrm>
            <a:custGeom>
              <a:avLst/>
              <a:gdLst>
                <a:gd name="T0" fmla="*/ 2147483647 w 60"/>
                <a:gd name="T1" fmla="*/ 2147483647 h 73"/>
                <a:gd name="T2" fmla="*/ 2147483647 w 60"/>
                <a:gd name="T3" fmla="*/ 2147483647 h 73"/>
                <a:gd name="T4" fmla="*/ 2147483647 w 60"/>
                <a:gd name="T5" fmla="*/ 2147483647 h 73"/>
                <a:gd name="T6" fmla="*/ 2147483647 w 60"/>
                <a:gd name="T7" fmla="*/ 2147483647 h 73"/>
                <a:gd name="T8" fmla="*/ 2147483647 w 60"/>
                <a:gd name="T9" fmla="*/ 2147483647 h 73"/>
                <a:gd name="T10" fmla="*/ 2147483647 w 60"/>
                <a:gd name="T11" fmla="*/ 2147483647 h 73"/>
                <a:gd name="T12" fmla="*/ 2147483647 w 60"/>
                <a:gd name="T13" fmla="*/ 2147483647 h 73"/>
                <a:gd name="T14" fmla="*/ 2147483647 w 60"/>
                <a:gd name="T15" fmla="*/ 2147483647 h 73"/>
                <a:gd name="T16" fmla="*/ 2147483647 w 60"/>
                <a:gd name="T17" fmla="*/ 2147483647 h 73"/>
                <a:gd name="T18" fmla="*/ 2147483647 w 60"/>
                <a:gd name="T19" fmla="*/ 2147483647 h 73"/>
                <a:gd name="T20" fmla="*/ 2147483647 w 60"/>
                <a:gd name="T21" fmla="*/ 2147483647 h 73"/>
                <a:gd name="T22" fmla="*/ 2147483647 w 60"/>
                <a:gd name="T23" fmla="*/ 2147483647 h 73"/>
                <a:gd name="T24" fmla="*/ 2147483647 w 60"/>
                <a:gd name="T25" fmla="*/ 2147483647 h 73"/>
                <a:gd name="T26" fmla="*/ 2147483647 w 60"/>
                <a:gd name="T27" fmla="*/ 2147483647 h 73"/>
                <a:gd name="T28" fmla="*/ 0 w 60"/>
                <a:gd name="T29" fmla="*/ 2147483647 h 73"/>
                <a:gd name="T30" fmla="*/ 2147483647 w 60"/>
                <a:gd name="T31" fmla="*/ 2147483647 h 73"/>
                <a:gd name="T32" fmla="*/ 2147483647 w 60"/>
                <a:gd name="T33" fmla="*/ 2147483647 h 73"/>
                <a:gd name="T34" fmla="*/ 2147483647 w 60"/>
                <a:gd name="T35" fmla="*/ 0 h 73"/>
                <a:gd name="T36" fmla="*/ 2147483647 w 60"/>
                <a:gd name="T37" fmla="*/ 2147483647 h 73"/>
                <a:gd name="T38" fmla="*/ 2147483647 w 60"/>
                <a:gd name="T39" fmla="*/ 2147483647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3"/>
                <a:gd name="T62" fmla="*/ 60 w 60"/>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3">
                  <a:moveTo>
                    <a:pt x="55" y="19"/>
                  </a:moveTo>
                  <a:lnTo>
                    <a:pt x="59" y="30"/>
                  </a:lnTo>
                  <a:lnTo>
                    <a:pt x="50" y="28"/>
                  </a:lnTo>
                  <a:lnTo>
                    <a:pt x="56" y="40"/>
                  </a:lnTo>
                  <a:lnTo>
                    <a:pt x="59" y="46"/>
                  </a:lnTo>
                  <a:lnTo>
                    <a:pt x="60" y="68"/>
                  </a:lnTo>
                  <a:lnTo>
                    <a:pt x="26" y="42"/>
                  </a:lnTo>
                  <a:lnTo>
                    <a:pt x="30" y="66"/>
                  </a:lnTo>
                  <a:lnTo>
                    <a:pt x="25" y="73"/>
                  </a:lnTo>
                  <a:lnTo>
                    <a:pt x="16" y="67"/>
                  </a:lnTo>
                  <a:lnTo>
                    <a:pt x="19" y="64"/>
                  </a:lnTo>
                  <a:lnTo>
                    <a:pt x="2" y="39"/>
                  </a:lnTo>
                  <a:lnTo>
                    <a:pt x="1" y="28"/>
                  </a:lnTo>
                  <a:lnTo>
                    <a:pt x="7" y="28"/>
                  </a:lnTo>
                  <a:lnTo>
                    <a:pt x="0" y="13"/>
                  </a:lnTo>
                  <a:lnTo>
                    <a:pt x="1" y="8"/>
                  </a:lnTo>
                  <a:lnTo>
                    <a:pt x="4" y="16"/>
                  </a:lnTo>
                  <a:lnTo>
                    <a:pt x="19" y="0"/>
                  </a:lnTo>
                  <a:lnTo>
                    <a:pt x="34" y="14"/>
                  </a:lnTo>
                  <a:lnTo>
                    <a:pt x="55" y="19"/>
                  </a:lnTo>
                  <a:close/>
                </a:path>
              </a:pathLst>
            </a:custGeom>
            <a:grpFill/>
            <a:ln w="6350">
              <a:solidFill>
                <a:schemeClr val="accent5"/>
              </a:solidFill>
              <a:round/>
              <a:headEnd/>
              <a:tailEnd/>
            </a:ln>
          </p:spPr>
          <p:txBody>
            <a:bodyPr/>
            <a:lstStyle/>
            <a:p>
              <a:endParaRPr lang="en-US"/>
            </a:p>
          </p:txBody>
        </p:sp>
        <p:sp>
          <p:nvSpPr>
            <p:cNvPr id="189" name="Freeform 1089"/>
            <p:cNvSpPr>
              <a:spLocks/>
            </p:cNvSpPr>
            <p:nvPr/>
          </p:nvSpPr>
          <p:spPr bwMode="auto">
            <a:xfrm>
              <a:off x="2989728" y="3123079"/>
              <a:ext cx="200668" cy="341339"/>
            </a:xfrm>
            <a:custGeom>
              <a:avLst/>
              <a:gdLst>
                <a:gd name="T0" fmla="*/ 2147483647 w 429"/>
                <a:gd name="T1" fmla="*/ 0 h 820"/>
                <a:gd name="T2" fmla="*/ 2147483647 w 429"/>
                <a:gd name="T3" fmla="*/ 0 h 820"/>
                <a:gd name="T4" fmla="*/ 2147483647 w 429"/>
                <a:gd name="T5" fmla="*/ 0 h 820"/>
                <a:gd name="T6" fmla="*/ 2147483647 w 429"/>
                <a:gd name="T7" fmla="*/ 0 h 820"/>
                <a:gd name="T8" fmla="*/ 2147483647 w 429"/>
                <a:gd name="T9" fmla="*/ 0 h 820"/>
                <a:gd name="T10" fmla="*/ 0 w 429"/>
                <a:gd name="T11" fmla="*/ 0 h 820"/>
                <a:gd name="T12" fmla="*/ 0 w 429"/>
                <a:gd name="T13" fmla="*/ 2147483647 h 820"/>
                <a:gd name="T14" fmla="*/ 0 w 429"/>
                <a:gd name="T15" fmla="*/ 2147483647 h 820"/>
                <a:gd name="T16" fmla="*/ 0 w 429"/>
                <a:gd name="T17" fmla="*/ 2147483647 h 820"/>
                <a:gd name="T18" fmla="*/ 2147483647 w 429"/>
                <a:gd name="T19" fmla="*/ 2147483647 h 820"/>
                <a:gd name="T20" fmla="*/ 2147483647 w 429"/>
                <a:gd name="T21" fmla="*/ 2147483647 h 820"/>
                <a:gd name="T22" fmla="*/ 2147483647 w 429"/>
                <a:gd name="T23" fmla="*/ 2147483647 h 820"/>
                <a:gd name="T24" fmla="*/ 2147483647 w 429"/>
                <a:gd name="T25" fmla="*/ 2147483647 h 820"/>
                <a:gd name="T26" fmla="*/ 2147483647 w 429"/>
                <a:gd name="T27" fmla="*/ 2147483647 h 820"/>
                <a:gd name="T28" fmla="*/ 2147483647 w 429"/>
                <a:gd name="T29" fmla="*/ 2147483647 h 820"/>
                <a:gd name="T30" fmla="*/ 2147483647 w 429"/>
                <a:gd name="T31" fmla="*/ 2147483647 h 820"/>
                <a:gd name="T32" fmla="*/ 2147483647 w 429"/>
                <a:gd name="T33" fmla="*/ 2147483647 h 820"/>
                <a:gd name="T34" fmla="*/ 2147483647 w 429"/>
                <a:gd name="T35" fmla="*/ 2147483647 h 820"/>
                <a:gd name="T36" fmla="*/ 2147483647 w 429"/>
                <a:gd name="T37" fmla="*/ 2147483647 h 820"/>
                <a:gd name="T38" fmla="*/ 2147483647 w 429"/>
                <a:gd name="T39" fmla="*/ 2147483647 h 820"/>
                <a:gd name="T40" fmla="*/ 2147483647 w 429"/>
                <a:gd name="T41" fmla="*/ 2147483647 h 820"/>
                <a:gd name="T42" fmla="*/ 2147483647 w 429"/>
                <a:gd name="T43" fmla="*/ 2147483647 h 820"/>
                <a:gd name="T44" fmla="*/ 2147483647 w 429"/>
                <a:gd name="T45" fmla="*/ 2147483647 h 820"/>
                <a:gd name="T46" fmla="*/ 2147483647 w 429"/>
                <a:gd name="T47" fmla="*/ 2147483647 h 820"/>
                <a:gd name="T48" fmla="*/ 2147483647 w 429"/>
                <a:gd name="T49" fmla="*/ 2147483647 h 820"/>
                <a:gd name="T50" fmla="*/ 2147483647 w 429"/>
                <a:gd name="T51" fmla="*/ 2147483647 h 820"/>
                <a:gd name="T52" fmla="*/ 2147483647 w 429"/>
                <a:gd name="T53" fmla="*/ 2147483647 h 820"/>
                <a:gd name="T54" fmla="*/ 2147483647 w 429"/>
                <a:gd name="T55" fmla="*/ 2147483647 h 820"/>
                <a:gd name="T56" fmla="*/ 2147483647 w 429"/>
                <a:gd name="T57" fmla="*/ 2147483647 h 820"/>
                <a:gd name="T58" fmla="*/ 2147483647 w 429"/>
                <a:gd name="T59" fmla="*/ 2147483647 h 820"/>
                <a:gd name="T60" fmla="*/ 2147483647 w 429"/>
                <a:gd name="T61" fmla="*/ 2147483647 h 820"/>
                <a:gd name="T62" fmla="*/ 2147483647 w 429"/>
                <a:gd name="T63" fmla="*/ 2147483647 h 820"/>
                <a:gd name="T64" fmla="*/ 2147483647 w 429"/>
                <a:gd name="T65" fmla="*/ 0 h 8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9"/>
                <a:gd name="T100" fmla="*/ 0 h 820"/>
                <a:gd name="T101" fmla="*/ 429 w 429"/>
                <a:gd name="T102" fmla="*/ 820 h 8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9" h="820">
                  <a:moveTo>
                    <a:pt x="428" y="0"/>
                  </a:moveTo>
                  <a:lnTo>
                    <a:pt x="390" y="0"/>
                  </a:lnTo>
                  <a:lnTo>
                    <a:pt x="354" y="0"/>
                  </a:lnTo>
                  <a:lnTo>
                    <a:pt x="317" y="0"/>
                  </a:lnTo>
                  <a:lnTo>
                    <a:pt x="275" y="0"/>
                  </a:lnTo>
                  <a:lnTo>
                    <a:pt x="236" y="0"/>
                  </a:lnTo>
                  <a:lnTo>
                    <a:pt x="194" y="0"/>
                  </a:lnTo>
                  <a:lnTo>
                    <a:pt x="154" y="0"/>
                  </a:lnTo>
                  <a:lnTo>
                    <a:pt x="119" y="0"/>
                  </a:lnTo>
                  <a:lnTo>
                    <a:pt x="80" y="0"/>
                  </a:lnTo>
                  <a:lnTo>
                    <a:pt x="38" y="0"/>
                  </a:lnTo>
                  <a:lnTo>
                    <a:pt x="0" y="0"/>
                  </a:lnTo>
                  <a:lnTo>
                    <a:pt x="0" y="89"/>
                  </a:lnTo>
                  <a:lnTo>
                    <a:pt x="0" y="167"/>
                  </a:lnTo>
                  <a:lnTo>
                    <a:pt x="0" y="243"/>
                  </a:lnTo>
                  <a:lnTo>
                    <a:pt x="0" y="318"/>
                  </a:lnTo>
                  <a:lnTo>
                    <a:pt x="0" y="398"/>
                  </a:lnTo>
                  <a:lnTo>
                    <a:pt x="0" y="489"/>
                  </a:lnTo>
                  <a:lnTo>
                    <a:pt x="11" y="501"/>
                  </a:lnTo>
                  <a:lnTo>
                    <a:pt x="3" y="503"/>
                  </a:lnTo>
                  <a:lnTo>
                    <a:pt x="4" y="509"/>
                  </a:lnTo>
                  <a:lnTo>
                    <a:pt x="15" y="521"/>
                  </a:lnTo>
                  <a:lnTo>
                    <a:pt x="26" y="520"/>
                  </a:lnTo>
                  <a:lnTo>
                    <a:pt x="31" y="533"/>
                  </a:lnTo>
                  <a:lnTo>
                    <a:pt x="42" y="536"/>
                  </a:lnTo>
                  <a:lnTo>
                    <a:pt x="44" y="529"/>
                  </a:lnTo>
                  <a:lnTo>
                    <a:pt x="53" y="537"/>
                  </a:lnTo>
                  <a:lnTo>
                    <a:pt x="59" y="555"/>
                  </a:lnTo>
                  <a:lnTo>
                    <a:pt x="64" y="554"/>
                  </a:lnTo>
                  <a:lnTo>
                    <a:pt x="71" y="565"/>
                  </a:lnTo>
                  <a:lnTo>
                    <a:pt x="76" y="591"/>
                  </a:lnTo>
                  <a:lnTo>
                    <a:pt x="86" y="583"/>
                  </a:lnTo>
                  <a:lnTo>
                    <a:pt x="96" y="589"/>
                  </a:lnTo>
                  <a:lnTo>
                    <a:pt x="92" y="597"/>
                  </a:lnTo>
                  <a:lnTo>
                    <a:pt x="96" y="603"/>
                  </a:lnTo>
                  <a:lnTo>
                    <a:pt x="103" y="607"/>
                  </a:lnTo>
                  <a:lnTo>
                    <a:pt x="115" y="604"/>
                  </a:lnTo>
                  <a:lnTo>
                    <a:pt x="131" y="636"/>
                  </a:lnTo>
                  <a:lnTo>
                    <a:pt x="143" y="631"/>
                  </a:lnTo>
                  <a:lnTo>
                    <a:pt x="158" y="655"/>
                  </a:lnTo>
                  <a:lnTo>
                    <a:pt x="160" y="664"/>
                  </a:lnTo>
                  <a:lnTo>
                    <a:pt x="188" y="688"/>
                  </a:lnTo>
                  <a:lnTo>
                    <a:pt x="187" y="696"/>
                  </a:lnTo>
                  <a:lnTo>
                    <a:pt x="200" y="704"/>
                  </a:lnTo>
                  <a:lnTo>
                    <a:pt x="205" y="716"/>
                  </a:lnTo>
                  <a:lnTo>
                    <a:pt x="214" y="715"/>
                  </a:lnTo>
                  <a:lnTo>
                    <a:pt x="224" y="729"/>
                  </a:lnTo>
                  <a:lnTo>
                    <a:pt x="229" y="748"/>
                  </a:lnTo>
                  <a:lnTo>
                    <a:pt x="230" y="771"/>
                  </a:lnTo>
                  <a:lnTo>
                    <a:pt x="225" y="781"/>
                  </a:lnTo>
                  <a:lnTo>
                    <a:pt x="232" y="783"/>
                  </a:lnTo>
                  <a:lnTo>
                    <a:pt x="232" y="793"/>
                  </a:lnTo>
                  <a:lnTo>
                    <a:pt x="255" y="820"/>
                  </a:lnTo>
                  <a:lnTo>
                    <a:pt x="310" y="820"/>
                  </a:lnTo>
                  <a:lnTo>
                    <a:pt x="375" y="820"/>
                  </a:lnTo>
                  <a:lnTo>
                    <a:pt x="428" y="820"/>
                  </a:lnTo>
                  <a:lnTo>
                    <a:pt x="428" y="760"/>
                  </a:lnTo>
                  <a:lnTo>
                    <a:pt x="428" y="703"/>
                  </a:lnTo>
                  <a:lnTo>
                    <a:pt x="428" y="620"/>
                  </a:lnTo>
                  <a:lnTo>
                    <a:pt x="429" y="518"/>
                  </a:lnTo>
                  <a:lnTo>
                    <a:pt x="429" y="422"/>
                  </a:lnTo>
                  <a:lnTo>
                    <a:pt x="429" y="301"/>
                  </a:lnTo>
                  <a:lnTo>
                    <a:pt x="429" y="188"/>
                  </a:lnTo>
                  <a:lnTo>
                    <a:pt x="429" y="89"/>
                  </a:lnTo>
                  <a:lnTo>
                    <a:pt x="429" y="0"/>
                  </a:lnTo>
                  <a:lnTo>
                    <a:pt x="428" y="0"/>
                  </a:lnTo>
                  <a:close/>
                </a:path>
              </a:pathLst>
            </a:custGeom>
            <a:grpFill/>
            <a:ln w="6350">
              <a:solidFill>
                <a:schemeClr val="accent5"/>
              </a:solidFill>
              <a:round/>
              <a:headEnd/>
              <a:tailEnd/>
            </a:ln>
          </p:spPr>
          <p:txBody>
            <a:bodyPr/>
            <a:lstStyle/>
            <a:p>
              <a:endParaRPr lang="en-US"/>
            </a:p>
          </p:txBody>
        </p:sp>
        <p:sp>
          <p:nvSpPr>
            <p:cNvPr id="190" name="Freeform 1090"/>
            <p:cNvSpPr>
              <a:spLocks/>
            </p:cNvSpPr>
            <p:nvPr/>
          </p:nvSpPr>
          <p:spPr bwMode="auto">
            <a:xfrm>
              <a:off x="3191828" y="3123079"/>
              <a:ext cx="174867" cy="341339"/>
            </a:xfrm>
            <a:custGeom>
              <a:avLst/>
              <a:gdLst>
                <a:gd name="T0" fmla="*/ 2147483647 w 373"/>
                <a:gd name="T1" fmla="*/ 2147483647 h 821"/>
                <a:gd name="T2" fmla="*/ 2147483647 w 373"/>
                <a:gd name="T3" fmla="*/ 2147483647 h 821"/>
                <a:gd name="T4" fmla="*/ 2147483647 w 373"/>
                <a:gd name="T5" fmla="*/ 2147483647 h 821"/>
                <a:gd name="T6" fmla="*/ 2147483647 w 373"/>
                <a:gd name="T7" fmla="*/ 2147483647 h 821"/>
                <a:gd name="T8" fmla="*/ 2147483647 w 373"/>
                <a:gd name="T9" fmla="*/ 2147483647 h 821"/>
                <a:gd name="T10" fmla="*/ 2147483647 w 373"/>
                <a:gd name="T11" fmla="*/ 2147483647 h 821"/>
                <a:gd name="T12" fmla="*/ 2147483647 w 373"/>
                <a:gd name="T13" fmla="*/ 2147483647 h 821"/>
                <a:gd name="T14" fmla="*/ 2147483647 w 373"/>
                <a:gd name="T15" fmla="*/ 2147483647 h 821"/>
                <a:gd name="T16" fmla="*/ 2147483647 w 373"/>
                <a:gd name="T17" fmla="*/ 2147483647 h 821"/>
                <a:gd name="T18" fmla="*/ 2147483647 w 373"/>
                <a:gd name="T19" fmla="*/ 2147483647 h 821"/>
                <a:gd name="T20" fmla="*/ 2147483647 w 373"/>
                <a:gd name="T21" fmla="*/ 2147483647 h 821"/>
                <a:gd name="T22" fmla="*/ 2147483647 w 373"/>
                <a:gd name="T23" fmla="*/ 2147483647 h 821"/>
                <a:gd name="T24" fmla="*/ 2147483647 w 373"/>
                <a:gd name="T25" fmla="*/ 2147483647 h 821"/>
                <a:gd name="T26" fmla="*/ 2147483647 w 373"/>
                <a:gd name="T27" fmla="*/ 0 h 821"/>
                <a:gd name="T28" fmla="*/ 2147483647 w 373"/>
                <a:gd name="T29" fmla="*/ 0 h 821"/>
                <a:gd name="T30" fmla="*/ 2147483647 w 373"/>
                <a:gd name="T31" fmla="*/ 0 h 821"/>
                <a:gd name="T32" fmla="*/ 2147483647 w 373"/>
                <a:gd name="T33" fmla="*/ 0 h 821"/>
                <a:gd name="T34" fmla="*/ 2147483647 w 373"/>
                <a:gd name="T35" fmla="*/ 0 h 821"/>
                <a:gd name="T36" fmla="*/ 2147483647 w 373"/>
                <a:gd name="T37" fmla="*/ 0 h 821"/>
                <a:gd name="T38" fmla="*/ 2147483647 w 373"/>
                <a:gd name="T39" fmla="*/ 0 h 821"/>
                <a:gd name="T40" fmla="*/ 2147483647 w 373"/>
                <a:gd name="T41" fmla="*/ 0 h 821"/>
                <a:gd name="T42" fmla="*/ 2147483647 w 373"/>
                <a:gd name="T43" fmla="*/ 0 h 821"/>
                <a:gd name="T44" fmla="*/ 0 w 373"/>
                <a:gd name="T45" fmla="*/ 0 h 821"/>
                <a:gd name="T46" fmla="*/ 2147483647 w 373"/>
                <a:gd name="T47" fmla="*/ 0 h 821"/>
                <a:gd name="T48" fmla="*/ 2147483647 w 373"/>
                <a:gd name="T49" fmla="*/ 2147483647 h 821"/>
                <a:gd name="T50" fmla="*/ 2147483647 w 373"/>
                <a:gd name="T51" fmla="*/ 2147483647 h 821"/>
                <a:gd name="T52" fmla="*/ 2147483647 w 373"/>
                <a:gd name="T53" fmla="*/ 2147483647 h 821"/>
                <a:gd name="T54" fmla="*/ 2147483647 w 373"/>
                <a:gd name="T55" fmla="*/ 2147483647 h 821"/>
                <a:gd name="T56" fmla="*/ 2147483647 w 373"/>
                <a:gd name="T57" fmla="*/ 2147483647 h 821"/>
                <a:gd name="T58" fmla="*/ 0 w 373"/>
                <a:gd name="T59" fmla="*/ 2147483647 h 821"/>
                <a:gd name="T60" fmla="*/ 0 w 373"/>
                <a:gd name="T61" fmla="*/ 2147483647 h 821"/>
                <a:gd name="T62" fmla="*/ 0 w 373"/>
                <a:gd name="T63" fmla="*/ 2147483647 h 821"/>
                <a:gd name="T64" fmla="*/ 0 w 373"/>
                <a:gd name="T65" fmla="*/ 2147483647 h 821"/>
                <a:gd name="T66" fmla="*/ 2147483647 w 373"/>
                <a:gd name="T67" fmla="*/ 2147483647 h 821"/>
                <a:gd name="T68" fmla="*/ 2147483647 w 373"/>
                <a:gd name="T69" fmla="*/ 2147483647 h 821"/>
                <a:gd name="T70" fmla="*/ 2147483647 w 373"/>
                <a:gd name="T71" fmla="*/ 2147483647 h 821"/>
                <a:gd name="T72" fmla="*/ 2147483647 w 373"/>
                <a:gd name="T73" fmla="*/ 2147483647 h 821"/>
                <a:gd name="T74" fmla="*/ 2147483647 w 373"/>
                <a:gd name="T75" fmla="*/ 2147483647 h 821"/>
                <a:gd name="T76" fmla="*/ 2147483647 w 373"/>
                <a:gd name="T77" fmla="*/ 2147483647 h 8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3"/>
                <a:gd name="T118" fmla="*/ 0 h 821"/>
                <a:gd name="T119" fmla="*/ 373 w 373"/>
                <a:gd name="T120" fmla="*/ 821 h 8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3" h="821">
                  <a:moveTo>
                    <a:pt x="373" y="821"/>
                  </a:moveTo>
                  <a:lnTo>
                    <a:pt x="371" y="776"/>
                  </a:lnTo>
                  <a:lnTo>
                    <a:pt x="367" y="718"/>
                  </a:lnTo>
                  <a:lnTo>
                    <a:pt x="363" y="652"/>
                  </a:lnTo>
                  <a:lnTo>
                    <a:pt x="360" y="588"/>
                  </a:lnTo>
                  <a:lnTo>
                    <a:pt x="357" y="542"/>
                  </a:lnTo>
                  <a:lnTo>
                    <a:pt x="354" y="479"/>
                  </a:lnTo>
                  <a:lnTo>
                    <a:pt x="350" y="408"/>
                  </a:lnTo>
                  <a:lnTo>
                    <a:pt x="346" y="339"/>
                  </a:lnTo>
                  <a:lnTo>
                    <a:pt x="346" y="294"/>
                  </a:lnTo>
                  <a:lnTo>
                    <a:pt x="346" y="228"/>
                  </a:lnTo>
                  <a:lnTo>
                    <a:pt x="346" y="157"/>
                  </a:lnTo>
                  <a:lnTo>
                    <a:pt x="346" y="78"/>
                  </a:lnTo>
                  <a:lnTo>
                    <a:pt x="346" y="0"/>
                  </a:lnTo>
                  <a:lnTo>
                    <a:pt x="319" y="0"/>
                  </a:lnTo>
                  <a:lnTo>
                    <a:pt x="278" y="0"/>
                  </a:lnTo>
                  <a:lnTo>
                    <a:pt x="238" y="0"/>
                  </a:lnTo>
                  <a:lnTo>
                    <a:pt x="197" y="0"/>
                  </a:lnTo>
                  <a:lnTo>
                    <a:pt x="157" y="0"/>
                  </a:lnTo>
                  <a:lnTo>
                    <a:pt x="121" y="0"/>
                  </a:lnTo>
                  <a:lnTo>
                    <a:pt x="82" y="0"/>
                  </a:lnTo>
                  <a:lnTo>
                    <a:pt x="40" y="0"/>
                  </a:lnTo>
                  <a:lnTo>
                    <a:pt x="0" y="0"/>
                  </a:lnTo>
                  <a:lnTo>
                    <a:pt x="1" y="0"/>
                  </a:lnTo>
                  <a:lnTo>
                    <a:pt x="1" y="89"/>
                  </a:lnTo>
                  <a:lnTo>
                    <a:pt x="1" y="188"/>
                  </a:lnTo>
                  <a:lnTo>
                    <a:pt x="1" y="301"/>
                  </a:lnTo>
                  <a:lnTo>
                    <a:pt x="1" y="422"/>
                  </a:lnTo>
                  <a:lnTo>
                    <a:pt x="1" y="518"/>
                  </a:lnTo>
                  <a:lnTo>
                    <a:pt x="0" y="620"/>
                  </a:lnTo>
                  <a:lnTo>
                    <a:pt x="0" y="703"/>
                  </a:lnTo>
                  <a:lnTo>
                    <a:pt x="0" y="760"/>
                  </a:lnTo>
                  <a:lnTo>
                    <a:pt x="0" y="820"/>
                  </a:lnTo>
                  <a:lnTo>
                    <a:pt x="63" y="820"/>
                  </a:lnTo>
                  <a:lnTo>
                    <a:pt x="134" y="820"/>
                  </a:lnTo>
                  <a:lnTo>
                    <a:pt x="210" y="820"/>
                  </a:lnTo>
                  <a:lnTo>
                    <a:pt x="259" y="821"/>
                  </a:lnTo>
                  <a:lnTo>
                    <a:pt x="314" y="821"/>
                  </a:lnTo>
                  <a:lnTo>
                    <a:pt x="373" y="821"/>
                  </a:lnTo>
                  <a:close/>
                </a:path>
              </a:pathLst>
            </a:custGeom>
            <a:grpFill/>
            <a:ln w="6350">
              <a:solidFill>
                <a:schemeClr val="accent5"/>
              </a:solidFill>
              <a:round/>
              <a:headEnd/>
              <a:tailEnd/>
            </a:ln>
          </p:spPr>
          <p:txBody>
            <a:bodyPr/>
            <a:lstStyle/>
            <a:p>
              <a:endParaRPr lang="en-US"/>
            </a:p>
          </p:txBody>
        </p:sp>
        <p:sp>
          <p:nvSpPr>
            <p:cNvPr id="191" name="Freeform 1091"/>
            <p:cNvSpPr>
              <a:spLocks/>
            </p:cNvSpPr>
            <p:nvPr/>
          </p:nvSpPr>
          <p:spPr bwMode="auto">
            <a:xfrm>
              <a:off x="2602725" y="3123079"/>
              <a:ext cx="507402" cy="341339"/>
            </a:xfrm>
            <a:custGeom>
              <a:avLst/>
              <a:gdLst>
                <a:gd name="T0" fmla="*/ 2147483647 w 1079"/>
                <a:gd name="T1" fmla="*/ 0 h 820"/>
                <a:gd name="T2" fmla="*/ 2147483647 w 1079"/>
                <a:gd name="T3" fmla="*/ 2147483647 h 820"/>
                <a:gd name="T4" fmla="*/ 2147483647 w 1079"/>
                <a:gd name="T5" fmla="*/ 2147483647 h 820"/>
                <a:gd name="T6" fmla="*/ 2147483647 w 1079"/>
                <a:gd name="T7" fmla="*/ 2147483647 h 820"/>
                <a:gd name="T8" fmla="*/ 2147483647 w 1079"/>
                <a:gd name="T9" fmla="*/ 2147483647 h 820"/>
                <a:gd name="T10" fmla="*/ 2147483647 w 1079"/>
                <a:gd name="T11" fmla="*/ 2147483647 h 820"/>
                <a:gd name="T12" fmla="*/ 2147483647 w 1079"/>
                <a:gd name="T13" fmla="*/ 2147483647 h 820"/>
                <a:gd name="T14" fmla="*/ 2147483647 w 1079"/>
                <a:gd name="T15" fmla="*/ 2147483647 h 820"/>
                <a:gd name="T16" fmla="*/ 2147483647 w 1079"/>
                <a:gd name="T17" fmla="*/ 2147483647 h 820"/>
                <a:gd name="T18" fmla="*/ 2147483647 w 1079"/>
                <a:gd name="T19" fmla="*/ 2147483647 h 820"/>
                <a:gd name="T20" fmla="*/ 2147483647 w 1079"/>
                <a:gd name="T21" fmla="*/ 2147483647 h 820"/>
                <a:gd name="T22" fmla="*/ 2147483647 w 1079"/>
                <a:gd name="T23" fmla="*/ 2147483647 h 820"/>
                <a:gd name="T24" fmla="*/ 2147483647 w 1079"/>
                <a:gd name="T25" fmla="*/ 2147483647 h 820"/>
                <a:gd name="T26" fmla="*/ 2147483647 w 1079"/>
                <a:gd name="T27" fmla="*/ 2147483647 h 820"/>
                <a:gd name="T28" fmla="*/ 2147483647 w 1079"/>
                <a:gd name="T29" fmla="*/ 2147483647 h 820"/>
                <a:gd name="T30" fmla="*/ 2147483647 w 1079"/>
                <a:gd name="T31" fmla="*/ 2147483647 h 820"/>
                <a:gd name="T32" fmla="*/ 2147483647 w 1079"/>
                <a:gd name="T33" fmla="*/ 2147483647 h 820"/>
                <a:gd name="T34" fmla="*/ 2147483647 w 1079"/>
                <a:gd name="T35" fmla="*/ 2147483647 h 820"/>
                <a:gd name="T36" fmla="*/ 2147483647 w 1079"/>
                <a:gd name="T37" fmla="*/ 2147483647 h 820"/>
                <a:gd name="T38" fmla="*/ 2147483647 w 1079"/>
                <a:gd name="T39" fmla="*/ 2147483647 h 820"/>
                <a:gd name="T40" fmla="*/ 2147483647 w 1079"/>
                <a:gd name="T41" fmla="*/ 2147483647 h 820"/>
                <a:gd name="T42" fmla="*/ 2147483647 w 1079"/>
                <a:gd name="T43" fmla="*/ 2147483647 h 820"/>
                <a:gd name="T44" fmla="*/ 2147483647 w 1079"/>
                <a:gd name="T45" fmla="*/ 2147483647 h 820"/>
                <a:gd name="T46" fmla="*/ 2147483647 w 1079"/>
                <a:gd name="T47" fmla="*/ 2147483647 h 820"/>
                <a:gd name="T48" fmla="*/ 2147483647 w 1079"/>
                <a:gd name="T49" fmla="*/ 2147483647 h 820"/>
                <a:gd name="T50" fmla="*/ 2147483647 w 1079"/>
                <a:gd name="T51" fmla="*/ 2147483647 h 820"/>
                <a:gd name="T52" fmla="*/ 2147483647 w 1079"/>
                <a:gd name="T53" fmla="*/ 2147483647 h 820"/>
                <a:gd name="T54" fmla="*/ 2147483647 w 1079"/>
                <a:gd name="T55" fmla="*/ 2147483647 h 820"/>
                <a:gd name="T56" fmla="*/ 2147483647 w 1079"/>
                <a:gd name="T57" fmla="*/ 2147483647 h 820"/>
                <a:gd name="T58" fmla="*/ 2147483647 w 1079"/>
                <a:gd name="T59" fmla="*/ 2147483647 h 820"/>
                <a:gd name="T60" fmla="*/ 2147483647 w 1079"/>
                <a:gd name="T61" fmla="*/ 2147483647 h 820"/>
                <a:gd name="T62" fmla="*/ 2147483647 w 1079"/>
                <a:gd name="T63" fmla="*/ 2147483647 h 820"/>
                <a:gd name="T64" fmla="*/ 2147483647 w 1079"/>
                <a:gd name="T65" fmla="*/ 2147483647 h 820"/>
                <a:gd name="T66" fmla="*/ 2147483647 w 1079"/>
                <a:gd name="T67" fmla="*/ 2147483647 h 820"/>
                <a:gd name="T68" fmla="*/ 2147483647 w 1079"/>
                <a:gd name="T69" fmla="*/ 2147483647 h 820"/>
                <a:gd name="T70" fmla="*/ 2147483647 w 1079"/>
                <a:gd name="T71" fmla="*/ 2147483647 h 820"/>
                <a:gd name="T72" fmla="*/ 2147483647 w 1079"/>
                <a:gd name="T73" fmla="*/ 2147483647 h 820"/>
                <a:gd name="T74" fmla="*/ 2147483647 w 1079"/>
                <a:gd name="T75" fmla="*/ 2147483647 h 820"/>
                <a:gd name="T76" fmla="*/ 2147483647 w 1079"/>
                <a:gd name="T77" fmla="*/ 2147483647 h 820"/>
                <a:gd name="T78" fmla="*/ 2147483647 w 1079"/>
                <a:gd name="T79" fmla="*/ 2147483647 h 820"/>
                <a:gd name="T80" fmla="*/ 2147483647 w 1079"/>
                <a:gd name="T81" fmla="*/ 2147483647 h 820"/>
                <a:gd name="T82" fmla="*/ 2147483647 w 1079"/>
                <a:gd name="T83" fmla="*/ 2147483647 h 820"/>
                <a:gd name="T84" fmla="*/ 2147483647 w 1079"/>
                <a:gd name="T85" fmla="*/ 2147483647 h 820"/>
                <a:gd name="T86" fmla="*/ 2147483647 w 1079"/>
                <a:gd name="T87" fmla="*/ 2147483647 h 820"/>
                <a:gd name="T88" fmla="*/ 2147483647 w 1079"/>
                <a:gd name="T89" fmla="*/ 2147483647 h 820"/>
                <a:gd name="T90" fmla="*/ 2147483647 w 1079"/>
                <a:gd name="T91" fmla="*/ 2147483647 h 820"/>
                <a:gd name="T92" fmla="*/ 2147483647 w 1079"/>
                <a:gd name="T93" fmla="*/ 2147483647 h 820"/>
                <a:gd name="T94" fmla="*/ 2147483647 w 1079"/>
                <a:gd name="T95" fmla="*/ 2147483647 h 820"/>
                <a:gd name="T96" fmla="*/ 2147483647 w 1079"/>
                <a:gd name="T97" fmla="*/ 2147483647 h 820"/>
                <a:gd name="T98" fmla="*/ 2147483647 w 1079"/>
                <a:gd name="T99" fmla="*/ 2147483647 h 820"/>
                <a:gd name="T100" fmla="*/ 2147483647 w 1079"/>
                <a:gd name="T101" fmla="*/ 0 h 820"/>
                <a:gd name="T102" fmla="*/ 2147483647 w 1079"/>
                <a:gd name="T103" fmla="*/ 0 h 820"/>
                <a:gd name="T104" fmla="*/ 2147483647 w 1079"/>
                <a:gd name="T105" fmla="*/ 0 h 820"/>
                <a:gd name="T106" fmla="*/ 2147483647 w 1079"/>
                <a:gd name="T107" fmla="*/ 0 h 820"/>
                <a:gd name="T108" fmla="*/ 2147483647 w 1079"/>
                <a:gd name="T109" fmla="*/ 0 h 820"/>
                <a:gd name="T110" fmla="*/ 2147483647 w 1079"/>
                <a:gd name="T111" fmla="*/ 0 h 8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79"/>
                <a:gd name="T169" fmla="*/ 0 h 820"/>
                <a:gd name="T170" fmla="*/ 1079 w 1079"/>
                <a:gd name="T171" fmla="*/ 820 h 8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79" h="820">
                  <a:moveTo>
                    <a:pt x="700" y="0"/>
                  </a:moveTo>
                  <a:lnTo>
                    <a:pt x="737" y="0"/>
                  </a:lnTo>
                  <a:lnTo>
                    <a:pt x="775" y="0"/>
                  </a:lnTo>
                  <a:lnTo>
                    <a:pt x="824" y="0"/>
                  </a:lnTo>
                  <a:lnTo>
                    <a:pt x="824" y="89"/>
                  </a:lnTo>
                  <a:lnTo>
                    <a:pt x="824" y="167"/>
                  </a:lnTo>
                  <a:lnTo>
                    <a:pt x="824" y="243"/>
                  </a:lnTo>
                  <a:lnTo>
                    <a:pt x="824" y="318"/>
                  </a:lnTo>
                  <a:lnTo>
                    <a:pt x="824" y="398"/>
                  </a:lnTo>
                  <a:lnTo>
                    <a:pt x="824" y="489"/>
                  </a:lnTo>
                  <a:lnTo>
                    <a:pt x="835" y="501"/>
                  </a:lnTo>
                  <a:lnTo>
                    <a:pt x="827" y="503"/>
                  </a:lnTo>
                  <a:lnTo>
                    <a:pt x="828" y="509"/>
                  </a:lnTo>
                  <a:lnTo>
                    <a:pt x="839" y="521"/>
                  </a:lnTo>
                  <a:lnTo>
                    <a:pt x="850" y="520"/>
                  </a:lnTo>
                  <a:lnTo>
                    <a:pt x="855" y="533"/>
                  </a:lnTo>
                  <a:lnTo>
                    <a:pt x="866" y="536"/>
                  </a:lnTo>
                  <a:lnTo>
                    <a:pt x="868" y="529"/>
                  </a:lnTo>
                  <a:lnTo>
                    <a:pt x="877" y="537"/>
                  </a:lnTo>
                  <a:lnTo>
                    <a:pt x="883" y="555"/>
                  </a:lnTo>
                  <a:lnTo>
                    <a:pt x="888" y="554"/>
                  </a:lnTo>
                  <a:lnTo>
                    <a:pt x="895" y="565"/>
                  </a:lnTo>
                  <a:lnTo>
                    <a:pt x="900" y="591"/>
                  </a:lnTo>
                  <a:lnTo>
                    <a:pt x="910" y="583"/>
                  </a:lnTo>
                  <a:lnTo>
                    <a:pt x="920" y="589"/>
                  </a:lnTo>
                  <a:lnTo>
                    <a:pt x="916" y="597"/>
                  </a:lnTo>
                  <a:lnTo>
                    <a:pt x="920" y="603"/>
                  </a:lnTo>
                  <a:lnTo>
                    <a:pt x="927" y="607"/>
                  </a:lnTo>
                  <a:lnTo>
                    <a:pt x="939" y="604"/>
                  </a:lnTo>
                  <a:lnTo>
                    <a:pt x="955" y="636"/>
                  </a:lnTo>
                  <a:lnTo>
                    <a:pt x="967" y="631"/>
                  </a:lnTo>
                  <a:lnTo>
                    <a:pt x="982" y="655"/>
                  </a:lnTo>
                  <a:lnTo>
                    <a:pt x="984" y="664"/>
                  </a:lnTo>
                  <a:lnTo>
                    <a:pt x="1012" y="688"/>
                  </a:lnTo>
                  <a:lnTo>
                    <a:pt x="1011" y="696"/>
                  </a:lnTo>
                  <a:lnTo>
                    <a:pt x="1024" y="704"/>
                  </a:lnTo>
                  <a:lnTo>
                    <a:pt x="1029" y="716"/>
                  </a:lnTo>
                  <a:lnTo>
                    <a:pt x="1038" y="715"/>
                  </a:lnTo>
                  <a:lnTo>
                    <a:pt x="1048" y="729"/>
                  </a:lnTo>
                  <a:lnTo>
                    <a:pt x="1053" y="748"/>
                  </a:lnTo>
                  <a:lnTo>
                    <a:pt x="1054" y="771"/>
                  </a:lnTo>
                  <a:lnTo>
                    <a:pt x="1049" y="781"/>
                  </a:lnTo>
                  <a:lnTo>
                    <a:pt x="1056" y="783"/>
                  </a:lnTo>
                  <a:lnTo>
                    <a:pt x="1056" y="793"/>
                  </a:lnTo>
                  <a:lnTo>
                    <a:pt x="1079" y="820"/>
                  </a:lnTo>
                  <a:lnTo>
                    <a:pt x="1034" y="820"/>
                  </a:lnTo>
                  <a:lnTo>
                    <a:pt x="993" y="820"/>
                  </a:lnTo>
                  <a:lnTo>
                    <a:pt x="952" y="820"/>
                  </a:lnTo>
                  <a:lnTo>
                    <a:pt x="900" y="820"/>
                  </a:lnTo>
                  <a:lnTo>
                    <a:pt x="842" y="820"/>
                  </a:lnTo>
                  <a:lnTo>
                    <a:pt x="787" y="820"/>
                  </a:lnTo>
                  <a:lnTo>
                    <a:pt x="755" y="820"/>
                  </a:lnTo>
                  <a:lnTo>
                    <a:pt x="705" y="820"/>
                  </a:lnTo>
                  <a:lnTo>
                    <a:pt x="696" y="814"/>
                  </a:lnTo>
                  <a:lnTo>
                    <a:pt x="696" y="809"/>
                  </a:lnTo>
                  <a:lnTo>
                    <a:pt x="713" y="807"/>
                  </a:lnTo>
                  <a:lnTo>
                    <a:pt x="712" y="803"/>
                  </a:lnTo>
                  <a:lnTo>
                    <a:pt x="689" y="801"/>
                  </a:lnTo>
                  <a:lnTo>
                    <a:pt x="689" y="773"/>
                  </a:lnTo>
                  <a:lnTo>
                    <a:pt x="685" y="771"/>
                  </a:lnTo>
                  <a:lnTo>
                    <a:pt x="673" y="790"/>
                  </a:lnTo>
                  <a:lnTo>
                    <a:pt x="668" y="789"/>
                  </a:lnTo>
                  <a:lnTo>
                    <a:pt x="669" y="773"/>
                  </a:lnTo>
                  <a:lnTo>
                    <a:pt x="663" y="773"/>
                  </a:lnTo>
                  <a:lnTo>
                    <a:pt x="654" y="750"/>
                  </a:lnTo>
                  <a:lnTo>
                    <a:pt x="654" y="762"/>
                  </a:lnTo>
                  <a:lnTo>
                    <a:pt x="650" y="755"/>
                  </a:lnTo>
                  <a:lnTo>
                    <a:pt x="644" y="765"/>
                  </a:lnTo>
                  <a:lnTo>
                    <a:pt x="635" y="765"/>
                  </a:lnTo>
                  <a:lnTo>
                    <a:pt x="620" y="750"/>
                  </a:lnTo>
                  <a:lnTo>
                    <a:pt x="619" y="747"/>
                  </a:lnTo>
                  <a:lnTo>
                    <a:pt x="626" y="739"/>
                  </a:lnTo>
                  <a:lnTo>
                    <a:pt x="625" y="724"/>
                  </a:lnTo>
                  <a:lnTo>
                    <a:pt x="613" y="727"/>
                  </a:lnTo>
                  <a:lnTo>
                    <a:pt x="609" y="716"/>
                  </a:lnTo>
                  <a:lnTo>
                    <a:pt x="597" y="721"/>
                  </a:lnTo>
                  <a:lnTo>
                    <a:pt x="581" y="715"/>
                  </a:lnTo>
                  <a:lnTo>
                    <a:pt x="576" y="721"/>
                  </a:lnTo>
                  <a:lnTo>
                    <a:pt x="550" y="717"/>
                  </a:lnTo>
                  <a:lnTo>
                    <a:pt x="547" y="714"/>
                  </a:lnTo>
                  <a:lnTo>
                    <a:pt x="569" y="706"/>
                  </a:lnTo>
                  <a:lnTo>
                    <a:pt x="560" y="705"/>
                  </a:lnTo>
                  <a:lnTo>
                    <a:pt x="562" y="698"/>
                  </a:lnTo>
                  <a:lnTo>
                    <a:pt x="550" y="694"/>
                  </a:lnTo>
                  <a:lnTo>
                    <a:pt x="559" y="691"/>
                  </a:lnTo>
                  <a:lnTo>
                    <a:pt x="555" y="687"/>
                  </a:lnTo>
                  <a:lnTo>
                    <a:pt x="543" y="684"/>
                  </a:lnTo>
                  <a:lnTo>
                    <a:pt x="537" y="690"/>
                  </a:lnTo>
                  <a:lnTo>
                    <a:pt x="520" y="685"/>
                  </a:lnTo>
                  <a:lnTo>
                    <a:pt x="521" y="692"/>
                  </a:lnTo>
                  <a:lnTo>
                    <a:pt x="517" y="693"/>
                  </a:lnTo>
                  <a:lnTo>
                    <a:pt x="494" y="676"/>
                  </a:lnTo>
                  <a:lnTo>
                    <a:pt x="492" y="667"/>
                  </a:lnTo>
                  <a:lnTo>
                    <a:pt x="506" y="663"/>
                  </a:lnTo>
                  <a:lnTo>
                    <a:pt x="492" y="660"/>
                  </a:lnTo>
                  <a:lnTo>
                    <a:pt x="493" y="656"/>
                  </a:lnTo>
                  <a:lnTo>
                    <a:pt x="512" y="652"/>
                  </a:lnTo>
                  <a:lnTo>
                    <a:pt x="504" y="649"/>
                  </a:lnTo>
                  <a:lnTo>
                    <a:pt x="508" y="640"/>
                  </a:lnTo>
                  <a:lnTo>
                    <a:pt x="503" y="633"/>
                  </a:lnTo>
                  <a:lnTo>
                    <a:pt x="495" y="643"/>
                  </a:lnTo>
                  <a:lnTo>
                    <a:pt x="489" y="643"/>
                  </a:lnTo>
                  <a:lnTo>
                    <a:pt x="489" y="618"/>
                  </a:lnTo>
                  <a:lnTo>
                    <a:pt x="486" y="614"/>
                  </a:lnTo>
                  <a:lnTo>
                    <a:pt x="488" y="601"/>
                  </a:lnTo>
                  <a:lnTo>
                    <a:pt x="483" y="585"/>
                  </a:lnTo>
                  <a:lnTo>
                    <a:pt x="467" y="591"/>
                  </a:lnTo>
                  <a:lnTo>
                    <a:pt x="468" y="578"/>
                  </a:lnTo>
                  <a:lnTo>
                    <a:pt x="448" y="579"/>
                  </a:lnTo>
                  <a:lnTo>
                    <a:pt x="444" y="566"/>
                  </a:lnTo>
                  <a:lnTo>
                    <a:pt x="431" y="546"/>
                  </a:lnTo>
                  <a:lnTo>
                    <a:pt x="436" y="533"/>
                  </a:lnTo>
                  <a:lnTo>
                    <a:pt x="435" y="513"/>
                  </a:lnTo>
                  <a:lnTo>
                    <a:pt x="425" y="515"/>
                  </a:lnTo>
                  <a:lnTo>
                    <a:pt x="391" y="478"/>
                  </a:lnTo>
                  <a:lnTo>
                    <a:pt x="391" y="468"/>
                  </a:lnTo>
                  <a:lnTo>
                    <a:pt x="398" y="462"/>
                  </a:lnTo>
                  <a:lnTo>
                    <a:pt x="397" y="458"/>
                  </a:lnTo>
                  <a:lnTo>
                    <a:pt x="383" y="457"/>
                  </a:lnTo>
                  <a:lnTo>
                    <a:pt x="375" y="445"/>
                  </a:lnTo>
                  <a:lnTo>
                    <a:pt x="375" y="434"/>
                  </a:lnTo>
                  <a:lnTo>
                    <a:pt x="380" y="424"/>
                  </a:lnTo>
                  <a:lnTo>
                    <a:pt x="390" y="424"/>
                  </a:lnTo>
                  <a:lnTo>
                    <a:pt x="387" y="416"/>
                  </a:lnTo>
                  <a:lnTo>
                    <a:pt x="393" y="405"/>
                  </a:lnTo>
                  <a:lnTo>
                    <a:pt x="389" y="396"/>
                  </a:lnTo>
                  <a:lnTo>
                    <a:pt x="393" y="388"/>
                  </a:lnTo>
                  <a:lnTo>
                    <a:pt x="394" y="383"/>
                  </a:lnTo>
                  <a:lnTo>
                    <a:pt x="390" y="346"/>
                  </a:lnTo>
                  <a:lnTo>
                    <a:pt x="394" y="328"/>
                  </a:lnTo>
                  <a:lnTo>
                    <a:pt x="392" y="323"/>
                  </a:lnTo>
                  <a:lnTo>
                    <a:pt x="351" y="295"/>
                  </a:lnTo>
                  <a:lnTo>
                    <a:pt x="323" y="287"/>
                  </a:lnTo>
                  <a:lnTo>
                    <a:pt x="310" y="277"/>
                  </a:lnTo>
                  <a:lnTo>
                    <a:pt x="300" y="248"/>
                  </a:lnTo>
                  <a:lnTo>
                    <a:pt x="292" y="241"/>
                  </a:lnTo>
                  <a:lnTo>
                    <a:pt x="292" y="231"/>
                  </a:lnTo>
                  <a:lnTo>
                    <a:pt x="229" y="113"/>
                  </a:lnTo>
                  <a:lnTo>
                    <a:pt x="203" y="97"/>
                  </a:lnTo>
                  <a:lnTo>
                    <a:pt x="197" y="77"/>
                  </a:lnTo>
                  <a:lnTo>
                    <a:pt x="159" y="19"/>
                  </a:lnTo>
                  <a:lnTo>
                    <a:pt x="121" y="37"/>
                  </a:lnTo>
                  <a:lnTo>
                    <a:pt x="105" y="73"/>
                  </a:lnTo>
                  <a:lnTo>
                    <a:pt x="69" y="91"/>
                  </a:lnTo>
                  <a:lnTo>
                    <a:pt x="57" y="64"/>
                  </a:lnTo>
                  <a:lnTo>
                    <a:pt x="44" y="54"/>
                  </a:lnTo>
                  <a:lnTo>
                    <a:pt x="56" y="38"/>
                  </a:lnTo>
                  <a:lnTo>
                    <a:pt x="43" y="31"/>
                  </a:lnTo>
                  <a:lnTo>
                    <a:pt x="52" y="40"/>
                  </a:lnTo>
                  <a:lnTo>
                    <a:pt x="39" y="47"/>
                  </a:lnTo>
                  <a:lnTo>
                    <a:pt x="0" y="0"/>
                  </a:lnTo>
                  <a:lnTo>
                    <a:pt x="1" y="0"/>
                  </a:lnTo>
                  <a:lnTo>
                    <a:pt x="41" y="0"/>
                  </a:lnTo>
                  <a:lnTo>
                    <a:pt x="82" y="0"/>
                  </a:lnTo>
                  <a:lnTo>
                    <a:pt x="120" y="0"/>
                  </a:lnTo>
                  <a:lnTo>
                    <a:pt x="157" y="0"/>
                  </a:lnTo>
                  <a:lnTo>
                    <a:pt x="195" y="0"/>
                  </a:lnTo>
                  <a:lnTo>
                    <a:pt x="237" y="0"/>
                  </a:lnTo>
                  <a:lnTo>
                    <a:pt x="277" y="0"/>
                  </a:lnTo>
                  <a:lnTo>
                    <a:pt x="319" y="0"/>
                  </a:lnTo>
                  <a:lnTo>
                    <a:pt x="358" y="0"/>
                  </a:lnTo>
                  <a:lnTo>
                    <a:pt x="393" y="0"/>
                  </a:lnTo>
                  <a:lnTo>
                    <a:pt x="433" y="0"/>
                  </a:lnTo>
                  <a:lnTo>
                    <a:pt x="476" y="0"/>
                  </a:lnTo>
                  <a:lnTo>
                    <a:pt x="515" y="0"/>
                  </a:lnTo>
                  <a:lnTo>
                    <a:pt x="557" y="0"/>
                  </a:lnTo>
                  <a:lnTo>
                    <a:pt x="595" y="0"/>
                  </a:lnTo>
                  <a:lnTo>
                    <a:pt x="631" y="0"/>
                  </a:lnTo>
                  <a:lnTo>
                    <a:pt x="658" y="0"/>
                  </a:lnTo>
                  <a:lnTo>
                    <a:pt x="700" y="0"/>
                  </a:lnTo>
                  <a:close/>
                </a:path>
              </a:pathLst>
            </a:custGeom>
            <a:grpFill/>
            <a:ln w="6350">
              <a:solidFill>
                <a:schemeClr val="accent5"/>
              </a:solidFill>
              <a:round/>
              <a:headEnd/>
              <a:tailEnd/>
            </a:ln>
          </p:spPr>
          <p:txBody>
            <a:bodyPr/>
            <a:lstStyle/>
            <a:p>
              <a:endParaRPr lang="en-US"/>
            </a:p>
          </p:txBody>
        </p:sp>
        <p:sp>
          <p:nvSpPr>
            <p:cNvPr id="209" name="Freeform 1109"/>
            <p:cNvSpPr>
              <a:spLocks/>
            </p:cNvSpPr>
            <p:nvPr/>
          </p:nvSpPr>
          <p:spPr bwMode="auto">
            <a:xfrm>
              <a:off x="3353795" y="3123079"/>
              <a:ext cx="260867" cy="341339"/>
            </a:xfrm>
            <a:custGeom>
              <a:avLst/>
              <a:gdLst>
                <a:gd name="T0" fmla="*/ 2147483647 w 556"/>
                <a:gd name="T1" fmla="*/ 2147483647 h 821"/>
                <a:gd name="T2" fmla="*/ 2147483647 w 556"/>
                <a:gd name="T3" fmla="*/ 2147483647 h 821"/>
                <a:gd name="T4" fmla="*/ 2147483647 w 556"/>
                <a:gd name="T5" fmla="*/ 2147483647 h 821"/>
                <a:gd name="T6" fmla="*/ 2147483647 w 556"/>
                <a:gd name="T7" fmla="*/ 2147483647 h 821"/>
                <a:gd name="T8" fmla="*/ 2147483647 w 556"/>
                <a:gd name="T9" fmla="*/ 2147483647 h 821"/>
                <a:gd name="T10" fmla="*/ 2147483647 w 556"/>
                <a:gd name="T11" fmla="*/ 2147483647 h 821"/>
                <a:gd name="T12" fmla="*/ 2147483647 w 556"/>
                <a:gd name="T13" fmla="*/ 2147483647 h 821"/>
                <a:gd name="T14" fmla="*/ 2147483647 w 556"/>
                <a:gd name="T15" fmla="*/ 2147483647 h 821"/>
                <a:gd name="T16" fmla="*/ 2147483647 w 556"/>
                <a:gd name="T17" fmla="*/ 2147483647 h 821"/>
                <a:gd name="T18" fmla="*/ 2147483647 w 556"/>
                <a:gd name="T19" fmla="*/ 2147483647 h 821"/>
                <a:gd name="T20" fmla="*/ 2147483647 w 556"/>
                <a:gd name="T21" fmla="*/ 2147483647 h 821"/>
                <a:gd name="T22" fmla="*/ 2147483647 w 556"/>
                <a:gd name="T23" fmla="*/ 2147483647 h 821"/>
                <a:gd name="T24" fmla="*/ 2147483647 w 556"/>
                <a:gd name="T25" fmla="*/ 2147483647 h 821"/>
                <a:gd name="T26" fmla="*/ 2147483647 w 556"/>
                <a:gd name="T27" fmla="*/ 2147483647 h 821"/>
                <a:gd name="T28" fmla="*/ 2147483647 w 556"/>
                <a:gd name="T29" fmla="*/ 2147483647 h 821"/>
                <a:gd name="T30" fmla="*/ 2147483647 w 556"/>
                <a:gd name="T31" fmla="*/ 2147483647 h 821"/>
                <a:gd name="T32" fmla="*/ 2147483647 w 556"/>
                <a:gd name="T33" fmla="*/ 2147483647 h 821"/>
                <a:gd name="T34" fmla="*/ 2147483647 w 556"/>
                <a:gd name="T35" fmla="*/ 2147483647 h 821"/>
                <a:gd name="T36" fmla="*/ 2147483647 w 556"/>
                <a:gd name="T37" fmla="*/ 2147483647 h 821"/>
                <a:gd name="T38" fmla="*/ 2147483647 w 556"/>
                <a:gd name="T39" fmla="*/ 2147483647 h 821"/>
                <a:gd name="T40" fmla="*/ 2147483647 w 556"/>
                <a:gd name="T41" fmla="*/ 2147483647 h 821"/>
                <a:gd name="T42" fmla="*/ 2147483647 w 556"/>
                <a:gd name="T43" fmla="*/ 2147483647 h 821"/>
                <a:gd name="T44" fmla="*/ 2147483647 w 556"/>
                <a:gd name="T45" fmla="*/ 2147483647 h 821"/>
                <a:gd name="T46" fmla="*/ 2147483647 w 556"/>
                <a:gd name="T47" fmla="*/ 2147483647 h 821"/>
                <a:gd name="T48" fmla="*/ 2147483647 w 556"/>
                <a:gd name="T49" fmla="*/ 2147483647 h 821"/>
                <a:gd name="T50" fmla="*/ 2147483647 w 556"/>
                <a:gd name="T51" fmla="*/ 2147483647 h 821"/>
                <a:gd name="T52" fmla="*/ 2147483647 w 556"/>
                <a:gd name="T53" fmla="*/ 2147483647 h 821"/>
                <a:gd name="T54" fmla="*/ 2147483647 w 556"/>
                <a:gd name="T55" fmla="*/ 2147483647 h 821"/>
                <a:gd name="T56" fmla="*/ 2147483647 w 556"/>
                <a:gd name="T57" fmla="*/ 2147483647 h 821"/>
                <a:gd name="T58" fmla="*/ 2147483647 w 556"/>
                <a:gd name="T59" fmla="*/ 2147483647 h 821"/>
                <a:gd name="T60" fmla="*/ 2147483647 w 556"/>
                <a:gd name="T61" fmla="*/ 2147483647 h 821"/>
                <a:gd name="T62" fmla="*/ 2147483647 w 556"/>
                <a:gd name="T63" fmla="*/ 2147483647 h 821"/>
                <a:gd name="T64" fmla="*/ 2147483647 w 556"/>
                <a:gd name="T65" fmla="*/ 2147483647 h 821"/>
                <a:gd name="T66" fmla="*/ 2147483647 w 556"/>
                <a:gd name="T67" fmla="*/ 2147483647 h 821"/>
                <a:gd name="T68" fmla="*/ 2147483647 w 556"/>
                <a:gd name="T69" fmla="*/ 0 h 821"/>
                <a:gd name="T70" fmla="*/ 2147483647 w 556"/>
                <a:gd name="T71" fmla="*/ 0 h 821"/>
                <a:gd name="T72" fmla="*/ 2147483647 w 556"/>
                <a:gd name="T73" fmla="*/ 0 h 821"/>
                <a:gd name="T74" fmla="*/ 2147483647 w 556"/>
                <a:gd name="T75" fmla="*/ 0 h 821"/>
                <a:gd name="T76" fmla="*/ 2147483647 w 556"/>
                <a:gd name="T77" fmla="*/ 0 h 821"/>
                <a:gd name="T78" fmla="*/ 2147483647 w 556"/>
                <a:gd name="T79" fmla="*/ 0 h 821"/>
                <a:gd name="T80" fmla="*/ 2147483647 w 556"/>
                <a:gd name="T81" fmla="*/ 0 h 821"/>
                <a:gd name="T82" fmla="*/ 2147483647 w 556"/>
                <a:gd name="T83" fmla="*/ 0 h 821"/>
                <a:gd name="T84" fmla="*/ 0 w 556"/>
                <a:gd name="T85" fmla="*/ 0 h 821"/>
                <a:gd name="T86" fmla="*/ 0 w 556"/>
                <a:gd name="T87" fmla="*/ 2147483647 h 821"/>
                <a:gd name="T88" fmla="*/ 0 w 556"/>
                <a:gd name="T89" fmla="*/ 2147483647 h 821"/>
                <a:gd name="T90" fmla="*/ 0 w 556"/>
                <a:gd name="T91" fmla="*/ 2147483647 h 821"/>
                <a:gd name="T92" fmla="*/ 0 w 556"/>
                <a:gd name="T93" fmla="*/ 2147483647 h 821"/>
                <a:gd name="T94" fmla="*/ 0 w 556"/>
                <a:gd name="T95" fmla="*/ 2147483647 h 821"/>
                <a:gd name="T96" fmla="*/ 2147483647 w 556"/>
                <a:gd name="T97" fmla="*/ 2147483647 h 821"/>
                <a:gd name="T98" fmla="*/ 2147483647 w 556"/>
                <a:gd name="T99" fmla="*/ 2147483647 h 821"/>
                <a:gd name="T100" fmla="*/ 2147483647 w 556"/>
                <a:gd name="T101" fmla="*/ 2147483647 h 821"/>
                <a:gd name="T102" fmla="*/ 2147483647 w 556"/>
                <a:gd name="T103" fmla="*/ 2147483647 h 821"/>
                <a:gd name="T104" fmla="*/ 2147483647 w 556"/>
                <a:gd name="T105" fmla="*/ 2147483647 h 821"/>
                <a:gd name="T106" fmla="*/ 2147483647 w 556"/>
                <a:gd name="T107" fmla="*/ 2147483647 h 821"/>
                <a:gd name="T108" fmla="*/ 2147483647 w 556"/>
                <a:gd name="T109" fmla="*/ 2147483647 h 821"/>
                <a:gd name="T110" fmla="*/ 2147483647 w 556"/>
                <a:gd name="T111" fmla="*/ 2147483647 h 821"/>
                <a:gd name="T112" fmla="*/ 2147483647 w 556"/>
                <a:gd name="T113" fmla="*/ 2147483647 h 821"/>
                <a:gd name="T114" fmla="*/ 2147483647 w 556"/>
                <a:gd name="T115" fmla="*/ 2147483647 h 821"/>
                <a:gd name="T116" fmla="*/ 2147483647 w 556"/>
                <a:gd name="T117" fmla="*/ 2147483647 h 821"/>
                <a:gd name="T118" fmla="*/ 2147483647 w 556"/>
                <a:gd name="T119" fmla="*/ 2147483647 h 821"/>
                <a:gd name="T120" fmla="*/ 2147483647 w 556"/>
                <a:gd name="T121" fmla="*/ 2147483647 h 8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56"/>
                <a:gd name="T184" fmla="*/ 0 h 821"/>
                <a:gd name="T185" fmla="*/ 556 w 556"/>
                <a:gd name="T186" fmla="*/ 821 h 8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56" h="821">
                  <a:moveTo>
                    <a:pt x="295" y="793"/>
                  </a:moveTo>
                  <a:lnTo>
                    <a:pt x="295" y="749"/>
                  </a:lnTo>
                  <a:lnTo>
                    <a:pt x="295" y="690"/>
                  </a:lnTo>
                  <a:lnTo>
                    <a:pt x="295" y="623"/>
                  </a:lnTo>
                  <a:lnTo>
                    <a:pt x="295" y="559"/>
                  </a:lnTo>
                  <a:lnTo>
                    <a:pt x="320" y="533"/>
                  </a:lnTo>
                  <a:lnTo>
                    <a:pt x="351" y="499"/>
                  </a:lnTo>
                  <a:lnTo>
                    <a:pt x="387" y="460"/>
                  </a:lnTo>
                  <a:lnTo>
                    <a:pt x="419" y="424"/>
                  </a:lnTo>
                  <a:lnTo>
                    <a:pt x="444" y="397"/>
                  </a:lnTo>
                  <a:lnTo>
                    <a:pt x="475" y="361"/>
                  </a:lnTo>
                  <a:lnTo>
                    <a:pt x="510" y="321"/>
                  </a:lnTo>
                  <a:lnTo>
                    <a:pt x="543" y="282"/>
                  </a:lnTo>
                  <a:lnTo>
                    <a:pt x="556" y="266"/>
                  </a:lnTo>
                  <a:lnTo>
                    <a:pt x="536" y="262"/>
                  </a:lnTo>
                  <a:lnTo>
                    <a:pt x="504" y="247"/>
                  </a:lnTo>
                  <a:lnTo>
                    <a:pt x="485" y="230"/>
                  </a:lnTo>
                  <a:lnTo>
                    <a:pt x="468" y="226"/>
                  </a:lnTo>
                  <a:lnTo>
                    <a:pt x="418" y="252"/>
                  </a:lnTo>
                  <a:lnTo>
                    <a:pt x="414" y="245"/>
                  </a:lnTo>
                  <a:lnTo>
                    <a:pt x="399" y="255"/>
                  </a:lnTo>
                  <a:lnTo>
                    <a:pt x="411" y="237"/>
                  </a:lnTo>
                  <a:lnTo>
                    <a:pt x="410" y="210"/>
                  </a:lnTo>
                  <a:lnTo>
                    <a:pt x="400" y="196"/>
                  </a:lnTo>
                  <a:lnTo>
                    <a:pt x="399" y="167"/>
                  </a:lnTo>
                  <a:lnTo>
                    <a:pt x="385" y="133"/>
                  </a:lnTo>
                  <a:lnTo>
                    <a:pt x="380" y="107"/>
                  </a:lnTo>
                  <a:lnTo>
                    <a:pt x="338" y="102"/>
                  </a:lnTo>
                  <a:lnTo>
                    <a:pt x="333" y="126"/>
                  </a:lnTo>
                  <a:lnTo>
                    <a:pt x="330" y="102"/>
                  </a:lnTo>
                  <a:lnTo>
                    <a:pt x="325" y="105"/>
                  </a:lnTo>
                  <a:lnTo>
                    <a:pt x="312" y="84"/>
                  </a:lnTo>
                  <a:lnTo>
                    <a:pt x="305" y="82"/>
                  </a:lnTo>
                  <a:lnTo>
                    <a:pt x="312" y="68"/>
                  </a:lnTo>
                  <a:lnTo>
                    <a:pt x="314" y="0"/>
                  </a:lnTo>
                  <a:lnTo>
                    <a:pt x="276" y="0"/>
                  </a:lnTo>
                  <a:lnTo>
                    <a:pt x="236" y="0"/>
                  </a:lnTo>
                  <a:lnTo>
                    <a:pt x="195" y="0"/>
                  </a:lnTo>
                  <a:lnTo>
                    <a:pt x="155" y="0"/>
                  </a:lnTo>
                  <a:lnTo>
                    <a:pt x="120" y="0"/>
                  </a:lnTo>
                  <a:lnTo>
                    <a:pt x="81" y="0"/>
                  </a:lnTo>
                  <a:lnTo>
                    <a:pt x="39" y="0"/>
                  </a:lnTo>
                  <a:lnTo>
                    <a:pt x="0" y="0"/>
                  </a:lnTo>
                  <a:lnTo>
                    <a:pt x="0" y="78"/>
                  </a:lnTo>
                  <a:lnTo>
                    <a:pt x="0" y="157"/>
                  </a:lnTo>
                  <a:lnTo>
                    <a:pt x="0" y="228"/>
                  </a:lnTo>
                  <a:lnTo>
                    <a:pt x="0" y="294"/>
                  </a:lnTo>
                  <a:lnTo>
                    <a:pt x="0" y="339"/>
                  </a:lnTo>
                  <a:lnTo>
                    <a:pt x="4" y="408"/>
                  </a:lnTo>
                  <a:lnTo>
                    <a:pt x="8" y="479"/>
                  </a:lnTo>
                  <a:lnTo>
                    <a:pt x="11" y="542"/>
                  </a:lnTo>
                  <a:lnTo>
                    <a:pt x="14" y="588"/>
                  </a:lnTo>
                  <a:lnTo>
                    <a:pt x="17" y="652"/>
                  </a:lnTo>
                  <a:lnTo>
                    <a:pt x="21" y="718"/>
                  </a:lnTo>
                  <a:lnTo>
                    <a:pt x="25" y="776"/>
                  </a:lnTo>
                  <a:lnTo>
                    <a:pt x="27" y="821"/>
                  </a:lnTo>
                  <a:lnTo>
                    <a:pt x="85" y="821"/>
                  </a:lnTo>
                  <a:lnTo>
                    <a:pt x="150" y="821"/>
                  </a:lnTo>
                  <a:lnTo>
                    <a:pt x="205" y="821"/>
                  </a:lnTo>
                  <a:lnTo>
                    <a:pt x="295" y="821"/>
                  </a:lnTo>
                  <a:lnTo>
                    <a:pt x="295" y="793"/>
                  </a:lnTo>
                  <a:close/>
                </a:path>
              </a:pathLst>
            </a:custGeom>
            <a:grpFill/>
            <a:ln w="6350">
              <a:solidFill>
                <a:schemeClr val="accent5"/>
              </a:solidFill>
              <a:round/>
              <a:headEnd/>
              <a:tailEnd/>
            </a:ln>
          </p:spPr>
          <p:txBody>
            <a:bodyPr/>
            <a:lstStyle/>
            <a:p>
              <a:endParaRPr lang="en-US"/>
            </a:p>
          </p:txBody>
        </p:sp>
        <p:sp>
          <p:nvSpPr>
            <p:cNvPr id="227" name="Freeform 1127"/>
            <p:cNvSpPr>
              <a:spLocks/>
            </p:cNvSpPr>
            <p:nvPr/>
          </p:nvSpPr>
          <p:spPr bwMode="auto">
            <a:xfrm>
              <a:off x="3803863" y="3025009"/>
              <a:ext cx="458668" cy="545124"/>
            </a:xfrm>
            <a:custGeom>
              <a:avLst/>
              <a:gdLst>
                <a:gd name="T0" fmla="*/ 2147483647 w 973"/>
                <a:gd name="T1" fmla="*/ 2147483647 h 1305"/>
                <a:gd name="T2" fmla="*/ 2147483647 w 973"/>
                <a:gd name="T3" fmla="*/ 2147483647 h 1305"/>
                <a:gd name="T4" fmla="*/ 2147483647 w 973"/>
                <a:gd name="T5" fmla="*/ 2147483647 h 1305"/>
                <a:gd name="T6" fmla="*/ 2147483647 w 973"/>
                <a:gd name="T7" fmla="*/ 2147483647 h 1305"/>
                <a:gd name="T8" fmla="*/ 2147483647 w 973"/>
                <a:gd name="T9" fmla="*/ 2147483647 h 1305"/>
                <a:gd name="T10" fmla="*/ 2147483647 w 973"/>
                <a:gd name="T11" fmla="*/ 2147483647 h 1305"/>
                <a:gd name="T12" fmla="*/ 2147483647 w 973"/>
                <a:gd name="T13" fmla="*/ 2147483647 h 1305"/>
                <a:gd name="T14" fmla="*/ 2147483647 w 973"/>
                <a:gd name="T15" fmla="*/ 2147483647 h 1305"/>
                <a:gd name="T16" fmla="*/ 2147483647 w 973"/>
                <a:gd name="T17" fmla="*/ 2147483647 h 1305"/>
                <a:gd name="T18" fmla="*/ 2147483647 w 973"/>
                <a:gd name="T19" fmla="*/ 2147483647 h 1305"/>
                <a:gd name="T20" fmla="*/ 2147483647 w 973"/>
                <a:gd name="T21" fmla="*/ 2147483647 h 1305"/>
                <a:gd name="T22" fmla="*/ 2147483647 w 973"/>
                <a:gd name="T23" fmla="*/ 2147483647 h 1305"/>
                <a:gd name="T24" fmla="*/ 2147483647 w 973"/>
                <a:gd name="T25" fmla="*/ 2147483647 h 1305"/>
                <a:gd name="T26" fmla="*/ 2147483647 w 973"/>
                <a:gd name="T27" fmla="*/ 2147483647 h 1305"/>
                <a:gd name="T28" fmla="*/ 2147483647 w 973"/>
                <a:gd name="T29" fmla="*/ 2147483647 h 1305"/>
                <a:gd name="T30" fmla="*/ 2147483647 w 973"/>
                <a:gd name="T31" fmla="*/ 2147483647 h 1305"/>
                <a:gd name="T32" fmla="*/ 2147483647 w 973"/>
                <a:gd name="T33" fmla="*/ 2147483647 h 1305"/>
                <a:gd name="T34" fmla="*/ 2147483647 w 973"/>
                <a:gd name="T35" fmla="*/ 2147483647 h 1305"/>
                <a:gd name="T36" fmla="*/ 2147483647 w 973"/>
                <a:gd name="T37" fmla="*/ 2147483647 h 1305"/>
                <a:gd name="T38" fmla="*/ 2147483647 w 973"/>
                <a:gd name="T39" fmla="*/ 2147483647 h 1305"/>
                <a:gd name="T40" fmla="*/ 2147483647 w 973"/>
                <a:gd name="T41" fmla="*/ 2147483647 h 1305"/>
                <a:gd name="T42" fmla="*/ 2147483647 w 973"/>
                <a:gd name="T43" fmla="*/ 2147483647 h 1305"/>
                <a:gd name="T44" fmla="*/ 2147483647 w 973"/>
                <a:gd name="T45" fmla="*/ 2147483647 h 1305"/>
                <a:gd name="T46" fmla="*/ 2147483647 w 973"/>
                <a:gd name="T47" fmla="*/ 2147483647 h 1305"/>
                <a:gd name="T48" fmla="*/ 2147483647 w 973"/>
                <a:gd name="T49" fmla="*/ 2147483647 h 1305"/>
                <a:gd name="T50" fmla="*/ 2147483647 w 973"/>
                <a:gd name="T51" fmla="*/ 2147483647 h 1305"/>
                <a:gd name="T52" fmla="*/ 2147483647 w 973"/>
                <a:gd name="T53" fmla="*/ 2147483647 h 1305"/>
                <a:gd name="T54" fmla="*/ 2147483647 w 973"/>
                <a:gd name="T55" fmla="*/ 2147483647 h 1305"/>
                <a:gd name="T56" fmla="*/ 2147483647 w 973"/>
                <a:gd name="T57" fmla="*/ 2147483647 h 1305"/>
                <a:gd name="T58" fmla="*/ 2147483647 w 973"/>
                <a:gd name="T59" fmla="*/ 2147483647 h 1305"/>
                <a:gd name="T60" fmla="*/ 2147483647 w 973"/>
                <a:gd name="T61" fmla="*/ 2147483647 h 1305"/>
                <a:gd name="T62" fmla="*/ 2147483647 w 973"/>
                <a:gd name="T63" fmla="*/ 2147483647 h 1305"/>
                <a:gd name="T64" fmla="*/ 2147483647 w 973"/>
                <a:gd name="T65" fmla="*/ 2147483647 h 1305"/>
                <a:gd name="T66" fmla="*/ 2147483647 w 973"/>
                <a:gd name="T67" fmla="*/ 2147483647 h 1305"/>
                <a:gd name="T68" fmla="*/ 2147483647 w 973"/>
                <a:gd name="T69" fmla="*/ 2147483647 h 1305"/>
                <a:gd name="T70" fmla="*/ 2147483647 w 973"/>
                <a:gd name="T71" fmla="*/ 2147483647 h 1305"/>
                <a:gd name="T72" fmla="*/ 2147483647 w 973"/>
                <a:gd name="T73" fmla="*/ 2147483647 h 1305"/>
                <a:gd name="T74" fmla="*/ 2147483647 w 973"/>
                <a:gd name="T75" fmla="*/ 2147483647 h 1305"/>
                <a:gd name="T76" fmla="*/ 2147483647 w 973"/>
                <a:gd name="T77" fmla="*/ 2147483647 h 1305"/>
                <a:gd name="T78" fmla="*/ 2147483647 w 973"/>
                <a:gd name="T79" fmla="*/ 2147483647 h 1305"/>
                <a:gd name="T80" fmla="*/ 2147483647 w 973"/>
                <a:gd name="T81" fmla="*/ 2147483647 h 1305"/>
                <a:gd name="T82" fmla="*/ 2147483647 w 973"/>
                <a:gd name="T83" fmla="*/ 2147483647 h 1305"/>
                <a:gd name="T84" fmla="*/ 2147483647 w 973"/>
                <a:gd name="T85" fmla="*/ 2147483647 h 1305"/>
                <a:gd name="T86" fmla="*/ 2147483647 w 973"/>
                <a:gd name="T87" fmla="*/ 2147483647 h 1305"/>
                <a:gd name="T88" fmla="*/ 2147483647 w 973"/>
                <a:gd name="T89" fmla="*/ 2147483647 h 1305"/>
                <a:gd name="T90" fmla="*/ 2147483647 w 973"/>
                <a:gd name="T91" fmla="*/ 2147483647 h 1305"/>
                <a:gd name="T92" fmla="*/ 2147483647 w 973"/>
                <a:gd name="T93" fmla="*/ 2147483647 h 1305"/>
                <a:gd name="T94" fmla="*/ 2147483647 w 973"/>
                <a:gd name="T95" fmla="*/ 2147483647 h 1305"/>
                <a:gd name="T96" fmla="*/ 2147483647 w 973"/>
                <a:gd name="T97" fmla="*/ 2147483647 h 1305"/>
                <a:gd name="T98" fmla="*/ 2147483647 w 973"/>
                <a:gd name="T99" fmla="*/ 2147483647 h 1305"/>
                <a:gd name="T100" fmla="*/ 2147483647 w 973"/>
                <a:gd name="T101" fmla="*/ 2147483647 h 1305"/>
                <a:gd name="T102" fmla="*/ 2147483647 w 973"/>
                <a:gd name="T103" fmla="*/ 2147483647 h 1305"/>
                <a:gd name="T104" fmla="*/ 2147483647 w 973"/>
                <a:gd name="T105" fmla="*/ 2147483647 h 1305"/>
                <a:gd name="T106" fmla="*/ 2147483647 w 973"/>
                <a:gd name="T107" fmla="*/ 2147483647 h 1305"/>
                <a:gd name="T108" fmla="*/ 2147483647 w 973"/>
                <a:gd name="T109" fmla="*/ 2147483647 h 1305"/>
                <a:gd name="T110" fmla="*/ 2147483647 w 973"/>
                <a:gd name="T111" fmla="*/ 2147483647 h 1305"/>
                <a:gd name="T112" fmla="*/ 2147483647 w 973"/>
                <a:gd name="T113" fmla="*/ 2147483647 h 1305"/>
                <a:gd name="T114" fmla="*/ 2147483647 w 973"/>
                <a:gd name="T115" fmla="*/ 2147483647 h 1305"/>
                <a:gd name="T116" fmla="*/ 2147483647 w 973"/>
                <a:gd name="T117" fmla="*/ 2147483647 h 1305"/>
                <a:gd name="T118" fmla="*/ 2147483647 w 973"/>
                <a:gd name="T119" fmla="*/ 2147483647 h 1305"/>
                <a:gd name="T120" fmla="*/ 2147483647 w 973"/>
                <a:gd name="T121" fmla="*/ 2147483647 h 1305"/>
                <a:gd name="T122" fmla="*/ 2147483647 w 973"/>
                <a:gd name="T123" fmla="*/ 2147483647 h 1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3"/>
                <a:gd name="T187" fmla="*/ 0 h 1305"/>
                <a:gd name="T188" fmla="*/ 973 w 973"/>
                <a:gd name="T189" fmla="*/ 1305 h 1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3" h="1305">
                  <a:moveTo>
                    <a:pt x="962" y="849"/>
                  </a:moveTo>
                  <a:lnTo>
                    <a:pt x="922" y="849"/>
                  </a:lnTo>
                  <a:lnTo>
                    <a:pt x="880" y="849"/>
                  </a:lnTo>
                  <a:lnTo>
                    <a:pt x="842" y="849"/>
                  </a:lnTo>
                  <a:lnTo>
                    <a:pt x="805" y="849"/>
                  </a:lnTo>
                  <a:lnTo>
                    <a:pt x="768" y="849"/>
                  </a:lnTo>
                  <a:lnTo>
                    <a:pt x="726" y="849"/>
                  </a:lnTo>
                  <a:lnTo>
                    <a:pt x="686" y="849"/>
                  </a:lnTo>
                  <a:lnTo>
                    <a:pt x="683" y="843"/>
                  </a:lnTo>
                  <a:lnTo>
                    <a:pt x="691" y="846"/>
                  </a:lnTo>
                  <a:lnTo>
                    <a:pt x="686" y="826"/>
                  </a:lnTo>
                  <a:lnTo>
                    <a:pt x="672" y="816"/>
                  </a:lnTo>
                  <a:lnTo>
                    <a:pt x="682" y="806"/>
                  </a:lnTo>
                  <a:lnTo>
                    <a:pt x="703" y="804"/>
                  </a:lnTo>
                  <a:lnTo>
                    <a:pt x="693" y="795"/>
                  </a:lnTo>
                  <a:lnTo>
                    <a:pt x="695" y="781"/>
                  </a:lnTo>
                  <a:lnTo>
                    <a:pt x="685" y="770"/>
                  </a:lnTo>
                  <a:lnTo>
                    <a:pt x="679" y="773"/>
                  </a:lnTo>
                  <a:lnTo>
                    <a:pt x="677" y="789"/>
                  </a:lnTo>
                  <a:lnTo>
                    <a:pt x="668" y="790"/>
                  </a:lnTo>
                  <a:lnTo>
                    <a:pt x="667" y="811"/>
                  </a:lnTo>
                  <a:lnTo>
                    <a:pt x="672" y="823"/>
                  </a:lnTo>
                  <a:lnTo>
                    <a:pt x="671" y="838"/>
                  </a:lnTo>
                  <a:lnTo>
                    <a:pt x="665" y="839"/>
                  </a:lnTo>
                  <a:lnTo>
                    <a:pt x="662" y="852"/>
                  </a:lnTo>
                  <a:lnTo>
                    <a:pt x="660" y="860"/>
                  </a:lnTo>
                  <a:lnTo>
                    <a:pt x="664" y="867"/>
                  </a:lnTo>
                  <a:lnTo>
                    <a:pt x="651" y="879"/>
                  </a:lnTo>
                  <a:lnTo>
                    <a:pt x="645" y="866"/>
                  </a:lnTo>
                  <a:lnTo>
                    <a:pt x="651" y="861"/>
                  </a:lnTo>
                  <a:lnTo>
                    <a:pt x="628" y="837"/>
                  </a:lnTo>
                  <a:lnTo>
                    <a:pt x="613" y="834"/>
                  </a:lnTo>
                  <a:lnTo>
                    <a:pt x="608" y="845"/>
                  </a:lnTo>
                  <a:lnTo>
                    <a:pt x="600" y="841"/>
                  </a:lnTo>
                  <a:lnTo>
                    <a:pt x="598" y="845"/>
                  </a:lnTo>
                  <a:lnTo>
                    <a:pt x="587" y="840"/>
                  </a:lnTo>
                  <a:lnTo>
                    <a:pt x="587" y="834"/>
                  </a:lnTo>
                  <a:lnTo>
                    <a:pt x="578" y="827"/>
                  </a:lnTo>
                  <a:lnTo>
                    <a:pt x="576" y="839"/>
                  </a:lnTo>
                  <a:lnTo>
                    <a:pt x="570" y="835"/>
                  </a:lnTo>
                  <a:lnTo>
                    <a:pt x="568" y="827"/>
                  </a:lnTo>
                  <a:lnTo>
                    <a:pt x="575" y="820"/>
                  </a:lnTo>
                  <a:lnTo>
                    <a:pt x="571" y="800"/>
                  </a:lnTo>
                  <a:lnTo>
                    <a:pt x="576" y="799"/>
                  </a:lnTo>
                  <a:lnTo>
                    <a:pt x="574" y="791"/>
                  </a:lnTo>
                  <a:lnTo>
                    <a:pt x="578" y="788"/>
                  </a:lnTo>
                  <a:lnTo>
                    <a:pt x="575" y="781"/>
                  </a:lnTo>
                  <a:lnTo>
                    <a:pt x="569" y="776"/>
                  </a:lnTo>
                  <a:lnTo>
                    <a:pt x="567" y="783"/>
                  </a:lnTo>
                  <a:lnTo>
                    <a:pt x="561" y="784"/>
                  </a:lnTo>
                  <a:lnTo>
                    <a:pt x="560" y="799"/>
                  </a:lnTo>
                  <a:lnTo>
                    <a:pt x="554" y="803"/>
                  </a:lnTo>
                  <a:lnTo>
                    <a:pt x="552" y="797"/>
                  </a:lnTo>
                  <a:lnTo>
                    <a:pt x="551" y="802"/>
                  </a:lnTo>
                  <a:lnTo>
                    <a:pt x="543" y="800"/>
                  </a:lnTo>
                  <a:lnTo>
                    <a:pt x="543" y="783"/>
                  </a:lnTo>
                  <a:lnTo>
                    <a:pt x="551" y="756"/>
                  </a:lnTo>
                  <a:lnTo>
                    <a:pt x="544" y="752"/>
                  </a:lnTo>
                  <a:lnTo>
                    <a:pt x="541" y="740"/>
                  </a:lnTo>
                  <a:lnTo>
                    <a:pt x="526" y="736"/>
                  </a:lnTo>
                  <a:lnTo>
                    <a:pt x="528" y="724"/>
                  </a:lnTo>
                  <a:lnTo>
                    <a:pt x="514" y="703"/>
                  </a:lnTo>
                  <a:lnTo>
                    <a:pt x="526" y="690"/>
                  </a:lnTo>
                  <a:lnTo>
                    <a:pt x="521" y="681"/>
                  </a:lnTo>
                  <a:lnTo>
                    <a:pt x="521" y="667"/>
                  </a:lnTo>
                  <a:lnTo>
                    <a:pt x="534" y="671"/>
                  </a:lnTo>
                  <a:lnTo>
                    <a:pt x="545" y="661"/>
                  </a:lnTo>
                  <a:lnTo>
                    <a:pt x="538" y="659"/>
                  </a:lnTo>
                  <a:lnTo>
                    <a:pt x="528" y="628"/>
                  </a:lnTo>
                  <a:lnTo>
                    <a:pt x="535" y="629"/>
                  </a:lnTo>
                  <a:lnTo>
                    <a:pt x="534" y="633"/>
                  </a:lnTo>
                  <a:lnTo>
                    <a:pt x="549" y="649"/>
                  </a:lnTo>
                  <a:lnTo>
                    <a:pt x="559" y="654"/>
                  </a:lnTo>
                  <a:lnTo>
                    <a:pt x="563" y="649"/>
                  </a:lnTo>
                  <a:lnTo>
                    <a:pt x="558" y="639"/>
                  </a:lnTo>
                  <a:lnTo>
                    <a:pt x="561" y="635"/>
                  </a:lnTo>
                  <a:lnTo>
                    <a:pt x="556" y="626"/>
                  </a:lnTo>
                  <a:lnTo>
                    <a:pt x="560" y="619"/>
                  </a:lnTo>
                  <a:lnTo>
                    <a:pt x="553" y="610"/>
                  </a:lnTo>
                  <a:lnTo>
                    <a:pt x="556" y="609"/>
                  </a:lnTo>
                  <a:lnTo>
                    <a:pt x="580" y="634"/>
                  </a:lnTo>
                  <a:lnTo>
                    <a:pt x="596" y="642"/>
                  </a:lnTo>
                  <a:lnTo>
                    <a:pt x="603" y="656"/>
                  </a:lnTo>
                  <a:lnTo>
                    <a:pt x="661" y="653"/>
                  </a:lnTo>
                  <a:lnTo>
                    <a:pt x="688" y="664"/>
                  </a:lnTo>
                  <a:lnTo>
                    <a:pt x="699" y="637"/>
                  </a:lnTo>
                  <a:lnTo>
                    <a:pt x="694" y="629"/>
                  </a:lnTo>
                  <a:lnTo>
                    <a:pt x="696" y="620"/>
                  </a:lnTo>
                  <a:lnTo>
                    <a:pt x="715" y="609"/>
                  </a:lnTo>
                  <a:lnTo>
                    <a:pt x="711" y="604"/>
                  </a:lnTo>
                  <a:lnTo>
                    <a:pt x="713" y="595"/>
                  </a:lnTo>
                  <a:lnTo>
                    <a:pt x="699" y="590"/>
                  </a:lnTo>
                  <a:lnTo>
                    <a:pt x="688" y="570"/>
                  </a:lnTo>
                  <a:lnTo>
                    <a:pt x="688" y="563"/>
                  </a:lnTo>
                  <a:lnTo>
                    <a:pt x="699" y="557"/>
                  </a:lnTo>
                  <a:lnTo>
                    <a:pt x="683" y="556"/>
                  </a:lnTo>
                  <a:lnTo>
                    <a:pt x="682" y="550"/>
                  </a:lnTo>
                  <a:lnTo>
                    <a:pt x="675" y="553"/>
                  </a:lnTo>
                  <a:lnTo>
                    <a:pt x="681" y="541"/>
                  </a:lnTo>
                  <a:lnTo>
                    <a:pt x="672" y="538"/>
                  </a:lnTo>
                  <a:lnTo>
                    <a:pt x="668" y="526"/>
                  </a:lnTo>
                  <a:lnTo>
                    <a:pt x="681" y="525"/>
                  </a:lnTo>
                  <a:lnTo>
                    <a:pt x="670" y="504"/>
                  </a:lnTo>
                  <a:lnTo>
                    <a:pt x="681" y="490"/>
                  </a:lnTo>
                  <a:lnTo>
                    <a:pt x="681" y="476"/>
                  </a:lnTo>
                  <a:lnTo>
                    <a:pt x="687" y="463"/>
                  </a:lnTo>
                  <a:lnTo>
                    <a:pt x="681" y="462"/>
                  </a:lnTo>
                  <a:lnTo>
                    <a:pt x="688" y="452"/>
                  </a:lnTo>
                  <a:lnTo>
                    <a:pt x="685" y="436"/>
                  </a:lnTo>
                  <a:lnTo>
                    <a:pt x="693" y="423"/>
                  </a:lnTo>
                  <a:lnTo>
                    <a:pt x="688" y="429"/>
                  </a:lnTo>
                  <a:lnTo>
                    <a:pt x="679" y="418"/>
                  </a:lnTo>
                  <a:lnTo>
                    <a:pt x="673" y="420"/>
                  </a:lnTo>
                  <a:lnTo>
                    <a:pt x="667" y="399"/>
                  </a:lnTo>
                  <a:lnTo>
                    <a:pt x="657" y="395"/>
                  </a:lnTo>
                  <a:lnTo>
                    <a:pt x="669" y="374"/>
                  </a:lnTo>
                  <a:lnTo>
                    <a:pt x="683" y="364"/>
                  </a:lnTo>
                  <a:lnTo>
                    <a:pt x="680" y="357"/>
                  </a:lnTo>
                  <a:lnTo>
                    <a:pt x="672" y="358"/>
                  </a:lnTo>
                  <a:lnTo>
                    <a:pt x="673" y="347"/>
                  </a:lnTo>
                  <a:lnTo>
                    <a:pt x="698" y="340"/>
                  </a:lnTo>
                  <a:lnTo>
                    <a:pt x="688" y="330"/>
                  </a:lnTo>
                  <a:lnTo>
                    <a:pt x="669" y="341"/>
                  </a:lnTo>
                  <a:lnTo>
                    <a:pt x="663" y="330"/>
                  </a:lnTo>
                  <a:lnTo>
                    <a:pt x="638" y="326"/>
                  </a:lnTo>
                  <a:lnTo>
                    <a:pt x="645" y="315"/>
                  </a:lnTo>
                  <a:lnTo>
                    <a:pt x="663" y="320"/>
                  </a:lnTo>
                  <a:lnTo>
                    <a:pt x="653" y="304"/>
                  </a:lnTo>
                  <a:lnTo>
                    <a:pt x="654" y="286"/>
                  </a:lnTo>
                  <a:lnTo>
                    <a:pt x="661" y="278"/>
                  </a:lnTo>
                  <a:lnTo>
                    <a:pt x="646" y="283"/>
                  </a:lnTo>
                  <a:lnTo>
                    <a:pt x="640" y="275"/>
                  </a:lnTo>
                  <a:lnTo>
                    <a:pt x="641" y="252"/>
                  </a:lnTo>
                  <a:lnTo>
                    <a:pt x="648" y="243"/>
                  </a:lnTo>
                  <a:lnTo>
                    <a:pt x="636" y="233"/>
                  </a:lnTo>
                  <a:lnTo>
                    <a:pt x="650" y="227"/>
                  </a:lnTo>
                  <a:lnTo>
                    <a:pt x="640" y="213"/>
                  </a:lnTo>
                  <a:lnTo>
                    <a:pt x="655" y="206"/>
                  </a:lnTo>
                  <a:lnTo>
                    <a:pt x="641" y="205"/>
                  </a:lnTo>
                  <a:lnTo>
                    <a:pt x="609" y="254"/>
                  </a:lnTo>
                  <a:lnTo>
                    <a:pt x="625" y="276"/>
                  </a:lnTo>
                  <a:lnTo>
                    <a:pt x="608" y="298"/>
                  </a:lnTo>
                  <a:lnTo>
                    <a:pt x="604" y="293"/>
                  </a:lnTo>
                  <a:lnTo>
                    <a:pt x="608" y="303"/>
                  </a:lnTo>
                  <a:lnTo>
                    <a:pt x="606" y="314"/>
                  </a:lnTo>
                  <a:lnTo>
                    <a:pt x="599" y="314"/>
                  </a:lnTo>
                  <a:lnTo>
                    <a:pt x="598" y="321"/>
                  </a:lnTo>
                  <a:lnTo>
                    <a:pt x="601" y="323"/>
                  </a:lnTo>
                  <a:lnTo>
                    <a:pt x="593" y="329"/>
                  </a:lnTo>
                  <a:lnTo>
                    <a:pt x="585" y="323"/>
                  </a:lnTo>
                  <a:lnTo>
                    <a:pt x="598" y="341"/>
                  </a:lnTo>
                  <a:lnTo>
                    <a:pt x="589" y="364"/>
                  </a:lnTo>
                  <a:lnTo>
                    <a:pt x="592" y="348"/>
                  </a:lnTo>
                  <a:lnTo>
                    <a:pt x="589" y="340"/>
                  </a:lnTo>
                  <a:lnTo>
                    <a:pt x="573" y="329"/>
                  </a:lnTo>
                  <a:lnTo>
                    <a:pt x="562" y="358"/>
                  </a:lnTo>
                  <a:lnTo>
                    <a:pt x="522" y="377"/>
                  </a:lnTo>
                  <a:lnTo>
                    <a:pt x="517" y="390"/>
                  </a:lnTo>
                  <a:lnTo>
                    <a:pt x="514" y="362"/>
                  </a:lnTo>
                  <a:lnTo>
                    <a:pt x="506" y="371"/>
                  </a:lnTo>
                  <a:lnTo>
                    <a:pt x="508" y="348"/>
                  </a:lnTo>
                  <a:lnTo>
                    <a:pt x="491" y="390"/>
                  </a:lnTo>
                  <a:lnTo>
                    <a:pt x="491" y="386"/>
                  </a:lnTo>
                  <a:lnTo>
                    <a:pt x="495" y="363"/>
                  </a:lnTo>
                  <a:lnTo>
                    <a:pt x="485" y="327"/>
                  </a:lnTo>
                  <a:lnTo>
                    <a:pt x="448" y="328"/>
                  </a:lnTo>
                  <a:lnTo>
                    <a:pt x="427" y="345"/>
                  </a:lnTo>
                  <a:lnTo>
                    <a:pt x="407" y="336"/>
                  </a:lnTo>
                  <a:lnTo>
                    <a:pt x="422" y="332"/>
                  </a:lnTo>
                  <a:lnTo>
                    <a:pt x="417" y="317"/>
                  </a:lnTo>
                  <a:lnTo>
                    <a:pt x="425" y="316"/>
                  </a:lnTo>
                  <a:lnTo>
                    <a:pt x="431" y="329"/>
                  </a:lnTo>
                  <a:lnTo>
                    <a:pt x="453" y="315"/>
                  </a:lnTo>
                  <a:lnTo>
                    <a:pt x="450" y="306"/>
                  </a:lnTo>
                  <a:lnTo>
                    <a:pt x="440" y="302"/>
                  </a:lnTo>
                  <a:lnTo>
                    <a:pt x="453" y="291"/>
                  </a:lnTo>
                  <a:lnTo>
                    <a:pt x="432" y="288"/>
                  </a:lnTo>
                  <a:lnTo>
                    <a:pt x="444" y="264"/>
                  </a:lnTo>
                  <a:lnTo>
                    <a:pt x="441" y="250"/>
                  </a:lnTo>
                  <a:lnTo>
                    <a:pt x="422" y="238"/>
                  </a:lnTo>
                  <a:lnTo>
                    <a:pt x="428" y="232"/>
                  </a:lnTo>
                  <a:lnTo>
                    <a:pt x="444" y="225"/>
                  </a:lnTo>
                  <a:lnTo>
                    <a:pt x="430" y="198"/>
                  </a:lnTo>
                  <a:lnTo>
                    <a:pt x="431" y="173"/>
                  </a:lnTo>
                  <a:lnTo>
                    <a:pt x="442" y="159"/>
                  </a:lnTo>
                  <a:lnTo>
                    <a:pt x="433" y="139"/>
                  </a:lnTo>
                  <a:lnTo>
                    <a:pt x="428" y="143"/>
                  </a:lnTo>
                  <a:lnTo>
                    <a:pt x="429" y="149"/>
                  </a:lnTo>
                  <a:lnTo>
                    <a:pt x="413" y="157"/>
                  </a:lnTo>
                  <a:lnTo>
                    <a:pt x="404" y="138"/>
                  </a:lnTo>
                  <a:lnTo>
                    <a:pt x="377" y="146"/>
                  </a:lnTo>
                  <a:lnTo>
                    <a:pt x="370" y="130"/>
                  </a:lnTo>
                  <a:lnTo>
                    <a:pt x="348" y="132"/>
                  </a:lnTo>
                  <a:lnTo>
                    <a:pt x="350" y="123"/>
                  </a:lnTo>
                  <a:lnTo>
                    <a:pt x="339" y="116"/>
                  </a:lnTo>
                  <a:lnTo>
                    <a:pt x="337" y="105"/>
                  </a:lnTo>
                  <a:lnTo>
                    <a:pt x="349" y="93"/>
                  </a:lnTo>
                  <a:lnTo>
                    <a:pt x="338" y="87"/>
                  </a:lnTo>
                  <a:lnTo>
                    <a:pt x="322" y="97"/>
                  </a:lnTo>
                  <a:lnTo>
                    <a:pt x="321" y="90"/>
                  </a:lnTo>
                  <a:lnTo>
                    <a:pt x="327" y="86"/>
                  </a:lnTo>
                  <a:lnTo>
                    <a:pt x="320" y="75"/>
                  </a:lnTo>
                  <a:lnTo>
                    <a:pt x="320" y="62"/>
                  </a:lnTo>
                  <a:lnTo>
                    <a:pt x="307" y="60"/>
                  </a:lnTo>
                  <a:lnTo>
                    <a:pt x="305" y="71"/>
                  </a:lnTo>
                  <a:lnTo>
                    <a:pt x="296" y="72"/>
                  </a:lnTo>
                  <a:lnTo>
                    <a:pt x="306" y="52"/>
                  </a:lnTo>
                  <a:lnTo>
                    <a:pt x="303" y="41"/>
                  </a:lnTo>
                  <a:lnTo>
                    <a:pt x="252" y="11"/>
                  </a:lnTo>
                  <a:lnTo>
                    <a:pt x="216" y="31"/>
                  </a:lnTo>
                  <a:lnTo>
                    <a:pt x="213" y="39"/>
                  </a:lnTo>
                  <a:lnTo>
                    <a:pt x="198" y="40"/>
                  </a:lnTo>
                  <a:lnTo>
                    <a:pt x="200" y="34"/>
                  </a:lnTo>
                  <a:lnTo>
                    <a:pt x="197" y="29"/>
                  </a:lnTo>
                  <a:lnTo>
                    <a:pt x="175" y="35"/>
                  </a:lnTo>
                  <a:lnTo>
                    <a:pt x="176" y="27"/>
                  </a:lnTo>
                  <a:lnTo>
                    <a:pt x="146" y="13"/>
                  </a:lnTo>
                  <a:lnTo>
                    <a:pt x="94" y="7"/>
                  </a:lnTo>
                  <a:lnTo>
                    <a:pt x="93" y="0"/>
                  </a:lnTo>
                  <a:lnTo>
                    <a:pt x="63" y="36"/>
                  </a:lnTo>
                  <a:lnTo>
                    <a:pt x="64" y="57"/>
                  </a:lnTo>
                  <a:lnTo>
                    <a:pt x="69" y="75"/>
                  </a:lnTo>
                  <a:lnTo>
                    <a:pt x="87" y="88"/>
                  </a:lnTo>
                  <a:lnTo>
                    <a:pt x="97" y="80"/>
                  </a:lnTo>
                  <a:lnTo>
                    <a:pt x="96" y="94"/>
                  </a:lnTo>
                  <a:lnTo>
                    <a:pt x="83" y="110"/>
                  </a:lnTo>
                  <a:lnTo>
                    <a:pt x="83" y="120"/>
                  </a:lnTo>
                  <a:lnTo>
                    <a:pt x="66" y="152"/>
                  </a:lnTo>
                  <a:lnTo>
                    <a:pt x="66" y="161"/>
                  </a:lnTo>
                  <a:lnTo>
                    <a:pt x="72" y="167"/>
                  </a:lnTo>
                  <a:lnTo>
                    <a:pt x="95" y="169"/>
                  </a:lnTo>
                  <a:lnTo>
                    <a:pt x="81" y="174"/>
                  </a:lnTo>
                  <a:lnTo>
                    <a:pt x="86" y="182"/>
                  </a:lnTo>
                  <a:lnTo>
                    <a:pt x="83" y="197"/>
                  </a:lnTo>
                  <a:lnTo>
                    <a:pt x="96" y="219"/>
                  </a:lnTo>
                  <a:lnTo>
                    <a:pt x="94" y="226"/>
                  </a:lnTo>
                  <a:lnTo>
                    <a:pt x="85" y="227"/>
                  </a:lnTo>
                  <a:lnTo>
                    <a:pt x="85" y="234"/>
                  </a:lnTo>
                  <a:lnTo>
                    <a:pt x="108" y="234"/>
                  </a:lnTo>
                  <a:lnTo>
                    <a:pt x="100" y="245"/>
                  </a:lnTo>
                  <a:lnTo>
                    <a:pt x="98" y="258"/>
                  </a:lnTo>
                  <a:lnTo>
                    <a:pt x="114" y="267"/>
                  </a:lnTo>
                  <a:lnTo>
                    <a:pt x="98" y="270"/>
                  </a:lnTo>
                  <a:lnTo>
                    <a:pt x="85" y="264"/>
                  </a:lnTo>
                  <a:lnTo>
                    <a:pt x="81" y="273"/>
                  </a:lnTo>
                  <a:lnTo>
                    <a:pt x="85" y="295"/>
                  </a:lnTo>
                  <a:lnTo>
                    <a:pt x="40" y="310"/>
                  </a:lnTo>
                  <a:lnTo>
                    <a:pt x="41" y="330"/>
                  </a:lnTo>
                  <a:lnTo>
                    <a:pt x="39" y="333"/>
                  </a:lnTo>
                  <a:lnTo>
                    <a:pt x="72" y="368"/>
                  </a:lnTo>
                  <a:lnTo>
                    <a:pt x="94" y="376"/>
                  </a:lnTo>
                  <a:lnTo>
                    <a:pt x="123" y="481"/>
                  </a:lnTo>
                  <a:lnTo>
                    <a:pt x="128" y="533"/>
                  </a:lnTo>
                  <a:lnTo>
                    <a:pt x="140" y="513"/>
                  </a:lnTo>
                  <a:lnTo>
                    <a:pt x="147" y="536"/>
                  </a:lnTo>
                  <a:lnTo>
                    <a:pt x="151" y="537"/>
                  </a:lnTo>
                  <a:lnTo>
                    <a:pt x="141" y="548"/>
                  </a:lnTo>
                  <a:lnTo>
                    <a:pt x="124" y="546"/>
                  </a:lnTo>
                  <a:lnTo>
                    <a:pt x="90" y="602"/>
                  </a:lnTo>
                  <a:lnTo>
                    <a:pt x="78" y="617"/>
                  </a:lnTo>
                  <a:lnTo>
                    <a:pt x="0" y="666"/>
                  </a:lnTo>
                  <a:lnTo>
                    <a:pt x="14" y="675"/>
                  </a:lnTo>
                  <a:lnTo>
                    <a:pt x="32" y="711"/>
                  </a:lnTo>
                  <a:lnTo>
                    <a:pt x="39" y="790"/>
                  </a:lnTo>
                  <a:lnTo>
                    <a:pt x="42" y="793"/>
                  </a:lnTo>
                  <a:lnTo>
                    <a:pt x="39" y="800"/>
                  </a:lnTo>
                  <a:lnTo>
                    <a:pt x="43" y="814"/>
                  </a:lnTo>
                  <a:lnTo>
                    <a:pt x="59" y="831"/>
                  </a:lnTo>
                  <a:lnTo>
                    <a:pt x="77" y="830"/>
                  </a:lnTo>
                  <a:lnTo>
                    <a:pt x="72" y="835"/>
                  </a:lnTo>
                  <a:lnTo>
                    <a:pt x="58" y="834"/>
                  </a:lnTo>
                  <a:lnTo>
                    <a:pt x="39" y="860"/>
                  </a:lnTo>
                  <a:lnTo>
                    <a:pt x="29" y="861"/>
                  </a:lnTo>
                  <a:lnTo>
                    <a:pt x="46" y="882"/>
                  </a:lnTo>
                  <a:lnTo>
                    <a:pt x="42" y="895"/>
                  </a:lnTo>
                  <a:lnTo>
                    <a:pt x="36" y="899"/>
                  </a:lnTo>
                  <a:lnTo>
                    <a:pt x="32" y="901"/>
                  </a:lnTo>
                  <a:lnTo>
                    <a:pt x="29" y="886"/>
                  </a:lnTo>
                  <a:lnTo>
                    <a:pt x="19" y="875"/>
                  </a:lnTo>
                  <a:lnTo>
                    <a:pt x="8" y="877"/>
                  </a:lnTo>
                  <a:lnTo>
                    <a:pt x="6" y="886"/>
                  </a:lnTo>
                  <a:lnTo>
                    <a:pt x="6" y="895"/>
                  </a:lnTo>
                  <a:lnTo>
                    <a:pt x="6" y="927"/>
                  </a:lnTo>
                  <a:lnTo>
                    <a:pt x="6" y="989"/>
                  </a:lnTo>
                  <a:lnTo>
                    <a:pt x="6" y="1052"/>
                  </a:lnTo>
                  <a:lnTo>
                    <a:pt x="6" y="1110"/>
                  </a:lnTo>
                  <a:lnTo>
                    <a:pt x="6" y="1152"/>
                  </a:lnTo>
                  <a:lnTo>
                    <a:pt x="11" y="1163"/>
                  </a:lnTo>
                  <a:lnTo>
                    <a:pt x="11" y="1173"/>
                  </a:lnTo>
                  <a:lnTo>
                    <a:pt x="23" y="1191"/>
                  </a:lnTo>
                  <a:lnTo>
                    <a:pt x="32" y="1211"/>
                  </a:lnTo>
                  <a:lnTo>
                    <a:pt x="42" y="1221"/>
                  </a:lnTo>
                  <a:lnTo>
                    <a:pt x="92" y="1232"/>
                  </a:lnTo>
                  <a:lnTo>
                    <a:pt x="105" y="1246"/>
                  </a:lnTo>
                  <a:lnTo>
                    <a:pt x="125" y="1249"/>
                  </a:lnTo>
                  <a:lnTo>
                    <a:pt x="132" y="1268"/>
                  </a:lnTo>
                  <a:lnTo>
                    <a:pt x="144" y="1275"/>
                  </a:lnTo>
                  <a:lnTo>
                    <a:pt x="155" y="1272"/>
                  </a:lnTo>
                  <a:lnTo>
                    <a:pt x="166" y="1280"/>
                  </a:lnTo>
                  <a:lnTo>
                    <a:pt x="191" y="1267"/>
                  </a:lnTo>
                  <a:lnTo>
                    <a:pt x="217" y="1263"/>
                  </a:lnTo>
                  <a:lnTo>
                    <a:pt x="227" y="1270"/>
                  </a:lnTo>
                  <a:lnTo>
                    <a:pt x="224" y="1284"/>
                  </a:lnTo>
                  <a:lnTo>
                    <a:pt x="231" y="1291"/>
                  </a:lnTo>
                  <a:lnTo>
                    <a:pt x="214" y="1305"/>
                  </a:lnTo>
                  <a:lnTo>
                    <a:pt x="308" y="1305"/>
                  </a:lnTo>
                  <a:lnTo>
                    <a:pt x="351" y="1305"/>
                  </a:lnTo>
                  <a:lnTo>
                    <a:pt x="358" y="1289"/>
                  </a:lnTo>
                  <a:lnTo>
                    <a:pt x="370" y="1287"/>
                  </a:lnTo>
                  <a:lnTo>
                    <a:pt x="392" y="1285"/>
                  </a:lnTo>
                  <a:lnTo>
                    <a:pt x="392" y="1274"/>
                  </a:lnTo>
                  <a:lnTo>
                    <a:pt x="401" y="1264"/>
                  </a:lnTo>
                  <a:lnTo>
                    <a:pt x="403" y="1237"/>
                  </a:lnTo>
                  <a:lnTo>
                    <a:pt x="415" y="1210"/>
                  </a:lnTo>
                  <a:lnTo>
                    <a:pt x="418" y="1191"/>
                  </a:lnTo>
                  <a:lnTo>
                    <a:pt x="439" y="1156"/>
                  </a:lnTo>
                  <a:lnTo>
                    <a:pt x="449" y="1153"/>
                  </a:lnTo>
                  <a:lnTo>
                    <a:pt x="458" y="1163"/>
                  </a:lnTo>
                  <a:lnTo>
                    <a:pt x="479" y="1153"/>
                  </a:lnTo>
                  <a:lnTo>
                    <a:pt x="487" y="1145"/>
                  </a:lnTo>
                  <a:lnTo>
                    <a:pt x="488" y="1121"/>
                  </a:lnTo>
                  <a:lnTo>
                    <a:pt x="498" y="1121"/>
                  </a:lnTo>
                  <a:lnTo>
                    <a:pt x="498" y="1116"/>
                  </a:lnTo>
                  <a:lnTo>
                    <a:pt x="521" y="1116"/>
                  </a:lnTo>
                  <a:lnTo>
                    <a:pt x="531" y="1126"/>
                  </a:lnTo>
                  <a:lnTo>
                    <a:pt x="549" y="1123"/>
                  </a:lnTo>
                  <a:lnTo>
                    <a:pt x="553" y="1116"/>
                  </a:lnTo>
                  <a:lnTo>
                    <a:pt x="580" y="1113"/>
                  </a:lnTo>
                  <a:lnTo>
                    <a:pt x="601" y="1120"/>
                  </a:lnTo>
                  <a:lnTo>
                    <a:pt x="600" y="1104"/>
                  </a:lnTo>
                  <a:lnTo>
                    <a:pt x="626" y="1111"/>
                  </a:lnTo>
                  <a:lnTo>
                    <a:pt x="667" y="1081"/>
                  </a:lnTo>
                  <a:lnTo>
                    <a:pt x="667" y="1069"/>
                  </a:lnTo>
                  <a:lnTo>
                    <a:pt x="663" y="1062"/>
                  </a:lnTo>
                  <a:lnTo>
                    <a:pt x="669" y="1064"/>
                  </a:lnTo>
                  <a:lnTo>
                    <a:pt x="664" y="1050"/>
                  </a:lnTo>
                  <a:lnTo>
                    <a:pt x="633" y="1034"/>
                  </a:lnTo>
                  <a:lnTo>
                    <a:pt x="610" y="1031"/>
                  </a:lnTo>
                  <a:lnTo>
                    <a:pt x="567" y="1038"/>
                  </a:lnTo>
                  <a:lnTo>
                    <a:pt x="469" y="1090"/>
                  </a:lnTo>
                  <a:lnTo>
                    <a:pt x="438" y="1117"/>
                  </a:lnTo>
                  <a:lnTo>
                    <a:pt x="428" y="1137"/>
                  </a:lnTo>
                  <a:lnTo>
                    <a:pt x="390" y="1181"/>
                  </a:lnTo>
                  <a:lnTo>
                    <a:pt x="370" y="1188"/>
                  </a:lnTo>
                  <a:lnTo>
                    <a:pt x="412" y="1149"/>
                  </a:lnTo>
                  <a:lnTo>
                    <a:pt x="429" y="1116"/>
                  </a:lnTo>
                  <a:lnTo>
                    <a:pt x="428" y="1104"/>
                  </a:lnTo>
                  <a:lnTo>
                    <a:pt x="446" y="1096"/>
                  </a:lnTo>
                  <a:lnTo>
                    <a:pt x="469" y="1061"/>
                  </a:lnTo>
                  <a:lnTo>
                    <a:pt x="491" y="1038"/>
                  </a:lnTo>
                  <a:lnTo>
                    <a:pt x="504" y="1030"/>
                  </a:lnTo>
                  <a:lnTo>
                    <a:pt x="537" y="1026"/>
                  </a:lnTo>
                  <a:lnTo>
                    <a:pt x="547" y="997"/>
                  </a:lnTo>
                  <a:lnTo>
                    <a:pt x="559" y="980"/>
                  </a:lnTo>
                  <a:lnTo>
                    <a:pt x="565" y="978"/>
                  </a:lnTo>
                  <a:lnTo>
                    <a:pt x="575" y="976"/>
                  </a:lnTo>
                  <a:lnTo>
                    <a:pt x="580" y="968"/>
                  </a:lnTo>
                  <a:lnTo>
                    <a:pt x="659" y="962"/>
                  </a:lnTo>
                  <a:lnTo>
                    <a:pt x="770" y="967"/>
                  </a:lnTo>
                  <a:lnTo>
                    <a:pt x="783" y="977"/>
                  </a:lnTo>
                  <a:lnTo>
                    <a:pt x="835" y="966"/>
                  </a:lnTo>
                  <a:lnTo>
                    <a:pt x="845" y="955"/>
                  </a:lnTo>
                  <a:lnTo>
                    <a:pt x="841" y="964"/>
                  </a:lnTo>
                  <a:lnTo>
                    <a:pt x="850" y="968"/>
                  </a:lnTo>
                  <a:lnTo>
                    <a:pt x="867" y="953"/>
                  </a:lnTo>
                  <a:lnTo>
                    <a:pt x="875" y="948"/>
                  </a:lnTo>
                  <a:lnTo>
                    <a:pt x="898" y="913"/>
                  </a:lnTo>
                  <a:lnTo>
                    <a:pt x="902" y="914"/>
                  </a:lnTo>
                  <a:lnTo>
                    <a:pt x="920" y="895"/>
                  </a:lnTo>
                  <a:lnTo>
                    <a:pt x="973" y="886"/>
                  </a:lnTo>
                  <a:lnTo>
                    <a:pt x="973" y="849"/>
                  </a:lnTo>
                  <a:lnTo>
                    <a:pt x="962" y="849"/>
                  </a:lnTo>
                  <a:close/>
                </a:path>
              </a:pathLst>
            </a:custGeom>
            <a:grpFill/>
            <a:ln w="6350">
              <a:solidFill>
                <a:schemeClr val="accent5"/>
              </a:solidFill>
              <a:round/>
              <a:headEnd/>
              <a:tailEnd/>
            </a:ln>
          </p:spPr>
          <p:txBody>
            <a:bodyPr/>
            <a:lstStyle/>
            <a:p>
              <a:endParaRPr lang="en-US"/>
            </a:p>
          </p:txBody>
        </p:sp>
        <p:sp>
          <p:nvSpPr>
            <p:cNvPr id="246" name="Freeform 1146"/>
            <p:cNvSpPr>
              <a:spLocks/>
            </p:cNvSpPr>
            <p:nvPr/>
          </p:nvSpPr>
          <p:spPr bwMode="auto">
            <a:xfrm>
              <a:off x="2619926" y="3130722"/>
              <a:ext cx="169135" cy="165576"/>
            </a:xfrm>
            <a:custGeom>
              <a:avLst/>
              <a:gdLst>
                <a:gd name="T0" fmla="*/ 2147483647 w 356"/>
                <a:gd name="T1" fmla="*/ 2147483647 h 397"/>
                <a:gd name="T2" fmla="*/ 2147483647 w 356"/>
                <a:gd name="T3" fmla="*/ 2147483647 h 397"/>
                <a:gd name="T4" fmla="*/ 2147483647 w 356"/>
                <a:gd name="T5" fmla="*/ 2147483647 h 397"/>
                <a:gd name="T6" fmla="*/ 2147483647 w 356"/>
                <a:gd name="T7" fmla="*/ 2147483647 h 397"/>
                <a:gd name="T8" fmla="*/ 2147483647 w 356"/>
                <a:gd name="T9" fmla="*/ 2147483647 h 397"/>
                <a:gd name="T10" fmla="*/ 2147483647 w 356"/>
                <a:gd name="T11" fmla="*/ 2147483647 h 397"/>
                <a:gd name="T12" fmla="*/ 2147483647 w 356"/>
                <a:gd name="T13" fmla="*/ 2147483647 h 397"/>
                <a:gd name="T14" fmla="*/ 2147483647 w 356"/>
                <a:gd name="T15" fmla="*/ 2147483647 h 397"/>
                <a:gd name="T16" fmla="*/ 2147483647 w 356"/>
                <a:gd name="T17" fmla="*/ 2147483647 h 397"/>
                <a:gd name="T18" fmla="*/ 2147483647 w 356"/>
                <a:gd name="T19" fmla="*/ 2147483647 h 397"/>
                <a:gd name="T20" fmla="*/ 2147483647 w 356"/>
                <a:gd name="T21" fmla="*/ 2147483647 h 397"/>
                <a:gd name="T22" fmla="*/ 2147483647 w 356"/>
                <a:gd name="T23" fmla="*/ 2147483647 h 397"/>
                <a:gd name="T24" fmla="*/ 2147483647 w 356"/>
                <a:gd name="T25" fmla="*/ 2147483647 h 397"/>
                <a:gd name="T26" fmla="*/ 2147483647 w 356"/>
                <a:gd name="T27" fmla="*/ 2147483647 h 397"/>
                <a:gd name="T28" fmla="*/ 2147483647 w 356"/>
                <a:gd name="T29" fmla="*/ 2147483647 h 397"/>
                <a:gd name="T30" fmla="*/ 2147483647 w 356"/>
                <a:gd name="T31" fmla="*/ 2147483647 h 397"/>
                <a:gd name="T32" fmla="*/ 2147483647 w 356"/>
                <a:gd name="T33" fmla="*/ 2147483647 h 397"/>
                <a:gd name="T34" fmla="*/ 2147483647 w 356"/>
                <a:gd name="T35" fmla="*/ 2147483647 h 397"/>
                <a:gd name="T36" fmla="*/ 2147483647 w 356"/>
                <a:gd name="T37" fmla="*/ 2147483647 h 397"/>
                <a:gd name="T38" fmla="*/ 2147483647 w 356"/>
                <a:gd name="T39" fmla="*/ 2147483647 h 397"/>
                <a:gd name="T40" fmla="*/ 2147483647 w 356"/>
                <a:gd name="T41" fmla="*/ 2147483647 h 397"/>
                <a:gd name="T42" fmla="*/ 2147483647 w 356"/>
                <a:gd name="T43" fmla="*/ 2147483647 h 397"/>
                <a:gd name="T44" fmla="*/ 2147483647 w 356"/>
                <a:gd name="T45" fmla="*/ 2147483647 h 397"/>
                <a:gd name="T46" fmla="*/ 2147483647 w 356"/>
                <a:gd name="T47" fmla="*/ 2147483647 h 397"/>
                <a:gd name="T48" fmla="*/ 2147483647 w 356"/>
                <a:gd name="T49" fmla="*/ 2147483647 h 397"/>
                <a:gd name="T50" fmla="*/ 2147483647 w 356"/>
                <a:gd name="T51" fmla="*/ 2147483647 h 397"/>
                <a:gd name="T52" fmla="*/ 2147483647 w 356"/>
                <a:gd name="T53" fmla="*/ 2147483647 h 397"/>
                <a:gd name="T54" fmla="*/ 2147483647 w 356"/>
                <a:gd name="T55" fmla="*/ 2147483647 h 397"/>
                <a:gd name="T56" fmla="*/ 2147483647 w 356"/>
                <a:gd name="T57" fmla="*/ 2147483647 h 397"/>
                <a:gd name="T58" fmla="*/ 2147483647 w 356"/>
                <a:gd name="T59" fmla="*/ 2147483647 h 397"/>
                <a:gd name="T60" fmla="*/ 2147483647 w 356"/>
                <a:gd name="T61" fmla="*/ 2147483647 h 397"/>
                <a:gd name="T62" fmla="*/ 2147483647 w 356"/>
                <a:gd name="T63" fmla="*/ 2147483647 h 397"/>
                <a:gd name="T64" fmla="*/ 2147483647 w 356"/>
                <a:gd name="T65" fmla="*/ 2147483647 h 397"/>
                <a:gd name="T66" fmla="*/ 2147483647 w 356"/>
                <a:gd name="T67" fmla="*/ 2147483647 h 397"/>
                <a:gd name="T68" fmla="*/ 2147483647 w 356"/>
                <a:gd name="T69" fmla="*/ 2147483647 h 397"/>
                <a:gd name="T70" fmla="*/ 2147483647 w 356"/>
                <a:gd name="T71" fmla="*/ 2147483647 h 397"/>
                <a:gd name="T72" fmla="*/ 2147483647 w 356"/>
                <a:gd name="T73" fmla="*/ 2147483647 h 397"/>
                <a:gd name="T74" fmla="*/ 2147483647 w 356"/>
                <a:gd name="T75" fmla="*/ 2147483647 h 397"/>
                <a:gd name="T76" fmla="*/ 2147483647 w 356"/>
                <a:gd name="T77" fmla="*/ 2147483647 h 397"/>
                <a:gd name="T78" fmla="*/ 2147483647 w 356"/>
                <a:gd name="T79" fmla="*/ 2147483647 h 397"/>
                <a:gd name="T80" fmla="*/ 2147483647 w 356"/>
                <a:gd name="T81" fmla="*/ 2147483647 h 397"/>
                <a:gd name="T82" fmla="*/ 2147483647 w 356"/>
                <a:gd name="T83" fmla="*/ 2147483647 h 397"/>
                <a:gd name="T84" fmla="*/ 2147483647 w 356"/>
                <a:gd name="T85" fmla="*/ 2147483647 h 397"/>
                <a:gd name="T86" fmla="*/ 2147483647 w 356"/>
                <a:gd name="T87" fmla="*/ 2147483647 h 397"/>
                <a:gd name="T88" fmla="*/ 2147483647 w 356"/>
                <a:gd name="T89" fmla="*/ 2147483647 h 397"/>
                <a:gd name="T90" fmla="*/ 2147483647 w 356"/>
                <a:gd name="T91" fmla="*/ 2147483647 h 397"/>
                <a:gd name="T92" fmla="*/ 2147483647 w 356"/>
                <a:gd name="T93" fmla="*/ 2147483647 h 397"/>
                <a:gd name="T94" fmla="*/ 2147483647 w 356"/>
                <a:gd name="T95" fmla="*/ 2147483647 h 3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6"/>
                <a:gd name="T145" fmla="*/ 0 h 397"/>
                <a:gd name="T146" fmla="*/ 356 w 356"/>
                <a:gd name="T147" fmla="*/ 397 h 3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6" h="397">
                  <a:moveTo>
                    <a:pt x="6" y="35"/>
                  </a:moveTo>
                  <a:lnTo>
                    <a:pt x="2" y="38"/>
                  </a:lnTo>
                  <a:lnTo>
                    <a:pt x="0" y="64"/>
                  </a:lnTo>
                  <a:lnTo>
                    <a:pt x="20" y="91"/>
                  </a:lnTo>
                  <a:lnTo>
                    <a:pt x="28" y="89"/>
                  </a:lnTo>
                  <a:lnTo>
                    <a:pt x="24" y="99"/>
                  </a:lnTo>
                  <a:lnTo>
                    <a:pt x="66" y="127"/>
                  </a:lnTo>
                  <a:lnTo>
                    <a:pt x="74" y="124"/>
                  </a:lnTo>
                  <a:lnTo>
                    <a:pt x="73" y="116"/>
                  </a:lnTo>
                  <a:lnTo>
                    <a:pt x="88" y="116"/>
                  </a:lnTo>
                  <a:lnTo>
                    <a:pt x="89" y="106"/>
                  </a:lnTo>
                  <a:lnTo>
                    <a:pt x="66" y="79"/>
                  </a:lnTo>
                  <a:lnTo>
                    <a:pt x="51" y="74"/>
                  </a:lnTo>
                  <a:lnTo>
                    <a:pt x="57" y="68"/>
                  </a:lnTo>
                  <a:lnTo>
                    <a:pt x="55" y="64"/>
                  </a:lnTo>
                  <a:lnTo>
                    <a:pt x="65" y="72"/>
                  </a:lnTo>
                  <a:lnTo>
                    <a:pt x="69" y="67"/>
                  </a:lnTo>
                  <a:lnTo>
                    <a:pt x="81" y="83"/>
                  </a:lnTo>
                  <a:lnTo>
                    <a:pt x="89" y="71"/>
                  </a:lnTo>
                  <a:lnTo>
                    <a:pt x="102" y="99"/>
                  </a:lnTo>
                  <a:lnTo>
                    <a:pt x="99" y="114"/>
                  </a:lnTo>
                  <a:lnTo>
                    <a:pt x="113" y="115"/>
                  </a:lnTo>
                  <a:lnTo>
                    <a:pt x="113" y="107"/>
                  </a:lnTo>
                  <a:lnTo>
                    <a:pt x="122" y="128"/>
                  </a:lnTo>
                  <a:lnTo>
                    <a:pt x="130" y="126"/>
                  </a:lnTo>
                  <a:lnTo>
                    <a:pt x="133" y="111"/>
                  </a:lnTo>
                  <a:lnTo>
                    <a:pt x="116" y="50"/>
                  </a:lnTo>
                  <a:lnTo>
                    <a:pt x="119" y="53"/>
                  </a:lnTo>
                  <a:lnTo>
                    <a:pt x="116" y="39"/>
                  </a:lnTo>
                  <a:lnTo>
                    <a:pt x="119" y="31"/>
                  </a:lnTo>
                  <a:lnTo>
                    <a:pt x="147" y="114"/>
                  </a:lnTo>
                  <a:lnTo>
                    <a:pt x="175" y="126"/>
                  </a:lnTo>
                  <a:lnTo>
                    <a:pt x="186" y="145"/>
                  </a:lnTo>
                  <a:lnTo>
                    <a:pt x="199" y="132"/>
                  </a:lnTo>
                  <a:lnTo>
                    <a:pt x="195" y="143"/>
                  </a:lnTo>
                  <a:lnTo>
                    <a:pt x="190" y="149"/>
                  </a:lnTo>
                  <a:lnTo>
                    <a:pt x="194" y="162"/>
                  </a:lnTo>
                  <a:lnTo>
                    <a:pt x="198" y="153"/>
                  </a:lnTo>
                  <a:lnTo>
                    <a:pt x="204" y="158"/>
                  </a:lnTo>
                  <a:lnTo>
                    <a:pt x="226" y="188"/>
                  </a:lnTo>
                  <a:lnTo>
                    <a:pt x="199" y="171"/>
                  </a:lnTo>
                  <a:lnTo>
                    <a:pt x="199" y="182"/>
                  </a:lnTo>
                  <a:lnTo>
                    <a:pt x="204" y="185"/>
                  </a:lnTo>
                  <a:lnTo>
                    <a:pt x="207" y="198"/>
                  </a:lnTo>
                  <a:lnTo>
                    <a:pt x="220" y="199"/>
                  </a:lnTo>
                  <a:lnTo>
                    <a:pt x="206" y="205"/>
                  </a:lnTo>
                  <a:lnTo>
                    <a:pt x="206" y="212"/>
                  </a:lnTo>
                  <a:lnTo>
                    <a:pt x="224" y="221"/>
                  </a:lnTo>
                  <a:lnTo>
                    <a:pt x="234" y="218"/>
                  </a:lnTo>
                  <a:lnTo>
                    <a:pt x="237" y="234"/>
                  </a:lnTo>
                  <a:lnTo>
                    <a:pt x="225" y="222"/>
                  </a:lnTo>
                  <a:lnTo>
                    <a:pt x="232" y="235"/>
                  </a:lnTo>
                  <a:lnTo>
                    <a:pt x="257" y="251"/>
                  </a:lnTo>
                  <a:lnTo>
                    <a:pt x="262" y="273"/>
                  </a:lnTo>
                  <a:lnTo>
                    <a:pt x="288" y="286"/>
                  </a:lnTo>
                  <a:lnTo>
                    <a:pt x="271" y="294"/>
                  </a:lnTo>
                  <a:lnTo>
                    <a:pt x="267" y="319"/>
                  </a:lnTo>
                  <a:lnTo>
                    <a:pt x="258" y="327"/>
                  </a:lnTo>
                  <a:lnTo>
                    <a:pt x="264" y="338"/>
                  </a:lnTo>
                  <a:lnTo>
                    <a:pt x="267" y="341"/>
                  </a:lnTo>
                  <a:lnTo>
                    <a:pt x="276" y="329"/>
                  </a:lnTo>
                  <a:lnTo>
                    <a:pt x="278" y="313"/>
                  </a:lnTo>
                  <a:lnTo>
                    <a:pt x="292" y="310"/>
                  </a:lnTo>
                  <a:lnTo>
                    <a:pt x="307" y="296"/>
                  </a:lnTo>
                  <a:lnTo>
                    <a:pt x="306" y="310"/>
                  </a:lnTo>
                  <a:lnTo>
                    <a:pt x="317" y="327"/>
                  </a:lnTo>
                  <a:lnTo>
                    <a:pt x="319" y="356"/>
                  </a:lnTo>
                  <a:lnTo>
                    <a:pt x="329" y="356"/>
                  </a:lnTo>
                  <a:lnTo>
                    <a:pt x="333" y="371"/>
                  </a:lnTo>
                  <a:lnTo>
                    <a:pt x="315" y="379"/>
                  </a:lnTo>
                  <a:lnTo>
                    <a:pt x="317" y="397"/>
                  </a:lnTo>
                  <a:lnTo>
                    <a:pt x="321" y="389"/>
                  </a:lnTo>
                  <a:lnTo>
                    <a:pt x="325" y="396"/>
                  </a:lnTo>
                  <a:lnTo>
                    <a:pt x="335" y="390"/>
                  </a:lnTo>
                  <a:lnTo>
                    <a:pt x="346" y="375"/>
                  </a:lnTo>
                  <a:lnTo>
                    <a:pt x="351" y="377"/>
                  </a:lnTo>
                  <a:lnTo>
                    <a:pt x="355" y="369"/>
                  </a:lnTo>
                  <a:lnTo>
                    <a:pt x="356" y="364"/>
                  </a:lnTo>
                  <a:lnTo>
                    <a:pt x="352" y="327"/>
                  </a:lnTo>
                  <a:lnTo>
                    <a:pt x="356" y="309"/>
                  </a:lnTo>
                  <a:lnTo>
                    <a:pt x="354" y="304"/>
                  </a:lnTo>
                  <a:lnTo>
                    <a:pt x="313" y="276"/>
                  </a:lnTo>
                  <a:lnTo>
                    <a:pt x="285" y="268"/>
                  </a:lnTo>
                  <a:lnTo>
                    <a:pt x="272" y="258"/>
                  </a:lnTo>
                  <a:lnTo>
                    <a:pt x="262" y="229"/>
                  </a:lnTo>
                  <a:lnTo>
                    <a:pt x="254" y="222"/>
                  </a:lnTo>
                  <a:lnTo>
                    <a:pt x="254" y="212"/>
                  </a:lnTo>
                  <a:lnTo>
                    <a:pt x="191" y="94"/>
                  </a:lnTo>
                  <a:lnTo>
                    <a:pt x="165" y="78"/>
                  </a:lnTo>
                  <a:lnTo>
                    <a:pt x="159" y="58"/>
                  </a:lnTo>
                  <a:lnTo>
                    <a:pt x="121" y="0"/>
                  </a:lnTo>
                  <a:lnTo>
                    <a:pt x="83" y="18"/>
                  </a:lnTo>
                  <a:lnTo>
                    <a:pt x="67" y="54"/>
                  </a:lnTo>
                  <a:lnTo>
                    <a:pt x="31" y="72"/>
                  </a:lnTo>
                  <a:lnTo>
                    <a:pt x="19" y="45"/>
                  </a:lnTo>
                  <a:lnTo>
                    <a:pt x="6" y="35"/>
                  </a:lnTo>
                  <a:close/>
                </a:path>
              </a:pathLst>
            </a:custGeom>
            <a:grpFill/>
            <a:ln w="6350">
              <a:solidFill>
                <a:schemeClr val="accent5"/>
              </a:solidFill>
              <a:round/>
              <a:headEnd/>
              <a:tailEnd/>
            </a:ln>
          </p:spPr>
          <p:txBody>
            <a:bodyPr/>
            <a:lstStyle/>
            <a:p>
              <a:endParaRPr lang="en-US"/>
            </a:p>
          </p:txBody>
        </p:sp>
        <p:sp>
          <p:nvSpPr>
            <p:cNvPr id="247" name="Freeform 1147"/>
            <p:cNvSpPr>
              <a:spLocks/>
            </p:cNvSpPr>
            <p:nvPr/>
          </p:nvSpPr>
          <p:spPr bwMode="auto">
            <a:xfrm>
              <a:off x="2565459" y="2707869"/>
              <a:ext cx="346868" cy="415211"/>
            </a:xfrm>
            <a:custGeom>
              <a:avLst/>
              <a:gdLst>
                <a:gd name="T0" fmla="*/ 2147483647 w 738"/>
                <a:gd name="T1" fmla="*/ 2147483647 h 995"/>
                <a:gd name="T2" fmla="*/ 2147483647 w 738"/>
                <a:gd name="T3" fmla="*/ 2147483647 h 995"/>
                <a:gd name="T4" fmla="*/ 2147483647 w 738"/>
                <a:gd name="T5" fmla="*/ 2147483647 h 995"/>
                <a:gd name="T6" fmla="*/ 2147483647 w 738"/>
                <a:gd name="T7" fmla="*/ 2147483647 h 995"/>
                <a:gd name="T8" fmla="*/ 2147483647 w 738"/>
                <a:gd name="T9" fmla="*/ 2147483647 h 995"/>
                <a:gd name="T10" fmla="*/ 2147483647 w 738"/>
                <a:gd name="T11" fmla="*/ 2147483647 h 995"/>
                <a:gd name="T12" fmla="*/ 2147483647 w 738"/>
                <a:gd name="T13" fmla="*/ 2147483647 h 995"/>
                <a:gd name="T14" fmla="*/ 2147483647 w 738"/>
                <a:gd name="T15" fmla="*/ 2147483647 h 995"/>
                <a:gd name="T16" fmla="*/ 2147483647 w 738"/>
                <a:gd name="T17" fmla="*/ 2147483647 h 995"/>
                <a:gd name="T18" fmla="*/ 2147483647 w 738"/>
                <a:gd name="T19" fmla="*/ 2147483647 h 995"/>
                <a:gd name="T20" fmla="*/ 2147483647 w 738"/>
                <a:gd name="T21" fmla="*/ 2147483647 h 995"/>
                <a:gd name="T22" fmla="*/ 2147483647 w 738"/>
                <a:gd name="T23" fmla="*/ 2147483647 h 995"/>
                <a:gd name="T24" fmla="*/ 2147483647 w 738"/>
                <a:gd name="T25" fmla="*/ 2147483647 h 995"/>
                <a:gd name="T26" fmla="*/ 2147483647 w 738"/>
                <a:gd name="T27" fmla="*/ 2147483647 h 995"/>
                <a:gd name="T28" fmla="*/ 2147483647 w 738"/>
                <a:gd name="T29" fmla="*/ 2147483647 h 995"/>
                <a:gd name="T30" fmla="*/ 2147483647 w 738"/>
                <a:gd name="T31" fmla="*/ 2147483647 h 995"/>
                <a:gd name="T32" fmla="*/ 2147483647 w 738"/>
                <a:gd name="T33" fmla="*/ 2147483647 h 995"/>
                <a:gd name="T34" fmla="*/ 2147483647 w 738"/>
                <a:gd name="T35" fmla="*/ 2147483647 h 995"/>
                <a:gd name="T36" fmla="*/ 2147483647 w 738"/>
                <a:gd name="T37" fmla="*/ 2147483647 h 995"/>
                <a:gd name="T38" fmla="*/ 2147483647 w 738"/>
                <a:gd name="T39" fmla="*/ 2147483647 h 995"/>
                <a:gd name="T40" fmla="*/ 2147483647 w 738"/>
                <a:gd name="T41" fmla="*/ 2147483647 h 995"/>
                <a:gd name="T42" fmla="*/ 2147483647 w 738"/>
                <a:gd name="T43" fmla="*/ 2147483647 h 995"/>
                <a:gd name="T44" fmla="*/ 2147483647 w 738"/>
                <a:gd name="T45" fmla="*/ 2147483647 h 995"/>
                <a:gd name="T46" fmla="*/ 2147483647 w 738"/>
                <a:gd name="T47" fmla="*/ 2147483647 h 995"/>
                <a:gd name="T48" fmla="*/ 2147483647 w 738"/>
                <a:gd name="T49" fmla="*/ 2147483647 h 995"/>
                <a:gd name="T50" fmla="*/ 2147483647 w 738"/>
                <a:gd name="T51" fmla="*/ 2147483647 h 995"/>
                <a:gd name="T52" fmla="*/ 2147483647 w 738"/>
                <a:gd name="T53" fmla="*/ 2147483647 h 995"/>
                <a:gd name="T54" fmla="*/ 2147483647 w 738"/>
                <a:gd name="T55" fmla="*/ 2147483647 h 995"/>
                <a:gd name="T56" fmla="*/ 2147483647 w 738"/>
                <a:gd name="T57" fmla="*/ 2147483647 h 995"/>
                <a:gd name="T58" fmla="*/ 2147483647 w 738"/>
                <a:gd name="T59" fmla="*/ 2147483647 h 995"/>
                <a:gd name="T60" fmla="*/ 2147483647 w 738"/>
                <a:gd name="T61" fmla="*/ 2147483647 h 995"/>
                <a:gd name="T62" fmla="*/ 2147483647 w 738"/>
                <a:gd name="T63" fmla="*/ 2147483647 h 995"/>
                <a:gd name="T64" fmla="*/ 2147483647 w 738"/>
                <a:gd name="T65" fmla="*/ 2147483647 h 995"/>
                <a:gd name="T66" fmla="*/ 2147483647 w 738"/>
                <a:gd name="T67" fmla="*/ 2147483647 h 995"/>
                <a:gd name="T68" fmla="*/ 0 w 738"/>
                <a:gd name="T69" fmla="*/ 2147483647 h 995"/>
                <a:gd name="T70" fmla="*/ 0 w 738"/>
                <a:gd name="T71" fmla="*/ 2147483647 h 995"/>
                <a:gd name="T72" fmla="*/ 0 w 738"/>
                <a:gd name="T73" fmla="*/ 2147483647 h 995"/>
                <a:gd name="T74" fmla="*/ 0 w 738"/>
                <a:gd name="T75" fmla="*/ 2147483647 h 995"/>
                <a:gd name="T76" fmla="*/ 0 w 738"/>
                <a:gd name="T77" fmla="*/ 2147483647 h 995"/>
                <a:gd name="T78" fmla="*/ 0 w 738"/>
                <a:gd name="T79" fmla="*/ 2147483647 h 995"/>
                <a:gd name="T80" fmla="*/ 2147483647 w 738"/>
                <a:gd name="T81" fmla="*/ 2147483647 h 995"/>
                <a:gd name="T82" fmla="*/ 2147483647 w 738"/>
                <a:gd name="T83" fmla="*/ 2147483647 h 9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995"/>
                <a:gd name="T128" fmla="*/ 738 w 738"/>
                <a:gd name="T129" fmla="*/ 995 h 9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995">
                  <a:moveTo>
                    <a:pt x="81" y="995"/>
                  </a:moveTo>
                  <a:lnTo>
                    <a:pt x="121" y="995"/>
                  </a:lnTo>
                  <a:lnTo>
                    <a:pt x="162" y="995"/>
                  </a:lnTo>
                  <a:lnTo>
                    <a:pt x="200" y="995"/>
                  </a:lnTo>
                  <a:lnTo>
                    <a:pt x="237" y="995"/>
                  </a:lnTo>
                  <a:lnTo>
                    <a:pt x="275" y="995"/>
                  </a:lnTo>
                  <a:lnTo>
                    <a:pt x="317" y="995"/>
                  </a:lnTo>
                  <a:lnTo>
                    <a:pt x="357" y="995"/>
                  </a:lnTo>
                  <a:lnTo>
                    <a:pt x="399" y="995"/>
                  </a:lnTo>
                  <a:lnTo>
                    <a:pt x="438" y="995"/>
                  </a:lnTo>
                  <a:lnTo>
                    <a:pt x="473" y="995"/>
                  </a:lnTo>
                  <a:lnTo>
                    <a:pt x="513" y="995"/>
                  </a:lnTo>
                  <a:lnTo>
                    <a:pt x="556" y="995"/>
                  </a:lnTo>
                  <a:lnTo>
                    <a:pt x="595" y="995"/>
                  </a:lnTo>
                  <a:lnTo>
                    <a:pt x="637" y="995"/>
                  </a:lnTo>
                  <a:lnTo>
                    <a:pt x="675" y="995"/>
                  </a:lnTo>
                  <a:lnTo>
                    <a:pt x="711" y="995"/>
                  </a:lnTo>
                  <a:lnTo>
                    <a:pt x="738" y="995"/>
                  </a:lnTo>
                  <a:lnTo>
                    <a:pt x="731" y="987"/>
                  </a:lnTo>
                  <a:lnTo>
                    <a:pt x="722" y="966"/>
                  </a:lnTo>
                  <a:lnTo>
                    <a:pt x="722" y="955"/>
                  </a:lnTo>
                  <a:lnTo>
                    <a:pt x="713" y="954"/>
                  </a:lnTo>
                  <a:lnTo>
                    <a:pt x="704" y="937"/>
                  </a:lnTo>
                  <a:lnTo>
                    <a:pt x="710" y="927"/>
                  </a:lnTo>
                  <a:lnTo>
                    <a:pt x="705" y="912"/>
                  </a:lnTo>
                  <a:lnTo>
                    <a:pt x="696" y="911"/>
                  </a:lnTo>
                  <a:lnTo>
                    <a:pt x="693" y="921"/>
                  </a:lnTo>
                  <a:lnTo>
                    <a:pt x="672" y="927"/>
                  </a:lnTo>
                  <a:lnTo>
                    <a:pt x="650" y="918"/>
                  </a:lnTo>
                  <a:lnTo>
                    <a:pt x="644" y="926"/>
                  </a:lnTo>
                  <a:lnTo>
                    <a:pt x="638" y="920"/>
                  </a:lnTo>
                  <a:lnTo>
                    <a:pt x="633" y="927"/>
                  </a:lnTo>
                  <a:lnTo>
                    <a:pt x="608" y="930"/>
                  </a:lnTo>
                  <a:lnTo>
                    <a:pt x="604" y="902"/>
                  </a:lnTo>
                  <a:lnTo>
                    <a:pt x="597" y="901"/>
                  </a:lnTo>
                  <a:lnTo>
                    <a:pt x="601" y="891"/>
                  </a:lnTo>
                  <a:lnTo>
                    <a:pt x="595" y="867"/>
                  </a:lnTo>
                  <a:lnTo>
                    <a:pt x="579" y="863"/>
                  </a:lnTo>
                  <a:lnTo>
                    <a:pt x="560" y="846"/>
                  </a:lnTo>
                  <a:lnTo>
                    <a:pt x="555" y="831"/>
                  </a:lnTo>
                  <a:lnTo>
                    <a:pt x="550" y="832"/>
                  </a:lnTo>
                  <a:lnTo>
                    <a:pt x="535" y="807"/>
                  </a:lnTo>
                  <a:lnTo>
                    <a:pt x="526" y="813"/>
                  </a:lnTo>
                  <a:lnTo>
                    <a:pt x="503" y="804"/>
                  </a:lnTo>
                  <a:lnTo>
                    <a:pt x="507" y="798"/>
                  </a:lnTo>
                  <a:lnTo>
                    <a:pt x="503" y="789"/>
                  </a:lnTo>
                  <a:lnTo>
                    <a:pt x="507" y="783"/>
                  </a:lnTo>
                  <a:lnTo>
                    <a:pt x="503" y="779"/>
                  </a:lnTo>
                  <a:lnTo>
                    <a:pt x="508" y="773"/>
                  </a:lnTo>
                  <a:lnTo>
                    <a:pt x="491" y="764"/>
                  </a:lnTo>
                  <a:lnTo>
                    <a:pt x="494" y="755"/>
                  </a:lnTo>
                  <a:lnTo>
                    <a:pt x="482" y="737"/>
                  </a:lnTo>
                  <a:lnTo>
                    <a:pt x="489" y="720"/>
                  </a:lnTo>
                  <a:lnTo>
                    <a:pt x="479" y="716"/>
                  </a:lnTo>
                  <a:lnTo>
                    <a:pt x="477" y="706"/>
                  </a:lnTo>
                  <a:lnTo>
                    <a:pt x="466" y="699"/>
                  </a:lnTo>
                  <a:lnTo>
                    <a:pt x="480" y="679"/>
                  </a:lnTo>
                  <a:lnTo>
                    <a:pt x="468" y="657"/>
                  </a:lnTo>
                  <a:lnTo>
                    <a:pt x="459" y="658"/>
                  </a:lnTo>
                  <a:lnTo>
                    <a:pt x="468" y="648"/>
                  </a:lnTo>
                  <a:lnTo>
                    <a:pt x="436" y="623"/>
                  </a:lnTo>
                  <a:lnTo>
                    <a:pt x="432" y="614"/>
                  </a:lnTo>
                  <a:lnTo>
                    <a:pt x="436" y="609"/>
                  </a:lnTo>
                  <a:lnTo>
                    <a:pt x="428" y="601"/>
                  </a:lnTo>
                  <a:lnTo>
                    <a:pt x="430" y="596"/>
                  </a:lnTo>
                  <a:lnTo>
                    <a:pt x="423" y="586"/>
                  </a:lnTo>
                  <a:lnTo>
                    <a:pt x="413" y="582"/>
                  </a:lnTo>
                  <a:lnTo>
                    <a:pt x="395" y="591"/>
                  </a:lnTo>
                  <a:lnTo>
                    <a:pt x="399" y="575"/>
                  </a:lnTo>
                  <a:lnTo>
                    <a:pt x="359" y="545"/>
                  </a:lnTo>
                  <a:lnTo>
                    <a:pt x="372" y="522"/>
                  </a:lnTo>
                  <a:lnTo>
                    <a:pt x="353" y="505"/>
                  </a:lnTo>
                  <a:lnTo>
                    <a:pt x="363" y="500"/>
                  </a:lnTo>
                  <a:lnTo>
                    <a:pt x="379" y="467"/>
                  </a:lnTo>
                  <a:lnTo>
                    <a:pt x="361" y="441"/>
                  </a:lnTo>
                  <a:lnTo>
                    <a:pt x="372" y="427"/>
                  </a:lnTo>
                  <a:lnTo>
                    <a:pt x="360" y="422"/>
                  </a:lnTo>
                  <a:lnTo>
                    <a:pt x="348" y="435"/>
                  </a:lnTo>
                  <a:lnTo>
                    <a:pt x="344" y="433"/>
                  </a:lnTo>
                  <a:lnTo>
                    <a:pt x="346" y="422"/>
                  </a:lnTo>
                  <a:lnTo>
                    <a:pt x="316" y="428"/>
                  </a:lnTo>
                  <a:lnTo>
                    <a:pt x="317" y="420"/>
                  </a:lnTo>
                  <a:lnTo>
                    <a:pt x="313" y="418"/>
                  </a:lnTo>
                  <a:lnTo>
                    <a:pt x="320" y="408"/>
                  </a:lnTo>
                  <a:lnTo>
                    <a:pt x="319" y="395"/>
                  </a:lnTo>
                  <a:lnTo>
                    <a:pt x="308" y="391"/>
                  </a:lnTo>
                  <a:lnTo>
                    <a:pt x="319" y="365"/>
                  </a:lnTo>
                  <a:lnTo>
                    <a:pt x="307" y="347"/>
                  </a:lnTo>
                  <a:lnTo>
                    <a:pt x="310" y="338"/>
                  </a:lnTo>
                  <a:lnTo>
                    <a:pt x="295" y="322"/>
                  </a:lnTo>
                  <a:lnTo>
                    <a:pt x="307" y="317"/>
                  </a:lnTo>
                  <a:lnTo>
                    <a:pt x="207" y="317"/>
                  </a:lnTo>
                  <a:lnTo>
                    <a:pt x="204" y="298"/>
                  </a:lnTo>
                  <a:lnTo>
                    <a:pt x="210" y="284"/>
                  </a:lnTo>
                  <a:lnTo>
                    <a:pt x="205" y="272"/>
                  </a:lnTo>
                  <a:lnTo>
                    <a:pt x="207" y="260"/>
                  </a:lnTo>
                  <a:lnTo>
                    <a:pt x="195" y="237"/>
                  </a:lnTo>
                  <a:lnTo>
                    <a:pt x="195" y="102"/>
                  </a:lnTo>
                  <a:lnTo>
                    <a:pt x="199" y="97"/>
                  </a:lnTo>
                  <a:lnTo>
                    <a:pt x="149" y="93"/>
                  </a:lnTo>
                  <a:lnTo>
                    <a:pt x="114" y="55"/>
                  </a:lnTo>
                  <a:lnTo>
                    <a:pt x="102" y="57"/>
                  </a:lnTo>
                  <a:lnTo>
                    <a:pt x="71" y="16"/>
                  </a:lnTo>
                  <a:lnTo>
                    <a:pt x="0" y="0"/>
                  </a:lnTo>
                  <a:lnTo>
                    <a:pt x="0" y="72"/>
                  </a:lnTo>
                  <a:lnTo>
                    <a:pt x="0" y="142"/>
                  </a:lnTo>
                  <a:lnTo>
                    <a:pt x="0" y="210"/>
                  </a:lnTo>
                  <a:lnTo>
                    <a:pt x="0" y="277"/>
                  </a:lnTo>
                  <a:lnTo>
                    <a:pt x="0" y="341"/>
                  </a:lnTo>
                  <a:lnTo>
                    <a:pt x="0" y="405"/>
                  </a:lnTo>
                  <a:lnTo>
                    <a:pt x="0" y="467"/>
                  </a:lnTo>
                  <a:lnTo>
                    <a:pt x="0" y="527"/>
                  </a:lnTo>
                  <a:lnTo>
                    <a:pt x="0" y="587"/>
                  </a:lnTo>
                  <a:lnTo>
                    <a:pt x="0" y="645"/>
                  </a:lnTo>
                  <a:lnTo>
                    <a:pt x="0" y="702"/>
                  </a:lnTo>
                  <a:lnTo>
                    <a:pt x="0" y="756"/>
                  </a:lnTo>
                  <a:lnTo>
                    <a:pt x="0" y="812"/>
                  </a:lnTo>
                  <a:lnTo>
                    <a:pt x="0" y="866"/>
                  </a:lnTo>
                  <a:lnTo>
                    <a:pt x="0" y="918"/>
                  </a:lnTo>
                  <a:lnTo>
                    <a:pt x="0" y="969"/>
                  </a:lnTo>
                  <a:lnTo>
                    <a:pt x="15" y="980"/>
                  </a:lnTo>
                  <a:lnTo>
                    <a:pt x="26" y="970"/>
                  </a:lnTo>
                  <a:lnTo>
                    <a:pt x="43" y="981"/>
                  </a:lnTo>
                  <a:lnTo>
                    <a:pt x="52" y="968"/>
                  </a:lnTo>
                  <a:lnTo>
                    <a:pt x="79" y="968"/>
                  </a:lnTo>
                  <a:lnTo>
                    <a:pt x="76" y="991"/>
                  </a:lnTo>
                  <a:lnTo>
                    <a:pt x="80" y="995"/>
                  </a:lnTo>
                  <a:lnTo>
                    <a:pt x="81" y="995"/>
                  </a:lnTo>
                  <a:close/>
                </a:path>
              </a:pathLst>
            </a:custGeom>
            <a:grpFill/>
            <a:ln w="6350">
              <a:solidFill>
                <a:schemeClr val="accent5"/>
              </a:solidFill>
              <a:round/>
              <a:headEnd/>
              <a:tailEnd/>
            </a:ln>
          </p:spPr>
          <p:txBody>
            <a:bodyPr/>
            <a:lstStyle/>
            <a:p>
              <a:endParaRPr lang="en-US"/>
            </a:p>
          </p:txBody>
        </p:sp>
        <p:sp>
          <p:nvSpPr>
            <p:cNvPr id="248" name="Freeform 1148"/>
            <p:cNvSpPr>
              <a:spLocks/>
            </p:cNvSpPr>
            <p:nvPr/>
          </p:nvSpPr>
          <p:spPr bwMode="auto">
            <a:xfrm>
              <a:off x="2658625" y="2586872"/>
              <a:ext cx="1116572" cy="536209"/>
            </a:xfrm>
            <a:custGeom>
              <a:avLst/>
              <a:gdLst>
                <a:gd name="T0" fmla="*/ 2147483647 w 2377"/>
                <a:gd name="T1" fmla="*/ 2147483647 h 1287"/>
                <a:gd name="T2" fmla="*/ 2147483647 w 2377"/>
                <a:gd name="T3" fmla="*/ 2147483647 h 1287"/>
                <a:gd name="T4" fmla="*/ 2147483647 w 2377"/>
                <a:gd name="T5" fmla="*/ 2147483647 h 1287"/>
                <a:gd name="T6" fmla="*/ 2147483647 w 2377"/>
                <a:gd name="T7" fmla="*/ 2147483647 h 1287"/>
                <a:gd name="T8" fmla="*/ 2147483647 w 2377"/>
                <a:gd name="T9" fmla="*/ 2147483647 h 1287"/>
                <a:gd name="T10" fmla="*/ 2147483647 w 2377"/>
                <a:gd name="T11" fmla="*/ 2147483647 h 1287"/>
                <a:gd name="T12" fmla="*/ 2147483647 w 2377"/>
                <a:gd name="T13" fmla="*/ 2147483647 h 1287"/>
                <a:gd name="T14" fmla="*/ 2147483647 w 2377"/>
                <a:gd name="T15" fmla="*/ 2147483647 h 1287"/>
                <a:gd name="T16" fmla="*/ 2147483647 w 2377"/>
                <a:gd name="T17" fmla="*/ 2147483647 h 1287"/>
                <a:gd name="T18" fmla="*/ 2147483647 w 2377"/>
                <a:gd name="T19" fmla="*/ 2147483647 h 1287"/>
                <a:gd name="T20" fmla="*/ 2147483647 w 2377"/>
                <a:gd name="T21" fmla="*/ 2147483647 h 1287"/>
                <a:gd name="T22" fmla="*/ 2147483647 w 2377"/>
                <a:gd name="T23" fmla="*/ 2147483647 h 1287"/>
                <a:gd name="T24" fmla="*/ 2147483647 w 2377"/>
                <a:gd name="T25" fmla="*/ 2147483647 h 1287"/>
                <a:gd name="T26" fmla="*/ 2147483647 w 2377"/>
                <a:gd name="T27" fmla="*/ 2147483647 h 1287"/>
                <a:gd name="T28" fmla="*/ 2147483647 w 2377"/>
                <a:gd name="T29" fmla="*/ 2147483647 h 1287"/>
                <a:gd name="T30" fmla="*/ 2147483647 w 2377"/>
                <a:gd name="T31" fmla="*/ 2147483647 h 1287"/>
                <a:gd name="T32" fmla="*/ 2147483647 w 2377"/>
                <a:gd name="T33" fmla="*/ 2147483647 h 1287"/>
                <a:gd name="T34" fmla="*/ 2147483647 w 2377"/>
                <a:gd name="T35" fmla="*/ 2147483647 h 1287"/>
                <a:gd name="T36" fmla="*/ 2147483647 w 2377"/>
                <a:gd name="T37" fmla="*/ 2147483647 h 1287"/>
                <a:gd name="T38" fmla="*/ 2147483647 w 2377"/>
                <a:gd name="T39" fmla="*/ 2147483647 h 1287"/>
                <a:gd name="T40" fmla="*/ 2147483647 w 2377"/>
                <a:gd name="T41" fmla="*/ 2147483647 h 1287"/>
                <a:gd name="T42" fmla="*/ 2147483647 w 2377"/>
                <a:gd name="T43" fmla="*/ 2147483647 h 1287"/>
                <a:gd name="T44" fmla="*/ 2147483647 w 2377"/>
                <a:gd name="T45" fmla="*/ 2147483647 h 1287"/>
                <a:gd name="T46" fmla="*/ 2147483647 w 2377"/>
                <a:gd name="T47" fmla="*/ 2147483647 h 1287"/>
                <a:gd name="T48" fmla="*/ 2147483647 w 2377"/>
                <a:gd name="T49" fmla="*/ 2147483647 h 1287"/>
                <a:gd name="T50" fmla="*/ 2147483647 w 2377"/>
                <a:gd name="T51" fmla="*/ 2147483647 h 1287"/>
                <a:gd name="T52" fmla="*/ 2147483647 w 2377"/>
                <a:gd name="T53" fmla="*/ 2147483647 h 1287"/>
                <a:gd name="T54" fmla="*/ 2147483647 w 2377"/>
                <a:gd name="T55" fmla="*/ 2147483647 h 1287"/>
                <a:gd name="T56" fmla="*/ 2147483647 w 2377"/>
                <a:gd name="T57" fmla="*/ 2147483647 h 1287"/>
                <a:gd name="T58" fmla="*/ 2147483647 w 2377"/>
                <a:gd name="T59" fmla="*/ 2147483647 h 1287"/>
                <a:gd name="T60" fmla="*/ 2147483647 w 2377"/>
                <a:gd name="T61" fmla="*/ 2147483647 h 1287"/>
                <a:gd name="T62" fmla="*/ 2147483647 w 2377"/>
                <a:gd name="T63" fmla="*/ 2147483647 h 1287"/>
                <a:gd name="T64" fmla="*/ 2147483647 w 2377"/>
                <a:gd name="T65" fmla="*/ 2147483647 h 1287"/>
                <a:gd name="T66" fmla="*/ 2147483647 w 2377"/>
                <a:gd name="T67" fmla="*/ 2147483647 h 1287"/>
                <a:gd name="T68" fmla="*/ 2147483647 w 2377"/>
                <a:gd name="T69" fmla="*/ 2147483647 h 1287"/>
                <a:gd name="T70" fmla="*/ 2147483647 w 2377"/>
                <a:gd name="T71" fmla="*/ 2147483647 h 1287"/>
                <a:gd name="T72" fmla="*/ 2147483647 w 2377"/>
                <a:gd name="T73" fmla="*/ 2147483647 h 1287"/>
                <a:gd name="T74" fmla="*/ 2147483647 w 2377"/>
                <a:gd name="T75" fmla="*/ 2147483647 h 1287"/>
                <a:gd name="T76" fmla="*/ 2147483647 w 2377"/>
                <a:gd name="T77" fmla="*/ 2147483647 h 1287"/>
                <a:gd name="T78" fmla="*/ 2147483647 w 2377"/>
                <a:gd name="T79" fmla="*/ 2147483647 h 1287"/>
                <a:gd name="T80" fmla="*/ 2147483647 w 2377"/>
                <a:gd name="T81" fmla="*/ 2147483647 h 1287"/>
                <a:gd name="T82" fmla="*/ 2147483647 w 2377"/>
                <a:gd name="T83" fmla="*/ 2147483647 h 1287"/>
                <a:gd name="T84" fmla="*/ 2147483647 w 2377"/>
                <a:gd name="T85" fmla="*/ 2147483647 h 1287"/>
                <a:gd name="T86" fmla="*/ 2147483647 w 2377"/>
                <a:gd name="T87" fmla="*/ 2147483647 h 1287"/>
                <a:gd name="T88" fmla="*/ 2147483647 w 2377"/>
                <a:gd name="T89" fmla="*/ 2147483647 h 1287"/>
                <a:gd name="T90" fmla="*/ 2147483647 w 2377"/>
                <a:gd name="T91" fmla="*/ 2147483647 h 1287"/>
                <a:gd name="T92" fmla="*/ 2147483647 w 2377"/>
                <a:gd name="T93" fmla="*/ 2147483647 h 1287"/>
                <a:gd name="T94" fmla="*/ 2147483647 w 2377"/>
                <a:gd name="T95" fmla="*/ 2147483647 h 1287"/>
                <a:gd name="T96" fmla="*/ 2147483647 w 2377"/>
                <a:gd name="T97" fmla="*/ 2147483647 h 1287"/>
                <a:gd name="T98" fmla="*/ 2147483647 w 2377"/>
                <a:gd name="T99" fmla="*/ 2147483647 h 1287"/>
                <a:gd name="T100" fmla="*/ 2147483647 w 2377"/>
                <a:gd name="T101" fmla="*/ 2147483647 h 1287"/>
                <a:gd name="T102" fmla="*/ 0 w 2377"/>
                <a:gd name="T103" fmla="*/ 2147483647 h 1287"/>
                <a:gd name="T104" fmla="*/ 2147483647 w 2377"/>
                <a:gd name="T105" fmla="*/ 2147483647 h 1287"/>
                <a:gd name="T106" fmla="*/ 2147483647 w 2377"/>
                <a:gd name="T107" fmla="*/ 2147483647 h 1287"/>
                <a:gd name="T108" fmla="*/ 2147483647 w 2377"/>
                <a:gd name="T109" fmla="*/ 2147483647 h 1287"/>
                <a:gd name="T110" fmla="*/ 2147483647 w 2377"/>
                <a:gd name="T111" fmla="*/ 2147483647 h 1287"/>
                <a:gd name="T112" fmla="*/ 2147483647 w 2377"/>
                <a:gd name="T113" fmla="*/ 2147483647 h 1287"/>
                <a:gd name="T114" fmla="*/ 2147483647 w 2377"/>
                <a:gd name="T115" fmla="*/ 2147483647 h 1287"/>
                <a:gd name="T116" fmla="*/ 2147483647 w 2377"/>
                <a:gd name="T117" fmla="*/ 2147483647 h 1287"/>
                <a:gd name="T118" fmla="*/ 2147483647 w 2377"/>
                <a:gd name="T119" fmla="*/ 2147483647 h 1287"/>
                <a:gd name="T120" fmla="*/ 2147483647 w 2377"/>
                <a:gd name="T121" fmla="*/ 2147483647 h 1287"/>
                <a:gd name="T122" fmla="*/ 2147483647 w 2377"/>
                <a:gd name="T123" fmla="*/ 2147483647 h 1287"/>
                <a:gd name="T124" fmla="*/ 2147483647 w 2377"/>
                <a:gd name="T125" fmla="*/ 2147483647 h 12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77"/>
                <a:gd name="T190" fmla="*/ 0 h 1287"/>
                <a:gd name="T191" fmla="*/ 2377 w 2377"/>
                <a:gd name="T192" fmla="*/ 1287 h 12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77" h="1287">
                  <a:moveTo>
                    <a:pt x="1483" y="1287"/>
                  </a:moveTo>
                  <a:lnTo>
                    <a:pt x="1522" y="1287"/>
                  </a:lnTo>
                  <a:lnTo>
                    <a:pt x="1564" y="1287"/>
                  </a:lnTo>
                  <a:lnTo>
                    <a:pt x="1603" y="1287"/>
                  </a:lnTo>
                  <a:lnTo>
                    <a:pt x="1638" y="1287"/>
                  </a:lnTo>
                  <a:lnTo>
                    <a:pt x="1678" y="1287"/>
                  </a:lnTo>
                  <a:lnTo>
                    <a:pt x="1719" y="1287"/>
                  </a:lnTo>
                  <a:lnTo>
                    <a:pt x="1759" y="1287"/>
                  </a:lnTo>
                  <a:lnTo>
                    <a:pt x="1797" y="1287"/>
                  </a:lnTo>
                  <a:lnTo>
                    <a:pt x="1797" y="1246"/>
                  </a:lnTo>
                  <a:lnTo>
                    <a:pt x="1805" y="1241"/>
                  </a:lnTo>
                  <a:lnTo>
                    <a:pt x="1807" y="1214"/>
                  </a:lnTo>
                  <a:lnTo>
                    <a:pt x="1815" y="1211"/>
                  </a:lnTo>
                  <a:lnTo>
                    <a:pt x="1821" y="1185"/>
                  </a:lnTo>
                  <a:lnTo>
                    <a:pt x="1804" y="1167"/>
                  </a:lnTo>
                  <a:lnTo>
                    <a:pt x="1827" y="1163"/>
                  </a:lnTo>
                  <a:lnTo>
                    <a:pt x="1848" y="1145"/>
                  </a:lnTo>
                  <a:lnTo>
                    <a:pt x="1857" y="1130"/>
                  </a:lnTo>
                  <a:lnTo>
                    <a:pt x="1850" y="1118"/>
                  </a:lnTo>
                  <a:lnTo>
                    <a:pt x="1863" y="1118"/>
                  </a:lnTo>
                  <a:lnTo>
                    <a:pt x="1872" y="1092"/>
                  </a:lnTo>
                  <a:lnTo>
                    <a:pt x="1877" y="1090"/>
                  </a:lnTo>
                  <a:lnTo>
                    <a:pt x="1890" y="1105"/>
                  </a:lnTo>
                  <a:lnTo>
                    <a:pt x="1886" y="1082"/>
                  </a:lnTo>
                  <a:lnTo>
                    <a:pt x="1889" y="1056"/>
                  </a:lnTo>
                  <a:lnTo>
                    <a:pt x="1916" y="1055"/>
                  </a:lnTo>
                  <a:lnTo>
                    <a:pt x="1901" y="1051"/>
                  </a:lnTo>
                  <a:lnTo>
                    <a:pt x="1894" y="1039"/>
                  </a:lnTo>
                  <a:lnTo>
                    <a:pt x="1897" y="1033"/>
                  </a:lnTo>
                  <a:lnTo>
                    <a:pt x="1940" y="1035"/>
                  </a:lnTo>
                  <a:lnTo>
                    <a:pt x="1968" y="1026"/>
                  </a:lnTo>
                  <a:lnTo>
                    <a:pt x="1974" y="1017"/>
                  </a:lnTo>
                  <a:lnTo>
                    <a:pt x="1971" y="991"/>
                  </a:lnTo>
                  <a:lnTo>
                    <a:pt x="1962" y="970"/>
                  </a:lnTo>
                  <a:lnTo>
                    <a:pt x="1955" y="972"/>
                  </a:lnTo>
                  <a:lnTo>
                    <a:pt x="1925" y="949"/>
                  </a:lnTo>
                  <a:lnTo>
                    <a:pt x="1903" y="961"/>
                  </a:lnTo>
                  <a:lnTo>
                    <a:pt x="1910" y="947"/>
                  </a:lnTo>
                  <a:lnTo>
                    <a:pt x="1895" y="942"/>
                  </a:lnTo>
                  <a:lnTo>
                    <a:pt x="1890" y="948"/>
                  </a:lnTo>
                  <a:lnTo>
                    <a:pt x="1888" y="940"/>
                  </a:lnTo>
                  <a:lnTo>
                    <a:pt x="1860" y="925"/>
                  </a:lnTo>
                  <a:lnTo>
                    <a:pt x="1861" y="933"/>
                  </a:lnTo>
                  <a:lnTo>
                    <a:pt x="1855" y="936"/>
                  </a:lnTo>
                  <a:lnTo>
                    <a:pt x="1846" y="926"/>
                  </a:lnTo>
                  <a:lnTo>
                    <a:pt x="1853" y="916"/>
                  </a:lnTo>
                  <a:lnTo>
                    <a:pt x="1908" y="943"/>
                  </a:lnTo>
                  <a:lnTo>
                    <a:pt x="1936" y="936"/>
                  </a:lnTo>
                  <a:lnTo>
                    <a:pt x="1938" y="947"/>
                  </a:lnTo>
                  <a:lnTo>
                    <a:pt x="1974" y="969"/>
                  </a:lnTo>
                  <a:lnTo>
                    <a:pt x="1997" y="951"/>
                  </a:lnTo>
                  <a:lnTo>
                    <a:pt x="2003" y="937"/>
                  </a:lnTo>
                  <a:lnTo>
                    <a:pt x="1999" y="932"/>
                  </a:lnTo>
                  <a:lnTo>
                    <a:pt x="2000" y="923"/>
                  </a:lnTo>
                  <a:lnTo>
                    <a:pt x="2010" y="926"/>
                  </a:lnTo>
                  <a:lnTo>
                    <a:pt x="2007" y="904"/>
                  </a:lnTo>
                  <a:lnTo>
                    <a:pt x="2039" y="922"/>
                  </a:lnTo>
                  <a:lnTo>
                    <a:pt x="2042" y="915"/>
                  </a:lnTo>
                  <a:lnTo>
                    <a:pt x="2059" y="920"/>
                  </a:lnTo>
                  <a:lnTo>
                    <a:pt x="2083" y="903"/>
                  </a:lnTo>
                  <a:lnTo>
                    <a:pt x="2095" y="881"/>
                  </a:lnTo>
                  <a:lnTo>
                    <a:pt x="2095" y="870"/>
                  </a:lnTo>
                  <a:lnTo>
                    <a:pt x="2105" y="865"/>
                  </a:lnTo>
                  <a:lnTo>
                    <a:pt x="2129" y="822"/>
                  </a:lnTo>
                  <a:lnTo>
                    <a:pt x="2135" y="799"/>
                  </a:lnTo>
                  <a:lnTo>
                    <a:pt x="2042" y="785"/>
                  </a:lnTo>
                  <a:lnTo>
                    <a:pt x="2009" y="745"/>
                  </a:lnTo>
                  <a:lnTo>
                    <a:pt x="1994" y="736"/>
                  </a:lnTo>
                  <a:lnTo>
                    <a:pt x="1998" y="727"/>
                  </a:lnTo>
                  <a:lnTo>
                    <a:pt x="2023" y="729"/>
                  </a:lnTo>
                  <a:lnTo>
                    <a:pt x="2057" y="748"/>
                  </a:lnTo>
                  <a:lnTo>
                    <a:pt x="2088" y="785"/>
                  </a:lnTo>
                  <a:lnTo>
                    <a:pt x="2125" y="781"/>
                  </a:lnTo>
                  <a:lnTo>
                    <a:pt x="2171" y="710"/>
                  </a:lnTo>
                  <a:lnTo>
                    <a:pt x="2173" y="694"/>
                  </a:lnTo>
                  <a:lnTo>
                    <a:pt x="2169" y="687"/>
                  </a:lnTo>
                  <a:lnTo>
                    <a:pt x="2144" y="677"/>
                  </a:lnTo>
                  <a:lnTo>
                    <a:pt x="2142" y="670"/>
                  </a:lnTo>
                  <a:lnTo>
                    <a:pt x="2152" y="656"/>
                  </a:lnTo>
                  <a:lnTo>
                    <a:pt x="2181" y="665"/>
                  </a:lnTo>
                  <a:lnTo>
                    <a:pt x="2202" y="656"/>
                  </a:lnTo>
                  <a:lnTo>
                    <a:pt x="2209" y="688"/>
                  </a:lnTo>
                  <a:lnTo>
                    <a:pt x="2237" y="694"/>
                  </a:lnTo>
                  <a:lnTo>
                    <a:pt x="2237" y="676"/>
                  </a:lnTo>
                  <a:lnTo>
                    <a:pt x="2242" y="676"/>
                  </a:lnTo>
                  <a:lnTo>
                    <a:pt x="2270" y="698"/>
                  </a:lnTo>
                  <a:lnTo>
                    <a:pt x="2264" y="669"/>
                  </a:lnTo>
                  <a:lnTo>
                    <a:pt x="2254" y="656"/>
                  </a:lnTo>
                  <a:lnTo>
                    <a:pt x="2253" y="648"/>
                  </a:lnTo>
                  <a:lnTo>
                    <a:pt x="2259" y="642"/>
                  </a:lnTo>
                  <a:lnTo>
                    <a:pt x="2292" y="676"/>
                  </a:lnTo>
                  <a:lnTo>
                    <a:pt x="2303" y="658"/>
                  </a:lnTo>
                  <a:lnTo>
                    <a:pt x="2318" y="655"/>
                  </a:lnTo>
                  <a:lnTo>
                    <a:pt x="2355" y="608"/>
                  </a:lnTo>
                  <a:lnTo>
                    <a:pt x="2372" y="598"/>
                  </a:lnTo>
                  <a:lnTo>
                    <a:pt x="2376" y="586"/>
                  </a:lnTo>
                  <a:lnTo>
                    <a:pt x="2373" y="567"/>
                  </a:lnTo>
                  <a:lnTo>
                    <a:pt x="2377" y="555"/>
                  </a:lnTo>
                  <a:lnTo>
                    <a:pt x="2342" y="509"/>
                  </a:lnTo>
                  <a:lnTo>
                    <a:pt x="2347" y="472"/>
                  </a:lnTo>
                  <a:lnTo>
                    <a:pt x="2332" y="479"/>
                  </a:lnTo>
                  <a:lnTo>
                    <a:pt x="2333" y="466"/>
                  </a:lnTo>
                  <a:lnTo>
                    <a:pt x="2328" y="466"/>
                  </a:lnTo>
                  <a:lnTo>
                    <a:pt x="2332" y="460"/>
                  </a:lnTo>
                  <a:lnTo>
                    <a:pt x="2322" y="445"/>
                  </a:lnTo>
                  <a:lnTo>
                    <a:pt x="2323" y="437"/>
                  </a:lnTo>
                  <a:lnTo>
                    <a:pt x="2343" y="436"/>
                  </a:lnTo>
                  <a:lnTo>
                    <a:pt x="2351" y="451"/>
                  </a:lnTo>
                  <a:lnTo>
                    <a:pt x="2377" y="422"/>
                  </a:lnTo>
                  <a:lnTo>
                    <a:pt x="2374" y="401"/>
                  </a:lnTo>
                  <a:lnTo>
                    <a:pt x="2348" y="397"/>
                  </a:lnTo>
                  <a:lnTo>
                    <a:pt x="2374" y="368"/>
                  </a:lnTo>
                  <a:lnTo>
                    <a:pt x="2357" y="352"/>
                  </a:lnTo>
                  <a:lnTo>
                    <a:pt x="2332" y="352"/>
                  </a:lnTo>
                  <a:lnTo>
                    <a:pt x="2335" y="347"/>
                  </a:lnTo>
                  <a:lnTo>
                    <a:pt x="2329" y="337"/>
                  </a:lnTo>
                  <a:lnTo>
                    <a:pt x="2315" y="324"/>
                  </a:lnTo>
                  <a:lnTo>
                    <a:pt x="2322" y="321"/>
                  </a:lnTo>
                  <a:lnTo>
                    <a:pt x="2317" y="295"/>
                  </a:lnTo>
                  <a:lnTo>
                    <a:pt x="2277" y="300"/>
                  </a:lnTo>
                  <a:lnTo>
                    <a:pt x="2235" y="277"/>
                  </a:lnTo>
                  <a:lnTo>
                    <a:pt x="2197" y="281"/>
                  </a:lnTo>
                  <a:lnTo>
                    <a:pt x="2194" y="302"/>
                  </a:lnTo>
                  <a:lnTo>
                    <a:pt x="2199" y="333"/>
                  </a:lnTo>
                  <a:lnTo>
                    <a:pt x="2197" y="345"/>
                  </a:lnTo>
                  <a:lnTo>
                    <a:pt x="2206" y="364"/>
                  </a:lnTo>
                  <a:lnTo>
                    <a:pt x="2228" y="375"/>
                  </a:lnTo>
                  <a:lnTo>
                    <a:pt x="2230" y="382"/>
                  </a:lnTo>
                  <a:lnTo>
                    <a:pt x="2217" y="382"/>
                  </a:lnTo>
                  <a:lnTo>
                    <a:pt x="2210" y="397"/>
                  </a:lnTo>
                  <a:lnTo>
                    <a:pt x="2228" y="407"/>
                  </a:lnTo>
                  <a:lnTo>
                    <a:pt x="2199" y="408"/>
                  </a:lnTo>
                  <a:lnTo>
                    <a:pt x="2183" y="420"/>
                  </a:lnTo>
                  <a:lnTo>
                    <a:pt x="2181" y="458"/>
                  </a:lnTo>
                  <a:lnTo>
                    <a:pt x="2166" y="500"/>
                  </a:lnTo>
                  <a:lnTo>
                    <a:pt x="2150" y="526"/>
                  </a:lnTo>
                  <a:lnTo>
                    <a:pt x="2146" y="564"/>
                  </a:lnTo>
                  <a:lnTo>
                    <a:pt x="2127" y="564"/>
                  </a:lnTo>
                  <a:lnTo>
                    <a:pt x="2124" y="580"/>
                  </a:lnTo>
                  <a:lnTo>
                    <a:pt x="2116" y="585"/>
                  </a:lnTo>
                  <a:lnTo>
                    <a:pt x="2069" y="502"/>
                  </a:lnTo>
                  <a:lnTo>
                    <a:pt x="2071" y="481"/>
                  </a:lnTo>
                  <a:lnTo>
                    <a:pt x="2069" y="467"/>
                  </a:lnTo>
                  <a:lnTo>
                    <a:pt x="2076" y="449"/>
                  </a:lnTo>
                  <a:lnTo>
                    <a:pt x="2079" y="466"/>
                  </a:lnTo>
                  <a:lnTo>
                    <a:pt x="2093" y="463"/>
                  </a:lnTo>
                  <a:lnTo>
                    <a:pt x="2078" y="395"/>
                  </a:lnTo>
                  <a:lnTo>
                    <a:pt x="2056" y="375"/>
                  </a:lnTo>
                  <a:lnTo>
                    <a:pt x="2042" y="346"/>
                  </a:lnTo>
                  <a:lnTo>
                    <a:pt x="2023" y="349"/>
                  </a:lnTo>
                  <a:lnTo>
                    <a:pt x="2008" y="375"/>
                  </a:lnTo>
                  <a:lnTo>
                    <a:pt x="2008" y="415"/>
                  </a:lnTo>
                  <a:lnTo>
                    <a:pt x="2003" y="415"/>
                  </a:lnTo>
                  <a:lnTo>
                    <a:pt x="2001" y="437"/>
                  </a:lnTo>
                  <a:lnTo>
                    <a:pt x="1994" y="455"/>
                  </a:lnTo>
                  <a:lnTo>
                    <a:pt x="1987" y="461"/>
                  </a:lnTo>
                  <a:lnTo>
                    <a:pt x="1976" y="436"/>
                  </a:lnTo>
                  <a:lnTo>
                    <a:pt x="1982" y="402"/>
                  </a:lnTo>
                  <a:lnTo>
                    <a:pt x="1967" y="367"/>
                  </a:lnTo>
                  <a:lnTo>
                    <a:pt x="1941" y="337"/>
                  </a:lnTo>
                  <a:lnTo>
                    <a:pt x="1959" y="343"/>
                  </a:lnTo>
                  <a:lnTo>
                    <a:pt x="1964" y="329"/>
                  </a:lnTo>
                  <a:lnTo>
                    <a:pt x="1962" y="317"/>
                  </a:lnTo>
                  <a:lnTo>
                    <a:pt x="1959" y="324"/>
                  </a:lnTo>
                  <a:lnTo>
                    <a:pt x="1939" y="316"/>
                  </a:lnTo>
                  <a:lnTo>
                    <a:pt x="1943" y="304"/>
                  </a:lnTo>
                  <a:lnTo>
                    <a:pt x="1919" y="319"/>
                  </a:lnTo>
                  <a:lnTo>
                    <a:pt x="1899" y="297"/>
                  </a:lnTo>
                  <a:lnTo>
                    <a:pt x="1884" y="298"/>
                  </a:lnTo>
                  <a:lnTo>
                    <a:pt x="1883" y="290"/>
                  </a:lnTo>
                  <a:lnTo>
                    <a:pt x="1891" y="279"/>
                  </a:lnTo>
                  <a:lnTo>
                    <a:pt x="1916" y="261"/>
                  </a:lnTo>
                  <a:lnTo>
                    <a:pt x="1894" y="248"/>
                  </a:lnTo>
                  <a:lnTo>
                    <a:pt x="1896" y="236"/>
                  </a:lnTo>
                  <a:lnTo>
                    <a:pt x="1935" y="240"/>
                  </a:lnTo>
                  <a:lnTo>
                    <a:pt x="1920" y="213"/>
                  </a:lnTo>
                  <a:lnTo>
                    <a:pt x="1912" y="222"/>
                  </a:lnTo>
                  <a:lnTo>
                    <a:pt x="1901" y="179"/>
                  </a:lnTo>
                  <a:lnTo>
                    <a:pt x="1884" y="173"/>
                  </a:lnTo>
                  <a:lnTo>
                    <a:pt x="1882" y="157"/>
                  </a:lnTo>
                  <a:lnTo>
                    <a:pt x="1873" y="155"/>
                  </a:lnTo>
                  <a:lnTo>
                    <a:pt x="1875" y="114"/>
                  </a:lnTo>
                  <a:lnTo>
                    <a:pt x="1871" y="90"/>
                  </a:lnTo>
                  <a:lnTo>
                    <a:pt x="1842" y="57"/>
                  </a:lnTo>
                  <a:lnTo>
                    <a:pt x="1838" y="48"/>
                  </a:lnTo>
                  <a:lnTo>
                    <a:pt x="1841" y="27"/>
                  </a:lnTo>
                  <a:lnTo>
                    <a:pt x="1828" y="33"/>
                  </a:lnTo>
                  <a:lnTo>
                    <a:pt x="1820" y="23"/>
                  </a:lnTo>
                  <a:lnTo>
                    <a:pt x="1811" y="37"/>
                  </a:lnTo>
                  <a:lnTo>
                    <a:pt x="1811" y="23"/>
                  </a:lnTo>
                  <a:lnTo>
                    <a:pt x="1803" y="23"/>
                  </a:lnTo>
                  <a:lnTo>
                    <a:pt x="1808" y="7"/>
                  </a:lnTo>
                  <a:lnTo>
                    <a:pt x="1777" y="0"/>
                  </a:lnTo>
                  <a:lnTo>
                    <a:pt x="1750" y="52"/>
                  </a:lnTo>
                  <a:lnTo>
                    <a:pt x="1761" y="66"/>
                  </a:lnTo>
                  <a:lnTo>
                    <a:pt x="1760" y="96"/>
                  </a:lnTo>
                  <a:lnTo>
                    <a:pt x="1743" y="78"/>
                  </a:lnTo>
                  <a:lnTo>
                    <a:pt x="1729" y="95"/>
                  </a:lnTo>
                  <a:lnTo>
                    <a:pt x="1729" y="121"/>
                  </a:lnTo>
                  <a:lnTo>
                    <a:pt x="1723" y="151"/>
                  </a:lnTo>
                  <a:lnTo>
                    <a:pt x="1737" y="177"/>
                  </a:lnTo>
                  <a:lnTo>
                    <a:pt x="1740" y="173"/>
                  </a:lnTo>
                  <a:lnTo>
                    <a:pt x="1736" y="188"/>
                  </a:lnTo>
                  <a:lnTo>
                    <a:pt x="1732" y="184"/>
                  </a:lnTo>
                  <a:lnTo>
                    <a:pt x="1716" y="207"/>
                  </a:lnTo>
                  <a:lnTo>
                    <a:pt x="1716" y="248"/>
                  </a:lnTo>
                  <a:lnTo>
                    <a:pt x="1740" y="269"/>
                  </a:lnTo>
                  <a:lnTo>
                    <a:pt x="1737" y="275"/>
                  </a:lnTo>
                  <a:lnTo>
                    <a:pt x="1740" y="280"/>
                  </a:lnTo>
                  <a:lnTo>
                    <a:pt x="1771" y="287"/>
                  </a:lnTo>
                  <a:lnTo>
                    <a:pt x="1773" y="297"/>
                  </a:lnTo>
                  <a:lnTo>
                    <a:pt x="1793" y="312"/>
                  </a:lnTo>
                  <a:lnTo>
                    <a:pt x="1797" y="301"/>
                  </a:lnTo>
                  <a:lnTo>
                    <a:pt x="1811" y="326"/>
                  </a:lnTo>
                  <a:lnTo>
                    <a:pt x="1841" y="318"/>
                  </a:lnTo>
                  <a:lnTo>
                    <a:pt x="1845" y="334"/>
                  </a:lnTo>
                  <a:lnTo>
                    <a:pt x="1842" y="347"/>
                  </a:lnTo>
                  <a:lnTo>
                    <a:pt x="1832" y="352"/>
                  </a:lnTo>
                  <a:lnTo>
                    <a:pt x="1837" y="329"/>
                  </a:lnTo>
                  <a:lnTo>
                    <a:pt x="1820" y="338"/>
                  </a:lnTo>
                  <a:lnTo>
                    <a:pt x="1812" y="362"/>
                  </a:lnTo>
                  <a:lnTo>
                    <a:pt x="1817" y="368"/>
                  </a:lnTo>
                  <a:lnTo>
                    <a:pt x="1811" y="385"/>
                  </a:lnTo>
                  <a:lnTo>
                    <a:pt x="1802" y="386"/>
                  </a:lnTo>
                  <a:lnTo>
                    <a:pt x="1798" y="410"/>
                  </a:lnTo>
                  <a:lnTo>
                    <a:pt x="1823" y="408"/>
                  </a:lnTo>
                  <a:lnTo>
                    <a:pt x="1833" y="389"/>
                  </a:lnTo>
                  <a:lnTo>
                    <a:pt x="1824" y="397"/>
                  </a:lnTo>
                  <a:lnTo>
                    <a:pt x="1827" y="378"/>
                  </a:lnTo>
                  <a:lnTo>
                    <a:pt x="1837" y="384"/>
                  </a:lnTo>
                  <a:lnTo>
                    <a:pt x="1839" y="422"/>
                  </a:lnTo>
                  <a:lnTo>
                    <a:pt x="1847" y="426"/>
                  </a:lnTo>
                  <a:lnTo>
                    <a:pt x="1822" y="449"/>
                  </a:lnTo>
                  <a:lnTo>
                    <a:pt x="1817" y="468"/>
                  </a:lnTo>
                  <a:lnTo>
                    <a:pt x="1799" y="488"/>
                  </a:lnTo>
                  <a:lnTo>
                    <a:pt x="1758" y="484"/>
                  </a:lnTo>
                  <a:lnTo>
                    <a:pt x="1763" y="497"/>
                  </a:lnTo>
                  <a:lnTo>
                    <a:pt x="1757" y="526"/>
                  </a:lnTo>
                  <a:lnTo>
                    <a:pt x="1771" y="543"/>
                  </a:lnTo>
                  <a:lnTo>
                    <a:pt x="1774" y="570"/>
                  </a:lnTo>
                  <a:lnTo>
                    <a:pt x="1770" y="583"/>
                  </a:lnTo>
                  <a:lnTo>
                    <a:pt x="1758" y="575"/>
                  </a:lnTo>
                  <a:lnTo>
                    <a:pt x="1763" y="562"/>
                  </a:lnTo>
                  <a:lnTo>
                    <a:pt x="1740" y="576"/>
                  </a:lnTo>
                  <a:lnTo>
                    <a:pt x="1740" y="555"/>
                  </a:lnTo>
                  <a:lnTo>
                    <a:pt x="1729" y="556"/>
                  </a:lnTo>
                  <a:lnTo>
                    <a:pt x="1725" y="543"/>
                  </a:lnTo>
                  <a:lnTo>
                    <a:pt x="1740" y="534"/>
                  </a:lnTo>
                  <a:lnTo>
                    <a:pt x="1734" y="522"/>
                  </a:lnTo>
                  <a:lnTo>
                    <a:pt x="1740" y="497"/>
                  </a:lnTo>
                  <a:lnTo>
                    <a:pt x="1742" y="467"/>
                  </a:lnTo>
                  <a:lnTo>
                    <a:pt x="1723" y="478"/>
                  </a:lnTo>
                  <a:lnTo>
                    <a:pt x="1723" y="493"/>
                  </a:lnTo>
                  <a:lnTo>
                    <a:pt x="1712" y="491"/>
                  </a:lnTo>
                  <a:lnTo>
                    <a:pt x="1709" y="486"/>
                  </a:lnTo>
                  <a:lnTo>
                    <a:pt x="1718" y="458"/>
                  </a:lnTo>
                  <a:lnTo>
                    <a:pt x="1699" y="461"/>
                  </a:lnTo>
                  <a:lnTo>
                    <a:pt x="1704" y="455"/>
                  </a:lnTo>
                  <a:lnTo>
                    <a:pt x="1687" y="438"/>
                  </a:lnTo>
                  <a:lnTo>
                    <a:pt x="1677" y="437"/>
                  </a:lnTo>
                  <a:lnTo>
                    <a:pt x="1680" y="449"/>
                  </a:lnTo>
                  <a:lnTo>
                    <a:pt x="1661" y="431"/>
                  </a:lnTo>
                  <a:lnTo>
                    <a:pt x="1655" y="434"/>
                  </a:lnTo>
                  <a:lnTo>
                    <a:pt x="1669" y="451"/>
                  </a:lnTo>
                  <a:lnTo>
                    <a:pt x="1640" y="449"/>
                  </a:lnTo>
                  <a:lnTo>
                    <a:pt x="1637" y="456"/>
                  </a:lnTo>
                  <a:lnTo>
                    <a:pt x="1626" y="449"/>
                  </a:lnTo>
                  <a:lnTo>
                    <a:pt x="1643" y="472"/>
                  </a:lnTo>
                  <a:lnTo>
                    <a:pt x="1643" y="483"/>
                  </a:lnTo>
                  <a:lnTo>
                    <a:pt x="1637" y="480"/>
                  </a:lnTo>
                  <a:lnTo>
                    <a:pt x="1652" y="513"/>
                  </a:lnTo>
                  <a:lnTo>
                    <a:pt x="1659" y="515"/>
                  </a:lnTo>
                  <a:lnTo>
                    <a:pt x="1656" y="506"/>
                  </a:lnTo>
                  <a:lnTo>
                    <a:pt x="1660" y="499"/>
                  </a:lnTo>
                  <a:lnTo>
                    <a:pt x="1677" y="497"/>
                  </a:lnTo>
                  <a:lnTo>
                    <a:pt x="1680" y="508"/>
                  </a:lnTo>
                  <a:lnTo>
                    <a:pt x="1691" y="502"/>
                  </a:lnTo>
                  <a:lnTo>
                    <a:pt x="1692" y="529"/>
                  </a:lnTo>
                  <a:lnTo>
                    <a:pt x="1685" y="537"/>
                  </a:lnTo>
                  <a:lnTo>
                    <a:pt x="1649" y="521"/>
                  </a:lnTo>
                  <a:lnTo>
                    <a:pt x="1632" y="486"/>
                  </a:lnTo>
                  <a:lnTo>
                    <a:pt x="1624" y="492"/>
                  </a:lnTo>
                  <a:lnTo>
                    <a:pt x="1639" y="521"/>
                  </a:lnTo>
                  <a:lnTo>
                    <a:pt x="1611" y="526"/>
                  </a:lnTo>
                  <a:lnTo>
                    <a:pt x="1591" y="514"/>
                  </a:lnTo>
                  <a:lnTo>
                    <a:pt x="1555" y="512"/>
                  </a:lnTo>
                  <a:lnTo>
                    <a:pt x="1535" y="526"/>
                  </a:lnTo>
                  <a:lnTo>
                    <a:pt x="1518" y="521"/>
                  </a:lnTo>
                  <a:lnTo>
                    <a:pt x="1503" y="529"/>
                  </a:lnTo>
                  <a:lnTo>
                    <a:pt x="1485" y="521"/>
                  </a:lnTo>
                  <a:lnTo>
                    <a:pt x="1470" y="530"/>
                  </a:lnTo>
                  <a:lnTo>
                    <a:pt x="1452" y="521"/>
                  </a:lnTo>
                  <a:lnTo>
                    <a:pt x="1428" y="492"/>
                  </a:lnTo>
                  <a:lnTo>
                    <a:pt x="1428" y="479"/>
                  </a:lnTo>
                  <a:lnTo>
                    <a:pt x="1415" y="472"/>
                  </a:lnTo>
                  <a:lnTo>
                    <a:pt x="1415" y="481"/>
                  </a:lnTo>
                  <a:lnTo>
                    <a:pt x="1405" y="483"/>
                  </a:lnTo>
                  <a:lnTo>
                    <a:pt x="1405" y="491"/>
                  </a:lnTo>
                  <a:lnTo>
                    <a:pt x="1400" y="488"/>
                  </a:lnTo>
                  <a:lnTo>
                    <a:pt x="1367" y="482"/>
                  </a:lnTo>
                  <a:lnTo>
                    <a:pt x="1367" y="467"/>
                  </a:lnTo>
                  <a:lnTo>
                    <a:pt x="1327" y="442"/>
                  </a:lnTo>
                  <a:lnTo>
                    <a:pt x="1339" y="436"/>
                  </a:lnTo>
                  <a:lnTo>
                    <a:pt x="1324" y="412"/>
                  </a:lnTo>
                  <a:lnTo>
                    <a:pt x="1330" y="408"/>
                  </a:lnTo>
                  <a:lnTo>
                    <a:pt x="1302" y="380"/>
                  </a:lnTo>
                  <a:lnTo>
                    <a:pt x="1236" y="416"/>
                  </a:lnTo>
                  <a:lnTo>
                    <a:pt x="1210" y="419"/>
                  </a:lnTo>
                  <a:lnTo>
                    <a:pt x="1189" y="452"/>
                  </a:lnTo>
                  <a:lnTo>
                    <a:pt x="1190" y="465"/>
                  </a:lnTo>
                  <a:lnTo>
                    <a:pt x="1198" y="467"/>
                  </a:lnTo>
                  <a:lnTo>
                    <a:pt x="1204" y="472"/>
                  </a:lnTo>
                  <a:lnTo>
                    <a:pt x="1224" y="478"/>
                  </a:lnTo>
                  <a:lnTo>
                    <a:pt x="1239" y="471"/>
                  </a:lnTo>
                  <a:lnTo>
                    <a:pt x="1226" y="458"/>
                  </a:lnTo>
                  <a:lnTo>
                    <a:pt x="1243" y="450"/>
                  </a:lnTo>
                  <a:lnTo>
                    <a:pt x="1258" y="460"/>
                  </a:lnTo>
                  <a:lnTo>
                    <a:pt x="1276" y="449"/>
                  </a:lnTo>
                  <a:lnTo>
                    <a:pt x="1282" y="461"/>
                  </a:lnTo>
                  <a:lnTo>
                    <a:pt x="1283" y="449"/>
                  </a:lnTo>
                  <a:lnTo>
                    <a:pt x="1277" y="436"/>
                  </a:lnTo>
                  <a:lnTo>
                    <a:pt x="1290" y="435"/>
                  </a:lnTo>
                  <a:lnTo>
                    <a:pt x="1284" y="427"/>
                  </a:lnTo>
                  <a:lnTo>
                    <a:pt x="1316" y="416"/>
                  </a:lnTo>
                  <a:lnTo>
                    <a:pt x="1310" y="430"/>
                  </a:lnTo>
                  <a:lnTo>
                    <a:pt x="1315" y="432"/>
                  </a:lnTo>
                  <a:lnTo>
                    <a:pt x="1304" y="437"/>
                  </a:lnTo>
                  <a:lnTo>
                    <a:pt x="1305" y="444"/>
                  </a:lnTo>
                  <a:lnTo>
                    <a:pt x="1297" y="462"/>
                  </a:lnTo>
                  <a:lnTo>
                    <a:pt x="1291" y="455"/>
                  </a:lnTo>
                  <a:lnTo>
                    <a:pt x="1292" y="468"/>
                  </a:lnTo>
                  <a:lnTo>
                    <a:pt x="1238" y="486"/>
                  </a:lnTo>
                  <a:lnTo>
                    <a:pt x="1234" y="499"/>
                  </a:lnTo>
                  <a:lnTo>
                    <a:pt x="1239" y="501"/>
                  </a:lnTo>
                  <a:lnTo>
                    <a:pt x="1221" y="521"/>
                  </a:lnTo>
                  <a:lnTo>
                    <a:pt x="1236" y="534"/>
                  </a:lnTo>
                  <a:lnTo>
                    <a:pt x="1239" y="543"/>
                  </a:lnTo>
                  <a:lnTo>
                    <a:pt x="1236" y="561"/>
                  </a:lnTo>
                  <a:lnTo>
                    <a:pt x="1250" y="591"/>
                  </a:lnTo>
                  <a:lnTo>
                    <a:pt x="1257" y="594"/>
                  </a:lnTo>
                  <a:lnTo>
                    <a:pt x="1250" y="600"/>
                  </a:lnTo>
                  <a:lnTo>
                    <a:pt x="1258" y="614"/>
                  </a:lnTo>
                  <a:lnTo>
                    <a:pt x="1235" y="618"/>
                  </a:lnTo>
                  <a:lnTo>
                    <a:pt x="1234" y="633"/>
                  </a:lnTo>
                  <a:lnTo>
                    <a:pt x="1220" y="620"/>
                  </a:lnTo>
                  <a:lnTo>
                    <a:pt x="1208" y="599"/>
                  </a:lnTo>
                  <a:lnTo>
                    <a:pt x="1230" y="591"/>
                  </a:lnTo>
                  <a:lnTo>
                    <a:pt x="1222" y="570"/>
                  </a:lnTo>
                  <a:lnTo>
                    <a:pt x="1215" y="570"/>
                  </a:lnTo>
                  <a:lnTo>
                    <a:pt x="1209" y="555"/>
                  </a:lnTo>
                  <a:lnTo>
                    <a:pt x="1198" y="560"/>
                  </a:lnTo>
                  <a:lnTo>
                    <a:pt x="1201" y="543"/>
                  </a:lnTo>
                  <a:lnTo>
                    <a:pt x="1194" y="534"/>
                  </a:lnTo>
                  <a:lnTo>
                    <a:pt x="1188" y="560"/>
                  </a:lnTo>
                  <a:lnTo>
                    <a:pt x="1183" y="553"/>
                  </a:lnTo>
                  <a:lnTo>
                    <a:pt x="1185" y="543"/>
                  </a:lnTo>
                  <a:lnTo>
                    <a:pt x="1182" y="536"/>
                  </a:lnTo>
                  <a:lnTo>
                    <a:pt x="1183" y="521"/>
                  </a:lnTo>
                  <a:lnTo>
                    <a:pt x="1149" y="521"/>
                  </a:lnTo>
                  <a:lnTo>
                    <a:pt x="1151" y="515"/>
                  </a:lnTo>
                  <a:lnTo>
                    <a:pt x="1146" y="504"/>
                  </a:lnTo>
                  <a:lnTo>
                    <a:pt x="1138" y="506"/>
                  </a:lnTo>
                  <a:lnTo>
                    <a:pt x="1142" y="500"/>
                  </a:lnTo>
                  <a:lnTo>
                    <a:pt x="1135" y="489"/>
                  </a:lnTo>
                  <a:lnTo>
                    <a:pt x="1098" y="521"/>
                  </a:lnTo>
                  <a:lnTo>
                    <a:pt x="1090" y="521"/>
                  </a:lnTo>
                  <a:lnTo>
                    <a:pt x="1091" y="507"/>
                  </a:lnTo>
                  <a:lnTo>
                    <a:pt x="1083" y="509"/>
                  </a:lnTo>
                  <a:lnTo>
                    <a:pt x="1079" y="522"/>
                  </a:lnTo>
                  <a:lnTo>
                    <a:pt x="1060" y="518"/>
                  </a:lnTo>
                  <a:lnTo>
                    <a:pt x="1059" y="527"/>
                  </a:lnTo>
                  <a:lnTo>
                    <a:pt x="935" y="521"/>
                  </a:lnTo>
                  <a:lnTo>
                    <a:pt x="921" y="513"/>
                  </a:lnTo>
                  <a:lnTo>
                    <a:pt x="899" y="500"/>
                  </a:lnTo>
                  <a:lnTo>
                    <a:pt x="911" y="492"/>
                  </a:lnTo>
                  <a:lnTo>
                    <a:pt x="911" y="471"/>
                  </a:lnTo>
                  <a:lnTo>
                    <a:pt x="922" y="462"/>
                  </a:lnTo>
                  <a:lnTo>
                    <a:pt x="966" y="462"/>
                  </a:lnTo>
                  <a:lnTo>
                    <a:pt x="965" y="441"/>
                  </a:lnTo>
                  <a:lnTo>
                    <a:pt x="959" y="449"/>
                  </a:lnTo>
                  <a:lnTo>
                    <a:pt x="959" y="432"/>
                  </a:lnTo>
                  <a:lnTo>
                    <a:pt x="930" y="397"/>
                  </a:lnTo>
                  <a:lnTo>
                    <a:pt x="922" y="401"/>
                  </a:lnTo>
                  <a:lnTo>
                    <a:pt x="914" y="384"/>
                  </a:lnTo>
                  <a:lnTo>
                    <a:pt x="869" y="382"/>
                  </a:lnTo>
                  <a:lnTo>
                    <a:pt x="883" y="394"/>
                  </a:lnTo>
                  <a:lnTo>
                    <a:pt x="881" y="401"/>
                  </a:lnTo>
                  <a:lnTo>
                    <a:pt x="872" y="391"/>
                  </a:lnTo>
                  <a:lnTo>
                    <a:pt x="811" y="384"/>
                  </a:lnTo>
                  <a:lnTo>
                    <a:pt x="766" y="351"/>
                  </a:lnTo>
                  <a:lnTo>
                    <a:pt x="690" y="327"/>
                  </a:lnTo>
                  <a:lnTo>
                    <a:pt x="673" y="306"/>
                  </a:lnTo>
                  <a:lnTo>
                    <a:pt x="632" y="281"/>
                  </a:lnTo>
                  <a:lnTo>
                    <a:pt x="576" y="281"/>
                  </a:lnTo>
                  <a:lnTo>
                    <a:pt x="569" y="317"/>
                  </a:lnTo>
                  <a:lnTo>
                    <a:pt x="560" y="331"/>
                  </a:lnTo>
                  <a:lnTo>
                    <a:pt x="542" y="336"/>
                  </a:lnTo>
                  <a:lnTo>
                    <a:pt x="514" y="335"/>
                  </a:lnTo>
                  <a:lnTo>
                    <a:pt x="515" y="323"/>
                  </a:lnTo>
                  <a:lnTo>
                    <a:pt x="534" y="293"/>
                  </a:lnTo>
                  <a:lnTo>
                    <a:pt x="516" y="292"/>
                  </a:lnTo>
                  <a:lnTo>
                    <a:pt x="520" y="250"/>
                  </a:lnTo>
                  <a:lnTo>
                    <a:pt x="517" y="241"/>
                  </a:lnTo>
                  <a:lnTo>
                    <a:pt x="506" y="242"/>
                  </a:lnTo>
                  <a:lnTo>
                    <a:pt x="516" y="253"/>
                  </a:lnTo>
                  <a:lnTo>
                    <a:pt x="507" y="261"/>
                  </a:lnTo>
                  <a:lnTo>
                    <a:pt x="501" y="251"/>
                  </a:lnTo>
                  <a:lnTo>
                    <a:pt x="485" y="256"/>
                  </a:lnTo>
                  <a:lnTo>
                    <a:pt x="489" y="266"/>
                  </a:lnTo>
                  <a:lnTo>
                    <a:pt x="484" y="283"/>
                  </a:lnTo>
                  <a:lnTo>
                    <a:pt x="488" y="294"/>
                  </a:lnTo>
                  <a:lnTo>
                    <a:pt x="473" y="303"/>
                  </a:lnTo>
                  <a:lnTo>
                    <a:pt x="485" y="315"/>
                  </a:lnTo>
                  <a:lnTo>
                    <a:pt x="464" y="328"/>
                  </a:lnTo>
                  <a:lnTo>
                    <a:pt x="457" y="335"/>
                  </a:lnTo>
                  <a:lnTo>
                    <a:pt x="422" y="304"/>
                  </a:lnTo>
                  <a:lnTo>
                    <a:pt x="394" y="220"/>
                  </a:lnTo>
                  <a:lnTo>
                    <a:pt x="361" y="188"/>
                  </a:lnTo>
                  <a:lnTo>
                    <a:pt x="353" y="206"/>
                  </a:lnTo>
                  <a:lnTo>
                    <a:pt x="361" y="220"/>
                  </a:lnTo>
                  <a:lnTo>
                    <a:pt x="378" y="228"/>
                  </a:lnTo>
                  <a:lnTo>
                    <a:pt x="352" y="242"/>
                  </a:lnTo>
                  <a:lnTo>
                    <a:pt x="347" y="263"/>
                  </a:lnTo>
                  <a:lnTo>
                    <a:pt x="314" y="294"/>
                  </a:lnTo>
                  <a:lnTo>
                    <a:pt x="323" y="275"/>
                  </a:lnTo>
                  <a:lnTo>
                    <a:pt x="325" y="261"/>
                  </a:lnTo>
                  <a:lnTo>
                    <a:pt x="262" y="296"/>
                  </a:lnTo>
                  <a:lnTo>
                    <a:pt x="233" y="356"/>
                  </a:lnTo>
                  <a:lnTo>
                    <a:pt x="236" y="326"/>
                  </a:lnTo>
                  <a:lnTo>
                    <a:pt x="231" y="321"/>
                  </a:lnTo>
                  <a:lnTo>
                    <a:pt x="217" y="337"/>
                  </a:lnTo>
                  <a:lnTo>
                    <a:pt x="216" y="329"/>
                  </a:lnTo>
                  <a:lnTo>
                    <a:pt x="210" y="339"/>
                  </a:lnTo>
                  <a:lnTo>
                    <a:pt x="211" y="328"/>
                  </a:lnTo>
                  <a:lnTo>
                    <a:pt x="201" y="330"/>
                  </a:lnTo>
                  <a:lnTo>
                    <a:pt x="200" y="339"/>
                  </a:lnTo>
                  <a:lnTo>
                    <a:pt x="185" y="358"/>
                  </a:lnTo>
                  <a:lnTo>
                    <a:pt x="157" y="372"/>
                  </a:lnTo>
                  <a:lnTo>
                    <a:pt x="151" y="373"/>
                  </a:lnTo>
                  <a:lnTo>
                    <a:pt x="151" y="366"/>
                  </a:lnTo>
                  <a:lnTo>
                    <a:pt x="161" y="351"/>
                  </a:lnTo>
                  <a:lnTo>
                    <a:pt x="165" y="360"/>
                  </a:lnTo>
                  <a:lnTo>
                    <a:pt x="197" y="316"/>
                  </a:lnTo>
                  <a:lnTo>
                    <a:pt x="235" y="311"/>
                  </a:lnTo>
                  <a:lnTo>
                    <a:pt x="292" y="259"/>
                  </a:lnTo>
                  <a:lnTo>
                    <a:pt x="302" y="248"/>
                  </a:lnTo>
                  <a:lnTo>
                    <a:pt x="291" y="227"/>
                  </a:lnTo>
                  <a:lnTo>
                    <a:pt x="273" y="248"/>
                  </a:lnTo>
                  <a:lnTo>
                    <a:pt x="256" y="237"/>
                  </a:lnTo>
                  <a:lnTo>
                    <a:pt x="241" y="246"/>
                  </a:lnTo>
                  <a:lnTo>
                    <a:pt x="229" y="268"/>
                  </a:lnTo>
                  <a:lnTo>
                    <a:pt x="215" y="263"/>
                  </a:lnTo>
                  <a:lnTo>
                    <a:pt x="185" y="294"/>
                  </a:lnTo>
                  <a:lnTo>
                    <a:pt x="169" y="290"/>
                  </a:lnTo>
                  <a:lnTo>
                    <a:pt x="150" y="305"/>
                  </a:lnTo>
                  <a:lnTo>
                    <a:pt x="149" y="322"/>
                  </a:lnTo>
                  <a:lnTo>
                    <a:pt x="143" y="328"/>
                  </a:lnTo>
                  <a:lnTo>
                    <a:pt x="111" y="339"/>
                  </a:lnTo>
                  <a:lnTo>
                    <a:pt x="78" y="372"/>
                  </a:lnTo>
                  <a:lnTo>
                    <a:pt x="98" y="412"/>
                  </a:lnTo>
                  <a:lnTo>
                    <a:pt x="101" y="424"/>
                  </a:lnTo>
                  <a:lnTo>
                    <a:pt x="96" y="432"/>
                  </a:lnTo>
                  <a:lnTo>
                    <a:pt x="71" y="394"/>
                  </a:lnTo>
                  <a:lnTo>
                    <a:pt x="40" y="392"/>
                  </a:lnTo>
                  <a:lnTo>
                    <a:pt x="57" y="419"/>
                  </a:lnTo>
                  <a:lnTo>
                    <a:pt x="47" y="419"/>
                  </a:lnTo>
                  <a:lnTo>
                    <a:pt x="21" y="396"/>
                  </a:lnTo>
                  <a:lnTo>
                    <a:pt x="0" y="394"/>
                  </a:lnTo>
                  <a:lnTo>
                    <a:pt x="0" y="529"/>
                  </a:lnTo>
                  <a:lnTo>
                    <a:pt x="12" y="552"/>
                  </a:lnTo>
                  <a:lnTo>
                    <a:pt x="10" y="564"/>
                  </a:lnTo>
                  <a:lnTo>
                    <a:pt x="15" y="576"/>
                  </a:lnTo>
                  <a:lnTo>
                    <a:pt x="9" y="590"/>
                  </a:lnTo>
                  <a:lnTo>
                    <a:pt x="12" y="609"/>
                  </a:lnTo>
                  <a:lnTo>
                    <a:pt x="112" y="609"/>
                  </a:lnTo>
                  <a:lnTo>
                    <a:pt x="100" y="614"/>
                  </a:lnTo>
                  <a:lnTo>
                    <a:pt x="115" y="630"/>
                  </a:lnTo>
                  <a:lnTo>
                    <a:pt x="112" y="639"/>
                  </a:lnTo>
                  <a:lnTo>
                    <a:pt x="124" y="657"/>
                  </a:lnTo>
                  <a:lnTo>
                    <a:pt x="113" y="683"/>
                  </a:lnTo>
                  <a:lnTo>
                    <a:pt x="124" y="687"/>
                  </a:lnTo>
                  <a:lnTo>
                    <a:pt x="125" y="700"/>
                  </a:lnTo>
                  <a:lnTo>
                    <a:pt x="118" y="710"/>
                  </a:lnTo>
                  <a:lnTo>
                    <a:pt x="122" y="712"/>
                  </a:lnTo>
                  <a:lnTo>
                    <a:pt x="121" y="720"/>
                  </a:lnTo>
                  <a:lnTo>
                    <a:pt x="151" y="714"/>
                  </a:lnTo>
                  <a:lnTo>
                    <a:pt x="149" y="725"/>
                  </a:lnTo>
                  <a:lnTo>
                    <a:pt x="153" y="727"/>
                  </a:lnTo>
                  <a:lnTo>
                    <a:pt x="165" y="714"/>
                  </a:lnTo>
                  <a:lnTo>
                    <a:pt x="177" y="719"/>
                  </a:lnTo>
                  <a:lnTo>
                    <a:pt x="166" y="733"/>
                  </a:lnTo>
                  <a:lnTo>
                    <a:pt x="184" y="759"/>
                  </a:lnTo>
                  <a:lnTo>
                    <a:pt x="168" y="792"/>
                  </a:lnTo>
                  <a:lnTo>
                    <a:pt x="158" y="797"/>
                  </a:lnTo>
                  <a:lnTo>
                    <a:pt x="177" y="814"/>
                  </a:lnTo>
                  <a:lnTo>
                    <a:pt x="164" y="837"/>
                  </a:lnTo>
                  <a:lnTo>
                    <a:pt x="204" y="867"/>
                  </a:lnTo>
                  <a:lnTo>
                    <a:pt x="200" y="883"/>
                  </a:lnTo>
                  <a:lnTo>
                    <a:pt x="218" y="874"/>
                  </a:lnTo>
                  <a:lnTo>
                    <a:pt x="228" y="878"/>
                  </a:lnTo>
                  <a:lnTo>
                    <a:pt x="235" y="888"/>
                  </a:lnTo>
                  <a:lnTo>
                    <a:pt x="233" y="893"/>
                  </a:lnTo>
                  <a:lnTo>
                    <a:pt x="241" y="901"/>
                  </a:lnTo>
                  <a:lnTo>
                    <a:pt x="237" y="906"/>
                  </a:lnTo>
                  <a:lnTo>
                    <a:pt x="241" y="915"/>
                  </a:lnTo>
                  <a:lnTo>
                    <a:pt x="273" y="940"/>
                  </a:lnTo>
                  <a:lnTo>
                    <a:pt x="264" y="950"/>
                  </a:lnTo>
                  <a:lnTo>
                    <a:pt x="273" y="949"/>
                  </a:lnTo>
                  <a:lnTo>
                    <a:pt x="285" y="971"/>
                  </a:lnTo>
                  <a:lnTo>
                    <a:pt x="271" y="991"/>
                  </a:lnTo>
                  <a:lnTo>
                    <a:pt x="282" y="998"/>
                  </a:lnTo>
                  <a:lnTo>
                    <a:pt x="284" y="1008"/>
                  </a:lnTo>
                  <a:lnTo>
                    <a:pt x="294" y="1012"/>
                  </a:lnTo>
                  <a:lnTo>
                    <a:pt x="287" y="1029"/>
                  </a:lnTo>
                  <a:lnTo>
                    <a:pt x="299" y="1047"/>
                  </a:lnTo>
                  <a:lnTo>
                    <a:pt x="296" y="1056"/>
                  </a:lnTo>
                  <a:lnTo>
                    <a:pt x="313" y="1065"/>
                  </a:lnTo>
                  <a:lnTo>
                    <a:pt x="308" y="1071"/>
                  </a:lnTo>
                  <a:lnTo>
                    <a:pt x="312" y="1075"/>
                  </a:lnTo>
                  <a:lnTo>
                    <a:pt x="308" y="1081"/>
                  </a:lnTo>
                  <a:lnTo>
                    <a:pt x="312" y="1090"/>
                  </a:lnTo>
                  <a:lnTo>
                    <a:pt x="308" y="1096"/>
                  </a:lnTo>
                  <a:lnTo>
                    <a:pt x="331" y="1105"/>
                  </a:lnTo>
                  <a:lnTo>
                    <a:pt x="340" y="1099"/>
                  </a:lnTo>
                  <a:lnTo>
                    <a:pt x="355" y="1124"/>
                  </a:lnTo>
                  <a:lnTo>
                    <a:pt x="360" y="1123"/>
                  </a:lnTo>
                  <a:lnTo>
                    <a:pt x="365" y="1138"/>
                  </a:lnTo>
                  <a:lnTo>
                    <a:pt x="384" y="1155"/>
                  </a:lnTo>
                  <a:lnTo>
                    <a:pt x="400" y="1159"/>
                  </a:lnTo>
                  <a:lnTo>
                    <a:pt x="406" y="1183"/>
                  </a:lnTo>
                  <a:lnTo>
                    <a:pt x="402" y="1193"/>
                  </a:lnTo>
                  <a:lnTo>
                    <a:pt x="409" y="1194"/>
                  </a:lnTo>
                  <a:lnTo>
                    <a:pt x="413" y="1222"/>
                  </a:lnTo>
                  <a:lnTo>
                    <a:pt x="438" y="1219"/>
                  </a:lnTo>
                  <a:lnTo>
                    <a:pt x="443" y="1212"/>
                  </a:lnTo>
                  <a:lnTo>
                    <a:pt x="449" y="1218"/>
                  </a:lnTo>
                  <a:lnTo>
                    <a:pt x="455" y="1210"/>
                  </a:lnTo>
                  <a:lnTo>
                    <a:pt x="477" y="1219"/>
                  </a:lnTo>
                  <a:lnTo>
                    <a:pt x="498" y="1213"/>
                  </a:lnTo>
                  <a:lnTo>
                    <a:pt x="501" y="1203"/>
                  </a:lnTo>
                  <a:lnTo>
                    <a:pt x="510" y="1204"/>
                  </a:lnTo>
                  <a:lnTo>
                    <a:pt x="515" y="1219"/>
                  </a:lnTo>
                  <a:lnTo>
                    <a:pt x="509" y="1229"/>
                  </a:lnTo>
                  <a:lnTo>
                    <a:pt x="518" y="1246"/>
                  </a:lnTo>
                  <a:lnTo>
                    <a:pt x="527" y="1247"/>
                  </a:lnTo>
                  <a:lnTo>
                    <a:pt x="527" y="1258"/>
                  </a:lnTo>
                  <a:lnTo>
                    <a:pt x="536" y="1279"/>
                  </a:lnTo>
                  <a:lnTo>
                    <a:pt x="543" y="1287"/>
                  </a:lnTo>
                  <a:lnTo>
                    <a:pt x="585" y="1287"/>
                  </a:lnTo>
                  <a:lnTo>
                    <a:pt x="622" y="1287"/>
                  </a:lnTo>
                  <a:lnTo>
                    <a:pt x="660" y="1287"/>
                  </a:lnTo>
                  <a:lnTo>
                    <a:pt x="709" y="1287"/>
                  </a:lnTo>
                  <a:lnTo>
                    <a:pt x="747" y="1287"/>
                  </a:lnTo>
                  <a:lnTo>
                    <a:pt x="789" y="1287"/>
                  </a:lnTo>
                  <a:lnTo>
                    <a:pt x="828" y="1287"/>
                  </a:lnTo>
                  <a:lnTo>
                    <a:pt x="863" y="1287"/>
                  </a:lnTo>
                  <a:lnTo>
                    <a:pt x="903" y="1287"/>
                  </a:lnTo>
                  <a:lnTo>
                    <a:pt x="945" y="1287"/>
                  </a:lnTo>
                  <a:lnTo>
                    <a:pt x="984" y="1287"/>
                  </a:lnTo>
                  <a:lnTo>
                    <a:pt x="1026" y="1287"/>
                  </a:lnTo>
                  <a:lnTo>
                    <a:pt x="1063" y="1287"/>
                  </a:lnTo>
                  <a:lnTo>
                    <a:pt x="1099" y="1287"/>
                  </a:lnTo>
                  <a:lnTo>
                    <a:pt x="1137" y="1287"/>
                  </a:lnTo>
                  <a:lnTo>
                    <a:pt x="1138" y="1287"/>
                  </a:lnTo>
                  <a:lnTo>
                    <a:pt x="1137" y="1287"/>
                  </a:lnTo>
                  <a:lnTo>
                    <a:pt x="1177" y="1287"/>
                  </a:lnTo>
                  <a:lnTo>
                    <a:pt x="1219" y="1287"/>
                  </a:lnTo>
                  <a:lnTo>
                    <a:pt x="1258" y="1287"/>
                  </a:lnTo>
                  <a:lnTo>
                    <a:pt x="1294" y="1287"/>
                  </a:lnTo>
                  <a:lnTo>
                    <a:pt x="1334" y="1287"/>
                  </a:lnTo>
                  <a:lnTo>
                    <a:pt x="1375" y="1287"/>
                  </a:lnTo>
                  <a:lnTo>
                    <a:pt x="1415" y="1287"/>
                  </a:lnTo>
                  <a:lnTo>
                    <a:pt x="1456" y="1287"/>
                  </a:lnTo>
                  <a:lnTo>
                    <a:pt x="1483" y="1287"/>
                  </a:lnTo>
                  <a:close/>
                </a:path>
              </a:pathLst>
            </a:custGeom>
            <a:grpFill/>
            <a:ln w="6350">
              <a:solidFill>
                <a:schemeClr val="accent5"/>
              </a:solidFill>
              <a:round/>
              <a:headEnd/>
              <a:tailEnd/>
            </a:ln>
          </p:spPr>
          <p:txBody>
            <a:bodyPr/>
            <a:lstStyle/>
            <a:p>
              <a:endParaRPr lang="en-US"/>
            </a:p>
          </p:txBody>
        </p:sp>
        <p:sp>
          <p:nvSpPr>
            <p:cNvPr id="249" name="Freeform 1149"/>
            <p:cNvSpPr>
              <a:spLocks/>
            </p:cNvSpPr>
            <p:nvPr/>
          </p:nvSpPr>
          <p:spPr bwMode="auto">
            <a:xfrm>
              <a:off x="3492829" y="3233887"/>
              <a:ext cx="421401" cy="411391"/>
            </a:xfrm>
            <a:custGeom>
              <a:avLst/>
              <a:gdLst>
                <a:gd name="T0" fmla="*/ 2147483647 w 897"/>
                <a:gd name="T1" fmla="*/ 2147483647 h 985"/>
                <a:gd name="T2" fmla="*/ 2147483647 w 897"/>
                <a:gd name="T3" fmla="*/ 2147483647 h 985"/>
                <a:gd name="T4" fmla="*/ 2147483647 w 897"/>
                <a:gd name="T5" fmla="*/ 2147483647 h 985"/>
                <a:gd name="T6" fmla="*/ 2147483647 w 897"/>
                <a:gd name="T7" fmla="*/ 2147483647 h 985"/>
                <a:gd name="T8" fmla="*/ 2147483647 w 897"/>
                <a:gd name="T9" fmla="*/ 2147483647 h 985"/>
                <a:gd name="T10" fmla="*/ 2147483647 w 897"/>
                <a:gd name="T11" fmla="*/ 2147483647 h 985"/>
                <a:gd name="T12" fmla="*/ 2147483647 w 897"/>
                <a:gd name="T13" fmla="*/ 2147483647 h 985"/>
                <a:gd name="T14" fmla="*/ 2147483647 w 897"/>
                <a:gd name="T15" fmla="*/ 2147483647 h 985"/>
                <a:gd name="T16" fmla="*/ 2147483647 w 897"/>
                <a:gd name="T17" fmla="*/ 2147483647 h 985"/>
                <a:gd name="T18" fmla="*/ 2147483647 w 897"/>
                <a:gd name="T19" fmla="*/ 2147483647 h 985"/>
                <a:gd name="T20" fmla="*/ 2147483647 w 897"/>
                <a:gd name="T21" fmla="*/ 2147483647 h 985"/>
                <a:gd name="T22" fmla="*/ 2147483647 w 897"/>
                <a:gd name="T23" fmla="*/ 2147483647 h 985"/>
                <a:gd name="T24" fmla="*/ 2147483647 w 897"/>
                <a:gd name="T25" fmla="*/ 2147483647 h 985"/>
                <a:gd name="T26" fmla="*/ 2147483647 w 897"/>
                <a:gd name="T27" fmla="*/ 2147483647 h 985"/>
                <a:gd name="T28" fmla="*/ 2147483647 w 897"/>
                <a:gd name="T29" fmla="*/ 2147483647 h 985"/>
                <a:gd name="T30" fmla="*/ 2147483647 w 897"/>
                <a:gd name="T31" fmla="*/ 2147483647 h 985"/>
                <a:gd name="T32" fmla="*/ 2147483647 w 897"/>
                <a:gd name="T33" fmla="*/ 2147483647 h 985"/>
                <a:gd name="T34" fmla="*/ 2147483647 w 897"/>
                <a:gd name="T35" fmla="*/ 2147483647 h 985"/>
                <a:gd name="T36" fmla="*/ 2147483647 w 897"/>
                <a:gd name="T37" fmla="*/ 2147483647 h 985"/>
                <a:gd name="T38" fmla="*/ 2147483647 w 897"/>
                <a:gd name="T39" fmla="*/ 2147483647 h 985"/>
                <a:gd name="T40" fmla="*/ 2147483647 w 897"/>
                <a:gd name="T41" fmla="*/ 2147483647 h 985"/>
                <a:gd name="T42" fmla="*/ 2147483647 w 897"/>
                <a:gd name="T43" fmla="*/ 2147483647 h 985"/>
                <a:gd name="T44" fmla="*/ 2147483647 w 897"/>
                <a:gd name="T45" fmla="*/ 2147483647 h 985"/>
                <a:gd name="T46" fmla="*/ 2147483647 w 897"/>
                <a:gd name="T47" fmla="*/ 2147483647 h 985"/>
                <a:gd name="T48" fmla="*/ 2147483647 w 897"/>
                <a:gd name="T49" fmla="*/ 2147483647 h 985"/>
                <a:gd name="T50" fmla="*/ 2147483647 w 897"/>
                <a:gd name="T51" fmla="*/ 2147483647 h 985"/>
                <a:gd name="T52" fmla="*/ 2147483647 w 897"/>
                <a:gd name="T53" fmla="*/ 2147483647 h 985"/>
                <a:gd name="T54" fmla="*/ 2147483647 w 897"/>
                <a:gd name="T55" fmla="*/ 2147483647 h 985"/>
                <a:gd name="T56" fmla="*/ 2147483647 w 897"/>
                <a:gd name="T57" fmla="*/ 2147483647 h 985"/>
                <a:gd name="T58" fmla="*/ 2147483647 w 897"/>
                <a:gd name="T59" fmla="*/ 2147483647 h 985"/>
                <a:gd name="T60" fmla="*/ 2147483647 w 897"/>
                <a:gd name="T61" fmla="*/ 2147483647 h 985"/>
                <a:gd name="T62" fmla="*/ 2147483647 w 897"/>
                <a:gd name="T63" fmla="*/ 2147483647 h 985"/>
                <a:gd name="T64" fmla="*/ 2147483647 w 897"/>
                <a:gd name="T65" fmla="*/ 2147483647 h 985"/>
                <a:gd name="T66" fmla="*/ 2147483647 w 897"/>
                <a:gd name="T67" fmla="*/ 2147483647 h 985"/>
                <a:gd name="T68" fmla="*/ 2147483647 w 897"/>
                <a:gd name="T69" fmla="*/ 2147483647 h 985"/>
                <a:gd name="T70" fmla="*/ 2147483647 w 897"/>
                <a:gd name="T71" fmla="*/ 2147483647 h 985"/>
                <a:gd name="T72" fmla="*/ 2147483647 w 897"/>
                <a:gd name="T73" fmla="*/ 2147483647 h 985"/>
                <a:gd name="T74" fmla="*/ 2147483647 w 897"/>
                <a:gd name="T75" fmla="*/ 2147483647 h 985"/>
                <a:gd name="T76" fmla="*/ 2147483647 w 897"/>
                <a:gd name="T77" fmla="*/ 2147483647 h 985"/>
                <a:gd name="T78" fmla="*/ 2147483647 w 897"/>
                <a:gd name="T79" fmla="*/ 2147483647 h 985"/>
                <a:gd name="T80" fmla="*/ 2147483647 w 897"/>
                <a:gd name="T81" fmla="*/ 2147483647 h 985"/>
                <a:gd name="T82" fmla="*/ 0 w 897"/>
                <a:gd name="T83" fmla="*/ 2147483647 h 985"/>
                <a:gd name="T84" fmla="*/ 2147483647 w 897"/>
                <a:gd name="T85" fmla="*/ 2147483647 h 985"/>
                <a:gd name="T86" fmla="*/ 2147483647 w 897"/>
                <a:gd name="T87" fmla="*/ 2147483647 h 985"/>
                <a:gd name="T88" fmla="*/ 2147483647 w 897"/>
                <a:gd name="T89" fmla="*/ 2147483647 h 985"/>
                <a:gd name="T90" fmla="*/ 2147483647 w 897"/>
                <a:gd name="T91" fmla="*/ 2147483647 h 985"/>
                <a:gd name="T92" fmla="*/ 2147483647 w 897"/>
                <a:gd name="T93" fmla="*/ 2147483647 h 985"/>
                <a:gd name="T94" fmla="*/ 2147483647 w 897"/>
                <a:gd name="T95" fmla="*/ 2147483647 h 985"/>
                <a:gd name="T96" fmla="*/ 2147483647 w 897"/>
                <a:gd name="T97" fmla="*/ 2147483647 h 985"/>
                <a:gd name="T98" fmla="*/ 2147483647 w 897"/>
                <a:gd name="T99" fmla="*/ 2147483647 h 985"/>
                <a:gd name="T100" fmla="*/ 2147483647 w 897"/>
                <a:gd name="T101" fmla="*/ 2147483647 h 985"/>
                <a:gd name="T102" fmla="*/ 2147483647 w 897"/>
                <a:gd name="T103" fmla="*/ 2147483647 h 985"/>
                <a:gd name="T104" fmla="*/ 2147483647 w 897"/>
                <a:gd name="T105" fmla="*/ 2147483647 h 985"/>
                <a:gd name="T106" fmla="*/ 2147483647 w 897"/>
                <a:gd name="T107" fmla="*/ 2147483647 h 985"/>
                <a:gd name="T108" fmla="*/ 2147483647 w 897"/>
                <a:gd name="T109" fmla="*/ 2147483647 h 9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97"/>
                <a:gd name="T166" fmla="*/ 0 h 985"/>
                <a:gd name="T167" fmla="*/ 897 w 897"/>
                <a:gd name="T168" fmla="*/ 985 h 9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97" h="985">
                  <a:moveTo>
                    <a:pt x="672" y="397"/>
                  </a:moveTo>
                  <a:lnTo>
                    <a:pt x="672" y="429"/>
                  </a:lnTo>
                  <a:lnTo>
                    <a:pt x="672" y="491"/>
                  </a:lnTo>
                  <a:lnTo>
                    <a:pt x="672" y="554"/>
                  </a:lnTo>
                  <a:lnTo>
                    <a:pt x="672" y="612"/>
                  </a:lnTo>
                  <a:lnTo>
                    <a:pt x="672" y="654"/>
                  </a:lnTo>
                  <a:lnTo>
                    <a:pt x="677" y="665"/>
                  </a:lnTo>
                  <a:lnTo>
                    <a:pt x="677" y="675"/>
                  </a:lnTo>
                  <a:lnTo>
                    <a:pt x="689" y="693"/>
                  </a:lnTo>
                  <a:lnTo>
                    <a:pt x="698" y="713"/>
                  </a:lnTo>
                  <a:lnTo>
                    <a:pt x="708" y="723"/>
                  </a:lnTo>
                  <a:lnTo>
                    <a:pt x="758" y="734"/>
                  </a:lnTo>
                  <a:lnTo>
                    <a:pt x="771" y="748"/>
                  </a:lnTo>
                  <a:lnTo>
                    <a:pt x="791" y="751"/>
                  </a:lnTo>
                  <a:lnTo>
                    <a:pt x="798" y="770"/>
                  </a:lnTo>
                  <a:lnTo>
                    <a:pt x="810" y="777"/>
                  </a:lnTo>
                  <a:lnTo>
                    <a:pt x="821" y="774"/>
                  </a:lnTo>
                  <a:lnTo>
                    <a:pt x="832" y="782"/>
                  </a:lnTo>
                  <a:lnTo>
                    <a:pt x="857" y="769"/>
                  </a:lnTo>
                  <a:lnTo>
                    <a:pt x="883" y="765"/>
                  </a:lnTo>
                  <a:lnTo>
                    <a:pt x="893" y="772"/>
                  </a:lnTo>
                  <a:lnTo>
                    <a:pt x="890" y="786"/>
                  </a:lnTo>
                  <a:lnTo>
                    <a:pt x="897" y="793"/>
                  </a:lnTo>
                  <a:lnTo>
                    <a:pt x="880" y="807"/>
                  </a:lnTo>
                  <a:lnTo>
                    <a:pt x="868" y="807"/>
                  </a:lnTo>
                  <a:lnTo>
                    <a:pt x="840" y="826"/>
                  </a:lnTo>
                  <a:lnTo>
                    <a:pt x="827" y="844"/>
                  </a:lnTo>
                  <a:lnTo>
                    <a:pt x="786" y="861"/>
                  </a:lnTo>
                  <a:lnTo>
                    <a:pt x="783" y="855"/>
                  </a:lnTo>
                  <a:lnTo>
                    <a:pt x="774" y="856"/>
                  </a:lnTo>
                  <a:lnTo>
                    <a:pt x="782" y="871"/>
                  </a:lnTo>
                  <a:lnTo>
                    <a:pt x="760" y="867"/>
                  </a:lnTo>
                  <a:lnTo>
                    <a:pt x="735" y="866"/>
                  </a:lnTo>
                  <a:lnTo>
                    <a:pt x="690" y="880"/>
                  </a:lnTo>
                  <a:lnTo>
                    <a:pt x="663" y="907"/>
                  </a:lnTo>
                  <a:lnTo>
                    <a:pt x="681" y="914"/>
                  </a:lnTo>
                  <a:lnTo>
                    <a:pt x="689" y="913"/>
                  </a:lnTo>
                  <a:lnTo>
                    <a:pt x="695" y="910"/>
                  </a:lnTo>
                  <a:lnTo>
                    <a:pt x="703" y="935"/>
                  </a:lnTo>
                  <a:lnTo>
                    <a:pt x="686" y="932"/>
                  </a:lnTo>
                  <a:lnTo>
                    <a:pt x="667" y="932"/>
                  </a:lnTo>
                  <a:lnTo>
                    <a:pt x="643" y="938"/>
                  </a:lnTo>
                  <a:lnTo>
                    <a:pt x="631" y="949"/>
                  </a:lnTo>
                  <a:lnTo>
                    <a:pt x="606" y="944"/>
                  </a:lnTo>
                  <a:lnTo>
                    <a:pt x="587" y="951"/>
                  </a:lnTo>
                  <a:lnTo>
                    <a:pt x="577" y="965"/>
                  </a:lnTo>
                  <a:lnTo>
                    <a:pt x="566" y="967"/>
                  </a:lnTo>
                  <a:lnTo>
                    <a:pt x="548" y="985"/>
                  </a:lnTo>
                  <a:lnTo>
                    <a:pt x="518" y="983"/>
                  </a:lnTo>
                  <a:lnTo>
                    <a:pt x="519" y="973"/>
                  </a:lnTo>
                  <a:lnTo>
                    <a:pt x="528" y="960"/>
                  </a:lnTo>
                  <a:lnTo>
                    <a:pt x="537" y="965"/>
                  </a:lnTo>
                  <a:lnTo>
                    <a:pt x="547" y="963"/>
                  </a:lnTo>
                  <a:lnTo>
                    <a:pt x="549" y="957"/>
                  </a:lnTo>
                  <a:lnTo>
                    <a:pt x="543" y="946"/>
                  </a:lnTo>
                  <a:lnTo>
                    <a:pt x="549" y="920"/>
                  </a:lnTo>
                  <a:lnTo>
                    <a:pt x="556" y="920"/>
                  </a:lnTo>
                  <a:lnTo>
                    <a:pt x="576" y="903"/>
                  </a:lnTo>
                  <a:lnTo>
                    <a:pt x="579" y="890"/>
                  </a:lnTo>
                  <a:lnTo>
                    <a:pt x="577" y="856"/>
                  </a:lnTo>
                  <a:lnTo>
                    <a:pt x="595" y="821"/>
                  </a:lnTo>
                  <a:lnTo>
                    <a:pt x="592" y="806"/>
                  </a:lnTo>
                  <a:lnTo>
                    <a:pt x="582" y="790"/>
                  </a:lnTo>
                  <a:lnTo>
                    <a:pt x="597" y="791"/>
                  </a:lnTo>
                  <a:lnTo>
                    <a:pt x="603" y="811"/>
                  </a:lnTo>
                  <a:lnTo>
                    <a:pt x="610" y="806"/>
                  </a:lnTo>
                  <a:lnTo>
                    <a:pt x="609" y="818"/>
                  </a:lnTo>
                  <a:lnTo>
                    <a:pt x="612" y="818"/>
                  </a:lnTo>
                  <a:lnTo>
                    <a:pt x="614" y="828"/>
                  </a:lnTo>
                  <a:lnTo>
                    <a:pt x="621" y="821"/>
                  </a:lnTo>
                  <a:lnTo>
                    <a:pt x="629" y="830"/>
                  </a:lnTo>
                  <a:lnTo>
                    <a:pt x="650" y="833"/>
                  </a:lnTo>
                  <a:lnTo>
                    <a:pt x="653" y="828"/>
                  </a:lnTo>
                  <a:lnTo>
                    <a:pt x="650" y="814"/>
                  </a:lnTo>
                  <a:lnTo>
                    <a:pt x="667" y="816"/>
                  </a:lnTo>
                  <a:lnTo>
                    <a:pt x="667" y="813"/>
                  </a:lnTo>
                  <a:lnTo>
                    <a:pt x="651" y="798"/>
                  </a:lnTo>
                  <a:lnTo>
                    <a:pt x="651" y="783"/>
                  </a:lnTo>
                  <a:lnTo>
                    <a:pt x="642" y="780"/>
                  </a:lnTo>
                  <a:lnTo>
                    <a:pt x="630" y="768"/>
                  </a:lnTo>
                  <a:lnTo>
                    <a:pt x="626" y="753"/>
                  </a:lnTo>
                  <a:lnTo>
                    <a:pt x="619" y="749"/>
                  </a:lnTo>
                  <a:lnTo>
                    <a:pt x="586" y="747"/>
                  </a:lnTo>
                  <a:lnTo>
                    <a:pt x="585" y="739"/>
                  </a:lnTo>
                  <a:lnTo>
                    <a:pt x="534" y="731"/>
                  </a:lnTo>
                  <a:lnTo>
                    <a:pt x="520" y="735"/>
                  </a:lnTo>
                  <a:lnTo>
                    <a:pt x="490" y="724"/>
                  </a:lnTo>
                  <a:lnTo>
                    <a:pt x="476" y="727"/>
                  </a:lnTo>
                  <a:lnTo>
                    <a:pt x="467" y="707"/>
                  </a:lnTo>
                  <a:lnTo>
                    <a:pt x="465" y="715"/>
                  </a:lnTo>
                  <a:lnTo>
                    <a:pt x="458" y="715"/>
                  </a:lnTo>
                  <a:lnTo>
                    <a:pt x="460" y="699"/>
                  </a:lnTo>
                  <a:lnTo>
                    <a:pt x="457" y="696"/>
                  </a:lnTo>
                  <a:lnTo>
                    <a:pt x="462" y="690"/>
                  </a:lnTo>
                  <a:lnTo>
                    <a:pt x="451" y="684"/>
                  </a:lnTo>
                  <a:lnTo>
                    <a:pt x="448" y="674"/>
                  </a:lnTo>
                  <a:lnTo>
                    <a:pt x="452" y="661"/>
                  </a:lnTo>
                  <a:lnTo>
                    <a:pt x="438" y="642"/>
                  </a:lnTo>
                  <a:lnTo>
                    <a:pt x="442" y="619"/>
                  </a:lnTo>
                  <a:lnTo>
                    <a:pt x="406" y="623"/>
                  </a:lnTo>
                  <a:lnTo>
                    <a:pt x="398" y="616"/>
                  </a:lnTo>
                  <a:lnTo>
                    <a:pt x="377" y="572"/>
                  </a:lnTo>
                  <a:lnTo>
                    <a:pt x="349" y="568"/>
                  </a:lnTo>
                  <a:lnTo>
                    <a:pt x="349" y="599"/>
                  </a:lnTo>
                  <a:lnTo>
                    <a:pt x="334" y="563"/>
                  </a:lnTo>
                  <a:lnTo>
                    <a:pt x="306" y="553"/>
                  </a:lnTo>
                  <a:lnTo>
                    <a:pt x="301" y="558"/>
                  </a:lnTo>
                  <a:lnTo>
                    <a:pt x="302" y="575"/>
                  </a:lnTo>
                  <a:lnTo>
                    <a:pt x="290" y="589"/>
                  </a:lnTo>
                  <a:lnTo>
                    <a:pt x="286" y="585"/>
                  </a:lnTo>
                  <a:lnTo>
                    <a:pt x="291" y="567"/>
                  </a:lnTo>
                  <a:lnTo>
                    <a:pt x="278" y="595"/>
                  </a:lnTo>
                  <a:lnTo>
                    <a:pt x="273" y="597"/>
                  </a:lnTo>
                  <a:lnTo>
                    <a:pt x="272" y="582"/>
                  </a:lnTo>
                  <a:lnTo>
                    <a:pt x="251" y="612"/>
                  </a:lnTo>
                  <a:lnTo>
                    <a:pt x="234" y="620"/>
                  </a:lnTo>
                  <a:lnTo>
                    <a:pt x="186" y="609"/>
                  </a:lnTo>
                  <a:lnTo>
                    <a:pt x="163" y="615"/>
                  </a:lnTo>
                  <a:lnTo>
                    <a:pt x="102" y="579"/>
                  </a:lnTo>
                  <a:lnTo>
                    <a:pt x="67" y="582"/>
                  </a:lnTo>
                  <a:lnTo>
                    <a:pt x="46" y="572"/>
                  </a:lnTo>
                  <a:lnTo>
                    <a:pt x="28" y="573"/>
                  </a:lnTo>
                  <a:lnTo>
                    <a:pt x="11" y="528"/>
                  </a:lnTo>
                  <a:lnTo>
                    <a:pt x="0" y="527"/>
                  </a:lnTo>
                  <a:lnTo>
                    <a:pt x="0" y="483"/>
                  </a:lnTo>
                  <a:lnTo>
                    <a:pt x="0" y="424"/>
                  </a:lnTo>
                  <a:lnTo>
                    <a:pt x="0" y="357"/>
                  </a:lnTo>
                  <a:lnTo>
                    <a:pt x="0" y="293"/>
                  </a:lnTo>
                  <a:lnTo>
                    <a:pt x="25" y="267"/>
                  </a:lnTo>
                  <a:lnTo>
                    <a:pt x="56" y="233"/>
                  </a:lnTo>
                  <a:lnTo>
                    <a:pt x="92" y="194"/>
                  </a:lnTo>
                  <a:lnTo>
                    <a:pt x="124" y="158"/>
                  </a:lnTo>
                  <a:lnTo>
                    <a:pt x="149" y="131"/>
                  </a:lnTo>
                  <a:lnTo>
                    <a:pt x="180" y="95"/>
                  </a:lnTo>
                  <a:lnTo>
                    <a:pt x="215" y="55"/>
                  </a:lnTo>
                  <a:lnTo>
                    <a:pt x="248" y="16"/>
                  </a:lnTo>
                  <a:lnTo>
                    <a:pt x="261" y="0"/>
                  </a:lnTo>
                  <a:lnTo>
                    <a:pt x="302" y="24"/>
                  </a:lnTo>
                  <a:lnTo>
                    <a:pt x="323" y="60"/>
                  </a:lnTo>
                  <a:lnTo>
                    <a:pt x="325" y="63"/>
                  </a:lnTo>
                  <a:lnTo>
                    <a:pt x="355" y="67"/>
                  </a:lnTo>
                  <a:lnTo>
                    <a:pt x="398" y="86"/>
                  </a:lnTo>
                  <a:lnTo>
                    <a:pt x="422" y="106"/>
                  </a:lnTo>
                  <a:lnTo>
                    <a:pt x="408" y="148"/>
                  </a:lnTo>
                  <a:lnTo>
                    <a:pt x="425" y="115"/>
                  </a:lnTo>
                  <a:lnTo>
                    <a:pt x="516" y="115"/>
                  </a:lnTo>
                  <a:lnTo>
                    <a:pt x="546" y="129"/>
                  </a:lnTo>
                  <a:lnTo>
                    <a:pt x="551" y="125"/>
                  </a:lnTo>
                  <a:lnTo>
                    <a:pt x="555" y="145"/>
                  </a:lnTo>
                  <a:lnTo>
                    <a:pt x="549" y="200"/>
                  </a:lnTo>
                  <a:lnTo>
                    <a:pt x="556" y="218"/>
                  </a:lnTo>
                  <a:lnTo>
                    <a:pt x="558" y="261"/>
                  </a:lnTo>
                  <a:lnTo>
                    <a:pt x="554" y="268"/>
                  </a:lnTo>
                  <a:lnTo>
                    <a:pt x="553" y="284"/>
                  </a:lnTo>
                  <a:lnTo>
                    <a:pt x="593" y="331"/>
                  </a:lnTo>
                  <a:lnTo>
                    <a:pt x="561" y="347"/>
                  </a:lnTo>
                  <a:lnTo>
                    <a:pt x="596" y="342"/>
                  </a:lnTo>
                  <a:lnTo>
                    <a:pt x="624" y="368"/>
                  </a:lnTo>
                  <a:lnTo>
                    <a:pt x="631" y="390"/>
                  </a:lnTo>
                  <a:lnTo>
                    <a:pt x="610" y="417"/>
                  </a:lnTo>
                  <a:lnTo>
                    <a:pt x="636" y="398"/>
                  </a:lnTo>
                  <a:lnTo>
                    <a:pt x="665" y="416"/>
                  </a:lnTo>
                  <a:lnTo>
                    <a:pt x="667" y="414"/>
                  </a:lnTo>
                  <a:lnTo>
                    <a:pt x="665" y="393"/>
                  </a:lnTo>
                  <a:lnTo>
                    <a:pt x="672" y="388"/>
                  </a:lnTo>
                  <a:lnTo>
                    <a:pt x="672" y="397"/>
                  </a:lnTo>
                  <a:close/>
                </a:path>
              </a:pathLst>
            </a:custGeom>
            <a:grpFill/>
            <a:ln w="6350">
              <a:solidFill>
                <a:schemeClr val="accent5"/>
              </a:solidFill>
              <a:round/>
              <a:headEnd/>
              <a:tailEnd/>
            </a:ln>
          </p:spPr>
          <p:txBody>
            <a:bodyPr/>
            <a:lstStyle/>
            <a:p>
              <a:endParaRPr lang="en-US"/>
            </a:p>
          </p:txBody>
        </p:sp>
        <p:sp>
          <p:nvSpPr>
            <p:cNvPr id="250" name="Freeform 1150"/>
            <p:cNvSpPr>
              <a:spLocks/>
            </p:cNvSpPr>
            <p:nvPr/>
          </p:nvSpPr>
          <p:spPr bwMode="auto">
            <a:xfrm>
              <a:off x="4048964" y="3111618"/>
              <a:ext cx="245101" cy="284025"/>
            </a:xfrm>
            <a:custGeom>
              <a:avLst/>
              <a:gdLst>
                <a:gd name="T0" fmla="*/ 2147483647 w 526"/>
                <a:gd name="T1" fmla="*/ 2147483647 h 680"/>
                <a:gd name="T2" fmla="*/ 2147483647 w 526"/>
                <a:gd name="T3" fmla="*/ 2147483647 h 680"/>
                <a:gd name="T4" fmla="*/ 2147483647 w 526"/>
                <a:gd name="T5" fmla="*/ 2147483647 h 680"/>
                <a:gd name="T6" fmla="*/ 2147483647 w 526"/>
                <a:gd name="T7" fmla="*/ 2147483647 h 680"/>
                <a:gd name="T8" fmla="*/ 2147483647 w 526"/>
                <a:gd name="T9" fmla="*/ 2147483647 h 680"/>
                <a:gd name="T10" fmla="*/ 2147483647 w 526"/>
                <a:gd name="T11" fmla="*/ 2147483647 h 680"/>
                <a:gd name="T12" fmla="*/ 2147483647 w 526"/>
                <a:gd name="T13" fmla="*/ 2147483647 h 680"/>
                <a:gd name="T14" fmla="*/ 2147483647 w 526"/>
                <a:gd name="T15" fmla="*/ 2147483647 h 680"/>
                <a:gd name="T16" fmla="*/ 2147483647 w 526"/>
                <a:gd name="T17" fmla="*/ 2147483647 h 680"/>
                <a:gd name="T18" fmla="*/ 2147483647 w 526"/>
                <a:gd name="T19" fmla="*/ 2147483647 h 680"/>
                <a:gd name="T20" fmla="*/ 2147483647 w 526"/>
                <a:gd name="T21" fmla="*/ 2147483647 h 680"/>
                <a:gd name="T22" fmla="*/ 2147483647 w 526"/>
                <a:gd name="T23" fmla="*/ 2147483647 h 680"/>
                <a:gd name="T24" fmla="*/ 2147483647 w 526"/>
                <a:gd name="T25" fmla="*/ 2147483647 h 680"/>
                <a:gd name="T26" fmla="*/ 2147483647 w 526"/>
                <a:gd name="T27" fmla="*/ 2147483647 h 680"/>
                <a:gd name="T28" fmla="*/ 2147483647 w 526"/>
                <a:gd name="T29" fmla="*/ 2147483647 h 680"/>
                <a:gd name="T30" fmla="*/ 2147483647 w 526"/>
                <a:gd name="T31" fmla="*/ 2147483647 h 680"/>
                <a:gd name="T32" fmla="*/ 2147483647 w 526"/>
                <a:gd name="T33" fmla="*/ 2147483647 h 680"/>
                <a:gd name="T34" fmla="*/ 2147483647 w 526"/>
                <a:gd name="T35" fmla="*/ 2147483647 h 680"/>
                <a:gd name="T36" fmla="*/ 2147483647 w 526"/>
                <a:gd name="T37" fmla="*/ 2147483647 h 680"/>
                <a:gd name="T38" fmla="*/ 2147483647 w 526"/>
                <a:gd name="T39" fmla="*/ 2147483647 h 680"/>
                <a:gd name="T40" fmla="*/ 2147483647 w 526"/>
                <a:gd name="T41" fmla="*/ 2147483647 h 680"/>
                <a:gd name="T42" fmla="*/ 2147483647 w 526"/>
                <a:gd name="T43" fmla="*/ 2147483647 h 680"/>
                <a:gd name="T44" fmla="*/ 2147483647 w 526"/>
                <a:gd name="T45" fmla="*/ 2147483647 h 680"/>
                <a:gd name="T46" fmla="*/ 2147483647 w 526"/>
                <a:gd name="T47" fmla="*/ 2147483647 h 680"/>
                <a:gd name="T48" fmla="*/ 2147483647 w 526"/>
                <a:gd name="T49" fmla="*/ 2147483647 h 680"/>
                <a:gd name="T50" fmla="*/ 2147483647 w 526"/>
                <a:gd name="T51" fmla="*/ 2147483647 h 680"/>
                <a:gd name="T52" fmla="*/ 2147483647 w 526"/>
                <a:gd name="T53" fmla="*/ 2147483647 h 680"/>
                <a:gd name="T54" fmla="*/ 2147483647 w 526"/>
                <a:gd name="T55" fmla="*/ 2147483647 h 680"/>
                <a:gd name="T56" fmla="*/ 2147483647 w 526"/>
                <a:gd name="T57" fmla="*/ 2147483647 h 680"/>
                <a:gd name="T58" fmla="*/ 2147483647 w 526"/>
                <a:gd name="T59" fmla="*/ 2147483647 h 680"/>
                <a:gd name="T60" fmla="*/ 2147483647 w 526"/>
                <a:gd name="T61" fmla="*/ 2147483647 h 680"/>
                <a:gd name="T62" fmla="*/ 2147483647 w 526"/>
                <a:gd name="T63" fmla="*/ 2147483647 h 680"/>
                <a:gd name="T64" fmla="*/ 2147483647 w 526"/>
                <a:gd name="T65" fmla="*/ 2147483647 h 680"/>
                <a:gd name="T66" fmla="*/ 2147483647 w 526"/>
                <a:gd name="T67" fmla="*/ 2147483647 h 680"/>
                <a:gd name="T68" fmla="*/ 2147483647 w 526"/>
                <a:gd name="T69" fmla="*/ 2147483647 h 680"/>
                <a:gd name="T70" fmla="*/ 2147483647 w 526"/>
                <a:gd name="T71" fmla="*/ 2147483647 h 680"/>
                <a:gd name="T72" fmla="*/ 2147483647 w 526"/>
                <a:gd name="T73" fmla="*/ 2147483647 h 680"/>
                <a:gd name="T74" fmla="*/ 2147483647 w 526"/>
                <a:gd name="T75" fmla="*/ 2147483647 h 680"/>
                <a:gd name="T76" fmla="*/ 2147483647 w 526"/>
                <a:gd name="T77" fmla="*/ 2147483647 h 680"/>
                <a:gd name="T78" fmla="*/ 2147483647 w 526"/>
                <a:gd name="T79" fmla="*/ 2147483647 h 680"/>
                <a:gd name="T80" fmla="*/ 2147483647 w 526"/>
                <a:gd name="T81" fmla="*/ 2147483647 h 680"/>
                <a:gd name="T82" fmla="*/ 2147483647 w 526"/>
                <a:gd name="T83" fmla="*/ 2147483647 h 680"/>
                <a:gd name="T84" fmla="*/ 2147483647 w 526"/>
                <a:gd name="T85" fmla="*/ 2147483647 h 680"/>
                <a:gd name="T86" fmla="*/ 2147483647 w 526"/>
                <a:gd name="T87" fmla="*/ 2147483647 h 680"/>
                <a:gd name="T88" fmla="*/ 2147483647 w 526"/>
                <a:gd name="T89" fmla="*/ 2147483647 h 680"/>
                <a:gd name="T90" fmla="*/ 2147483647 w 526"/>
                <a:gd name="T91" fmla="*/ 2147483647 h 680"/>
                <a:gd name="T92" fmla="*/ 2147483647 w 526"/>
                <a:gd name="T93" fmla="*/ 2147483647 h 680"/>
                <a:gd name="T94" fmla="*/ 2147483647 w 526"/>
                <a:gd name="T95" fmla="*/ 2147483647 h 680"/>
                <a:gd name="T96" fmla="*/ 2147483647 w 526"/>
                <a:gd name="T97" fmla="*/ 2147483647 h 680"/>
                <a:gd name="T98" fmla="*/ 2147483647 w 526"/>
                <a:gd name="T99" fmla="*/ 2147483647 h 680"/>
                <a:gd name="T100" fmla="*/ 2147483647 w 526"/>
                <a:gd name="T101" fmla="*/ 2147483647 h 68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6"/>
                <a:gd name="T154" fmla="*/ 0 h 680"/>
                <a:gd name="T155" fmla="*/ 526 w 526"/>
                <a:gd name="T156" fmla="*/ 680 h 68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6" h="680">
                  <a:moveTo>
                    <a:pt x="448" y="643"/>
                  </a:moveTo>
                  <a:lnTo>
                    <a:pt x="408" y="643"/>
                  </a:lnTo>
                  <a:lnTo>
                    <a:pt x="366" y="643"/>
                  </a:lnTo>
                  <a:lnTo>
                    <a:pt x="328" y="643"/>
                  </a:lnTo>
                  <a:lnTo>
                    <a:pt x="291" y="643"/>
                  </a:lnTo>
                  <a:lnTo>
                    <a:pt x="254" y="643"/>
                  </a:lnTo>
                  <a:lnTo>
                    <a:pt x="212" y="643"/>
                  </a:lnTo>
                  <a:lnTo>
                    <a:pt x="172" y="643"/>
                  </a:lnTo>
                  <a:lnTo>
                    <a:pt x="169" y="637"/>
                  </a:lnTo>
                  <a:lnTo>
                    <a:pt x="177" y="640"/>
                  </a:lnTo>
                  <a:lnTo>
                    <a:pt x="172" y="620"/>
                  </a:lnTo>
                  <a:lnTo>
                    <a:pt x="158" y="610"/>
                  </a:lnTo>
                  <a:lnTo>
                    <a:pt x="168" y="600"/>
                  </a:lnTo>
                  <a:lnTo>
                    <a:pt x="189" y="598"/>
                  </a:lnTo>
                  <a:lnTo>
                    <a:pt x="179" y="589"/>
                  </a:lnTo>
                  <a:lnTo>
                    <a:pt x="181" y="575"/>
                  </a:lnTo>
                  <a:lnTo>
                    <a:pt x="171" y="564"/>
                  </a:lnTo>
                  <a:lnTo>
                    <a:pt x="165" y="567"/>
                  </a:lnTo>
                  <a:lnTo>
                    <a:pt x="163" y="583"/>
                  </a:lnTo>
                  <a:lnTo>
                    <a:pt x="154" y="584"/>
                  </a:lnTo>
                  <a:lnTo>
                    <a:pt x="153" y="605"/>
                  </a:lnTo>
                  <a:lnTo>
                    <a:pt x="158" y="617"/>
                  </a:lnTo>
                  <a:lnTo>
                    <a:pt x="157" y="632"/>
                  </a:lnTo>
                  <a:lnTo>
                    <a:pt x="151" y="633"/>
                  </a:lnTo>
                  <a:lnTo>
                    <a:pt x="148" y="646"/>
                  </a:lnTo>
                  <a:lnTo>
                    <a:pt x="146" y="654"/>
                  </a:lnTo>
                  <a:lnTo>
                    <a:pt x="150" y="661"/>
                  </a:lnTo>
                  <a:lnTo>
                    <a:pt x="137" y="673"/>
                  </a:lnTo>
                  <a:lnTo>
                    <a:pt x="131" y="660"/>
                  </a:lnTo>
                  <a:lnTo>
                    <a:pt x="137" y="655"/>
                  </a:lnTo>
                  <a:lnTo>
                    <a:pt x="114" y="631"/>
                  </a:lnTo>
                  <a:lnTo>
                    <a:pt x="99" y="628"/>
                  </a:lnTo>
                  <a:lnTo>
                    <a:pt x="94" y="639"/>
                  </a:lnTo>
                  <a:lnTo>
                    <a:pt x="86" y="635"/>
                  </a:lnTo>
                  <a:lnTo>
                    <a:pt x="84" y="639"/>
                  </a:lnTo>
                  <a:lnTo>
                    <a:pt x="73" y="634"/>
                  </a:lnTo>
                  <a:lnTo>
                    <a:pt x="73" y="628"/>
                  </a:lnTo>
                  <a:lnTo>
                    <a:pt x="64" y="621"/>
                  </a:lnTo>
                  <a:lnTo>
                    <a:pt x="62" y="633"/>
                  </a:lnTo>
                  <a:lnTo>
                    <a:pt x="56" y="629"/>
                  </a:lnTo>
                  <a:lnTo>
                    <a:pt x="54" y="621"/>
                  </a:lnTo>
                  <a:lnTo>
                    <a:pt x="61" y="614"/>
                  </a:lnTo>
                  <a:lnTo>
                    <a:pt x="57" y="594"/>
                  </a:lnTo>
                  <a:lnTo>
                    <a:pt x="62" y="593"/>
                  </a:lnTo>
                  <a:lnTo>
                    <a:pt x="60" y="585"/>
                  </a:lnTo>
                  <a:lnTo>
                    <a:pt x="64" y="582"/>
                  </a:lnTo>
                  <a:lnTo>
                    <a:pt x="61" y="575"/>
                  </a:lnTo>
                  <a:lnTo>
                    <a:pt x="55" y="570"/>
                  </a:lnTo>
                  <a:lnTo>
                    <a:pt x="53" y="577"/>
                  </a:lnTo>
                  <a:lnTo>
                    <a:pt x="47" y="578"/>
                  </a:lnTo>
                  <a:lnTo>
                    <a:pt x="46" y="593"/>
                  </a:lnTo>
                  <a:lnTo>
                    <a:pt x="40" y="597"/>
                  </a:lnTo>
                  <a:lnTo>
                    <a:pt x="38" y="591"/>
                  </a:lnTo>
                  <a:lnTo>
                    <a:pt x="37" y="596"/>
                  </a:lnTo>
                  <a:lnTo>
                    <a:pt x="29" y="594"/>
                  </a:lnTo>
                  <a:lnTo>
                    <a:pt x="29" y="577"/>
                  </a:lnTo>
                  <a:lnTo>
                    <a:pt x="37" y="550"/>
                  </a:lnTo>
                  <a:lnTo>
                    <a:pt x="30" y="546"/>
                  </a:lnTo>
                  <a:lnTo>
                    <a:pt x="27" y="534"/>
                  </a:lnTo>
                  <a:lnTo>
                    <a:pt x="12" y="530"/>
                  </a:lnTo>
                  <a:lnTo>
                    <a:pt x="14" y="518"/>
                  </a:lnTo>
                  <a:lnTo>
                    <a:pt x="0" y="497"/>
                  </a:lnTo>
                  <a:lnTo>
                    <a:pt x="12" y="484"/>
                  </a:lnTo>
                  <a:lnTo>
                    <a:pt x="7" y="475"/>
                  </a:lnTo>
                  <a:lnTo>
                    <a:pt x="7" y="461"/>
                  </a:lnTo>
                  <a:lnTo>
                    <a:pt x="20" y="465"/>
                  </a:lnTo>
                  <a:lnTo>
                    <a:pt x="31" y="455"/>
                  </a:lnTo>
                  <a:lnTo>
                    <a:pt x="24" y="453"/>
                  </a:lnTo>
                  <a:lnTo>
                    <a:pt x="14" y="422"/>
                  </a:lnTo>
                  <a:lnTo>
                    <a:pt x="21" y="423"/>
                  </a:lnTo>
                  <a:lnTo>
                    <a:pt x="20" y="427"/>
                  </a:lnTo>
                  <a:lnTo>
                    <a:pt x="35" y="443"/>
                  </a:lnTo>
                  <a:lnTo>
                    <a:pt x="45" y="448"/>
                  </a:lnTo>
                  <a:lnTo>
                    <a:pt x="49" y="443"/>
                  </a:lnTo>
                  <a:lnTo>
                    <a:pt x="44" y="433"/>
                  </a:lnTo>
                  <a:lnTo>
                    <a:pt x="47" y="429"/>
                  </a:lnTo>
                  <a:lnTo>
                    <a:pt x="42" y="420"/>
                  </a:lnTo>
                  <a:lnTo>
                    <a:pt x="46" y="413"/>
                  </a:lnTo>
                  <a:lnTo>
                    <a:pt x="39" y="404"/>
                  </a:lnTo>
                  <a:lnTo>
                    <a:pt x="42" y="403"/>
                  </a:lnTo>
                  <a:lnTo>
                    <a:pt x="66" y="428"/>
                  </a:lnTo>
                  <a:lnTo>
                    <a:pt x="82" y="436"/>
                  </a:lnTo>
                  <a:lnTo>
                    <a:pt x="89" y="450"/>
                  </a:lnTo>
                  <a:lnTo>
                    <a:pt x="147" y="447"/>
                  </a:lnTo>
                  <a:lnTo>
                    <a:pt x="174" y="458"/>
                  </a:lnTo>
                  <a:lnTo>
                    <a:pt x="185" y="431"/>
                  </a:lnTo>
                  <a:lnTo>
                    <a:pt x="180" y="423"/>
                  </a:lnTo>
                  <a:lnTo>
                    <a:pt x="182" y="414"/>
                  </a:lnTo>
                  <a:lnTo>
                    <a:pt x="201" y="403"/>
                  </a:lnTo>
                  <a:lnTo>
                    <a:pt x="197" y="398"/>
                  </a:lnTo>
                  <a:lnTo>
                    <a:pt x="199" y="389"/>
                  </a:lnTo>
                  <a:lnTo>
                    <a:pt x="185" y="384"/>
                  </a:lnTo>
                  <a:lnTo>
                    <a:pt x="174" y="364"/>
                  </a:lnTo>
                  <a:lnTo>
                    <a:pt x="174" y="357"/>
                  </a:lnTo>
                  <a:lnTo>
                    <a:pt x="185" y="351"/>
                  </a:lnTo>
                  <a:lnTo>
                    <a:pt x="169" y="350"/>
                  </a:lnTo>
                  <a:lnTo>
                    <a:pt x="168" y="344"/>
                  </a:lnTo>
                  <a:lnTo>
                    <a:pt x="161" y="347"/>
                  </a:lnTo>
                  <a:lnTo>
                    <a:pt x="167" y="335"/>
                  </a:lnTo>
                  <a:lnTo>
                    <a:pt x="158" y="332"/>
                  </a:lnTo>
                  <a:lnTo>
                    <a:pt x="154" y="320"/>
                  </a:lnTo>
                  <a:lnTo>
                    <a:pt x="167" y="319"/>
                  </a:lnTo>
                  <a:lnTo>
                    <a:pt x="156" y="298"/>
                  </a:lnTo>
                  <a:lnTo>
                    <a:pt x="167" y="284"/>
                  </a:lnTo>
                  <a:lnTo>
                    <a:pt x="167" y="270"/>
                  </a:lnTo>
                  <a:lnTo>
                    <a:pt x="173" y="257"/>
                  </a:lnTo>
                  <a:lnTo>
                    <a:pt x="167" y="256"/>
                  </a:lnTo>
                  <a:lnTo>
                    <a:pt x="174" y="246"/>
                  </a:lnTo>
                  <a:lnTo>
                    <a:pt x="171" y="230"/>
                  </a:lnTo>
                  <a:lnTo>
                    <a:pt x="179" y="217"/>
                  </a:lnTo>
                  <a:lnTo>
                    <a:pt x="174" y="223"/>
                  </a:lnTo>
                  <a:lnTo>
                    <a:pt x="165" y="212"/>
                  </a:lnTo>
                  <a:lnTo>
                    <a:pt x="159" y="214"/>
                  </a:lnTo>
                  <a:lnTo>
                    <a:pt x="153" y="193"/>
                  </a:lnTo>
                  <a:lnTo>
                    <a:pt x="143" y="189"/>
                  </a:lnTo>
                  <a:lnTo>
                    <a:pt x="155" y="168"/>
                  </a:lnTo>
                  <a:lnTo>
                    <a:pt x="169" y="158"/>
                  </a:lnTo>
                  <a:lnTo>
                    <a:pt x="166" y="151"/>
                  </a:lnTo>
                  <a:lnTo>
                    <a:pt x="158" y="152"/>
                  </a:lnTo>
                  <a:lnTo>
                    <a:pt x="159" y="141"/>
                  </a:lnTo>
                  <a:lnTo>
                    <a:pt x="184" y="134"/>
                  </a:lnTo>
                  <a:lnTo>
                    <a:pt x="174" y="124"/>
                  </a:lnTo>
                  <a:lnTo>
                    <a:pt x="155" y="135"/>
                  </a:lnTo>
                  <a:lnTo>
                    <a:pt x="149" y="124"/>
                  </a:lnTo>
                  <a:lnTo>
                    <a:pt x="124" y="120"/>
                  </a:lnTo>
                  <a:lnTo>
                    <a:pt x="131" y="109"/>
                  </a:lnTo>
                  <a:lnTo>
                    <a:pt x="149" y="114"/>
                  </a:lnTo>
                  <a:lnTo>
                    <a:pt x="139" y="98"/>
                  </a:lnTo>
                  <a:lnTo>
                    <a:pt x="140" y="80"/>
                  </a:lnTo>
                  <a:lnTo>
                    <a:pt x="147" y="72"/>
                  </a:lnTo>
                  <a:lnTo>
                    <a:pt x="132" y="77"/>
                  </a:lnTo>
                  <a:lnTo>
                    <a:pt x="126" y="69"/>
                  </a:lnTo>
                  <a:lnTo>
                    <a:pt x="127" y="46"/>
                  </a:lnTo>
                  <a:lnTo>
                    <a:pt x="134" y="37"/>
                  </a:lnTo>
                  <a:lnTo>
                    <a:pt x="122" y="27"/>
                  </a:lnTo>
                  <a:lnTo>
                    <a:pt x="136" y="21"/>
                  </a:lnTo>
                  <a:lnTo>
                    <a:pt x="126" y="7"/>
                  </a:lnTo>
                  <a:lnTo>
                    <a:pt x="141" y="0"/>
                  </a:lnTo>
                  <a:lnTo>
                    <a:pt x="143" y="5"/>
                  </a:lnTo>
                  <a:lnTo>
                    <a:pt x="140" y="10"/>
                  </a:lnTo>
                  <a:lnTo>
                    <a:pt x="146" y="11"/>
                  </a:lnTo>
                  <a:lnTo>
                    <a:pt x="147" y="23"/>
                  </a:lnTo>
                  <a:lnTo>
                    <a:pt x="143" y="37"/>
                  </a:lnTo>
                  <a:lnTo>
                    <a:pt x="154" y="37"/>
                  </a:lnTo>
                  <a:lnTo>
                    <a:pt x="153" y="55"/>
                  </a:lnTo>
                  <a:lnTo>
                    <a:pt x="162" y="56"/>
                  </a:lnTo>
                  <a:lnTo>
                    <a:pt x="159" y="64"/>
                  </a:lnTo>
                  <a:lnTo>
                    <a:pt x="174" y="66"/>
                  </a:lnTo>
                  <a:lnTo>
                    <a:pt x="164" y="78"/>
                  </a:lnTo>
                  <a:lnTo>
                    <a:pt x="175" y="87"/>
                  </a:lnTo>
                  <a:lnTo>
                    <a:pt x="182" y="81"/>
                  </a:lnTo>
                  <a:lnTo>
                    <a:pt x="182" y="91"/>
                  </a:lnTo>
                  <a:lnTo>
                    <a:pt x="191" y="91"/>
                  </a:lnTo>
                  <a:lnTo>
                    <a:pt x="191" y="99"/>
                  </a:lnTo>
                  <a:lnTo>
                    <a:pt x="181" y="104"/>
                  </a:lnTo>
                  <a:lnTo>
                    <a:pt x="165" y="103"/>
                  </a:lnTo>
                  <a:lnTo>
                    <a:pt x="153" y="113"/>
                  </a:lnTo>
                  <a:lnTo>
                    <a:pt x="198" y="105"/>
                  </a:lnTo>
                  <a:lnTo>
                    <a:pt x="196" y="127"/>
                  </a:lnTo>
                  <a:lnTo>
                    <a:pt x="209" y="126"/>
                  </a:lnTo>
                  <a:lnTo>
                    <a:pt x="207" y="134"/>
                  </a:lnTo>
                  <a:lnTo>
                    <a:pt x="214" y="139"/>
                  </a:lnTo>
                  <a:lnTo>
                    <a:pt x="184" y="152"/>
                  </a:lnTo>
                  <a:lnTo>
                    <a:pt x="224" y="153"/>
                  </a:lnTo>
                  <a:lnTo>
                    <a:pt x="226" y="162"/>
                  </a:lnTo>
                  <a:lnTo>
                    <a:pt x="218" y="170"/>
                  </a:lnTo>
                  <a:lnTo>
                    <a:pt x="222" y="171"/>
                  </a:lnTo>
                  <a:lnTo>
                    <a:pt x="198" y="189"/>
                  </a:lnTo>
                  <a:lnTo>
                    <a:pt x="226" y="179"/>
                  </a:lnTo>
                  <a:lnTo>
                    <a:pt x="234" y="190"/>
                  </a:lnTo>
                  <a:lnTo>
                    <a:pt x="225" y="201"/>
                  </a:lnTo>
                  <a:lnTo>
                    <a:pt x="240" y="200"/>
                  </a:lnTo>
                  <a:lnTo>
                    <a:pt x="256" y="223"/>
                  </a:lnTo>
                  <a:lnTo>
                    <a:pt x="232" y="239"/>
                  </a:lnTo>
                  <a:lnTo>
                    <a:pt x="254" y="239"/>
                  </a:lnTo>
                  <a:lnTo>
                    <a:pt x="259" y="246"/>
                  </a:lnTo>
                  <a:lnTo>
                    <a:pt x="256" y="253"/>
                  </a:lnTo>
                  <a:lnTo>
                    <a:pt x="273" y="259"/>
                  </a:lnTo>
                  <a:lnTo>
                    <a:pt x="276" y="270"/>
                  </a:lnTo>
                  <a:lnTo>
                    <a:pt x="260" y="286"/>
                  </a:lnTo>
                  <a:lnTo>
                    <a:pt x="262" y="297"/>
                  </a:lnTo>
                  <a:lnTo>
                    <a:pt x="234" y="285"/>
                  </a:lnTo>
                  <a:lnTo>
                    <a:pt x="232" y="291"/>
                  </a:lnTo>
                  <a:lnTo>
                    <a:pt x="243" y="296"/>
                  </a:lnTo>
                  <a:lnTo>
                    <a:pt x="260" y="305"/>
                  </a:lnTo>
                  <a:lnTo>
                    <a:pt x="262" y="308"/>
                  </a:lnTo>
                  <a:lnTo>
                    <a:pt x="249" y="314"/>
                  </a:lnTo>
                  <a:lnTo>
                    <a:pt x="263" y="329"/>
                  </a:lnTo>
                  <a:lnTo>
                    <a:pt x="256" y="327"/>
                  </a:lnTo>
                  <a:lnTo>
                    <a:pt x="253" y="335"/>
                  </a:lnTo>
                  <a:lnTo>
                    <a:pt x="278" y="333"/>
                  </a:lnTo>
                  <a:lnTo>
                    <a:pt x="284" y="354"/>
                  </a:lnTo>
                  <a:lnTo>
                    <a:pt x="280" y="358"/>
                  </a:lnTo>
                  <a:lnTo>
                    <a:pt x="304" y="361"/>
                  </a:lnTo>
                  <a:lnTo>
                    <a:pt x="310" y="374"/>
                  </a:lnTo>
                  <a:lnTo>
                    <a:pt x="323" y="370"/>
                  </a:lnTo>
                  <a:lnTo>
                    <a:pt x="320" y="383"/>
                  </a:lnTo>
                  <a:lnTo>
                    <a:pt x="326" y="394"/>
                  </a:lnTo>
                  <a:lnTo>
                    <a:pt x="318" y="406"/>
                  </a:lnTo>
                  <a:lnTo>
                    <a:pt x="327" y="401"/>
                  </a:lnTo>
                  <a:lnTo>
                    <a:pt x="338" y="409"/>
                  </a:lnTo>
                  <a:lnTo>
                    <a:pt x="349" y="402"/>
                  </a:lnTo>
                  <a:lnTo>
                    <a:pt x="350" y="408"/>
                  </a:lnTo>
                  <a:lnTo>
                    <a:pt x="358" y="411"/>
                  </a:lnTo>
                  <a:lnTo>
                    <a:pt x="349" y="435"/>
                  </a:lnTo>
                  <a:lnTo>
                    <a:pt x="372" y="410"/>
                  </a:lnTo>
                  <a:lnTo>
                    <a:pt x="371" y="420"/>
                  </a:lnTo>
                  <a:lnTo>
                    <a:pt x="378" y="415"/>
                  </a:lnTo>
                  <a:lnTo>
                    <a:pt x="383" y="432"/>
                  </a:lnTo>
                  <a:lnTo>
                    <a:pt x="388" y="436"/>
                  </a:lnTo>
                  <a:lnTo>
                    <a:pt x="408" y="444"/>
                  </a:lnTo>
                  <a:lnTo>
                    <a:pt x="420" y="429"/>
                  </a:lnTo>
                  <a:lnTo>
                    <a:pt x="426" y="438"/>
                  </a:lnTo>
                  <a:lnTo>
                    <a:pt x="424" y="444"/>
                  </a:lnTo>
                  <a:lnTo>
                    <a:pt x="443" y="451"/>
                  </a:lnTo>
                  <a:lnTo>
                    <a:pt x="448" y="458"/>
                  </a:lnTo>
                  <a:lnTo>
                    <a:pt x="442" y="469"/>
                  </a:lnTo>
                  <a:lnTo>
                    <a:pt x="424" y="470"/>
                  </a:lnTo>
                  <a:lnTo>
                    <a:pt x="398" y="485"/>
                  </a:lnTo>
                  <a:lnTo>
                    <a:pt x="362" y="494"/>
                  </a:lnTo>
                  <a:lnTo>
                    <a:pt x="355" y="500"/>
                  </a:lnTo>
                  <a:lnTo>
                    <a:pt x="342" y="509"/>
                  </a:lnTo>
                  <a:lnTo>
                    <a:pt x="330" y="527"/>
                  </a:lnTo>
                  <a:lnTo>
                    <a:pt x="301" y="515"/>
                  </a:lnTo>
                  <a:lnTo>
                    <a:pt x="290" y="515"/>
                  </a:lnTo>
                  <a:lnTo>
                    <a:pt x="291" y="522"/>
                  </a:lnTo>
                  <a:lnTo>
                    <a:pt x="325" y="534"/>
                  </a:lnTo>
                  <a:lnTo>
                    <a:pt x="322" y="553"/>
                  </a:lnTo>
                  <a:lnTo>
                    <a:pt x="394" y="498"/>
                  </a:lnTo>
                  <a:lnTo>
                    <a:pt x="403" y="491"/>
                  </a:lnTo>
                  <a:lnTo>
                    <a:pt x="423" y="484"/>
                  </a:lnTo>
                  <a:lnTo>
                    <a:pt x="453" y="485"/>
                  </a:lnTo>
                  <a:lnTo>
                    <a:pt x="457" y="515"/>
                  </a:lnTo>
                  <a:lnTo>
                    <a:pt x="451" y="523"/>
                  </a:lnTo>
                  <a:lnTo>
                    <a:pt x="453" y="543"/>
                  </a:lnTo>
                  <a:lnTo>
                    <a:pt x="470" y="517"/>
                  </a:lnTo>
                  <a:lnTo>
                    <a:pt x="486" y="518"/>
                  </a:lnTo>
                  <a:lnTo>
                    <a:pt x="484" y="522"/>
                  </a:lnTo>
                  <a:lnTo>
                    <a:pt x="514" y="532"/>
                  </a:lnTo>
                  <a:lnTo>
                    <a:pt x="507" y="538"/>
                  </a:lnTo>
                  <a:lnTo>
                    <a:pt x="522" y="554"/>
                  </a:lnTo>
                  <a:lnTo>
                    <a:pt x="522" y="560"/>
                  </a:lnTo>
                  <a:lnTo>
                    <a:pt x="514" y="566"/>
                  </a:lnTo>
                  <a:lnTo>
                    <a:pt x="496" y="559"/>
                  </a:lnTo>
                  <a:lnTo>
                    <a:pt x="502" y="568"/>
                  </a:lnTo>
                  <a:lnTo>
                    <a:pt x="513" y="570"/>
                  </a:lnTo>
                  <a:lnTo>
                    <a:pt x="516" y="581"/>
                  </a:lnTo>
                  <a:lnTo>
                    <a:pt x="513" y="587"/>
                  </a:lnTo>
                  <a:lnTo>
                    <a:pt x="520" y="600"/>
                  </a:lnTo>
                  <a:lnTo>
                    <a:pt x="509" y="603"/>
                  </a:lnTo>
                  <a:lnTo>
                    <a:pt x="522" y="608"/>
                  </a:lnTo>
                  <a:lnTo>
                    <a:pt x="526" y="617"/>
                  </a:lnTo>
                  <a:lnTo>
                    <a:pt x="508" y="614"/>
                  </a:lnTo>
                  <a:lnTo>
                    <a:pt x="525" y="630"/>
                  </a:lnTo>
                  <a:lnTo>
                    <a:pt x="482" y="675"/>
                  </a:lnTo>
                  <a:lnTo>
                    <a:pt x="470" y="680"/>
                  </a:lnTo>
                  <a:lnTo>
                    <a:pt x="459" y="680"/>
                  </a:lnTo>
                  <a:lnTo>
                    <a:pt x="459" y="643"/>
                  </a:lnTo>
                  <a:lnTo>
                    <a:pt x="448" y="643"/>
                  </a:lnTo>
                  <a:close/>
                </a:path>
              </a:pathLst>
            </a:custGeom>
            <a:grpFill/>
            <a:ln w="6350">
              <a:solidFill>
                <a:schemeClr val="accent5"/>
              </a:solidFill>
              <a:round/>
              <a:headEnd/>
              <a:tailEnd/>
            </a:ln>
          </p:spPr>
          <p:txBody>
            <a:bodyPr/>
            <a:lstStyle/>
            <a:p>
              <a:endParaRPr lang="en-US"/>
            </a:p>
          </p:txBody>
        </p:sp>
        <p:sp>
          <p:nvSpPr>
            <p:cNvPr id="265" name="Freeform 1251"/>
            <p:cNvSpPr>
              <a:spLocks/>
            </p:cNvSpPr>
            <p:nvPr/>
          </p:nvSpPr>
          <p:spPr bwMode="auto">
            <a:xfrm>
              <a:off x="3766596" y="3340876"/>
              <a:ext cx="25800" cy="14011"/>
            </a:xfrm>
            <a:custGeom>
              <a:avLst/>
              <a:gdLst>
                <a:gd name="T0" fmla="*/ 2147483647 w 59"/>
                <a:gd name="T1" fmla="*/ 2147483647 h 35"/>
                <a:gd name="T2" fmla="*/ 2147483647 w 59"/>
                <a:gd name="T3" fmla="*/ 0 h 35"/>
                <a:gd name="T4" fmla="*/ 2147483647 w 59"/>
                <a:gd name="T5" fmla="*/ 2147483647 h 35"/>
                <a:gd name="T6" fmla="*/ 2147483647 w 59"/>
                <a:gd name="T7" fmla="*/ 2147483647 h 35"/>
                <a:gd name="T8" fmla="*/ 2147483647 w 59"/>
                <a:gd name="T9" fmla="*/ 2147483647 h 35"/>
                <a:gd name="T10" fmla="*/ 2147483647 w 59"/>
                <a:gd name="T11" fmla="*/ 2147483647 h 35"/>
                <a:gd name="T12" fmla="*/ 0 w 59"/>
                <a:gd name="T13" fmla="*/ 2147483647 h 35"/>
                <a:gd name="T14" fmla="*/ 2147483647 w 59"/>
                <a:gd name="T15" fmla="*/ 2147483647 h 35"/>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5"/>
                <a:gd name="T26" fmla="*/ 59 w 5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5">
                  <a:moveTo>
                    <a:pt x="5" y="5"/>
                  </a:moveTo>
                  <a:lnTo>
                    <a:pt x="26" y="0"/>
                  </a:lnTo>
                  <a:lnTo>
                    <a:pt x="45" y="5"/>
                  </a:lnTo>
                  <a:lnTo>
                    <a:pt x="59" y="35"/>
                  </a:lnTo>
                  <a:lnTo>
                    <a:pt x="44" y="33"/>
                  </a:lnTo>
                  <a:lnTo>
                    <a:pt x="26" y="21"/>
                  </a:lnTo>
                  <a:lnTo>
                    <a:pt x="0" y="14"/>
                  </a:lnTo>
                  <a:lnTo>
                    <a:pt x="5" y="5"/>
                  </a:lnTo>
                  <a:close/>
                </a:path>
              </a:pathLst>
            </a:custGeom>
            <a:grpFill/>
            <a:ln w="6350">
              <a:solidFill>
                <a:schemeClr val="accent5"/>
              </a:solidFill>
              <a:round/>
              <a:headEnd/>
              <a:tailEnd/>
            </a:ln>
          </p:spPr>
          <p:txBody>
            <a:bodyPr/>
            <a:lstStyle/>
            <a:p>
              <a:endParaRPr lang="en-US"/>
            </a:p>
          </p:txBody>
        </p:sp>
        <p:sp>
          <p:nvSpPr>
            <p:cNvPr id="266" name="Freeform 1252"/>
            <p:cNvSpPr>
              <a:spLocks/>
            </p:cNvSpPr>
            <p:nvPr/>
          </p:nvSpPr>
          <p:spPr bwMode="auto">
            <a:xfrm>
              <a:off x="4123499" y="3432580"/>
              <a:ext cx="55901" cy="22926"/>
            </a:xfrm>
            <a:custGeom>
              <a:avLst/>
              <a:gdLst>
                <a:gd name="T0" fmla="*/ 2147483647 w 117"/>
                <a:gd name="T1" fmla="*/ 0 h 57"/>
                <a:gd name="T2" fmla="*/ 2147483647 w 117"/>
                <a:gd name="T3" fmla="*/ 2147483647 h 57"/>
                <a:gd name="T4" fmla="*/ 2147483647 w 117"/>
                <a:gd name="T5" fmla="*/ 2147483647 h 57"/>
                <a:gd name="T6" fmla="*/ 2147483647 w 117"/>
                <a:gd name="T7" fmla="*/ 2147483647 h 57"/>
                <a:gd name="T8" fmla="*/ 2147483647 w 117"/>
                <a:gd name="T9" fmla="*/ 2147483647 h 57"/>
                <a:gd name="T10" fmla="*/ 2147483647 w 117"/>
                <a:gd name="T11" fmla="*/ 2147483647 h 57"/>
                <a:gd name="T12" fmla="*/ 2147483647 w 117"/>
                <a:gd name="T13" fmla="*/ 2147483647 h 57"/>
                <a:gd name="T14" fmla="*/ 2147483647 w 117"/>
                <a:gd name="T15" fmla="*/ 2147483647 h 57"/>
                <a:gd name="T16" fmla="*/ 0 w 117"/>
                <a:gd name="T17" fmla="*/ 2147483647 h 57"/>
                <a:gd name="T18" fmla="*/ 0 w 117"/>
                <a:gd name="T19" fmla="*/ 2147483647 h 57"/>
                <a:gd name="T20" fmla="*/ 2147483647 w 117"/>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7"/>
                <a:gd name="T34" fmla="*/ 0 h 57"/>
                <a:gd name="T35" fmla="*/ 117 w 117"/>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7" h="57">
                  <a:moveTo>
                    <a:pt x="19" y="0"/>
                  </a:moveTo>
                  <a:lnTo>
                    <a:pt x="80" y="23"/>
                  </a:lnTo>
                  <a:lnTo>
                    <a:pt x="94" y="35"/>
                  </a:lnTo>
                  <a:lnTo>
                    <a:pt x="110" y="38"/>
                  </a:lnTo>
                  <a:lnTo>
                    <a:pt x="117" y="53"/>
                  </a:lnTo>
                  <a:lnTo>
                    <a:pt x="92" y="57"/>
                  </a:lnTo>
                  <a:lnTo>
                    <a:pt x="45" y="41"/>
                  </a:lnTo>
                  <a:lnTo>
                    <a:pt x="34" y="25"/>
                  </a:lnTo>
                  <a:lnTo>
                    <a:pt x="0" y="7"/>
                  </a:lnTo>
                  <a:lnTo>
                    <a:pt x="0" y="2"/>
                  </a:lnTo>
                  <a:lnTo>
                    <a:pt x="19" y="0"/>
                  </a:lnTo>
                  <a:close/>
                </a:path>
              </a:pathLst>
            </a:custGeom>
            <a:grpFill/>
            <a:ln w="6350">
              <a:solidFill>
                <a:schemeClr val="accent5"/>
              </a:solidFill>
              <a:round/>
              <a:headEnd/>
              <a:tailEnd/>
            </a:ln>
          </p:spPr>
          <p:txBody>
            <a:bodyPr/>
            <a:lstStyle/>
            <a:p>
              <a:endParaRPr lang="en-US"/>
            </a:p>
          </p:txBody>
        </p:sp>
        <p:sp>
          <p:nvSpPr>
            <p:cNvPr id="269" name="Freeform 1255"/>
            <p:cNvSpPr>
              <a:spLocks/>
            </p:cNvSpPr>
            <p:nvPr/>
          </p:nvSpPr>
          <p:spPr bwMode="auto">
            <a:xfrm>
              <a:off x="4226699" y="3385454"/>
              <a:ext cx="134734" cy="137555"/>
            </a:xfrm>
            <a:custGeom>
              <a:avLst/>
              <a:gdLst>
                <a:gd name="T0" fmla="*/ 2147483647 w 286"/>
                <a:gd name="T1" fmla="*/ 2147483647 h 331"/>
                <a:gd name="T2" fmla="*/ 2147483647 w 286"/>
                <a:gd name="T3" fmla="*/ 2147483647 h 331"/>
                <a:gd name="T4" fmla="*/ 2147483647 w 286"/>
                <a:gd name="T5" fmla="*/ 2147483647 h 331"/>
                <a:gd name="T6" fmla="*/ 2147483647 w 286"/>
                <a:gd name="T7" fmla="*/ 2147483647 h 331"/>
                <a:gd name="T8" fmla="*/ 2147483647 w 286"/>
                <a:gd name="T9" fmla="*/ 2147483647 h 331"/>
                <a:gd name="T10" fmla="*/ 2147483647 w 286"/>
                <a:gd name="T11" fmla="*/ 2147483647 h 331"/>
                <a:gd name="T12" fmla="*/ 2147483647 w 286"/>
                <a:gd name="T13" fmla="*/ 2147483647 h 331"/>
                <a:gd name="T14" fmla="*/ 2147483647 w 286"/>
                <a:gd name="T15" fmla="*/ 2147483647 h 331"/>
                <a:gd name="T16" fmla="*/ 2147483647 w 286"/>
                <a:gd name="T17" fmla="*/ 2147483647 h 331"/>
                <a:gd name="T18" fmla="*/ 2147483647 w 286"/>
                <a:gd name="T19" fmla="*/ 2147483647 h 331"/>
                <a:gd name="T20" fmla="*/ 2147483647 w 286"/>
                <a:gd name="T21" fmla="*/ 2147483647 h 331"/>
                <a:gd name="T22" fmla="*/ 2147483647 w 286"/>
                <a:gd name="T23" fmla="*/ 2147483647 h 331"/>
                <a:gd name="T24" fmla="*/ 2147483647 w 286"/>
                <a:gd name="T25" fmla="*/ 2147483647 h 331"/>
                <a:gd name="T26" fmla="*/ 2147483647 w 286"/>
                <a:gd name="T27" fmla="*/ 0 h 331"/>
                <a:gd name="T28" fmla="*/ 2147483647 w 286"/>
                <a:gd name="T29" fmla="*/ 2147483647 h 331"/>
                <a:gd name="T30" fmla="*/ 2147483647 w 286"/>
                <a:gd name="T31" fmla="*/ 2147483647 h 331"/>
                <a:gd name="T32" fmla="*/ 2147483647 w 286"/>
                <a:gd name="T33" fmla="*/ 2147483647 h 331"/>
                <a:gd name="T34" fmla="*/ 2147483647 w 286"/>
                <a:gd name="T35" fmla="*/ 2147483647 h 331"/>
                <a:gd name="T36" fmla="*/ 2147483647 w 286"/>
                <a:gd name="T37" fmla="*/ 2147483647 h 331"/>
                <a:gd name="T38" fmla="*/ 2147483647 w 286"/>
                <a:gd name="T39" fmla="*/ 2147483647 h 331"/>
                <a:gd name="T40" fmla="*/ 2147483647 w 286"/>
                <a:gd name="T41" fmla="*/ 2147483647 h 331"/>
                <a:gd name="T42" fmla="*/ 2147483647 w 286"/>
                <a:gd name="T43" fmla="*/ 2147483647 h 331"/>
                <a:gd name="T44" fmla="*/ 2147483647 w 286"/>
                <a:gd name="T45" fmla="*/ 2147483647 h 331"/>
                <a:gd name="T46" fmla="*/ 2147483647 w 286"/>
                <a:gd name="T47" fmla="*/ 2147483647 h 331"/>
                <a:gd name="T48" fmla="*/ 2147483647 w 286"/>
                <a:gd name="T49" fmla="*/ 2147483647 h 331"/>
                <a:gd name="T50" fmla="*/ 2147483647 w 286"/>
                <a:gd name="T51" fmla="*/ 2147483647 h 331"/>
                <a:gd name="T52" fmla="*/ 2147483647 w 286"/>
                <a:gd name="T53" fmla="*/ 2147483647 h 331"/>
                <a:gd name="T54" fmla="*/ 2147483647 w 286"/>
                <a:gd name="T55" fmla="*/ 2147483647 h 331"/>
                <a:gd name="T56" fmla="*/ 2147483647 w 286"/>
                <a:gd name="T57" fmla="*/ 2147483647 h 331"/>
                <a:gd name="T58" fmla="*/ 2147483647 w 286"/>
                <a:gd name="T59" fmla="*/ 2147483647 h 331"/>
                <a:gd name="T60" fmla="*/ 2147483647 w 286"/>
                <a:gd name="T61" fmla="*/ 2147483647 h 331"/>
                <a:gd name="T62" fmla="*/ 2147483647 w 286"/>
                <a:gd name="T63" fmla="*/ 2147483647 h 331"/>
                <a:gd name="T64" fmla="*/ 2147483647 w 286"/>
                <a:gd name="T65" fmla="*/ 2147483647 h 331"/>
                <a:gd name="T66" fmla="*/ 2147483647 w 286"/>
                <a:gd name="T67" fmla="*/ 2147483647 h 331"/>
                <a:gd name="T68" fmla="*/ 2147483647 w 286"/>
                <a:gd name="T69" fmla="*/ 2147483647 h 331"/>
                <a:gd name="T70" fmla="*/ 2147483647 w 286"/>
                <a:gd name="T71" fmla="*/ 2147483647 h 331"/>
                <a:gd name="T72" fmla="*/ 2147483647 w 286"/>
                <a:gd name="T73" fmla="*/ 2147483647 h 331"/>
                <a:gd name="T74" fmla="*/ 2147483647 w 286"/>
                <a:gd name="T75" fmla="*/ 2147483647 h 331"/>
                <a:gd name="T76" fmla="*/ 2147483647 w 286"/>
                <a:gd name="T77" fmla="*/ 2147483647 h 331"/>
                <a:gd name="T78" fmla="*/ 2147483647 w 286"/>
                <a:gd name="T79" fmla="*/ 2147483647 h 331"/>
                <a:gd name="T80" fmla="*/ 2147483647 w 286"/>
                <a:gd name="T81" fmla="*/ 2147483647 h 331"/>
                <a:gd name="T82" fmla="*/ 2147483647 w 286"/>
                <a:gd name="T83" fmla="*/ 2147483647 h 331"/>
                <a:gd name="T84" fmla="*/ 2147483647 w 286"/>
                <a:gd name="T85" fmla="*/ 2147483647 h 331"/>
                <a:gd name="T86" fmla="*/ 2147483647 w 286"/>
                <a:gd name="T87" fmla="*/ 2147483647 h 331"/>
                <a:gd name="T88" fmla="*/ 2147483647 w 286"/>
                <a:gd name="T89" fmla="*/ 2147483647 h 331"/>
                <a:gd name="T90" fmla="*/ 2147483647 w 286"/>
                <a:gd name="T91" fmla="*/ 2147483647 h 331"/>
                <a:gd name="T92" fmla="*/ 2147483647 w 286"/>
                <a:gd name="T93" fmla="*/ 2147483647 h 331"/>
                <a:gd name="T94" fmla="*/ 2147483647 w 286"/>
                <a:gd name="T95" fmla="*/ 2147483647 h 331"/>
                <a:gd name="T96" fmla="*/ 2147483647 w 286"/>
                <a:gd name="T97" fmla="*/ 2147483647 h 331"/>
                <a:gd name="T98" fmla="*/ 2147483647 w 286"/>
                <a:gd name="T99" fmla="*/ 2147483647 h 331"/>
                <a:gd name="T100" fmla="*/ 2147483647 w 286"/>
                <a:gd name="T101" fmla="*/ 2147483647 h 3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86"/>
                <a:gd name="T154" fmla="*/ 0 h 331"/>
                <a:gd name="T155" fmla="*/ 286 w 286"/>
                <a:gd name="T156" fmla="*/ 331 h 3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86" h="331">
                  <a:moveTo>
                    <a:pt x="254" y="159"/>
                  </a:moveTo>
                  <a:lnTo>
                    <a:pt x="251" y="154"/>
                  </a:lnTo>
                  <a:lnTo>
                    <a:pt x="231" y="149"/>
                  </a:lnTo>
                  <a:lnTo>
                    <a:pt x="217" y="150"/>
                  </a:lnTo>
                  <a:lnTo>
                    <a:pt x="210" y="144"/>
                  </a:lnTo>
                  <a:lnTo>
                    <a:pt x="173" y="159"/>
                  </a:lnTo>
                  <a:lnTo>
                    <a:pt x="181" y="140"/>
                  </a:lnTo>
                  <a:lnTo>
                    <a:pt x="171" y="149"/>
                  </a:lnTo>
                  <a:lnTo>
                    <a:pt x="150" y="144"/>
                  </a:lnTo>
                  <a:lnTo>
                    <a:pt x="151" y="135"/>
                  </a:lnTo>
                  <a:lnTo>
                    <a:pt x="142" y="132"/>
                  </a:lnTo>
                  <a:lnTo>
                    <a:pt x="166" y="117"/>
                  </a:lnTo>
                  <a:lnTo>
                    <a:pt x="140" y="112"/>
                  </a:lnTo>
                  <a:lnTo>
                    <a:pt x="142" y="103"/>
                  </a:lnTo>
                  <a:lnTo>
                    <a:pt x="136" y="102"/>
                  </a:lnTo>
                  <a:lnTo>
                    <a:pt x="112" y="136"/>
                  </a:lnTo>
                  <a:lnTo>
                    <a:pt x="109" y="126"/>
                  </a:lnTo>
                  <a:lnTo>
                    <a:pt x="112" y="107"/>
                  </a:lnTo>
                  <a:lnTo>
                    <a:pt x="135" y="71"/>
                  </a:lnTo>
                  <a:lnTo>
                    <a:pt x="136" y="50"/>
                  </a:lnTo>
                  <a:lnTo>
                    <a:pt x="139" y="56"/>
                  </a:lnTo>
                  <a:lnTo>
                    <a:pt x="149" y="51"/>
                  </a:lnTo>
                  <a:lnTo>
                    <a:pt x="155" y="32"/>
                  </a:lnTo>
                  <a:lnTo>
                    <a:pt x="148" y="26"/>
                  </a:lnTo>
                  <a:lnTo>
                    <a:pt x="148" y="20"/>
                  </a:lnTo>
                  <a:lnTo>
                    <a:pt x="158" y="19"/>
                  </a:lnTo>
                  <a:lnTo>
                    <a:pt x="165" y="6"/>
                  </a:lnTo>
                  <a:lnTo>
                    <a:pt x="164" y="0"/>
                  </a:lnTo>
                  <a:lnTo>
                    <a:pt x="135" y="9"/>
                  </a:lnTo>
                  <a:lnTo>
                    <a:pt x="116" y="19"/>
                  </a:lnTo>
                  <a:lnTo>
                    <a:pt x="109" y="34"/>
                  </a:lnTo>
                  <a:lnTo>
                    <a:pt x="101" y="40"/>
                  </a:lnTo>
                  <a:lnTo>
                    <a:pt x="99" y="53"/>
                  </a:lnTo>
                  <a:lnTo>
                    <a:pt x="85" y="64"/>
                  </a:lnTo>
                  <a:lnTo>
                    <a:pt x="91" y="69"/>
                  </a:lnTo>
                  <a:lnTo>
                    <a:pt x="81" y="93"/>
                  </a:lnTo>
                  <a:lnTo>
                    <a:pt x="88" y="100"/>
                  </a:lnTo>
                  <a:lnTo>
                    <a:pt x="73" y="104"/>
                  </a:lnTo>
                  <a:lnTo>
                    <a:pt x="63" y="128"/>
                  </a:lnTo>
                  <a:lnTo>
                    <a:pt x="64" y="143"/>
                  </a:lnTo>
                  <a:lnTo>
                    <a:pt x="51" y="151"/>
                  </a:lnTo>
                  <a:lnTo>
                    <a:pt x="48" y="158"/>
                  </a:lnTo>
                  <a:lnTo>
                    <a:pt x="56" y="162"/>
                  </a:lnTo>
                  <a:lnTo>
                    <a:pt x="56" y="173"/>
                  </a:lnTo>
                  <a:lnTo>
                    <a:pt x="42" y="171"/>
                  </a:lnTo>
                  <a:lnTo>
                    <a:pt x="31" y="200"/>
                  </a:lnTo>
                  <a:lnTo>
                    <a:pt x="26" y="204"/>
                  </a:lnTo>
                  <a:lnTo>
                    <a:pt x="22" y="199"/>
                  </a:lnTo>
                  <a:lnTo>
                    <a:pt x="8" y="207"/>
                  </a:lnTo>
                  <a:lnTo>
                    <a:pt x="35" y="210"/>
                  </a:lnTo>
                  <a:lnTo>
                    <a:pt x="38" y="215"/>
                  </a:lnTo>
                  <a:lnTo>
                    <a:pt x="1" y="249"/>
                  </a:lnTo>
                  <a:lnTo>
                    <a:pt x="0" y="262"/>
                  </a:lnTo>
                  <a:lnTo>
                    <a:pt x="4" y="269"/>
                  </a:lnTo>
                  <a:lnTo>
                    <a:pt x="14" y="271"/>
                  </a:lnTo>
                  <a:lnTo>
                    <a:pt x="54" y="263"/>
                  </a:lnTo>
                  <a:lnTo>
                    <a:pt x="111" y="270"/>
                  </a:lnTo>
                  <a:lnTo>
                    <a:pt x="137" y="265"/>
                  </a:lnTo>
                  <a:lnTo>
                    <a:pt x="155" y="252"/>
                  </a:lnTo>
                  <a:lnTo>
                    <a:pt x="154" y="267"/>
                  </a:lnTo>
                  <a:lnTo>
                    <a:pt x="139" y="275"/>
                  </a:lnTo>
                  <a:lnTo>
                    <a:pt x="167" y="276"/>
                  </a:lnTo>
                  <a:lnTo>
                    <a:pt x="175" y="264"/>
                  </a:lnTo>
                  <a:lnTo>
                    <a:pt x="196" y="270"/>
                  </a:lnTo>
                  <a:lnTo>
                    <a:pt x="178" y="284"/>
                  </a:lnTo>
                  <a:lnTo>
                    <a:pt x="168" y="298"/>
                  </a:lnTo>
                  <a:lnTo>
                    <a:pt x="152" y="304"/>
                  </a:lnTo>
                  <a:lnTo>
                    <a:pt x="150" y="311"/>
                  </a:lnTo>
                  <a:lnTo>
                    <a:pt x="159" y="313"/>
                  </a:lnTo>
                  <a:lnTo>
                    <a:pt x="177" y="308"/>
                  </a:lnTo>
                  <a:lnTo>
                    <a:pt x="196" y="283"/>
                  </a:lnTo>
                  <a:lnTo>
                    <a:pt x="210" y="280"/>
                  </a:lnTo>
                  <a:lnTo>
                    <a:pt x="222" y="247"/>
                  </a:lnTo>
                  <a:lnTo>
                    <a:pt x="229" y="247"/>
                  </a:lnTo>
                  <a:lnTo>
                    <a:pt x="235" y="284"/>
                  </a:lnTo>
                  <a:lnTo>
                    <a:pt x="226" y="314"/>
                  </a:lnTo>
                  <a:lnTo>
                    <a:pt x="232" y="316"/>
                  </a:lnTo>
                  <a:lnTo>
                    <a:pt x="247" y="295"/>
                  </a:lnTo>
                  <a:lnTo>
                    <a:pt x="251" y="298"/>
                  </a:lnTo>
                  <a:lnTo>
                    <a:pt x="248" y="323"/>
                  </a:lnTo>
                  <a:lnTo>
                    <a:pt x="252" y="331"/>
                  </a:lnTo>
                  <a:lnTo>
                    <a:pt x="260" y="323"/>
                  </a:lnTo>
                  <a:lnTo>
                    <a:pt x="270" y="326"/>
                  </a:lnTo>
                  <a:lnTo>
                    <a:pt x="286" y="278"/>
                  </a:lnTo>
                  <a:lnTo>
                    <a:pt x="286" y="262"/>
                  </a:lnTo>
                  <a:lnTo>
                    <a:pt x="282" y="259"/>
                  </a:lnTo>
                  <a:lnTo>
                    <a:pt x="271" y="277"/>
                  </a:lnTo>
                  <a:lnTo>
                    <a:pt x="267" y="273"/>
                  </a:lnTo>
                  <a:lnTo>
                    <a:pt x="267" y="261"/>
                  </a:lnTo>
                  <a:lnTo>
                    <a:pt x="279" y="230"/>
                  </a:lnTo>
                  <a:lnTo>
                    <a:pt x="262" y="241"/>
                  </a:lnTo>
                  <a:lnTo>
                    <a:pt x="251" y="265"/>
                  </a:lnTo>
                  <a:lnTo>
                    <a:pt x="246" y="265"/>
                  </a:lnTo>
                  <a:lnTo>
                    <a:pt x="240" y="257"/>
                  </a:lnTo>
                  <a:lnTo>
                    <a:pt x="245" y="240"/>
                  </a:lnTo>
                  <a:lnTo>
                    <a:pt x="236" y="229"/>
                  </a:lnTo>
                  <a:lnTo>
                    <a:pt x="265" y="213"/>
                  </a:lnTo>
                  <a:lnTo>
                    <a:pt x="268" y="200"/>
                  </a:lnTo>
                  <a:lnTo>
                    <a:pt x="247" y="210"/>
                  </a:lnTo>
                  <a:lnTo>
                    <a:pt x="230" y="211"/>
                  </a:lnTo>
                  <a:lnTo>
                    <a:pt x="240" y="195"/>
                  </a:lnTo>
                  <a:lnTo>
                    <a:pt x="232" y="190"/>
                  </a:lnTo>
                  <a:lnTo>
                    <a:pt x="254" y="159"/>
                  </a:lnTo>
                  <a:close/>
                </a:path>
              </a:pathLst>
            </a:custGeom>
            <a:grpFill/>
            <a:ln w="6350">
              <a:solidFill>
                <a:schemeClr val="accent5"/>
              </a:solidFill>
              <a:round/>
              <a:headEnd/>
              <a:tailEnd/>
            </a:ln>
          </p:spPr>
          <p:txBody>
            <a:bodyPr/>
            <a:lstStyle/>
            <a:p>
              <a:endParaRPr lang="en-US"/>
            </a:p>
          </p:txBody>
        </p:sp>
        <p:sp>
          <p:nvSpPr>
            <p:cNvPr id="285" name="Freeform 1273"/>
            <p:cNvSpPr>
              <a:spLocks/>
            </p:cNvSpPr>
            <p:nvPr/>
          </p:nvSpPr>
          <p:spPr bwMode="auto">
            <a:xfrm>
              <a:off x="2783327" y="3311583"/>
              <a:ext cx="8600" cy="7642"/>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grpFill/>
            <a:ln w="6350">
              <a:solidFill>
                <a:schemeClr val="accent5"/>
              </a:solidFill>
              <a:round/>
              <a:headEnd/>
              <a:tailEnd/>
            </a:ln>
          </p:spPr>
          <p:txBody>
            <a:bodyPr/>
            <a:lstStyle/>
            <a:p>
              <a:endParaRPr lang="en-US"/>
            </a:p>
          </p:txBody>
        </p:sp>
        <p:sp>
          <p:nvSpPr>
            <p:cNvPr id="286" name="Freeform 1274"/>
            <p:cNvSpPr>
              <a:spLocks/>
            </p:cNvSpPr>
            <p:nvPr/>
          </p:nvSpPr>
          <p:spPr bwMode="auto">
            <a:xfrm>
              <a:off x="2786193" y="3325593"/>
              <a:ext cx="14334" cy="14011"/>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grpFill/>
            <a:ln w="6350">
              <a:solidFill>
                <a:schemeClr val="accent5"/>
              </a:solidFill>
              <a:round/>
              <a:headEnd/>
              <a:tailEnd/>
            </a:ln>
          </p:spPr>
          <p:txBody>
            <a:bodyPr/>
            <a:lstStyle/>
            <a:p>
              <a:endParaRPr lang="en-US"/>
            </a:p>
          </p:txBody>
        </p:sp>
        <p:sp>
          <p:nvSpPr>
            <p:cNvPr id="287" name="Freeform 1275"/>
            <p:cNvSpPr>
              <a:spLocks/>
            </p:cNvSpPr>
            <p:nvPr/>
          </p:nvSpPr>
          <p:spPr bwMode="auto">
            <a:xfrm>
              <a:off x="2791927" y="3317950"/>
              <a:ext cx="17201" cy="21653"/>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grpFill/>
            <a:ln w="6350">
              <a:solidFill>
                <a:schemeClr val="accent5"/>
              </a:solidFill>
              <a:round/>
              <a:headEnd/>
              <a:tailEnd/>
            </a:ln>
          </p:spPr>
          <p:txBody>
            <a:bodyPr/>
            <a:lstStyle/>
            <a:p>
              <a:endParaRPr lang="en-US"/>
            </a:p>
          </p:txBody>
        </p:sp>
        <p:sp>
          <p:nvSpPr>
            <p:cNvPr id="288" name="Freeform 1276"/>
            <p:cNvSpPr>
              <a:spLocks/>
            </p:cNvSpPr>
            <p:nvPr/>
          </p:nvSpPr>
          <p:spPr bwMode="auto">
            <a:xfrm>
              <a:off x="2813426" y="3349793"/>
              <a:ext cx="4300" cy="8915"/>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grpFill/>
            <a:ln w="6350">
              <a:solidFill>
                <a:schemeClr val="accent5"/>
              </a:solidFill>
              <a:round/>
              <a:headEnd/>
              <a:tailEnd/>
            </a:ln>
          </p:spPr>
          <p:txBody>
            <a:bodyPr/>
            <a:lstStyle/>
            <a:p>
              <a:endParaRPr lang="en-US"/>
            </a:p>
          </p:txBody>
        </p:sp>
        <p:sp>
          <p:nvSpPr>
            <p:cNvPr id="289" name="Freeform 1277"/>
            <p:cNvSpPr>
              <a:spLocks/>
            </p:cNvSpPr>
            <p:nvPr/>
          </p:nvSpPr>
          <p:spPr bwMode="auto">
            <a:xfrm>
              <a:off x="2832060" y="3407105"/>
              <a:ext cx="100334" cy="70051"/>
            </a:xfrm>
            <a:custGeom>
              <a:avLst/>
              <a:gdLst>
                <a:gd name="T0" fmla="*/ 2147483647 w 216"/>
                <a:gd name="T1" fmla="*/ 2147483647 h 167"/>
                <a:gd name="T2" fmla="*/ 2147483647 w 216"/>
                <a:gd name="T3" fmla="*/ 2147483647 h 167"/>
                <a:gd name="T4" fmla="*/ 2147483647 w 216"/>
                <a:gd name="T5" fmla="*/ 2147483647 h 167"/>
                <a:gd name="T6" fmla="*/ 2147483647 w 216"/>
                <a:gd name="T7" fmla="*/ 2147483647 h 167"/>
                <a:gd name="T8" fmla="*/ 0 w 216"/>
                <a:gd name="T9" fmla="*/ 2147483647 h 167"/>
                <a:gd name="T10" fmla="*/ 2147483647 w 216"/>
                <a:gd name="T11" fmla="*/ 2147483647 h 167"/>
                <a:gd name="T12" fmla="*/ 2147483647 w 216"/>
                <a:gd name="T13" fmla="*/ 0 h 167"/>
                <a:gd name="T14" fmla="*/ 2147483647 w 216"/>
                <a:gd name="T15" fmla="*/ 2147483647 h 167"/>
                <a:gd name="T16" fmla="*/ 2147483647 w 216"/>
                <a:gd name="T17" fmla="*/ 2147483647 h 167"/>
                <a:gd name="T18" fmla="*/ 2147483647 w 216"/>
                <a:gd name="T19" fmla="*/ 2147483647 h 167"/>
                <a:gd name="T20" fmla="*/ 2147483647 w 216"/>
                <a:gd name="T21" fmla="*/ 2147483647 h 167"/>
                <a:gd name="T22" fmla="*/ 2147483647 w 216"/>
                <a:gd name="T23" fmla="*/ 2147483647 h 167"/>
                <a:gd name="T24" fmla="*/ 2147483647 w 216"/>
                <a:gd name="T25" fmla="*/ 2147483647 h 167"/>
                <a:gd name="T26" fmla="*/ 2147483647 w 216"/>
                <a:gd name="T27" fmla="*/ 2147483647 h 167"/>
                <a:gd name="T28" fmla="*/ 2147483647 w 216"/>
                <a:gd name="T29" fmla="*/ 2147483647 h 167"/>
                <a:gd name="T30" fmla="*/ 2147483647 w 216"/>
                <a:gd name="T31" fmla="*/ 2147483647 h 167"/>
                <a:gd name="T32" fmla="*/ 2147483647 w 216"/>
                <a:gd name="T33" fmla="*/ 2147483647 h 167"/>
                <a:gd name="T34" fmla="*/ 2147483647 w 216"/>
                <a:gd name="T35" fmla="*/ 2147483647 h 167"/>
                <a:gd name="T36" fmla="*/ 2147483647 w 216"/>
                <a:gd name="T37" fmla="*/ 2147483647 h 167"/>
                <a:gd name="T38" fmla="*/ 2147483647 w 216"/>
                <a:gd name="T39" fmla="*/ 2147483647 h 167"/>
                <a:gd name="T40" fmla="*/ 2147483647 w 216"/>
                <a:gd name="T41" fmla="*/ 2147483647 h 167"/>
                <a:gd name="T42" fmla="*/ 2147483647 w 216"/>
                <a:gd name="T43" fmla="*/ 2147483647 h 167"/>
                <a:gd name="T44" fmla="*/ 2147483647 w 216"/>
                <a:gd name="T45" fmla="*/ 2147483647 h 167"/>
                <a:gd name="T46" fmla="*/ 2147483647 w 216"/>
                <a:gd name="T47" fmla="*/ 2147483647 h 167"/>
                <a:gd name="T48" fmla="*/ 2147483647 w 216"/>
                <a:gd name="T49" fmla="*/ 2147483647 h 167"/>
                <a:gd name="T50" fmla="*/ 2147483647 w 216"/>
                <a:gd name="T51" fmla="*/ 2147483647 h 167"/>
                <a:gd name="T52" fmla="*/ 2147483647 w 216"/>
                <a:gd name="T53" fmla="*/ 2147483647 h 167"/>
                <a:gd name="T54" fmla="*/ 2147483647 w 216"/>
                <a:gd name="T55" fmla="*/ 2147483647 h 167"/>
                <a:gd name="T56" fmla="*/ 2147483647 w 216"/>
                <a:gd name="T57" fmla="*/ 2147483647 h 167"/>
                <a:gd name="T58" fmla="*/ 2147483647 w 216"/>
                <a:gd name="T59" fmla="*/ 2147483647 h 167"/>
                <a:gd name="T60" fmla="*/ 2147483647 w 216"/>
                <a:gd name="T61" fmla="*/ 2147483647 h 167"/>
                <a:gd name="T62" fmla="*/ 2147483647 w 216"/>
                <a:gd name="T63" fmla="*/ 2147483647 h 167"/>
                <a:gd name="T64" fmla="*/ 2147483647 w 216"/>
                <a:gd name="T65" fmla="*/ 2147483647 h 167"/>
                <a:gd name="T66" fmla="*/ 2147483647 w 216"/>
                <a:gd name="T67" fmla="*/ 2147483647 h 167"/>
                <a:gd name="T68" fmla="*/ 2147483647 w 216"/>
                <a:gd name="T69" fmla="*/ 2147483647 h 167"/>
                <a:gd name="T70" fmla="*/ 2147483647 w 216"/>
                <a:gd name="T71" fmla="*/ 2147483647 h 167"/>
                <a:gd name="T72" fmla="*/ 2147483647 w 216"/>
                <a:gd name="T73" fmla="*/ 2147483647 h 167"/>
                <a:gd name="T74" fmla="*/ 2147483647 w 216"/>
                <a:gd name="T75" fmla="*/ 2147483647 h 167"/>
                <a:gd name="T76" fmla="*/ 2147483647 w 216"/>
                <a:gd name="T77" fmla="*/ 2147483647 h 167"/>
                <a:gd name="T78" fmla="*/ 2147483647 w 216"/>
                <a:gd name="T79" fmla="*/ 2147483647 h 167"/>
                <a:gd name="T80" fmla="*/ 2147483647 w 216"/>
                <a:gd name="T81" fmla="*/ 2147483647 h 1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
                <a:gd name="T124" fmla="*/ 0 h 167"/>
                <a:gd name="T125" fmla="*/ 216 w 216"/>
                <a:gd name="T126" fmla="*/ 167 h 1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 h="167">
                  <a:moveTo>
                    <a:pt x="36" y="31"/>
                  </a:moveTo>
                  <a:lnTo>
                    <a:pt x="36" y="16"/>
                  </a:lnTo>
                  <a:lnTo>
                    <a:pt x="15" y="10"/>
                  </a:lnTo>
                  <a:lnTo>
                    <a:pt x="10" y="20"/>
                  </a:lnTo>
                  <a:lnTo>
                    <a:pt x="0" y="13"/>
                  </a:lnTo>
                  <a:lnTo>
                    <a:pt x="1" y="4"/>
                  </a:lnTo>
                  <a:lnTo>
                    <a:pt x="14" y="0"/>
                  </a:lnTo>
                  <a:lnTo>
                    <a:pt x="116" y="35"/>
                  </a:lnTo>
                  <a:lnTo>
                    <a:pt x="148" y="76"/>
                  </a:lnTo>
                  <a:lnTo>
                    <a:pt x="152" y="89"/>
                  </a:lnTo>
                  <a:lnTo>
                    <a:pt x="195" y="117"/>
                  </a:lnTo>
                  <a:lnTo>
                    <a:pt x="207" y="148"/>
                  </a:lnTo>
                  <a:lnTo>
                    <a:pt x="211" y="147"/>
                  </a:lnTo>
                  <a:lnTo>
                    <a:pt x="216" y="157"/>
                  </a:lnTo>
                  <a:lnTo>
                    <a:pt x="201" y="167"/>
                  </a:lnTo>
                  <a:lnTo>
                    <a:pt x="154" y="148"/>
                  </a:lnTo>
                  <a:lnTo>
                    <a:pt x="159" y="136"/>
                  </a:lnTo>
                  <a:lnTo>
                    <a:pt x="150" y="144"/>
                  </a:lnTo>
                  <a:lnTo>
                    <a:pt x="141" y="134"/>
                  </a:lnTo>
                  <a:lnTo>
                    <a:pt x="149" y="123"/>
                  </a:lnTo>
                  <a:lnTo>
                    <a:pt x="120" y="125"/>
                  </a:lnTo>
                  <a:lnTo>
                    <a:pt x="112" y="119"/>
                  </a:lnTo>
                  <a:lnTo>
                    <a:pt x="123" y="118"/>
                  </a:lnTo>
                  <a:lnTo>
                    <a:pt x="112" y="105"/>
                  </a:lnTo>
                  <a:lnTo>
                    <a:pt x="82" y="96"/>
                  </a:lnTo>
                  <a:lnTo>
                    <a:pt x="79" y="87"/>
                  </a:lnTo>
                  <a:lnTo>
                    <a:pt x="101" y="81"/>
                  </a:lnTo>
                  <a:lnTo>
                    <a:pt x="86" y="79"/>
                  </a:lnTo>
                  <a:lnTo>
                    <a:pt x="83" y="72"/>
                  </a:lnTo>
                  <a:lnTo>
                    <a:pt x="78" y="76"/>
                  </a:lnTo>
                  <a:lnTo>
                    <a:pt x="62" y="61"/>
                  </a:lnTo>
                  <a:lnTo>
                    <a:pt x="56" y="66"/>
                  </a:lnTo>
                  <a:lnTo>
                    <a:pt x="51" y="61"/>
                  </a:lnTo>
                  <a:lnTo>
                    <a:pt x="54" y="49"/>
                  </a:lnTo>
                  <a:lnTo>
                    <a:pt x="46" y="46"/>
                  </a:lnTo>
                  <a:lnTo>
                    <a:pt x="44" y="54"/>
                  </a:lnTo>
                  <a:lnTo>
                    <a:pt x="38" y="45"/>
                  </a:lnTo>
                  <a:lnTo>
                    <a:pt x="23" y="49"/>
                  </a:lnTo>
                  <a:lnTo>
                    <a:pt x="24" y="36"/>
                  </a:lnTo>
                  <a:lnTo>
                    <a:pt x="19" y="28"/>
                  </a:lnTo>
                  <a:lnTo>
                    <a:pt x="36" y="31"/>
                  </a:lnTo>
                  <a:close/>
                </a:path>
              </a:pathLst>
            </a:custGeom>
            <a:grpFill/>
            <a:ln w="6350">
              <a:solidFill>
                <a:schemeClr val="accent5"/>
              </a:solidFill>
              <a:round/>
              <a:headEnd/>
              <a:tailEnd/>
            </a:ln>
          </p:spPr>
          <p:txBody>
            <a:bodyPr/>
            <a:lstStyle/>
            <a:p>
              <a:endParaRPr lang="en-US"/>
            </a:p>
          </p:txBody>
        </p:sp>
        <p:sp>
          <p:nvSpPr>
            <p:cNvPr id="292" name="Freeform 1280"/>
            <p:cNvSpPr>
              <a:spLocks/>
            </p:cNvSpPr>
            <p:nvPr/>
          </p:nvSpPr>
          <p:spPr bwMode="auto">
            <a:xfrm>
              <a:off x="2682994" y="3203320"/>
              <a:ext cx="20066" cy="42031"/>
            </a:xfrm>
            <a:custGeom>
              <a:avLst/>
              <a:gdLst>
                <a:gd name="T0" fmla="*/ 2147483647 w 41"/>
                <a:gd name="T1" fmla="*/ 2147483647 h 103"/>
                <a:gd name="T2" fmla="*/ 2147483647 w 41"/>
                <a:gd name="T3" fmla="*/ 2147483647 h 103"/>
                <a:gd name="T4" fmla="*/ 2147483647 w 41"/>
                <a:gd name="T5" fmla="*/ 2147483647 h 103"/>
                <a:gd name="T6" fmla="*/ 2147483647 w 41"/>
                <a:gd name="T7" fmla="*/ 2147483647 h 103"/>
                <a:gd name="T8" fmla="*/ 2147483647 w 41"/>
                <a:gd name="T9" fmla="*/ 2147483647 h 103"/>
                <a:gd name="T10" fmla="*/ 2147483647 w 41"/>
                <a:gd name="T11" fmla="*/ 2147483647 h 103"/>
                <a:gd name="T12" fmla="*/ 2147483647 w 41"/>
                <a:gd name="T13" fmla="*/ 2147483647 h 103"/>
                <a:gd name="T14" fmla="*/ 2147483647 w 41"/>
                <a:gd name="T15" fmla="*/ 2147483647 h 103"/>
                <a:gd name="T16" fmla="*/ 2147483647 w 41"/>
                <a:gd name="T17" fmla="*/ 2147483647 h 103"/>
                <a:gd name="T18" fmla="*/ 0 w 41"/>
                <a:gd name="T19" fmla="*/ 2147483647 h 103"/>
                <a:gd name="T20" fmla="*/ 2147483647 w 41"/>
                <a:gd name="T21" fmla="*/ 0 h 103"/>
                <a:gd name="T22" fmla="*/ 2147483647 w 41"/>
                <a:gd name="T23" fmla="*/ 2147483647 h 10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103"/>
                <a:gd name="T38" fmla="*/ 41 w 41"/>
                <a:gd name="T39" fmla="*/ 103 h 10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103">
                  <a:moveTo>
                    <a:pt x="31" y="20"/>
                  </a:moveTo>
                  <a:lnTo>
                    <a:pt x="41" y="74"/>
                  </a:lnTo>
                  <a:lnTo>
                    <a:pt x="38" y="103"/>
                  </a:lnTo>
                  <a:lnTo>
                    <a:pt x="34" y="103"/>
                  </a:lnTo>
                  <a:lnTo>
                    <a:pt x="26" y="75"/>
                  </a:lnTo>
                  <a:lnTo>
                    <a:pt x="32" y="54"/>
                  </a:lnTo>
                  <a:lnTo>
                    <a:pt x="24" y="65"/>
                  </a:lnTo>
                  <a:lnTo>
                    <a:pt x="12" y="50"/>
                  </a:lnTo>
                  <a:lnTo>
                    <a:pt x="17" y="35"/>
                  </a:lnTo>
                  <a:lnTo>
                    <a:pt x="0" y="14"/>
                  </a:lnTo>
                  <a:lnTo>
                    <a:pt x="7" y="0"/>
                  </a:lnTo>
                  <a:lnTo>
                    <a:pt x="31" y="20"/>
                  </a:lnTo>
                  <a:close/>
                </a:path>
              </a:pathLst>
            </a:custGeom>
            <a:grpFill/>
            <a:ln w="6350">
              <a:solidFill>
                <a:schemeClr val="accent5"/>
              </a:solidFill>
              <a:round/>
              <a:headEnd/>
              <a:tailEnd/>
            </a:ln>
          </p:spPr>
          <p:txBody>
            <a:bodyPr/>
            <a:lstStyle/>
            <a:p>
              <a:endParaRPr lang="en-US"/>
            </a:p>
          </p:txBody>
        </p:sp>
        <p:sp>
          <p:nvSpPr>
            <p:cNvPr id="293" name="Freeform 1281"/>
            <p:cNvSpPr>
              <a:spLocks/>
            </p:cNvSpPr>
            <p:nvPr/>
          </p:nvSpPr>
          <p:spPr bwMode="auto">
            <a:xfrm>
              <a:off x="2700192" y="3180397"/>
              <a:ext cx="18633" cy="38210"/>
            </a:xfrm>
            <a:custGeom>
              <a:avLst/>
              <a:gdLst>
                <a:gd name="T0" fmla="*/ 2147483647 w 42"/>
                <a:gd name="T1" fmla="*/ 2147483647 h 88"/>
                <a:gd name="T2" fmla="*/ 0 w 42"/>
                <a:gd name="T3" fmla="*/ 2147483647 h 88"/>
                <a:gd name="T4" fmla="*/ 2147483647 w 42"/>
                <a:gd name="T5" fmla="*/ 2147483647 h 88"/>
                <a:gd name="T6" fmla="*/ 2147483647 w 42"/>
                <a:gd name="T7" fmla="*/ 0 h 88"/>
                <a:gd name="T8" fmla="*/ 2147483647 w 42"/>
                <a:gd name="T9" fmla="*/ 2147483647 h 88"/>
                <a:gd name="T10" fmla="*/ 2147483647 w 42"/>
                <a:gd name="T11" fmla="*/ 2147483647 h 88"/>
                <a:gd name="T12" fmla="*/ 2147483647 w 42"/>
                <a:gd name="T13" fmla="*/ 2147483647 h 88"/>
                <a:gd name="T14" fmla="*/ 2147483647 w 42"/>
                <a:gd name="T15" fmla="*/ 2147483647 h 88"/>
                <a:gd name="T16" fmla="*/ 2147483647 w 42"/>
                <a:gd name="T17" fmla="*/ 2147483647 h 88"/>
                <a:gd name="T18" fmla="*/ 2147483647 w 42"/>
                <a:gd name="T19" fmla="*/ 2147483647 h 88"/>
                <a:gd name="T20" fmla="*/ 2147483647 w 42"/>
                <a:gd name="T21" fmla="*/ 2147483647 h 88"/>
                <a:gd name="T22" fmla="*/ 2147483647 w 42"/>
                <a:gd name="T23" fmla="*/ 2147483647 h 88"/>
                <a:gd name="T24" fmla="*/ 2147483647 w 42"/>
                <a:gd name="T25" fmla="*/ 2147483647 h 88"/>
                <a:gd name="T26" fmla="*/ 2147483647 w 42"/>
                <a:gd name="T27" fmla="*/ 2147483647 h 88"/>
                <a:gd name="T28" fmla="*/ 2147483647 w 42"/>
                <a:gd name="T29" fmla="*/ 2147483647 h 88"/>
                <a:gd name="T30" fmla="*/ 2147483647 w 42"/>
                <a:gd name="T31" fmla="*/ 2147483647 h 88"/>
                <a:gd name="T32" fmla="*/ 2147483647 w 42"/>
                <a:gd name="T33" fmla="*/ 2147483647 h 88"/>
                <a:gd name="T34" fmla="*/ 2147483647 w 42"/>
                <a:gd name="T35" fmla="*/ 2147483647 h 88"/>
                <a:gd name="T36" fmla="*/ 2147483647 w 42"/>
                <a:gd name="T37" fmla="*/ 2147483647 h 88"/>
                <a:gd name="T38" fmla="*/ 2147483647 w 42"/>
                <a:gd name="T39" fmla="*/ 2147483647 h 88"/>
                <a:gd name="T40" fmla="*/ 2147483647 w 42"/>
                <a:gd name="T41" fmla="*/ 2147483647 h 88"/>
                <a:gd name="T42" fmla="*/ 2147483647 w 42"/>
                <a:gd name="T43" fmla="*/ 2147483647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88"/>
                <a:gd name="T68" fmla="*/ 42 w 42"/>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88">
                  <a:moveTo>
                    <a:pt x="8" y="46"/>
                  </a:moveTo>
                  <a:lnTo>
                    <a:pt x="0" y="10"/>
                  </a:lnTo>
                  <a:lnTo>
                    <a:pt x="3" y="1"/>
                  </a:lnTo>
                  <a:lnTo>
                    <a:pt x="17" y="0"/>
                  </a:lnTo>
                  <a:lnTo>
                    <a:pt x="23" y="2"/>
                  </a:lnTo>
                  <a:lnTo>
                    <a:pt x="36" y="23"/>
                  </a:lnTo>
                  <a:lnTo>
                    <a:pt x="42" y="48"/>
                  </a:lnTo>
                  <a:lnTo>
                    <a:pt x="22" y="9"/>
                  </a:lnTo>
                  <a:lnTo>
                    <a:pt x="22" y="26"/>
                  </a:lnTo>
                  <a:lnTo>
                    <a:pt x="38" y="53"/>
                  </a:lnTo>
                  <a:lnTo>
                    <a:pt x="31" y="56"/>
                  </a:lnTo>
                  <a:lnTo>
                    <a:pt x="37" y="66"/>
                  </a:lnTo>
                  <a:lnTo>
                    <a:pt x="27" y="63"/>
                  </a:lnTo>
                  <a:lnTo>
                    <a:pt x="26" y="77"/>
                  </a:lnTo>
                  <a:lnTo>
                    <a:pt x="22" y="72"/>
                  </a:lnTo>
                  <a:lnTo>
                    <a:pt x="11" y="88"/>
                  </a:lnTo>
                  <a:lnTo>
                    <a:pt x="7" y="84"/>
                  </a:lnTo>
                  <a:lnTo>
                    <a:pt x="9" y="66"/>
                  </a:lnTo>
                  <a:lnTo>
                    <a:pt x="18" y="62"/>
                  </a:lnTo>
                  <a:lnTo>
                    <a:pt x="11" y="55"/>
                  </a:lnTo>
                  <a:lnTo>
                    <a:pt x="19" y="48"/>
                  </a:lnTo>
                  <a:lnTo>
                    <a:pt x="8" y="46"/>
                  </a:lnTo>
                  <a:close/>
                </a:path>
              </a:pathLst>
            </a:custGeom>
            <a:grpFill/>
            <a:ln w="6350">
              <a:solidFill>
                <a:schemeClr val="accent5"/>
              </a:solidFill>
              <a:round/>
              <a:headEnd/>
              <a:tailEnd/>
            </a:ln>
          </p:spPr>
          <p:txBody>
            <a:bodyPr/>
            <a:lstStyle/>
            <a:p>
              <a:endParaRPr lang="en-US"/>
            </a:p>
          </p:txBody>
        </p:sp>
        <p:sp>
          <p:nvSpPr>
            <p:cNvPr id="294" name="Freeform 1282"/>
            <p:cNvSpPr>
              <a:spLocks/>
            </p:cNvSpPr>
            <p:nvPr/>
          </p:nvSpPr>
          <p:spPr bwMode="auto">
            <a:xfrm>
              <a:off x="2707359" y="3223701"/>
              <a:ext cx="14334" cy="24200"/>
            </a:xfrm>
            <a:custGeom>
              <a:avLst/>
              <a:gdLst>
                <a:gd name="T0" fmla="*/ 2147483647 w 27"/>
                <a:gd name="T1" fmla="*/ 2147483647 h 62"/>
                <a:gd name="T2" fmla="*/ 0 w 27"/>
                <a:gd name="T3" fmla="*/ 2147483647 h 62"/>
                <a:gd name="T4" fmla="*/ 2147483647 w 27"/>
                <a:gd name="T5" fmla="*/ 2147483647 h 62"/>
                <a:gd name="T6" fmla="*/ 2147483647 w 27"/>
                <a:gd name="T7" fmla="*/ 0 h 62"/>
                <a:gd name="T8" fmla="*/ 2147483647 w 27"/>
                <a:gd name="T9" fmla="*/ 2147483647 h 62"/>
                <a:gd name="T10" fmla="*/ 2147483647 w 27"/>
                <a:gd name="T11" fmla="*/ 2147483647 h 62"/>
                <a:gd name="T12" fmla="*/ 2147483647 w 27"/>
                <a:gd name="T13" fmla="*/ 2147483647 h 62"/>
                <a:gd name="T14" fmla="*/ 2147483647 w 27"/>
                <a:gd name="T15" fmla="*/ 2147483647 h 62"/>
                <a:gd name="T16" fmla="*/ 2147483647 w 27"/>
                <a:gd name="T17" fmla="*/ 2147483647 h 62"/>
                <a:gd name="T18" fmla="*/ 2147483647 w 27"/>
                <a:gd name="T19" fmla="*/ 2147483647 h 62"/>
                <a:gd name="T20" fmla="*/ 2147483647 w 27"/>
                <a:gd name="T21" fmla="*/ 2147483647 h 62"/>
                <a:gd name="T22" fmla="*/ 2147483647 w 27"/>
                <a:gd name="T23" fmla="*/ 2147483647 h 62"/>
                <a:gd name="T24" fmla="*/ 2147483647 w 27"/>
                <a:gd name="T25" fmla="*/ 2147483647 h 62"/>
                <a:gd name="T26" fmla="*/ 2147483647 w 27"/>
                <a:gd name="T27" fmla="*/ 2147483647 h 62"/>
                <a:gd name="T28" fmla="*/ 2147483647 w 27"/>
                <a:gd name="T29" fmla="*/ 2147483647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62"/>
                <a:gd name="T47" fmla="*/ 27 w 27"/>
                <a:gd name="T48" fmla="*/ 62 h 6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62">
                  <a:moveTo>
                    <a:pt x="10" y="22"/>
                  </a:moveTo>
                  <a:lnTo>
                    <a:pt x="0" y="14"/>
                  </a:lnTo>
                  <a:lnTo>
                    <a:pt x="1" y="4"/>
                  </a:lnTo>
                  <a:lnTo>
                    <a:pt x="9" y="0"/>
                  </a:lnTo>
                  <a:lnTo>
                    <a:pt x="18" y="11"/>
                  </a:lnTo>
                  <a:lnTo>
                    <a:pt x="25" y="9"/>
                  </a:lnTo>
                  <a:lnTo>
                    <a:pt x="27" y="22"/>
                  </a:lnTo>
                  <a:lnTo>
                    <a:pt x="19" y="22"/>
                  </a:lnTo>
                  <a:lnTo>
                    <a:pt x="20" y="62"/>
                  </a:lnTo>
                  <a:lnTo>
                    <a:pt x="17" y="51"/>
                  </a:lnTo>
                  <a:lnTo>
                    <a:pt x="9" y="50"/>
                  </a:lnTo>
                  <a:lnTo>
                    <a:pt x="7" y="37"/>
                  </a:lnTo>
                  <a:lnTo>
                    <a:pt x="17" y="30"/>
                  </a:lnTo>
                  <a:lnTo>
                    <a:pt x="7" y="25"/>
                  </a:lnTo>
                  <a:lnTo>
                    <a:pt x="10" y="22"/>
                  </a:lnTo>
                  <a:close/>
                </a:path>
              </a:pathLst>
            </a:custGeom>
            <a:grpFill/>
            <a:ln w="6350">
              <a:solidFill>
                <a:schemeClr val="accent5"/>
              </a:solidFill>
              <a:round/>
              <a:headEnd/>
              <a:tailEnd/>
            </a:ln>
          </p:spPr>
          <p:txBody>
            <a:bodyPr/>
            <a:lstStyle/>
            <a:p>
              <a:endParaRPr lang="en-US"/>
            </a:p>
          </p:txBody>
        </p:sp>
        <p:sp>
          <p:nvSpPr>
            <p:cNvPr id="295" name="Freeform 1283"/>
            <p:cNvSpPr>
              <a:spLocks/>
            </p:cNvSpPr>
            <p:nvPr/>
          </p:nvSpPr>
          <p:spPr bwMode="auto">
            <a:xfrm>
              <a:off x="2715959" y="3217334"/>
              <a:ext cx="20066" cy="20378"/>
            </a:xfrm>
            <a:custGeom>
              <a:avLst/>
              <a:gdLst>
                <a:gd name="T0" fmla="*/ 0 w 42"/>
                <a:gd name="T1" fmla="*/ 2147483647 h 51"/>
                <a:gd name="T2" fmla="*/ 2147483647 w 42"/>
                <a:gd name="T3" fmla="*/ 0 h 51"/>
                <a:gd name="T4" fmla="*/ 2147483647 w 42"/>
                <a:gd name="T5" fmla="*/ 2147483647 h 51"/>
                <a:gd name="T6" fmla="*/ 2147483647 w 42"/>
                <a:gd name="T7" fmla="*/ 2147483647 h 51"/>
                <a:gd name="T8" fmla="*/ 2147483647 w 42"/>
                <a:gd name="T9" fmla="*/ 2147483647 h 51"/>
                <a:gd name="T10" fmla="*/ 2147483647 w 42"/>
                <a:gd name="T11" fmla="*/ 2147483647 h 51"/>
                <a:gd name="T12" fmla="*/ 2147483647 w 42"/>
                <a:gd name="T13" fmla="*/ 2147483647 h 51"/>
                <a:gd name="T14" fmla="*/ 2147483647 w 42"/>
                <a:gd name="T15" fmla="*/ 2147483647 h 51"/>
                <a:gd name="T16" fmla="*/ 2147483647 w 42"/>
                <a:gd name="T17" fmla="*/ 2147483647 h 51"/>
                <a:gd name="T18" fmla="*/ 0 w 42"/>
                <a:gd name="T19" fmla="*/ 2147483647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51"/>
                <a:gd name="T32" fmla="*/ 42 w 42"/>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51">
                  <a:moveTo>
                    <a:pt x="0" y="4"/>
                  </a:moveTo>
                  <a:lnTo>
                    <a:pt x="3" y="0"/>
                  </a:lnTo>
                  <a:lnTo>
                    <a:pt x="38" y="9"/>
                  </a:lnTo>
                  <a:lnTo>
                    <a:pt x="42" y="36"/>
                  </a:lnTo>
                  <a:lnTo>
                    <a:pt x="28" y="21"/>
                  </a:lnTo>
                  <a:lnTo>
                    <a:pt x="36" y="49"/>
                  </a:lnTo>
                  <a:lnTo>
                    <a:pt x="19" y="51"/>
                  </a:lnTo>
                  <a:lnTo>
                    <a:pt x="13" y="18"/>
                  </a:lnTo>
                  <a:lnTo>
                    <a:pt x="6" y="16"/>
                  </a:lnTo>
                  <a:lnTo>
                    <a:pt x="0" y="4"/>
                  </a:lnTo>
                  <a:close/>
                </a:path>
              </a:pathLst>
            </a:custGeom>
            <a:grpFill/>
            <a:ln w="6350">
              <a:solidFill>
                <a:schemeClr val="accent5"/>
              </a:solidFill>
              <a:round/>
              <a:headEnd/>
              <a:tailEnd/>
            </a:ln>
          </p:spPr>
          <p:txBody>
            <a:bodyPr/>
            <a:lstStyle/>
            <a:p>
              <a:endParaRPr lang="en-US"/>
            </a:p>
          </p:txBody>
        </p:sp>
        <p:sp>
          <p:nvSpPr>
            <p:cNvPr id="296" name="Freeform 1284"/>
            <p:cNvSpPr>
              <a:spLocks/>
            </p:cNvSpPr>
            <p:nvPr/>
          </p:nvSpPr>
          <p:spPr bwMode="auto">
            <a:xfrm>
              <a:off x="2737459" y="3226248"/>
              <a:ext cx="5734" cy="8916"/>
            </a:xfrm>
            <a:custGeom>
              <a:avLst/>
              <a:gdLst>
                <a:gd name="T0" fmla="*/ 2147483647 w 12"/>
                <a:gd name="T1" fmla="*/ 2147483647 h 20"/>
                <a:gd name="T2" fmla="*/ 2147483647 w 12"/>
                <a:gd name="T3" fmla="*/ 2147483647 h 20"/>
                <a:gd name="T4" fmla="*/ 2147483647 w 12"/>
                <a:gd name="T5" fmla="*/ 2147483647 h 20"/>
                <a:gd name="T6" fmla="*/ 0 w 12"/>
                <a:gd name="T7" fmla="*/ 0 h 20"/>
                <a:gd name="T8" fmla="*/ 2147483647 w 12"/>
                <a:gd name="T9" fmla="*/ 2147483647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3" y="2"/>
                  </a:moveTo>
                  <a:lnTo>
                    <a:pt x="12" y="20"/>
                  </a:lnTo>
                  <a:lnTo>
                    <a:pt x="1" y="19"/>
                  </a:lnTo>
                  <a:lnTo>
                    <a:pt x="0" y="0"/>
                  </a:lnTo>
                  <a:lnTo>
                    <a:pt x="3" y="2"/>
                  </a:lnTo>
                  <a:close/>
                </a:path>
              </a:pathLst>
            </a:custGeom>
            <a:grpFill/>
            <a:ln w="6350">
              <a:solidFill>
                <a:schemeClr val="accent5"/>
              </a:solidFill>
              <a:round/>
              <a:headEnd/>
              <a:tailEnd/>
            </a:ln>
          </p:spPr>
          <p:txBody>
            <a:bodyPr/>
            <a:lstStyle/>
            <a:p>
              <a:endParaRPr lang="en-US"/>
            </a:p>
          </p:txBody>
        </p:sp>
        <p:sp>
          <p:nvSpPr>
            <p:cNvPr id="297" name="Freeform 1285"/>
            <p:cNvSpPr>
              <a:spLocks/>
            </p:cNvSpPr>
            <p:nvPr/>
          </p:nvSpPr>
          <p:spPr bwMode="auto">
            <a:xfrm>
              <a:off x="2734593" y="3238986"/>
              <a:ext cx="8600" cy="3821"/>
            </a:xfrm>
            <a:custGeom>
              <a:avLst/>
              <a:gdLst>
                <a:gd name="T0" fmla="*/ 2147483647 w 15"/>
                <a:gd name="T1" fmla="*/ 0 h 11"/>
                <a:gd name="T2" fmla="*/ 2147483647 w 15"/>
                <a:gd name="T3" fmla="*/ 2147483647 h 11"/>
                <a:gd name="T4" fmla="*/ 2147483647 w 15"/>
                <a:gd name="T5" fmla="*/ 2147483647 h 11"/>
                <a:gd name="T6" fmla="*/ 0 w 15"/>
                <a:gd name="T7" fmla="*/ 2147483647 h 11"/>
                <a:gd name="T8" fmla="*/ 2147483647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13" y="0"/>
                  </a:moveTo>
                  <a:lnTo>
                    <a:pt x="15" y="9"/>
                  </a:lnTo>
                  <a:lnTo>
                    <a:pt x="12" y="11"/>
                  </a:lnTo>
                  <a:lnTo>
                    <a:pt x="0" y="3"/>
                  </a:lnTo>
                  <a:lnTo>
                    <a:pt x="13" y="0"/>
                  </a:lnTo>
                  <a:close/>
                </a:path>
              </a:pathLst>
            </a:custGeom>
            <a:grpFill/>
            <a:ln w="6350">
              <a:solidFill>
                <a:schemeClr val="accent5"/>
              </a:solidFill>
              <a:round/>
              <a:headEnd/>
              <a:tailEnd/>
            </a:ln>
          </p:spPr>
          <p:txBody>
            <a:bodyPr/>
            <a:lstStyle/>
            <a:p>
              <a:endParaRPr lang="en-US"/>
            </a:p>
          </p:txBody>
        </p:sp>
        <p:sp>
          <p:nvSpPr>
            <p:cNvPr id="298" name="Freeform 1287"/>
            <p:cNvSpPr>
              <a:spLocks/>
            </p:cNvSpPr>
            <p:nvPr/>
          </p:nvSpPr>
          <p:spPr bwMode="auto">
            <a:xfrm>
              <a:off x="2720259" y="3240261"/>
              <a:ext cx="37267" cy="53493"/>
            </a:xfrm>
            <a:custGeom>
              <a:avLst/>
              <a:gdLst>
                <a:gd name="T0" fmla="*/ 2147483647 w 76"/>
                <a:gd name="T1" fmla="*/ 2147483647 h 125"/>
                <a:gd name="T2" fmla="*/ 2147483647 w 76"/>
                <a:gd name="T3" fmla="*/ 2147483647 h 125"/>
                <a:gd name="T4" fmla="*/ 2147483647 w 76"/>
                <a:gd name="T5" fmla="*/ 2147483647 h 125"/>
                <a:gd name="T6" fmla="*/ 2147483647 w 76"/>
                <a:gd name="T7" fmla="*/ 2147483647 h 125"/>
                <a:gd name="T8" fmla="*/ 2147483647 w 76"/>
                <a:gd name="T9" fmla="*/ 2147483647 h 125"/>
                <a:gd name="T10" fmla="*/ 2147483647 w 76"/>
                <a:gd name="T11" fmla="*/ 2147483647 h 125"/>
                <a:gd name="T12" fmla="*/ 2147483647 w 76"/>
                <a:gd name="T13" fmla="*/ 2147483647 h 125"/>
                <a:gd name="T14" fmla="*/ 2147483647 w 76"/>
                <a:gd name="T15" fmla="*/ 2147483647 h 125"/>
                <a:gd name="T16" fmla="*/ 2147483647 w 76"/>
                <a:gd name="T17" fmla="*/ 2147483647 h 125"/>
                <a:gd name="T18" fmla="*/ 2147483647 w 76"/>
                <a:gd name="T19" fmla="*/ 2147483647 h 125"/>
                <a:gd name="T20" fmla="*/ 2147483647 w 76"/>
                <a:gd name="T21" fmla="*/ 2147483647 h 125"/>
                <a:gd name="T22" fmla="*/ 2147483647 w 76"/>
                <a:gd name="T23" fmla="*/ 2147483647 h 125"/>
                <a:gd name="T24" fmla="*/ 2147483647 w 76"/>
                <a:gd name="T25" fmla="*/ 2147483647 h 125"/>
                <a:gd name="T26" fmla="*/ 2147483647 w 76"/>
                <a:gd name="T27" fmla="*/ 2147483647 h 125"/>
                <a:gd name="T28" fmla="*/ 2147483647 w 76"/>
                <a:gd name="T29" fmla="*/ 2147483647 h 125"/>
                <a:gd name="T30" fmla="*/ 2147483647 w 76"/>
                <a:gd name="T31" fmla="*/ 2147483647 h 125"/>
                <a:gd name="T32" fmla="*/ 2147483647 w 76"/>
                <a:gd name="T33" fmla="*/ 2147483647 h 125"/>
                <a:gd name="T34" fmla="*/ 2147483647 w 76"/>
                <a:gd name="T35" fmla="*/ 2147483647 h 125"/>
                <a:gd name="T36" fmla="*/ 2147483647 w 76"/>
                <a:gd name="T37" fmla="*/ 2147483647 h 125"/>
                <a:gd name="T38" fmla="*/ 2147483647 w 76"/>
                <a:gd name="T39" fmla="*/ 2147483647 h 125"/>
                <a:gd name="T40" fmla="*/ 2147483647 w 76"/>
                <a:gd name="T41" fmla="*/ 2147483647 h 125"/>
                <a:gd name="T42" fmla="*/ 0 w 76"/>
                <a:gd name="T43" fmla="*/ 2147483647 h 125"/>
                <a:gd name="T44" fmla="*/ 2147483647 w 76"/>
                <a:gd name="T45" fmla="*/ 2147483647 h 125"/>
                <a:gd name="T46" fmla="*/ 2147483647 w 76"/>
                <a:gd name="T47" fmla="*/ 0 h 125"/>
                <a:gd name="T48" fmla="*/ 2147483647 w 76"/>
                <a:gd name="T49" fmla="*/ 2147483647 h 125"/>
                <a:gd name="T50" fmla="*/ 2147483647 w 76"/>
                <a:gd name="T51" fmla="*/ 2147483647 h 125"/>
                <a:gd name="T52" fmla="*/ 2147483647 w 76"/>
                <a:gd name="T53" fmla="*/ 2147483647 h 125"/>
                <a:gd name="T54" fmla="*/ 2147483647 w 76"/>
                <a:gd name="T55" fmla="*/ 2147483647 h 1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6"/>
                <a:gd name="T85" fmla="*/ 0 h 125"/>
                <a:gd name="T86" fmla="*/ 76 w 76"/>
                <a:gd name="T87" fmla="*/ 125 h 1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6" h="125">
                  <a:moveTo>
                    <a:pt x="42" y="26"/>
                  </a:moveTo>
                  <a:lnTo>
                    <a:pt x="56" y="45"/>
                  </a:lnTo>
                  <a:lnTo>
                    <a:pt x="53" y="53"/>
                  </a:lnTo>
                  <a:lnTo>
                    <a:pt x="68" y="69"/>
                  </a:lnTo>
                  <a:lnTo>
                    <a:pt x="54" y="59"/>
                  </a:lnTo>
                  <a:lnTo>
                    <a:pt x="59" y="74"/>
                  </a:lnTo>
                  <a:lnTo>
                    <a:pt x="76" y="88"/>
                  </a:lnTo>
                  <a:lnTo>
                    <a:pt x="70" y="105"/>
                  </a:lnTo>
                  <a:lnTo>
                    <a:pt x="76" y="105"/>
                  </a:lnTo>
                  <a:lnTo>
                    <a:pt x="75" y="124"/>
                  </a:lnTo>
                  <a:lnTo>
                    <a:pt x="65" y="125"/>
                  </a:lnTo>
                  <a:lnTo>
                    <a:pt x="61" y="103"/>
                  </a:lnTo>
                  <a:lnTo>
                    <a:pt x="55" y="104"/>
                  </a:lnTo>
                  <a:lnTo>
                    <a:pt x="48" y="89"/>
                  </a:lnTo>
                  <a:lnTo>
                    <a:pt x="24" y="77"/>
                  </a:lnTo>
                  <a:lnTo>
                    <a:pt x="34" y="74"/>
                  </a:lnTo>
                  <a:lnTo>
                    <a:pt x="32" y="64"/>
                  </a:lnTo>
                  <a:lnTo>
                    <a:pt x="35" y="61"/>
                  </a:lnTo>
                  <a:lnTo>
                    <a:pt x="17" y="54"/>
                  </a:lnTo>
                  <a:lnTo>
                    <a:pt x="23" y="42"/>
                  </a:lnTo>
                  <a:lnTo>
                    <a:pt x="23" y="17"/>
                  </a:lnTo>
                  <a:lnTo>
                    <a:pt x="0" y="32"/>
                  </a:lnTo>
                  <a:lnTo>
                    <a:pt x="11" y="11"/>
                  </a:lnTo>
                  <a:lnTo>
                    <a:pt x="6" y="0"/>
                  </a:lnTo>
                  <a:lnTo>
                    <a:pt x="24" y="2"/>
                  </a:lnTo>
                  <a:lnTo>
                    <a:pt x="30" y="7"/>
                  </a:lnTo>
                  <a:lnTo>
                    <a:pt x="29" y="22"/>
                  </a:lnTo>
                  <a:lnTo>
                    <a:pt x="42" y="26"/>
                  </a:lnTo>
                  <a:close/>
                </a:path>
              </a:pathLst>
            </a:custGeom>
            <a:grpFill/>
            <a:ln w="6350">
              <a:solidFill>
                <a:schemeClr val="accent5"/>
              </a:solidFill>
              <a:round/>
              <a:headEnd/>
              <a:tailEnd/>
            </a:ln>
          </p:spPr>
          <p:txBody>
            <a:bodyPr/>
            <a:lstStyle/>
            <a:p>
              <a:endParaRPr lang="en-US"/>
            </a:p>
          </p:txBody>
        </p:sp>
        <p:sp>
          <p:nvSpPr>
            <p:cNvPr id="299" name="Freeform 1288"/>
            <p:cNvSpPr>
              <a:spLocks/>
            </p:cNvSpPr>
            <p:nvPr/>
          </p:nvSpPr>
          <p:spPr bwMode="auto">
            <a:xfrm>
              <a:off x="2760394" y="3254276"/>
              <a:ext cx="17201" cy="25473"/>
            </a:xfrm>
            <a:custGeom>
              <a:avLst/>
              <a:gdLst>
                <a:gd name="T0" fmla="*/ 2147483647 w 37"/>
                <a:gd name="T1" fmla="*/ 2147483647 h 58"/>
                <a:gd name="T2" fmla="*/ 2147483647 w 37"/>
                <a:gd name="T3" fmla="*/ 2147483647 h 58"/>
                <a:gd name="T4" fmla="*/ 2147483647 w 37"/>
                <a:gd name="T5" fmla="*/ 2147483647 h 58"/>
                <a:gd name="T6" fmla="*/ 2147483647 w 37"/>
                <a:gd name="T7" fmla="*/ 2147483647 h 58"/>
                <a:gd name="T8" fmla="*/ 2147483647 w 37"/>
                <a:gd name="T9" fmla="*/ 2147483647 h 58"/>
                <a:gd name="T10" fmla="*/ 2147483647 w 37"/>
                <a:gd name="T11" fmla="*/ 2147483647 h 58"/>
                <a:gd name="T12" fmla="*/ 2147483647 w 37"/>
                <a:gd name="T13" fmla="*/ 0 h 58"/>
                <a:gd name="T14" fmla="*/ 2147483647 w 37"/>
                <a:gd name="T15" fmla="*/ 2147483647 h 58"/>
                <a:gd name="T16" fmla="*/ 2147483647 w 37"/>
                <a:gd name="T17" fmla="*/ 2147483647 h 58"/>
                <a:gd name="T18" fmla="*/ 0 w 37"/>
                <a:gd name="T19" fmla="*/ 2147483647 h 58"/>
                <a:gd name="T20" fmla="*/ 2147483647 w 37"/>
                <a:gd name="T21" fmla="*/ 2147483647 h 58"/>
                <a:gd name="T22" fmla="*/ 2147483647 w 37"/>
                <a:gd name="T23" fmla="*/ 2147483647 h 58"/>
                <a:gd name="T24" fmla="*/ 2147483647 w 37"/>
                <a:gd name="T25" fmla="*/ 2147483647 h 58"/>
                <a:gd name="T26" fmla="*/ 2147483647 w 37"/>
                <a:gd name="T27" fmla="*/ 2147483647 h 58"/>
                <a:gd name="T28" fmla="*/ 2147483647 w 37"/>
                <a:gd name="T29" fmla="*/ 2147483647 h 58"/>
                <a:gd name="T30" fmla="*/ 2147483647 w 37"/>
                <a:gd name="T31" fmla="*/ 2147483647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58"/>
                <a:gd name="T50" fmla="*/ 37 w 37"/>
                <a:gd name="T51" fmla="*/ 58 h 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58">
                  <a:moveTo>
                    <a:pt x="16" y="48"/>
                  </a:moveTo>
                  <a:lnTo>
                    <a:pt x="21" y="42"/>
                  </a:lnTo>
                  <a:lnTo>
                    <a:pt x="25" y="55"/>
                  </a:lnTo>
                  <a:lnTo>
                    <a:pt x="37" y="58"/>
                  </a:lnTo>
                  <a:lnTo>
                    <a:pt x="33" y="42"/>
                  </a:lnTo>
                  <a:lnTo>
                    <a:pt x="35" y="25"/>
                  </a:lnTo>
                  <a:lnTo>
                    <a:pt x="25" y="0"/>
                  </a:lnTo>
                  <a:lnTo>
                    <a:pt x="5" y="9"/>
                  </a:lnTo>
                  <a:lnTo>
                    <a:pt x="8" y="16"/>
                  </a:lnTo>
                  <a:lnTo>
                    <a:pt x="0" y="37"/>
                  </a:lnTo>
                  <a:lnTo>
                    <a:pt x="8" y="46"/>
                  </a:lnTo>
                  <a:lnTo>
                    <a:pt x="11" y="33"/>
                  </a:lnTo>
                  <a:lnTo>
                    <a:pt x="17" y="37"/>
                  </a:lnTo>
                  <a:lnTo>
                    <a:pt x="18" y="24"/>
                  </a:lnTo>
                  <a:lnTo>
                    <a:pt x="20" y="37"/>
                  </a:lnTo>
                  <a:lnTo>
                    <a:pt x="16" y="48"/>
                  </a:lnTo>
                  <a:close/>
                </a:path>
              </a:pathLst>
            </a:custGeom>
            <a:grpFill/>
            <a:ln w="6350">
              <a:solidFill>
                <a:schemeClr val="accent5"/>
              </a:solidFill>
              <a:round/>
              <a:headEnd/>
              <a:tailEnd/>
            </a:ln>
          </p:spPr>
          <p:txBody>
            <a:bodyPr/>
            <a:lstStyle/>
            <a:p>
              <a:endParaRPr lang="en-US"/>
            </a:p>
          </p:txBody>
        </p:sp>
        <p:sp>
          <p:nvSpPr>
            <p:cNvPr id="300" name="Freeform 1289"/>
            <p:cNvSpPr>
              <a:spLocks/>
            </p:cNvSpPr>
            <p:nvPr/>
          </p:nvSpPr>
          <p:spPr bwMode="auto">
            <a:xfrm>
              <a:off x="2731726" y="3277202"/>
              <a:ext cx="8600" cy="15284"/>
            </a:xfrm>
            <a:custGeom>
              <a:avLst/>
              <a:gdLst>
                <a:gd name="T0" fmla="*/ 2147483647 w 19"/>
                <a:gd name="T1" fmla="*/ 2147483647 h 37"/>
                <a:gd name="T2" fmla="*/ 2147483647 w 19"/>
                <a:gd name="T3" fmla="*/ 2147483647 h 37"/>
                <a:gd name="T4" fmla="*/ 2147483647 w 19"/>
                <a:gd name="T5" fmla="*/ 2147483647 h 37"/>
                <a:gd name="T6" fmla="*/ 2147483647 w 19"/>
                <a:gd name="T7" fmla="*/ 2147483647 h 37"/>
                <a:gd name="T8" fmla="*/ 0 w 19"/>
                <a:gd name="T9" fmla="*/ 0 h 37"/>
                <a:gd name="T10" fmla="*/ 2147483647 w 19"/>
                <a:gd name="T11" fmla="*/ 2147483647 h 37"/>
                <a:gd name="T12" fmla="*/ 0 60000 65536"/>
                <a:gd name="T13" fmla="*/ 0 60000 65536"/>
                <a:gd name="T14" fmla="*/ 0 60000 65536"/>
                <a:gd name="T15" fmla="*/ 0 60000 65536"/>
                <a:gd name="T16" fmla="*/ 0 60000 65536"/>
                <a:gd name="T17" fmla="*/ 0 60000 65536"/>
                <a:gd name="T18" fmla="*/ 0 w 19"/>
                <a:gd name="T19" fmla="*/ 0 h 37"/>
                <a:gd name="T20" fmla="*/ 19 w 19"/>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9" h="37">
                  <a:moveTo>
                    <a:pt x="8" y="17"/>
                  </a:moveTo>
                  <a:lnTo>
                    <a:pt x="19" y="37"/>
                  </a:lnTo>
                  <a:lnTo>
                    <a:pt x="11" y="35"/>
                  </a:lnTo>
                  <a:lnTo>
                    <a:pt x="1" y="18"/>
                  </a:lnTo>
                  <a:lnTo>
                    <a:pt x="0" y="0"/>
                  </a:lnTo>
                  <a:lnTo>
                    <a:pt x="8" y="17"/>
                  </a:lnTo>
                  <a:close/>
                </a:path>
              </a:pathLst>
            </a:custGeom>
            <a:grpFill/>
            <a:ln w="6350">
              <a:solidFill>
                <a:schemeClr val="accent5"/>
              </a:solidFill>
              <a:round/>
              <a:headEnd/>
              <a:tailEnd/>
            </a:ln>
          </p:spPr>
          <p:txBody>
            <a:bodyPr/>
            <a:lstStyle/>
            <a:p>
              <a:endParaRPr lang="en-US"/>
            </a:p>
          </p:txBody>
        </p:sp>
        <p:sp>
          <p:nvSpPr>
            <p:cNvPr id="301" name="Freeform 1290"/>
            <p:cNvSpPr>
              <a:spLocks/>
            </p:cNvSpPr>
            <p:nvPr/>
          </p:nvSpPr>
          <p:spPr bwMode="auto">
            <a:xfrm>
              <a:off x="2764693" y="3274657"/>
              <a:ext cx="4300" cy="8916"/>
            </a:xfrm>
            <a:custGeom>
              <a:avLst/>
              <a:gdLst>
                <a:gd name="T0" fmla="*/ 0 w 10"/>
                <a:gd name="T1" fmla="*/ 0 h 19"/>
                <a:gd name="T2" fmla="*/ 2147483647 w 10"/>
                <a:gd name="T3" fmla="*/ 2147483647 h 19"/>
                <a:gd name="T4" fmla="*/ 2147483647 w 10"/>
                <a:gd name="T5" fmla="*/ 2147483647 h 19"/>
                <a:gd name="T6" fmla="*/ 0 w 10"/>
                <a:gd name="T7" fmla="*/ 0 h 19"/>
                <a:gd name="T8" fmla="*/ 0 60000 65536"/>
                <a:gd name="T9" fmla="*/ 0 60000 65536"/>
                <a:gd name="T10" fmla="*/ 0 60000 65536"/>
                <a:gd name="T11" fmla="*/ 0 60000 65536"/>
                <a:gd name="T12" fmla="*/ 0 w 10"/>
                <a:gd name="T13" fmla="*/ 0 h 19"/>
                <a:gd name="T14" fmla="*/ 10 w 10"/>
                <a:gd name="T15" fmla="*/ 19 h 19"/>
              </a:gdLst>
              <a:ahLst/>
              <a:cxnLst>
                <a:cxn ang="T8">
                  <a:pos x="T0" y="T1"/>
                </a:cxn>
                <a:cxn ang="T9">
                  <a:pos x="T2" y="T3"/>
                </a:cxn>
                <a:cxn ang="T10">
                  <a:pos x="T4" y="T5"/>
                </a:cxn>
                <a:cxn ang="T11">
                  <a:pos x="T6" y="T7"/>
                </a:cxn>
              </a:cxnLst>
              <a:rect l="T12" t="T13" r="T14" b="T15"/>
              <a:pathLst>
                <a:path w="10" h="19">
                  <a:moveTo>
                    <a:pt x="0" y="0"/>
                  </a:moveTo>
                  <a:lnTo>
                    <a:pt x="10" y="19"/>
                  </a:lnTo>
                  <a:lnTo>
                    <a:pt x="2" y="12"/>
                  </a:lnTo>
                  <a:lnTo>
                    <a:pt x="0" y="0"/>
                  </a:lnTo>
                  <a:close/>
                </a:path>
              </a:pathLst>
            </a:custGeom>
            <a:grpFill/>
            <a:ln w="6350">
              <a:solidFill>
                <a:schemeClr val="accent5"/>
              </a:solidFill>
              <a:round/>
              <a:headEnd/>
              <a:tailEnd/>
            </a:ln>
          </p:spPr>
          <p:txBody>
            <a:bodyPr/>
            <a:lstStyle/>
            <a:p>
              <a:endParaRPr lang="en-US"/>
            </a:p>
          </p:txBody>
        </p:sp>
        <p:sp>
          <p:nvSpPr>
            <p:cNvPr id="302" name="Freeform 1291"/>
            <p:cNvSpPr>
              <a:spLocks/>
            </p:cNvSpPr>
            <p:nvPr/>
          </p:nvSpPr>
          <p:spPr bwMode="auto">
            <a:xfrm>
              <a:off x="2734593" y="3309043"/>
              <a:ext cx="28667" cy="31842"/>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0 w 60"/>
                <a:gd name="T23" fmla="*/ 2147483647 h 74"/>
                <a:gd name="T24" fmla="*/ 2147483647 w 60"/>
                <a:gd name="T25" fmla="*/ 0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4"/>
                <a:gd name="T62" fmla="*/ 60 w 60"/>
                <a:gd name="T63" fmla="*/ 74 h 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4">
                  <a:moveTo>
                    <a:pt x="46" y="9"/>
                  </a:moveTo>
                  <a:lnTo>
                    <a:pt x="56" y="2"/>
                  </a:lnTo>
                  <a:lnTo>
                    <a:pt x="60" y="13"/>
                  </a:lnTo>
                  <a:lnTo>
                    <a:pt x="51" y="58"/>
                  </a:lnTo>
                  <a:lnTo>
                    <a:pt x="46" y="69"/>
                  </a:lnTo>
                  <a:lnTo>
                    <a:pt x="37" y="64"/>
                  </a:lnTo>
                  <a:lnTo>
                    <a:pt x="32" y="74"/>
                  </a:lnTo>
                  <a:lnTo>
                    <a:pt x="25" y="57"/>
                  </a:lnTo>
                  <a:lnTo>
                    <a:pt x="31" y="56"/>
                  </a:lnTo>
                  <a:lnTo>
                    <a:pt x="30" y="50"/>
                  </a:lnTo>
                  <a:lnTo>
                    <a:pt x="11" y="41"/>
                  </a:lnTo>
                  <a:lnTo>
                    <a:pt x="0" y="16"/>
                  </a:lnTo>
                  <a:lnTo>
                    <a:pt x="1" y="0"/>
                  </a:lnTo>
                  <a:lnTo>
                    <a:pt x="21" y="2"/>
                  </a:lnTo>
                  <a:lnTo>
                    <a:pt x="19" y="16"/>
                  </a:lnTo>
                  <a:lnTo>
                    <a:pt x="33" y="3"/>
                  </a:lnTo>
                  <a:lnTo>
                    <a:pt x="38" y="25"/>
                  </a:lnTo>
                  <a:lnTo>
                    <a:pt x="20" y="36"/>
                  </a:lnTo>
                  <a:lnTo>
                    <a:pt x="33" y="41"/>
                  </a:lnTo>
                  <a:lnTo>
                    <a:pt x="46" y="9"/>
                  </a:lnTo>
                  <a:close/>
                </a:path>
              </a:pathLst>
            </a:custGeom>
            <a:grpFill/>
            <a:ln w="6350">
              <a:solidFill>
                <a:schemeClr val="accent5"/>
              </a:solidFill>
              <a:round/>
              <a:headEnd/>
              <a:tailEnd/>
            </a:ln>
          </p:spPr>
          <p:txBody>
            <a:bodyPr/>
            <a:lstStyle/>
            <a:p>
              <a:endParaRPr lang="en-US"/>
            </a:p>
          </p:txBody>
        </p:sp>
        <p:sp>
          <p:nvSpPr>
            <p:cNvPr id="303" name="Freeform 1292"/>
            <p:cNvSpPr>
              <a:spLocks/>
            </p:cNvSpPr>
            <p:nvPr/>
          </p:nvSpPr>
          <p:spPr bwMode="auto">
            <a:xfrm>
              <a:off x="2748926" y="3337063"/>
              <a:ext cx="22933" cy="33115"/>
            </a:xfrm>
            <a:custGeom>
              <a:avLst/>
              <a:gdLst>
                <a:gd name="T0" fmla="*/ 2147483647 w 49"/>
                <a:gd name="T1" fmla="*/ 2147483647 h 78"/>
                <a:gd name="T2" fmla="*/ 2147483647 w 49"/>
                <a:gd name="T3" fmla="*/ 2147483647 h 78"/>
                <a:gd name="T4" fmla="*/ 2147483647 w 49"/>
                <a:gd name="T5" fmla="*/ 2147483647 h 78"/>
                <a:gd name="T6" fmla="*/ 2147483647 w 49"/>
                <a:gd name="T7" fmla="*/ 2147483647 h 78"/>
                <a:gd name="T8" fmla="*/ 2147483647 w 49"/>
                <a:gd name="T9" fmla="*/ 2147483647 h 78"/>
                <a:gd name="T10" fmla="*/ 0 w 49"/>
                <a:gd name="T11" fmla="*/ 2147483647 h 78"/>
                <a:gd name="T12" fmla="*/ 2147483647 w 49"/>
                <a:gd name="T13" fmla="*/ 0 h 78"/>
                <a:gd name="T14" fmla="*/ 2147483647 w 49"/>
                <a:gd name="T15" fmla="*/ 2147483647 h 78"/>
                <a:gd name="T16" fmla="*/ 2147483647 w 49"/>
                <a:gd name="T17" fmla="*/ 2147483647 h 78"/>
                <a:gd name="T18" fmla="*/ 2147483647 w 49"/>
                <a:gd name="T19" fmla="*/ 2147483647 h 78"/>
                <a:gd name="T20" fmla="*/ 2147483647 w 49"/>
                <a:gd name="T21" fmla="*/ 2147483647 h 78"/>
                <a:gd name="T22" fmla="*/ 2147483647 w 49"/>
                <a:gd name="T23" fmla="*/ 2147483647 h 78"/>
                <a:gd name="T24" fmla="*/ 2147483647 w 49"/>
                <a:gd name="T25" fmla="*/ 2147483647 h 78"/>
                <a:gd name="T26" fmla="*/ 2147483647 w 49"/>
                <a:gd name="T27" fmla="*/ 2147483647 h 78"/>
                <a:gd name="T28" fmla="*/ 2147483647 w 49"/>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78"/>
                <a:gd name="T47" fmla="*/ 49 w 49"/>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78">
                  <a:moveTo>
                    <a:pt x="11" y="38"/>
                  </a:moveTo>
                  <a:lnTo>
                    <a:pt x="11" y="22"/>
                  </a:lnTo>
                  <a:lnTo>
                    <a:pt x="7" y="27"/>
                  </a:lnTo>
                  <a:lnTo>
                    <a:pt x="4" y="25"/>
                  </a:lnTo>
                  <a:lnTo>
                    <a:pt x="8" y="15"/>
                  </a:lnTo>
                  <a:lnTo>
                    <a:pt x="0" y="13"/>
                  </a:lnTo>
                  <a:lnTo>
                    <a:pt x="24" y="0"/>
                  </a:lnTo>
                  <a:lnTo>
                    <a:pt x="30" y="11"/>
                  </a:lnTo>
                  <a:lnTo>
                    <a:pt x="20" y="14"/>
                  </a:lnTo>
                  <a:lnTo>
                    <a:pt x="31" y="23"/>
                  </a:lnTo>
                  <a:lnTo>
                    <a:pt x="21" y="27"/>
                  </a:lnTo>
                  <a:lnTo>
                    <a:pt x="20" y="40"/>
                  </a:lnTo>
                  <a:lnTo>
                    <a:pt x="39" y="56"/>
                  </a:lnTo>
                  <a:lnTo>
                    <a:pt x="49" y="78"/>
                  </a:lnTo>
                  <a:lnTo>
                    <a:pt x="11" y="38"/>
                  </a:lnTo>
                  <a:close/>
                </a:path>
              </a:pathLst>
            </a:custGeom>
            <a:grpFill/>
            <a:ln w="6350">
              <a:solidFill>
                <a:schemeClr val="accent5"/>
              </a:solidFill>
              <a:round/>
              <a:headEnd/>
              <a:tailEnd/>
            </a:ln>
          </p:spPr>
          <p:txBody>
            <a:bodyPr/>
            <a:lstStyle/>
            <a:p>
              <a:endParaRPr lang="en-US"/>
            </a:p>
          </p:txBody>
        </p:sp>
        <p:sp>
          <p:nvSpPr>
            <p:cNvPr id="304" name="Freeform 1293"/>
            <p:cNvSpPr>
              <a:spLocks/>
            </p:cNvSpPr>
            <p:nvPr/>
          </p:nvSpPr>
          <p:spPr bwMode="auto">
            <a:xfrm>
              <a:off x="2783327" y="3311586"/>
              <a:ext cx="8600" cy="7642"/>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grpFill/>
            <a:ln w="6350">
              <a:solidFill>
                <a:schemeClr val="accent5"/>
              </a:solidFill>
              <a:round/>
              <a:headEnd/>
              <a:tailEnd/>
            </a:ln>
          </p:spPr>
          <p:txBody>
            <a:bodyPr/>
            <a:lstStyle/>
            <a:p>
              <a:endParaRPr lang="en-US"/>
            </a:p>
          </p:txBody>
        </p:sp>
        <p:sp>
          <p:nvSpPr>
            <p:cNvPr id="305" name="Freeform 1294"/>
            <p:cNvSpPr>
              <a:spLocks/>
            </p:cNvSpPr>
            <p:nvPr/>
          </p:nvSpPr>
          <p:spPr bwMode="auto">
            <a:xfrm>
              <a:off x="2786193" y="3325596"/>
              <a:ext cx="14334" cy="14011"/>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grpFill/>
            <a:ln w="6350">
              <a:solidFill>
                <a:schemeClr val="accent5"/>
              </a:solidFill>
              <a:round/>
              <a:headEnd/>
              <a:tailEnd/>
            </a:ln>
          </p:spPr>
          <p:txBody>
            <a:bodyPr/>
            <a:lstStyle/>
            <a:p>
              <a:endParaRPr lang="en-US"/>
            </a:p>
          </p:txBody>
        </p:sp>
        <p:sp>
          <p:nvSpPr>
            <p:cNvPr id="306" name="Freeform 1295"/>
            <p:cNvSpPr>
              <a:spLocks/>
            </p:cNvSpPr>
            <p:nvPr/>
          </p:nvSpPr>
          <p:spPr bwMode="auto">
            <a:xfrm>
              <a:off x="2791927" y="3317954"/>
              <a:ext cx="17201" cy="21653"/>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grpFill/>
            <a:ln w="6350">
              <a:solidFill>
                <a:schemeClr val="accent5"/>
              </a:solidFill>
              <a:round/>
              <a:headEnd/>
              <a:tailEnd/>
            </a:ln>
          </p:spPr>
          <p:txBody>
            <a:bodyPr/>
            <a:lstStyle/>
            <a:p>
              <a:endParaRPr lang="en-US"/>
            </a:p>
          </p:txBody>
        </p:sp>
        <p:sp>
          <p:nvSpPr>
            <p:cNvPr id="307" name="Freeform 1296"/>
            <p:cNvSpPr>
              <a:spLocks/>
            </p:cNvSpPr>
            <p:nvPr/>
          </p:nvSpPr>
          <p:spPr bwMode="auto">
            <a:xfrm>
              <a:off x="2813425" y="3349796"/>
              <a:ext cx="4300" cy="8915"/>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grpFill/>
            <a:ln w="6350">
              <a:solidFill>
                <a:schemeClr val="accent5"/>
              </a:solidFill>
              <a:round/>
              <a:headEnd/>
              <a:tailEnd/>
            </a:ln>
          </p:spPr>
          <p:txBody>
            <a:bodyPr/>
            <a:lstStyle/>
            <a:p>
              <a:endParaRPr lang="en-US"/>
            </a:p>
          </p:txBody>
        </p:sp>
        <p:sp>
          <p:nvSpPr>
            <p:cNvPr id="327" name="Freeform 1316"/>
            <p:cNvSpPr>
              <a:spLocks/>
            </p:cNvSpPr>
            <p:nvPr/>
          </p:nvSpPr>
          <p:spPr bwMode="auto">
            <a:xfrm>
              <a:off x="4031765" y="3386731"/>
              <a:ext cx="14334" cy="12737"/>
            </a:xfrm>
            <a:custGeom>
              <a:avLst/>
              <a:gdLst>
                <a:gd name="T0" fmla="*/ 2147483647 w 31"/>
                <a:gd name="T1" fmla="*/ 2147483647 h 32"/>
                <a:gd name="T2" fmla="*/ 2147483647 w 31"/>
                <a:gd name="T3" fmla="*/ 2147483647 h 32"/>
                <a:gd name="T4" fmla="*/ 2147483647 w 31"/>
                <a:gd name="T5" fmla="*/ 2147483647 h 32"/>
                <a:gd name="T6" fmla="*/ 2147483647 w 31"/>
                <a:gd name="T7" fmla="*/ 2147483647 h 32"/>
                <a:gd name="T8" fmla="*/ 2147483647 w 31"/>
                <a:gd name="T9" fmla="*/ 2147483647 h 32"/>
                <a:gd name="T10" fmla="*/ 2147483647 w 31"/>
                <a:gd name="T11" fmla="*/ 2147483647 h 32"/>
                <a:gd name="T12" fmla="*/ 2147483647 w 31"/>
                <a:gd name="T13" fmla="*/ 2147483647 h 32"/>
                <a:gd name="T14" fmla="*/ 2147483647 w 31"/>
                <a:gd name="T15" fmla="*/ 2147483647 h 32"/>
                <a:gd name="T16" fmla="*/ 2147483647 w 31"/>
                <a:gd name="T17" fmla="*/ 0 h 32"/>
                <a:gd name="T18" fmla="*/ 2147483647 w 31"/>
                <a:gd name="T19" fmla="*/ 2147483647 h 32"/>
                <a:gd name="T20" fmla="*/ 0 w 31"/>
                <a:gd name="T21" fmla="*/ 2147483647 h 32"/>
                <a:gd name="T22" fmla="*/ 2147483647 w 31"/>
                <a:gd name="T23" fmla="*/ 2147483647 h 32"/>
                <a:gd name="T24" fmla="*/ 2147483647 w 31"/>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32"/>
                <a:gd name="T41" fmla="*/ 31 w 31"/>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32">
                  <a:moveTo>
                    <a:pt x="20" y="32"/>
                  </a:moveTo>
                  <a:lnTo>
                    <a:pt x="31" y="22"/>
                  </a:lnTo>
                  <a:lnTo>
                    <a:pt x="25" y="19"/>
                  </a:lnTo>
                  <a:lnTo>
                    <a:pt x="23" y="9"/>
                  </a:lnTo>
                  <a:lnTo>
                    <a:pt x="29" y="12"/>
                  </a:lnTo>
                  <a:lnTo>
                    <a:pt x="28" y="18"/>
                  </a:lnTo>
                  <a:lnTo>
                    <a:pt x="31" y="17"/>
                  </a:lnTo>
                  <a:lnTo>
                    <a:pt x="30" y="6"/>
                  </a:lnTo>
                  <a:lnTo>
                    <a:pt x="23" y="0"/>
                  </a:lnTo>
                  <a:lnTo>
                    <a:pt x="7" y="3"/>
                  </a:lnTo>
                  <a:lnTo>
                    <a:pt x="0" y="15"/>
                  </a:lnTo>
                  <a:lnTo>
                    <a:pt x="3" y="24"/>
                  </a:lnTo>
                  <a:lnTo>
                    <a:pt x="20" y="32"/>
                  </a:lnTo>
                  <a:close/>
                </a:path>
              </a:pathLst>
            </a:custGeom>
            <a:grpFill/>
            <a:ln w="6350">
              <a:solidFill>
                <a:schemeClr val="accent5"/>
              </a:solidFill>
              <a:round/>
              <a:headEnd/>
              <a:tailEnd/>
            </a:ln>
          </p:spPr>
          <p:txBody>
            <a:bodyPr/>
            <a:lstStyle/>
            <a:p>
              <a:endParaRPr lang="en-US"/>
            </a:p>
          </p:txBody>
        </p:sp>
        <p:sp>
          <p:nvSpPr>
            <p:cNvPr id="329" name="Line 347"/>
            <p:cNvSpPr>
              <a:spLocks noChangeShapeType="1"/>
            </p:cNvSpPr>
            <p:nvPr/>
          </p:nvSpPr>
          <p:spPr bwMode="auto">
            <a:xfrm flipV="1">
              <a:off x="3887000" y="3367627"/>
              <a:ext cx="143334" cy="170670"/>
            </a:xfrm>
            <a:prstGeom prst="line">
              <a:avLst/>
            </a:prstGeom>
            <a:grpFill/>
            <a:ln w="12700">
              <a:solidFill>
                <a:schemeClr val="accent5"/>
              </a:solidFill>
              <a:round/>
              <a:headEnd type="none" w="sm" len="sm"/>
              <a:tailEnd type="none" w="sm" len="sm"/>
            </a:ln>
          </p:spPr>
          <p:txBody>
            <a:bodyPr>
              <a:spAutoFit/>
            </a:bodyPr>
            <a:lstStyle/>
            <a:p>
              <a:endParaRPr lang="en-US"/>
            </a:p>
          </p:txBody>
        </p:sp>
        <p:sp>
          <p:nvSpPr>
            <p:cNvPr id="330" name="Line 386"/>
            <p:cNvSpPr>
              <a:spLocks noChangeShapeType="1"/>
            </p:cNvSpPr>
            <p:nvPr/>
          </p:nvSpPr>
          <p:spPr bwMode="auto">
            <a:xfrm flipH="1" flipV="1">
              <a:off x="3714994" y="3343431"/>
              <a:ext cx="60200" cy="226711"/>
            </a:xfrm>
            <a:prstGeom prst="line">
              <a:avLst/>
            </a:prstGeom>
            <a:grpFill/>
            <a:ln w="12700">
              <a:solidFill>
                <a:schemeClr val="accent5"/>
              </a:solidFill>
              <a:round/>
              <a:headEnd type="none" w="sm" len="sm"/>
              <a:tailEnd type="none" w="sm" len="sm"/>
            </a:ln>
          </p:spPr>
          <p:txBody>
            <a:bodyPr>
              <a:spAutoFit/>
            </a:bodyPr>
            <a:lstStyle/>
            <a:p>
              <a:endParaRPr lang="en-US"/>
            </a:p>
          </p:txBody>
        </p:sp>
      </p:grpSp>
    </p:spTree>
    <p:extLst>
      <p:ext uri="{BB962C8B-B14F-4D97-AF65-F5344CB8AC3E}">
        <p14:creationId xmlns:p14="http://schemas.microsoft.com/office/powerpoint/2010/main" val="39606876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a:extLst>
              <a:ext uri="{FF2B5EF4-FFF2-40B4-BE49-F238E27FC236}">
                <a16:creationId xmlns:a16="http://schemas.microsoft.com/office/drawing/2014/main" id="{E7A16A83-25FB-CB45-9561-2D5D8E8E6320}"/>
              </a:ext>
            </a:extLst>
          </p:cNvPr>
          <p:cNvSpPr>
            <a:spLocks noGrp="1"/>
          </p:cNvSpPr>
          <p:nvPr>
            <p:ph type="body" sz="quarter" idx="13"/>
          </p:nvPr>
        </p:nvSpPr>
        <p:spPr/>
        <p:txBody>
          <a:bodyPr/>
          <a:lstStyle/>
          <a:p>
            <a:endParaRPr lang="en-GB"/>
          </a:p>
        </p:txBody>
      </p:sp>
      <p:sp>
        <p:nvSpPr>
          <p:cNvPr id="42" name="Text Placeholder 41">
            <a:extLst>
              <a:ext uri="{FF2B5EF4-FFF2-40B4-BE49-F238E27FC236}">
                <a16:creationId xmlns:a16="http://schemas.microsoft.com/office/drawing/2014/main" id="{39045598-FDF1-A042-9216-344E2249822D}"/>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err="1"/>
              <a:t>Organisational</a:t>
            </a:r>
            <a:r>
              <a:rPr lang="en-US" dirty="0"/>
              <a:t> Chart</a:t>
            </a:r>
          </a:p>
        </p:txBody>
      </p:sp>
      <p:grpSp>
        <p:nvGrpSpPr>
          <p:cNvPr id="5" name="Group 4"/>
          <p:cNvGrpSpPr/>
          <p:nvPr/>
        </p:nvGrpSpPr>
        <p:grpSpPr>
          <a:xfrm>
            <a:off x="1888142" y="1259468"/>
            <a:ext cx="8414338" cy="4474439"/>
            <a:chOff x="291512" y="1299822"/>
            <a:chExt cx="8591231" cy="4474439"/>
          </a:xfrm>
        </p:grpSpPr>
        <p:sp>
          <p:nvSpPr>
            <p:cNvPr id="6" name="Tekstboks 70"/>
            <p:cNvSpPr txBox="1">
              <a:spLocks noChangeArrowheads="1"/>
            </p:cNvSpPr>
            <p:nvPr/>
          </p:nvSpPr>
          <p:spPr bwMode="auto">
            <a:xfrm>
              <a:off x="4735968" y="1838769"/>
              <a:ext cx="1168443" cy="430887"/>
            </a:xfrm>
            <a:prstGeom prst="rect">
              <a:avLst/>
            </a:prstGeom>
            <a:noFill/>
            <a:ln w="9525">
              <a:noFill/>
              <a:miter lim="800000"/>
              <a:headEnd/>
              <a:tailEnd/>
            </a:ln>
          </p:spPr>
          <p:txBody>
            <a:bodyPr wrap="square" lIns="0" tIns="0" rIns="0" bIns="0">
              <a:spAutoFit/>
            </a:bodyPr>
            <a:lstStyle/>
            <a:p>
              <a:r>
                <a:rPr lang="da-DK" sz="1400" b="1" dirty="0">
                  <a:latin typeface="+mn-lt"/>
                </a:rPr>
                <a:t>Name</a:t>
              </a:r>
            </a:p>
            <a:p>
              <a:r>
                <a:rPr lang="da-DK" sz="1400" dirty="0">
                  <a:latin typeface="+mn-lt"/>
                </a:rPr>
                <a:t>Position</a:t>
              </a:r>
            </a:p>
          </p:txBody>
        </p:sp>
        <p:pic>
          <p:nvPicPr>
            <p:cNvPr id="7" name="Billede 28" descr="dame1.emf"/>
            <p:cNvPicPr>
              <a:picLocks noChangeAspect="1"/>
            </p:cNvPicPr>
            <p:nvPr/>
          </p:nvPicPr>
          <p:blipFill>
            <a:blip r:embed="rId2" cstate="print">
              <a:duotone>
                <a:schemeClr val="accent2">
                  <a:shade val="45000"/>
                  <a:satMod val="135000"/>
                </a:schemeClr>
                <a:prstClr val="white"/>
              </a:duotone>
            </a:blip>
            <a:srcRect b="77477"/>
            <a:stretch>
              <a:fillRect/>
            </a:stretch>
          </p:blipFill>
          <p:spPr bwMode="auto">
            <a:xfrm>
              <a:off x="291512" y="2947070"/>
              <a:ext cx="943837" cy="614013"/>
            </a:xfrm>
            <a:prstGeom prst="rect">
              <a:avLst/>
            </a:prstGeom>
            <a:noFill/>
            <a:ln w="9525">
              <a:noFill/>
              <a:miter lim="800000"/>
              <a:headEnd/>
              <a:tailEnd/>
            </a:ln>
          </p:spPr>
        </p:pic>
        <p:sp>
          <p:nvSpPr>
            <p:cNvPr id="8" name="Tekstboks 70"/>
            <p:cNvSpPr txBox="1">
              <a:spLocks noChangeArrowheads="1"/>
            </p:cNvSpPr>
            <p:nvPr/>
          </p:nvSpPr>
          <p:spPr bwMode="auto">
            <a:xfrm>
              <a:off x="1235122" y="3184244"/>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9" name="Billede 25" descr="man1.emf"/>
            <p:cNvPicPr>
              <a:picLocks noChangeAspect="1"/>
            </p:cNvPicPr>
            <p:nvPr/>
          </p:nvPicPr>
          <p:blipFill>
            <a:blip r:embed="rId3" cstate="print">
              <a:duotone>
                <a:schemeClr val="accent3">
                  <a:shade val="45000"/>
                  <a:satMod val="135000"/>
                </a:schemeClr>
                <a:prstClr val="white"/>
              </a:duotone>
            </a:blip>
            <a:srcRect b="77083"/>
            <a:stretch>
              <a:fillRect/>
            </a:stretch>
          </p:blipFill>
          <p:spPr bwMode="auto">
            <a:xfrm>
              <a:off x="2125203" y="2947070"/>
              <a:ext cx="761606" cy="612648"/>
            </a:xfrm>
            <a:prstGeom prst="rect">
              <a:avLst/>
            </a:prstGeom>
            <a:noFill/>
            <a:ln w="9525">
              <a:noFill/>
              <a:miter lim="800000"/>
              <a:headEnd/>
              <a:tailEnd/>
            </a:ln>
          </p:spPr>
        </p:pic>
        <p:sp>
          <p:nvSpPr>
            <p:cNvPr id="10" name="Tekstboks 70"/>
            <p:cNvSpPr txBox="1">
              <a:spLocks noChangeArrowheads="1"/>
            </p:cNvSpPr>
            <p:nvPr/>
          </p:nvSpPr>
          <p:spPr bwMode="auto">
            <a:xfrm>
              <a:off x="2863088" y="3184244"/>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11" name="Billede 28" descr="dame1.emf"/>
            <p:cNvPicPr>
              <a:picLocks noChangeAspect="1"/>
            </p:cNvPicPr>
            <p:nvPr/>
          </p:nvPicPr>
          <p:blipFill>
            <a:blip r:embed="rId2" cstate="print"/>
            <a:srcRect b="77477"/>
            <a:stretch>
              <a:fillRect/>
            </a:stretch>
          </p:blipFill>
          <p:spPr bwMode="auto">
            <a:xfrm>
              <a:off x="3665757" y="2947070"/>
              <a:ext cx="943837" cy="614013"/>
            </a:xfrm>
            <a:prstGeom prst="rect">
              <a:avLst/>
            </a:prstGeom>
            <a:noFill/>
            <a:ln w="9525">
              <a:noFill/>
              <a:miter lim="800000"/>
              <a:headEnd/>
              <a:tailEnd/>
            </a:ln>
          </p:spPr>
        </p:pic>
        <p:sp>
          <p:nvSpPr>
            <p:cNvPr id="12" name="Tekstboks 70"/>
            <p:cNvSpPr txBox="1">
              <a:spLocks noChangeArrowheads="1"/>
            </p:cNvSpPr>
            <p:nvPr/>
          </p:nvSpPr>
          <p:spPr bwMode="auto">
            <a:xfrm>
              <a:off x="4609367" y="3184244"/>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13" name="Billede 25" descr="man1.emf"/>
            <p:cNvPicPr>
              <a:picLocks noChangeAspect="1"/>
            </p:cNvPicPr>
            <p:nvPr/>
          </p:nvPicPr>
          <p:blipFill>
            <a:blip r:embed="rId3" cstate="print">
              <a:duotone>
                <a:schemeClr val="accent4">
                  <a:shade val="45000"/>
                  <a:satMod val="135000"/>
                </a:schemeClr>
                <a:prstClr val="white"/>
              </a:duotone>
            </a:blip>
            <a:srcRect b="77083"/>
            <a:stretch>
              <a:fillRect/>
            </a:stretch>
          </p:blipFill>
          <p:spPr bwMode="auto">
            <a:xfrm>
              <a:off x="5586860" y="2947070"/>
              <a:ext cx="761606" cy="612648"/>
            </a:xfrm>
            <a:prstGeom prst="rect">
              <a:avLst/>
            </a:prstGeom>
            <a:noFill/>
            <a:ln w="9525">
              <a:noFill/>
              <a:miter lim="800000"/>
              <a:headEnd/>
              <a:tailEnd/>
            </a:ln>
          </p:spPr>
        </p:pic>
        <p:sp>
          <p:nvSpPr>
            <p:cNvPr id="14" name="Tekstboks 70"/>
            <p:cNvSpPr txBox="1">
              <a:spLocks noChangeArrowheads="1"/>
            </p:cNvSpPr>
            <p:nvPr/>
          </p:nvSpPr>
          <p:spPr bwMode="auto">
            <a:xfrm>
              <a:off x="6324745" y="3184244"/>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15" name="Billede 28" descr="dame1.emf"/>
            <p:cNvPicPr>
              <a:picLocks noChangeAspect="1"/>
            </p:cNvPicPr>
            <p:nvPr/>
          </p:nvPicPr>
          <p:blipFill>
            <a:blip r:embed="rId2" cstate="print">
              <a:lum bright="70000" contrast="-70000"/>
            </a:blip>
            <a:srcRect b="77477"/>
            <a:stretch>
              <a:fillRect/>
            </a:stretch>
          </p:blipFill>
          <p:spPr bwMode="auto">
            <a:xfrm>
              <a:off x="7214826" y="2947070"/>
              <a:ext cx="943837" cy="614013"/>
            </a:xfrm>
            <a:prstGeom prst="rect">
              <a:avLst/>
            </a:prstGeom>
            <a:noFill/>
            <a:ln w="9525">
              <a:noFill/>
              <a:miter lim="800000"/>
              <a:headEnd/>
              <a:tailEnd/>
            </a:ln>
          </p:spPr>
        </p:pic>
        <p:sp>
          <p:nvSpPr>
            <p:cNvPr id="16" name="Tekstboks 70"/>
            <p:cNvSpPr txBox="1">
              <a:spLocks noChangeArrowheads="1"/>
            </p:cNvSpPr>
            <p:nvPr/>
          </p:nvSpPr>
          <p:spPr bwMode="auto">
            <a:xfrm>
              <a:off x="8158436" y="3184244"/>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17" name="Billede 28" descr="dame1.emf"/>
            <p:cNvPicPr>
              <a:picLocks noChangeAspect="1"/>
            </p:cNvPicPr>
            <p:nvPr/>
          </p:nvPicPr>
          <p:blipFill>
            <a:blip r:embed="rId2" cstate="print">
              <a:duotone>
                <a:schemeClr val="accent3">
                  <a:shade val="45000"/>
                  <a:satMod val="135000"/>
                </a:schemeClr>
                <a:prstClr val="white"/>
              </a:duotone>
            </a:blip>
            <a:srcRect b="77477"/>
            <a:stretch>
              <a:fillRect/>
            </a:stretch>
          </p:blipFill>
          <p:spPr bwMode="auto">
            <a:xfrm>
              <a:off x="2637204" y="3912101"/>
              <a:ext cx="667700" cy="434372"/>
            </a:xfrm>
            <a:prstGeom prst="rect">
              <a:avLst/>
            </a:prstGeom>
            <a:noFill/>
            <a:ln w="9525">
              <a:noFill/>
              <a:miter lim="800000"/>
              <a:headEnd/>
              <a:tailEnd/>
            </a:ln>
          </p:spPr>
        </p:pic>
        <p:sp>
          <p:nvSpPr>
            <p:cNvPr id="18" name="Tekstboks 70"/>
            <p:cNvSpPr txBox="1">
              <a:spLocks noChangeArrowheads="1"/>
            </p:cNvSpPr>
            <p:nvPr/>
          </p:nvSpPr>
          <p:spPr bwMode="auto">
            <a:xfrm>
              <a:off x="3285990" y="3981077"/>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19" name="Billede 28" descr="dame1.emf"/>
            <p:cNvPicPr>
              <a:picLocks noChangeAspect="1"/>
            </p:cNvPicPr>
            <p:nvPr/>
          </p:nvPicPr>
          <p:blipFill>
            <a:blip r:embed="rId2" cstate="print">
              <a:duotone>
                <a:schemeClr val="accent3">
                  <a:shade val="45000"/>
                  <a:satMod val="135000"/>
                </a:schemeClr>
                <a:prstClr val="white"/>
              </a:duotone>
            </a:blip>
            <a:srcRect b="77477"/>
            <a:stretch>
              <a:fillRect/>
            </a:stretch>
          </p:blipFill>
          <p:spPr bwMode="auto">
            <a:xfrm>
              <a:off x="2637204" y="4624027"/>
              <a:ext cx="667700" cy="434372"/>
            </a:xfrm>
            <a:prstGeom prst="rect">
              <a:avLst/>
            </a:prstGeom>
            <a:noFill/>
            <a:ln w="9525">
              <a:noFill/>
              <a:miter lim="800000"/>
              <a:headEnd/>
              <a:tailEnd/>
            </a:ln>
          </p:spPr>
        </p:pic>
        <p:sp>
          <p:nvSpPr>
            <p:cNvPr id="20" name="Tekstboks 70"/>
            <p:cNvSpPr txBox="1">
              <a:spLocks noChangeArrowheads="1"/>
            </p:cNvSpPr>
            <p:nvPr/>
          </p:nvSpPr>
          <p:spPr bwMode="auto">
            <a:xfrm>
              <a:off x="3285990" y="4693003"/>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21" name="Billede 28" descr="dame1.emf"/>
            <p:cNvPicPr>
              <a:picLocks noChangeAspect="1"/>
            </p:cNvPicPr>
            <p:nvPr/>
          </p:nvPicPr>
          <p:blipFill>
            <a:blip r:embed="rId2" cstate="print">
              <a:duotone>
                <a:schemeClr val="accent3">
                  <a:shade val="45000"/>
                  <a:satMod val="135000"/>
                </a:schemeClr>
                <a:prstClr val="white"/>
              </a:duotone>
            </a:blip>
            <a:srcRect b="77477"/>
            <a:stretch>
              <a:fillRect/>
            </a:stretch>
          </p:blipFill>
          <p:spPr bwMode="auto">
            <a:xfrm>
              <a:off x="2637204" y="5335953"/>
              <a:ext cx="667700" cy="434372"/>
            </a:xfrm>
            <a:prstGeom prst="rect">
              <a:avLst/>
            </a:prstGeom>
            <a:noFill/>
            <a:ln w="9525">
              <a:noFill/>
              <a:miter lim="800000"/>
              <a:headEnd/>
              <a:tailEnd/>
            </a:ln>
          </p:spPr>
        </p:pic>
        <p:sp>
          <p:nvSpPr>
            <p:cNvPr id="22" name="Tekstboks 70"/>
            <p:cNvSpPr txBox="1">
              <a:spLocks noChangeArrowheads="1"/>
            </p:cNvSpPr>
            <p:nvPr/>
          </p:nvSpPr>
          <p:spPr bwMode="auto">
            <a:xfrm>
              <a:off x="3285990" y="5404929"/>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cxnSp>
          <p:nvCxnSpPr>
            <p:cNvPr id="23" name="Elbow Connector 22"/>
            <p:cNvCxnSpPr>
              <a:endCxn id="9" idx="0"/>
            </p:cNvCxnSpPr>
            <p:nvPr/>
          </p:nvCxnSpPr>
          <p:spPr>
            <a:xfrm rot="5400000">
              <a:off x="2108062" y="931750"/>
              <a:ext cx="670690" cy="335995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endCxn id="11" idx="0"/>
            </p:cNvCxnSpPr>
            <p:nvPr/>
          </p:nvCxnSpPr>
          <p:spPr>
            <a:xfrm rot="5400000">
              <a:off x="2979349" y="1803037"/>
              <a:ext cx="670690" cy="1617376"/>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rot="16200000" flipH="1">
              <a:off x="3747042" y="2563228"/>
              <a:ext cx="677414" cy="90269"/>
            </a:xfrm>
            <a:prstGeom prst="bentConnector3">
              <a:avLst>
                <a:gd name="adj1" fmla="val -6574"/>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15" idx="0"/>
            </p:cNvCxnSpPr>
            <p:nvPr/>
          </p:nvCxnSpPr>
          <p:spPr>
            <a:xfrm rot="16200000" flipH="1">
              <a:off x="4710177" y="1689584"/>
              <a:ext cx="670690" cy="184428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endCxn id="17" idx="0"/>
            </p:cNvCxnSpPr>
            <p:nvPr/>
          </p:nvCxnSpPr>
          <p:spPr>
            <a:xfrm rot="16200000" flipH="1">
              <a:off x="5569718" y="830043"/>
              <a:ext cx="670690" cy="356336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1" idx="2"/>
              <a:endCxn id="19" idx="1"/>
            </p:cNvCxnSpPr>
            <p:nvPr/>
          </p:nvCxnSpPr>
          <p:spPr>
            <a:xfrm rot="16200000" flipH="1">
              <a:off x="2286821" y="3778903"/>
              <a:ext cx="569569" cy="131198"/>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69"/>
            <p:cNvCxnSpPr>
              <a:stCxn id="11" idx="2"/>
              <a:endCxn id="21" idx="1"/>
            </p:cNvCxnSpPr>
            <p:nvPr/>
          </p:nvCxnSpPr>
          <p:spPr>
            <a:xfrm rot="16200000" flipH="1">
              <a:off x="1930858" y="4134866"/>
              <a:ext cx="1281495" cy="131198"/>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69"/>
            <p:cNvCxnSpPr>
              <a:stCxn id="11" idx="2"/>
              <a:endCxn id="23" idx="1"/>
            </p:cNvCxnSpPr>
            <p:nvPr/>
          </p:nvCxnSpPr>
          <p:spPr>
            <a:xfrm rot="16200000" flipH="1">
              <a:off x="1574895" y="4490829"/>
              <a:ext cx="1993421" cy="131198"/>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1" name="Billede 28" descr="dame1.emf"/>
            <p:cNvPicPr>
              <a:picLocks noChangeAspect="1"/>
            </p:cNvPicPr>
            <p:nvPr/>
          </p:nvPicPr>
          <p:blipFill>
            <a:blip r:embed="rId2" cstate="print">
              <a:duotone>
                <a:schemeClr val="accent2">
                  <a:shade val="45000"/>
                  <a:satMod val="135000"/>
                </a:schemeClr>
                <a:prstClr val="white"/>
              </a:duotone>
            </a:blip>
            <a:srcRect b="77477"/>
            <a:stretch>
              <a:fillRect/>
            </a:stretch>
          </p:blipFill>
          <p:spPr bwMode="auto">
            <a:xfrm>
              <a:off x="952095" y="3912101"/>
              <a:ext cx="667700" cy="434372"/>
            </a:xfrm>
            <a:prstGeom prst="rect">
              <a:avLst/>
            </a:prstGeom>
            <a:noFill/>
            <a:ln w="9525">
              <a:noFill/>
              <a:miter lim="800000"/>
              <a:headEnd/>
              <a:tailEnd/>
            </a:ln>
          </p:spPr>
        </p:pic>
        <p:sp>
          <p:nvSpPr>
            <p:cNvPr id="32" name="Tekstboks 70"/>
            <p:cNvSpPr txBox="1">
              <a:spLocks noChangeArrowheads="1"/>
            </p:cNvSpPr>
            <p:nvPr/>
          </p:nvSpPr>
          <p:spPr bwMode="auto">
            <a:xfrm>
              <a:off x="1600881" y="3981077"/>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33" name="Billede 28" descr="dame1.emf"/>
            <p:cNvPicPr>
              <a:picLocks noChangeAspect="1"/>
            </p:cNvPicPr>
            <p:nvPr/>
          </p:nvPicPr>
          <p:blipFill>
            <a:blip r:embed="rId2" cstate="print">
              <a:duotone>
                <a:schemeClr val="accent2">
                  <a:shade val="45000"/>
                  <a:satMod val="135000"/>
                </a:schemeClr>
                <a:prstClr val="white"/>
              </a:duotone>
            </a:blip>
            <a:srcRect b="77477"/>
            <a:stretch>
              <a:fillRect/>
            </a:stretch>
          </p:blipFill>
          <p:spPr bwMode="auto">
            <a:xfrm>
              <a:off x="952095" y="4624027"/>
              <a:ext cx="667700" cy="434372"/>
            </a:xfrm>
            <a:prstGeom prst="rect">
              <a:avLst/>
            </a:prstGeom>
            <a:noFill/>
            <a:ln w="9525">
              <a:noFill/>
              <a:miter lim="800000"/>
              <a:headEnd/>
              <a:tailEnd/>
            </a:ln>
          </p:spPr>
        </p:pic>
        <p:sp>
          <p:nvSpPr>
            <p:cNvPr id="34" name="Tekstboks 70"/>
            <p:cNvSpPr txBox="1">
              <a:spLocks noChangeArrowheads="1"/>
            </p:cNvSpPr>
            <p:nvPr/>
          </p:nvSpPr>
          <p:spPr bwMode="auto">
            <a:xfrm>
              <a:off x="1600881" y="4693003"/>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pic>
          <p:nvPicPr>
            <p:cNvPr id="35" name="Billede 28" descr="dame1.emf"/>
            <p:cNvPicPr>
              <a:picLocks noChangeAspect="1"/>
            </p:cNvPicPr>
            <p:nvPr/>
          </p:nvPicPr>
          <p:blipFill>
            <a:blip r:embed="rId2" cstate="print">
              <a:duotone>
                <a:schemeClr val="accent2">
                  <a:shade val="45000"/>
                  <a:satMod val="135000"/>
                </a:schemeClr>
                <a:prstClr val="white"/>
              </a:duotone>
            </a:blip>
            <a:srcRect b="77477"/>
            <a:stretch>
              <a:fillRect/>
            </a:stretch>
          </p:blipFill>
          <p:spPr bwMode="auto">
            <a:xfrm>
              <a:off x="952095" y="5335953"/>
              <a:ext cx="667700" cy="434372"/>
            </a:xfrm>
            <a:prstGeom prst="rect">
              <a:avLst/>
            </a:prstGeom>
            <a:noFill/>
            <a:ln w="9525">
              <a:noFill/>
              <a:miter lim="800000"/>
              <a:headEnd/>
              <a:tailEnd/>
            </a:ln>
          </p:spPr>
        </p:pic>
        <p:sp>
          <p:nvSpPr>
            <p:cNvPr id="36" name="Tekstboks 70"/>
            <p:cNvSpPr txBox="1">
              <a:spLocks noChangeArrowheads="1"/>
            </p:cNvSpPr>
            <p:nvPr/>
          </p:nvSpPr>
          <p:spPr bwMode="auto">
            <a:xfrm>
              <a:off x="1600881" y="5404929"/>
              <a:ext cx="724307" cy="369332"/>
            </a:xfrm>
            <a:prstGeom prst="rect">
              <a:avLst/>
            </a:prstGeom>
            <a:noFill/>
            <a:ln w="9525">
              <a:noFill/>
              <a:miter lim="800000"/>
              <a:headEnd/>
              <a:tailEnd/>
            </a:ln>
          </p:spPr>
          <p:txBody>
            <a:bodyPr wrap="square" lIns="0" tIns="0" rIns="0" bIns="0">
              <a:spAutoFit/>
            </a:bodyPr>
            <a:lstStyle/>
            <a:p>
              <a:r>
                <a:rPr lang="da-DK" sz="1200" b="1" dirty="0">
                  <a:latin typeface="+mn-lt"/>
                </a:rPr>
                <a:t>Name</a:t>
              </a:r>
            </a:p>
            <a:p>
              <a:r>
                <a:rPr lang="da-DK" sz="1200" dirty="0">
                  <a:latin typeface="+mn-lt"/>
                </a:rPr>
                <a:t>Position</a:t>
              </a:r>
            </a:p>
          </p:txBody>
        </p:sp>
        <p:cxnSp>
          <p:nvCxnSpPr>
            <p:cNvPr id="37" name="Elbow Connector 69"/>
            <p:cNvCxnSpPr>
              <a:stCxn id="9" idx="2"/>
              <a:endCxn id="33" idx="1"/>
            </p:cNvCxnSpPr>
            <p:nvPr/>
          </p:nvCxnSpPr>
          <p:spPr>
            <a:xfrm rot="16200000" flipH="1">
              <a:off x="573661" y="3750853"/>
              <a:ext cx="568204" cy="188664"/>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69"/>
            <p:cNvCxnSpPr>
              <a:stCxn id="9" idx="2"/>
              <a:endCxn id="35" idx="1"/>
            </p:cNvCxnSpPr>
            <p:nvPr/>
          </p:nvCxnSpPr>
          <p:spPr>
            <a:xfrm rot="16200000" flipH="1">
              <a:off x="217698" y="4106816"/>
              <a:ext cx="1280130" cy="188664"/>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69"/>
            <p:cNvCxnSpPr>
              <a:stCxn id="9" idx="2"/>
              <a:endCxn id="37" idx="1"/>
            </p:cNvCxnSpPr>
            <p:nvPr/>
          </p:nvCxnSpPr>
          <p:spPr>
            <a:xfrm rot="16200000" flipH="1">
              <a:off x="-138265" y="4462779"/>
              <a:ext cx="1992056" cy="188664"/>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0" name="Billede 25" descr="man1.emf"/>
            <p:cNvPicPr>
              <a:picLocks noChangeAspect="1"/>
            </p:cNvPicPr>
            <p:nvPr/>
          </p:nvPicPr>
          <p:blipFill>
            <a:blip r:embed="rId3" cstate="print">
              <a:duotone>
                <a:schemeClr val="accent1">
                  <a:shade val="45000"/>
                  <a:satMod val="135000"/>
                </a:schemeClr>
                <a:prstClr val="white"/>
              </a:duotone>
            </a:blip>
            <a:srcRect b="77083"/>
            <a:stretch>
              <a:fillRect/>
            </a:stretch>
          </p:blipFill>
          <p:spPr bwMode="auto">
            <a:xfrm>
              <a:off x="3516384" y="1299822"/>
              <a:ext cx="1213996" cy="976558"/>
            </a:xfrm>
            <a:prstGeom prst="rect">
              <a:avLst/>
            </a:prstGeom>
            <a:noFill/>
            <a:ln w="9525">
              <a:noFill/>
              <a:miter lim="800000"/>
              <a:headEnd/>
              <a:tailEnd/>
            </a:ln>
          </p:spPr>
        </p:pic>
      </p:grpSp>
    </p:spTree>
    <p:extLst>
      <p:ext uri="{BB962C8B-B14F-4D97-AF65-F5344CB8AC3E}">
        <p14:creationId xmlns:p14="http://schemas.microsoft.com/office/powerpoint/2010/main" val="38270053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294968" y="1120877"/>
            <a:ext cx="12816349" cy="4616246"/>
          </a:xfrm>
          <a:prstGeom prst="rect">
            <a:avLst/>
          </a:prstGeom>
          <a:solidFill>
            <a:srgbClr val="2B6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felt 5"/>
          <p:cNvSpPr txBox="1"/>
          <p:nvPr/>
        </p:nvSpPr>
        <p:spPr>
          <a:xfrm>
            <a:off x="1993692" y="2896523"/>
            <a:ext cx="6237605" cy="1200329"/>
          </a:xfrm>
          <a:prstGeom prst="rect">
            <a:avLst/>
          </a:prstGeom>
          <a:noFill/>
        </p:spPr>
        <p:txBody>
          <a:bodyPr wrap="none" rtlCol="0">
            <a:spAutoFit/>
          </a:bodyPr>
          <a:lstStyle/>
          <a:p>
            <a:r>
              <a:rPr lang="da-DK" sz="7200" dirty="0">
                <a:solidFill>
                  <a:schemeClr val="bg1"/>
                </a:solidFill>
              </a:rPr>
              <a:t>Finance Slides</a:t>
            </a:r>
          </a:p>
        </p:txBody>
      </p:sp>
    </p:spTree>
    <p:extLst>
      <p:ext uri="{BB962C8B-B14F-4D97-AF65-F5344CB8AC3E}">
        <p14:creationId xmlns:p14="http://schemas.microsoft.com/office/powerpoint/2010/main" val="36079193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A99624D-179D-F04D-9522-D1B6D142A4D2}"/>
              </a:ext>
            </a:extLst>
          </p:cNvPr>
          <p:cNvSpPr>
            <a:spLocks noGrp="1"/>
          </p:cNvSpPr>
          <p:nvPr>
            <p:ph type="body" sz="quarter" idx="13"/>
          </p:nvPr>
        </p:nvSpPr>
        <p:spPr/>
        <p:txBody>
          <a:bodyPr/>
          <a:lstStyle/>
          <a:p>
            <a:endParaRPr lang="en-GB"/>
          </a:p>
        </p:txBody>
      </p:sp>
      <p:sp>
        <p:nvSpPr>
          <p:cNvPr id="17" name="Text Placeholder 16">
            <a:extLst>
              <a:ext uri="{FF2B5EF4-FFF2-40B4-BE49-F238E27FC236}">
                <a16:creationId xmlns:a16="http://schemas.microsoft.com/office/drawing/2014/main" id="{F988CC77-ED36-DC45-9D43-1433C6570B9A}"/>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dirty="0"/>
              <a:t>Detailed blockchain content</a:t>
            </a:r>
          </a:p>
        </p:txBody>
      </p:sp>
      <p:sp>
        <p:nvSpPr>
          <p:cNvPr id="3" name="Oval 2"/>
          <p:cNvSpPr/>
          <p:nvPr/>
        </p:nvSpPr>
        <p:spPr>
          <a:xfrm>
            <a:off x="883408" y="2107769"/>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Cow #1 </a:t>
            </a:r>
            <a:r>
              <a:rPr lang="en-US" sz="1300">
                <a:solidFill>
                  <a:schemeClr val="tx1"/>
                </a:solidFill>
                <a:latin typeface="Arial" panose="020B0604020202020204" pitchFamily="34" charset="0"/>
                <a:ea typeface="Gulim" charset="-127"/>
                <a:cs typeface="Arial" panose="020B0604020202020204" pitchFamily="34" charset="0"/>
              </a:rPr>
              <a:t>health report</a:t>
            </a: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4" name="Oval 3"/>
          <p:cNvSpPr/>
          <p:nvPr/>
        </p:nvSpPr>
        <p:spPr>
          <a:xfrm>
            <a:off x="2493938" y="2107769"/>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Cow #</a:t>
            </a:r>
            <a:r>
              <a:rPr lang="en-US" sz="1300">
                <a:solidFill>
                  <a:schemeClr val="tx1"/>
                </a:solidFill>
                <a:latin typeface="Arial" panose="020B0604020202020204" pitchFamily="34" charset="0"/>
                <a:ea typeface="Gulim" charset="-127"/>
                <a:cs typeface="Arial" panose="020B0604020202020204" pitchFamily="34" charset="0"/>
              </a:rPr>
              <a:t>1 milk yield</a:t>
            </a:r>
            <a:endParaRPr lang="en-US" sz="1300" dirty="0">
              <a:solidFill>
                <a:schemeClr val="tx1"/>
              </a:solidFill>
              <a:latin typeface="Arial" panose="020B0604020202020204" pitchFamily="34" charset="0"/>
              <a:ea typeface="Gulim" charset="-127"/>
              <a:cs typeface="Arial" panose="020B0604020202020204" pitchFamily="34" charset="0"/>
            </a:endParaRPr>
          </a:p>
        </p:txBody>
      </p:sp>
      <p:sp>
        <p:nvSpPr>
          <p:cNvPr id="5" name="Oval 4"/>
          <p:cNvSpPr/>
          <p:nvPr/>
        </p:nvSpPr>
        <p:spPr>
          <a:xfrm>
            <a:off x="883407" y="4117535"/>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tx1"/>
                </a:solidFill>
                <a:latin typeface="Arial" panose="020B0604020202020204" pitchFamily="34" charset="0"/>
                <a:ea typeface="Gulim" charset="-127"/>
                <a:cs typeface="Arial" panose="020B0604020202020204" pitchFamily="34" charset="0"/>
              </a:rPr>
              <a:t>Cow #2 health report</a:t>
            </a:r>
            <a:endParaRPr lang="en-US" sz="1300" dirty="0" err="1">
              <a:solidFill>
                <a:schemeClr val="tx1"/>
              </a:solidFill>
              <a:latin typeface="Arial" panose="020B0604020202020204" pitchFamily="34" charset="0"/>
              <a:ea typeface="Gulim" charset="-127"/>
              <a:cs typeface="Arial" panose="020B0604020202020204" pitchFamily="34" charset="0"/>
            </a:endParaRPr>
          </a:p>
        </p:txBody>
      </p:sp>
      <p:sp>
        <p:nvSpPr>
          <p:cNvPr id="6" name="Oval 5"/>
          <p:cNvSpPr/>
          <p:nvPr/>
        </p:nvSpPr>
        <p:spPr>
          <a:xfrm>
            <a:off x="2493939" y="4117535"/>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Cow #2 milk yield</a:t>
            </a:r>
          </a:p>
        </p:txBody>
      </p:sp>
      <p:sp>
        <p:nvSpPr>
          <p:cNvPr id="7" name="Oval 6"/>
          <p:cNvSpPr/>
          <p:nvPr/>
        </p:nvSpPr>
        <p:spPr>
          <a:xfrm>
            <a:off x="4018584" y="3103533"/>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Milk truck pick up</a:t>
            </a:r>
          </a:p>
        </p:txBody>
      </p:sp>
      <p:sp>
        <p:nvSpPr>
          <p:cNvPr id="8" name="Oval 7"/>
          <p:cNvSpPr/>
          <p:nvPr/>
        </p:nvSpPr>
        <p:spPr>
          <a:xfrm>
            <a:off x="5543231" y="3103533"/>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Milk analysis</a:t>
            </a:r>
          </a:p>
        </p:txBody>
      </p:sp>
      <p:sp>
        <p:nvSpPr>
          <p:cNvPr id="9" name="Oval 8"/>
          <p:cNvSpPr/>
          <p:nvPr/>
        </p:nvSpPr>
        <p:spPr>
          <a:xfrm>
            <a:off x="7067878" y="3103532"/>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Milk transport-</a:t>
            </a:r>
            <a:r>
              <a:rPr lang="en-US" sz="1300" dirty="0" err="1">
                <a:solidFill>
                  <a:schemeClr val="tx1"/>
                </a:solidFill>
                <a:latin typeface="Arial" panose="020B0604020202020204" pitchFamily="34" charset="0"/>
                <a:ea typeface="Gulim" charset="-127"/>
                <a:cs typeface="Arial" panose="020B0604020202020204" pitchFamily="34" charset="0"/>
              </a:rPr>
              <a:t>ation</a:t>
            </a:r>
            <a:endParaRPr lang="en-US" sz="1300" dirty="0">
              <a:solidFill>
                <a:schemeClr val="tx1"/>
              </a:solidFill>
              <a:latin typeface="Arial" panose="020B0604020202020204" pitchFamily="34" charset="0"/>
              <a:ea typeface="Gulim" charset="-127"/>
              <a:cs typeface="Arial" panose="020B0604020202020204" pitchFamily="34" charset="0"/>
            </a:endParaRPr>
          </a:p>
        </p:txBody>
      </p:sp>
      <p:sp>
        <p:nvSpPr>
          <p:cNvPr id="10" name="Oval 9"/>
          <p:cNvSpPr/>
          <p:nvPr/>
        </p:nvSpPr>
        <p:spPr>
          <a:xfrm>
            <a:off x="8640181" y="2107769"/>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Milk bottle #1</a:t>
            </a:r>
          </a:p>
        </p:txBody>
      </p:sp>
      <p:sp>
        <p:nvSpPr>
          <p:cNvPr id="11" name="Oval 10"/>
          <p:cNvSpPr/>
          <p:nvPr/>
        </p:nvSpPr>
        <p:spPr>
          <a:xfrm>
            <a:off x="8620977" y="4117535"/>
            <a:ext cx="1162373" cy="1162373"/>
          </a:xfrm>
          <a:prstGeom prst="ellipse">
            <a:avLst/>
          </a:prstGeom>
          <a:no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dirty="0">
                <a:solidFill>
                  <a:schemeClr val="tx1"/>
                </a:solidFill>
                <a:latin typeface="Arial" panose="020B0604020202020204" pitchFamily="34" charset="0"/>
                <a:ea typeface="Gulim" charset="-127"/>
                <a:cs typeface="Arial" panose="020B0604020202020204" pitchFamily="34" charset="0"/>
              </a:rPr>
              <a:t>Milk bottle #2</a:t>
            </a:r>
          </a:p>
        </p:txBody>
      </p:sp>
      <p:cxnSp>
        <p:nvCxnSpPr>
          <p:cNvPr id="18" name="Straight Connector 17"/>
          <p:cNvCxnSpPr>
            <a:stCxn id="3" idx="6"/>
            <a:endCxn id="4" idx="2"/>
          </p:cNvCxnSpPr>
          <p:nvPr/>
        </p:nvCxnSpPr>
        <p:spPr>
          <a:xfrm>
            <a:off x="2045781" y="2688956"/>
            <a:ext cx="448157" cy="0"/>
          </a:xfrm>
          <a:prstGeom prst="line">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045781" y="4734883"/>
            <a:ext cx="448157" cy="0"/>
          </a:xfrm>
          <a:prstGeom prst="line">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0" name="Grupper 113"/>
          <p:cNvGrpSpPr/>
          <p:nvPr/>
        </p:nvGrpSpPr>
        <p:grpSpPr>
          <a:xfrm rot="5400000">
            <a:off x="2814482" y="3530783"/>
            <a:ext cx="2045930" cy="362274"/>
            <a:chOff x="4384474" y="3733784"/>
            <a:chExt cx="2802087" cy="594486"/>
          </a:xfrm>
        </p:grpSpPr>
        <p:cxnSp>
          <p:nvCxnSpPr>
            <p:cNvPr id="21" name="Lige forbindelse 114"/>
            <p:cNvCxnSpPr>
              <a:cxnSpLocks/>
            </p:cNvCxnSpPr>
            <p:nvPr/>
          </p:nvCxnSpPr>
          <p:spPr>
            <a:xfrm flipH="1">
              <a:off x="5762089" y="3733784"/>
              <a:ext cx="1066" cy="325385"/>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2" name="Lige forbindelse 115"/>
            <p:cNvCxnSpPr>
              <a:cxnSpLocks/>
            </p:cNvCxnSpPr>
            <p:nvPr/>
          </p:nvCxnSpPr>
          <p:spPr>
            <a:xfrm flipV="1">
              <a:off x="4384474" y="4048467"/>
              <a:ext cx="68" cy="279803"/>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3" name="Lige forbindelse 116"/>
            <p:cNvCxnSpPr>
              <a:cxnSpLocks/>
            </p:cNvCxnSpPr>
            <p:nvPr/>
          </p:nvCxnSpPr>
          <p:spPr>
            <a:xfrm flipV="1">
              <a:off x="7186561" y="4059169"/>
              <a:ext cx="0" cy="269101"/>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4" name="Lige forbindelse 117"/>
            <p:cNvCxnSpPr/>
            <p:nvPr/>
          </p:nvCxnSpPr>
          <p:spPr>
            <a:xfrm>
              <a:off x="4384474" y="4059169"/>
              <a:ext cx="28020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p:cNvCxnSpPr>
            <a:endCxn id="8" idx="2"/>
          </p:cNvCxnSpPr>
          <p:nvPr/>
        </p:nvCxnSpPr>
        <p:spPr>
          <a:xfrm flipV="1">
            <a:off x="5180957" y="3684720"/>
            <a:ext cx="362274" cy="0"/>
          </a:xfrm>
          <a:prstGeom prst="line">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6705604" y="3694814"/>
            <a:ext cx="362274" cy="0"/>
          </a:xfrm>
          <a:prstGeom prst="line">
            <a:avLst/>
          </a:prstGeom>
          <a:ln w="127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9" name="Grupper 113"/>
          <p:cNvGrpSpPr/>
          <p:nvPr/>
        </p:nvGrpSpPr>
        <p:grpSpPr>
          <a:xfrm rot="16200000">
            <a:off x="7416876" y="3494619"/>
            <a:ext cx="2045930" cy="362274"/>
            <a:chOff x="4384474" y="3733784"/>
            <a:chExt cx="2802087" cy="594486"/>
          </a:xfrm>
        </p:grpSpPr>
        <p:cxnSp>
          <p:nvCxnSpPr>
            <p:cNvPr id="30" name="Lige forbindelse 114"/>
            <p:cNvCxnSpPr>
              <a:cxnSpLocks/>
            </p:cNvCxnSpPr>
            <p:nvPr/>
          </p:nvCxnSpPr>
          <p:spPr>
            <a:xfrm flipH="1">
              <a:off x="5762089" y="3733784"/>
              <a:ext cx="1066" cy="325385"/>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1" name="Lige forbindelse 115"/>
            <p:cNvCxnSpPr>
              <a:cxnSpLocks/>
            </p:cNvCxnSpPr>
            <p:nvPr/>
          </p:nvCxnSpPr>
          <p:spPr>
            <a:xfrm flipV="1">
              <a:off x="4384474" y="4048467"/>
              <a:ext cx="68" cy="279803"/>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2" name="Lige forbindelse 116"/>
            <p:cNvCxnSpPr>
              <a:cxnSpLocks/>
            </p:cNvCxnSpPr>
            <p:nvPr/>
          </p:nvCxnSpPr>
          <p:spPr>
            <a:xfrm flipV="1">
              <a:off x="7186561" y="4059169"/>
              <a:ext cx="0" cy="269101"/>
            </a:xfrm>
            <a:prstGeom prst="line">
              <a:avLst/>
            </a:prstGeom>
            <a:ln w="9525">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3" name="Lige forbindelse 117"/>
            <p:cNvCxnSpPr/>
            <p:nvPr/>
          </p:nvCxnSpPr>
          <p:spPr>
            <a:xfrm>
              <a:off x="4384474" y="4059169"/>
              <a:ext cx="28020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35" name="Straight Arrow Connector 34"/>
          <p:cNvCxnSpPr/>
          <p:nvPr/>
        </p:nvCxnSpPr>
        <p:spPr>
          <a:xfrm>
            <a:off x="883407" y="5884227"/>
            <a:ext cx="9069776" cy="0"/>
          </a:xfrm>
          <a:prstGeom prst="straightConnector1">
            <a:avLst/>
          </a:prstGeom>
          <a:ln w="12700">
            <a:solidFill>
              <a:schemeClr val="accent4"/>
            </a:solidFill>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91466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endParaRPr lang="en-US"/>
          </a:p>
        </p:txBody>
      </p:sp>
      <p:sp>
        <p:nvSpPr>
          <p:cNvPr id="7" name="Text Placeholder 6"/>
          <p:cNvSpPr>
            <a:spLocks noGrp="1"/>
          </p:cNvSpPr>
          <p:nvPr>
            <p:ph type="body" sz="quarter" idx="15"/>
          </p:nvPr>
        </p:nvSpPr>
        <p:spPr/>
        <p:txBody>
          <a:bodyPr/>
          <a:lstStyle/>
          <a:p>
            <a:endParaRPr lang="en-US"/>
          </a:p>
        </p:txBody>
      </p:sp>
      <p:sp>
        <p:nvSpPr>
          <p:cNvPr id="5" name="Title 4"/>
          <p:cNvSpPr>
            <a:spLocks noGrp="1"/>
          </p:cNvSpPr>
          <p:nvPr>
            <p:ph type="title"/>
          </p:nvPr>
        </p:nvSpPr>
        <p:spPr/>
        <p:txBody>
          <a:bodyPr/>
          <a:lstStyle/>
          <a:p>
            <a:r>
              <a:rPr lang="da-DK" dirty="0" err="1"/>
              <a:t>Key</a:t>
            </a:r>
            <a:r>
              <a:rPr lang="da-DK" dirty="0"/>
              <a:t> Financials</a:t>
            </a:r>
            <a:endParaRPr lang="en-US" dirty="0"/>
          </a:p>
        </p:txBody>
      </p:sp>
      <p:sp>
        <p:nvSpPr>
          <p:cNvPr id="11" name="Tekstfelt 5"/>
          <p:cNvSpPr txBox="1"/>
          <p:nvPr/>
        </p:nvSpPr>
        <p:spPr>
          <a:xfrm>
            <a:off x="8977893" y="3535399"/>
            <a:ext cx="3677063" cy="2908489"/>
          </a:xfrm>
          <a:prstGeom prst="rect">
            <a:avLst/>
          </a:prstGeom>
          <a:noFill/>
          <a:ln>
            <a:noFill/>
          </a:ln>
        </p:spPr>
        <p:txBody>
          <a:bodyPr wrap="square" rtlCol="0">
            <a:spAutoFit/>
          </a:bodyPr>
          <a:lstStyle/>
          <a:p>
            <a:endParaRPr lang="da-DK" sz="300" b="1" dirty="0">
              <a:solidFill>
                <a:schemeClr val="tx1">
                  <a:lumMod val="75000"/>
                  <a:lumOff val="25000"/>
                </a:schemeClr>
              </a:solidFill>
            </a:endParaRPr>
          </a:p>
          <a:p>
            <a:r>
              <a:rPr lang="da-DK" sz="1200" dirty="0">
                <a:solidFill>
                  <a:schemeClr val="tx1">
                    <a:lumMod val="75000"/>
                    <a:lumOff val="25000"/>
                  </a:schemeClr>
                </a:solidFill>
              </a:rPr>
              <a:t>Initial irreversible </a:t>
            </a:r>
            <a:r>
              <a:rPr lang="da-DK" sz="1200" dirty="0" err="1">
                <a:solidFill>
                  <a:schemeClr val="tx1">
                    <a:lumMod val="75000"/>
                    <a:lumOff val="25000"/>
                  </a:schemeClr>
                </a:solidFill>
              </a:rPr>
              <a:t>investment</a:t>
            </a:r>
            <a:r>
              <a:rPr lang="da-DK" sz="1200" dirty="0">
                <a:solidFill>
                  <a:schemeClr val="tx1">
                    <a:lumMod val="75000"/>
                    <a:lumOff val="25000"/>
                  </a:schemeClr>
                </a:solidFill>
              </a:rPr>
              <a:t>:</a:t>
            </a:r>
          </a:p>
          <a:p>
            <a:r>
              <a:rPr lang="da-DK" sz="1200" dirty="0">
                <a:solidFill>
                  <a:schemeClr val="tx1">
                    <a:lumMod val="75000"/>
                    <a:lumOff val="25000"/>
                  </a:schemeClr>
                </a:solidFill>
              </a:rPr>
              <a:t>$90 M for plant + $40 M over</a:t>
            </a:r>
            <a:br>
              <a:rPr lang="da-DK" sz="1200" dirty="0">
                <a:solidFill>
                  <a:schemeClr val="tx1">
                    <a:lumMod val="75000"/>
                    <a:lumOff val="25000"/>
                  </a:schemeClr>
                </a:solidFill>
              </a:rPr>
            </a:br>
            <a:r>
              <a:rPr lang="da-DK" sz="1200" dirty="0">
                <a:solidFill>
                  <a:schemeClr val="tx1">
                    <a:lumMod val="75000"/>
                    <a:lumOff val="25000"/>
                  </a:schemeClr>
                </a:solidFill>
              </a:rPr>
              <a:t>3 </a:t>
            </a:r>
            <a:r>
              <a:rPr lang="da-DK" sz="1200" dirty="0" err="1">
                <a:solidFill>
                  <a:schemeClr val="tx1">
                    <a:lumMod val="75000"/>
                    <a:lumOff val="25000"/>
                  </a:schemeClr>
                </a:solidFill>
              </a:rPr>
              <a:t>years</a:t>
            </a:r>
            <a:r>
              <a:rPr lang="da-DK" sz="1200" dirty="0">
                <a:solidFill>
                  <a:schemeClr val="tx1">
                    <a:lumMod val="75000"/>
                    <a:lumOff val="25000"/>
                  </a:schemeClr>
                </a:solidFill>
              </a:rPr>
              <a:t> for </a:t>
            </a:r>
            <a:r>
              <a:rPr lang="da-DK" sz="1200" dirty="0" err="1">
                <a:solidFill>
                  <a:schemeClr val="tx1">
                    <a:lumMod val="75000"/>
                    <a:lumOff val="25000"/>
                  </a:schemeClr>
                </a:solidFill>
              </a:rPr>
              <a:t>wages</a:t>
            </a:r>
            <a:r>
              <a:rPr lang="da-DK" sz="1200" dirty="0">
                <a:solidFill>
                  <a:schemeClr val="tx1">
                    <a:lumMod val="75000"/>
                    <a:lumOff val="25000"/>
                  </a:schemeClr>
                </a:solidFill>
              </a:rPr>
              <a:t>, </a:t>
            </a:r>
            <a:r>
              <a:rPr lang="da-DK" sz="1200" dirty="0" err="1">
                <a:solidFill>
                  <a:schemeClr val="tx1">
                    <a:lumMod val="75000"/>
                    <a:lumOff val="25000"/>
                  </a:schemeClr>
                </a:solidFill>
              </a:rPr>
              <a:t>commercials</a:t>
            </a:r>
            <a:r>
              <a:rPr lang="da-DK" sz="1200" dirty="0">
                <a:solidFill>
                  <a:schemeClr val="tx1">
                    <a:lumMod val="75000"/>
                    <a:lumOff val="25000"/>
                  </a:schemeClr>
                </a:solidFill>
              </a:rPr>
              <a:t>,</a:t>
            </a:r>
            <a:br>
              <a:rPr lang="da-DK" sz="1200" dirty="0">
                <a:solidFill>
                  <a:schemeClr val="tx1">
                    <a:lumMod val="75000"/>
                    <a:lumOff val="25000"/>
                  </a:schemeClr>
                </a:solidFill>
              </a:rPr>
            </a:br>
            <a:r>
              <a:rPr lang="da-DK" sz="1200" dirty="0" err="1">
                <a:solidFill>
                  <a:schemeClr val="tx1">
                    <a:lumMod val="75000"/>
                    <a:lumOff val="25000"/>
                  </a:schemeClr>
                </a:solidFill>
              </a:rPr>
              <a:t>funding</a:t>
            </a:r>
            <a:r>
              <a:rPr lang="da-DK" sz="1200" dirty="0">
                <a:solidFill>
                  <a:schemeClr val="tx1">
                    <a:lumMod val="75000"/>
                    <a:lumOff val="25000"/>
                  </a:schemeClr>
                </a:solidFill>
              </a:rPr>
              <a:t> of </a:t>
            </a:r>
            <a:r>
              <a:rPr lang="da-DK" sz="1200" dirty="0" err="1">
                <a:solidFill>
                  <a:schemeClr val="tx1">
                    <a:lumMod val="75000"/>
                    <a:lumOff val="25000"/>
                  </a:schemeClr>
                </a:solidFill>
              </a:rPr>
              <a:t>initiatives</a:t>
            </a:r>
            <a:r>
              <a:rPr lang="da-DK" sz="1200" dirty="0">
                <a:solidFill>
                  <a:schemeClr val="tx1">
                    <a:lumMod val="75000"/>
                    <a:lumOff val="25000"/>
                  </a:schemeClr>
                </a:solidFill>
              </a:rPr>
              <a:t> etc.</a:t>
            </a:r>
          </a:p>
          <a:p>
            <a:endParaRPr lang="da-DK" sz="1200" dirty="0">
              <a:solidFill>
                <a:schemeClr val="tx1">
                  <a:lumMod val="75000"/>
                  <a:lumOff val="25000"/>
                </a:schemeClr>
              </a:solidFill>
            </a:endParaRPr>
          </a:p>
          <a:p>
            <a:r>
              <a:rPr lang="da-DK" sz="1200" dirty="0">
                <a:solidFill>
                  <a:schemeClr val="tx1">
                    <a:lumMod val="75000"/>
                    <a:lumOff val="25000"/>
                  </a:schemeClr>
                </a:solidFill>
              </a:rPr>
              <a:t>Gross margins up by 1% pr </a:t>
            </a:r>
            <a:r>
              <a:rPr lang="da-DK" sz="1200" dirty="0" err="1">
                <a:solidFill>
                  <a:schemeClr val="tx1">
                    <a:lumMod val="75000"/>
                    <a:lumOff val="25000"/>
                  </a:schemeClr>
                </a:solidFill>
              </a:rPr>
              <a:t>year</a:t>
            </a:r>
            <a:endParaRPr lang="da-DK" sz="1200" dirty="0">
              <a:solidFill>
                <a:schemeClr val="tx1">
                  <a:lumMod val="75000"/>
                  <a:lumOff val="25000"/>
                </a:schemeClr>
              </a:solidFill>
            </a:endParaRPr>
          </a:p>
          <a:p>
            <a:endParaRPr lang="da-DK" sz="1200" dirty="0">
              <a:solidFill>
                <a:schemeClr val="tx1">
                  <a:lumMod val="75000"/>
                  <a:lumOff val="25000"/>
                </a:schemeClr>
              </a:solidFill>
            </a:endParaRPr>
          </a:p>
          <a:p>
            <a:r>
              <a:rPr lang="da-DK" sz="1200" dirty="0">
                <a:solidFill>
                  <a:schemeClr val="tx1">
                    <a:lumMod val="75000"/>
                    <a:lumOff val="25000"/>
                  </a:schemeClr>
                </a:solidFill>
              </a:rPr>
              <a:t>Opr. </a:t>
            </a:r>
            <a:r>
              <a:rPr lang="da-DK" sz="1200" dirty="0" err="1">
                <a:solidFill>
                  <a:schemeClr val="tx1">
                    <a:lumMod val="75000"/>
                    <a:lumOff val="25000"/>
                  </a:schemeClr>
                </a:solidFill>
              </a:rPr>
              <a:t>Cost</a:t>
            </a:r>
            <a:r>
              <a:rPr lang="da-DK" sz="1200" dirty="0">
                <a:solidFill>
                  <a:schemeClr val="tx1">
                    <a:lumMod val="75000"/>
                    <a:lumOff val="25000"/>
                  </a:schemeClr>
                </a:solidFill>
              </a:rPr>
              <a:t> pr. </a:t>
            </a:r>
            <a:r>
              <a:rPr lang="da-DK" sz="1200" dirty="0" err="1">
                <a:solidFill>
                  <a:schemeClr val="tx1">
                    <a:lumMod val="75000"/>
                    <a:lumOff val="25000"/>
                  </a:schemeClr>
                </a:solidFill>
              </a:rPr>
              <a:t>customer</a:t>
            </a:r>
            <a:r>
              <a:rPr lang="da-DK" sz="1200" dirty="0">
                <a:solidFill>
                  <a:schemeClr val="tx1">
                    <a:lumMod val="75000"/>
                    <a:lumOff val="25000"/>
                  </a:schemeClr>
                </a:solidFill>
              </a:rPr>
              <a:t> </a:t>
            </a:r>
            <a:r>
              <a:rPr lang="da-DK" sz="1200" dirty="0" err="1">
                <a:solidFill>
                  <a:schemeClr val="tx1">
                    <a:lumMod val="75000"/>
                    <a:lumOff val="25000"/>
                  </a:schemeClr>
                </a:solidFill>
              </a:rPr>
              <a:t>unchanged</a:t>
            </a:r>
            <a:endParaRPr lang="da-DK" sz="1200" dirty="0">
              <a:solidFill>
                <a:schemeClr val="tx1">
                  <a:lumMod val="75000"/>
                  <a:lumOff val="25000"/>
                </a:schemeClr>
              </a:solidFill>
            </a:endParaRPr>
          </a:p>
          <a:p>
            <a:endParaRPr lang="da-DK" sz="1200" dirty="0">
              <a:solidFill>
                <a:schemeClr val="tx1">
                  <a:lumMod val="75000"/>
                  <a:lumOff val="25000"/>
                </a:schemeClr>
              </a:solidFill>
            </a:endParaRPr>
          </a:p>
          <a:p>
            <a:r>
              <a:rPr lang="da-DK" sz="1200" dirty="0">
                <a:solidFill>
                  <a:schemeClr val="tx1">
                    <a:lumMod val="75000"/>
                    <a:lumOff val="25000"/>
                  </a:schemeClr>
                </a:solidFill>
              </a:rPr>
              <a:t>Growth in </a:t>
            </a:r>
            <a:r>
              <a:rPr lang="da-DK" sz="1200" dirty="0" err="1">
                <a:solidFill>
                  <a:schemeClr val="tx1">
                    <a:lumMod val="75000"/>
                    <a:lumOff val="25000"/>
                  </a:schemeClr>
                </a:solidFill>
              </a:rPr>
              <a:t>customer</a:t>
            </a:r>
            <a:r>
              <a:rPr lang="da-DK" sz="1200" dirty="0">
                <a:solidFill>
                  <a:schemeClr val="tx1">
                    <a:lumMod val="75000"/>
                    <a:lumOff val="25000"/>
                  </a:schemeClr>
                </a:solidFill>
              </a:rPr>
              <a:t> base case:</a:t>
            </a:r>
          </a:p>
          <a:p>
            <a:r>
              <a:rPr lang="da-DK" sz="1200" dirty="0">
                <a:solidFill>
                  <a:schemeClr val="tx1">
                    <a:lumMod val="75000"/>
                    <a:lumOff val="25000"/>
                  </a:schemeClr>
                </a:solidFill>
              </a:rPr>
              <a:t>300.000 by 2020 for </a:t>
            </a:r>
            <a:r>
              <a:rPr lang="da-DK" sz="1200" dirty="0" err="1">
                <a:solidFill>
                  <a:schemeClr val="tx1">
                    <a:lumMod val="75000"/>
                    <a:lumOff val="25000"/>
                  </a:schemeClr>
                </a:solidFill>
              </a:rPr>
              <a:t>electricity</a:t>
            </a:r>
            <a:br>
              <a:rPr lang="da-DK" sz="1200" dirty="0">
                <a:solidFill>
                  <a:schemeClr val="tx1">
                    <a:lumMod val="75000"/>
                    <a:lumOff val="25000"/>
                  </a:schemeClr>
                </a:solidFill>
              </a:rPr>
            </a:br>
            <a:r>
              <a:rPr lang="da-DK" sz="1200" dirty="0">
                <a:solidFill>
                  <a:schemeClr val="tx1">
                    <a:lumMod val="75000"/>
                    <a:lumOff val="25000"/>
                  </a:schemeClr>
                </a:solidFill>
              </a:rPr>
              <a:t>100.000 by 2020 for gas</a:t>
            </a:r>
          </a:p>
          <a:p>
            <a:endParaRPr lang="da-DK" sz="1200" dirty="0">
              <a:solidFill>
                <a:schemeClr val="tx1">
                  <a:lumMod val="75000"/>
                  <a:lumOff val="25000"/>
                </a:schemeClr>
              </a:solidFill>
            </a:endParaRPr>
          </a:p>
          <a:p>
            <a:r>
              <a:rPr lang="da-DK" sz="1200" dirty="0">
                <a:solidFill>
                  <a:schemeClr val="tx1">
                    <a:lumMod val="75000"/>
                    <a:lumOff val="25000"/>
                  </a:schemeClr>
                </a:solidFill>
                <a:latin typeface="Arial" charset="0"/>
                <a:ea typeface="Arial" charset="0"/>
                <a:cs typeface="Arial" charset="0"/>
              </a:rPr>
              <a:t>Discount rate of 15%</a:t>
            </a:r>
          </a:p>
          <a:p>
            <a:endParaRPr lang="da-DK" sz="1200" dirty="0">
              <a:solidFill>
                <a:schemeClr val="tx1">
                  <a:lumMod val="75000"/>
                  <a:lumOff val="25000"/>
                </a:schemeClr>
              </a:solidFill>
            </a:endParaRPr>
          </a:p>
        </p:txBody>
      </p:sp>
      <p:sp>
        <p:nvSpPr>
          <p:cNvPr id="13" name="Tekstfelt 5"/>
          <p:cNvSpPr txBox="1"/>
          <p:nvPr/>
        </p:nvSpPr>
        <p:spPr>
          <a:xfrm>
            <a:off x="8441983" y="3304088"/>
            <a:ext cx="2920734" cy="307777"/>
          </a:xfrm>
          <a:prstGeom prst="rect">
            <a:avLst/>
          </a:prstGeom>
          <a:noFill/>
          <a:ln>
            <a:noFill/>
          </a:ln>
        </p:spPr>
        <p:txBody>
          <a:bodyPr wrap="square" rtlCol="0">
            <a:spAutoFit/>
          </a:bodyPr>
          <a:lstStyle/>
          <a:p>
            <a:r>
              <a:rPr lang="da-DK" sz="1400" b="1" dirty="0" err="1">
                <a:solidFill>
                  <a:schemeClr val="tx1">
                    <a:lumMod val="75000"/>
                    <a:lumOff val="25000"/>
                  </a:schemeClr>
                </a:solidFill>
                <a:latin typeface="Arial" charset="0"/>
                <a:ea typeface="Arial" charset="0"/>
                <a:cs typeface="Arial" charset="0"/>
              </a:rPr>
              <a:t>Key</a:t>
            </a:r>
            <a:r>
              <a:rPr lang="da-DK" sz="1400" b="1" dirty="0">
                <a:solidFill>
                  <a:schemeClr val="tx1">
                    <a:lumMod val="75000"/>
                    <a:lumOff val="25000"/>
                  </a:schemeClr>
                </a:solidFill>
                <a:latin typeface="Arial" charset="0"/>
                <a:ea typeface="Arial" charset="0"/>
                <a:cs typeface="Arial" charset="0"/>
              </a:rPr>
              <a:t> </a:t>
            </a:r>
            <a:r>
              <a:rPr lang="da-DK" sz="1400" b="1" dirty="0" err="1">
                <a:solidFill>
                  <a:schemeClr val="tx1">
                    <a:lumMod val="75000"/>
                    <a:lumOff val="25000"/>
                  </a:schemeClr>
                </a:solidFill>
                <a:latin typeface="Arial" charset="0"/>
                <a:ea typeface="Arial" charset="0"/>
                <a:cs typeface="Arial" charset="0"/>
              </a:rPr>
              <a:t>assumptions</a:t>
            </a:r>
            <a:endParaRPr lang="da-DK" sz="1400" b="1" dirty="0">
              <a:solidFill>
                <a:schemeClr val="tx1">
                  <a:lumMod val="75000"/>
                  <a:lumOff val="25000"/>
                </a:schemeClr>
              </a:solidFill>
              <a:latin typeface="Arial" charset="0"/>
              <a:ea typeface="Arial" charset="0"/>
              <a:cs typeface="Arial" charset="0"/>
            </a:endParaRPr>
          </a:p>
        </p:txBody>
      </p:sp>
      <p:pic>
        <p:nvPicPr>
          <p:cNvPr id="17" name="Picture 16"/>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19591" y="4486344"/>
            <a:ext cx="334646" cy="334646"/>
          </a:xfrm>
          <a:prstGeom prst="rect">
            <a:avLst/>
          </a:prstGeom>
        </p:spPr>
      </p:pic>
      <p:pic>
        <p:nvPicPr>
          <p:cNvPr id="18" name="Picture 17"/>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12356" y="5397526"/>
            <a:ext cx="360000" cy="360000"/>
          </a:xfrm>
          <a:prstGeom prst="rect">
            <a:avLst/>
          </a:prstGeom>
        </p:spPr>
      </p:pic>
      <p:pic>
        <p:nvPicPr>
          <p:cNvPr id="22" name="Picture 21"/>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19591" y="4901616"/>
            <a:ext cx="319445" cy="319445"/>
          </a:xfrm>
          <a:prstGeom prst="rect">
            <a:avLst/>
          </a:prstGeom>
        </p:spPr>
      </p:pic>
      <p:pic>
        <p:nvPicPr>
          <p:cNvPr id="24" name="Picture 23"/>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39253" y="3830952"/>
            <a:ext cx="325070" cy="325070"/>
          </a:xfrm>
          <a:prstGeom prst="rect">
            <a:avLst/>
          </a:prstGeom>
        </p:spPr>
      </p:pic>
      <p:pic>
        <p:nvPicPr>
          <p:cNvPr id="25" name="Picture 24"/>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57941" y="5933991"/>
            <a:ext cx="360000" cy="360000"/>
          </a:xfrm>
          <a:prstGeom prst="rect">
            <a:avLst/>
          </a:prstGeom>
        </p:spPr>
      </p:pic>
      <p:graphicFrame>
        <p:nvGraphicFramePr>
          <p:cNvPr id="26" name="Chart 25"/>
          <p:cNvGraphicFramePr>
            <a:graphicFrameLocks/>
          </p:cNvGraphicFramePr>
          <p:nvPr/>
        </p:nvGraphicFramePr>
        <p:xfrm>
          <a:off x="279400" y="3967765"/>
          <a:ext cx="8171722" cy="2239602"/>
        </p:xfrm>
        <a:graphic>
          <a:graphicData uri="http://schemas.openxmlformats.org/drawingml/2006/chart">
            <c:chart xmlns:c="http://schemas.openxmlformats.org/drawingml/2006/chart" xmlns:r="http://schemas.openxmlformats.org/officeDocument/2006/relationships" r:id="rId7"/>
          </a:graphicData>
        </a:graphic>
      </p:graphicFrame>
      <p:sp>
        <p:nvSpPr>
          <p:cNvPr id="28" name="TextBox 27"/>
          <p:cNvSpPr txBox="1"/>
          <p:nvPr/>
        </p:nvSpPr>
        <p:spPr>
          <a:xfrm>
            <a:off x="1540816" y="3652918"/>
            <a:ext cx="4706481" cy="307777"/>
          </a:xfrm>
          <a:prstGeom prst="rect">
            <a:avLst/>
          </a:prstGeom>
          <a:noFill/>
        </p:spPr>
        <p:txBody>
          <a:bodyPr wrap="none" rtlCol="0">
            <a:spAutoFit/>
          </a:bodyPr>
          <a:lstStyle/>
          <a:p>
            <a:r>
              <a:rPr lang="da-DK" sz="1400" b="1" dirty="0"/>
              <a:t>In base case, AGL </a:t>
            </a:r>
            <a:r>
              <a:rPr lang="da-DK" sz="1400" b="1" dirty="0" err="1"/>
              <a:t>will</a:t>
            </a:r>
            <a:r>
              <a:rPr lang="da-DK" sz="1400" b="1" dirty="0"/>
              <a:t> face payback </a:t>
            </a:r>
            <a:r>
              <a:rPr lang="da-DK" sz="1400" b="1" dirty="0" err="1"/>
              <a:t>period</a:t>
            </a:r>
            <a:r>
              <a:rPr lang="da-DK" sz="1400" b="1" dirty="0"/>
              <a:t> of 3 </a:t>
            </a:r>
            <a:r>
              <a:rPr lang="da-DK" sz="1400" b="1" dirty="0" err="1"/>
              <a:t>years</a:t>
            </a:r>
            <a:endParaRPr lang="en-US" sz="1400" b="1" dirty="0"/>
          </a:p>
        </p:txBody>
      </p:sp>
      <p:graphicFrame>
        <p:nvGraphicFramePr>
          <p:cNvPr id="29" name="Chart 28"/>
          <p:cNvGraphicFramePr>
            <a:graphicFrameLocks/>
          </p:cNvGraphicFramePr>
          <p:nvPr/>
        </p:nvGraphicFramePr>
        <p:xfrm>
          <a:off x="1244600" y="1547701"/>
          <a:ext cx="5448300" cy="2064536"/>
        </p:xfrm>
        <a:graphic>
          <a:graphicData uri="http://schemas.openxmlformats.org/drawingml/2006/chart">
            <c:chart xmlns:c="http://schemas.openxmlformats.org/drawingml/2006/chart" xmlns:r="http://schemas.openxmlformats.org/officeDocument/2006/relationships" r:id="rId8"/>
          </a:graphicData>
        </a:graphic>
      </p:graphicFrame>
      <p:sp>
        <p:nvSpPr>
          <p:cNvPr id="27" name="Tekstfelt 5"/>
          <p:cNvSpPr txBox="1"/>
          <p:nvPr/>
        </p:nvSpPr>
        <p:spPr>
          <a:xfrm>
            <a:off x="8425169" y="1239924"/>
            <a:ext cx="2920734" cy="307777"/>
          </a:xfrm>
          <a:prstGeom prst="rect">
            <a:avLst/>
          </a:prstGeom>
          <a:noFill/>
          <a:ln>
            <a:noFill/>
          </a:ln>
        </p:spPr>
        <p:txBody>
          <a:bodyPr wrap="square" rtlCol="0">
            <a:spAutoFit/>
          </a:bodyPr>
          <a:lstStyle/>
          <a:p>
            <a:r>
              <a:rPr lang="da-DK" sz="1400" b="1" dirty="0">
                <a:solidFill>
                  <a:schemeClr val="tx1">
                    <a:lumMod val="75000"/>
                    <a:lumOff val="25000"/>
                  </a:schemeClr>
                </a:solidFill>
                <a:latin typeface="Arial" charset="0"/>
                <a:ea typeface="Arial" charset="0"/>
                <a:cs typeface="Arial" charset="0"/>
              </a:rPr>
              <a:t>Main </a:t>
            </a:r>
            <a:r>
              <a:rPr lang="da-DK" sz="1400" b="1" dirty="0" err="1">
                <a:solidFill>
                  <a:schemeClr val="tx1">
                    <a:lumMod val="75000"/>
                    <a:lumOff val="25000"/>
                  </a:schemeClr>
                </a:solidFill>
                <a:latin typeface="Arial" charset="0"/>
                <a:ea typeface="Arial" charset="0"/>
                <a:cs typeface="Arial" charset="0"/>
              </a:rPr>
              <a:t>Costs</a:t>
            </a:r>
            <a:r>
              <a:rPr lang="da-DK" sz="1400" b="1" dirty="0">
                <a:solidFill>
                  <a:schemeClr val="tx1">
                    <a:lumMod val="75000"/>
                    <a:lumOff val="25000"/>
                  </a:schemeClr>
                </a:solidFill>
                <a:latin typeface="Arial" charset="0"/>
                <a:ea typeface="Arial" charset="0"/>
                <a:cs typeface="Arial" charset="0"/>
              </a:rPr>
              <a:t> Drivers</a:t>
            </a:r>
          </a:p>
        </p:txBody>
      </p:sp>
      <p:pic>
        <p:nvPicPr>
          <p:cNvPr id="3" name="Billed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63413" y="1694319"/>
            <a:ext cx="408943" cy="408943"/>
          </a:xfrm>
          <a:prstGeom prst="rect">
            <a:avLst/>
          </a:prstGeom>
        </p:spPr>
      </p:pic>
      <p:sp>
        <p:nvSpPr>
          <p:cNvPr id="39" name="Tekstfelt 5"/>
          <p:cNvSpPr txBox="1"/>
          <p:nvPr/>
        </p:nvSpPr>
        <p:spPr>
          <a:xfrm>
            <a:off x="8977893" y="1613958"/>
            <a:ext cx="2920734" cy="461665"/>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charset="0"/>
                <a:ea typeface="Arial" charset="0"/>
                <a:cs typeface="Arial" charset="0"/>
              </a:rPr>
              <a:t>Plant</a:t>
            </a:r>
            <a:r>
              <a:rPr lang="en-AU" sz="1200" dirty="0">
                <a:solidFill>
                  <a:schemeClr val="tx1">
                    <a:lumMod val="75000"/>
                    <a:lumOff val="25000"/>
                  </a:schemeClr>
                </a:solidFill>
                <a:latin typeface="Arial" charset="0"/>
                <a:ea typeface="Arial" charset="0"/>
                <a:cs typeface="Arial" charset="0"/>
              </a:rPr>
              <a:t>: Similar plants requires CAPEX of $70-80 M.</a:t>
            </a:r>
            <a:endParaRPr lang="en-AU" sz="1200" b="1" dirty="0">
              <a:solidFill>
                <a:schemeClr val="tx1">
                  <a:lumMod val="75000"/>
                  <a:lumOff val="25000"/>
                </a:schemeClr>
              </a:solidFill>
              <a:latin typeface="Arial" charset="0"/>
              <a:ea typeface="Arial" charset="0"/>
              <a:cs typeface="Arial" charset="0"/>
            </a:endParaRPr>
          </a:p>
        </p:txBody>
      </p:sp>
      <p:pic>
        <p:nvPicPr>
          <p:cNvPr id="10" name="Billed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25169" y="2166762"/>
            <a:ext cx="419100" cy="419100"/>
          </a:xfrm>
          <a:prstGeom prst="rect">
            <a:avLst/>
          </a:prstGeom>
        </p:spPr>
      </p:pic>
      <p:sp>
        <p:nvSpPr>
          <p:cNvPr id="40" name="Tekstfelt 5"/>
          <p:cNvSpPr txBox="1"/>
          <p:nvPr/>
        </p:nvSpPr>
        <p:spPr>
          <a:xfrm>
            <a:off x="8977893" y="2188888"/>
            <a:ext cx="2920734" cy="461665"/>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charset="0"/>
                <a:ea typeface="Arial" charset="0"/>
                <a:cs typeface="Arial" charset="0"/>
              </a:rPr>
              <a:t>Funding</a:t>
            </a:r>
            <a:r>
              <a:rPr lang="en-AU" sz="1200" dirty="0">
                <a:solidFill>
                  <a:schemeClr val="tx1">
                    <a:lumMod val="75000"/>
                    <a:lumOff val="25000"/>
                  </a:schemeClr>
                </a:solidFill>
                <a:latin typeface="Arial" charset="0"/>
                <a:ea typeface="Arial" charset="0"/>
                <a:cs typeface="Arial" charset="0"/>
              </a:rPr>
              <a:t>: 3 initiatives of $200.000 annually. </a:t>
            </a:r>
            <a:endParaRPr lang="en-AU" sz="1200" b="1" dirty="0">
              <a:solidFill>
                <a:schemeClr val="tx1">
                  <a:lumMod val="75000"/>
                  <a:lumOff val="25000"/>
                </a:schemeClr>
              </a:solidFill>
              <a:latin typeface="Arial" charset="0"/>
              <a:ea typeface="Arial" charset="0"/>
              <a:cs typeface="Arial" charset="0"/>
            </a:endParaRPr>
          </a:p>
        </p:txBody>
      </p:sp>
      <p:pic>
        <p:nvPicPr>
          <p:cNvPr id="41" name="Billede 40"/>
          <p:cNvPicPr>
            <a:picLocks noChangeAspect="1"/>
          </p:cNvPicPr>
          <p:nvPr/>
        </p:nvPicPr>
        <p:blipFill>
          <a:blip r:embed="rId11"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463413" y="2723484"/>
            <a:ext cx="360000" cy="360000"/>
          </a:xfrm>
          <a:prstGeom prst="rect">
            <a:avLst/>
          </a:prstGeom>
        </p:spPr>
      </p:pic>
      <p:sp>
        <p:nvSpPr>
          <p:cNvPr id="42" name="Tekstfelt 5"/>
          <p:cNvSpPr txBox="1"/>
          <p:nvPr/>
        </p:nvSpPr>
        <p:spPr>
          <a:xfrm>
            <a:off x="8980083" y="2650553"/>
            <a:ext cx="2920734" cy="461665"/>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charset="0"/>
                <a:ea typeface="Arial" charset="0"/>
                <a:cs typeface="Arial" charset="0"/>
              </a:rPr>
              <a:t>TV campaign</a:t>
            </a:r>
            <a:r>
              <a:rPr lang="en-AU" sz="1200" dirty="0">
                <a:solidFill>
                  <a:schemeClr val="tx1">
                    <a:lumMod val="75000"/>
                    <a:lumOff val="25000"/>
                  </a:schemeClr>
                </a:solidFill>
                <a:latin typeface="Arial" charset="0"/>
                <a:ea typeface="Arial" charset="0"/>
                <a:cs typeface="Arial" charset="0"/>
              </a:rPr>
              <a:t>: Spend pr. year estimated $1.5 M for three years.</a:t>
            </a:r>
            <a:endParaRPr lang="en-AU" sz="1200" b="1" dirty="0">
              <a:solidFill>
                <a:schemeClr val="tx1">
                  <a:lumMod val="75000"/>
                  <a:lumOff val="25000"/>
                </a:schemeClr>
              </a:solidFill>
              <a:latin typeface="Arial" charset="0"/>
              <a:ea typeface="Arial" charset="0"/>
              <a:cs typeface="Arial" charset="0"/>
            </a:endParaRPr>
          </a:p>
        </p:txBody>
      </p:sp>
      <p:sp>
        <p:nvSpPr>
          <p:cNvPr id="43" name="TextBox 27"/>
          <p:cNvSpPr txBox="1"/>
          <p:nvPr/>
        </p:nvSpPr>
        <p:spPr>
          <a:xfrm>
            <a:off x="1540816" y="1232854"/>
            <a:ext cx="3794372" cy="307777"/>
          </a:xfrm>
          <a:prstGeom prst="rect">
            <a:avLst/>
          </a:prstGeom>
          <a:noFill/>
        </p:spPr>
        <p:txBody>
          <a:bodyPr wrap="none" rtlCol="0">
            <a:spAutoFit/>
          </a:bodyPr>
          <a:lstStyle/>
          <a:p>
            <a:r>
              <a:rPr lang="da-DK" sz="1400" b="1" dirty="0"/>
              <a:t>In base case, AGL </a:t>
            </a:r>
            <a:r>
              <a:rPr lang="da-DK" sz="1400" b="1" dirty="0" err="1"/>
              <a:t>will</a:t>
            </a:r>
            <a:r>
              <a:rPr lang="da-DK" sz="1400" b="1" dirty="0"/>
              <a:t> have NPV of $224 M</a:t>
            </a:r>
            <a:endParaRPr lang="en-US" sz="1400" b="1" dirty="0"/>
          </a:p>
        </p:txBody>
      </p:sp>
      <p:cxnSp>
        <p:nvCxnSpPr>
          <p:cNvPr id="30" name="Lige forbindelse 29"/>
          <p:cNvCxnSpPr/>
          <p:nvPr/>
        </p:nvCxnSpPr>
        <p:spPr>
          <a:xfrm>
            <a:off x="8229803" y="1327724"/>
            <a:ext cx="0" cy="4742118"/>
          </a:xfrm>
          <a:prstGeom prst="line">
            <a:avLst/>
          </a:prstGeom>
          <a:ln w="222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8866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p:cNvSpPr>
            <a:spLocks noGrp="1"/>
          </p:cNvSpPr>
          <p:nvPr>
            <p:ph type="body" sz="quarter" idx="13"/>
          </p:nvPr>
        </p:nvSpPr>
        <p:spPr/>
        <p:txBody>
          <a:bodyPr/>
          <a:lstStyle/>
          <a:p>
            <a:endParaRPr lang="en-US"/>
          </a:p>
        </p:txBody>
      </p:sp>
      <p:sp>
        <p:nvSpPr>
          <p:cNvPr id="5" name="Pladsholder til tekst 4"/>
          <p:cNvSpPr>
            <a:spLocks noGrp="1"/>
          </p:cNvSpPr>
          <p:nvPr>
            <p:ph type="body" sz="quarter" idx="15"/>
          </p:nvPr>
        </p:nvSpPr>
        <p:spPr/>
        <p:txBody>
          <a:bodyPr/>
          <a:lstStyle/>
          <a:p>
            <a:endParaRPr lang="en-US"/>
          </a:p>
        </p:txBody>
      </p:sp>
      <p:sp>
        <p:nvSpPr>
          <p:cNvPr id="2" name="Title 1"/>
          <p:cNvSpPr>
            <a:spLocks noGrp="1"/>
          </p:cNvSpPr>
          <p:nvPr>
            <p:ph type="title"/>
          </p:nvPr>
        </p:nvSpPr>
        <p:spPr/>
        <p:txBody>
          <a:bodyPr>
            <a:normAutofit/>
          </a:bodyPr>
          <a:lstStyle/>
          <a:p>
            <a:r>
              <a:rPr lang="en-GB" dirty="0"/>
              <a:t>Back up</a:t>
            </a:r>
            <a:r>
              <a:rPr lang="da-DK" dirty="0"/>
              <a:t> Slide for </a:t>
            </a:r>
            <a:r>
              <a:rPr lang="da-DK" dirty="0" err="1"/>
              <a:t>elaborating</a:t>
            </a:r>
            <a:r>
              <a:rPr lang="da-DK" dirty="0"/>
              <a:t> on </a:t>
            </a:r>
            <a:r>
              <a:rPr lang="da-DK" dirty="0" err="1"/>
              <a:t>cost</a:t>
            </a:r>
            <a:r>
              <a:rPr lang="da-DK" dirty="0"/>
              <a:t> types</a:t>
            </a:r>
            <a:endParaRPr lang="en-GB" dirty="0"/>
          </a:p>
        </p:txBody>
      </p:sp>
      <p:sp>
        <p:nvSpPr>
          <p:cNvPr id="3" name="Slide Number Placeholder 2"/>
          <p:cNvSpPr>
            <a:spLocks noGrp="1"/>
          </p:cNvSpPr>
          <p:nvPr>
            <p:ph type="sldNum" sz="quarter" idx="4294967295"/>
          </p:nvPr>
        </p:nvSpPr>
        <p:spPr>
          <a:xfrm>
            <a:off x="9448800" y="6356350"/>
            <a:ext cx="2743200" cy="365125"/>
          </a:xfrm>
          <a:prstGeom prst="rect">
            <a:avLst/>
          </a:prstGeom>
        </p:spPr>
        <p:txBody>
          <a:bodyPr/>
          <a:lstStyle/>
          <a:p>
            <a:r>
              <a:rPr lang="en-US" sz="800" b="1">
                <a:solidFill>
                  <a:schemeClr val="bg1">
                    <a:lumMod val="50000"/>
                  </a:schemeClr>
                </a:solidFill>
                <a:latin typeface="Arial" charset="0"/>
                <a:ea typeface="Arial" charset="0"/>
                <a:cs typeface="Arial" charset="0"/>
              </a:rPr>
              <a:t> </a:t>
            </a:r>
            <a:r>
              <a:rPr lang="en-US">
                <a:solidFill>
                  <a:schemeClr val="bg1">
                    <a:lumMod val="50000"/>
                  </a:schemeClr>
                </a:solidFill>
                <a:latin typeface="Arial" charset="0"/>
                <a:ea typeface="Arial" charset="0"/>
                <a:cs typeface="Arial" charset="0"/>
              </a:rPr>
              <a:t>|  </a:t>
            </a:r>
            <a:fld id="{E393D1F3-05E6-3E4F-8D1A-AD6886FBA42E}" type="slidenum">
              <a:rPr lang="en-GB" smtClean="0"/>
              <a:pPr/>
              <a:t>55</a:t>
            </a:fld>
            <a:endParaRPr lang="en-GB" dirty="0"/>
          </a:p>
        </p:txBody>
      </p:sp>
      <p:sp>
        <p:nvSpPr>
          <p:cNvPr id="30" name="Rectangle 29"/>
          <p:cNvSpPr/>
          <p:nvPr/>
        </p:nvSpPr>
        <p:spPr>
          <a:xfrm>
            <a:off x="-50650" y="1600336"/>
            <a:ext cx="9766150"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tx1">
                  <a:lumMod val="75000"/>
                  <a:lumOff val="25000"/>
                </a:schemeClr>
              </a:solidFill>
            </a:endParaRPr>
          </a:p>
        </p:txBody>
      </p:sp>
      <p:sp>
        <p:nvSpPr>
          <p:cNvPr id="31" name="TextBox 30"/>
          <p:cNvSpPr txBox="1"/>
          <p:nvPr/>
        </p:nvSpPr>
        <p:spPr>
          <a:xfrm>
            <a:off x="879760" y="1901652"/>
            <a:ext cx="1464111" cy="437043"/>
          </a:xfrm>
          <a:prstGeom prst="rect">
            <a:avLst/>
          </a:prstGeom>
          <a:noFill/>
        </p:spPr>
        <p:txBody>
          <a:bodyPr wrap="square" rtlCol="0">
            <a:spAutoFit/>
          </a:bodyPr>
          <a:lstStyle/>
          <a:p>
            <a:pPr algn="ctr">
              <a:lnSpc>
                <a:spcPct val="80000"/>
              </a:lnSpc>
              <a:defRPr/>
            </a:pPr>
            <a:r>
              <a:rPr lang="da-DK" sz="1400" b="1" dirty="0">
                <a:solidFill>
                  <a:schemeClr val="tx1">
                    <a:lumMod val="75000"/>
                    <a:lumOff val="25000"/>
                  </a:schemeClr>
                </a:solidFill>
                <a:latin typeface="Arial" panose="020B0604020202020204" pitchFamily="34" charset="0"/>
                <a:cs typeface="Arial" panose="020B0604020202020204" pitchFamily="34" charset="0"/>
              </a:rPr>
              <a:t>NEW PLATFORM</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2" name="Rectangle 31"/>
          <p:cNvSpPr/>
          <p:nvPr/>
        </p:nvSpPr>
        <p:spPr>
          <a:xfrm>
            <a:off x="2649805" y="1931351"/>
            <a:ext cx="1383712" cy="369332"/>
          </a:xfrm>
          <a:prstGeom prst="rect">
            <a:avLst/>
          </a:prstGeom>
        </p:spPr>
        <p:txBody>
          <a:bodyPr wrap="none">
            <a:spAutoFit/>
          </a:bodyPr>
          <a:lstStyle/>
          <a:p>
            <a:pPr algn="ctr">
              <a:defRPr/>
            </a:pPr>
            <a:r>
              <a:rPr lang="en-US" b="1" dirty="0">
                <a:solidFill>
                  <a:schemeClr val="tx1">
                    <a:lumMod val="75000"/>
                    <a:lumOff val="25000"/>
                  </a:schemeClr>
                </a:solidFill>
                <a:latin typeface="Arial" panose="020B0604020202020204" pitchFamily="34" charset="0"/>
                <a:cs typeface="Arial" panose="020B0604020202020204" pitchFamily="34" charset="0"/>
              </a:rPr>
              <a:t>~22 M USD</a:t>
            </a:r>
          </a:p>
        </p:txBody>
      </p:sp>
      <p:graphicFrame>
        <p:nvGraphicFramePr>
          <p:cNvPr id="33" name="Chart 32"/>
          <p:cNvGraphicFramePr/>
          <p:nvPr/>
        </p:nvGraphicFramePr>
        <p:xfrm>
          <a:off x="10018738" y="2019752"/>
          <a:ext cx="1941198" cy="1378183"/>
        </p:xfrm>
        <a:graphic>
          <a:graphicData uri="http://schemas.openxmlformats.org/drawingml/2006/chart">
            <c:chart xmlns:c="http://schemas.openxmlformats.org/drawingml/2006/chart" xmlns:r="http://schemas.openxmlformats.org/officeDocument/2006/relationships" r:id="rId2"/>
          </a:graphicData>
        </a:graphic>
      </p:graphicFrame>
      <p:sp>
        <p:nvSpPr>
          <p:cNvPr id="34" name="TextBox 33"/>
          <p:cNvSpPr txBox="1"/>
          <p:nvPr/>
        </p:nvSpPr>
        <p:spPr>
          <a:xfrm>
            <a:off x="10627002" y="2531684"/>
            <a:ext cx="724669"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schemeClr val="tx1">
                    <a:lumMod val="85000"/>
                    <a:lumOff val="15000"/>
                  </a:schemeClr>
                </a:solidFill>
                <a:effectLst/>
                <a:uLnTx/>
                <a:uFillTx/>
                <a:latin typeface="Montserrat" panose="00000500000000000000" pitchFamily="50" charset="0"/>
              </a:defRPr>
            </a:lvl1pPr>
          </a:lstStyle>
          <a:p>
            <a:r>
              <a:rPr lang="en-US" b="1" dirty="0">
                <a:solidFill>
                  <a:schemeClr val="tx1">
                    <a:lumMod val="75000"/>
                    <a:lumOff val="25000"/>
                  </a:schemeClr>
                </a:solidFill>
                <a:latin typeface="Arial" panose="020B0604020202020204" pitchFamily="34" charset="0"/>
                <a:cs typeface="Arial" panose="020B0604020202020204" pitchFamily="34" charset="0"/>
              </a:rPr>
              <a:t>86.4</a:t>
            </a:r>
          </a:p>
        </p:txBody>
      </p:sp>
      <p:sp>
        <p:nvSpPr>
          <p:cNvPr id="35" name="Afrundet rektangel 16"/>
          <p:cNvSpPr>
            <a:spLocks/>
          </p:cNvSpPr>
          <p:nvPr/>
        </p:nvSpPr>
        <p:spPr bwMode="auto">
          <a:xfrm>
            <a:off x="4588616" y="1942746"/>
            <a:ext cx="2934402" cy="437982"/>
          </a:xfrm>
          <a:prstGeom prst="roundRect">
            <a:avLst/>
          </a:prstGeom>
          <a:noFill/>
          <a:ln w="9525">
            <a:noFill/>
            <a:miter lim="800000"/>
            <a:headEnd/>
            <a:tailEnd/>
          </a:ln>
          <a:effectLst/>
        </p:spPr>
        <p:txBody>
          <a:bodyPr wrap="square" lIns="36000" tIns="36000" rIns="36000" bIns="36000" rtlCol="0" anchor="ctr" anchorCtr="0">
            <a:spAutoFit/>
          </a:bodyPr>
          <a:lstStyle/>
          <a:p>
            <a:pPr>
              <a:spcBef>
                <a:spcPts val="600"/>
              </a:spcBef>
              <a:defRPr/>
            </a:pP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Extra</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FTEs</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a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eded</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o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secu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he right distribution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twork</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in Latin America.</a:t>
            </a:r>
            <a:endParaRPr lang="en-US" sz="1050" b="1" dirty="0">
              <a:solidFill>
                <a:schemeClr val="tx1">
                  <a:lumMod val="75000"/>
                  <a:lumOff val="25000"/>
                </a:schemeClr>
              </a:solidFill>
              <a:latin typeface="Arial" panose="020B0604020202020204" pitchFamily="34" charset="0"/>
              <a:cs typeface="Arial" panose="020B0604020202020204" pitchFamily="34" charset="0"/>
              <a:sym typeface="Verdana"/>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588" y="1897813"/>
            <a:ext cx="527828" cy="527828"/>
          </a:xfrm>
          <a:prstGeom prst="rect">
            <a:avLst/>
          </a:prstGeom>
        </p:spPr>
      </p:pic>
      <p:cxnSp>
        <p:nvCxnSpPr>
          <p:cNvPr id="37" name="Straight Connector 36"/>
          <p:cNvCxnSpPr/>
          <p:nvPr/>
        </p:nvCxnSpPr>
        <p:spPr>
          <a:xfrm>
            <a:off x="-170617" y="1589944"/>
            <a:ext cx="12571849" cy="0"/>
          </a:xfrm>
          <a:prstGeom prst="line">
            <a:avLst/>
          </a:prstGeom>
          <a:ln>
            <a:solidFill>
              <a:srgbClr val="00427A"/>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5101439" y="1265482"/>
            <a:ext cx="3233884" cy="307777"/>
          </a:xfrm>
          <a:prstGeom prst="rect">
            <a:avLst/>
          </a:prstGeom>
        </p:spPr>
        <p:txBody>
          <a:bodyPr wrap="square">
            <a:spAutoFit/>
          </a:bodyPr>
          <a:lstStyle/>
          <a:p>
            <a:pPr>
              <a:defRPr/>
            </a:pPr>
            <a:r>
              <a:rPr lang="da-DK" sz="1400" b="1" dirty="0">
                <a:solidFill>
                  <a:schemeClr val="tx1">
                    <a:lumMod val="75000"/>
                    <a:lumOff val="25000"/>
                  </a:schemeClr>
                </a:solidFill>
                <a:latin typeface="Arial" panose="020B0604020202020204" pitchFamily="34" charset="0"/>
                <a:cs typeface="Arial" panose="020B0604020202020204" pitchFamily="34" charset="0"/>
              </a:rPr>
              <a:t>EXPLANATION</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9" name="Rectangle 38"/>
          <p:cNvSpPr/>
          <p:nvPr/>
        </p:nvSpPr>
        <p:spPr>
          <a:xfrm>
            <a:off x="988746" y="1262181"/>
            <a:ext cx="803233" cy="307777"/>
          </a:xfrm>
          <a:prstGeom prst="rect">
            <a:avLst/>
          </a:prstGeom>
        </p:spPr>
        <p:txBody>
          <a:bodyPr wrap="none">
            <a:spAutoFit/>
          </a:bodyPr>
          <a:lstStyle/>
          <a:p>
            <a:pPr algn="ctr">
              <a:defRPr/>
            </a:pPr>
            <a:r>
              <a:rPr lang="da-DK" sz="1400" b="1" dirty="0">
                <a:solidFill>
                  <a:schemeClr val="tx1">
                    <a:lumMod val="75000"/>
                    <a:lumOff val="25000"/>
                  </a:schemeClr>
                </a:solidFill>
                <a:latin typeface="Arial" panose="020B0604020202020204" pitchFamily="34" charset="0"/>
                <a:cs typeface="Arial" panose="020B0604020202020204" pitchFamily="34" charset="0"/>
              </a:rPr>
              <a:t>COSTS</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0" name="Rectangle 39"/>
          <p:cNvSpPr/>
          <p:nvPr/>
        </p:nvSpPr>
        <p:spPr>
          <a:xfrm>
            <a:off x="2914272" y="1265482"/>
            <a:ext cx="3328457" cy="307777"/>
          </a:xfrm>
          <a:prstGeom prst="rect">
            <a:avLst/>
          </a:prstGeom>
        </p:spPr>
        <p:txBody>
          <a:bodyPr wrap="square">
            <a:spAutoFit/>
          </a:bodyPr>
          <a:lstStyle/>
          <a:p>
            <a:pPr>
              <a:defRPr/>
            </a:pPr>
            <a:r>
              <a:rPr lang="en-US" sz="1400" b="1" dirty="0">
                <a:solidFill>
                  <a:schemeClr val="tx1">
                    <a:lumMod val="75000"/>
                    <a:lumOff val="25000"/>
                  </a:schemeClr>
                </a:solidFill>
                <a:latin typeface="Arial" panose="020B0604020202020204" pitchFamily="34" charset="0"/>
                <a:cs typeface="Arial" panose="020B0604020202020204" pitchFamily="34" charset="0"/>
              </a:rPr>
              <a:t>AMOUNT</a:t>
            </a:r>
          </a:p>
        </p:txBody>
      </p:sp>
      <p:sp>
        <p:nvSpPr>
          <p:cNvPr id="41" name="Rectangle 40"/>
          <p:cNvSpPr/>
          <p:nvPr/>
        </p:nvSpPr>
        <p:spPr>
          <a:xfrm>
            <a:off x="7742200" y="1282166"/>
            <a:ext cx="3233884" cy="307777"/>
          </a:xfrm>
          <a:prstGeom prst="rect">
            <a:avLst/>
          </a:prstGeom>
        </p:spPr>
        <p:txBody>
          <a:bodyPr wrap="square">
            <a:spAutoFit/>
          </a:bodyPr>
          <a:lstStyle/>
          <a:p>
            <a:pPr>
              <a:defRPr/>
            </a:pPr>
            <a:r>
              <a:rPr lang="da-DK" sz="1400" b="1" dirty="0">
                <a:solidFill>
                  <a:schemeClr val="tx1">
                    <a:lumMod val="75000"/>
                    <a:lumOff val="25000"/>
                  </a:schemeClr>
                </a:solidFill>
                <a:latin typeface="Arial" panose="020B0604020202020204" pitchFamily="34" charset="0"/>
                <a:cs typeface="Arial" panose="020B0604020202020204" pitchFamily="34" charset="0"/>
              </a:rPr>
              <a:t>TYPE OF COST</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2" name="Rectangle 41"/>
          <p:cNvSpPr/>
          <p:nvPr/>
        </p:nvSpPr>
        <p:spPr>
          <a:xfrm>
            <a:off x="7806817" y="1900523"/>
            <a:ext cx="1322798" cy="523220"/>
          </a:xfrm>
          <a:prstGeom prst="rect">
            <a:avLst/>
          </a:prstGeom>
        </p:spPr>
        <p:txBody>
          <a:bodyPr wrap="none">
            <a:spAutoFit/>
          </a:bodyPr>
          <a:lstStyle/>
          <a:p>
            <a:pPr algn="ctr">
              <a:defRPr/>
            </a:pPr>
            <a:r>
              <a:rPr lang="da-DK" sz="1400" b="1" dirty="0">
                <a:solidFill>
                  <a:schemeClr val="tx1">
                    <a:lumMod val="75000"/>
                    <a:lumOff val="25000"/>
                  </a:schemeClr>
                </a:solidFill>
                <a:latin typeface="Arial" panose="020B0604020202020204" pitchFamily="34" charset="0"/>
                <a:cs typeface="Arial" panose="020B0604020202020204" pitchFamily="34" charset="0"/>
              </a:rPr>
              <a:t> RECURRING</a:t>
            </a:r>
            <a:br>
              <a:rPr lang="da-DK" sz="1400" b="1" dirty="0">
                <a:solidFill>
                  <a:schemeClr val="tx1">
                    <a:lumMod val="75000"/>
                    <a:lumOff val="25000"/>
                  </a:schemeClr>
                </a:solidFill>
                <a:latin typeface="Arial" panose="020B0604020202020204" pitchFamily="34" charset="0"/>
                <a:cs typeface="Arial" panose="020B0604020202020204" pitchFamily="34" charset="0"/>
              </a:rPr>
            </a:br>
            <a:r>
              <a:rPr lang="da-DK" sz="1400" b="1" dirty="0">
                <a:solidFill>
                  <a:schemeClr val="tx1">
                    <a:lumMod val="75000"/>
                    <a:lumOff val="25000"/>
                  </a:schemeClr>
                </a:solidFill>
                <a:latin typeface="Arial" panose="020B0604020202020204" pitchFamily="34" charset="0"/>
                <a:cs typeface="Arial" panose="020B0604020202020204" pitchFamily="34" charset="0"/>
              </a:rPr>
              <a:t>OPEX</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3" name="Rectangle 42"/>
          <p:cNvSpPr/>
          <p:nvPr/>
        </p:nvSpPr>
        <p:spPr>
          <a:xfrm>
            <a:off x="-50650" y="3750425"/>
            <a:ext cx="9766150"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tx1">
                  <a:lumMod val="75000"/>
                  <a:lumOff val="25000"/>
                </a:schemeClr>
              </a:solidFill>
            </a:endParaRPr>
          </a:p>
        </p:txBody>
      </p:sp>
      <p:sp>
        <p:nvSpPr>
          <p:cNvPr id="44" name="TextBox 43"/>
          <p:cNvSpPr txBox="1"/>
          <p:nvPr/>
        </p:nvSpPr>
        <p:spPr>
          <a:xfrm>
            <a:off x="1203959" y="4145793"/>
            <a:ext cx="1464111" cy="264688"/>
          </a:xfrm>
          <a:prstGeom prst="rect">
            <a:avLst/>
          </a:prstGeom>
          <a:noFill/>
        </p:spPr>
        <p:txBody>
          <a:bodyPr wrap="square" rtlCol="0">
            <a:spAutoFit/>
          </a:bodyPr>
          <a:lstStyle/>
          <a:p>
            <a:pPr>
              <a:lnSpc>
                <a:spcPct val="80000"/>
              </a:lnSpc>
              <a:defRPr/>
            </a:pPr>
            <a:r>
              <a:rPr lang="da-DK" sz="1400" b="1" dirty="0">
                <a:solidFill>
                  <a:schemeClr val="tx1">
                    <a:lumMod val="75000"/>
                    <a:lumOff val="25000"/>
                  </a:schemeClr>
                </a:solidFill>
                <a:latin typeface="Arial" panose="020B0604020202020204" pitchFamily="34" charset="0"/>
                <a:cs typeface="Arial" panose="020B0604020202020204" pitchFamily="34" charset="0"/>
              </a:rPr>
              <a:t>COST 3</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5" name="Rectangle 44"/>
          <p:cNvSpPr/>
          <p:nvPr/>
        </p:nvSpPr>
        <p:spPr>
          <a:xfrm>
            <a:off x="2649805" y="4036033"/>
            <a:ext cx="1383712" cy="369332"/>
          </a:xfrm>
          <a:prstGeom prst="rect">
            <a:avLst/>
          </a:prstGeom>
        </p:spPr>
        <p:txBody>
          <a:bodyPr wrap="none">
            <a:spAutoFit/>
          </a:bodyPr>
          <a:lstStyle/>
          <a:p>
            <a:pPr algn="ctr">
              <a:defRPr/>
            </a:pPr>
            <a:r>
              <a:rPr lang="en-US" b="1" dirty="0">
                <a:solidFill>
                  <a:schemeClr val="tx1">
                    <a:lumMod val="75000"/>
                    <a:lumOff val="25000"/>
                  </a:schemeClr>
                </a:solidFill>
                <a:latin typeface="Arial" panose="020B0604020202020204" pitchFamily="34" charset="0"/>
                <a:cs typeface="Arial" panose="020B0604020202020204" pitchFamily="34" charset="0"/>
              </a:rPr>
              <a:t>~22 M USD</a:t>
            </a:r>
          </a:p>
        </p:txBody>
      </p:sp>
      <p:sp>
        <p:nvSpPr>
          <p:cNvPr id="46" name="Afrundet rektangel 16"/>
          <p:cNvSpPr>
            <a:spLocks/>
          </p:cNvSpPr>
          <p:nvPr/>
        </p:nvSpPr>
        <p:spPr bwMode="auto">
          <a:xfrm>
            <a:off x="4588616" y="4043733"/>
            <a:ext cx="2934402" cy="437982"/>
          </a:xfrm>
          <a:prstGeom prst="roundRect">
            <a:avLst/>
          </a:prstGeom>
          <a:noFill/>
          <a:ln w="9525">
            <a:noFill/>
            <a:miter lim="800000"/>
            <a:headEnd/>
            <a:tailEnd/>
          </a:ln>
          <a:effectLst/>
        </p:spPr>
        <p:txBody>
          <a:bodyPr wrap="square" lIns="36000" tIns="36000" rIns="36000" bIns="36000" rtlCol="0" anchor="ctr" anchorCtr="0">
            <a:spAutoFit/>
          </a:bodyPr>
          <a:lstStyle/>
          <a:p>
            <a:pPr>
              <a:spcBef>
                <a:spcPts val="600"/>
              </a:spcBef>
              <a:defRPr/>
            </a:pP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Extra</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FTEs</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a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eded</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o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secu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he right distribution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twork</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in Latin America.</a:t>
            </a:r>
            <a:endParaRPr lang="en-US" sz="1050" b="1" dirty="0">
              <a:solidFill>
                <a:schemeClr val="tx1">
                  <a:lumMod val="75000"/>
                  <a:lumOff val="25000"/>
                </a:schemeClr>
              </a:solidFill>
              <a:latin typeface="Arial" panose="020B0604020202020204" pitchFamily="34" charset="0"/>
              <a:cs typeface="Arial" panose="020B0604020202020204" pitchFamily="34" charset="0"/>
              <a:sym typeface="Verdana"/>
            </a:endParaRPr>
          </a:p>
        </p:txBody>
      </p: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588" y="3990754"/>
            <a:ext cx="527828" cy="527828"/>
          </a:xfrm>
          <a:prstGeom prst="rect">
            <a:avLst/>
          </a:prstGeom>
        </p:spPr>
      </p:pic>
      <p:sp>
        <p:nvSpPr>
          <p:cNvPr id="48" name="TextBox 47"/>
          <p:cNvSpPr txBox="1"/>
          <p:nvPr/>
        </p:nvSpPr>
        <p:spPr>
          <a:xfrm>
            <a:off x="994061" y="3109900"/>
            <a:ext cx="1464111" cy="264688"/>
          </a:xfrm>
          <a:prstGeom prst="rect">
            <a:avLst/>
          </a:prstGeom>
          <a:noFill/>
        </p:spPr>
        <p:txBody>
          <a:bodyPr wrap="square" rtlCol="0">
            <a:spAutoFit/>
          </a:bodyPr>
          <a:lstStyle/>
          <a:p>
            <a:pPr>
              <a:lnSpc>
                <a:spcPct val="80000"/>
              </a:lnSpc>
              <a:defRPr/>
            </a:pPr>
            <a:r>
              <a:rPr lang="da-DK" sz="1400" b="1" dirty="0">
                <a:solidFill>
                  <a:schemeClr val="tx1">
                    <a:lumMod val="75000"/>
                    <a:lumOff val="25000"/>
                  </a:schemeClr>
                </a:solidFill>
                <a:latin typeface="Arial" panose="020B0604020202020204" pitchFamily="34" charset="0"/>
                <a:cs typeface="Arial" panose="020B0604020202020204" pitchFamily="34" charset="0"/>
              </a:rPr>
              <a:t>SALES </a:t>
            </a:r>
            <a:r>
              <a:rPr lang="da-DK" sz="1400" b="1" dirty="0" err="1">
                <a:solidFill>
                  <a:schemeClr val="tx1">
                    <a:lumMod val="75000"/>
                    <a:lumOff val="25000"/>
                  </a:schemeClr>
                </a:solidFill>
                <a:latin typeface="Arial" panose="020B0604020202020204" pitchFamily="34" charset="0"/>
                <a:cs typeface="Arial" panose="020B0604020202020204" pitchFamily="34" charset="0"/>
              </a:rPr>
              <a:t>FTE</a:t>
            </a:r>
            <a:r>
              <a:rPr lang="da-DK" sz="1000" b="1" dirty="0" err="1">
                <a:solidFill>
                  <a:schemeClr val="tx1">
                    <a:lumMod val="75000"/>
                    <a:lumOff val="25000"/>
                  </a:schemeClr>
                </a:solidFill>
                <a:latin typeface="Arial" panose="020B0604020202020204" pitchFamily="34" charset="0"/>
                <a:cs typeface="Arial" panose="020B0604020202020204" pitchFamily="34" charset="0"/>
              </a:rPr>
              <a:t>s</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9" name="Rectangle 48"/>
          <p:cNvSpPr/>
          <p:nvPr/>
        </p:nvSpPr>
        <p:spPr>
          <a:xfrm>
            <a:off x="2649805" y="2952253"/>
            <a:ext cx="1383712" cy="369332"/>
          </a:xfrm>
          <a:prstGeom prst="rect">
            <a:avLst/>
          </a:prstGeom>
        </p:spPr>
        <p:txBody>
          <a:bodyPr wrap="none">
            <a:spAutoFit/>
          </a:bodyPr>
          <a:lstStyle/>
          <a:p>
            <a:pPr algn="ctr">
              <a:defRPr/>
            </a:pPr>
            <a:r>
              <a:rPr lang="en-US" b="1" dirty="0">
                <a:solidFill>
                  <a:schemeClr val="tx1">
                    <a:lumMod val="75000"/>
                    <a:lumOff val="25000"/>
                  </a:schemeClr>
                </a:solidFill>
                <a:latin typeface="Arial" panose="020B0604020202020204" pitchFamily="34" charset="0"/>
                <a:cs typeface="Arial" panose="020B0604020202020204" pitchFamily="34" charset="0"/>
              </a:rPr>
              <a:t>~22 M USD</a:t>
            </a:r>
          </a:p>
        </p:txBody>
      </p:sp>
      <p:sp>
        <p:nvSpPr>
          <p:cNvPr id="50" name="Afrundet rektangel 16"/>
          <p:cNvSpPr>
            <a:spLocks/>
          </p:cNvSpPr>
          <p:nvPr/>
        </p:nvSpPr>
        <p:spPr bwMode="auto">
          <a:xfrm>
            <a:off x="4588616" y="2959953"/>
            <a:ext cx="2934402" cy="437982"/>
          </a:xfrm>
          <a:prstGeom prst="roundRect">
            <a:avLst/>
          </a:prstGeom>
          <a:noFill/>
          <a:ln w="9525">
            <a:noFill/>
            <a:miter lim="800000"/>
            <a:headEnd/>
            <a:tailEnd/>
          </a:ln>
          <a:effectLst/>
        </p:spPr>
        <p:txBody>
          <a:bodyPr wrap="square" lIns="36000" tIns="36000" rIns="36000" bIns="36000" rtlCol="0" anchor="ctr" anchorCtr="0">
            <a:spAutoFit/>
          </a:bodyPr>
          <a:lstStyle/>
          <a:p>
            <a:pPr>
              <a:spcBef>
                <a:spcPts val="600"/>
              </a:spcBef>
              <a:defRPr/>
            </a:pP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Extra</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FTEs</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a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eded</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o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secu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he right distribution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twork</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in Latin America.</a:t>
            </a:r>
            <a:endParaRPr lang="en-US" sz="1050" b="1" dirty="0">
              <a:solidFill>
                <a:schemeClr val="tx1">
                  <a:lumMod val="75000"/>
                  <a:lumOff val="25000"/>
                </a:schemeClr>
              </a:solidFill>
              <a:latin typeface="Arial" panose="020B0604020202020204" pitchFamily="34" charset="0"/>
              <a:cs typeface="Arial" panose="020B0604020202020204" pitchFamily="34" charset="0"/>
              <a:sym typeface="Verdana"/>
            </a:endParaRPr>
          </a:p>
        </p:txBody>
      </p:sp>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588" y="2952694"/>
            <a:ext cx="527828" cy="527828"/>
          </a:xfrm>
          <a:prstGeom prst="rect">
            <a:avLst/>
          </a:prstGeom>
        </p:spPr>
      </p:pic>
      <p:sp>
        <p:nvSpPr>
          <p:cNvPr id="52" name="Rectangle 51"/>
          <p:cNvSpPr/>
          <p:nvPr/>
        </p:nvSpPr>
        <p:spPr>
          <a:xfrm>
            <a:off x="7887841" y="2917334"/>
            <a:ext cx="1111202" cy="523220"/>
          </a:xfrm>
          <a:prstGeom prst="rect">
            <a:avLst/>
          </a:prstGeom>
        </p:spPr>
        <p:txBody>
          <a:bodyPr wrap="none">
            <a:spAutoFit/>
          </a:bodyPr>
          <a:lstStyle/>
          <a:p>
            <a:pPr algn="ctr">
              <a:defRPr/>
            </a:pPr>
            <a:r>
              <a:rPr lang="da-DK" sz="1400" b="1" dirty="0">
                <a:solidFill>
                  <a:schemeClr val="tx1">
                    <a:lumMod val="75000"/>
                    <a:lumOff val="25000"/>
                  </a:schemeClr>
                </a:solidFill>
                <a:latin typeface="Arial" panose="020B0604020202020204" pitchFamily="34" charset="0"/>
                <a:cs typeface="Arial" panose="020B0604020202020204" pitchFamily="34" charset="0"/>
              </a:rPr>
              <a:t> ONE-TIME</a:t>
            </a:r>
            <a:br>
              <a:rPr lang="da-DK" sz="1400" b="1" dirty="0">
                <a:solidFill>
                  <a:schemeClr val="tx1">
                    <a:lumMod val="75000"/>
                    <a:lumOff val="25000"/>
                  </a:schemeClr>
                </a:solidFill>
                <a:latin typeface="Arial" panose="020B0604020202020204" pitchFamily="34" charset="0"/>
                <a:cs typeface="Arial" panose="020B0604020202020204" pitchFamily="34" charset="0"/>
              </a:rPr>
            </a:br>
            <a:r>
              <a:rPr lang="da-DK" sz="1400" b="1" dirty="0">
                <a:solidFill>
                  <a:schemeClr val="tx1">
                    <a:lumMod val="75000"/>
                    <a:lumOff val="25000"/>
                  </a:schemeClr>
                </a:solidFill>
                <a:latin typeface="Arial" panose="020B0604020202020204" pitchFamily="34" charset="0"/>
                <a:cs typeface="Arial" panose="020B0604020202020204" pitchFamily="34" charset="0"/>
              </a:rPr>
              <a:t>CAPEX</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3" name="Rectangle 52"/>
          <p:cNvSpPr/>
          <p:nvPr/>
        </p:nvSpPr>
        <p:spPr>
          <a:xfrm>
            <a:off x="7912615" y="3967040"/>
            <a:ext cx="1111202" cy="523220"/>
          </a:xfrm>
          <a:prstGeom prst="rect">
            <a:avLst/>
          </a:prstGeom>
        </p:spPr>
        <p:txBody>
          <a:bodyPr wrap="none">
            <a:spAutoFit/>
          </a:bodyPr>
          <a:lstStyle/>
          <a:p>
            <a:pPr algn="ctr">
              <a:defRPr/>
            </a:pPr>
            <a:r>
              <a:rPr lang="da-DK" sz="1400" b="1" dirty="0">
                <a:solidFill>
                  <a:schemeClr val="tx1">
                    <a:lumMod val="75000"/>
                    <a:lumOff val="25000"/>
                  </a:schemeClr>
                </a:solidFill>
                <a:latin typeface="Arial" panose="020B0604020202020204" pitchFamily="34" charset="0"/>
                <a:cs typeface="Arial" panose="020B0604020202020204" pitchFamily="34" charset="0"/>
              </a:rPr>
              <a:t> ONE-TIME</a:t>
            </a:r>
            <a:br>
              <a:rPr lang="da-DK" sz="1400" b="1" dirty="0">
                <a:solidFill>
                  <a:schemeClr val="tx1">
                    <a:lumMod val="75000"/>
                    <a:lumOff val="25000"/>
                  </a:schemeClr>
                </a:solidFill>
                <a:latin typeface="Arial" panose="020B0604020202020204" pitchFamily="34" charset="0"/>
                <a:cs typeface="Arial" panose="020B0604020202020204" pitchFamily="34" charset="0"/>
              </a:rPr>
            </a:br>
            <a:r>
              <a:rPr lang="da-DK" sz="1400" b="1" dirty="0">
                <a:solidFill>
                  <a:schemeClr val="tx1">
                    <a:lumMod val="75000"/>
                    <a:lumOff val="25000"/>
                  </a:schemeClr>
                </a:solidFill>
                <a:latin typeface="Arial" panose="020B0604020202020204" pitchFamily="34" charset="0"/>
                <a:cs typeface="Arial" panose="020B0604020202020204" pitchFamily="34" charset="0"/>
              </a:rPr>
              <a:t>OPEX</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4" name="TextBox 53"/>
          <p:cNvSpPr txBox="1"/>
          <p:nvPr/>
        </p:nvSpPr>
        <p:spPr>
          <a:xfrm>
            <a:off x="10627002" y="4478972"/>
            <a:ext cx="724669"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schemeClr val="tx1">
                    <a:lumMod val="85000"/>
                    <a:lumOff val="15000"/>
                  </a:schemeClr>
                </a:solidFill>
                <a:effectLst/>
                <a:uLnTx/>
                <a:uFillTx/>
                <a:latin typeface="Montserrat" panose="00000500000000000000" pitchFamily="50" charset="0"/>
              </a:defRPr>
            </a:lvl1pPr>
          </a:lstStyle>
          <a:p>
            <a:r>
              <a:rPr lang="en-US" b="1" dirty="0">
                <a:solidFill>
                  <a:schemeClr val="tx1">
                    <a:lumMod val="75000"/>
                    <a:lumOff val="25000"/>
                  </a:schemeClr>
                </a:solidFill>
                <a:latin typeface="Arial" panose="020B0604020202020204" pitchFamily="34" charset="0"/>
                <a:cs typeface="Arial" panose="020B0604020202020204" pitchFamily="34" charset="0"/>
              </a:rPr>
              <a:t>86.4</a:t>
            </a:r>
          </a:p>
        </p:txBody>
      </p:sp>
      <p:sp>
        <p:nvSpPr>
          <p:cNvPr id="55" name="TextBox 54"/>
          <p:cNvSpPr txBox="1"/>
          <p:nvPr/>
        </p:nvSpPr>
        <p:spPr>
          <a:xfrm>
            <a:off x="1188845" y="5151742"/>
            <a:ext cx="1464111" cy="264688"/>
          </a:xfrm>
          <a:prstGeom prst="rect">
            <a:avLst/>
          </a:prstGeom>
          <a:noFill/>
        </p:spPr>
        <p:txBody>
          <a:bodyPr wrap="square" rtlCol="0">
            <a:spAutoFit/>
          </a:bodyPr>
          <a:lstStyle/>
          <a:p>
            <a:pPr>
              <a:lnSpc>
                <a:spcPct val="80000"/>
              </a:lnSpc>
              <a:defRPr/>
            </a:pPr>
            <a:r>
              <a:rPr lang="da-DK" sz="1400" b="1" dirty="0">
                <a:solidFill>
                  <a:schemeClr val="tx1">
                    <a:lumMod val="75000"/>
                    <a:lumOff val="25000"/>
                  </a:schemeClr>
                </a:solidFill>
                <a:latin typeface="Arial" panose="020B0604020202020204" pitchFamily="34" charset="0"/>
                <a:cs typeface="Arial" panose="020B0604020202020204" pitchFamily="34" charset="0"/>
              </a:rPr>
              <a:t>COST 4</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6" name="Rectangle 55"/>
          <p:cNvSpPr/>
          <p:nvPr/>
        </p:nvSpPr>
        <p:spPr>
          <a:xfrm>
            <a:off x="2649805" y="5079809"/>
            <a:ext cx="1383712" cy="369332"/>
          </a:xfrm>
          <a:prstGeom prst="rect">
            <a:avLst/>
          </a:prstGeom>
        </p:spPr>
        <p:txBody>
          <a:bodyPr wrap="none">
            <a:spAutoFit/>
          </a:bodyPr>
          <a:lstStyle/>
          <a:p>
            <a:pPr algn="ctr">
              <a:defRPr/>
            </a:pPr>
            <a:r>
              <a:rPr lang="en-US" b="1" dirty="0">
                <a:solidFill>
                  <a:schemeClr val="tx1">
                    <a:lumMod val="75000"/>
                    <a:lumOff val="25000"/>
                  </a:schemeClr>
                </a:solidFill>
                <a:latin typeface="Arial" panose="020B0604020202020204" pitchFamily="34" charset="0"/>
                <a:cs typeface="Arial" panose="020B0604020202020204" pitchFamily="34" charset="0"/>
              </a:rPr>
              <a:t>~22 M USD</a:t>
            </a:r>
          </a:p>
        </p:txBody>
      </p:sp>
      <p:sp>
        <p:nvSpPr>
          <p:cNvPr id="57" name="Afrundet rektangel 16"/>
          <p:cNvSpPr>
            <a:spLocks/>
          </p:cNvSpPr>
          <p:nvPr/>
        </p:nvSpPr>
        <p:spPr bwMode="auto">
          <a:xfrm>
            <a:off x="4624528" y="5087509"/>
            <a:ext cx="2934402" cy="437982"/>
          </a:xfrm>
          <a:prstGeom prst="roundRect">
            <a:avLst/>
          </a:prstGeom>
          <a:noFill/>
          <a:ln w="9525">
            <a:noFill/>
            <a:miter lim="800000"/>
            <a:headEnd/>
            <a:tailEnd/>
          </a:ln>
          <a:effectLst/>
        </p:spPr>
        <p:txBody>
          <a:bodyPr wrap="square" lIns="36000" tIns="36000" rIns="36000" bIns="36000" rtlCol="0" anchor="ctr" anchorCtr="0">
            <a:spAutoFit/>
          </a:bodyPr>
          <a:lstStyle/>
          <a:p>
            <a:pPr>
              <a:spcBef>
                <a:spcPts val="600"/>
              </a:spcBef>
              <a:defRPr/>
            </a:pP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Extra</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FTEs</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a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eded</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o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secure</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the right distribution </a:t>
            </a:r>
            <a:r>
              <a:rPr lang="da-DK" sz="1050" b="1" dirty="0" err="1">
                <a:solidFill>
                  <a:schemeClr val="tx1">
                    <a:lumMod val="75000"/>
                    <a:lumOff val="25000"/>
                  </a:schemeClr>
                </a:solidFill>
                <a:latin typeface="Arial" panose="020B0604020202020204" pitchFamily="34" charset="0"/>
                <a:cs typeface="Arial" panose="020B0604020202020204" pitchFamily="34" charset="0"/>
                <a:sym typeface="Verdana"/>
              </a:rPr>
              <a:t>network</a:t>
            </a:r>
            <a:r>
              <a:rPr lang="da-DK" sz="1050" b="1" dirty="0">
                <a:solidFill>
                  <a:schemeClr val="tx1">
                    <a:lumMod val="75000"/>
                    <a:lumOff val="25000"/>
                  </a:schemeClr>
                </a:solidFill>
                <a:latin typeface="Arial" panose="020B0604020202020204" pitchFamily="34" charset="0"/>
                <a:cs typeface="Arial" panose="020B0604020202020204" pitchFamily="34" charset="0"/>
                <a:sym typeface="Verdana"/>
              </a:rPr>
              <a:t> in Latin America.</a:t>
            </a:r>
            <a:endParaRPr lang="en-US" sz="1050" b="1" dirty="0">
              <a:solidFill>
                <a:schemeClr val="tx1">
                  <a:lumMod val="75000"/>
                  <a:lumOff val="25000"/>
                </a:schemeClr>
              </a:solidFill>
              <a:latin typeface="Arial" panose="020B0604020202020204" pitchFamily="34" charset="0"/>
              <a:cs typeface="Arial" panose="020B0604020202020204" pitchFamily="34" charset="0"/>
              <a:sym typeface="Verdana"/>
            </a:endParaRPr>
          </a:p>
        </p:txBody>
      </p:sp>
      <p:sp>
        <p:nvSpPr>
          <p:cNvPr id="58" name="Rectangle 57"/>
          <p:cNvSpPr/>
          <p:nvPr/>
        </p:nvSpPr>
        <p:spPr>
          <a:xfrm>
            <a:off x="7886181" y="5010816"/>
            <a:ext cx="1111202" cy="523220"/>
          </a:xfrm>
          <a:prstGeom prst="rect">
            <a:avLst/>
          </a:prstGeom>
        </p:spPr>
        <p:txBody>
          <a:bodyPr wrap="none">
            <a:spAutoFit/>
          </a:bodyPr>
          <a:lstStyle/>
          <a:p>
            <a:pPr algn="ctr">
              <a:defRPr/>
            </a:pPr>
            <a:r>
              <a:rPr lang="da-DK" sz="1400" b="1" dirty="0">
                <a:solidFill>
                  <a:schemeClr val="tx1">
                    <a:lumMod val="75000"/>
                    <a:lumOff val="25000"/>
                  </a:schemeClr>
                </a:solidFill>
                <a:latin typeface="Arial" panose="020B0604020202020204" pitchFamily="34" charset="0"/>
                <a:cs typeface="Arial" panose="020B0604020202020204" pitchFamily="34" charset="0"/>
              </a:rPr>
              <a:t> ONE-TIME</a:t>
            </a:r>
            <a:br>
              <a:rPr lang="da-DK" sz="1400" b="1" dirty="0">
                <a:solidFill>
                  <a:schemeClr val="tx1">
                    <a:lumMod val="75000"/>
                    <a:lumOff val="25000"/>
                  </a:schemeClr>
                </a:solidFill>
                <a:latin typeface="Arial" panose="020B0604020202020204" pitchFamily="34" charset="0"/>
                <a:cs typeface="Arial" panose="020B0604020202020204" pitchFamily="34" charset="0"/>
              </a:rPr>
            </a:br>
            <a:r>
              <a:rPr lang="da-DK" sz="1400" b="1" dirty="0">
                <a:solidFill>
                  <a:schemeClr val="tx1">
                    <a:lumMod val="75000"/>
                    <a:lumOff val="25000"/>
                  </a:schemeClr>
                </a:solidFill>
                <a:latin typeface="Arial" panose="020B0604020202020204" pitchFamily="34" charset="0"/>
                <a:cs typeface="Arial" panose="020B0604020202020204" pitchFamily="34" charset="0"/>
              </a:rPr>
              <a:t>OPEX</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8560" y="5036877"/>
            <a:ext cx="527828" cy="527828"/>
          </a:xfrm>
          <a:prstGeom prst="rect">
            <a:avLst/>
          </a:prstGeom>
        </p:spPr>
      </p:pic>
      <p:sp>
        <p:nvSpPr>
          <p:cNvPr id="60" name="TextBox 59"/>
          <p:cNvSpPr txBox="1"/>
          <p:nvPr/>
        </p:nvSpPr>
        <p:spPr>
          <a:xfrm>
            <a:off x="10586821" y="1743924"/>
            <a:ext cx="805029" cy="307777"/>
          </a:xfrm>
          <a:prstGeom prst="rect">
            <a:avLst/>
          </a:prstGeom>
          <a:noFill/>
        </p:spPr>
        <p:txBody>
          <a:bodyPr wrap="none" rtlCol="0">
            <a:spAutoFit/>
          </a:bodyPr>
          <a:lstStyle/>
          <a:p>
            <a:r>
              <a:rPr lang="da-DK" sz="1400" b="1" dirty="0">
                <a:solidFill>
                  <a:schemeClr val="tx1">
                    <a:lumMod val="75000"/>
                    <a:lumOff val="25000"/>
                  </a:schemeClr>
                </a:solidFill>
                <a:latin typeface="Arial" panose="020B0604020202020204" pitchFamily="34" charset="0"/>
                <a:cs typeface="Arial" panose="020B0604020202020204" pitchFamily="34" charset="0"/>
              </a:rPr>
              <a:t>CAPEX</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61" name="TextBox 60"/>
          <p:cNvSpPr txBox="1"/>
          <p:nvPr/>
        </p:nvSpPr>
        <p:spPr>
          <a:xfrm>
            <a:off x="10638741" y="3703088"/>
            <a:ext cx="684803" cy="307777"/>
          </a:xfrm>
          <a:prstGeom prst="rect">
            <a:avLst/>
          </a:prstGeom>
          <a:noFill/>
        </p:spPr>
        <p:txBody>
          <a:bodyPr wrap="none" rtlCol="0">
            <a:spAutoFit/>
          </a:bodyPr>
          <a:lstStyle/>
          <a:p>
            <a:r>
              <a:rPr lang="da-DK" sz="1400" b="1" dirty="0">
                <a:solidFill>
                  <a:schemeClr val="tx1">
                    <a:lumMod val="75000"/>
                    <a:lumOff val="25000"/>
                  </a:schemeClr>
                </a:solidFill>
                <a:latin typeface="Arial" panose="020B0604020202020204" pitchFamily="34" charset="0"/>
                <a:cs typeface="Arial" panose="020B0604020202020204" pitchFamily="34" charset="0"/>
              </a:rPr>
              <a:t>OPEX</a:t>
            </a:r>
            <a:endParaRPr lang="en-US" sz="1400" b="1" dirty="0">
              <a:solidFill>
                <a:schemeClr val="tx1">
                  <a:lumMod val="75000"/>
                  <a:lumOff val="25000"/>
                </a:schemeClr>
              </a:solidFill>
              <a:latin typeface="Arial" panose="020B0604020202020204" pitchFamily="34" charset="0"/>
              <a:cs typeface="Arial" panose="020B0604020202020204" pitchFamily="34" charset="0"/>
            </a:endParaRPr>
          </a:p>
        </p:txBody>
      </p:sp>
      <p:graphicFrame>
        <p:nvGraphicFramePr>
          <p:cNvPr id="62" name="Chart 61"/>
          <p:cNvGraphicFramePr/>
          <p:nvPr/>
        </p:nvGraphicFramePr>
        <p:xfrm>
          <a:off x="10005485" y="3967040"/>
          <a:ext cx="1941198" cy="137818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959808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7" name="think-cell Slide" r:id="rId47" imgW="270" imgH="270" progId="TCLayout.ActiveDocument.1">
                  <p:embed/>
                </p:oleObj>
              </mc:Choice>
              <mc:Fallback>
                <p:oleObj name="think-cell Slide" r:id="rId47" imgW="270" imgH="270" progId="TCLayout.ActiveDocument.1">
                  <p:embed/>
                  <p:pic>
                    <p:nvPicPr>
                      <p:cNvPr id="12" name="Object 11" hidden="1"/>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1400" b="1" dirty="0">
              <a:latin typeface="Arial"/>
              <a:sym typeface="Arial"/>
            </a:endParaRPr>
          </a:p>
        </p:txBody>
      </p:sp>
      <p:sp>
        <p:nvSpPr>
          <p:cNvPr id="10" name="Text Placeholder 9">
            <a:extLst>
              <a:ext uri="{FF2B5EF4-FFF2-40B4-BE49-F238E27FC236}">
                <a16:creationId xmlns:a16="http://schemas.microsoft.com/office/drawing/2014/main" id="{7A6C2AF6-FC2A-3D45-8813-898A483E8AE5}"/>
              </a:ext>
            </a:extLst>
          </p:cNvPr>
          <p:cNvSpPr>
            <a:spLocks noGrp="1"/>
          </p:cNvSpPr>
          <p:nvPr>
            <p:ph type="body" sz="quarter" idx="13"/>
          </p:nvPr>
        </p:nvSpPr>
        <p:spPr/>
        <p:txBody>
          <a:bodyPr/>
          <a:lstStyle/>
          <a:p>
            <a:endParaRPr lang="en-GB"/>
          </a:p>
        </p:txBody>
      </p:sp>
      <p:sp>
        <p:nvSpPr>
          <p:cNvPr id="16" name="Text Placeholder 15">
            <a:extLst>
              <a:ext uri="{FF2B5EF4-FFF2-40B4-BE49-F238E27FC236}">
                <a16:creationId xmlns:a16="http://schemas.microsoft.com/office/drawing/2014/main" id="{BF75C7D4-06FB-3C46-9250-A113BE323959}"/>
              </a:ext>
            </a:extLst>
          </p:cNvPr>
          <p:cNvSpPr>
            <a:spLocks noGrp="1"/>
          </p:cNvSpPr>
          <p:nvPr>
            <p:ph type="body" sz="quarter" idx="15"/>
          </p:nvPr>
        </p:nvSpPr>
        <p:spPr/>
        <p:txBody>
          <a:bodyPr/>
          <a:lstStyle/>
          <a:p>
            <a:endParaRPr lang="en-GB"/>
          </a:p>
        </p:txBody>
      </p:sp>
      <p:sp>
        <p:nvSpPr>
          <p:cNvPr id="99" name="Title 98"/>
          <p:cNvSpPr>
            <a:spLocks noGrp="1"/>
          </p:cNvSpPr>
          <p:nvPr>
            <p:ph type="title"/>
          </p:nvPr>
        </p:nvSpPr>
        <p:spPr/>
        <p:txBody>
          <a:bodyPr/>
          <a:lstStyle/>
          <a:p>
            <a:r>
              <a:rPr lang="en-AU" dirty="0"/>
              <a:t>By opening 108 </a:t>
            </a:r>
            <a:r>
              <a:rPr lang="en-AU"/>
              <a:t>UGLY FOODS stores</a:t>
            </a:r>
            <a:r>
              <a:rPr lang="en-AU" dirty="0"/>
              <a:t>, Coles will see incremental revenue of $b 1,7 and 25% EBIT increase by 2021</a:t>
            </a:r>
          </a:p>
        </p:txBody>
      </p:sp>
      <p:cxnSp>
        <p:nvCxnSpPr>
          <p:cNvPr id="32" name="Straight Connector 31"/>
          <p:cNvCxnSpPr/>
          <p:nvPr>
            <p:custDataLst>
              <p:tags r:id="rId4"/>
            </p:custDataLst>
          </p:nvPr>
        </p:nvCxnSpPr>
        <p:spPr bwMode="auto">
          <a:xfrm>
            <a:off x="10829925" y="3695700"/>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5"/>
            </p:custDataLst>
          </p:nvPr>
        </p:nvCxnSpPr>
        <p:spPr bwMode="auto">
          <a:xfrm>
            <a:off x="10039350" y="3914775"/>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6"/>
            </p:custDataLst>
          </p:nvPr>
        </p:nvCxnSpPr>
        <p:spPr bwMode="auto">
          <a:xfrm>
            <a:off x="9248775" y="4067175"/>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7"/>
            </p:custDataLst>
          </p:nvPr>
        </p:nvCxnSpPr>
        <p:spPr bwMode="auto">
          <a:xfrm>
            <a:off x="8458200" y="4171950"/>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8"/>
            </p:custDataLst>
          </p:nvPr>
        </p:nvCxnSpPr>
        <p:spPr bwMode="auto">
          <a:xfrm>
            <a:off x="7667625" y="4229100"/>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9"/>
            </p:custDataLst>
          </p:nvPr>
        </p:nvCxnSpPr>
        <p:spPr bwMode="auto">
          <a:xfrm>
            <a:off x="6877050" y="4238625"/>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 name="Object 4"/>
          <p:cNvGraphicFramePr>
            <a:graphicFrameLocks/>
          </p:cNvGraphicFramePr>
          <p:nvPr>
            <p:custDataLst>
              <p:tags r:id="rId10"/>
            </p:custDataLst>
          </p:nvPr>
        </p:nvGraphicFramePr>
        <p:xfrm>
          <a:off x="6134100" y="3048000"/>
          <a:ext cx="5772146" cy="2114660"/>
        </p:xfrm>
        <a:graphic>
          <a:graphicData uri="http://schemas.openxmlformats.org/presentationml/2006/ole">
            <mc:AlternateContent xmlns:mc="http://schemas.openxmlformats.org/markup-compatibility/2006">
              <mc:Choice xmlns:v="urn:schemas-microsoft-com:vml" Requires="v">
                <p:oleObj spid="_x0000_s137248" name="Chart" r:id="rId49" imgW="5772146" imgH="2114660" progId="MSGraph.Chart.8">
                  <p:embed followColorScheme="full"/>
                </p:oleObj>
              </mc:Choice>
              <mc:Fallback>
                <p:oleObj name="Chart" r:id="rId49" imgW="5772146" imgH="2114660" progId="MSGraph.Chart.8">
                  <p:embed followColorScheme="full"/>
                  <p:pic>
                    <p:nvPicPr>
                      <p:cNvPr id="5" name="Object 4"/>
                      <p:cNvPicPr/>
                      <p:nvPr/>
                    </p:nvPicPr>
                    <p:blipFill>
                      <a:blip r:embed="rId50"/>
                      <a:stretch>
                        <a:fillRect/>
                      </a:stretch>
                    </p:blipFill>
                    <p:spPr>
                      <a:xfrm>
                        <a:off x="6134100" y="3048000"/>
                        <a:ext cx="5772146" cy="2114660"/>
                      </a:xfrm>
                      <a:prstGeom prst="rect">
                        <a:avLst/>
                      </a:prstGeom>
                    </p:spPr>
                  </p:pic>
                </p:oleObj>
              </mc:Fallback>
            </mc:AlternateContent>
          </a:graphicData>
        </a:graphic>
      </p:graphicFrame>
      <p:cxnSp>
        <p:nvCxnSpPr>
          <p:cNvPr id="29" name="Straight Connector 28"/>
          <p:cNvCxnSpPr/>
          <p:nvPr>
            <p:custDataLst>
              <p:tags r:id="rId11"/>
            </p:custDataLst>
          </p:nvPr>
        </p:nvCxnSpPr>
        <p:spPr bwMode="auto">
          <a:xfrm flipV="1">
            <a:off x="6657975" y="2713038"/>
            <a:ext cx="4743450" cy="54292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custDataLst>
              <p:tags r:id="rId12"/>
            </p:custDataLst>
          </p:nvPr>
        </p:nvSpPr>
        <p:spPr bwMode="auto">
          <a:xfrm>
            <a:off x="8035925"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C4A3FFF-33BF-44C5-B0B4-4D80EF287B36}" type="datetime'''''''''''''''''''''''''''''''''2''''''0''''''1''8'''">
              <a:rPr lang="en-GB" altLang="en-US" sz="1400">
                <a:solidFill>
                  <a:schemeClr val="tx1"/>
                </a:solidFill>
              </a:rPr>
              <a:pPr/>
              <a:t>2018</a:t>
            </a:fld>
            <a:endParaRPr lang="en-GB" sz="1400">
              <a:solidFill>
                <a:schemeClr val="tx1"/>
              </a:solidFill>
              <a:sym typeface="+mn-lt"/>
            </a:endParaRPr>
          </a:p>
        </p:txBody>
      </p:sp>
      <p:sp>
        <p:nvSpPr>
          <p:cNvPr id="46" name="Rectangle 45"/>
          <p:cNvSpPr/>
          <p:nvPr>
            <p:custDataLst>
              <p:tags r:id="rId13"/>
            </p:custDataLst>
          </p:nvPr>
        </p:nvSpPr>
        <p:spPr bwMode="gray">
          <a:xfrm>
            <a:off x="10437813" y="292417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DDD0F0D2-1634-462F-899E-E103B6D4DCE6}" type="datetime'''''''''''''''''4''''''''''7''''''''''''''''''''''''8'''''''''">
              <a:rPr lang="en-GB" altLang="en-US" sz="1400" smtClean="0">
                <a:solidFill>
                  <a:schemeClr val="tx1"/>
                </a:solidFill>
              </a:rPr>
              <a:pPr/>
              <a:t>478</a:t>
            </a:fld>
            <a:endParaRPr lang="en-GB" sz="1400" dirty="0">
              <a:solidFill>
                <a:schemeClr val="tx1"/>
              </a:solidFill>
              <a:sym typeface="+mn-lt"/>
            </a:endParaRPr>
          </a:p>
        </p:txBody>
      </p:sp>
      <p:sp>
        <p:nvSpPr>
          <p:cNvPr id="43" name="Rectangle 42"/>
          <p:cNvSpPr/>
          <p:nvPr>
            <p:custDataLst>
              <p:tags r:id="rId14"/>
            </p:custDataLst>
          </p:nvPr>
        </p:nvSpPr>
        <p:spPr bwMode="gray">
          <a:xfrm>
            <a:off x="8066088" y="37814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F2BDB545-2A55-4493-A15A-FEDE99B8DFC2}" type="datetime'''''1''''''''''''''''''''2''3'''''''''''''''''''''''''''">
              <a:rPr lang="en-GB" altLang="en-US" sz="1400" smtClean="0">
                <a:solidFill>
                  <a:schemeClr val="tx1"/>
                </a:solidFill>
              </a:rPr>
              <a:pPr/>
              <a:t>123</a:t>
            </a:fld>
            <a:endParaRPr lang="en-GB" sz="1400" dirty="0">
              <a:solidFill>
                <a:schemeClr val="tx1"/>
              </a:solidFill>
              <a:sym typeface="+mn-lt"/>
            </a:endParaRPr>
          </a:p>
        </p:txBody>
      </p:sp>
      <p:sp>
        <p:nvSpPr>
          <p:cNvPr id="42" name="Rectangle 41"/>
          <p:cNvSpPr/>
          <p:nvPr>
            <p:custDataLst>
              <p:tags r:id="rId15"/>
            </p:custDataLst>
          </p:nvPr>
        </p:nvSpPr>
        <p:spPr bwMode="gray">
          <a:xfrm>
            <a:off x="7324725" y="3952875"/>
            <a:ext cx="24765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8A0DF7E5-1AC4-4B43-91B2-4449D5027F98}" type="datetime'''2''''''''''''''''''''''''''4'''''''''''''''">
              <a:rPr lang="en-GB" altLang="en-US" sz="1400" smtClean="0">
                <a:solidFill>
                  <a:schemeClr val="tx1"/>
                </a:solidFill>
              </a:rPr>
              <a:pPr/>
              <a:t>24</a:t>
            </a:fld>
            <a:endParaRPr lang="en-GB" sz="1400" dirty="0">
              <a:solidFill>
                <a:schemeClr val="tx1"/>
              </a:solidFill>
              <a:sym typeface="+mn-lt"/>
            </a:endParaRPr>
          </a:p>
        </p:txBody>
      </p:sp>
      <p:sp>
        <p:nvSpPr>
          <p:cNvPr id="13" name="Rectangle 12"/>
          <p:cNvSpPr/>
          <p:nvPr>
            <p:custDataLst>
              <p:tags r:id="rId16"/>
            </p:custDataLst>
          </p:nvPr>
        </p:nvSpPr>
        <p:spPr bwMode="auto">
          <a:xfrm>
            <a:off x="8826500"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36911D3-CA3A-42D5-B2A3-5CFA7241D69F}" type="datetime'''''''''''''''''''201''''''''''''''''''''9'''''''''''''''">
              <a:rPr lang="en-GB" altLang="en-US" sz="1400">
                <a:solidFill>
                  <a:schemeClr val="tx1"/>
                </a:solidFill>
              </a:rPr>
              <a:pPr/>
              <a:t>2019</a:t>
            </a:fld>
            <a:endParaRPr lang="en-GB" sz="1400">
              <a:solidFill>
                <a:schemeClr val="tx1"/>
              </a:solidFill>
              <a:sym typeface="+mn-lt"/>
            </a:endParaRPr>
          </a:p>
        </p:txBody>
      </p:sp>
      <p:sp>
        <p:nvSpPr>
          <p:cNvPr id="45" name="Rectangle 44"/>
          <p:cNvSpPr/>
          <p:nvPr>
            <p:custDataLst>
              <p:tags r:id="rId17"/>
            </p:custDataLst>
          </p:nvPr>
        </p:nvSpPr>
        <p:spPr bwMode="gray">
          <a:xfrm>
            <a:off x="9647238" y="326707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5A313D54-3D8C-4202-94AB-3551A31C4076}" type="datetime'''''''''3''''4''''''''''''''''''''''''''''''''''''''''''''8'">
              <a:rPr lang="en-GB" altLang="en-US" sz="1400" smtClean="0">
                <a:solidFill>
                  <a:schemeClr val="tx1"/>
                </a:solidFill>
              </a:rPr>
              <a:pPr/>
              <a:t>348</a:t>
            </a:fld>
            <a:endParaRPr lang="en-GB" sz="1400" dirty="0">
              <a:solidFill>
                <a:schemeClr val="tx1"/>
              </a:solidFill>
              <a:sym typeface="+mn-lt"/>
            </a:endParaRPr>
          </a:p>
        </p:txBody>
      </p:sp>
      <p:sp>
        <p:nvSpPr>
          <p:cNvPr id="14" name="Rectangle 13"/>
          <p:cNvSpPr/>
          <p:nvPr>
            <p:custDataLst>
              <p:tags r:id="rId18"/>
            </p:custDataLst>
          </p:nvPr>
        </p:nvSpPr>
        <p:spPr bwMode="auto">
          <a:xfrm>
            <a:off x="9617075"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AED83B98-C4C7-4A67-96D5-1D9C2CC2C9E7}" type="datetime'''''2''''''0''2''''0'''''''''''''''''''''''''''''''">
              <a:rPr lang="en-GB" altLang="en-US" sz="1400">
                <a:solidFill>
                  <a:schemeClr val="tx1"/>
                </a:solidFill>
              </a:rPr>
              <a:pPr/>
              <a:t>2020</a:t>
            </a:fld>
            <a:endParaRPr lang="en-GB" sz="1400">
              <a:solidFill>
                <a:schemeClr val="tx1"/>
              </a:solidFill>
              <a:sym typeface="+mn-lt"/>
            </a:endParaRPr>
          </a:p>
        </p:txBody>
      </p:sp>
      <p:sp>
        <p:nvSpPr>
          <p:cNvPr id="8" name="Rectangle 7"/>
          <p:cNvSpPr/>
          <p:nvPr>
            <p:custDataLst>
              <p:tags r:id="rId19"/>
            </p:custDataLst>
          </p:nvPr>
        </p:nvSpPr>
        <p:spPr bwMode="auto">
          <a:xfrm>
            <a:off x="7245350"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59805325-CA65-496B-8417-23965AEE34AD}" type="datetime'2''''''''''''0''''''''''''1''7'''''''''''''''''">
              <a:rPr lang="en-GB" altLang="en-US" sz="1400">
                <a:solidFill>
                  <a:schemeClr val="tx1"/>
                </a:solidFill>
              </a:rPr>
              <a:pPr/>
              <a:t>2017</a:t>
            </a:fld>
            <a:endParaRPr lang="en-GB" sz="1400">
              <a:solidFill>
                <a:schemeClr val="tx1"/>
              </a:solidFill>
              <a:sym typeface="+mn-lt"/>
            </a:endParaRPr>
          </a:p>
        </p:txBody>
      </p:sp>
      <p:sp>
        <p:nvSpPr>
          <p:cNvPr id="44" name="Rectangle 43"/>
          <p:cNvSpPr/>
          <p:nvPr>
            <p:custDataLst>
              <p:tags r:id="rId20"/>
            </p:custDataLst>
          </p:nvPr>
        </p:nvSpPr>
        <p:spPr bwMode="gray">
          <a:xfrm>
            <a:off x="8856663" y="35528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D65C2BB7-EC70-4AAF-87AC-2C2F2EDF772C}" type="datetime'2''''''''''''''''''30'''''''''''''''''">
              <a:rPr lang="en-GB" altLang="en-US" sz="1400" smtClean="0">
                <a:solidFill>
                  <a:schemeClr val="tx1"/>
                </a:solidFill>
              </a:rPr>
              <a:pPr/>
              <a:t>230</a:t>
            </a:fld>
            <a:endParaRPr lang="en-GB" sz="1400" dirty="0">
              <a:solidFill>
                <a:schemeClr val="tx1"/>
              </a:solidFill>
              <a:sym typeface="+mn-lt"/>
            </a:endParaRPr>
          </a:p>
        </p:txBody>
      </p:sp>
      <p:sp>
        <p:nvSpPr>
          <p:cNvPr id="15" name="Rectangle 14"/>
          <p:cNvSpPr/>
          <p:nvPr>
            <p:custDataLst>
              <p:tags r:id="rId21"/>
            </p:custDataLst>
          </p:nvPr>
        </p:nvSpPr>
        <p:spPr bwMode="auto">
          <a:xfrm>
            <a:off x="10407650"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A57426D-6CE2-4EC3-938A-6782E01EFDA9}" type="datetime'''''''''''''''''''''''''2''''''''02''''''''''''''''''1'''''''">
              <a:rPr lang="en-GB" altLang="en-US" sz="1400">
                <a:solidFill>
                  <a:schemeClr val="tx1"/>
                </a:solidFill>
              </a:rPr>
              <a:pPr/>
              <a:t>2021</a:t>
            </a:fld>
            <a:endParaRPr lang="en-GB" sz="1400">
              <a:solidFill>
                <a:schemeClr val="tx1"/>
              </a:solidFill>
              <a:sym typeface="+mn-lt"/>
            </a:endParaRPr>
          </a:p>
        </p:txBody>
      </p:sp>
      <p:sp>
        <p:nvSpPr>
          <p:cNvPr id="6" name="Rectangle 5"/>
          <p:cNvSpPr/>
          <p:nvPr>
            <p:custDataLst>
              <p:tags r:id="rId22"/>
            </p:custDataLst>
          </p:nvPr>
        </p:nvSpPr>
        <p:spPr bwMode="auto">
          <a:xfrm>
            <a:off x="6454775"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2B2448D-7105-45A9-A8EA-702BA4E15C97}" type="datetime'''''''''''''''''''''''''''''''201''''''''''''''''''''''''''6'">
              <a:rPr lang="en-GB" altLang="en-US" sz="1400">
                <a:solidFill>
                  <a:schemeClr val="tx1"/>
                </a:solidFill>
              </a:rPr>
              <a:pPr/>
              <a:t>2016</a:t>
            </a:fld>
            <a:endParaRPr lang="en-GB" sz="1400">
              <a:solidFill>
                <a:schemeClr val="tx1"/>
              </a:solidFill>
              <a:sym typeface="+mn-lt"/>
            </a:endParaRPr>
          </a:p>
        </p:txBody>
      </p:sp>
      <p:sp>
        <p:nvSpPr>
          <p:cNvPr id="28" name="Oval 27"/>
          <p:cNvSpPr/>
          <p:nvPr>
            <p:custDataLst>
              <p:tags r:id="rId23"/>
            </p:custDataLst>
          </p:nvPr>
        </p:nvSpPr>
        <p:spPr bwMode="auto">
          <a:xfrm>
            <a:off x="8705850" y="2847975"/>
            <a:ext cx="649288" cy="27305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542BD6D8-2AE6-4827-BF9D-990ED09A8DC0}" type="datetime'''''+''''''''''''''''''''1''''''''''0%'''''''''''''''''">
              <a:rPr lang="en-GB" altLang="en-US" sz="1400" b="1">
                <a:solidFill>
                  <a:schemeClr val="tx1"/>
                </a:solidFill>
              </a:rPr>
              <a:pPr/>
              <a:t>+10%</a:t>
            </a:fld>
            <a:endParaRPr lang="en-GB" sz="1400" b="1">
              <a:solidFill>
                <a:schemeClr val="tx1"/>
              </a:solidFill>
              <a:sym typeface="+mn-lt"/>
            </a:endParaRPr>
          </a:p>
        </p:txBody>
      </p:sp>
      <p:sp>
        <p:nvSpPr>
          <p:cNvPr id="31" name="Rectangle 30"/>
          <p:cNvSpPr/>
          <p:nvPr>
            <p:custDataLst>
              <p:tags r:id="rId24"/>
            </p:custDataLst>
          </p:nvPr>
        </p:nvSpPr>
        <p:spPr bwMode="auto">
          <a:xfrm>
            <a:off x="11026775" y="5170488"/>
            <a:ext cx="750888"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F2BA7B11-4B6A-43B6-A6E3-C65B949A210C}" type="datetime'2''''''''0''2''''''''1'' e''''''''''''nd'''''">
              <a:rPr lang="en-GB" altLang="en-US" sz="1400">
                <a:solidFill>
                  <a:schemeClr val="tx1"/>
                </a:solidFill>
              </a:rPr>
              <a:pPr/>
              <a:t>2021 end</a:t>
            </a:fld>
            <a:endParaRPr lang="en-GB" sz="1400">
              <a:solidFill>
                <a:schemeClr val="tx1"/>
              </a:solidFill>
              <a:sym typeface="+mn-lt"/>
            </a:endParaRPr>
          </a:p>
        </p:txBody>
      </p:sp>
      <p:sp>
        <p:nvSpPr>
          <p:cNvPr id="96" name="Rectangle 95"/>
          <p:cNvSpPr/>
          <p:nvPr>
            <p:custDataLst>
              <p:tags r:id="rId25"/>
            </p:custDataLst>
          </p:nvPr>
        </p:nvSpPr>
        <p:spPr bwMode="auto">
          <a:xfrm>
            <a:off x="9396413" y="5459413"/>
            <a:ext cx="250825" cy="187325"/>
          </a:xfrm>
          <a:prstGeom prst="rect">
            <a:avLst/>
          </a:prstGeom>
          <a:solidFill>
            <a:schemeClr val="accent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Rectangle 96"/>
          <p:cNvSpPr/>
          <p:nvPr>
            <p:custDataLst>
              <p:tags r:id="rId26"/>
            </p:custDataLst>
          </p:nvPr>
        </p:nvSpPr>
        <p:spPr bwMode="auto">
          <a:xfrm>
            <a:off x="10795000" y="5459413"/>
            <a:ext cx="250825" cy="187325"/>
          </a:xfrm>
          <a:prstGeom prst="rect">
            <a:avLst/>
          </a:prstGeom>
          <a:solidFill>
            <a:schemeClr val="accent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Rectangle 93"/>
          <p:cNvSpPr/>
          <p:nvPr>
            <p:custDataLst>
              <p:tags r:id="rId27"/>
            </p:custDataLst>
          </p:nvPr>
        </p:nvSpPr>
        <p:spPr bwMode="auto">
          <a:xfrm>
            <a:off x="7570788" y="5459413"/>
            <a:ext cx="250825" cy="187325"/>
          </a:xfrm>
          <a:prstGeom prst="rect">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Rectangle 94"/>
          <p:cNvSpPr/>
          <p:nvPr>
            <p:custDataLst>
              <p:tags r:id="rId28"/>
            </p:custDataLst>
          </p:nvPr>
        </p:nvSpPr>
        <p:spPr bwMode="auto">
          <a:xfrm>
            <a:off x="8497888" y="5459413"/>
            <a:ext cx="250825" cy="187325"/>
          </a:xfrm>
          <a:prstGeom prst="rect">
            <a:avLst/>
          </a:prstGeom>
          <a:solidFill>
            <a:schemeClr val="accent3"/>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Rectangle 92"/>
          <p:cNvSpPr/>
          <p:nvPr>
            <p:custDataLst>
              <p:tags r:id="rId29"/>
            </p:custDataLst>
          </p:nvPr>
        </p:nvSpPr>
        <p:spPr bwMode="auto">
          <a:xfrm>
            <a:off x="6457950" y="5459413"/>
            <a:ext cx="250825" cy="187325"/>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ectangle 55"/>
          <p:cNvSpPr/>
          <p:nvPr>
            <p:custDataLst>
              <p:tags r:id="rId30"/>
            </p:custDataLst>
          </p:nvPr>
        </p:nvSpPr>
        <p:spPr bwMode="auto">
          <a:xfrm>
            <a:off x="8799513" y="5454650"/>
            <a:ext cx="4953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BA9F150-7C44-4F07-831C-0CDB5F119BF3}" type="datetime'S''''''G''&amp;''''''A'''''''''''''''''">
              <a:rPr lang="en-GB" altLang="en-US" sz="1400">
                <a:solidFill>
                  <a:schemeClr val="tx1"/>
                </a:solidFill>
                <a:sym typeface="+mn-lt"/>
              </a:rPr>
              <a:pPr>
                <a:spcBef>
                  <a:spcPct val="0"/>
                </a:spcBef>
                <a:spcAft>
                  <a:spcPct val="0"/>
                </a:spcAft>
              </a:pPr>
              <a:t>SG&amp;A</a:t>
            </a:fld>
            <a:endParaRPr lang="en-GB" sz="1400">
              <a:solidFill>
                <a:schemeClr val="tx1"/>
              </a:solidFill>
              <a:sym typeface="+mn-lt"/>
            </a:endParaRPr>
          </a:p>
        </p:txBody>
      </p:sp>
      <p:sp>
        <p:nvSpPr>
          <p:cNvPr id="87" name="Rectangle 86"/>
          <p:cNvSpPr/>
          <p:nvPr>
            <p:custDataLst>
              <p:tags r:id="rId31"/>
            </p:custDataLst>
          </p:nvPr>
        </p:nvSpPr>
        <p:spPr bwMode="auto">
          <a:xfrm>
            <a:off x="11096625" y="5454650"/>
            <a:ext cx="395288"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D8DE7486-C133-460E-AB35-67A1BE815C86}" type="datetime'''''''''''''''EB''''''''''I''''''''''T'''''''''''''''''">
              <a:rPr lang="en-GB" altLang="en-US" sz="1400">
                <a:solidFill>
                  <a:schemeClr val="tx1"/>
                </a:solidFill>
              </a:rPr>
              <a:pPr/>
              <a:t>EBIT</a:t>
            </a:fld>
            <a:endParaRPr lang="en-GB" sz="1400">
              <a:solidFill>
                <a:schemeClr val="tx1"/>
              </a:solidFill>
              <a:sym typeface="+mn-lt"/>
            </a:endParaRPr>
          </a:p>
        </p:txBody>
      </p:sp>
      <p:sp>
        <p:nvSpPr>
          <p:cNvPr id="40" name="Rectangle 39"/>
          <p:cNvSpPr/>
          <p:nvPr>
            <p:custDataLst>
              <p:tags r:id="rId32"/>
            </p:custDataLst>
          </p:nvPr>
        </p:nvSpPr>
        <p:spPr bwMode="auto">
          <a:xfrm>
            <a:off x="6759575" y="5454650"/>
            <a:ext cx="70961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3B0C2F9-D80F-40DA-80BA-5D0FD89E5E44}" type="datetime'''Rev''''''''''''''''''e''''''''''''''''''''nu''''''''''''e'">
              <a:rPr lang="en-GB" altLang="en-US" sz="1400">
                <a:solidFill>
                  <a:schemeClr val="tx1"/>
                </a:solidFill>
                <a:sym typeface="+mn-lt"/>
              </a:rPr>
              <a:pPr>
                <a:spcBef>
                  <a:spcPct val="0"/>
                </a:spcBef>
                <a:spcAft>
                  <a:spcPct val="0"/>
                </a:spcAft>
              </a:pPr>
              <a:t>Revenue</a:t>
            </a:fld>
            <a:endParaRPr lang="en-GB" sz="1400">
              <a:solidFill>
                <a:schemeClr val="tx1"/>
              </a:solidFill>
              <a:sym typeface="+mn-lt"/>
            </a:endParaRPr>
          </a:p>
        </p:txBody>
      </p:sp>
      <p:sp>
        <p:nvSpPr>
          <p:cNvPr id="72" name="Rectangle 71"/>
          <p:cNvSpPr/>
          <p:nvPr>
            <p:custDataLst>
              <p:tags r:id="rId33"/>
            </p:custDataLst>
          </p:nvPr>
        </p:nvSpPr>
        <p:spPr bwMode="auto">
          <a:xfrm>
            <a:off x="9698038" y="5454650"/>
            <a:ext cx="99536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1437CCF4-735E-423A-8F58-AF1C939A0618}" type="datetime'''''''''D''e''pr''eci''at''''i''''''''''''''on'''''''''''''">
              <a:rPr lang="en-GB" altLang="en-US" sz="1400">
                <a:solidFill>
                  <a:schemeClr val="tx1"/>
                </a:solidFill>
                <a:sym typeface="+mn-lt"/>
              </a:rPr>
              <a:pPr>
                <a:spcBef>
                  <a:spcPct val="0"/>
                </a:spcBef>
                <a:spcAft>
                  <a:spcPct val="0"/>
                </a:spcAft>
              </a:pPr>
              <a:t>Depreciation</a:t>
            </a:fld>
            <a:endParaRPr lang="en-GB" sz="1400">
              <a:solidFill>
                <a:schemeClr val="tx1"/>
              </a:solidFill>
              <a:sym typeface="+mn-lt"/>
            </a:endParaRPr>
          </a:p>
        </p:txBody>
      </p:sp>
      <p:sp>
        <p:nvSpPr>
          <p:cNvPr id="41" name="Rectangle 40"/>
          <p:cNvSpPr/>
          <p:nvPr>
            <p:custDataLst>
              <p:tags r:id="rId34"/>
            </p:custDataLst>
          </p:nvPr>
        </p:nvSpPr>
        <p:spPr bwMode="auto">
          <a:xfrm>
            <a:off x="7872413" y="5454650"/>
            <a:ext cx="5238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E1EB169-41D4-4FD6-93C8-63F2CEA229B4}" type="datetime'''C''''O''''''''''''''''''''G''''''''''S'">
              <a:rPr lang="en-GB" altLang="en-US" sz="1400">
                <a:solidFill>
                  <a:schemeClr val="tx1"/>
                </a:solidFill>
                <a:sym typeface="+mn-lt"/>
              </a:rPr>
              <a:pPr>
                <a:spcBef>
                  <a:spcPct val="0"/>
                </a:spcBef>
                <a:spcAft>
                  <a:spcPct val="0"/>
                </a:spcAft>
              </a:pPr>
              <a:t>COGS</a:t>
            </a:fld>
            <a:endParaRPr lang="en-GB" sz="1400" dirty="0">
              <a:solidFill>
                <a:schemeClr val="tx1"/>
              </a:solidFill>
              <a:sym typeface="+mn-lt"/>
            </a:endParaRPr>
          </a:p>
        </p:txBody>
      </p:sp>
      <p:sp>
        <p:nvSpPr>
          <p:cNvPr id="98" name="TextBox 97"/>
          <p:cNvSpPr txBox="1"/>
          <p:nvPr/>
        </p:nvSpPr>
        <p:spPr>
          <a:xfrm>
            <a:off x="6034179" y="1292084"/>
            <a:ext cx="6252369" cy="523220"/>
          </a:xfrm>
          <a:prstGeom prst="rect">
            <a:avLst/>
          </a:prstGeom>
          <a:noFill/>
        </p:spPr>
        <p:txBody>
          <a:bodyPr wrap="square" rtlCol="0">
            <a:spAutoFit/>
          </a:bodyPr>
          <a:lstStyle/>
          <a:p>
            <a:r>
              <a:rPr lang="da-DK" sz="1400" b="1" dirty="0"/>
              <a:t>Through </a:t>
            </a:r>
            <a:r>
              <a:rPr lang="da-DK" sz="1400" b="1" dirty="0" err="1"/>
              <a:t>Ugly</a:t>
            </a:r>
            <a:r>
              <a:rPr lang="da-DK" sz="1400" b="1" dirty="0"/>
              <a:t> Foods, Coles EBIT </a:t>
            </a:r>
            <a:r>
              <a:rPr lang="da-DK" sz="1400" b="1" dirty="0" err="1"/>
              <a:t>will</a:t>
            </a:r>
            <a:r>
              <a:rPr lang="da-DK" sz="1400" b="1" dirty="0"/>
              <a:t> </a:t>
            </a:r>
            <a:r>
              <a:rPr lang="da-DK" sz="1400" b="1" dirty="0" err="1"/>
              <a:t>increase</a:t>
            </a:r>
            <a:r>
              <a:rPr lang="da-DK" sz="1400" b="1" dirty="0"/>
              <a:t> from 1860 M to 3063 M over the </a:t>
            </a:r>
            <a:r>
              <a:rPr lang="da-DK" sz="1400" b="1" dirty="0" err="1"/>
              <a:t>next</a:t>
            </a:r>
            <a:r>
              <a:rPr lang="da-DK" sz="1400" b="1" dirty="0"/>
              <a:t> 5 </a:t>
            </a:r>
            <a:r>
              <a:rPr lang="da-DK" sz="1400" b="1" dirty="0" err="1"/>
              <a:t>years</a:t>
            </a:r>
            <a:endParaRPr lang="en-GB" sz="1400" b="1" dirty="0"/>
          </a:p>
        </p:txBody>
      </p:sp>
      <p:graphicFrame>
        <p:nvGraphicFramePr>
          <p:cNvPr id="105" name="Object 104"/>
          <p:cNvGraphicFramePr>
            <a:graphicFrameLocks/>
          </p:cNvGraphicFramePr>
          <p:nvPr>
            <p:custDataLst>
              <p:tags r:id="rId35"/>
            </p:custDataLst>
          </p:nvPr>
        </p:nvGraphicFramePr>
        <p:xfrm>
          <a:off x="495299" y="1828800"/>
          <a:ext cx="5267356" cy="3095598"/>
        </p:xfrm>
        <a:graphic>
          <a:graphicData uri="http://schemas.openxmlformats.org/presentationml/2006/ole">
            <mc:AlternateContent xmlns:mc="http://schemas.openxmlformats.org/markup-compatibility/2006">
              <mc:Choice xmlns:v="urn:schemas-microsoft-com:vml" Requires="v">
                <p:oleObj spid="_x0000_s137249" name="Chart" r:id="rId51" imgW="5267356" imgH="3095598" progId="MSGraph.Chart.8">
                  <p:embed followColorScheme="full"/>
                </p:oleObj>
              </mc:Choice>
              <mc:Fallback>
                <p:oleObj name="Chart" r:id="rId51" imgW="5267356" imgH="3095598" progId="MSGraph.Chart.8">
                  <p:embed followColorScheme="full"/>
                  <p:pic>
                    <p:nvPicPr>
                      <p:cNvPr id="105" name="Object 104"/>
                      <p:cNvPicPr/>
                      <p:nvPr/>
                    </p:nvPicPr>
                    <p:blipFill>
                      <a:blip r:embed="rId52"/>
                      <a:stretch>
                        <a:fillRect/>
                      </a:stretch>
                    </p:blipFill>
                    <p:spPr>
                      <a:xfrm>
                        <a:off x="495299" y="1828800"/>
                        <a:ext cx="5267356" cy="3095598"/>
                      </a:xfrm>
                      <a:prstGeom prst="rect">
                        <a:avLst/>
                      </a:prstGeom>
                    </p:spPr>
                  </p:pic>
                </p:oleObj>
              </mc:Fallback>
            </mc:AlternateContent>
          </a:graphicData>
        </a:graphic>
      </p:graphicFrame>
      <p:sp>
        <p:nvSpPr>
          <p:cNvPr id="119" name="Rectangle 118"/>
          <p:cNvSpPr/>
          <p:nvPr>
            <p:custDataLst>
              <p:tags r:id="rId36"/>
            </p:custDataLst>
          </p:nvPr>
        </p:nvSpPr>
        <p:spPr bwMode="auto">
          <a:xfrm>
            <a:off x="4945063"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C949755-224A-46E2-97DC-00F1AB0A5407}" type="datetime'''2''''''0''''''''''''''''''''''2''''''''''1'">
              <a:rPr lang="en-GB" altLang="en-US" sz="1400">
                <a:solidFill>
                  <a:schemeClr val="tx1"/>
                </a:solidFill>
              </a:rPr>
              <a:pPr/>
              <a:t>2021</a:t>
            </a:fld>
            <a:endParaRPr lang="en-GB" sz="1400">
              <a:solidFill>
                <a:schemeClr val="tx1"/>
              </a:solidFill>
              <a:sym typeface="+mn-lt"/>
            </a:endParaRPr>
          </a:p>
        </p:txBody>
      </p:sp>
      <p:sp>
        <p:nvSpPr>
          <p:cNvPr id="120" name="Rectangle 119"/>
          <p:cNvSpPr/>
          <p:nvPr>
            <p:custDataLst>
              <p:tags r:id="rId37"/>
            </p:custDataLst>
          </p:nvPr>
        </p:nvSpPr>
        <p:spPr bwMode="gray">
          <a:xfrm>
            <a:off x="3892550" y="2447925"/>
            <a:ext cx="49371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BC48FD45-5F78-4864-8E08-79D5426BE35D}" type="datetime'''''''''''1''''''.''''''''''''''''''''2''''5''''''''''''''2'''">
              <a:rPr lang="en-GB" altLang="en-US" sz="1400">
                <a:solidFill>
                  <a:schemeClr val="tx1"/>
                </a:solidFill>
                <a:sym typeface="+mn-lt"/>
              </a:rPr>
              <a:pPr algn="ctr">
                <a:spcBef>
                  <a:spcPct val="0"/>
                </a:spcBef>
                <a:spcAft>
                  <a:spcPct val="0"/>
                </a:spcAft>
              </a:pPr>
              <a:t>1.252</a:t>
            </a:fld>
            <a:endParaRPr lang="en-GB" sz="1400">
              <a:solidFill>
                <a:schemeClr val="tx1"/>
              </a:solidFill>
              <a:sym typeface="+mn-lt"/>
            </a:endParaRPr>
          </a:p>
        </p:txBody>
      </p:sp>
      <p:sp>
        <p:nvSpPr>
          <p:cNvPr id="121" name="Rectangle 120"/>
          <p:cNvSpPr/>
          <p:nvPr>
            <p:custDataLst>
              <p:tags r:id="rId38"/>
            </p:custDataLst>
          </p:nvPr>
        </p:nvSpPr>
        <p:spPr bwMode="gray">
          <a:xfrm>
            <a:off x="4902200" y="1724025"/>
            <a:ext cx="49371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4C92CB0C-A57C-4505-92E0-E331A9F80964}" type="datetime'''''''''''''''1''''''''''''''''''''''.''67''''''''''''7'''''">
              <a:rPr lang="en-GB" altLang="en-US" sz="1400">
                <a:solidFill>
                  <a:schemeClr val="tx1"/>
                </a:solidFill>
                <a:sym typeface="+mn-lt"/>
              </a:rPr>
              <a:pPr algn="ctr">
                <a:spcBef>
                  <a:spcPct val="0"/>
                </a:spcBef>
                <a:spcAft>
                  <a:spcPct val="0"/>
                </a:spcAft>
              </a:pPr>
              <a:t>1.677</a:t>
            </a:fld>
            <a:endParaRPr lang="en-GB" sz="1400">
              <a:solidFill>
                <a:schemeClr val="tx1"/>
              </a:solidFill>
              <a:sym typeface="+mn-lt"/>
            </a:endParaRPr>
          </a:p>
        </p:txBody>
      </p:sp>
      <p:sp>
        <p:nvSpPr>
          <p:cNvPr id="118" name="Rectangle 117"/>
          <p:cNvSpPr/>
          <p:nvPr>
            <p:custDataLst>
              <p:tags r:id="rId39"/>
            </p:custDataLst>
          </p:nvPr>
        </p:nvSpPr>
        <p:spPr bwMode="auto">
          <a:xfrm>
            <a:off x="3935413"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CC7D6B46-B2FB-46C6-A5CF-EBAE1D1DB0ED}" type="datetime'20''''''''''''''''''''2''''''''''''''''''''''0'''">
              <a:rPr lang="en-GB" altLang="en-US" sz="1400">
                <a:solidFill>
                  <a:schemeClr val="tx1"/>
                </a:solidFill>
              </a:rPr>
              <a:pPr/>
              <a:t>2020</a:t>
            </a:fld>
            <a:endParaRPr lang="en-GB" sz="1400">
              <a:solidFill>
                <a:schemeClr val="tx1"/>
              </a:solidFill>
              <a:sym typeface="+mn-lt"/>
            </a:endParaRPr>
          </a:p>
        </p:txBody>
      </p:sp>
      <p:sp>
        <p:nvSpPr>
          <p:cNvPr id="106" name="Rectangle 105"/>
          <p:cNvSpPr/>
          <p:nvPr>
            <p:custDataLst>
              <p:tags r:id="rId40"/>
            </p:custDataLst>
          </p:nvPr>
        </p:nvSpPr>
        <p:spPr bwMode="auto">
          <a:xfrm>
            <a:off x="915988"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C44915B-0BBA-436C-AF0C-6296388090D0}" type="datetime'''''''''''20''''''1''''''''''''''''''''''''''7'''''">
              <a:rPr lang="en-GB" altLang="en-US" sz="1400">
                <a:solidFill>
                  <a:schemeClr val="tx1"/>
                </a:solidFill>
              </a:rPr>
              <a:pPr/>
              <a:t>2017</a:t>
            </a:fld>
            <a:endParaRPr lang="en-GB" sz="1400">
              <a:solidFill>
                <a:schemeClr val="tx1"/>
              </a:solidFill>
              <a:sym typeface="+mn-lt"/>
            </a:endParaRPr>
          </a:p>
        </p:txBody>
      </p:sp>
      <p:sp>
        <p:nvSpPr>
          <p:cNvPr id="108" name="Rectangle 107"/>
          <p:cNvSpPr/>
          <p:nvPr>
            <p:custDataLst>
              <p:tags r:id="rId41"/>
            </p:custDataLst>
          </p:nvPr>
        </p:nvSpPr>
        <p:spPr bwMode="auto">
          <a:xfrm>
            <a:off x="2930525"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05A3D3D-D1EA-4677-81AD-B3906AF2B392}" type="datetime'''''''''2''''''''''''0''''''''''1''''9'''''''''''''''''">
              <a:rPr lang="en-GB" altLang="en-US" sz="1400">
                <a:solidFill>
                  <a:schemeClr val="tx1"/>
                </a:solidFill>
              </a:rPr>
              <a:pPr/>
              <a:t>2019</a:t>
            </a:fld>
            <a:endParaRPr lang="en-GB" sz="1400">
              <a:solidFill>
                <a:schemeClr val="tx1"/>
              </a:solidFill>
              <a:sym typeface="+mn-lt"/>
            </a:endParaRPr>
          </a:p>
        </p:txBody>
      </p:sp>
      <p:sp>
        <p:nvSpPr>
          <p:cNvPr id="112" name="Rectangle 111"/>
          <p:cNvSpPr/>
          <p:nvPr>
            <p:custDataLst>
              <p:tags r:id="rId42"/>
            </p:custDataLst>
          </p:nvPr>
        </p:nvSpPr>
        <p:spPr bwMode="gray">
          <a:xfrm>
            <a:off x="952500" y="4391025"/>
            <a:ext cx="3333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6025BED3-1AD6-4862-BFDD-6D8F0DB06A3D}" type="datetime'''''''''''''''''''1''''''1''''''''''''''''''0'''''''''''''''''">
              <a:rPr lang="en-GB" altLang="en-US" sz="1400">
                <a:solidFill>
                  <a:schemeClr val="tx1"/>
                </a:solidFill>
              </a:rPr>
              <a:pPr/>
              <a:t>110</a:t>
            </a:fld>
            <a:endParaRPr lang="en-GB" sz="1400">
              <a:solidFill>
                <a:schemeClr val="tx1"/>
              </a:solidFill>
              <a:sym typeface="+mn-lt"/>
            </a:endParaRPr>
          </a:p>
        </p:txBody>
      </p:sp>
      <p:sp>
        <p:nvSpPr>
          <p:cNvPr id="113" name="Rectangle 112"/>
          <p:cNvSpPr/>
          <p:nvPr>
            <p:custDataLst>
              <p:tags r:id="rId43"/>
            </p:custDataLst>
          </p:nvPr>
        </p:nvSpPr>
        <p:spPr bwMode="gray">
          <a:xfrm>
            <a:off x="1955800" y="37814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2E1CF539-AC93-4B31-9DE3-609AF31ABE53}" type="datetime'''''''''''''''''''''''4''''''''''''''''''''6''''''''9'''''''">
              <a:rPr lang="en-GB" altLang="en-US" sz="1400">
                <a:solidFill>
                  <a:schemeClr val="tx1"/>
                </a:solidFill>
              </a:rPr>
              <a:pPr/>
              <a:t>469</a:t>
            </a:fld>
            <a:endParaRPr lang="en-GB" sz="1400">
              <a:solidFill>
                <a:schemeClr val="tx1"/>
              </a:solidFill>
              <a:sym typeface="+mn-lt"/>
            </a:endParaRPr>
          </a:p>
        </p:txBody>
      </p:sp>
      <p:sp>
        <p:nvSpPr>
          <p:cNvPr id="114" name="Rectangle 113"/>
          <p:cNvSpPr/>
          <p:nvPr>
            <p:custDataLst>
              <p:tags r:id="rId44"/>
            </p:custDataLst>
          </p:nvPr>
        </p:nvSpPr>
        <p:spPr bwMode="gray">
          <a:xfrm>
            <a:off x="2960688" y="31337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5F90997F-BB2E-4C87-9A8F-E1944F1CBB1C}" type="datetime'''''''''''''''8''''''''''''''4''''''''''9'''''''''''''''''''''">
              <a:rPr lang="en-GB" altLang="en-US" sz="1400">
                <a:solidFill>
                  <a:schemeClr val="tx1"/>
                </a:solidFill>
              </a:rPr>
              <a:pPr/>
              <a:t>849</a:t>
            </a:fld>
            <a:endParaRPr lang="en-GB" sz="1400">
              <a:solidFill>
                <a:schemeClr val="tx1"/>
              </a:solidFill>
              <a:sym typeface="+mn-lt"/>
            </a:endParaRPr>
          </a:p>
        </p:txBody>
      </p:sp>
      <p:sp>
        <p:nvSpPr>
          <p:cNvPr id="107" name="Rectangle 106"/>
          <p:cNvSpPr/>
          <p:nvPr>
            <p:custDataLst>
              <p:tags r:id="rId45"/>
            </p:custDataLst>
          </p:nvPr>
        </p:nvSpPr>
        <p:spPr bwMode="auto">
          <a:xfrm>
            <a:off x="1925638"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247EBD5-19B7-4CF3-8DFD-4F018ABD7805}" type="datetime'''2''''''''''''0''1''''''8'''">
              <a:rPr lang="en-GB" altLang="en-US" sz="1400">
                <a:solidFill>
                  <a:schemeClr val="tx1"/>
                </a:solidFill>
              </a:rPr>
              <a:pPr/>
              <a:t>2018</a:t>
            </a:fld>
            <a:endParaRPr lang="en-GB" sz="1400">
              <a:solidFill>
                <a:schemeClr val="tx1"/>
              </a:solidFill>
              <a:sym typeface="+mn-lt"/>
            </a:endParaRPr>
          </a:p>
        </p:txBody>
      </p:sp>
      <p:sp>
        <p:nvSpPr>
          <p:cNvPr id="128" name="TextBox 127"/>
          <p:cNvSpPr txBox="1"/>
          <p:nvPr/>
        </p:nvSpPr>
        <p:spPr>
          <a:xfrm>
            <a:off x="498026" y="1399805"/>
            <a:ext cx="3118576" cy="307777"/>
          </a:xfrm>
          <a:prstGeom prst="rect">
            <a:avLst/>
          </a:prstGeom>
          <a:noFill/>
        </p:spPr>
        <p:txBody>
          <a:bodyPr wrap="square" rtlCol="0">
            <a:spAutoFit/>
          </a:bodyPr>
          <a:lstStyle/>
          <a:p>
            <a:fld id="{A03EDD93-F633-4CB7-A19F-6EF89D5426CF}" type="datetime'Inc''r''ement''a''l ''r''eve''''''nue'''' in'''''' ''''$''M'''">
              <a:rPr lang="en-GB" altLang="en-US" sz="1400" b="1"/>
              <a:pPr/>
              <a:t>Incremental revenue in $M</a:t>
            </a:fld>
            <a:endParaRPr lang="en-GB" sz="1400" b="1" dirty="0"/>
          </a:p>
        </p:txBody>
      </p:sp>
      <p:sp>
        <p:nvSpPr>
          <p:cNvPr id="3" name="Rectangle 2"/>
          <p:cNvSpPr/>
          <p:nvPr/>
        </p:nvSpPr>
        <p:spPr>
          <a:xfrm>
            <a:off x="620911" y="5246687"/>
            <a:ext cx="5141744" cy="4853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p:cNvSpPr txBox="1"/>
          <p:nvPr/>
        </p:nvSpPr>
        <p:spPr>
          <a:xfrm>
            <a:off x="1702313" y="5344221"/>
            <a:ext cx="853047" cy="276999"/>
          </a:xfrm>
          <a:prstGeom prst="rect">
            <a:avLst/>
          </a:prstGeom>
          <a:noFill/>
        </p:spPr>
        <p:txBody>
          <a:bodyPr wrap="square" rtlCol="0">
            <a:spAutoFit/>
          </a:bodyPr>
          <a:lstStyle/>
          <a:p>
            <a:r>
              <a:rPr lang="da-DK" sz="1200" dirty="0"/>
              <a:t>33 stores</a:t>
            </a:r>
            <a:endParaRPr lang="en-GB" sz="1200" dirty="0"/>
          </a:p>
        </p:txBody>
      </p:sp>
      <p:sp>
        <p:nvSpPr>
          <p:cNvPr id="55" name="TextBox 54"/>
          <p:cNvSpPr txBox="1"/>
          <p:nvPr/>
        </p:nvSpPr>
        <p:spPr>
          <a:xfrm>
            <a:off x="692664" y="5327145"/>
            <a:ext cx="853047" cy="276999"/>
          </a:xfrm>
          <a:prstGeom prst="rect">
            <a:avLst/>
          </a:prstGeom>
          <a:noFill/>
        </p:spPr>
        <p:txBody>
          <a:bodyPr wrap="square" rtlCol="0">
            <a:spAutoFit/>
          </a:bodyPr>
          <a:lstStyle/>
          <a:p>
            <a:r>
              <a:rPr lang="da-DK" sz="1200"/>
              <a:t>8 stores</a:t>
            </a:r>
            <a:endParaRPr lang="en-GB" sz="1200" dirty="0"/>
          </a:p>
        </p:txBody>
      </p:sp>
      <p:sp>
        <p:nvSpPr>
          <p:cNvPr id="57" name="TextBox 56"/>
          <p:cNvSpPr txBox="1"/>
          <p:nvPr/>
        </p:nvSpPr>
        <p:spPr>
          <a:xfrm>
            <a:off x="2707201" y="5358121"/>
            <a:ext cx="853047" cy="276999"/>
          </a:xfrm>
          <a:prstGeom prst="rect">
            <a:avLst/>
          </a:prstGeom>
          <a:noFill/>
        </p:spPr>
        <p:txBody>
          <a:bodyPr wrap="square" rtlCol="0">
            <a:spAutoFit/>
          </a:bodyPr>
          <a:lstStyle/>
          <a:p>
            <a:r>
              <a:rPr lang="da-DK" sz="1200" dirty="0"/>
              <a:t>58 stores</a:t>
            </a:r>
            <a:endParaRPr lang="en-GB" sz="1200" dirty="0"/>
          </a:p>
        </p:txBody>
      </p:sp>
      <p:sp>
        <p:nvSpPr>
          <p:cNvPr id="58" name="TextBox 57"/>
          <p:cNvSpPr txBox="1"/>
          <p:nvPr/>
        </p:nvSpPr>
        <p:spPr>
          <a:xfrm>
            <a:off x="3712089" y="5344221"/>
            <a:ext cx="853047" cy="276999"/>
          </a:xfrm>
          <a:prstGeom prst="rect">
            <a:avLst/>
          </a:prstGeom>
          <a:noFill/>
        </p:spPr>
        <p:txBody>
          <a:bodyPr wrap="square" rtlCol="0">
            <a:spAutoFit/>
          </a:bodyPr>
          <a:lstStyle/>
          <a:p>
            <a:r>
              <a:rPr lang="da-DK" sz="1200" dirty="0"/>
              <a:t>83 stores</a:t>
            </a:r>
            <a:endParaRPr lang="en-GB" sz="1200" dirty="0"/>
          </a:p>
        </p:txBody>
      </p:sp>
      <p:sp>
        <p:nvSpPr>
          <p:cNvPr id="59" name="TextBox 58"/>
          <p:cNvSpPr txBox="1"/>
          <p:nvPr/>
        </p:nvSpPr>
        <p:spPr>
          <a:xfrm>
            <a:off x="4702104" y="5358121"/>
            <a:ext cx="1060551" cy="276999"/>
          </a:xfrm>
          <a:prstGeom prst="rect">
            <a:avLst/>
          </a:prstGeom>
          <a:noFill/>
        </p:spPr>
        <p:txBody>
          <a:bodyPr wrap="square" rtlCol="0">
            <a:spAutoFit/>
          </a:bodyPr>
          <a:lstStyle/>
          <a:p>
            <a:r>
              <a:rPr lang="da-DK" sz="1200" dirty="0"/>
              <a:t>108 stores</a:t>
            </a:r>
            <a:endParaRPr lang="en-GB" sz="1200" dirty="0"/>
          </a:p>
        </p:txBody>
      </p:sp>
    </p:spTree>
    <p:extLst>
      <p:ext uri="{BB962C8B-B14F-4D97-AF65-F5344CB8AC3E}">
        <p14:creationId xmlns:p14="http://schemas.microsoft.com/office/powerpoint/2010/main" val="9363827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pPr marL="0" indent="0">
              <a:buNone/>
            </a:pPr>
            <a:endParaRPr lang="en-AU" dirty="0"/>
          </a:p>
        </p:txBody>
      </p:sp>
      <p:sp>
        <p:nvSpPr>
          <p:cNvPr id="7" name="Text Placeholder 6">
            <a:extLst>
              <a:ext uri="{FF2B5EF4-FFF2-40B4-BE49-F238E27FC236}">
                <a16:creationId xmlns:a16="http://schemas.microsoft.com/office/drawing/2014/main" id="{522FA9C2-D516-BC40-91B5-CD2FF7FC07FF}"/>
              </a:ext>
            </a:extLst>
          </p:cNvPr>
          <p:cNvSpPr>
            <a:spLocks noGrp="1"/>
          </p:cNvSpPr>
          <p:nvPr>
            <p:ph type="body" sz="quarter" idx="15"/>
          </p:nvPr>
        </p:nvSpPr>
        <p:spPr/>
        <p:txBody>
          <a:bodyPr/>
          <a:lstStyle/>
          <a:p>
            <a:pPr marL="0" indent="0">
              <a:buNone/>
            </a:pPr>
            <a:endParaRPr lang="en-GB" dirty="0"/>
          </a:p>
        </p:txBody>
      </p:sp>
      <p:sp>
        <p:nvSpPr>
          <p:cNvPr id="5" name="Title 4"/>
          <p:cNvSpPr>
            <a:spLocks noGrp="1"/>
          </p:cNvSpPr>
          <p:nvPr>
            <p:ph type="title"/>
          </p:nvPr>
        </p:nvSpPr>
        <p:spPr/>
        <p:txBody>
          <a:bodyPr/>
          <a:lstStyle/>
          <a:p>
            <a:r>
              <a:rPr lang="en-AU" dirty="0"/>
              <a:t>… This means a positive NPV in every scenario, with a initial investment of $84 M and a payback time of 4 years</a:t>
            </a:r>
          </a:p>
        </p:txBody>
      </p:sp>
      <p:sp>
        <p:nvSpPr>
          <p:cNvPr id="11" name="Tekstfelt 5"/>
          <p:cNvSpPr txBox="1"/>
          <p:nvPr/>
        </p:nvSpPr>
        <p:spPr>
          <a:xfrm>
            <a:off x="8977893" y="3535399"/>
            <a:ext cx="3677063" cy="2539157"/>
          </a:xfrm>
          <a:prstGeom prst="rect">
            <a:avLst/>
          </a:prstGeom>
          <a:noFill/>
          <a:ln>
            <a:noFill/>
          </a:ln>
        </p:spPr>
        <p:txBody>
          <a:bodyPr wrap="square" rtlCol="0">
            <a:spAutoFit/>
          </a:bodyPr>
          <a:lstStyle/>
          <a:p>
            <a:endParaRPr lang="en-AU" sz="300" b="1" dirty="0">
              <a:solidFill>
                <a:schemeClr val="tx1">
                  <a:lumMod val="75000"/>
                  <a:lumOff val="25000"/>
                </a:schemeClr>
              </a:solidFill>
            </a:endParaRPr>
          </a:p>
          <a:p>
            <a:r>
              <a:rPr lang="en-AU" sz="1200" dirty="0">
                <a:solidFill>
                  <a:schemeClr val="tx1">
                    <a:lumMod val="75000"/>
                    <a:lumOff val="25000"/>
                  </a:schemeClr>
                </a:solidFill>
              </a:rPr>
              <a:t>Initial irreversible investment:</a:t>
            </a:r>
          </a:p>
          <a:p>
            <a:r>
              <a:rPr lang="en-AU" sz="1200" dirty="0">
                <a:solidFill>
                  <a:schemeClr val="tx1">
                    <a:lumMod val="75000"/>
                    <a:lumOff val="25000"/>
                  </a:schemeClr>
                </a:solidFill>
              </a:rPr>
              <a:t>$54 M stores + $30 M for fixed cost first year.</a:t>
            </a:r>
          </a:p>
          <a:p>
            <a:endParaRPr lang="en-AU" sz="1200" dirty="0">
              <a:solidFill>
                <a:schemeClr val="tx1">
                  <a:lumMod val="75000"/>
                  <a:lumOff val="25000"/>
                </a:schemeClr>
              </a:solidFill>
            </a:endParaRPr>
          </a:p>
          <a:p>
            <a:r>
              <a:rPr lang="en-AU" sz="1200" dirty="0">
                <a:solidFill>
                  <a:schemeClr val="tx1">
                    <a:lumMod val="75000"/>
                    <a:lumOff val="25000"/>
                  </a:schemeClr>
                </a:solidFill>
              </a:rPr>
              <a:t>3% annual growth in best and base.</a:t>
            </a:r>
            <a:br>
              <a:rPr lang="en-AU" sz="1200" dirty="0">
                <a:solidFill>
                  <a:schemeClr val="tx1">
                    <a:lumMod val="75000"/>
                    <a:lumOff val="25000"/>
                  </a:schemeClr>
                </a:solidFill>
              </a:rPr>
            </a:br>
            <a:r>
              <a:rPr lang="en-AU" sz="1200" dirty="0">
                <a:solidFill>
                  <a:schemeClr val="tx1">
                    <a:lumMod val="75000"/>
                    <a:lumOff val="25000"/>
                  </a:schemeClr>
                </a:solidFill>
              </a:rPr>
              <a:t>0% in worst</a:t>
            </a:r>
          </a:p>
          <a:p>
            <a:endParaRPr lang="en-AU" sz="1200" dirty="0">
              <a:solidFill>
                <a:schemeClr val="tx1">
                  <a:lumMod val="75000"/>
                  <a:lumOff val="25000"/>
                </a:schemeClr>
              </a:solidFill>
            </a:endParaRPr>
          </a:p>
          <a:p>
            <a:r>
              <a:rPr lang="en-AU" sz="1200" dirty="0">
                <a:solidFill>
                  <a:schemeClr val="tx1">
                    <a:lumMod val="75000"/>
                    <a:lumOff val="25000"/>
                  </a:schemeClr>
                </a:solidFill>
              </a:rPr>
              <a:t>$ 13,8 M average revenue per store</a:t>
            </a:r>
          </a:p>
          <a:p>
            <a:endParaRPr lang="en-AU" sz="1200" dirty="0">
              <a:solidFill>
                <a:schemeClr val="tx1">
                  <a:lumMod val="75000"/>
                  <a:lumOff val="25000"/>
                </a:schemeClr>
              </a:solidFill>
            </a:endParaRPr>
          </a:p>
          <a:p>
            <a:r>
              <a:rPr lang="en-AU" sz="1200" dirty="0">
                <a:solidFill>
                  <a:schemeClr val="tx1">
                    <a:lumMod val="75000"/>
                    <a:lumOff val="25000"/>
                  </a:schemeClr>
                </a:solidFill>
              </a:rPr>
              <a:t>50/50 split between Ugly Foods &amp; private label</a:t>
            </a:r>
            <a:br>
              <a:rPr lang="en-AU" sz="1200" dirty="0">
                <a:solidFill>
                  <a:schemeClr val="tx1">
                    <a:lumMod val="75000"/>
                    <a:lumOff val="25000"/>
                  </a:schemeClr>
                </a:solidFill>
              </a:rPr>
            </a:br>
            <a:endParaRPr lang="en-AU" sz="1200" dirty="0">
              <a:solidFill>
                <a:schemeClr val="tx1">
                  <a:lumMod val="75000"/>
                  <a:lumOff val="25000"/>
                </a:schemeClr>
              </a:solidFill>
            </a:endParaRPr>
          </a:p>
          <a:p>
            <a:r>
              <a:rPr lang="en-AU" sz="1200" dirty="0">
                <a:solidFill>
                  <a:schemeClr val="tx1">
                    <a:lumMod val="75000"/>
                    <a:lumOff val="25000"/>
                  </a:schemeClr>
                </a:solidFill>
                <a:latin typeface="Arial" charset="0"/>
                <a:ea typeface="Arial" charset="0"/>
                <a:cs typeface="Arial" charset="0"/>
              </a:rPr>
              <a:t>No investment after pilot in worst case.</a:t>
            </a:r>
            <a:br>
              <a:rPr lang="en-AU" sz="1200" dirty="0">
                <a:solidFill>
                  <a:schemeClr val="tx1">
                    <a:lumMod val="75000"/>
                    <a:lumOff val="25000"/>
                  </a:schemeClr>
                </a:solidFill>
                <a:latin typeface="Arial" charset="0"/>
                <a:ea typeface="Arial" charset="0"/>
                <a:cs typeface="Arial" charset="0"/>
              </a:rPr>
            </a:br>
            <a:r>
              <a:rPr lang="en-AU" sz="1200" dirty="0">
                <a:solidFill>
                  <a:schemeClr val="tx1">
                    <a:lumMod val="75000"/>
                    <a:lumOff val="25000"/>
                  </a:schemeClr>
                </a:solidFill>
                <a:latin typeface="Arial" charset="0"/>
                <a:ea typeface="Arial" charset="0"/>
                <a:cs typeface="Arial" charset="0"/>
              </a:rPr>
              <a:t>Stores sold off at 80% of book value in 2021</a:t>
            </a:r>
          </a:p>
          <a:p>
            <a:endParaRPr lang="en-AU" sz="1200" dirty="0">
              <a:solidFill>
                <a:schemeClr val="tx1">
                  <a:lumMod val="75000"/>
                  <a:lumOff val="25000"/>
                </a:schemeClr>
              </a:solidFill>
            </a:endParaRPr>
          </a:p>
        </p:txBody>
      </p:sp>
      <p:sp>
        <p:nvSpPr>
          <p:cNvPr id="13" name="Tekstfelt 5"/>
          <p:cNvSpPr txBox="1"/>
          <p:nvPr/>
        </p:nvSpPr>
        <p:spPr>
          <a:xfrm>
            <a:off x="8441983" y="3304088"/>
            <a:ext cx="2920734" cy="307777"/>
          </a:xfrm>
          <a:prstGeom prst="rect">
            <a:avLst/>
          </a:prstGeom>
          <a:noFill/>
          <a:ln>
            <a:noFill/>
          </a:ln>
        </p:spPr>
        <p:txBody>
          <a:bodyPr wrap="square" rtlCol="0">
            <a:spAutoFit/>
          </a:bodyPr>
          <a:lstStyle/>
          <a:p>
            <a:r>
              <a:rPr lang="en-AU" sz="1400" b="1" dirty="0">
                <a:solidFill>
                  <a:schemeClr val="tx1">
                    <a:lumMod val="75000"/>
                    <a:lumOff val="25000"/>
                  </a:schemeClr>
                </a:solidFill>
                <a:latin typeface="Arial" charset="0"/>
                <a:ea typeface="Arial" charset="0"/>
                <a:cs typeface="Arial" charset="0"/>
              </a:rPr>
              <a:t>Key assumptions</a:t>
            </a:r>
          </a:p>
        </p:txBody>
      </p:sp>
      <p:pic>
        <p:nvPicPr>
          <p:cNvPr id="17" name="Picture 16"/>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39253" y="5442096"/>
            <a:ext cx="334646" cy="334646"/>
          </a:xfrm>
          <a:prstGeom prst="rect">
            <a:avLst/>
          </a:prstGeom>
        </p:spPr>
      </p:pic>
      <p:pic>
        <p:nvPicPr>
          <p:cNvPr id="18" name="Picture 17"/>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487884" y="4156022"/>
            <a:ext cx="360000" cy="360000"/>
          </a:xfrm>
          <a:prstGeom prst="rect">
            <a:avLst/>
          </a:prstGeom>
        </p:spPr>
      </p:pic>
      <p:pic>
        <p:nvPicPr>
          <p:cNvPr id="22" name="Picture 21"/>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19591" y="5015916"/>
            <a:ext cx="319445" cy="319445"/>
          </a:xfrm>
          <a:prstGeom prst="rect">
            <a:avLst/>
          </a:prstGeom>
        </p:spPr>
      </p:pic>
      <p:pic>
        <p:nvPicPr>
          <p:cNvPr id="24" name="Picture 23"/>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39253" y="3716652"/>
            <a:ext cx="325070" cy="325070"/>
          </a:xfrm>
          <a:prstGeom prst="rect">
            <a:avLst/>
          </a:prstGeom>
        </p:spPr>
      </p:pic>
      <p:sp>
        <p:nvSpPr>
          <p:cNvPr id="28" name="TextBox 27"/>
          <p:cNvSpPr txBox="1"/>
          <p:nvPr/>
        </p:nvSpPr>
        <p:spPr>
          <a:xfrm>
            <a:off x="1134416" y="3639806"/>
            <a:ext cx="4825360" cy="307777"/>
          </a:xfrm>
          <a:prstGeom prst="rect">
            <a:avLst/>
          </a:prstGeom>
          <a:noFill/>
        </p:spPr>
        <p:txBody>
          <a:bodyPr wrap="none" rtlCol="0">
            <a:spAutoFit/>
          </a:bodyPr>
          <a:lstStyle/>
          <a:p>
            <a:r>
              <a:rPr lang="en-AU" sz="1400" b="1" dirty="0"/>
              <a:t>In base case, Coles will face payback period of 4 years</a:t>
            </a:r>
          </a:p>
        </p:txBody>
      </p:sp>
      <p:sp>
        <p:nvSpPr>
          <p:cNvPr id="27" name="Tekstfelt 5"/>
          <p:cNvSpPr txBox="1"/>
          <p:nvPr/>
        </p:nvSpPr>
        <p:spPr>
          <a:xfrm>
            <a:off x="8425169" y="1239924"/>
            <a:ext cx="2920734" cy="307777"/>
          </a:xfrm>
          <a:prstGeom prst="rect">
            <a:avLst/>
          </a:prstGeom>
          <a:noFill/>
          <a:ln>
            <a:noFill/>
          </a:ln>
        </p:spPr>
        <p:txBody>
          <a:bodyPr wrap="square" rtlCol="0">
            <a:spAutoFit/>
          </a:bodyPr>
          <a:lstStyle/>
          <a:p>
            <a:r>
              <a:rPr lang="en-AU" sz="1400" b="1" dirty="0">
                <a:solidFill>
                  <a:schemeClr val="tx1">
                    <a:lumMod val="75000"/>
                    <a:lumOff val="25000"/>
                  </a:schemeClr>
                </a:solidFill>
                <a:latin typeface="Arial" charset="0"/>
                <a:ea typeface="Arial" charset="0"/>
                <a:cs typeface="Arial" charset="0"/>
              </a:rPr>
              <a:t>Main Costs Drivers</a:t>
            </a:r>
          </a:p>
        </p:txBody>
      </p:sp>
      <p:pic>
        <p:nvPicPr>
          <p:cNvPr id="3" name="Billed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63413" y="1694319"/>
            <a:ext cx="408943" cy="408943"/>
          </a:xfrm>
          <a:prstGeom prst="rect">
            <a:avLst/>
          </a:prstGeom>
        </p:spPr>
      </p:pic>
      <p:sp>
        <p:nvSpPr>
          <p:cNvPr id="39" name="Tekstfelt 5"/>
          <p:cNvSpPr txBox="1"/>
          <p:nvPr/>
        </p:nvSpPr>
        <p:spPr>
          <a:xfrm>
            <a:off x="8977893" y="1613958"/>
            <a:ext cx="2920734" cy="646331"/>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charset="0"/>
                <a:ea typeface="Arial" charset="0"/>
                <a:cs typeface="Arial" charset="0"/>
              </a:rPr>
              <a:t>CAPEX</a:t>
            </a:r>
            <a:r>
              <a:rPr lang="en-AU" sz="1200" dirty="0">
                <a:solidFill>
                  <a:schemeClr val="tx1">
                    <a:lumMod val="75000"/>
                    <a:lumOff val="25000"/>
                  </a:schemeClr>
                </a:solidFill>
                <a:latin typeface="Arial" charset="0"/>
                <a:ea typeface="Arial" charset="0"/>
                <a:cs typeface="Arial" charset="0"/>
              </a:rPr>
              <a:t>: Assuming $6,8 M per store</a:t>
            </a:r>
            <a:br>
              <a:rPr lang="en-AU" sz="1200" dirty="0">
                <a:solidFill>
                  <a:schemeClr val="tx1">
                    <a:lumMod val="75000"/>
                    <a:lumOff val="25000"/>
                  </a:schemeClr>
                </a:solidFill>
                <a:latin typeface="Arial" charset="0"/>
                <a:ea typeface="Arial" charset="0"/>
                <a:cs typeface="Arial" charset="0"/>
              </a:rPr>
            </a:br>
            <a:r>
              <a:rPr lang="en-AU" sz="1200" dirty="0">
                <a:solidFill>
                  <a:schemeClr val="tx1">
                    <a:lumMod val="75000"/>
                    <a:lumOff val="25000"/>
                  </a:schemeClr>
                </a:solidFill>
                <a:latin typeface="Arial" charset="0"/>
                <a:ea typeface="Arial" charset="0"/>
                <a:cs typeface="Arial" charset="0"/>
              </a:rPr>
              <a:t>Based on Aldi capex (similar size and concept). Useful life = 20 years</a:t>
            </a:r>
            <a:endParaRPr lang="en-AU" sz="1200" b="1" dirty="0">
              <a:solidFill>
                <a:schemeClr val="tx1">
                  <a:lumMod val="75000"/>
                  <a:lumOff val="25000"/>
                </a:schemeClr>
              </a:solidFill>
              <a:latin typeface="Arial" charset="0"/>
              <a:ea typeface="Arial" charset="0"/>
              <a:cs typeface="Arial" charset="0"/>
            </a:endParaRPr>
          </a:p>
        </p:txBody>
      </p:sp>
      <p:pic>
        <p:nvPicPr>
          <p:cNvPr id="10" name="Billed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25169" y="2166762"/>
            <a:ext cx="419100" cy="419100"/>
          </a:xfrm>
          <a:prstGeom prst="rect">
            <a:avLst/>
          </a:prstGeom>
        </p:spPr>
      </p:pic>
      <p:sp>
        <p:nvSpPr>
          <p:cNvPr id="40" name="Tekstfelt 5"/>
          <p:cNvSpPr txBox="1"/>
          <p:nvPr/>
        </p:nvSpPr>
        <p:spPr>
          <a:xfrm>
            <a:off x="8977893" y="2188888"/>
            <a:ext cx="2920734" cy="461665"/>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charset="0"/>
                <a:ea typeface="Arial" charset="0"/>
                <a:cs typeface="Arial" charset="0"/>
              </a:rPr>
              <a:t>Marketing</a:t>
            </a:r>
            <a:r>
              <a:rPr lang="en-AU" sz="1200" dirty="0">
                <a:solidFill>
                  <a:schemeClr val="tx1">
                    <a:lumMod val="75000"/>
                    <a:lumOff val="25000"/>
                  </a:schemeClr>
                </a:solidFill>
                <a:latin typeface="Arial" charset="0"/>
                <a:ea typeface="Arial" charset="0"/>
                <a:cs typeface="Arial" charset="0"/>
              </a:rPr>
              <a:t>: $3 M for trams, $2 M for public stunts. </a:t>
            </a:r>
            <a:endParaRPr lang="en-AU" sz="1200" b="1" dirty="0">
              <a:solidFill>
                <a:schemeClr val="tx1">
                  <a:lumMod val="75000"/>
                  <a:lumOff val="25000"/>
                </a:schemeClr>
              </a:solidFill>
              <a:latin typeface="Arial" charset="0"/>
              <a:ea typeface="Arial" charset="0"/>
              <a:cs typeface="Arial" charset="0"/>
            </a:endParaRPr>
          </a:p>
        </p:txBody>
      </p:sp>
      <p:pic>
        <p:nvPicPr>
          <p:cNvPr id="41" name="Billede 40"/>
          <p:cNvPicPr>
            <a:picLocks noChangeAspect="1"/>
          </p:cNvPicPr>
          <p:nvPr/>
        </p:nvPicPr>
        <p:blipFill>
          <a:blip r:embed="rId8"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463413" y="2723484"/>
            <a:ext cx="360000" cy="360000"/>
          </a:xfrm>
          <a:prstGeom prst="rect">
            <a:avLst/>
          </a:prstGeom>
        </p:spPr>
      </p:pic>
      <p:sp>
        <p:nvSpPr>
          <p:cNvPr id="42" name="Tekstfelt 5"/>
          <p:cNvSpPr txBox="1"/>
          <p:nvPr/>
        </p:nvSpPr>
        <p:spPr>
          <a:xfrm>
            <a:off x="8980083" y="2650553"/>
            <a:ext cx="2920734" cy="646331"/>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charset="0"/>
                <a:ea typeface="Arial" charset="0"/>
                <a:cs typeface="Arial" charset="0"/>
              </a:rPr>
              <a:t>OPEX</a:t>
            </a:r>
            <a:r>
              <a:rPr lang="en-AU" sz="1200" dirty="0">
                <a:solidFill>
                  <a:schemeClr val="tx1">
                    <a:lumMod val="75000"/>
                    <a:lumOff val="25000"/>
                  </a:schemeClr>
                </a:solidFill>
                <a:latin typeface="Arial" charset="0"/>
                <a:ea typeface="Arial" charset="0"/>
                <a:cs typeface="Arial" charset="0"/>
              </a:rPr>
              <a:t>: Slightly lower than industry </a:t>
            </a:r>
            <a:r>
              <a:rPr lang="en-AU" sz="1200" dirty="0" err="1">
                <a:solidFill>
                  <a:schemeClr val="tx1">
                    <a:lumMod val="75000"/>
                    <a:lumOff val="25000"/>
                  </a:schemeClr>
                </a:solidFill>
                <a:latin typeface="Arial" charset="0"/>
                <a:ea typeface="Arial" charset="0"/>
                <a:cs typeface="Arial" charset="0"/>
              </a:rPr>
              <a:t>avg</a:t>
            </a:r>
            <a:r>
              <a:rPr lang="en-AU" sz="1200" dirty="0">
                <a:solidFill>
                  <a:schemeClr val="tx1">
                    <a:lumMod val="75000"/>
                    <a:lumOff val="25000"/>
                  </a:schemeClr>
                </a:solidFill>
                <a:latin typeface="Arial" charset="0"/>
                <a:ea typeface="Arial" charset="0"/>
                <a:cs typeface="Arial" charset="0"/>
              </a:rPr>
              <a:t>, due to lower number of team members in stores. Partly offset by logistics costs</a:t>
            </a:r>
            <a:endParaRPr lang="en-AU" sz="1200" b="1" dirty="0">
              <a:solidFill>
                <a:schemeClr val="tx1">
                  <a:lumMod val="75000"/>
                  <a:lumOff val="25000"/>
                </a:schemeClr>
              </a:solidFill>
              <a:latin typeface="Arial" charset="0"/>
              <a:ea typeface="Arial" charset="0"/>
              <a:cs typeface="Arial" charset="0"/>
            </a:endParaRPr>
          </a:p>
        </p:txBody>
      </p:sp>
      <p:sp>
        <p:nvSpPr>
          <p:cNvPr id="43" name="TextBox 27"/>
          <p:cNvSpPr txBox="1"/>
          <p:nvPr/>
        </p:nvSpPr>
        <p:spPr>
          <a:xfrm>
            <a:off x="1134416" y="1306588"/>
            <a:ext cx="4012637" cy="307777"/>
          </a:xfrm>
          <a:prstGeom prst="rect">
            <a:avLst/>
          </a:prstGeom>
          <a:noFill/>
        </p:spPr>
        <p:txBody>
          <a:bodyPr wrap="none" rtlCol="0">
            <a:spAutoFit/>
          </a:bodyPr>
          <a:lstStyle/>
          <a:p>
            <a:r>
              <a:rPr lang="en-AU" sz="1400" b="1" dirty="0"/>
              <a:t>In base case, Coles will have NPV of $1421 M</a:t>
            </a:r>
          </a:p>
        </p:txBody>
      </p:sp>
      <p:cxnSp>
        <p:nvCxnSpPr>
          <p:cNvPr id="30" name="Lige forbindelse 29"/>
          <p:cNvCxnSpPr/>
          <p:nvPr/>
        </p:nvCxnSpPr>
        <p:spPr>
          <a:xfrm>
            <a:off x="8229803" y="1327724"/>
            <a:ext cx="0" cy="4742118"/>
          </a:xfrm>
          <a:prstGeom prst="line">
            <a:avLst/>
          </a:prstGeom>
          <a:ln w="22225"/>
        </p:spPr>
        <p:style>
          <a:lnRef idx="1">
            <a:schemeClr val="accent1"/>
          </a:lnRef>
          <a:fillRef idx="0">
            <a:schemeClr val="accent1"/>
          </a:fillRef>
          <a:effectRef idx="0">
            <a:schemeClr val="accent1"/>
          </a:effectRef>
          <a:fontRef idx="minor">
            <a:schemeClr val="tx1"/>
          </a:fontRef>
        </p:style>
      </p:cxnSp>
      <p:graphicFrame>
        <p:nvGraphicFramePr>
          <p:cNvPr id="31" name="Chart 30"/>
          <p:cNvGraphicFramePr>
            <a:graphicFrameLocks/>
          </p:cNvGraphicFramePr>
          <p:nvPr/>
        </p:nvGraphicFramePr>
        <p:xfrm>
          <a:off x="1134416" y="1613958"/>
          <a:ext cx="6206184" cy="207123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2" name="Chart 31"/>
          <p:cNvGraphicFramePr>
            <a:graphicFrameLocks/>
          </p:cNvGraphicFramePr>
          <p:nvPr/>
        </p:nvGraphicFramePr>
        <p:xfrm>
          <a:off x="1176256" y="3947583"/>
          <a:ext cx="6206184" cy="1908065"/>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2224119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78266D2B-FC21-EC41-96E7-6E3D5104D181}"/>
              </a:ext>
            </a:extLst>
          </p:cNvPr>
          <p:cNvSpPr>
            <a:spLocks noGrp="1"/>
          </p:cNvSpPr>
          <p:nvPr>
            <p:ph type="body" sz="quarter" idx="13"/>
          </p:nvPr>
        </p:nvSpPr>
        <p:spPr/>
        <p:txBody>
          <a:bodyPr/>
          <a:lstStyle/>
          <a:p>
            <a:endParaRPr lang="en-GB"/>
          </a:p>
        </p:txBody>
      </p:sp>
      <p:sp>
        <p:nvSpPr>
          <p:cNvPr id="17" name="Text Placeholder 16">
            <a:extLst>
              <a:ext uri="{FF2B5EF4-FFF2-40B4-BE49-F238E27FC236}">
                <a16:creationId xmlns:a16="http://schemas.microsoft.com/office/drawing/2014/main" id="{1478CD95-0CFA-A348-B8CD-7B75F9A714B2}"/>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a:t>Cost Map</a:t>
            </a:r>
          </a:p>
        </p:txBody>
      </p:sp>
      <p:grpSp>
        <p:nvGrpSpPr>
          <p:cNvPr id="5" name="Group 3"/>
          <p:cNvGrpSpPr>
            <a:grpSpLocks/>
          </p:cNvGrpSpPr>
          <p:nvPr/>
        </p:nvGrpSpPr>
        <p:grpSpPr bwMode="auto">
          <a:xfrm>
            <a:off x="1819275" y="2222500"/>
            <a:ext cx="6248400" cy="3040063"/>
            <a:chOff x="1146" y="1400"/>
            <a:chExt cx="3936" cy="1915"/>
          </a:xfrm>
          <a:solidFill>
            <a:schemeClr val="accent3"/>
          </a:solidFill>
        </p:grpSpPr>
        <p:sp>
          <p:nvSpPr>
            <p:cNvPr id="6" name="Rectangle 4"/>
            <p:cNvSpPr>
              <a:spLocks noChangeArrowheads="1"/>
            </p:cNvSpPr>
            <p:nvPr/>
          </p:nvSpPr>
          <p:spPr bwMode="auto">
            <a:xfrm>
              <a:off x="1146" y="1638"/>
              <a:ext cx="3338" cy="238"/>
            </a:xfrm>
            <a:prstGeom prst="rect">
              <a:avLst/>
            </a:prstGeom>
            <a:grpFill/>
            <a:ln w="6350">
              <a:solidFill>
                <a:schemeClr val="accent1"/>
              </a:solidFill>
              <a:miter lim="800000"/>
              <a:headEnd/>
              <a:tailEnd/>
            </a:ln>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50000"/>
                </a:spcBef>
              </a:pPr>
              <a:r>
                <a:rPr lang="en-GB" altLang="en-US" sz="1200">
                  <a:solidFill>
                    <a:schemeClr val="tx2"/>
                  </a:solidFill>
                </a:rPr>
                <a:t>Finance &amp; Strategy $Xm</a:t>
              </a:r>
            </a:p>
          </p:txBody>
        </p:sp>
        <p:sp>
          <p:nvSpPr>
            <p:cNvPr id="7" name="Rectangle 5"/>
            <p:cNvSpPr>
              <a:spLocks noChangeArrowheads="1"/>
            </p:cNvSpPr>
            <p:nvPr/>
          </p:nvSpPr>
          <p:spPr bwMode="auto">
            <a:xfrm>
              <a:off x="1146" y="1876"/>
              <a:ext cx="3419" cy="238"/>
            </a:xfrm>
            <a:prstGeom prst="rect">
              <a:avLst/>
            </a:prstGeom>
            <a:grpFill/>
            <a:ln w="6350">
              <a:solidFill>
                <a:schemeClr val="accent1"/>
              </a:solidFill>
              <a:miter lim="800000"/>
              <a:headEnd/>
              <a:tailEnd/>
            </a:ln>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50000"/>
                </a:spcBef>
              </a:pPr>
              <a:r>
                <a:rPr lang="en-GB" altLang="en-US" sz="1200">
                  <a:solidFill>
                    <a:schemeClr val="tx2"/>
                  </a:solidFill>
                </a:rPr>
                <a:t>HR $Xm</a:t>
              </a:r>
            </a:p>
          </p:txBody>
        </p:sp>
        <p:sp>
          <p:nvSpPr>
            <p:cNvPr id="8" name="Rectangle 6"/>
            <p:cNvSpPr>
              <a:spLocks noChangeArrowheads="1"/>
            </p:cNvSpPr>
            <p:nvPr/>
          </p:nvSpPr>
          <p:spPr bwMode="auto">
            <a:xfrm>
              <a:off x="1146" y="2114"/>
              <a:ext cx="3600" cy="239"/>
            </a:xfrm>
            <a:prstGeom prst="rect">
              <a:avLst/>
            </a:prstGeom>
            <a:grpFill/>
            <a:ln w="6350">
              <a:solidFill>
                <a:schemeClr val="accent1"/>
              </a:solidFill>
              <a:miter lim="800000"/>
              <a:headEnd/>
              <a:tailEnd/>
            </a:ln>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50000"/>
                </a:spcBef>
              </a:pPr>
              <a:r>
                <a:rPr lang="en-GB" altLang="en-US" sz="1200">
                  <a:solidFill>
                    <a:schemeClr val="tx2"/>
                  </a:solidFill>
                </a:rPr>
                <a:t>Administration $Xm</a:t>
              </a:r>
            </a:p>
          </p:txBody>
        </p:sp>
        <p:sp>
          <p:nvSpPr>
            <p:cNvPr id="9" name="Rectangle 7"/>
            <p:cNvSpPr>
              <a:spLocks noChangeArrowheads="1"/>
            </p:cNvSpPr>
            <p:nvPr/>
          </p:nvSpPr>
          <p:spPr bwMode="auto">
            <a:xfrm>
              <a:off x="1146" y="1400"/>
              <a:ext cx="3059" cy="238"/>
            </a:xfrm>
            <a:prstGeom prst="rect">
              <a:avLst/>
            </a:prstGeom>
            <a:grpFill/>
            <a:ln w="6350">
              <a:solidFill>
                <a:schemeClr val="accent1"/>
              </a:solidFill>
              <a:miter lim="800000"/>
              <a:headEnd/>
              <a:tailEnd/>
            </a:ln>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r>
                <a:rPr lang="en-US" altLang="en-US" sz="1200">
                  <a:solidFill>
                    <a:schemeClr val="tx2"/>
                  </a:solidFill>
                </a:rPr>
                <a:t>R&amp;D $Xm</a:t>
              </a:r>
            </a:p>
          </p:txBody>
        </p:sp>
        <p:sp>
          <p:nvSpPr>
            <p:cNvPr id="10" name="Rectangle 8"/>
            <p:cNvSpPr>
              <a:spLocks noChangeArrowheads="1"/>
            </p:cNvSpPr>
            <p:nvPr/>
          </p:nvSpPr>
          <p:spPr bwMode="auto">
            <a:xfrm>
              <a:off x="1146" y="2353"/>
              <a:ext cx="899" cy="953"/>
            </a:xfrm>
            <a:prstGeom prst="rect">
              <a:avLst/>
            </a:prstGeom>
            <a:grpFill/>
            <a:ln w="6350">
              <a:solidFill>
                <a:schemeClr val="accent1"/>
              </a:solidFill>
              <a:miter lim="800000"/>
              <a:headEnd/>
              <a:tailEnd/>
            </a:ln>
          </p:spPr>
          <p:txBody>
            <a:bodyPr lIns="45720" rIns="45720"/>
            <a:lstStyle>
              <a:lvl1pPr marL="168275">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r>
                <a:rPr lang="en-GB" altLang="en-US" sz="1200">
                  <a:solidFill>
                    <a:schemeClr val="tx2"/>
                  </a:solidFill>
                </a:rPr>
                <a:t>Procurement</a:t>
              </a:r>
            </a:p>
            <a:p>
              <a:pPr algn="l"/>
              <a:r>
                <a:rPr lang="en-GB" altLang="en-US" sz="1200">
                  <a:solidFill>
                    <a:schemeClr val="tx2"/>
                  </a:solidFill>
                </a:rPr>
                <a:t>$Xm</a:t>
              </a:r>
            </a:p>
          </p:txBody>
        </p:sp>
        <p:sp>
          <p:nvSpPr>
            <p:cNvPr id="11" name="Rectangle 9"/>
            <p:cNvSpPr>
              <a:spLocks noChangeArrowheads="1"/>
            </p:cNvSpPr>
            <p:nvPr/>
          </p:nvSpPr>
          <p:spPr bwMode="auto">
            <a:xfrm>
              <a:off x="2045" y="2353"/>
              <a:ext cx="901" cy="953"/>
            </a:xfrm>
            <a:prstGeom prst="rect">
              <a:avLst/>
            </a:prstGeom>
            <a:grpFill/>
            <a:ln w="6350">
              <a:solidFill>
                <a:schemeClr val="accent1"/>
              </a:solidFill>
              <a:miter lim="800000"/>
              <a:headEnd/>
              <a:tailEnd/>
            </a:ln>
          </p:spPr>
          <p:txBody>
            <a:bodyPr lIns="45720" rIns="45720"/>
            <a:lstStyle>
              <a:lvl1pPr marL="22860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r>
                <a:rPr lang="en-US" altLang="en-US" sz="1200">
                  <a:solidFill>
                    <a:schemeClr val="tx2"/>
                  </a:solidFill>
                </a:rPr>
                <a:t>Manufacturing</a:t>
              </a:r>
            </a:p>
            <a:p>
              <a:pPr algn="l"/>
              <a:r>
                <a:rPr lang="en-GB" altLang="en-US" sz="1200">
                  <a:solidFill>
                    <a:schemeClr val="tx2"/>
                  </a:solidFill>
                </a:rPr>
                <a:t>$Xm</a:t>
              </a:r>
              <a:endParaRPr lang="en-US" altLang="en-US" sz="1200">
                <a:solidFill>
                  <a:schemeClr val="tx2"/>
                </a:solidFill>
              </a:endParaRPr>
            </a:p>
          </p:txBody>
        </p:sp>
        <p:sp>
          <p:nvSpPr>
            <p:cNvPr id="12" name="Rectangle 10"/>
            <p:cNvSpPr>
              <a:spLocks noChangeArrowheads="1"/>
            </p:cNvSpPr>
            <p:nvPr/>
          </p:nvSpPr>
          <p:spPr bwMode="auto">
            <a:xfrm>
              <a:off x="2946" y="2353"/>
              <a:ext cx="899" cy="953"/>
            </a:xfrm>
            <a:prstGeom prst="rect">
              <a:avLst/>
            </a:prstGeom>
            <a:grpFill/>
            <a:ln w="6350">
              <a:solidFill>
                <a:schemeClr val="accent1"/>
              </a:solidFill>
              <a:miter lim="800000"/>
              <a:headEnd/>
              <a:tailEnd/>
            </a:ln>
          </p:spPr>
          <p:txBody>
            <a:bodyPr lIns="45720" rIns="45720"/>
            <a:lstStyle>
              <a:lvl1pPr marL="11430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r>
                <a:rPr lang="en-GB" altLang="en-US" sz="1200">
                  <a:solidFill>
                    <a:schemeClr val="tx2"/>
                  </a:solidFill>
                </a:rPr>
                <a:t>Sales</a:t>
              </a:r>
            </a:p>
            <a:p>
              <a:pPr algn="l"/>
              <a:r>
                <a:rPr lang="en-GB" altLang="en-US" sz="1200">
                  <a:solidFill>
                    <a:schemeClr val="tx2"/>
                  </a:solidFill>
                </a:rPr>
                <a:t>$Xm</a:t>
              </a:r>
            </a:p>
          </p:txBody>
        </p:sp>
        <p:sp>
          <p:nvSpPr>
            <p:cNvPr id="13" name="Rectangle 11"/>
            <p:cNvSpPr>
              <a:spLocks noChangeArrowheads="1"/>
            </p:cNvSpPr>
            <p:nvPr/>
          </p:nvSpPr>
          <p:spPr bwMode="auto">
            <a:xfrm>
              <a:off x="3841" y="2353"/>
              <a:ext cx="899" cy="953"/>
            </a:xfrm>
            <a:prstGeom prst="rect">
              <a:avLst/>
            </a:prstGeom>
            <a:grpFill/>
            <a:ln w="6350">
              <a:solidFill>
                <a:schemeClr val="accent1"/>
              </a:solidFill>
              <a:miter lim="800000"/>
              <a:headEnd/>
              <a:tailEnd/>
            </a:ln>
          </p:spPr>
          <p:txBody>
            <a:bodyPr lIns="45720" rIns="45720"/>
            <a:lstStyle>
              <a:lvl1pPr marL="11430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50000"/>
                </a:spcBef>
              </a:pPr>
              <a:r>
                <a:rPr lang="en-GB" altLang="en-US" sz="1200">
                  <a:solidFill>
                    <a:schemeClr val="tx2"/>
                  </a:solidFill>
                </a:rPr>
                <a:t>Customer</a:t>
              </a:r>
              <a:br>
                <a:rPr lang="en-GB" altLang="en-US" sz="1200">
                  <a:solidFill>
                    <a:schemeClr val="tx2"/>
                  </a:solidFill>
                </a:rPr>
              </a:br>
              <a:r>
                <a:rPr lang="en-GB" altLang="en-US" sz="1200">
                  <a:solidFill>
                    <a:schemeClr val="tx2"/>
                  </a:solidFill>
                </a:rPr>
                <a:t>Service</a:t>
              </a:r>
              <a:br>
                <a:rPr lang="en-GB" altLang="en-US" sz="1200">
                  <a:solidFill>
                    <a:schemeClr val="tx2"/>
                  </a:solidFill>
                </a:rPr>
              </a:br>
              <a:r>
                <a:rPr lang="en-GB" altLang="en-US" sz="1200">
                  <a:solidFill>
                    <a:schemeClr val="tx2"/>
                  </a:solidFill>
                </a:rPr>
                <a:t>$Xm</a:t>
              </a:r>
            </a:p>
          </p:txBody>
        </p:sp>
        <p:sp>
          <p:nvSpPr>
            <p:cNvPr id="14" name="AutoShape 12"/>
            <p:cNvSpPr>
              <a:spLocks noChangeArrowheads="1"/>
            </p:cNvSpPr>
            <p:nvPr/>
          </p:nvSpPr>
          <p:spPr bwMode="auto">
            <a:xfrm flipH="1">
              <a:off x="4351" y="2777"/>
              <a:ext cx="401" cy="538"/>
            </a:xfrm>
            <a:prstGeom prst="rtTriangle">
              <a:avLst/>
            </a:prstGeom>
            <a:solidFill>
              <a:schemeClr val="bg1"/>
            </a:solidFill>
            <a:ln w="6350">
              <a:noFill/>
              <a:miter lim="800000"/>
              <a:headEnd/>
              <a:tailEnd/>
            </a:ln>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solidFill>
                  <a:schemeClr val="tx2"/>
                </a:solidFill>
              </a:endParaRPr>
            </a:p>
          </p:txBody>
        </p:sp>
        <p:sp>
          <p:nvSpPr>
            <p:cNvPr id="15" name="Freeform 13"/>
            <p:cNvSpPr>
              <a:spLocks/>
            </p:cNvSpPr>
            <p:nvPr/>
          </p:nvSpPr>
          <p:spPr bwMode="auto">
            <a:xfrm>
              <a:off x="4026" y="1400"/>
              <a:ext cx="1056" cy="1906"/>
            </a:xfrm>
            <a:custGeom>
              <a:avLst/>
              <a:gdLst>
                <a:gd name="T0" fmla="*/ 0 w 4989"/>
                <a:gd name="T1" fmla="*/ 0 h 13605"/>
                <a:gd name="T2" fmla="*/ 336 w 4989"/>
                <a:gd name="T3" fmla="*/ 0 h 13605"/>
                <a:gd name="T4" fmla="*/ 1056 w 4989"/>
                <a:gd name="T5" fmla="*/ 953 h 13605"/>
                <a:gd name="T6" fmla="*/ 336 w 4989"/>
                <a:gd name="T7" fmla="*/ 1906 h 13605"/>
                <a:gd name="T8" fmla="*/ 0 w 4989"/>
                <a:gd name="T9" fmla="*/ 1906 h 13605"/>
                <a:gd name="T10" fmla="*/ 720 w 4989"/>
                <a:gd name="T11" fmla="*/ 953 h 13605"/>
                <a:gd name="T12" fmla="*/ 540 w 4989"/>
                <a:gd name="T13" fmla="*/ 715 h 13605"/>
                <a:gd name="T14" fmla="*/ 360 w 4989"/>
                <a:gd name="T15" fmla="*/ 476 h 13605"/>
                <a:gd name="T16" fmla="*/ 180 w 4989"/>
                <a:gd name="T17" fmla="*/ 238 h 13605"/>
                <a:gd name="T18" fmla="*/ 0 w 4989"/>
                <a:gd name="T19" fmla="*/ 0 h 136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9"/>
                <a:gd name="T31" fmla="*/ 0 h 13605"/>
                <a:gd name="T32" fmla="*/ 4989 w 4989"/>
                <a:gd name="T33" fmla="*/ 13605 h 136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9" h="13605">
                  <a:moveTo>
                    <a:pt x="0" y="0"/>
                  </a:moveTo>
                  <a:lnTo>
                    <a:pt x="1587" y="0"/>
                  </a:lnTo>
                  <a:lnTo>
                    <a:pt x="4989" y="6803"/>
                  </a:lnTo>
                  <a:lnTo>
                    <a:pt x="1587" y="13605"/>
                  </a:lnTo>
                  <a:lnTo>
                    <a:pt x="0" y="13605"/>
                  </a:lnTo>
                  <a:lnTo>
                    <a:pt x="3402" y="6803"/>
                  </a:lnTo>
                  <a:lnTo>
                    <a:pt x="2551" y="5102"/>
                  </a:lnTo>
                  <a:lnTo>
                    <a:pt x="1701" y="3401"/>
                  </a:lnTo>
                  <a:lnTo>
                    <a:pt x="851" y="1700"/>
                  </a:lnTo>
                  <a:lnTo>
                    <a:pt x="0" y="0"/>
                  </a:lnTo>
                </a:path>
              </a:pathLst>
            </a:custGeom>
            <a:grpFill/>
            <a:ln w="6350">
              <a:solidFill>
                <a:schemeClr val="accent1"/>
              </a:solidFill>
              <a:round/>
              <a:headEnd/>
              <a:tailEnd/>
            </a:ln>
          </p:spPr>
          <p:txBody>
            <a:bodyPr lIns="45720" rIns="45720"/>
            <a:lstStyle/>
            <a:p>
              <a:endParaRPr lang="en-US">
                <a:solidFill>
                  <a:schemeClr val="tx2"/>
                </a:solidFill>
              </a:endParaRPr>
            </a:p>
          </p:txBody>
        </p:sp>
      </p:grpSp>
    </p:spTree>
    <p:extLst>
      <p:ext uri="{BB962C8B-B14F-4D97-AF65-F5344CB8AC3E}">
        <p14:creationId xmlns:p14="http://schemas.microsoft.com/office/powerpoint/2010/main" val="26615080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5FABF46-7526-9946-B820-79611688602D}"/>
              </a:ext>
            </a:extLst>
          </p:cNvPr>
          <p:cNvSpPr>
            <a:spLocks noGrp="1"/>
          </p:cNvSpPr>
          <p:nvPr>
            <p:ph type="body" sz="quarter" idx="13"/>
          </p:nvPr>
        </p:nvSpPr>
        <p:spPr/>
        <p:txBody>
          <a:bodyPr/>
          <a:lstStyle/>
          <a:p>
            <a:endParaRPr lang="en-GB"/>
          </a:p>
        </p:txBody>
      </p:sp>
      <p:sp>
        <p:nvSpPr>
          <p:cNvPr id="6" name="Text Placeholder 5">
            <a:extLst>
              <a:ext uri="{FF2B5EF4-FFF2-40B4-BE49-F238E27FC236}">
                <a16:creationId xmlns:a16="http://schemas.microsoft.com/office/drawing/2014/main" id="{3D273B1D-B8A5-0348-927C-1643B58D0D9D}"/>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a:t>Visual elements</a:t>
            </a:r>
          </a:p>
        </p:txBody>
      </p:sp>
      <p:grpSp>
        <p:nvGrpSpPr>
          <p:cNvPr id="74" name="Group 3"/>
          <p:cNvGrpSpPr>
            <a:grpSpLocks/>
          </p:cNvGrpSpPr>
          <p:nvPr/>
        </p:nvGrpSpPr>
        <p:grpSpPr bwMode="auto">
          <a:xfrm>
            <a:off x="620911" y="1433220"/>
            <a:ext cx="4662061" cy="2388737"/>
            <a:chOff x="1150" y="1366"/>
            <a:chExt cx="3938" cy="2000"/>
          </a:xfrm>
        </p:grpSpPr>
        <p:sp>
          <p:nvSpPr>
            <p:cNvPr id="75" name="Rectangle 4"/>
            <p:cNvSpPr>
              <a:spLocks noChangeArrowheads="1"/>
            </p:cNvSpPr>
            <p:nvPr/>
          </p:nvSpPr>
          <p:spPr bwMode="auto">
            <a:xfrm>
              <a:off x="3249" y="2401"/>
              <a:ext cx="953" cy="798"/>
            </a:xfrm>
            <a:prstGeom prst="rect">
              <a:avLst/>
            </a:prstGeom>
            <a:solidFill>
              <a:schemeClr val="accent1"/>
            </a:solidFill>
            <a:ln w="12700">
              <a:solidFill>
                <a:schemeClr val="folHlink"/>
              </a:solidFill>
              <a:miter lim="800000"/>
              <a:headEnd/>
              <a:tailEnd/>
            </a:ln>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76" name="Rectangle 5"/>
            <p:cNvSpPr>
              <a:spLocks noChangeArrowheads="1"/>
            </p:cNvSpPr>
            <p:nvPr/>
          </p:nvSpPr>
          <p:spPr bwMode="auto">
            <a:xfrm>
              <a:off x="2027" y="2408"/>
              <a:ext cx="953" cy="872"/>
            </a:xfrm>
            <a:prstGeom prst="rect">
              <a:avLst/>
            </a:prstGeom>
            <a:solidFill>
              <a:schemeClr val="hlink"/>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77" name="Freeform 6"/>
            <p:cNvSpPr>
              <a:spLocks/>
            </p:cNvSpPr>
            <p:nvPr/>
          </p:nvSpPr>
          <p:spPr bwMode="auto">
            <a:xfrm>
              <a:off x="2978" y="2401"/>
              <a:ext cx="2102" cy="965"/>
            </a:xfrm>
            <a:custGeom>
              <a:avLst/>
              <a:gdLst>
                <a:gd name="T0" fmla="*/ 44 w 1975"/>
                <a:gd name="T1" fmla="*/ 714 h 1140"/>
                <a:gd name="T2" fmla="*/ 132 w 1975"/>
                <a:gd name="T3" fmla="*/ 719 h 1140"/>
                <a:gd name="T4" fmla="*/ 220 w 1975"/>
                <a:gd name="T5" fmla="*/ 714 h 1140"/>
                <a:gd name="T6" fmla="*/ 265 w 1975"/>
                <a:gd name="T7" fmla="*/ 730 h 1140"/>
                <a:gd name="T8" fmla="*/ 2101 w 1975"/>
                <a:gd name="T9" fmla="*/ 964 h 1140"/>
                <a:gd name="T10" fmla="*/ 1163 w 1975"/>
                <a:gd name="T11" fmla="*/ 0 h 1140"/>
                <a:gd name="T12" fmla="*/ 1141 w 1975"/>
                <a:gd name="T13" fmla="*/ 85 h 1140"/>
                <a:gd name="T14" fmla="*/ 1107 w 1975"/>
                <a:gd name="T15" fmla="*/ 170 h 1140"/>
                <a:gd name="T16" fmla="*/ 1063 w 1975"/>
                <a:gd name="T17" fmla="*/ 249 h 1140"/>
                <a:gd name="T18" fmla="*/ 1008 w 1975"/>
                <a:gd name="T19" fmla="*/ 324 h 1140"/>
                <a:gd name="T20" fmla="*/ 942 w 1975"/>
                <a:gd name="T21" fmla="*/ 393 h 1140"/>
                <a:gd name="T22" fmla="*/ 867 w 1975"/>
                <a:gd name="T23" fmla="*/ 455 h 1140"/>
                <a:gd name="T24" fmla="*/ 785 w 1975"/>
                <a:gd name="T25" fmla="*/ 510 h 1140"/>
                <a:gd name="T26" fmla="*/ 696 w 1975"/>
                <a:gd name="T27" fmla="*/ 555 h 1140"/>
                <a:gd name="T28" fmla="*/ 600 w 1975"/>
                <a:gd name="T29" fmla="*/ 593 h 1140"/>
                <a:gd name="T30" fmla="*/ 500 w 1975"/>
                <a:gd name="T31" fmla="*/ 620 h 1140"/>
                <a:gd name="T32" fmla="*/ 313 w 1975"/>
                <a:gd name="T33" fmla="*/ 577 h 1140"/>
                <a:gd name="T34" fmla="*/ 437 w 1975"/>
                <a:gd name="T35" fmla="*/ 436 h 1140"/>
                <a:gd name="T36" fmla="*/ 468 w 1975"/>
                <a:gd name="T37" fmla="*/ 438 h 1140"/>
                <a:gd name="T38" fmla="*/ 504 w 1975"/>
                <a:gd name="T39" fmla="*/ 430 h 1140"/>
                <a:gd name="T40" fmla="*/ 545 w 1975"/>
                <a:gd name="T41" fmla="*/ 414 h 1140"/>
                <a:gd name="T42" fmla="*/ 589 w 1975"/>
                <a:gd name="T43" fmla="*/ 389 h 1140"/>
                <a:gd name="T44" fmla="*/ 632 w 1975"/>
                <a:gd name="T45" fmla="*/ 357 h 1140"/>
                <a:gd name="T46" fmla="*/ 677 w 1975"/>
                <a:gd name="T47" fmla="*/ 319 h 1140"/>
                <a:gd name="T48" fmla="*/ 718 w 1975"/>
                <a:gd name="T49" fmla="*/ 276 h 1140"/>
                <a:gd name="T50" fmla="*/ 758 w 1975"/>
                <a:gd name="T51" fmla="*/ 229 h 1140"/>
                <a:gd name="T52" fmla="*/ 791 w 1975"/>
                <a:gd name="T53" fmla="*/ 180 h 1140"/>
                <a:gd name="T54" fmla="*/ 818 w 1975"/>
                <a:gd name="T55" fmla="*/ 131 h 1140"/>
                <a:gd name="T56" fmla="*/ 841 w 1975"/>
                <a:gd name="T57" fmla="*/ 84 h 1140"/>
                <a:gd name="T58" fmla="*/ 855 w 1975"/>
                <a:gd name="T59" fmla="*/ 40 h 1140"/>
                <a:gd name="T60" fmla="*/ 860 w 1975"/>
                <a:gd name="T61" fmla="*/ 0 h 1140"/>
                <a:gd name="T62" fmla="*/ 265 w 1975"/>
                <a:gd name="T63" fmla="*/ 390 h 1140"/>
                <a:gd name="T64" fmla="*/ 228 w 1975"/>
                <a:gd name="T65" fmla="*/ 465 h 1140"/>
                <a:gd name="T66" fmla="*/ 152 w 1975"/>
                <a:gd name="T67" fmla="*/ 477 h 1140"/>
                <a:gd name="T68" fmla="*/ 76 w 1975"/>
                <a:gd name="T69" fmla="*/ 479 h 1140"/>
                <a:gd name="T70" fmla="*/ 0 w 1975"/>
                <a:gd name="T71" fmla="*/ 473 h 11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5"/>
                <a:gd name="T109" fmla="*/ 0 h 1140"/>
                <a:gd name="T110" fmla="*/ 1975 w 1975"/>
                <a:gd name="T111" fmla="*/ 1140 h 11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5" h="1140">
                  <a:moveTo>
                    <a:pt x="0" y="838"/>
                  </a:moveTo>
                  <a:lnTo>
                    <a:pt x="41" y="844"/>
                  </a:lnTo>
                  <a:lnTo>
                    <a:pt x="83" y="848"/>
                  </a:lnTo>
                  <a:lnTo>
                    <a:pt x="124" y="849"/>
                  </a:lnTo>
                  <a:lnTo>
                    <a:pt x="166" y="847"/>
                  </a:lnTo>
                  <a:lnTo>
                    <a:pt x="207" y="843"/>
                  </a:lnTo>
                  <a:lnTo>
                    <a:pt x="249" y="836"/>
                  </a:lnTo>
                  <a:lnTo>
                    <a:pt x="249" y="862"/>
                  </a:lnTo>
                  <a:lnTo>
                    <a:pt x="249" y="1139"/>
                  </a:lnTo>
                  <a:lnTo>
                    <a:pt x="1974" y="1139"/>
                  </a:lnTo>
                  <a:lnTo>
                    <a:pt x="1974" y="0"/>
                  </a:lnTo>
                  <a:lnTo>
                    <a:pt x="1093" y="0"/>
                  </a:lnTo>
                  <a:lnTo>
                    <a:pt x="1084" y="51"/>
                  </a:lnTo>
                  <a:lnTo>
                    <a:pt x="1072" y="101"/>
                  </a:lnTo>
                  <a:lnTo>
                    <a:pt x="1058" y="151"/>
                  </a:lnTo>
                  <a:lnTo>
                    <a:pt x="1040" y="201"/>
                  </a:lnTo>
                  <a:lnTo>
                    <a:pt x="1021" y="248"/>
                  </a:lnTo>
                  <a:lnTo>
                    <a:pt x="999" y="294"/>
                  </a:lnTo>
                  <a:lnTo>
                    <a:pt x="974" y="339"/>
                  </a:lnTo>
                  <a:lnTo>
                    <a:pt x="947" y="383"/>
                  </a:lnTo>
                  <a:lnTo>
                    <a:pt x="917" y="424"/>
                  </a:lnTo>
                  <a:lnTo>
                    <a:pt x="885" y="464"/>
                  </a:lnTo>
                  <a:lnTo>
                    <a:pt x="851" y="502"/>
                  </a:lnTo>
                  <a:lnTo>
                    <a:pt x="815" y="538"/>
                  </a:lnTo>
                  <a:lnTo>
                    <a:pt x="777" y="571"/>
                  </a:lnTo>
                  <a:lnTo>
                    <a:pt x="738" y="602"/>
                  </a:lnTo>
                  <a:lnTo>
                    <a:pt x="697" y="630"/>
                  </a:lnTo>
                  <a:lnTo>
                    <a:pt x="654" y="656"/>
                  </a:lnTo>
                  <a:lnTo>
                    <a:pt x="610" y="680"/>
                  </a:lnTo>
                  <a:lnTo>
                    <a:pt x="564" y="701"/>
                  </a:lnTo>
                  <a:lnTo>
                    <a:pt x="518" y="718"/>
                  </a:lnTo>
                  <a:lnTo>
                    <a:pt x="470" y="733"/>
                  </a:lnTo>
                  <a:lnTo>
                    <a:pt x="486" y="811"/>
                  </a:lnTo>
                  <a:lnTo>
                    <a:pt x="294" y="682"/>
                  </a:lnTo>
                  <a:lnTo>
                    <a:pt x="388" y="430"/>
                  </a:lnTo>
                  <a:lnTo>
                    <a:pt x="411" y="515"/>
                  </a:lnTo>
                  <a:lnTo>
                    <a:pt x="425" y="517"/>
                  </a:lnTo>
                  <a:lnTo>
                    <a:pt x="440" y="517"/>
                  </a:lnTo>
                  <a:lnTo>
                    <a:pt x="457" y="514"/>
                  </a:lnTo>
                  <a:lnTo>
                    <a:pt x="474" y="508"/>
                  </a:lnTo>
                  <a:lnTo>
                    <a:pt x="493" y="500"/>
                  </a:lnTo>
                  <a:lnTo>
                    <a:pt x="512" y="489"/>
                  </a:lnTo>
                  <a:lnTo>
                    <a:pt x="532" y="476"/>
                  </a:lnTo>
                  <a:lnTo>
                    <a:pt x="553" y="460"/>
                  </a:lnTo>
                  <a:lnTo>
                    <a:pt x="574" y="442"/>
                  </a:lnTo>
                  <a:lnTo>
                    <a:pt x="594" y="422"/>
                  </a:lnTo>
                  <a:lnTo>
                    <a:pt x="615" y="400"/>
                  </a:lnTo>
                  <a:lnTo>
                    <a:pt x="636" y="377"/>
                  </a:lnTo>
                  <a:lnTo>
                    <a:pt x="655" y="352"/>
                  </a:lnTo>
                  <a:lnTo>
                    <a:pt x="675" y="326"/>
                  </a:lnTo>
                  <a:lnTo>
                    <a:pt x="693" y="299"/>
                  </a:lnTo>
                  <a:lnTo>
                    <a:pt x="712" y="270"/>
                  </a:lnTo>
                  <a:lnTo>
                    <a:pt x="728" y="242"/>
                  </a:lnTo>
                  <a:lnTo>
                    <a:pt x="743" y="213"/>
                  </a:lnTo>
                  <a:lnTo>
                    <a:pt x="757" y="184"/>
                  </a:lnTo>
                  <a:lnTo>
                    <a:pt x="769" y="155"/>
                  </a:lnTo>
                  <a:lnTo>
                    <a:pt x="780" y="127"/>
                  </a:lnTo>
                  <a:lnTo>
                    <a:pt x="790" y="99"/>
                  </a:lnTo>
                  <a:lnTo>
                    <a:pt x="797" y="72"/>
                  </a:lnTo>
                  <a:lnTo>
                    <a:pt x="803" y="47"/>
                  </a:lnTo>
                  <a:lnTo>
                    <a:pt x="806" y="22"/>
                  </a:lnTo>
                  <a:lnTo>
                    <a:pt x="808" y="0"/>
                  </a:lnTo>
                  <a:lnTo>
                    <a:pt x="249" y="0"/>
                  </a:lnTo>
                  <a:lnTo>
                    <a:pt x="249" y="461"/>
                  </a:lnTo>
                  <a:lnTo>
                    <a:pt x="249" y="540"/>
                  </a:lnTo>
                  <a:lnTo>
                    <a:pt x="214" y="549"/>
                  </a:lnTo>
                  <a:lnTo>
                    <a:pt x="179" y="557"/>
                  </a:lnTo>
                  <a:lnTo>
                    <a:pt x="143" y="563"/>
                  </a:lnTo>
                  <a:lnTo>
                    <a:pt x="107" y="565"/>
                  </a:lnTo>
                  <a:lnTo>
                    <a:pt x="71" y="566"/>
                  </a:lnTo>
                  <a:lnTo>
                    <a:pt x="35" y="564"/>
                  </a:lnTo>
                  <a:lnTo>
                    <a:pt x="0" y="559"/>
                  </a:lnTo>
                </a:path>
              </a:pathLst>
            </a:custGeom>
            <a:solidFill>
              <a:schemeClr val="hlink"/>
            </a:solidFill>
            <a:ln w="12700" cap="rnd">
              <a:solidFill>
                <a:schemeClr val="folHlink"/>
              </a:solidFill>
              <a:round/>
              <a:headEnd type="none" w="sm" len="sm"/>
              <a:tailEnd type="none" w="sm" len="sm"/>
            </a:ln>
          </p:spPr>
          <p:txBody>
            <a:bodyPr/>
            <a:lstStyle/>
            <a:p>
              <a:endParaRPr lang="en-US"/>
            </a:p>
          </p:txBody>
        </p:sp>
        <p:sp>
          <p:nvSpPr>
            <p:cNvPr id="78" name="Rectangle 7"/>
            <p:cNvSpPr>
              <a:spLocks noChangeArrowheads="1"/>
            </p:cNvSpPr>
            <p:nvPr/>
          </p:nvSpPr>
          <p:spPr bwMode="auto">
            <a:xfrm>
              <a:off x="2033" y="1372"/>
              <a:ext cx="953" cy="873"/>
            </a:xfrm>
            <a:prstGeom prst="rect">
              <a:avLst/>
            </a:prstGeom>
            <a:solidFill>
              <a:schemeClr val="folHlink"/>
            </a:solidFill>
            <a:ln w="12700">
              <a:solidFill>
                <a:schemeClr val="folHlink"/>
              </a:solidFill>
              <a:miter lim="800000"/>
              <a:headEnd/>
              <a:tailEnd/>
            </a:ln>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79" name="Freeform 8"/>
            <p:cNvSpPr>
              <a:spLocks/>
            </p:cNvSpPr>
            <p:nvPr/>
          </p:nvSpPr>
          <p:spPr bwMode="auto">
            <a:xfrm>
              <a:off x="1156" y="2239"/>
              <a:ext cx="1836" cy="1121"/>
            </a:xfrm>
            <a:custGeom>
              <a:avLst/>
              <a:gdLst>
                <a:gd name="T0" fmla="*/ 938 w 1725"/>
                <a:gd name="T1" fmla="*/ 2 h 1351"/>
                <a:gd name="T2" fmla="*/ 933 w 1725"/>
                <a:gd name="T3" fmla="*/ 44 h 1351"/>
                <a:gd name="T4" fmla="*/ 931 w 1725"/>
                <a:gd name="T5" fmla="*/ 85 h 1351"/>
                <a:gd name="T6" fmla="*/ 934 w 1725"/>
                <a:gd name="T7" fmla="*/ 126 h 1351"/>
                <a:gd name="T8" fmla="*/ 939 w 1725"/>
                <a:gd name="T9" fmla="*/ 167 h 1351"/>
                <a:gd name="T10" fmla="*/ 865 w 1725"/>
                <a:gd name="T11" fmla="*/ 167 h 1351"/>
                <a:gd name="T12" fmla="*/ 0 w 1725"/>
                <a:gd name="T13" fmla="*/ 167 h 1351"/>
                <a:gd name="T14" fmla="*/ 0 w 1725"/>
                <a:gd name="T15" fmla="*/ 1120 h 1351"/>
                <a:gd name="T16" fmla="*/ 1835 w 1725"/>
                <a:gd name="T17" fmla="*/ 1120 h 1351"/>
                <a:gd name="T18" fmla="*/ 1835 w 1725"/>
                <a:gd name="T19" fmla="*/ 870 h 1351"/>
                <a:gd name="T20" fmla="*/ 1782 w 1725"/>
                <a:gd name="T21" fmla="*/ 862 h 1351"/>
                <a:gd name="T22" fmla="*/ 1730 w 1725"/>
                <a:gd name="T23" fmla="*/ 852 h 1351"/>
                <a:gd name="T24" fmla="*/ 1677 w 1725"/>
                <a:gd name="T25" fmla="*/ 840 h 1351"/>
                <a:gd name="T26" fmla="*/ 1626 w 1725"/>
                <a:gd name="T27" fmla="*/ 825 h 1351"/>
                <a:gd name="T28" fmla="*/ 1578 w 1725"/>
                <a:gd name="T29" fmla="*/ 808 h 1351"/>
                <a:gd name="T30" fmla="*/ 1529 w 1725"/>
                <a:gd name="T31" fmla="*/ 789 h 1351"/>
                <a:gd name="T32" fmla="*/ 1484 w 1725"/>
                <a:gd name="T33" fmla="*/ 768 h 1351"/>
                <a:gd name="T34" fmla="*/ 1438 w 1725"/>
                <a:gd name="T35" fmla="*/ 746 h 1351"/>
                <a:gd name="T36" fmla="*/ 1394 w 1725"/>
                <a:gd name="T37" fmla="*/ 721 h 1351"/>
                <a:gd name="T38" fmla="*/ 1354 w 1725"/>
                <a:gd name="T39" fmla="*/ 695 h 1351"/>
                <a:gd name="T40" fmla="*/ 1314 w 1725"/>
                <a:gd name="T41" fmla="*/ 667 h 1351"/>
                <a:gd name="T42" fmla="*/ 1278 w 1725"/>
                <a:gd name="T43" fmla="*/ 637 h 1351"/>
                <a:gd name="T44" fmla="*/ 1244 w 1725"/>
                <a:gd name="T45" fmla="*/ 607 h 1351"/>
                <a:gd name="T46" fmla="*/ 1212 w 1725"/>
                <a:gd name="T47" fmla="*/ 574 h 1351"/>
                <a:gd name="T48" fmla="*/ 1181 w 1725"/>
                <a:gd name="T49" fmla="*/ 541 h 1351"/>
                <a:gd name="T50" fmla="*/ 1155 w 1725"/>
                <a:gd name="T51" fmla="*/ 506 h 1351"/>
                <a:gd name="T52" fmla="*/ 1130 w 1725"/>
                <a:gd name="T53" fmla="*/ 470 h 1351"/>
                <a:gd name="T54" fmla="*/ 1109 w 1725"/>
                <a:gd name="T55" fmla="*/ 434 h 1351"/>
                <a:gd name="T56" fmla="*/ 1090 w 1725"/>
                <a:gd name="T57" fmla="*/ 396 h 1351"/>
                <a:gd name="T58" fmla="*/ 1074 w 1725"/>
                <a:gd name="T59" fmla="*/ 358 h 1351"/>
                <a:gd name="T60" fmla="*/ 992 w 1725"/>
                <a:gd name="T61" fmla="*/ 371 h 1351"/>
                <a:gd name="T62" fmla="*/ 1147 w 1725"/>
                <a:gd name="T63" fmla="*/ 214 h 1351"/>
                <a:gd name="T64" fmla="*/ 1401 w 1725"/>
                <a:gd name="T65" fmla="*/ 290 h 1351"/>
                <a:gd name="T66" fmla="*/ 1309 w 1725"/>
                <a:gd name="T67" fmla="*/ 309 h 1351"/>
                <a:gd name="T68" fmla="*/ 1331 w 1725"/>
                <a:gd name="T69" fmla="*/ 345 h 1351"/>
                <a:gd name="T70" fmla="*/ 1355 w 1725"/>
                <a:gd name="T71" fmla="*/ 379 h 1351"/>
                <a:gd name="T72" fmla="*/ 1382 w 1725"/>
                <a:gd name="T73" fmla="*/ 412 h 1351"/>
                <a:gd name="T74" fmla="*/ 1409 w 1725"/>
                <a:gd name="T75" fmla="*/ 442 h 1351"/>
                <a:gd name="T76" fmla="*/ 1439 w 1725"/>
                <a:gd name="T77" fmla="*/ 471 h 1351"/>
                <a:gd name="T78" fmla="*/ 1471 w 1725"/>
                <a:gd name="T79" fmla="*/ 498 h 1351"/>
                <a:gd name="T80" fmla="*/ 1505 w 1725"/>
                <a:gd name="T81" fmla="*/ 522 h 1351"/>
                <a:gd name="T82" fmla="*/ 1541 w 1725"/>
                <a:gd name="T83" fmla="*/ 545 h 1351"/>
                <a:gd name="T84" fmla="*/ 1578 w 1725"/>
                <a:gd name="T85" fmla="*/ 565 h 1351"/>
                <a:gd name="T86" fmla="*/ 1618 w 1725"/>
                <a:gd name="T87" fmla="*/ 583 h 1351"/>
                <a:gd name="T88" fmla="*/ 1658 w 1725"/>
                <a:gd name="T89" fmla="*/ 599 h 1351"/>
                <a:gd name="T90" fmla="*/ 1700 w 1725"/>
                <a:gd name="T91" fmla="*/ 612 h 1351"/>
                <a:gd name="T92" fmla="*/ 1744 w 1725"/>
                <a:gd name="T93" fmla="*/ 624 h 1351"/>
                <a:gd name="T94" fmla="*/ 1789 w 1725"/>
                <a:gd name="T95" fmla="*/ 633 h 1351"/>
                <a:gd name="T96" fmla="*/ 1835 w 1725"/>
                <a:gd name="T97" fmla="*/ 640 h 1351"/>
                <a:gd name="T98" fmla="*/ 1835 w 1725"/>
                <a:gd name="T99" fmla="*/ 167 h 1351"/>
                <a:gd name="T100" fmla="*/ 1287 w 1725"/>
                <a:gd name="T101" fmla="*/ 167 h 1351"/>
                <a:gd name="T102" fmla="*/ 1240 w 1725"/>
                <a:gd name="T103" fmla="*/ 167 h 1351"/>
                <a:gd name="T104" fmla="*/ 1236 w 1725"/>
                <a:gd name="T105" fmla="*/ 125 h 1351"/>
                <a:gd name="T106" fmla="*/ 1235 w 1725"/>
                <a:gd name="T107" fmla="*/ 83 h 1351"/>
                <a:gd name="T108" fmla="*/ 1236 w 1725"/>
                <a:gd name="T109" fmla="*/ 41 h 1351"/>
                <a:gd name="T110" fmla="*/ 1240 w 1725"/>
                <a:gd name="T111" fmla="*/ 0 h 135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25"/>
                <a:gd name="T169" fmla="*/ 0 h 1351"/>
                <a:gd name="T170" fmla="*/ 1725 w 1725"/>
                <a:gd name="T171" fmla="*/ 1351 h 135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25" h="1351">
                  <a:moveTo>
                    <a:pt x="881" y="2"/>
                  </a:moveTo>
                  <a:lnTo>
                    <a:pt x="877" y="53"/>
                  </a:lnTo>
                  <a:lnTo>
                    <a:pt x="875" y="102"/>
                  </a:lnTo>
                  <a:lnTo>
                    <a:pt x="878" y="152"/>
                  </a:lnTo>
                  <a:lnTo>
                    <a:pt x="882" y="201"/>
                  </a:lnTo>
                  <a:lnTo>
                    <a:pt x="813" y="201"/>
                  </a:lnTo>
                  <a:lnTo>
                    <a:pt x="0" y="201"/>
                  </a:lnTo>
                  <a:lnTo>
                    <a:pt x="0" y="1350"/>
                  </a:lnTo>
                  <a:lnTo>
                    <a:pt x="1724" y="1350"/>
                  </a:lnTo>
                  <a:lnTo>
                    <a:pt x="1724" y="1049"/>
                  </a:lnTo>
                  <a:lnTo>
                    <a:pt x="1674" y="1039"/>
                  </a:lnTo>
                  <a:lnTo>
                    <a:pt x="1625" y="1027"/>
                  </a:lnTo>
                  <a:lnTo>
                    <a:pt x="1576" y="1012"/>
                  </a:lnTo>
                  <a:lnTo>
                    <a:pt x="1528" y="994"/>
                  </a:lnTo>
                  <a:lnTo>
                    <a:pt x="1483" y="974"/>
                  </a:lnTo>
                  <a:lnTo>
                    <a:pt x="1437" y="951"/>
                  </a:lnTo>
                  <a:lnTo>
                    <a:pt x="1394" y="926"/>
                  </a:lnTo>
                  <a:lnTo>
                    <a:pt x="1351" y="899"/>
                  </a:lnTo>
                  <a:lnTo>
                    <a:pt x="1310" y="869"/>
                  </a:lnTo>
                  <a:lnTo>
                    <a:pt x="1272" y="838"/>
                  </a:lnTo>
                  <a:lnTo>
                    <a:pt x="1235" y="804"/>
                  </a:lnTo>
                  <a:lnTo>
                    <a:pt x="1201" y="768"/>
                  </a:lnTo>
                  <a:lnTo>
                    <a:pt x="1169" y="731"/>
                  </a:lnTo>
                  <a:lnTo>
                    <a:pt x="1139" y="692"/>
                  </a:lnTo>
                  <a:lnTo>
                    <a:pt x="1110" y="652"/>
                  </a:lnTo>
                  <a:lnTo>
                    <a:pt x="1085" y="610"/>
                  </a:lnTo>
                  <a:lnTo>
                    <a:pt x="1062" y="567"/>
                  </a:lnTo>
                  <a:lnTo>
                    <a:pt x="1042" y="523"/>
                  </a:lnTo>
                  <a:lnTo>
                    <a:pt x="1024" y="477"/>
                  </a:lnTo>
                  <a:lnTo>
                    <a:pt x="1009" y="431"/>
                  </a:lnTo>
                  <a:lnTo>
                    <a:pt x="932" y="447"/>
                  </a:lnTo>
                  <a:lnTo>
                    <a:pt x="1078" y="258"/>
                  </a:lnTo>
                  <a:lnTo>
                    <a:pt x="1316" y="349"/>
                  </a:lnTo>
                  <a:lnTo>
                    <a:pt x="1230" y="372"/>
                  </a:lnTo>
                  <a:lnTo>
                    <a:pt x="1251" y="416"/>
                  </a:lnTo>
                  <a:lnTo>
                    <a:pt x="1273" y="457"/>
                  </a:lnTo>
                  <a:lnTo>
                    <a:pt x="1298" y="496"/>
                  </a:lnTo>
                  <a:lnTo>
                    <a:pt x="1324" y="533"/>
                  </a:lnTo>
                  <a:lnTo>
                    <a:pt x="1352" y="568"/>
                  </a:lnTo>
                  <a:lnTo>
                    <a:pt x="1382" y="600"/>
                  </a:lnTo>
                  <a:lnTo>
                    <a:pt x="1414" y="629"/>
                  </a:lnTo>
                  <a:lnTo>
                    <a:pt x="1448" y="657"/>
                  </a:lnTo>
                  <a:lnTo>
                    <a:pt x="1483" y="681"/>
                  </a:lnTo>
                  <a:lnTo>
                    <a:pt x="1520" y="703"/>
                  </a:lnTo>
                  <a:lnTo>
                    <a:pt x="1558" y="722"/>
                  </a:lnTo>
                  <a:lnTo>
                    <a:pt x="1597" y="738"/>
                  </a:lnTo>
                  <a:lnTo>
                    <a:pt x="1639" y="752"/>
                  </a:lnTo>
                  <a:lnTo>
                    <a:pt x="1681" y="763"/>
                  </a:lnTo>
                  <a:lnTo>
                    <a:pt x="1724" y="771"/>
                  </a:lnTo>
                  <a:lnTo>
                    <a:pt x="1724" y="201"/>
                  </a:lnTo>
                  <a:lnTo>
                    <a:pt x="1209" y="201"/>
                  </a:lnTo>
                  <a:lnTo>
                    <a:pt x="1165" y="201"/>
                  </a:lnTo>
                  <a:lnTo>
                    <a:pt x="1161" y="151"/>
                  </a:lnTo>
                  <a:lnTo>
                    <a:pt x="1160" y="100"/>
                  </a:lnTo>
                  <a:lnTo>
                    <a:pt x="1161" y="50"/>
                  </a:lnTo>
                  <a:lnTo>
                    <a:pt x="1165" y="0"/>
                  </a:lnTo>
                </a:path>
              </a:pathLst>
            </a:custGeom>
            <a:solidFill>
              <a:schemeClr val="folHlink"/>
            </a:solidFill>
            <a:ln w="12700" cap="rnd">
              <a:solidFill>
                <a:schemeClr val="folHlink"/>
              </a:solidFill>
              <a:round/>
              <a:headEnd type="none" w="sm" len="sm"/>
              <a:tailEnd type="none" w="sm" len="sm"/>
            </a:ln>
          </p:spPr>
          <p:txBody>
            <a:bodyPr/>
            <a:lstStyle/>
            <a:p>
              <a:endParaRPr lang="en-US"/>
            </a:p>
          </p:txBody>
        </p:sp>
        <p:sp>
          <p:nvSpPr>
            <p:cNvPr id="80" name="Rectangle 9"/>
            <p:cNvSpPr>
              <a:spLocks noChangeArrowheads="1"/>
            </p:cNvSpPr>
            <p:nvPr/>
          </p:nvSpPr>
          <p:spPr bwMode="auto">
            <a:xfrm>
              <a:off x="3247" y="1372"/>
              <a:ext cx="952" cy="879"/>
            </a:xfrm>
            <a:prstGeom prst="rect">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36000" tIns="36000" rIns="36000" bIns="3600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81" name="Freeform 10"/>
            <p:cNvSpPr>
              <a:spLocks/>
            </p:cNvSpPr>
            <p:nvPr/>
          </p:nvSpPr>
          <p:spPr bwMode="auto">
            <a:xfrm>
              <a:off x="1156" y="1372"/>
              <a:ext cx="2099" cy="881"/>
            </a:xfrm>
            <a:custGeom>
              <a:avLst/>
              <a:gdLst>
                <a:gd name="T0" fmla="*/ 2046 w 1972"/>
                <a:gd name="T1" fmla="*/ 228 h 1150"/>
                <a:gd name="T2" fmla="*/ 1940 w 1972"/>
                <a:gd name="T3" fmla="*/ 225 h 1150"/>
                <a:gd name="T4" fmla="*/ 1835 w 1972"/>
                <a:gd name="T5" fmla="*/ 233 h 1150"/>
                <a:gd name="T6" fmla="*/ 1835 w 1972"/>
                <a:gd name="T7" fmla="*/ 0 h 1150"/>
                <a:gd name="T8" fmla="*/ 0 w 1972"/>
                <a:gd name="T9" fmla="*/ 880 h 1150"/>
                <a:gd name="T10" fmla="*/ 947 w 1972"/>
                <a:gd name="T11" fmla="*/ 841 h 1150"/>
                <a:gd name="T12" fmla="*/ 975 w 1972"/>
                <a:gd name="T13" fmla="*/ 764 h 1150"/>
                <a:gd name="T14" fmla="*/ 1014 w 1972"/>
                <a:gd name="T15" fmla="*/ 689 h 1150"/>
                <a:gd name="T16" fmla="*/ 1064 w 1972"/>
                <a:gd name="T17" fmla="*/ 619 h 1150"/>
                <a:gd name="T18" fmla="*/ 1125 w 1972"/>
                <a:gd name="T19" fmla="*/ 553 h 1150"/>
                <a:gd name="T20" fmla="*/ 1195 w 1972"/>
                <a:gd name="T21" fmla="*/ 493 h 1150"/>
                <a:gd name="T22" fmla="*/ 1273 w 1972"/>
                <a:gd name="T23" fmla="*/ 440 h 1150"/>
                <a:gd name="T24" fmla="*/ 1359 w 1972"/>
                <a:gd name="T25" fmla="*/ 394 h 1150"/>
                <a:gd name="T26" fmla="*/ 1452 w 1972"/>
                <a:gd name="T27" fmla="*/ 355 h 1150"/>
                <a:gd name="T28" fmla="*/ 1550 w 1972"/>
                <a:gd name="T29" fmla="*/ 326 h 1150"/>
                <a:gd name="T30" fmla="*/ 1583 w 1972"/>
                <a:gd name="T31" fmla="*/ 254 h 1150"/>
                <a:gd name="T32" fmla="*/ 1687 w 1972"/>
                <a:gd name="T33" fmla="*/ 549 h 1150"/>
                <a:gd name="T34" fmla="*/ 1648 w 1972"/>
                <a:gd name="T35" fmla="*/ 483 h 1150"/>
                <a:gd name="T36" fmla="*/ 1613 w 1972"/>
                <a:gd name="T37" fmla="*/ 486 h 1150"/>
                <a:gd name="T38" fmla="*/ 1574 w 1972"/>
                <a:gd name="T39" fmla="*/ 498 h 1150"/>
                <a:gd name="T40" fmla="*/ 1531 w 1972"/>
                <a:gd name="T41" fmla="*/ 517 h 1150"/>
                <a:gd name="T42" fmla="*/ 1487 w 1972"/>
                <a:gd name="T43" fmla="*/ 543 h 1150"/>
                <a:gd name="T44" fmla="*/ 1442 w 1972"/>
                <a:gd name="T45" fmla="*/ 575 h 1150"/>
                <a:gd name="T46" fmla="*/ 1399 w 1972"/>
                <a:gd name="T47" fmla="*/ 613 h 1150"/>
                <a:gd name="T48" fmla="*/ 1358 w 1972"/>
                <a:gd name="T49" fmla="*/ 653 h 1150"/>
                <a:gd name="T50" fmla="*/ 1322 w 1972"/>
                <a:gd name="T51" fmla="*/ 696 h 1150"/>
                <a:gd name="T52" fmla="*/ 1291 w 1972"/>
                <a:gd name="T53" fmla="*/ 741 h 1150"/>
                <a:gd name="T54" fmla="*/ 1267 w 1972"/>
                <a:gd name="T55" fmla="*/ 784 h 1150"/>
                <a:gd name="T56" fmla="*/ 1250 w 1972"/>
                <a:gd name="T57" fmla="*/ 826 h 1150"/>
                <a:gd name="T58" fmla="*/ 1240 w 1972"/>
                <a:gd name="T59" fmla="*/ 863 h 1150"/>
                <a:gd name="T60" fmla="*/ 1392 w 1972"/>
                <a:gd name="T61" fmla="*/ 880 h 1150"/>
                <a:gd name="T62" fmla="*/ 1835 w 1972"/>
                <a:gd name="T63" fmla="*/ 562 h 1150"/>
                <a:gd name="T64" fmla="*/ 1879 w 1972"/>
                <a:gd name="T65" fmla="*/ 454 h 1150"/>
                <a:gd name="T66" fmla="*/ 1966 w 1972"/>
                <a:gd name="T67" fmla="*/ 446 h 1150"/>
                <a:gd name="T68" fmla="*/ 2054 w 1972"/>
                <a:gd name="T69" fmla="*/ 446 h 11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72"/>
                <a:gd name="T106" fmla="*/ 0 h 1150"/>
                <a:gd name="T107" fmla="*/ 1972 w 1972"/>
                <a:gd name="T108" fmla="*/ 1150 h 11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72" h="1150">
                  <a:moveTo>
                    <a:pt x="1971" y="303"/>
                  </a:moveTo>
                  <a:lnTo>
                    <a:pt x="1922" y="297"/>
                  </a:lnTo>
                  <a:lnTo>
                    <a:pt x="1872" y="294"/>
                  </a:lnTo>
                  <a:lnTo>
                    <a:pt x="1823" y="294"/>
                  </a:lnTo>
                  <a:lnTo>
                    <a:pt x="1773" y="298"/>
                  </a:lnTo>
                  <a:lnTo>
                    <a:pt x="1724" y="304"/>
                  </a:lnTo>
                  <a:lnTo>
                    <a:pt x="1724" y="288"/>
                  </a:lnTo>
                  <a:lnTo>
                    <a:pt x="1724" y="0"/>
                  </a:lnTo>
                  <a:lnTo>
                    <a:pt x="0" y="0"/>
                  </a:lnTo>
                  <a:lnTo>
                    <a:pt x="0" y="1149"/>
                  </a:lnTo>
                  <a:lnTo>
                    <a:pt x="881" y="1149"/>
                  </a:lnTo>
                  <a:lnTo>
                    <a:pt x="890" y="1098"/>
                  </a:lnTo>
                  <a:lnTo>
                    <a:pt x="901" y="1047"/>
                  </a:lnTo>
                  <a:lnTo>
                    <a:pt x="916" y="997"/>
                  </a:lnTo>
                  <a:lnTo>
                    <a:pt x="933" y="948"/>
                  </a:lnTo>
                  <a:lnTo>
                    <a:pt x="953" y="900"/>
                  </a:lnTo>
                  <a:lnTo>
                    <a:pt x="975" y="853"/>
                  </a:lnTo>
                  <a:lnTo>
                    <a:pt x="1000" y="808"/>
                  </a:lnTo>
                  <a:lnTo>
                    <a:pt x="1027" y="764"/>
                  </a:lnTo>
                  <a:lnTo>
                    <a:pt x="1057" y="722"/>
                  </a:lnTo>
                  <a:lnTo>
                    <a:pt x="1089" y="682"/>
                  </a:lnTo>
                  <a:lnTo>
                    <a:pt x="1123" y="644"/>
                  </a:lnTo>
                  <a:lnTo>
                    <a:pt x="1158" y="607"/>
                  </a:lnTo>
                  <a:lnTo>
                    <a:pt x="1196" y="574"/>
                  </a:lnTo>
                  <a:lnTo>
                    <a:pt x="1236" y="542"/>
                  </a:lnTo>
                  <a:lnTo>
                    <a:pt x="1277" y="514"/>
                  </a:lnTo>
                  <a:lnTo>
                    <a:pt x="1320" y="488"/>
                  </a:lnTo>
                  <a:lnTo>
                    <a:pt x="1364" y="464"/>
                  </a:lnTo>
                  <a:lnTo>
                    <a:pt x="1410" y="443"/>
                  </a:lnTo>
                  <a:lnTo>
                    <a:pt x="1456" y="425"/>
                  </a:lnTo>
                  <a:lnTo>
                    <a:pt x="1503" y="410"/>
                  </a:lnTo>
                  <a:lnTo>
                    <a:pt x="1487" y="332"/>
                  </a:lnTo>
                  <a:lnTo>
                    <a:pt x="1680" y="462"/>
                  </a:lnTo>
                  <a:lnTo>
                    <a:pt x="1585" y="716"/>
                  </a:lnTo>
                  <a:lnTo>
                    <a:pt x="1563" y="631"/>
                  </a:lnTo>
                  <a:lnTo>
                    <a:pt x="1548" y="630"/>
                  </a:lnTo>
                  <a:lnTo>
                    <a:pt x="1532" y="631"/>
                  </a:lnTo>
                  <a:lnTo>
                    <a:pt x="1515" y="634"/>
                  </a:lnTo>
                  <a:lnTo>
                    <a:pt x="1498" y="641"/>
                  </a:lnTo>
                  <a:lnTo>
                    <a:pt x="1479" y="650"/>
                  </a:lnTo>
                  <a:lnTo>
                    <a:pt x="1459" y="661"/>
                  </a:lnTo>
                  <a:lnTo>
                    <a:pt x="1438" y="675"/>
                  </a:lnTo>
                  <a:lnTo>
                    <a:pt x="1418" y="691"/>
                  </a:lnTo>
                  <a:lnTo>
                    <a:pt x="1397" y="709"/>
                  </a:lnTo>
                  <a:lnTo>
                    <a:pt x="1376" y="729"/>
                  </a:lnTo>
                  <a:lnTo>
                    <a:pt x="1355" y="751"/>
                  </a:lnTo>
                  <a:lnTo>
                    <a:pt x="1334" y="775"/>
                  </a:lnTo>
                  <a:lnTo>
                    <a:pt x="1314" y="800"/>
                  </a:lnTo>
                  <a:lnTo>
                    <a:pt x="1295" y="826"/>
                  </a:lnTo>
                  <a:lnTo>
                    <a:pt x="1276" y="853"/>
                  </a:lnTo>
                  <a:lnTo>
                    <a:pt x="1259" y="881"/>
                  </a:lnTo>
                  <a:lnTo>
                    <a:pt x="1242" y="909"/>
                  </a:lnTo>
                  <a:lnTo>
                    <a:pt x="1227" y="939"/>
                  </a:lnTo>
                  <a:lnTo>
                    <a:pt x="1213" y="967"/>
                  </a:lnTo>
                  <a:lnTo>
                    <a:pt x="1201" y="996"/>
                  </a:lnTo>
                  <a:lnTo>
                    <a:pt x="1190" y="1024"/>
                  </a:lnTo>
                  <a:lnTo>
                    <a:pt x="1181" y="1051"/>
                  </a:lnTo>
                  <a:lnTo>
                    <a:pt x="1174" y="1078"/>
                  </a:lnTo>
                  <a:lnTo>
                    <a:pt x="1169" y="1104"/>
                  </a:lnTo>
                  <a:lnTo>
                    <a:pt x="1165" y="1127"/>
                  </a:lnTo>
                  <a:lnTo>
                    <a:pt x="1164" y="1149"/>
                  </a:lnTo>
                  <a:lnTo>
                    <a:pt x="1308" y="1149"/>
                  </a:lnTo>
                  <a:lnTo>
                    <a:pt x="1724" y="1149"/>
                  </a:lnTo>
                  <a:lnTo>
                    <a:pt x="1724" y="733"/>
                  </a:lnTo>
                  <a:lnTo>
                    <a:pt x="1724" y="600"/>
                  </a:lnTo>
                  <a:lnTo>
                    <a:pt x="1765" y="592"/>
                  </a:lnTo>
                  <a:lnTo>
                    <a:pt x="1806" y="586"/>
                  </a:lnTo>
                  <a:lnTo>
                    <a:pt x="1847" y="582"/>
                  </a:lnTo>
                  <a:lnTo>
                    <a:pt x="1888" y="581"/>
                  </a:lnTo>
                  <a:lnTo>
                    <a:pt x="1930" y="582"/>
                  </a:lnTo>
                  <a:lnTo>
                    <a:pt x="1971" y="585"/>
                  </a:lnTo>
                </a:path>
              </a:pathLst>
            </a:custGeom>
            <a:solidFill>
              <a:schemeClr val="accent2"/>
            </a:solidFill>
            <a:ln w="12700" cap="rnd">
              <a:solidFill>
                <a:schemeClr val="folHlink"/>
              </a:solidFill>
              <a:round/>
              <a:headEnd type="none" w="sm" len="sm"/>
              <a:tailEnd type="none" w="sm" len="sm"/>
            </a:ln>
          </p:spPr>
          <p:txBody>
            <a:bodyPr/>
            <a:lstStyle/>
            <a:p>
              <a:endParaRPr lang="en-US"/>
            </a:p>
          </p:txBody>
        </p:sp>
        <p:sp>
          <p:nvSpPr>
            <p:cNvPr id="82" name="Freeform 11"/>
            <p:cNvSpPr>
              <a:spLocks/>
            </p:cNvSpPr>
            <p:nvPr/>
          </p:nvSpPr>
          <p:spPr bwMode="auto">
            <a:xfrm>
              <a:off x="3244" y="1366"/>
              <a:ext cx="1836" cy="1047"/>
            </a:xfrm>
            <a:custGeom>
              <a:avLst/>
              <a:gdLst>
                <a:gd name="T0" fmla="*/ 897 w 1836"/>
                <a:gd name="T1" fmla="*/ 1047 h 1047"/>
                <a:gd name="T2" fmla="*/ 903 w 1836"/>
                <a:gd name="T3" fmla="*/ 1016 h 1047"/>
                <a:gd name="T4" fmla="*/ 904 w 1836"/>
                <a:gd name="T5" fmla="*/ 983 h 1047"/>
                <a:gd name="T6" fmla="*/ 904 w 1836"/>
                <a:gd name="T7" fmla="*/ 951 h 1047"/>
                <a:gd name="T8" fmla="*/ 902 w 1836"/>
                <a:gd name="T9" fmla="*/ 919 h 1047"/>
                <a:gd name="T10" fmla="*/ 896 w 1836"/>
                <a:gd name="T11" fmla="*/ 886 h 1047"/>
                <a:gd name="T12" fmla="*/ 949 w 1836"/>
                <a:gd name="T13" fmla="*/ 886 h 1047"/>
                <a:gd name="T14" fmla="*/ 1836 w 1836"/>
                <a:gd name="T15" fmla="*/ 886 h 1047"/>
                <a:gd name="T16" fmla="*/ 1836 w 1836"/>
                <a:gd name="T17" fmla="*/ 0 h 1047"/>
                <a:gd name="T18" fmla="*/ 0 w 1836"/>
                <a:gd name="T19" fmla="*/ 0 h 1047"/>
                <a:gd name="T20" fmla="*/ 1 w 1836"/>
                <a:gd name="T21" fmla="*/ 235 h 1047"/>
                <a:gd name="T22" fmla="*/ 51 w 1836"/>
                <a:gd name="T23" fmla="*/ 241 h 1047"/>
                <a:gd name="T24" fmla="*/ 104 w 1836"/>
                <a:gd name="T25" fmla="*/ 251 h 1047"/>
                <a:gd name="T26" fmla="*/ 156 w 1836"/>
                <a:gd name="T27" fmla="*/ 262 h 1047"/>
                <a:gd name="T28" fmla="*/ 207 w 1836"/>
                <a:gd name="T29" fmla="*/ 276 h 1047"/>
                <a:gd name="T30" fmla="*/ 256 w 1836"/>
                <a:gd name="T31" fmla="*/ 291 h 1047"/>
                <a:gd name="T32" fmla="*/ 305 w 1836"/>
                <a:gd name="T33" fmla="*/ 309 h 1047"/>
                <a:gd name="T34" fmla="*/ 350 w 1836"/>
                <a:gd name="T35" fmla="*/ 328 h 1047"/>
                <a:gd name="T36" fmla="*/ 396 w 1836"/>
                <a:gd name="T37" fmla="*/ 349 h 1047"/>
                <a:gd name="T38" fmla="*/ 440 w 1836"/>
                <a:gd name="T39" fmla="*/ 372 h 1047"/>
                <a:gd name="T40" fmla="*/ 480 w 1836"/>
                <a:gd name="T41" fmla="*/ 396 h 1047"/>
                <a:gd name="T42" fmla="*/ 519 w 1836"/>
                <a:gd name="T43" fmla="*/ 422 h 1047"/>
                <a:gd name="T44" fmla="*/ 557 w 1836"/>
                <a:gd name="T45" fmla="*/ 449 h 1047"/>
                <a:gd name="T46" fmla="*/ 591 w 1836"/>
                <a:gd name="T47" fmla="*/ 477 h 1047"/>
                <a:gd name="T48" fmla="*/ 624 w 1836"/>
                <a:gd name="T49" fmla="*/ 507 h 1047"/>
                <a:gd name="T50" fmla="*/ 654 w 1836"/>
                <a:gd name="T51" fmla="*/ 539 h 1047"/>
                <a:gd name="T52" fmla="*/ 680 w 1836"/>
                <a:gd name="T53" fmla="*/ 571 h 1047"/>
                <a:gd name="T54" fmla="*/ 705 w 1836"/>
                <a:gd name="T55" fmla="*/ 605 h 1047"/>
                <a:gd name="T56" fmla="*/ 727 w 1836"/>
                <a:gd name="T57" fmla="*/ 639 h 1047"/>
                <a:gd name="T58" fmla="*/ 745 w 1836"/>
                <a:gd name="T59" fmla="*/ 674 h 1047"/>
                <a:gd name="T60" fmla="*/ 761 w 1836"/>
                <a:gd name="T61" fmla="*/ 709 h 1047"/>
                <a:gd name="T62" fmla="*/ 844 w 1836"/>
                <a:gd name="T63" fmla="*/ 698 h 1047"/>
                <a:gd name="T64" fmla="*/ 689 w 1836"/>
                <a:gd name="T65" fmla="*/ 843 h 1047"/>
                <a:gd name="T66" fmla="*/ 436 w 1836"/>
                <a:gd name="T67" fmla="*/ 773 h 1047"/>
                <a:gd name="T68" fmla="*/ 526 w 1836"/>
                <a:gd name="T69" fmla="*/ 755 h 1047"/>
                <a:gd name="T70" fmla="*/ 505 w 1836"/>
                <a:gd name="T71" fmla="*/ 722 h 1047"/>
                <a:gd name="T72" fmla="*/ 480 w 1836"/>
                <a:gd name="T73" fmla="*/ 690 h 1047"/>
                <a:gd name="T74" fmla="*/ 455 w 1836"/>
                <a:gd name="T75" fmla="*/ 660 h 1047"/>
                <a:gd name="T76" fmla="*/ 426 w 1836"/>
                <a:gd name="T77" fmla="*/ 632 h 1047"/>
                <a:gd name="T78" fmla="*/ 396 w 1836"/>
                <a:gd name="T79" fmla="*/ 605 h 1047"/>
                <a:gd name="T80" fmla="*/ 363 w 1836"/>
                <a:gd name="T81" fmla="*/ 581 h 1047"/>
                <a:gd name="T82" fmla="*/ 330 w 1836"/>
                <a:gd name="T83" fmla="*/ 558 h 1047"/>
                <a:gd name="T84" fmla="*/ 294 w 1836"/>
                <a:gd name="T85" fmla="*/ 537 h 1047"/>
                <a:gd name="T86" fmla="*/ 256 w 1836"/>
                <a:gd name="T87" fmla="*/ 519 h 1047"/>
                <a:gd name="T88" fmla="*/ 217 w 1836"/>
                <a:gd name="T89" fmla="*/ 503 h 1047"/>
                <a:gd name="T90" fmla="*/ 176 w 1836"/>
                <a:gd name="T91" fmla="*/ 488 h 1047"/>
                <a:gd name="T92" fmla="*/ 134 w 1836"/>
                <a:gd name="T93" fmla="*/ 476 h 1047"/>
                <a:gd name="T94" fmla="*/ 91 w 1836"/>
                <a:gd name="T95" fmla="*/ 466 h 1047"/>
                <a:gd name="T96" fmla="*/ 46 w 1836"/>
                <a:gd name="T97" fmla="*/ 458 h 1047"/>
                <a:gd name="T98" fmla="*/ 1 w 1836"/>
                <a:gd name="T99" fmla="*/ 452 h 1047"/>
                <a:gd name="T100" fmla="*/ 0 w 1836"/>
                <a:gd name="T101" fmla="*/ 886 h 1047"/>
                <a:gd name="T102" fmla="*/ 507 w 1836"/>
                <a:gd name="T103" fmla="*/ 886 h 1047"/>
                <a:gd name="T104" fmla="*/ 590 w 1836"/>
                <a:gd name="T105" fmla="*/ 886 h 1047"/>
                <a:gd name="T106" fmla="*/ 595 w 1836"/>
                <a:gd name="T107" fmla="*/ 927 h 1047"/>
                <a:gd name="T108" fmla="*/ 598 w 1836"/>
                <a:gd name="T109" fmla="*/ 967 h 1047"/>
                <a:gd name="T110" fmla="*/ 598 w 1836"/>
                <a:gd name="T111" fmla="*/ 1007 h 1047"/>
                <a:gd name="T112" fmla="*/ 595 w 1836"/>
                <a:gd name="T113" fmla="*/ 1047 h 10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36"/>
                <a:gd name="T172" fmla="*/ 0 h 1047"/>
                <a:gd name="T173" fmla="*/ 1836 w 1836"/>
                <a:gd name="T174" fmla="*/ 1047 h 10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36" h="1047">
                  <a:moveTo>
                    <a:pt x="897" y="1047"/>
                  </a:moveTo>
                  <a:lnTo>
                    <a:pt x="903" y="1016"/>
                  </a:lnTo>
                  <a:lnTo>
                    <a:pt x="904" y="983"/>
                  </a:lnTo>
                  <a:lnTo>
                    <a:pt x="904" y="951"/>
                  </a:lnTo>
                  <a:lnTo>
                    <a:pt x="902" y="919"/>
                  </a:lnTo>
                  <a:lnTo>
                    <a:pt x="896" y="886"/>
                  </a:lnTo>
                  <a:lnTo>
                    <a:pt x="949" y="886"/>
                  </a:lnTo>
                  <a:lnTo>
                    <a:pt x="1836" y="886"/>
                  </a:lnTo>
                  <a:lnTo>
                    <a:pt x="1836" y="0"/>
                  </a:lnTo>
                  <a:lnTo>
                    <a:pt x="0" y="0"/>
                  </a:lnTo>
                  <a:lnTo>
                    <a:pt x="1" y="235"/>
                  </a:lnTo>
                  <a:lnTo>
                    <a:pt x="51" y="241"/>
                  </a:lnTo>
                  <a:lnTo>
                    <a:pt x="104" y="251"/>
                  </a:lnTo>
                  <a:lnTo>
                    <a:pt x="156" y="262"/>
                  </a:lnTo>
                  <a:lnTo>
                    <a:pt x="207" y="276"/>
                  </a:lnTo>
                  <a:lnTo>
                    <a:pt x="256" y="291"/>
                  </a:lnTo>
                  <a:lnTo>
                    <a:pt x="305" y="309"/>
                  </a:lnTo>
                  <a:lnTo>
                    <a:pt x="350" y="328"/>
                  </a:lnTo>
                  <a:lnTo>
                    <a:pt x="396" y="349"/>
                  </a:lnTo>
                  <a:lnTo>
                    <a:pt x="440" y="372"/>
                  </a:lnTo>
                  <a:lnTo>
                    <a:pt x="480" y="396"/>
                  </a:lnTo>
                  <a:lnTo>
                    <a:pt x="519" y="422"/>
                  </a:lnTo>
                  <a:lnTo>
                    <a:pt x="557" y="449"/>
                  </a:lnTo>
                  <a:lnTo>
                    <a:pt x="591" y="477"/>
                  </a:lnTo>
                  <a:lnTo>
                    <a:pt x="624" y="507"/>
                  </a:lnTo>
                  <a:lnTo>
                    <a:pt x="654" y="539"/>
                  </a:lnTo>
                  <a:lnTo>
                    <a:pt x="680" y="571"/>
                  </a:lnTo>
                  <a:lnTo>
                    <a:pt x="705" y="605"/>
                  </a:lnTo>
                  <a:lnTo>
                    <a:pt x="727" y="639"/>
                  </a:lnTo>
                  <a:lnTo>
                    <a:pt x="745" y="674"/>
                  </a:lnTo>
                  <a:lnTo>
                    <a:pt x="761" y="709"/>
                  </a:lnTo>
                  <a:lnTo>
                    <a:pt x="844" y="698"/>
                  </a:lnTo>
                  <a:lnTo>
                    <a:pt x="689" y="843"/>
                  </a:lnTo>
                  <a:lnTo>
                    <a:pt x="436" y="773"/>
                  </a:lnTo>
                  <a:lnTo>
                    <a:pt x="526" y="755"/>
                  </a:lnTo>
                  <a:lnTo>
                    <a:pt x="505" y="722"/>
                  </a:lnTo>
                  <a:lnTo>
                    <a:pt x="480" y="690"/>
                  </a:lnTo>
                  <a:lnTo>
                    <a:pt x="455" y="660"/>
                  </a:lnTo>
                  <a:lnTo>
                    <a:pt x="426" y="632"/>
                  </a:lnTo>
                  <a:lnTo>
                    <a:pt x="396" y="605"/>
                  </a:lnTo>
                  <a:lnTo>
                    <a:pt x="363" y="581"/>
                  </a:lnTo>
                  <a:lnTo>
                    <a:pt x="330" y="558"/>
                  </a:lnTo>
                  <a:lnTo>
                    <a:pt x="294" y="537"/>
                  </a:lnTo>
                  <a:lnTo>
                    <a:pt x="256" y="519"/>
                  </a:lnTo>
                  <a:lnTo>
                    <a:pt x="217" y="503"/>
                  </a:lnTo>
                  <a:lnTo>
                    <a:pt x="176" y="488"/>
                  </a:lnTo>
                  <a:lnTo>
                    <a:pt x="134" y="476"/>
                  </a:lnTo>
                  <a:lnTo>
                    <a:pt x="91" y="466"/>
                  </a:lnTo>
                  <a:lnTo>
                    <a:pt x="46" y="458"/>
                  </a:lnTo>
                  <a:lnTo>
                    <a:pt x="1" y="452"/>
                  </a:lnTo>
                  <a:lnTo>
                    <a:pt x="0" y="886"/>
                  </a:lnTo>
                  <a:lnTo>
                    <a:pt x="507" y="886"/>
                  </a:lnTo>
                  <a:lnTo>
                    <a:pt x="590" y="886"/>
                  </a:lnTo>
                  <a:lnTo>
                    <a:pt x="595" y="927"/>
                  </a:lnTo>
                  <a:lnTo>
                    <a:pt x="598" y="967"/>
                  </a:lnTo>
                  <a:lnTo>
                    <a:pt x="598" y="1007"/>
                  </a:lnTo>
                  <a:lnTo>
                    <a:pt x="595" y="1047"/>
                  </a:lnTo>
                </a:path>
              </a:pathLst>
            </a:custGeom>
            <a:solidFill>
              <a:schemeClr val="accent1"/>
            </a:solidFill>
            <a:ln w="12700" cap="rnd">
              <a:solidFill>
                <a:schemeClr val="folHlink"/>
              </a:solidFill>
              <a:round/>
              <a:headEnd type="none" w="sm" len="sm"/>
              <a:tailEnd type="none" w="sm" len="sm"/>
            </a:ln>
          </p:spPr>
          <p:txBody>
            <a:bodyPr/>
            <a:lstStyle/>
            <a:p>
              <a:endParaRPr lang="en-US"/>
            </a:p>
          </p:txBody>
        </p:sp>
        <p:sp>
          <p:nvSpPr>
            <p:cNvPr id="83" name="Rectangle 12"/>
            <p:cNvSpPr>
              <a:spLocks noChangeArrowheads="1"/>
            </p:cNvSpPr>
            <p:nvPr/>
          </p:nvSpPr>
          <p:spPr bwMode="auto">
            <a:xfrm>
              <a:off x="1150" y="2407"/>
              <a:ext cx="1815" cy="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72000" tIns="72000" rIns="72000" bIns="72000"/>
            <a:lstStyle>
              <a:lvl1pPr marL="114300" indent="-11430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30000"/>
                </a:spcBef>
              </a:pPr>
              <a:r>
                <a:rPr lang="en-US" altLang="en-US" sz="1200" b="1">
                  <a:solidFill>
                    <a:schemeClr val="bg1"/>
                  </a:solidFill>
                </a:rPr>
                <a:t>Text</a:t>
              </a:r>
            </a:p>
            <a:p>
              <a:pPr algn="l">
                <a:spcBef>
                  <a:spcPct val="30000"/>
                </a:spcBef>
                <a:buFontTx/>
                <a:buChar char="•"/>
              </a:pPr>
              <a:r>
                <a:rPr lang="en-US" altLang="en-US" sz="1200">
                  <a:solidFill>
                    <a:schemeClr val="bg1"/>
                  </a:solidFill>
                </a:rPr>
                <a:t>Text</a:t>
              </a:r>
            </a:p>
            <a:p>
              <a:pPr algn="l">
                <a:spcBef>
                  <a:spcPct val="30000"/>
                </a:spcBef>
                <a:buFontTx/>
                <a:buChar char="•"/>
              </a:pPr>
              <a:r>
                <a:rPr lang="en-US" altLang="en-US" sz="1200">
                  <a:solidFill>
                    <a:schemeClr val="bg1"/>
                  </a:solidFill>
                </a:rPr>
                <a:t>Text</a:t>
              </a:r>
            </a:p>
            <a:p>
              <a:pPr algn="l">
                <a:spcBef>
                  <a:spcPct val="30000"/>
                </a:spcBef>
                <a:buFontTx/>
                <a:buChar char="•"/>
              </a:pPr>
              <a:r>
                <a:rPr lang="en-US" altLang="en-US" sz="1200">
                  <a:solidFill>
                    <a:schemeClr val="bg1"/>
                  </a:solidFill>
                </a:rPr>
                <a:t>Text</a:t>
              </a:r>
              <a:endParaRPr lang="en-GB" altLang="en-US" sz="1200">
                <a:solidFill>
                  <a:schemeClr val="bg1"/>
                </a:solidFill>
              </a:endParaRPr>
            </a:p>
          </p:txBody>
        </p:sp>
        <p:sp>
          <p:nvSpPr>
            <p:cNvPr id="84" name="Rectangle 13"/>
            <p:cNvSpPr>
              <a:spLocks noChangeArrowheads="1"/>
            </p:cNvSpPr>
            <p:nvPr/>
          </p:nvSpPr>
          <p:spPr bwMode="auto">
            <a:xfrm>
              <a:off x="3247" y="2413"/>
              <a:ext cx="1839" cy="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463040" tIns="72000" rIns="45720" bIns="46038"/>
            <a:lstStyle>
              <a:lvl1pPr marL="114300" indent="-11430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30000"/>
                </a:spcBef>
              </a:pPr>
              <a:r>
                <a:rPr lang="en-US" altLang="en-US" sz="1200" b="1">
                  <a:solidFill>
                    <a:schemeClr val="bg1"/>
                  </a:solidFill>
                </a:rPr>
                <a:t>Text</a:t>
              </a:r>
            </a:p>
            <a:p>
              <a:pPr algn="l">
                <a:spcBef>
                  <a:spcPct val="30000"/>
                </a:spcBef>
                <a:buFontTx/>
                <a:buChar char="•"/>
              </a:pPr>
              <a:r>
                <a:rPr lang="en-US" altLang="en-US" sz="1200">
                  <a:solidFill>
                    <a:schemeClr val="bg1"/>
                  </a:solidFill>
                </a:rPr>
                <a:t>Text</a:t>
              </a:r>
            </a:p>
            <a:p>
              <a:pPr algn="l">
                <a:spcBef>
                  <a:spcPct val="30000"/>
                </a:spcBef>
                <a:buFontTx/>
                <a:buChar char="•"/>
              </a:pPr>
              <a:r>
                <a:rPr lang="en-US" altLang="en-US" sz="1200">
                  <a:solidFill>
                    <a:schemeClr val="bg1"/>
                  </a:solidFill>
                </a:rPr>
                <a:t>Text</a:t>
              </a:r>
            </a:p>
            <a:p>
              <a:pPr algn="l">
                <a:spcBef>
                  <a:spcPct val="30000"/>
                </a:spcBef>
                <a:buFontTx/>
                <a:buChar char="•"/>
              </a:pPr>
              <a:r>
                <a:rPr lang="en-US" altLang="en-US" sz="1200">
                  <a:solidFill>
                    <a:schemeClr val="bg1"/>
                  </a:solidFill>
                </a:rPr>
                <a:t>Text</a:t>
              </a:r>
              <a:endParaRPr lang="en-GB" altLang="en-US" sz="1200">
                <a:solidFill>
                  <a:schemeClr val="bg1"/>
                </a:solidFill>
              </a:endParaRPr>
            </a:p>
          </p:txBody>
        </p:sp>
        <p:sp>
          <p:nvSpPr>
            <p:cNvPr id="85" name="Rectangle 14"/>
            <p:cNvSpPr>
              <a:spLocks noChangeArrowheads="1"/>
            </p:cNvSpPr>
            <p:nvPr/>
          </p:nvSpPr>
          <p:spPr bwMode="auto">
            <a:xfrm>
              <a:off x="1150" y="1366"/>
              <a:ext cx="1815" cy="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72000" tIns="72000" rIns="72000" bIns="72000"/>
            <a:lstStyle>
              <a:lvl1pPr marL="114300" indent="-11430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30000"/>
                </a:spcBef>
              </a:pPr>
              <a:r>
                <a:rPr lang="en-US" altLang="en-US" sz="1200" b="1"/>
                <a:t>Text</a:t>
              </a:r>
            </a:p>
            <a:p>
              <a:pPr algn="l">
                <a:spcBef>
                  <a:spcPct val="30000"/>
                </a:spcBef>
                <a:buClr>
                  <a:schemeClr val="folHlink"/>
                </a:buClr>
                <a:buFontTx/>
                <a:buChar char="•"/>
              </a:pPr>
              <a:r>
                <a:rPr lang="en-US" altLang="en-US" sz="1200"/>
                <a:t>Text</a:t>
              </a:r>
            </a:p>
            <a:p>
              <a:pPr algn="l">
                <a:spcBef>
                  <a:spcPct val="30000"/>
                </a:spcBef>
                <a:buClr>
                  <a:schemeClr val="folHlink"/>
                </a:buClr>
                <a:buFontTx/>
                <a:buChar char="•"/>
              </a:pPr>
              <a:r>
                <a:rPr lang="en-US" altLang="en-US" sz="1200"/>
                <a:t>Text</a:t>
              </a:r>
            </a:p>
            <a:p>
              <a:pPr algn="l">
                <a:spcBef>
                  <a:spcPct val="30000"/>
                </a:spcBef>
                <a:buClr>
                  <a:schemeClr val="folHlink"/>
                </a:buClr>
                <a:buFontTx/>
                <a:buChar char="•"/>
              </a:pPr>
              <a:r>
                <a:rPr lang="en-US" altLang="en-US" sz="1200"/>
                <a:t>Text</a:t>
              </a:r>
              <a:endParaRPr lang="en-GB" altLang="en-US" sz="1200"/>
            </a:p>
          </p:txBody>
        </p:sp>
        <p:sp>
          <p:nvSpPr>
            <p:cNvPr id="86" name="Rectangle 15"/>
            <p:cNvSpPr>
              <a:spLocks noChangeArrowheads="1"/>
            </p:cNvSpPr>
            <p:nvPr/>
          </p:nvSpPr>
          <p:spPr bwMode="auto">
            <a:xfrm>
              <a:off x="3249" y="1372"/>
              <a:ext cx="1839" cy="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463040" tIns="72000" rIns="45720" bIns="46038"/>
            <a:lstStyle>
              <a:lvl1pPr marL="114300" indent="-11430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Bef>
                  <a:spcPct val="30000"/>
                </a:spcBef>
              </a:pPr>
              <a:r>
                <a:rPr lang="en-US" altLang="en-US" sz="1200" b="1" dirty="0"/>
                <a:t>Text</a:t>
              </a:r>
            </a:p>
            <a:p>
              <a:pPr algn="l">
                <a:spcBef>
                  <a:spcPct val="30000"/>
                </a:spcBef>
                <a:buClr>
                  <a:schemeClr val="folHlink"/>
                </a:buClr>
                <a:buFontTx/>
                <a:buChar char="•"/>
              </a:pPr>
              <a:r>
                <a:rPr lang="en-US" altLang="en-US" sz="1200" dirty="0"/>
                <a:t>Text</a:t>
              </a:r>
            </a:p>
            <a:p>
              <a:pPr algn="l">
                <a:spcBef>
                  <a:spcPct val="30000"/>
                </a:spcBef>
                <a:buClr>
                  <a:schemeClr val="folHlink"/>
                </a:buClr>
                <a:buFontTx/>
                <a:buChar char="•"/>
              </a:pPr>
              <a:r>
                <a:rPr lang="en-US" altLang="en-US" sz="1200" dirty="0"/>
                <a:t>Text</a:t>
              </a:r>
            </a:p>
            <a:p>
              <a:pPr algn="l">
                <a:spcBef>
                  <a:spcPct val="30000"/>
                </a:spcBef>
                <a:buClr>
                  <a:schemeClr val="folHlink"/>
                </a:buClr>
                <a:buFontTx/>
                <a:buChar char="•"/>
              </a:pPr>
              <a:r>
                <a:rPr lang="en-US" altLang="en-US" sz="1200" dirty="0"/>
                <a:t>Text</a:t>
              </a:r>
              <a:endParaRPr lang="en-GB" altLang="en-US" sz="1200" dirty="0"/>
            </a:p>
          </p:txBody>
        </p:sp>
      </p:grpSp>
      <p:grpSp>
        <p:nvGrpSpPr>
          <p:cNvPr id="23" name="Group 22"/>
          <p:cNvGrpSpPr/>
          <p:nvPr/>
        </p:nvGrpSpPr>
        <p:grpSpPr>
          <a:xfrm>
            <a:off x="6289159" y="1488185"/>
            <a:ext cx="2074127" cy="2189277"/>
            <a:chOff x="5335414" y="3622497"/>
            <a:chExt cx="2074127" cy="2189277"/>
          </a:xfrm>
        </p:grpSpPr>
        <p:grpSp>
          <p:nvGrpSpPr>
            <p:cNvPr id="93" name="Group 20"/>
            <p:cNvGrpSpPr>
              <a:grpSpLocks/>
            </p:cNvGrpSpPr>
            <p:nvPr/>
          </p:nvGrpSpPr>
          <p:grpSpPr bwMode="auto">
            <a:xfrm>
              <a:off x="5578844" y="3843005"/>
              <a:ext cx="466725" cy="349250"/>
              <a:chOff x="4273" y="1739"/>
              <a:chExt cx="294" cy="220"/>
            </a:xfrm>
          </p:grpSpPr>
          <p:sp>
            <p:nvSpPr>
              <p:cNvPr id="94" name="Freeform 21"/>
              <p:cNvSpPr>
                <a:spLocks/>
              </p:cNvSpPr>
              <p:nvPr/>
            </p:nvSpPr>
            <p:spPr bwMode="gray">
              <a:xfrm rot="3000000">
                <a:off x="4307" y="1768"/>
                <a:ext cx="172" cy="163"/>
              </a:xfrm>
              <a:custGeom>
                <a:avLst/>
                <a:gdLst>
                  <a:gd name="T0" fmla="*/ 88 w 199"/>
                  <a:gd name="T1" fmla="*/ 0 h 177"/>
                  <a:gd name="T2" fmla="*/ 172 w 199"/>
                  <a:gd name="T3" fmla="*/ 0 h 177"/>
                  <a:gd name="T4" fmla="*/ 84 w 199"/>
                  <a:gd name="T5" fmla="*/ 163 h 177"/>
                  <a:gd name="T6" fmla="*/ 0 w 199"/>
                  <a:gd name="T7" fmla="*/ 163 h 177"/>
                  <a:gd name="T8" fmla="*/ 88 w 199"/>
                  <a:gd name="T9" fmla="*/ 0 h 177"/>
                  <a:gd name="T10" fmla="*/ 0 60000 65536"/>
                  <a:gd name="T11" fmla="*/ 0 60000 65536"/>
                  <a:gd name="T12" fmla="*/ 0 60000 65536"/>
                  <a:gd name="T13" fmla="*/ 0 60000 65536"/>
                  <a:gd name="T14" fmla="*/ 0 60000 65536"/>
                  <a:gd name="T15" fmla="*/ 0 w 199"/>
                  <a:gd name="T16" fmla="*/ 0 h 177"/>
                  <a:gd name="T17" fmla="*/ 199 w 199"/>
                  <a:gd name="T18" fmla="*/ 177 h 177"/>
                </a:gdLst>
                <a:ahLst/>
                <a:cxnLst>
                  <a:cxn ang="T10">
                    <a:pos x="T0" y="T1"/>
                  </a:cxn>
                  <a:cxn ang="T11">
                    <a:pos x="T2" y="T3"/>
                  </a:cxn>
                  <a:cxn ang="T12">
                    <a:pos x="T4" y="T5"/>
                  </a:cxn>
                  <a:cxn ang="T13">
                    <a:pos x="T6" y="T7"/>
                  </a:cxn>
                  <a:cxn ang="T14">
                    <a:pos x="T8" y="T9"/>
                  </a:cxn>
                </a:cxnLst>
                <a:rect l="T15" t="T16" r="T17" b="T18"/>
                <a:pathLst>
                  <a:path w="199" h="177">
                    <a:moveTo>
                      <a:pt x="102" y="0"/>
                    </a:moveTo>
                    <a:lnTo>
                      <a:pt x="199" y="0"/>
                    </a:lnTo>
                    <a:lnTo>
                      <a:pt x="97" y="177"/>
                    </a:lnTo>
                    <a:lnTo>
                      <a:pt x="0" y="177"/>
                    </a:lnTo>
                    <a:lnTo>
                      <a:pt x="102" y="0"/>
                    </a:lnTo>
                    <a:close/>
                  </a:path>
                </a:pathLst>
              </a:custGeom>
              <a:solidFill>
                <a:schemeClr val="bg1"/>
              </a:solidFill>
              <a:ln>
                <a:noFill/>
              </a:ln>
              <a:extLst>
                <a:ext uri="{91240B29-F687-4F45-9708-019B960494DF}">
                  <a14:hiddenLine xmlns:a14="http://schemas.microsoft.com/office/drawing/2010/main" w="3175">
                    <a:solidFill>
                      <a:srgbClr val="000000"/>
                    </a:solidFill>
                    <a:round/>
                    <a:headEnd/>
                    <a:tailEnd/>
                  </a14:hiddenLine>
                </a:ext>
              </a:extLst>
            </p:spPr>
            <p:txBody>
              <a:bodyPr wrap="none" lIns="0" tIns="0" rIns="0" bIns="0" anchor="ctr">
                <a:spAutoFit/>
              </a:bodyPr>
              <a:lstStyle/>
              <a:p>
                <a:endParaRPr lang="en-US"/>
              </a:p>
            </p:txBody>
          </p:sp>
          <p:cxnSp>
            <p:nvCxnSpPr>
              <p:cNvPr id="95" name="AutoShape 22"/>
              <p:cNvCxnSpPr>
                <a:cxnSpLocks noChangeShapeType="1"/>
              </p:cNvCxnSpPr>
              <p:nvPr/>
            </p:nvCxnSpPr>
            <p:spPr bwMode="gray">
              <a:xfrm rot="-2400000">
                <a:off x="4275" y="1739"/>
                <a:ext cx="292" cy="147"/>
              </a:xfrm>
              <a:prstGeom prst="curvedConnector3">
                <a:avLst>
                  <a:gd name="adj1" fmla="val 49833"/>
                </a:avLst>
              </a:prstGeom>
              <a:noFill/>
              <a:ln w="9525">
                <a:solidFill>
                  <a:srgbClr val="006699"/>
                </a:solidFill>
                <a:round/>
                <a:headEnd/>
                <a:tailEnd/>
              </a:ln>
              <a:extLst>
                <a:ext uri="{909E8E84-426E-40DD-AFC4-6F175D3DCCD1}">
                  <a14:hiddenFill xmlns:a14="http://schemas.microsoft.com/office/drawing/2010/main">
                    <a:noFill/>
                  </a14:hiddenFill>
                </a:ext>
              </a:extLst>
            </p:spPr>
          </p:cxnSp>
          <p:cxnSp>
            <p:nvCxnSpPr>
              <p:cNvPr id="96" name="AutoShape 23"/>
              <p:cNvCxnSpPr>
                <a:cxnSpLocks noChangeShapeType="1"/>
              </p:cNvCxnSpPr>
              <p:nvPr/>
            </p:nvCxnSpPr>
            <p:spPr bwMode="gray">
              <a:xfrm rot="-2400000">
                <a:off x="4273" y="1812"/>
                <a:ext cx="292" cy="147"/>
              </a:xfrm>
              <a:prstGeom prst="curvedConnector3">
                <a:avLst>
                  <a:gd name="adj1" fmla="val 49833"/>
                </a:avLst>
              </a:prstGeom>
              <a:noFill/>
              <a:ln w="9525">
                <a:solidFill>
                  <a:srgbClr val="006699"/>
                </a:solidFill>
                <a:round/>
                <a:headEnd/>
                <a:tailEnd/>
              </a:ln>
              <a:extLst>
                <a:ext uri="{909E8E84-426E-40DD-AFC4-6F175D3DCCD1}">
                  <a14:hiddenFill xmlns:a14="http://schemas.microsoft.com/office/drawing/2010/main">
                    <a:noFill/>
                  </a14:hiddenFill>
                </a:ext>
              </a:extLst>
            </p:spPr>
          </p:cxnSp>
        </p:grpSp>
        <p:grpSp>
          <p:nvGrpSpPr>
            <p:cNvPr id="97" name="Group 24"/>
            <p:cNvGrpSpPr>
              <a:grpSpLocks/>
            </p:cNvGrpSpPr>
            <p:nvPr/>
          </p:nvGrpSpPr>
          <p:grpSpPr bwMode="auto">
            <a:xfrm>
              <a:off x="5672506" y="5149517"/>
              <a:ext cx="425450" cy="458788"/>
              <a:chOff x="4332" y="2562"/>
              <a:chExt cx="268" cy="289"/>
            </a:xfrm>
          </p:grpSpPr>
          <p:sp>
            <p:nvSpPr>
              <p:cNvPr id="98" name="Freeform 25"/>
              <p:cNvSpPr>
                <a:spLocks/>
              </p:cNvSpPr>
              <p:nvPr/>
            </p:nvSpPr>
            <p:spPr bwMode="gray">
              <a:xfrm>
                <a:off x="4381" y="2619"/>
                <a:ext cx="184" cy="152"/>
              </a:xfrm>
              <a:custGeom>
                <a:avLst/>
                <a:gdLst>
                  <a:gd name="T0" fmla="*/ 94 w 199"/>
                  <a:gd name="T1" fmla="*/ 0 h 177"/>
                  <a:gd name="T2" fmla="*/ 184 w 199"/>
                  <a:gd name="T3" fmla="*/ 0 h 177"/>
                  <a:gd name="T4" fmla="*/ 90 w 199"/>
                  <a:gd name="T5" fmla="*/ 152 h 177"/>
                  <a:gd name="T6" fmla="*/ 0 w 199"/>
                  <a:gd name="T7" fmla="*/ 152 h 177"/>
                  <a:gd name="T8" fmla="*/ 94 w 199"/>
                  <a:gd name="T9" fmla="*/ 0 h 177"/>
                  <a:gd name="T10" fmla="*/ 0 60000 65536"/>
                  <a:gd name="T11" fmla="*/ 0 60000 65536"/>
                  <a:gd name="T12" fmla="*/ 0 60000 65536"/>
                  <a:gd name="T13" fmla="*/ 0 60000 65536"/>
                  <a:gd name="T14" fmla="*/ 0 60000 65536"/>
                  <a:gd name="T15" fmla="*/ 0 w 199"/>
                  <a:gd name="T16" fmla="*/ 0 h 177"/>
                  <a:gd name="T17" fmla="*/ 199 w 199"/>
                  <a:gd name="T18" fmla="*/ 177 h 177"/>
                </a:gdLst>
                <a:ahLst/>
                <a:cxnLst>
                  <a:cxn ang="T10">
                    <a:pos x="T0" y="T1"/>
                  </a:cxn>
                  <a:cxn ang="T11">
                    <a:pos x="T2" y="T3"/>
                  </a:cxn>
                  <a:cxn ang="T12">
                    <a:pos x="T4" y="T5"/>
                  </a:cxn>
                  <a:cxn ang="T13">
                    <a:pos x="T6" y="T7"/>
                  </a:cxn>
                  <a:cxn ang="T14">
                    <a:pos x="T8" y="T9"/>
                  </a:cxn>
                </a:cxnLst>
                <a:rect l="T15" t="T16" r="T17" b="T18"/>
                <a:pathLst>
                  <a:path w="199" h="177">
                    <a:moveTo>
                      <a:pt x="102" y="0"/>
                    </a:moveTo>
                    <a:lnTo>
                      <a:pt x="199" y="0"/>
                    </a:lnTo>
                    <a:lnTo>
                      <a:pt x="97" y="177"/>
                    </a:lnTo>
                    <a:lnTo>
                      <a:pt x="0" y="177"/>
                    </a:lnTo>
                    <a:lnTo>
                      <a:pt x="102" y="0"/>
                    </a:lnTo>
                    <a:close/>
                  </a:path>
                </a:pathLst>
              </a:custGeom>
              <a:solidFill>
                <a:schemeClr val="bg1"/>
              </a:solidFill>
              <a:ln>
                <a:noFill/>
              </a:ln>
              <a:extLst>
                <a:ext uri="{91240B29-F687-4F45-9708-019B960494DF}">
                  <a14:hiddenLine xmlns:a14="http://schemas.microsoft.com/office/drawing/2010/main" w="3175">
                    <a:solidFill>
                      <a:srgbClr val="000000"/>
                    </a:solidFill>
                    <a:round/>
                    <a:headEnd/>
                    <a:tailEnd/>
                  </a14:hiddenLine>
                </a:ext>
              </a:extLst>
            </p:spPr>
            <p:txBody>
              <a:bodyPr wrap="none" lIns="0" tIns="0" rIns="0" bIns="0" anchor="ctr">
                <a:spAutoFit/>
              </a:bodyPr>
              <a:lstStyle/>
              <a:p>
                <a:endParaRPr lang="en-US"/>
              </a:p>
            </p:txBody>
          </p:sp>
          <p:sp>
            <p:nvSpPr>
              <p:cNvPr id="99" name="Line 26"/>
              <p:cNvSpPr>
                <a:spLocks noChangeShapeType="1"/>
              </p:cNvSpPr>
              <p:nvPr/>
            </p:nvSpPr>
            <p:spPr bwMode="gray">
              <a:xfrm flipV="1">
                <a:off x="4332" y="2562"/>
                <a:ext cx="180" cy="289"/>
              </a:xfrm>
              <a:prstGeom prst="line">
                <a:avLst/>
              </a:prstGeom>
              <a:noFill/>
              <a:ln w="6350">
                <a:solidFill>
                  <a:srgbClr val="006699"/>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en-US"/>
              </a:p>
            </p:txBody>
          </p:sp>
          <p:sp>
            <p:nvSpPr>
              <p:cNvPr id="100" name="Line 27"/>
              <p:cNvSpPr>
                <a:spLocks noChangeShapeType="1"/>
              </p:cNvSpPr>
              <p:nvPr/>
            </p:nvSpPr>
            <p:spPr bwMode="gray">
              <a:xfrm flipV="1">
                <a:off x="4420" y="2562"/>
                <a:ext cx="180" cy="289"/>
              </a:xfrm>
              <a:prstGeom prst="line">
                <a:avLst/>
              </a:prstGeom>
              <a:noFill/>
              <a:ln w="6350">
                <a:solidFill>
                  <a:srgbClr val="006699"/>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en-US"/>
              </a:p>
            </p:txBody>
          </p:sp>
        </p:grpSp>
        <p:grpSp>
          <p:nvGrpSpPr>
            <p:cNvPr id="101" name="Group 28"/>
            <p:cNvGrpSpPr>
              <a:grpSpLocks/>
            </p:cNvGrpSpPr>
            <p:nvPr/>
          </p:nvGrpSpPr>
          <p:grpSpPr bwMode="auto">
            <a:xfrm>
              <a:off x="5582019" y="4376405"/>
              <a:ext cx="541337" cy="623887"/>
              <a:chOff x="2368" y="2026"/>
              <a:chExt cx="341" cy="393"/>
            </a:xfrm>
          </p:grpSpPr>
          <p:sp>
            <p:nvSpPr>
              <p:cNvPr id="102" name="Freeform 29"/>
              <p:cNvSpPr>
                <a:spLocks/>
              </p:cNvSpPr>
              <p:nvPr/>
            </p:nvSpPr>
            <p:spPr bwMode="gray">
              <a:xfrm>
                <a:off x="2384" y="2131"/>
                <a:ext cx="312" cy="179"/>
              </a:xfrm>
              <a:custGeom>
                <a:avLst/>
                <a:gdLst>
                  <a:gd name="T0" fmla="*/ 121 w 191"/>
                  <a:gd name="T1" fmla="*/ 26 h 196"/>
                  <a:gd name="T2" fmla="*/ 170 w 191"/>
                  <a:gd name="T3" fmla="*/ 74 h 196"/>
                  <a:gd name="T4" fmla="*/ 229 w 191"/>
                  <a:gd name="T5" fmla="*/ 0 h 196"/>
                  <a:gd name="T6" fmla="*/ 312 w 191"/>
                  <a:gd name="T7" fmla="*/ 0 h 196"/>
                  <a:gd name="T8" fmla="*/ 191 w 191"/>
                  <a:gd name="T9" fmla="*/ 162 h 196"/>
                  <a:gd name="T10" fmla="*/ 142 w 191"/>
                  <a:gd name="T11" fmla="*/ 111 h 196"/>
                  <a:gd name="T12" fmla="*/ 88 w 191"/>
                  <a:gd name="T13" fmla="*/ 179 h 196"/>
                  <a:gd name="T14" fmla="*/ 70 w 191"/>
                  <a:gd name="T15" fmla="*/ 176 h 196"/>
                  <a:gd name="T16" fmla="*/ 0 w 191"/>
                  <a:gd name="T17" fmla="*/ 176 h 196"/>
                  <a:gd name="T18" fmla="*/ 121 w 191"/>
                  <a:gd name="T19" fmla="*/ 26 h 1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1"/>
                  <a:gd name="T31" fmla="*/ 0 h 196"/>
                  <a:gd name="T32" fmla="*/ 191 w 191"/>
                  <a:gd name="T33" fmla="*/ 196 h 1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1" h="196">
                    <a:moveTo>
                      <a:pt x="74" y="28"/>
                    </a:moveTo>
                    <a:lnTo>
                      <a:pt x="104" y="81"/>
                    </a:lnTo>
                    <a:lnTo>
                      <a:pt x="140" y="0"/>
                    </a:lnTo>
                    <a:lnTo>
                      <a:pt x="191" y="0"/>
                    </a:lnTo>
                    <a:lnTo>
                      <a:pt x="117" y="177"/>
                    </a:lnTo>
                    <a:lnTo>
                      <a:pt x="87" y="121"/>
                    </a:lnTo>
                    <a:lnTo>
                      <a:pt x="54" y="196"/>
                    </a:lnTo>
                    <a:lnTo>
                      <a:pt x="43" y="193"/>
                    </a:lnTo>
                    <a:lnTo>
                      <a:pt x="0" y="193"/>
                    </a:lnTo>
                    <a:lnTo>
                      <a:pt x="74" y="28"/>
                    </a:lnTo>
                    <a:close/>
                  </a:path>
                </a:pathLst>
              </a:custGeom>
              <a:solidFill>
                <a:schemeClr val="bg1"/>
              </a:solidFill>
              <a:ln>
                <a:noFill/>
              </a:ln>
              <a:extLst>
                <a:ext uri="{91240B29-F687-4F45-9708-019B960494DF}">
                  <a14:hiddenLine xmlns:a14="http://schemas.microsoft.com/office/drawing/2010/main" w="3175">
                    <a:solidFill>
                      <a:srgbClr val="000000"/>
                    </a:solidFill>
                    <a:round/>
                    <a:headEnd/>
                    <a:tailEnd/>
                  </a14:hiddenLine>
                </a:ext>
              </a:extLst>
            </p:spPr>
            <p:txBody>
              <a:bodyPr wrap="none" lIns="0" tIns="0" rIns="0" bIns="0" anchor="ctr">
                <a:spAutoFit/>
              </a:bodyPr>
              <a:lstStyle/>
              <a:p>
                <a:endParaRPr lang="en-US"/>
              </a:p>
            </p:txBody>
          </p:sp>
          <p:grpSp>
            <p:nvGrpSpPr>
              <p:cNvPr id="103" name="Group 30"/>
              <p:cNvGrpSpPr>
                <a:grpSpLocks/>
              </p:cNvGrpSpPr>
              <p:nvPr/>
            </p:nvGrpSpPr>
            <p:grpSpPr bwMode="auto">
              <a:xfrm>
                <a:off x="2368" y="2026"/>
                <a:ext cx="341" cy="393"/>
                <a:chOff x="5571" y="3600"/>
                <a:chExt cx="209" cy="321"/>
              </a:xfrm>
            </p:grpSpPr>
            <p:sp>
              <p:nvSpPr>
                <p:cNvPr id="104" name="Freeform 31"/>
                <p:cNvSpPr>
                  <a:spLocks/>
                </p:cNvSpPr>
                <p:nvPr/>
              </p:nvSpPr>
              <p:spPr bwMode="gray">
                <a:xfrm>
                  <a:off x="5571" y="3600"/>
                  <a:ext cx="196" cy="251"/>
                </a:xfrm>
                <a:custGeom>
                  <a:avLst/>
                  <a:gdLst>
                    <a:gd name="T0" fmla="*/ 0 w 196"/>
                    <a:gd name="T1" fmla="*/ 251 h 338"/>
                    <a:gd name="T2" fmla="*/ 84 w 196"/>
                    <a:gd name="T3" fmla="*/ 106 h 338"/>
                    <a:gd name="T4" fmla="*/ 114 w 196"/>
                    <a:gd name="T5" fmla="*/ 147 h 338"/>
                    <a:gd name="T6" fmla="*/ 196 w 196"/>
                    <a:gd name="T7" fmla="*/ 0 h 338"/>
                    <a:gd name="T8" fmla="*/ 0 60000 65536"/>
                    <a:gd name="T9" fmla="*/ 0 60000 65536"/>
                    <a:gd name="T10" fmla="*/ 0 60000 65536"/>
                    <a:gd name="T11" fmla="*/ 0 60000 65536"/>
                    <a:gd name="T12" fmla="*/ 0 w 196"/>
                    <a:gd name="T13" fmla="*/ 0 h 338"/>
                    <a:gd name="T14" fmla="*/ 196 w 196"/>
                    <a:gd name="T15" fmla="*/ 338 h 338"/>
                  </a:gdLst>
                  <a:ahLst/>
                  <a:cxnLst>
                    <a:cxn ang="T8">
                      <a:pos x="T0" y="T1"/>
                    </a:cxn>
                    <a:cxn ang="T9">
                      <a:pos x="T2" y="T3"/>
                    </a:cxn>
                    <a:cxn ang="T10">
                      <a:pos x="T4" y="T5"/>
                    </a:cxn>
                    <a:cxn ang="T11">
                      <a:pos x="T6" y="T7"/>
                    </a:cxn>
                  </a:cxnLst>
                  <a:rect l="T12" t="T13" r="T14" b="T15"/>
                  <a:pathLst>
                    <a:path w="196" h="338">
                      <a:moveTo>
                        <a:pt x="0" y="338"/>
                      </a:moveTo>
                      <a:lnTo>
                        <a:pt x="84" y="143"/>
                      </a:lnTo>
                      <a:lnTo>
                        <a:pt x="114" y="198"/>
                      </a:lnTo>
                      <a:lnTo>
                        <a:pt x="196" y="0"/>
                      </a:lnTo>
                    </a:path>
                  </a:pathLst>
                </a:custGeom>
                <a:noFill/>
                <a:ln w="6350">
                  <a:solidFill>
                    <a:srgbClr val="006699"/>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endParaRPr lang="en-US"/>
                </a:p>
              </p:txBody>
            </p:sp>
            <p:sp>
              <p:nvSpPr>
                <p:cNvPr id="105" name="Freeform 32"/>
                <p:cNvSpPr>
                  <a:spLocks/>
                </p:cNvSpPr>
                <p:nvPr/>
              </p:nvSpPr>
              <p:spPr bwMode="gray">
                <a:xfrm>
                  <a:off x="5584" y="3670"/>
                  <a:ext cx="196" cy="251"/>
                </a:xfrm>
                <a:custGeom>
                  <a:avLst/>
                  <a:gdLst>
                    <a:gd name="T0" fmla="*/ 0 w 196"/>
                    <a:gd name="T1" fmla="*/ 251 h 338"/>
                    <a:gd name="T2" fmla="*/ 84 w 196"/>
                    <a:gd name="T3" fmla="*/ 106 h 338"/>
                    <a:gd name="T4" fmla="*/ 114 w 196"/>
                    <a:gd name="T5" fmla="*/ 147 h 338"/>
                    <a:gd name="T6" fmla="*/ 196 w 196"/>
                    <a:gd name="T7" fmla="*/ 0 h 338"/>
                    <a:gd name="T8" fmla="*/ 0 60000 65536"/>
                    <a:gd name="T9" fmla="*/ 0 60000 65536"/>
                    <a:gd name="T10" fmla="*/ 0 60000 65536"/>
                    <a:gd name="T11" fmla="*/ 0 60000 65536"/>
                    <a:gd name="T12" fmla="*/ 0 w 196"/>
                    <a:gd name="T13" fmla="*/ 0 h 338"/>
                    <a:gd name="T14" fmla="*/ 196 w 196"/>
                    <a:gd name="T15" fmla="*/ 338 h 338"/>
                  </a:gdLst>
                  <a:ahLst/>
                  <a:cxnLst>
                    <a:cxn ang="T8">
                      <a:pos x="T0" y="T1"/>
                    </a:cxn>
                    <a:cxn ang="T9">
                      <a:pos x="T2" y="T3"/>
                    </a:cxn>
                    <a:cxn ang="T10">
                      <a:pos x="T4" y="T5"/>
                    </a:cxn>
                    <a:cxn ang="T11">
                      <a:pos x="T6" y="T7"/>
                    </a:cxn>
                  </a:cxnLst>
                  <a:rect l="T12" t="T13" r="T14" b="T15"/>
                  <a:pathLst>
                    <a:path w="196" h="338">
                      <a:moveTo>
                        <a:pt x="0" y="338"/>
                      </a:moveTo>
                      <a:lnTo>
                        <a:pt x="84" y="143"/>
                      </a:lnTo>
                      <a:lnTo>
                        <a:pt x="114" y="198"/>
                      </a:lnTo>
                      <a:lnTo>
                        <a:pt x="196" y="0"/>
                      </a:lnTo>
                    </a:path>
                  </a:pathLst>
                </a:custGeom>
                <a:noFill/>
                <a:ln w="6350">
                  <a:solidFill>
                    <a:srgbClr val="006699"/>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endParaRPr lang="en-US"/>
                </a:p>
              </p:txBody>
            </p:sp>
          </p:grpSp>
        </p:grpSp>
        <p:grpSp>
          <p:nvGrpSpPr>
            <p:cNvPr id="106" name="Group 33"/>
            <p:cNvGrpSpPr>
              <a:grpSpLocks/>
            </p:cNvGrpSpPr>
            <p:nvPr/>
          </p:nvGrpSpPr>
          <p:grpSpPr bwMode="auto">
            <a:xfrm rot="5400000" flipH="1">
              <a:off x="6644056" y="3806493"/>
              <a:ext cx="466725" cy="349250"/>
              <a:chOff x="4273" y="1739"/>
              <a:chExt cx="294" cy="220"/>
            </a:xfrm>
          </p:grpSpPr>
          <p:sp>
            <p:nvSpPr>
              <p:cNvPr id="107" name="Freeform 34"/>
              <p:cNvSpPr>
                <a:spLocks/>
              </p:cNvSpPr>
              <p:nvPr/>
            </p:nvSpPr>
            <p:spPr bwMode="gray">
              <a:xfrm rot="3000000">
                <a:off x="4307" y="1768"/>
                <a:ext cx="172" cy="163"/>
              </a:xfrm>
              <a:custGeom>
                <a:avLst/>
                <a:gdLst>
                  <a:gd name="T0" fmla="*/ 88 w 199"/>
                  <a:gd name="T1" fmla="*/ 0 h 177"/>
                  <a:gd name="T2" fmla="*/ 172 w 199"/>
                  <a:gd name="T3" fmla="*/ 0 h 177"/>
                  <a:gd name="T4" fmla="*/ 84 w 199"/>
                  <a:gd name="T5" fmla="*/ 163 h 177"/>
                  <a:gd name="T6" fmla="*/ 0 w 199"/>
                  <a:gd name="T7" fmla="*/ 163 h 177"/>
                  <a:gd name="T8" fmla="*/ 88 w 199"/>
                  <a:gd name="T9" fmla="*/ 0 h 177"/>
                  <a:gd name="T10" fmla="*/ 0 60000 65536"/>
                  <a:gd name="T11" fmla="*/ 0 60000 65536"/>
                  <a:gd name="T12" fmla="*/ 0 60000 65536"/>
                  <a:gd name="T13" fmla="*/ 0 60000 65536"/>
                  <a:gd name="T14" fmla="*/ 0 60000 65536"/>
                  <a:gd name="T15" fmla="*/ 0 w 199"/>
                  <a:gd name="T16" fmla="*/ 0 h 177"/>
                  <a:gd name="T17" fmla="*/ 199 w 199"/>
                  <a:gd name="T18" fmla="*/ 177 h 177"/>
                </a:gdLst>
                <a:ahLst/>
                <a:cxnLst>
                  <a:cxn ang="T10">
                    <a:pos x="T0" y="T1"/>
                  </a:cxn>
                  <a:cxn ang="T11">
                    <a:pos x="T2" y="T3"/>
                  </a:cxn>
                  <a:cxn ang="T12">
                    <a:pos x="T4" y="T5"/>
                  </a:cxn>
                  <a:cxn ang="T13">
                    <a:pos x="T6" y="T7"/>
                  </a:cxn>
                  <a:cxn ang="T14">
                    <a:pos x="T8" y="T9"/>
                  </a:cxn>
                </a:cxnLst>
                <a:rect l="T15" t="T16" r="T17" b="T18"/>
                <a:pathLst>
                  <a:path w="199" h="177">
                    <a:moveTo>
                      <a:pt x="102" y="0"/>
                    </a:moveTo>
                    <a:lnTo>
                      <a:pt x="199" y="0"/>
                    </a:lnTo>
                    <a:lnTo>
                      <a:pt x="97" y="177"/>
                    </a:lnTo>
                    <a:lnTo>
                      <a:pt x="0" y="177"/>
                    </a:lnTo>
                    <a:lnTo>
                      <a:pt x="102" y="0"/>
                    </a:lnTo>
                    <a:close/>
                  </a:path>
                </a:pathLst>
              </a:custGeom>
              <a:solidFill>
                <a:schemeClr val="bg1"/>
              </a:solidFill>
              <a:ln>
                <a:noFill/>
              </a:ln>
              <a:extLst>
                <a:ext uri="{91240B29-F687-4F45-9708-019B960494DF}">
                  <a14:hiddenLine xmlns:a14="http://schemas.microsoft.com/office/drawing/2010/main" w="3175">
                    <a:solidFill>
                      <a:srgbClr val="000000"/>
                    </a:solidFill>
                    <a:round/>
                    <a:headEnd/>
                    <a:tailEnd/>
                  </a14:hiddenLine>
                </a:ext>
              </a:extLst>
            </p:spPr>
            <p:txBody>
              <a:bodyPr wrap="none" lIns="0" tIns="0" rIns="0" bIns="0" anchor="ctr">
                <a:spAutoFit/>
              </a:bodyPr>
              <a:lstStyle/>
              <a:p>
                <a:endParaRPr lang="en-US"/>
              </a:p>
            </p:txBody>
          </p:sp>
          <p:cxnSp>
            <p:nvCxnSpPr>
              <p:cNvPr id="108" name="AutoShape 35"/>
              <p:cNvCxnSpPr>
                <a:cxnSpLocks noChangeShapeType="1"/>
              </p:cNvCxnSpPr>
              <p:nvPr/>
            </p:nvCxnSpPr>
            <p:spPr bwMode="gray">
              <a:xfrm rot="-2400000">
                <a:off x="4275" y="1739"/>
                <a:ext cx="292" cy="147"/>
              </a:xfrm>
              <a:prstGeom prst="curvedConnector3">
                <a:avLst>
                  <a:gd name="adj1" fmla="val 49833"/>
                </a:avLst>
              </a:prstGeom>
              <a:noFill/>
              <a:ln w="9525">
                <a:solidFill>
                  <a:srgbClr val="006699"/>
                </a:solidFill>
                <a:round/>
                <a:headEnd/>
                <a:tailEnd/>
              </a:ln>
              <a:extLst>
                <a:ext uri="{909E8E84-426E-40DD-AFC4-6F175D3DCCD1}">
                  <a14:hiddenFill xmlns:a14="http://schemas.microsoft.com/office/drawing/2010/main">
                    <a:noFill/>
                  </a14:hiddenFill>
                </a:ext>
              </a:extLst>
            </p:spPr>
          </p:cxnSp>
          <p:cxnSp>
            <p:nvCxnSpPr>
              <p:cNvPr id="109" name="AutoShape 36"/>
              <p:cNvCxnSpPr>
                <a:cxnSpLocks noChangeShapeType="1"/>
              </p:cNvCxnSpPr>
              <p:nvPr/>
            </p:nvCxnSpPr>
            <p:spPr bwMode="gray">
              <a:xfrm rot="-2400000">
                <a:off x="4273" y="1812"/>
                <a:ext cx="292" cy="147"/>
              </a:xfrm>
              <a:prstGeom prst="curvedConnector3">
                <a:avLst>
                  <a:gd name="adj1" fmla="val 49833"/>
                </a:avLst>
              </a:prstGeom>
              <a:noFill/>
              <a:ln w="9525">
                <a:solidFill>
                  <a:srgbClr val="006699"/>
                </a:solidFill>
                <a:round/>
                <a:headEnd/>
                <a:tailEnd/>
              </a:ln>
              <a:extLst>
                <a:ext uri="{909E8E84-426E-40DD-AFC4-6F175D3DCCD1}">
                  <a14:hiddenFill xmlns:a14="http://schemas.microsoft.com/office/drawing/2010/main">
                    <a:noFill/>
                  </a14:hiddenFill>
                </a:ext>
              </a:extLst>
            </p:spPr>
          </p:cxnSp>
        </p:grpSp>
        <p:grpSp>
          <p:nvGrpSpPr>
            <p:cNvPr id="110" name="Group 37"/>
            <p:cNvGrpSpPr>
              <a:grpSpLocks/>
            </p:cNvGrpSpPr>
            <p:nvPr/>
          </p:nvGrpSpPr>
          <p:grpSpPr bwMode="auto">
            <a:xfrm rot="16200000" flipH="1">
              <a:off x="6736925" y="5136023"/>
              <a:ext cx="425450" cy="458788"/>
              <a:chOff x="4332" y="2562"/>
              <a:chExt cx="268" cy="289"/>
            </a:xfrm>
          </p:grpSpPr>
          <p:sp>
            <p:nvSpPr>
              <p:cNvPr id="111" name="Freeform 38"/>
              <p:cNvSpPr>
                <a:spLocks/>
              </p:cNvSpPr>
              <p:nvPr/>
            </p:nvSpPr>
            <p:spPr bwMode="gray">
              <a:xfrm>
                <a:off x="4381" y="2619"/>
                <a:ext cx="184" cy="152"/>
              </a:xfrm>
              <a:custGeom>
                <a:avLst/>
                <a:gdLst>
                  <a:gd name="T0" fmla="*/ 94 w 199"/>
                  <a:gd name="T1" fmla="*/ 0 h 177"/>
                  <a:gd name="T2" fmla="*/ 184 w 199"/>
                  <a:gd name="T3" fmla="*/ 0 h 177"/>
                  <a:gd name="T4" fmla="*/ 90 w 199"/>
                  <a:gd name="T5" fmla="*/ 152 h 177"/>
                  <a:gd name="T6" fmla="*/ 0 w 199"/>
                  <a:gd name="T7" fmla="*/ 152 h 177"/>
                  <a:gd name="T8" fmla="*/ 94 w 199"/>
                  <a:gd name="T9" fmla="*/ 0 h 177"/>
                  <a:gd name="T10" fmla="*/ 0 60000 65536"/>
                  <a:gd name="T11" fmla="*/ 0 60000 65536"/>
                  <a:gd name="T12" fmla="*/ 0 60000 65536"/>
                  <a:gd name="T13" fmla="*/ 0 60000 65536"/>
                  <a:gd name="T14" fmla="*/ 0 60000 65536"/>
                  <a:gd name="T15" fmla="*/ 0 w 199"/>
                  <a:gd name="T16" fmla="*/ 0 h 177"/>
                  <a:gd name="T17" fmla="*/ 199 w 199"/>
                  <a:gd name="T18" fmla="*/ 177 h 177"/>
                </a:gdLst>
                <a:ahLst/>
                <a:cxnLst>
                  <a:cxn ang="T10">
                    <a:pos x="T0" y="T1"/>
                  </a:cxn>
                  <a:cxn ang="T11">
                    <a:pos x="T2" y="T3"/>
                  </a:cxn>
                  <a:cxn ang="T12">
                    <a:pos x="T4" y="T5"/>
                  </a:cxn>
                  <a:cxn ang="T13">
                    <a:pos x="T6" y="T7"/>
                  </a:cxn>
                  <a:cxn ang="T14">
                    <a:pos x="T8" y="T9"/>
                  </a:cxn>
                </a:cxnLst>
                <a:rect l="T15" t="T16" r="T17" b="T18"/>
                <a:pathLst>
                  <a:path w="199" h="177">
                    <a:moveTo>
                      <a:pt x="102" y="0"/>
                    </a:moveTo>
                    <a:lnTo>
                      <a:pt x="199" y="0"/>
                    </a:lnTo>
                    <a:lnTo>
                      <a:pt x="97" y="177"/>
                    </a:lnTo>
                    <a:lnTo>
                      <a:pt x="0" y="177"/>
                    </a:lnTo>
                    <a:lnTo>
                      <a:pt x="102" y="0"/>
                    </a:lnTo>
                    <a:close/>
                  </a:path>
                </a:pathLst>
              </a:custGeom>
              <a:solidFill>
                <a:schemeClr val="bg1"/>
              </a:solidFill>
              <a:ln>
                <a:noFill/>
              </a:ln>
              <a:extLst>
                <a:ext uri="{91240B29-F687-4F45-9708-019B960494DF}">
                  <a14:hiddenLine xmlns:a14="http://schemas.microsoft.com/office/drawing/2010/main" w="3175">
                    <a:solidFill>
                      <a:srgbClr val="000000"/>
                    </a:solidFill>
                    <a:round/>
                    <a:headEnd/>
                    <a:tailEnd/>
                  </a14:hiddenLine>
                </a:ext>
              </a:extLst>
            </p:spPr>
            <p:txBody>
              <a:bodyPr wrap="none" lIns="0" tIns="0" rIns="0" bIns="0" anchor="ctr">
                <a:spAutoFit/>
              </a:bodyPr>
              <a:lstStyle/>
              <a:p>
                <a:endParaRPr lang="en-US"/>
              </a:p>
            </p:txBody>
          </p:sp>
          <p:sp>
            <p:nvSpPr>
              <p:cNvPr id="112" name="Line 39"/>
              <p:cNvSpPr>
                <a:spLocks noChangeShapeType="1"/>
              </p:cNvSpPr>
              <p:nvPr/>
            </p:nvSpPr>
            <p:spPr bwMode="gray">
              <a:xfrm flipV="1">
                <a:off x="4332" y="2562"/>
                <a:ext cx="180" cy="289"/>
              </a:xfrm>
              <a:prstGeom prst="line">
                <a:avLst/>
              </a:prstGeom>
              <a:noFill/>
              <a:ln w="6350">
                <a:solidFill>
                  <a:srgbClr val="006699"/>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en-US"/>
              </a:p>
            </p:txBody>
          </p:sp>
          <p:sp>
            <p:nvSpPr>
              <p:cNvPr id="113" name="Line 40"/>
              <p:cNvSpPr>
                <a:spLocks noChangeShapeType="1"/>
              </p:cNvSpPr>
              <p:nvPr/>
            </p:nvSpPr>
            <p:spPr bwMode="gray">
              <a:xfrm flipV="1">
                <a:off x="4420" y="2562"/>
                <a:ext cx="180" cy="289"/>
              </a:xfrm>
              <a:prstGeom prst="line">
                <a:avLst/>
              </a:prstGeom>
              <a:noFill/>
              <a:ln w="6350">
                <a:solidFill>
                  <a:srgbClr val="006699"/>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en-US"/>
              </a:p>
            </p:txBody>
          </p:sp>
        </p:grpSp>
        <p:grpSp>
          <p:nvGrpSpPr>
            <p:cNvPr id="114" name="Group 41"/>
            <p:cNvGrpSpPr>
              <a:grpSpLocks/>
            </p:cNvGrpSpPr>
            <p:nvPr/>
          </p:nvGrpSpPr>
          <p:grpSpPr bwMode="auto">
            <a:xfrm rot="5400000" flipH="1">
              <a:off x="6647231" y="4385930"/>
              <a:ext cx="541337" cy="623888"/>
              <a:chOff x="2368" y="2026"/>
              <a:chExt cx="341" cy="393"/>
            </a:xfrm>
          </p:grpSpPr>
          <p:sp>
            <p:nvSpPr>
              <p:cNvPr id="115" name="Freeform 42"/>
              <p:cNvSpPr>
                <a:spLocks/>
              </p:cNvSpPr>
              <p:nvPr/>
            </p:nvSpPr>
            <p:spPr bwMode="gray">
              <a:xfrm>
                <a:off x="2384" y="2131"/>
                <a:ext cx="312" cy="179"/>
              </a:xfrm>
              <a:custGeom>
                <a:avLst/>
                <a:gdLst>
                  <a:gd name="T0" fmla="*/ 121 w 191"/>
                  <a:gd name="T1" fmla="*/ 26 h 196"/>
                  <a:gd name="T2" fmla="*/ 170 w 191"/>
                  <a:gd name="T3" fmla="*/ 74 h 196"/>
                  <a:gd name="T4" fmla="*/ 229 w 191"/>
                  <a:gd name="T5" fmla="*/ 0 h 196"/>
                  <a:gd name="T6" fmla="*/ 312 w 191"/>
                  <a:gd name="T7" fmla="*/ 0 h 196"/>
                  <a:gd name="T8" fmla="*/ 191 w 191"/>
                  <a:gd name="T9" fmla="*/ 162 h 196"/>
                  <a:gd name="T10" fmla="*/ 142 w 191"/>
                  <a:gd name="T11" fmla="*/ 111 h 196"/>
                  <a:gd name="T12" fmla="*/ 88 w 191"/>
                  <a:gd name="T13" fmla="*/ 179 h 196"/>
                  <a:gd name="T14" fmla="*/ 70 w 191"/>
                  <a:gd name="T15" fmla="*/ 176 h 196"/>
                  <a:gd name="T16" fmla="*/ 0 w 191"/>
                  <a:gd name="T17" fmla="*/ 176 h 196"/>
                  <a:gd name="T18" fmla="*/ 121 w 191"/>
                  <a:gd name="T19" fmla="*/ 26 h 1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1"/>
                  <a:gd name="T31" fmla="*/ 0 h 196"/>
                  <a:gd name="T32" fmla="*/ 191 w 191"/>
                  <a:gd name="T33" fmla="*/ 196 h 1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1" h="196">
                    <a:moveTo>
                      <a:pt x="74" y="28"/>
                    </a:moveTo>
                    <a:lnTo>
                      <a:pt x="104" y="81"/>
                    </a:lnTo>
                    <a:lnTo>
                      <a:pt x="140" y="0"/>
                    </a:lnTo>
                    <a:lnTo>
                      <a:pt x="191" y="0"/>
                    </a:lnTo>
                    <a:lnTo>
                      <a:pt x="117" y="177"/>
                    </a:lnTo>
                    <a:lnTo>
                      <a:pt x="87" y="121"/>
                    </a:lnTo>
                    <a:lnTo>
                      <a:pt x="54" y="196"/>
                    </a:lnTo>
                    <a:lnTo>
                      <a:pt x="43" y="193"/>
                    </a:lnTo>
                    <a:lnTo>
                      <a:pt x="0" y="193"/>
                    </a:lnTo>
                    <a:lnTo>
                      <a:pt x="74" y="28"/>
                    </a:lnTo>
                    <a:close/>
                  </a:path>
                </a:pathLst>
              </a:custGeom>
              <a:solidFill>
                <a:schemeClr val="bg1"/>
              </a:solidFill>
              <a:ln>
                <a:noFill/>
              </a:ln>
              <a:extLst>
                <a:ext uri="{91240B29-F687-4F45-9708-019B960494DF}">
                  <a14:hiddenLine xmlns:a14="http://schemas.microsoft.com/office/drawing/2010/main" w="3175">
                    <a:solidFill>
                      <a:srgbClr val="000000"/>
                    </a:solidFill>
                    <a:round/>
                    <a:headEnd/>
                    <a:tailEnd/>
                  </a14:hiddenLine>
                </a:ext>
              </a:extLst>
            </p:spPr>
            <p:txBody>
              <a:bodyPr wrap="none" lIns="0" tIns="0" rIns="0" bIns="0" anchor="ctr">
                <a:spAutoFit/>
              </a:bodyPr>
              <a:lstStyle/>
              <a:p>
                <a:endParaRPr lang="en-US"/>
              </a:p>
            </p:txBody>
          </p:sp>
          <p:grpSp>
            <p:nvGrpSpPr>
              <p:cNvPr id="116" name="Group 43"/>
              <p:cNvGrpSpPr>
                <a:grpSpLocks/>
              </p:cNvGrpSpPr>
              <p:nvPr/>
            </p:nvGrpSpPr>
            <p:grpSpPr bwMode="auto">
              <a:xfrm>
                <a:off x="2368" y="2026"/>
                <a:ext cx="341" cy="393"/>
                <a:chOff x="5571" y="3600"/>
                <a:chExt cx="209" cy="321"/>
              </a:xfrm>
            </p:grpSpPr>
            <p:sp>
              <p:nvSpPr>
                <p:cNvPr id="117" name="Freeform 44"/>
                <p:cNvSpPr>
                  <a:spLocks/>
                </p:cNvSpPr>
                <p:nvPr/>
              </p:nvSpPr>
              <p:spPr bwMode="gray">
                <a:xfrm>
                  <a:off x="5571" y="3600"/>
                  <a:ext cx="196" cy="251"/>
                </a:xfrm>
                <a:custGeom>
                  <a:avLst/>
                  <a:gdLst>
                    <a:gd name="T0" fmla="*/ 0 w 196"/>
                    <a:gd name="T1" fmla="*/ 251 h 338"/>
                    <a:gd name="T2" fmla="*/ 84 w 196"/>
                    <a:gd name="T3" fmla="*/ 106 h 338"/>
                    <a:gd name="T4" fmla="*/ 114 w 196"/>
                    <a:gd name="T5" fmla="*/ 147 h 338"/>
                    <a:gd name="T6" fmla="*/ 196 w 196"/>
                    <a:gd name="T7" fmla="*/ 0 h 338"/>
                    <a:gd name="T8" fmla="*/ 0 60000 65536"/>
                    <a:gd name="T9" fmla="*/ 0 60000 65536"/>
                    <a:gd name="T10" fmla="*/ 0 60000 65536"/>
                    <a:gd name="T11" fmla="*/ 0 60000 65536"/>
                    <a:gd name="T12" fmla="*/ 0 w 196"/>
                    <a:gd name="T13" fmla="*/ 0 h 338"/>
                    <a:gd name="T14" fmla="*/ 196 w 196"/>
                    <a:gd name="T15" fmla="*/ 338 h 338"/>
                  </a:gdLst>
                  <a:ahLst/>
                  <a:cxnLst>
                    <a:cxn ang="T8">
                      <a:pos x="T0" y="T1"/>
                    </a:cxn>
                    <a:cxn ang="T9">
                      <a:pos x="T2" y="T3"/>
                    </a:cxn>
                    <a:cxn ang="T10">
                      <a:pos x="T4" y="T5"/>
                    </a:cxn>
                    <a:cxn ang="T11">
                      <a:pos x="T6" y="T7"/>
                    </a:cxn>
                  </a:cxnLst>
                  <a:rect l="T12" t="T13" r="T14" b="T15"/>
                  <a:pathLst>
                    <a:path w="196" h="338">
                      <a:moveTo>
                        <a:pt x="0" y="338"/>
                      </a:moveTo>
                      <a:lnTo>
                        <a:pt x="84" y="143"/>
                      </a:lnTo>
                      <a:lnTo>
                        <a:pt x="114" y="198"/>
                      </a:lnTo>
                      <a:lnTo>
                        <a:pt x="196" y="0"/>
                      </a:lnTo>
                    </a:path>
                  </a:pathLst>
                </a:custGeom>
                <a:noFill/>
                <a:ln w="6350">
                  <a:solidFill>
                    <a:srgbClr val="006699"/>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endParaRPr lang="en-US"/>
                </a:p>
              </p:txBody>
            </p:sp>
            <p:sp>
              <p:nvSpPr>
                <p:cNvPr id="118" name="Freeform 45"/>
                <p:cNvSpPr>
                  <a:spLocks/>
                </p:cNvSpPr>
                <p:nvPr/>
              </p:nvSpPr>
              <p:spPr bwMode="gray">
                <a:xfrm>
                  <a:off x="5584" y="3670"/>
                  <a:ext cx="196" cy="251"/>
                </a:xfrm>
                <a:custGeom>
                  <a:avLst/>
                  <a:gdLst>
                    <a:gd name="T0" fmla="*/ 0 w 196"/>
                    <a:gd name="T1" fmla="*/ 251 h 338"/>
                    <a:gd name="T2" fmla="*/ 84 w 196"/>
                    <a:gd name="T3" fmla="*/ 106 h 338"/>
                    <a:gd name="T4" fmla="*/ 114 w 196"/>
                    <a:gd name="T5" fmla="*/ 147 h 338"/>
                    <a:gd name="T6" fmla="*/ 196 w 196"/>
                    <a:gd name="T7" fmla="*/ 0 h 338"/>
                    <a:gd name="T8" fmla="*/ 0 60000 65536"/>
                    <a:gd name="T9" fmla="*/ 0 60000 65536"/>
                    <a:gd name="T10" fmla="*/ 0 60000 65536"/>
                    <a:gd name="T11" fmla="*/ 0 60000 65536"/>
                    <a:gd name="T12" fmla="*/ 0 w 196"/>
                    <a:gd name="T13" fmla="*/ 0 h 338"/>
                    <a:gd name="T14" fmla="*/ 196 w 196"/>
                    <a:gd name="T15" fmla="*/ 338 h 338"/>
                  </a:gdLst>
                  <a:ahLst/>
                  <a:cxnLst>
                    <a:cxn ang="T8">
                      <a:pos x="T0" y="T1"/>
                    </a:cxn>
                    <a:cxn ang="T9">
                      <a:pos x="T2" y="T3"/>
                    </a:cxn>
                    <a:cxn ang="T10">
                      <a:pos x="T4" y="T5"/>
                    </a:cxn>
                    <a:cxn ang="T11">
                      <a:pos x="T6" y="T7"/>
                    </a:cxn>
                  </a:cxnLst>
                  <a:rect l="T12" t="T13" r="T14" b="T15"/>
                  <a:pathLst>
                    <a:path w="196" h="338">
                      <a:moveTo>
                        <a:pt x="0" y="338"/>
                      </a:moveTo>
                      <a:lnTo>
                        <a:pt x="84" y="143"/>
                      </a:lnTo>
                      <a:lnTo>
                        <a:pt x="114" y="198"/>
                      </a:lnTo>
                      <a:lnTo>
                        <a:pt x="196" y="0"/>
                      </a:lnTo>
                    </a:path>
                  </a:pathLst>
                </a:custGeom>
                <a:noFill/>
                <a:ln w="6350">
                  <a:solidFill>
                    <a:srgbClr val="006699"/>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endParaRPr lang="en-US"/>
                </a:p>
              </p:txBody>
            </p:sp>
          </p:grpSp>
        </p:grpSp>
        <p:sp>
          <p:nvSpPr>
            <p:cNvPr id="22" name="Rectangle 21"/>
            <p:cNvSpPr/>
            <p:nvPr/>
          </p:nvSpPr>
          <p:spPr>
            <a:xfrm>
              <a:off x="5335414" y="3622497"/>
              <a:ext cx="2074127" cy="21892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Group 3"/>
          <p:cNvGrpSpPr>
            <a:grpSpLocks/>
          </p:cNvGrpSpPr>
          <p:nvPr/>
        </p:nvGrpSpPr>
        <p:grpSpPr bwMode="auto">
          <a:xfrm>
            <a:off x="5666123" y="4180368"/>
            <a:ext cx="1352550" cy="1452562"/>
            <a:chOff x="1680" y="1197"/>
            <a:chExt cx="852" cy="915"/>
          </a:xfrm>
        </p:grpSpPr>
        <p:sp>
          <p:nvSpPr>
            <p:cNvPr id="120" name="AutoShape 4"/>
            <p:cNvSpPr>
              <a:spLocks noChangeArrowheads="1"/>
            </p:cNvSpPr>
            <p:nvPr/>
          </p:nvSpPr>
          <p:spPr bwMode="auto">
            <a:xfrm>
              <a:off x="1680" y="1197"/>
              <a:ext cx="852" cy="915"/>
            </a:xfrm>
            <a:prstGeom prst="roundRect">
              <a:avLst>
                <a:gd name="adj" fmla="val 16667"/>
              </a:avLst>
            </a:prstGeom>
            <a:noFill/>
            <a:ln w="6350">
              <a:solidFill>
                <a:schemeClr val="folHlink"/>
              </a:solidFill>
              <a:prstDash val="dash"/>
              <a:round/>
              <a:headEnd/>
              <a:tailEnd/>
            </a:ln>
            <a:extLst>
              <a:ext uri="{909E8E84-426E-40DD-AFC4-6F175D3DCCD1}">
                <a14:hiddenFill xmlns:a14="http://schemas.microsoft.com/office/drawing/2010/main">
                  <a:solidFill>
                    <a:srgbClr val="FFFFFF"/>
                  </a:solidFill>
                </a14:hiddenFill>
              </a:ext>
            </a:extLst>
          </p:spPr>
          <p:txBody>
            <a:bodyPr lIns="45720" rIns="45720" anchorCtr="1"/>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nSpc>
                  <a:spcPct val="90000"/>
                </a:lnSpc>
                <a:spcBef>
                  <a:spcPct val="50000"/>
                </a:spcBef>
              </a:pPr>
              <a:r>
                <a:rPr lang="en-US" altLang="en-US" sz="1000" b="1"/>
                <a:t>Confidence</a:t>
              </a:r>
            </a:p>
          </p:txBody>
        </p:sp>
        <p:sp>
          <p:nvSpPr>
            <p:cNvPr id="121" name="Rectangle 5"/>
            <p:cNvSpPr>
              <a:spLocks noChangeArrowheads="1"/>
            </p:cNvSpPr>
            <p:nvPr/>
          </p:nvSpPr>
          <p:spPr bwMode="auto">
            <a:xfrm>
              <a:off x="2317" y="1410"/>
              <a:ext cx="59" cy="366"/>
            </a:xfrm>
            <a:prstGeom prst="rect">
              <a:avLst/>
            </a:prstGeom>
            <a:noFill/>
            <a:ln w="6350">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22" name="Oval 6"/>
            <p:cNvSpPr>
              <a:spLocks noChangeArrowheads="1"/>
            </p:cNvSpPr>
            <p:nvPr/>
          </p:nvSpPr>
          <p:spPr bwMode="auto">
            <a:xfrm>
              <a:off x="2278" y="1767"/>
              <a:ext cx="138" cy="130"/>
            </a:xfrm>
            <a:prstGeom prst="ellipse">
              <a:avLst/>
            </a:prstGeom>
            <a:solidFill>
              <a:srgbClr val="FF3300"/>
            </a:solidFill>
            <a:ln w="6350">
              <a:solidFill>
                <a:schemeClr val="folHlink"/>
              </a:solidFill>
              <a:round/>
              <a:headEnd/>
              <a:tailEnd/>
            </a:ln>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nvGrpSpPr>
            <p:cNvPr id="123" name="Group 7"/>
            <p:cNvGrpSpPr>
              <a:grpSpLocks/>
            </p:cNvGrpSpPr>
            <p:nvPr/>
          </p:nvGrpSpPr>
          <p:grpSpPr bwMode="auto">
            <a:xfrm>
              <a:off x="1806" y="1410"/>
              <a:ext cx="360" cy="487"/>
              <a:chOff x="2080" y="1676"/>
              <a:chExt cx="360" cy="487"/>
            </a:xfrm>
          </p:grpSpPr>
          <p:sp>
            <p:nvSpPr>
              <p:cNvPr id="125" name="Rectangle 8"/>
              <p:cNvSpPr>
                <a:spLocks noChangeArrowheads="1"/>
              </p:cNvSpPr>
              <p:nvPr/>
            </p:nvSpPr>
            <p:spPr bwMode="auto">
              <a:xfrm>
                <a:off x="2080" y="2011"/>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Low</a:t>
                </a:r>
                <a:r>
                  <a:rPr lang="en-GB" altLang="en-US" sz="1000"/>
                  <a:t> -</a:t>
                </a:r>
              </a:p>
            </p:txBody>
          </p:sp>
          <p:sp>
            <p:nvSpPr>
              <p:cNvPr id="126" name="Rectangle 9"/>
              <p:cNvSpPr>
                <a:spLocks noChangeArrowheads="1"/>
              </p:cNvSpPr>
              <p:nvPr/>
            </p:nvSpPr>
            <p:spPr bwMode="auto">
              <a:xfrm>
                <a:off x="2080" y="1843"/>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Medium</a:t>
                </a:r>
                <a:r>
                  <a:rPr lang="en-GB" altLang="en-US" sz="1000"/>
                  <a:t> -</a:t>
                </a:r>
              </a:p>
            </p:txBody>
          </p:sp>
          <p:sp>
            <p:nvSpPr>
              <p:cNvPr id="127" name="Rectangle 10"/>
              <p:cNvSpPr>
                <a:spLocks noChangeArrowheads="1"/>
              </p:cNvSpPr>
              <p:nvPr/>
            </p:nvSpPr>
            <p:spPr bwMode="auto">
              <a:xfrm>
                <a:off x="2080" y="1676"/>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High</a:t>
                </a:r>
                <a:r>
                  <a:rPr lang="en-GB" altLang="en-US" sz="1000"/>
                  <a:t> -</a:t>
                </a:r>
              </a:p>
            </p:txBody>
          </p:sp>
        </p:grpSp>
        <p:sp>
          <p:nvSpPr>
            <p:cNvPr id="124" name="Rectangle 11"/>
            <p:cNvSpPr>
              <a:spLocks noChangeArrowheads="1"/>
            </p:cNvSpPr>
            <p:nvPr/>
          </p:nvSpPr>
          <p:spPr bwMode="auto">
            <a:xfrm>
              <a:off x="2320" y="1710"/>
              <a:ext cx="55" cy="114"/>
            </a:xfrm>
            <a:prstGeom prst="rect">
              <a:avLst/>
            </a:prstGeom>
            <a:solidFill>
              <a:srgbClr val="FF3300"/>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grpSp>
        <p:nvGrpSpPr>
          <p:cNvPr id="128" name="Group 12"/>
          <p:cNvGrpSpPr>
            <a:grpSpLocks/>
          </p:cNvGrpSpPr>
          <p:nvPr/>
        </p:nvGrpSpPr>
        <p:grpSpPr bwMode="auto">
          <a:xfrm>
            <a:off x="7272673" y="4180368"/>
            <a:ext cx="1352550" cy="1452562"/>
            <a:chOff x="2692" y="1197"/>
            <a:chExt cx="852" cy="915"/>
          </a:xfrm>
        </p:grpSpPr>
        <p:grpSp>
          <p:nvGrpSpPr>
            <p:cNvPr id="129" name="Group 13"/>
            <p:cNvGrpSpPr>
              <a:grpSpLocks/>
            </p:cNvGrpSpPr>
            <p:nvPr/>
          </p:nvGrpSpPr>
          <p:grpSpPr bwMode="auto">
            <a:xfrm>
              <a:off x="2692" y="1197"/>
              <a:ext cx="852" cy="915"/>
              <a:chOff x="2692" y="1197"/>
              <a:chExt cx="852" cy="915"/>
            </a:xfrm>
          </p:grpSpPr>
          <p:sp>
            <p:nvSpPr>
              <p:cNvPr id="133" name="AutoShape 14"/>
              <p:cNvSpPr>
                <a:spLocks noChangeArrowheads="1"/>
              </p:cNvSpPr>
              <p:nvPr/>
            </p:nvSpPr>
            <p:spPr bwMode="auto">
              <a:xfrm>
                <a:off x="2692" y="1197"/>
                <a:ext cx="852" cy="915"/>
              </a:xfrm>
              <a:prstGeom prst="roundRect">
                <a:avLst>
                  <a:gd name="adj" fmla="val 16667"/>
                </a:avLst>
              </a:prstGeom>
              <a:noFill/>
              <a:ln w="6350">
                <a:solidFill>
                  <a:schemeClr val="folHlink"/>
                </a:solidFill>
                <a:prstDash val="dash"/>
                <a:round/>
                <a:headEnd/>
                <a:tailEnd/>
              </a:ln>
              <a:extLst>
                <a:ext uri="{909E8E84-426E-40DD-AFC4-6F175D3DCCD1}">
                  <a14:hiddenFill xmlns:a14="http://schemas.microsoft.com/office/drawing/2010/main">
                    <a:solidFill>
                      <a:srgbClr val="FFFFFF"/>
                    </a:solidFill>
                  </a14:hiddenFill>
                </a:ext>
              </a:extLst>
            </p:spPr>
            <p:txBody>
              <a:bodyPr lIns="45720" rIns="45720" anchorCtr="1"/>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nSpc>
                    <a:spcPct val="90000"/>
                  </a:lnSpc>
                  <a:spcBef>
                    <a:spcPct val="50000"/>
                  </a:spcBef>
                </a:pPr>
                <a:r>
                  <a:rPr lang="en-US" altLang="en-US" sz="1000" b="1"/>
                  <a:t>Confidence</a:t>
                </a:r>
              </a:p>
            </p:txBody>
          </p:sp>
          <p:grpSp>
            <p:nvGrpSpPr>
              <p:cNvPr id="134" name="Group 15"/>
              <p:cNvGrpSpPr>
                <a:grpSpLocks/>
              </p:cNvGrpSpPr>
              <p:nvPr/>
            </p:nvGrpSpPr>
            <p:grpSpPr bwMode="auto">
              <a:xfrm>
                <a:off x="2824" y="1410"/>
                <a:ext cx="360" cy="487"/>
                <a:chOff x="2080" y="1676"/>
                <a:chExt cx="360" cy="487"/>
              </a:xfrm>
            </p:grpSpPr>
            <p:sp>
              <p:nvSpPr>
                <p:cNvPr id="135" name="Rectangle 16"/>
                <p:cNvSpPr>
                  <a:spLocks noChangeArrowheads="1"/>
                </p:cNvSpPr>
                <p:nvPr/>
              </p:nvSpPr>
              <p:spPr bwMode="auto">
                <a:xfrm>
                  <a:off x="2080" y="2011"/>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Low</a:t>
                  </a:r>
                  <a:r>
                    <a:rPr lang="en-GB" altLang="en-US" sz="1000"/>
                    <a:t> -</a:t>
                  </a:r>
                </a:p>
              </p:txBody>
            </p:sp>
            <p:sp>
              <p:nvSpPr>
                <p:cNvPr id="136" name="Rectangle 17"/>
                <p:cNvSpPr>
                  <a:spLocks noChangeArrowheads="1"/>
                </p:cNvSpPr>
                <p:nvPr/>
              </p:nvSpPr>
              <p:spPr bwMode="auto">
                <a:xfrm>
                  <a:off x="2080" y="1843"/>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Medium</a:t>
                  </a:r>
                  <a:r>
                    <a:rPr lang="en-GB" altLang="en-US" sz="1000"/>
                    <a:t> -</a:t>
                  </a:r>
                </a:p>
              </p:txBody>
            </p:sp>
            <p:sp>
              <p:nvSpPr>
                <p:cNvPr id="137" name="Rectangle 18"/>
                <p:cNvSpPr>
                  <a:spLocks noChangeArrowheads="1"/>
                </p:cNvSpPr>
                <p:nvPr/>
              </p:nvSpPr>
              <p:spPr bwMode="auto">
                <a:xfrm>
                  <a:off x="2080" y="1676"/>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High</a:t>
                  </a:r>
                  <a:r>
                    <a:rPr lang="en-GB" altLang="en-US" sz="1000"/>
                    <a:t> -</a:t>
                  </a:r>
                </a:p>
              </p:txBody>
            </p:sp>
          </p:grpSp>
        </p:grpSp>
        <p:sp>
          <p:nvSpPr>
            <p:cNvPr id="130" name="Rectangle 19"/>
            <p:cNvSpPr>
              <a:spLocks noChangeArrowheads="1"/>
            </p:cNvSpPr>
            <p:nvPr/>
          </p:nvSpPr>
          <p:spPr bwMode="auto">
            <a:xfrm>
              <a:off x="3322" y="1410"/>
              <a:ext cx="59" cy="454"/>
            </a:xfrm>
            <a:prstGeom prst="rect">
              <a:avLst/>
            </a:prstGeom>
            <a:noFill/>
            <a:ln w="6350">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31" name="Oval 20"/>
            <p:cNvSpPr>
              <a:spLocks noChangeArrowheads="1"/>
            </p:cNvSpPr>
            <p:nvPr/>
          </p:nvSpPr>
          <p:spPr bwMode="auto">
            <a:xfrm>
              <a:off x="3283" y="1767"/>
              <a:ext cx="138" cy="130"/>
            </a:xfrm>
            <a:prstGeom prst="ellipse">
              <a:avLst/>
            </a:prstGeom>
            <a:solidFill>
              <a:srgbClr val="FFFF00"/>
            </a:solidFill>
            <a:ln w="6350">
              <a:solidFill>
                <a:schemeClr val="folHlink"/>
              </a:solidFill>
              <a:round/>
              <a:headEnd/>
              <a:tailEnd/>
            </a:ln>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32" name="Rectangle 21"/>
            <p:cNvSpPr>
              <a:spLocks noChangeArrowheads="1"/>
            </p:cNvSpPr>
            <p:nvPr/>
          </p:nvSpPr>
          <p:spPr bwMode="auto">
            <a:xfrm>
              <a:off x="3325" y="1632"/>
              <a:ext cx="54" cy="192"/>
            </a:xfrm>
            <a:prstGeom prst="rect">
              <a:avLst/>
            </a:prstGeom>
            <a:solidFill>
              <a:srgbClr val="FFFF00"/>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grpSp>
        <p:nvGrpSpPr>
          <p:cNvPr id="138" name="Group 22"/>
          <p:cNvGrpSpPr>
            <a:grpSpLocks/>
          </p:cNvGrpSpPr>
          <p:nvPr/>
        </p:nvGrpSpPr>
        <p:grpSpPr bwMode="auto">
          <a:xfrm>
            <a:off x="8885573" y="4180368"/>
            <a:ext cx="1352550" cy="1452562"/>
            <a:chOff x="3708" y="1197"/>
            <a:chExt cx="852" cy="915"/>
          </a:xfrm>
        </p:grpSpPr>
        <p:sp>
          <p:nvSpPr>
            <p:cNvPr id="139" name="Rectangle 23"/>
            <p:cNvSpPr>
              <a:spLocks noChangeArrowheads="1"/>
            </p:cNvSpPr>
            <p:nvPr/>
          </p:nvSpPr>
          <p:spPr bwMode="auto">
            <a:xfrm>
              <a:off x="4311" y="1410"/>
              <a:ext cx="59" cy="454"/>
            </a:xfrm>
            <a:prstGeom prst="rect">
              <a:avLst/>
            </a:prstGeom>
            <a:noFill/>
            <a:ln w="6350">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40" name="Oval 24"/>
            <p:cNvSpPr>
              <a:spLocks noChangeArrowheads="1"/>
            </p:cNvSpPr>
            <p:nvPr/>
          </p:nvSpPr>
          <p:spPr bwMode="auto">
            <a:xfrm>
              <a:off x="4272" y="1767"/>
              <a:ext cx="138" cy="130"/>
            </a:xfrm>
            <a:prstGeom prst="ellipse">
              <a:avLst/>
            </a:prstGeom>
            <a:solidFill>
              <a:srgbClr val="00CC00"/>
            </a:solidFill>
            <a:ln w="6350">
              <a:solidFill>
                <a:schemeClr val="folHlink"/>
              </a:solidFill>
              <a:round/>
              <a:headEnd/>
              <a:tailEnd/>
            </a:ln>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41" name="AutoShape 25"/>
            <p:cNvSpPr>
              <a:spLocks noChangeArrowheads="1"/>
            </p:cNvSpPr>
            <p:nvPr/>
          </p:nvSpPr>
          <p:spPr bwMode="auto">
            <a:xfrm>
              <a:off x="3708" y="1197"/>
              <a:ext cx="852" cy="915"/>
            </a:xfrm>
            <a:prstGeom prst="roundRect">
              <a:avLst>
                <a:gd name="adj" fmla="val 16667"/>
              </a:avLst>
            </a:prstGeom>
            <a:noFill/>
            <a:ln w="6350">
              <a:solidFill>
                <a:schemeClr val="folHlink"/>
              </a:solidFill>
              <a:prstDash val="dash"/>
              <a:round/>
              <a:headEnd/>
              <a:tailEnd/>
            </a:ln>
            <a:extLst>
              <a:ext uri="{909E8E84-426E-40DD-AFC4-6F175D3DCCD1}">
                <a14:hiddenFill xmlns:a14="http://schemas.microsoft.com/office/drawing/2010/main">
                  <a:solidFill>
                    <a:srgbClr val="FFFFFF"/>
                  </a:solidFill>
                </a14:hiddenFill>
              </a:ext>
            </a:extLst>
          </p:spPr>
          <p:txBody>
            <a:bodyPr lIns="45720" rIns="45720" anchorCtr="1"/>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nSpc>
                  <a:spcPct val="90000"/>
                </a:lnSpc>
                <a:spcBef>
                  <a:spcPct val="50000"/>
                </a:spcBef>
              </a:pPr>
              <a:r>
                <a:rPr lang="en-US" altLang="en-US" sz="1000" b="1"/>
                <a:t>Confidence</a:t>
              </a:r>
            </a:p>
          </p:txBody>
        </p:sp>
        <p:grpSp>
          <p:nvGrpSpPr>
            <p:cNvPr id="142" name="Group 26"/>
            <p:cNvGrpSpPr>
              <a:grpSpLocks/>
            </p:cNvGrpSpPr>
            <p:nvPr/>
          </p:nvGrpSpPr>
          <p:grpSpPr bwMode="auto">
            <a:xfrm>
              <a:off x="3831" y="1410"/>
              <a:ext cx="360" cy="487"/>
              <a:chOff x="2080" y="1676"/>
              <a:chExt cx="360" cy="487"/>
            </a:xfrm>
          </p:grpSpPr>
          <p:sp>
            <p:nvSpPr>
              <p:cNvPr id="144" name="Rectangle 27"/>
              <p:cNvSpPr>
                <a:spLocks noChangeArrowheads="1"/>
              </p:cNvSpPr>
              <p:nvPr/>
            </p:nvSpPr>
            <p:spPr bwMode="auto">
              <a:xfrm>
                <a:off x="2080" y="2011"/>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Low</a:t>
                </a:r>
                <a:r>
                  <a:rPr lang="en-GB" altLang="en-US" sz="1000"/>
                  <a:t> -</a:t>
                </a:r>
              </a:p>
            </p:txBody>
          </p:sp>
          <p:sp>
            <p:nvSpPr>
              <p:cNvPr id="145" name="Rectangle 28"/>
              <p:cNvSpPr>
                <a:spLocks noChangeArrowheads="1"/>
              </p:cNvSpPr>
              <p:nvPr/>
            </p:nvSpPr>
            <p:spPr bwMode="auto">
              <a:xfrm>
                <a:off x="2080" y="1843"/>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Medium</a:t>
                </a:r>
                <a:r>
                  <a:rPr lang="en-GB" altLang="en-US" sz="1000"/>
                  <a:t> -</a:t>
                </a:r>
              </a:p>
            </p:txBody>
          </p:sp>
          <p:sp>
            <p:nvSpPr>
              <p:cNvPr id="146" name="Rectangle 29"/>
              <p:cNvSpPr>
                <a:spLocks noChangeArrowheads="1"/>
              </p:cNvSpPr>
              <p:nvPr/>
            </p:nvSpPr>
            <p:spPr bwMode="auto">
              <a:xfrm>
                <a:off x="2080" y="1676"/>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High</a:t>
                </a:r>
                <a:r>
                  <a:rPr lang="en-GB" altLang="en-US" sz="1000"/>
                  <a:t> -</a:t>
                </a:r>
              </a:p>
            </p:txBody>
          </p:sp>
        </p:grpSp>
        <p:sp>
          <p:nvSpPr>
            <p:cNvPr id="143" name="Rectangle 30"/>
            <p:cNvSpPr>
              <a:spLocks noChangeArrowheads="1"/>
            </p:cNvSpPr>
            <p:nvPr/>
          </p:nvSpPr>
          <p:spPr bwMode="auto">
            <a:xfrm>
              <a:off x="4314" y="1440"/>
              <a:ext cx="54" cy="384"/>
            </a:xfrm>
            <a:prstGeom prst="rect">
              <a:avLst/>
            </a:prstGeom>
            <a:solidFill>
              <a:srgbClr val="00CC00"/>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grpSp>
        <p:nvGrpSpPr>
          <p:cNvPr id="147" name="Group 31"/>
          <p:cNvGrpSpPr>
            <a:grpSpLocks/>
          </p:cNvGrpSpPr>
          <p:nvPr/>
        </p:nvGrpSpPr>
        <p:grpSpPr bwMode="auto">
          <a:xfrm>
            <a:off x="629106" y="4181208"/>
            <a:ext cx="1352550" cy="1452563"/>
            <a:chOff x="1680" y="2496"/>
            <a:chExt cx="852" cy="915"/>
          </a:xfrm>
        </p:grpSpPr>
        <p:sp>
          <p:nvSpPr>
            <p:cNvPr id="148" name="AutoShape 32"/>
            <p:cNvSpPr>
              <a:spLocks noChangeArrowheads="1"/>
            </p:cNvSpPr>
            <p:nvPr/>
          </p:nvSpPr>
          <p:spPr bwMode="auto">
            <a:xfrm>
              <a:off x="1680" y="2496"/>
              <a:ext cx="852" cy="915"/>
            </a:xfrm>
            <a:prstGeom prst="roundRect">
              <a:avLst>
                <a:gd name="adj" fmla="val 16667"/>
              </a:avLst>
            </a:prstGeom>
            <a:noFill/>
            <a:ln w="6350">
              <a:solidFill>
                <a:schemeClr val="folHlink"/>
              </a:solidFill>
              <a:prstDash val="dash"/>
              <a:round/>
              <a:headEnd/>
              <a:tailEnd/>
            </a:ln>
            <a:extLst>
              <a:ext uri="{909E8E84-426E-40DD-AFC4-6F175D3DCCD1}">
                <a14:hiddenFill xmlns:a14="http://schemas.microsoft.com/office/drawing/2010/main">
                  <a:solidFill>
                    <a:srgbClr val="FFFFFF"/>
                  </a:solidFill>
                </a14:hiddenFill>
              </a:ext>
            </a:extLst>
          </p:spPr>
          <p:txBody>
            <a:bodyPr lIns="45720" rIns="45720" anchorCtr="1"/>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nSpc>
                  <a:spcPct val="90000"/>
                </a:lnSpc>
                <a:spcBef>
                  <a:spcPct val="50000"/>
                </a:spcBef>
              </a:pPr>
              <a:r>
                <a:rPr lang="en-US" altLang="en-US" sz="1000" b="1"/>
                <a:t>Confidence</a:t>
              </a:r>
            </a:p>
          </p:txBody>
        </p:sp>
        <p:sp>
          <p:nvSpPr>
            <p:cNvPr id="149" name="Rectangle 33"/>
            <p:cNvSpPr>
              <a:spLocks noChangeArrowheads="1"/>
            </p:cNvSpPr>
            <p:nvPr/>
          </p:nvSpPr>
          <p:spPr bwMode="auto">
            <a:xfrm>
              <a:off x="2317" y="2709"/>
              <a:ext cx="59" cy="366"/>
            </a:xfrm>
            <a:prstGeom prst="rect">
              <a:avLst/>
            </a:prstGeom>
            <a:noFill/>
            <a:ln w="6350">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50" name="Oval 34"/>
            <p:cNvSpPr>
              <a:spLocks noChangeArrowheads="1"/>
            </p:cNvSpPr>
            <p:nvPr/>
          </p:nvSpPr>
          <p:spPr bwMode="auto">
            <a:xfrm>
              <a:off x="2278" y="3066"/>
              <a:ext cx="138" cy="130"/>
            </a:xfrm>
            <a:prstGeom prst="ellipse">
              <a:avLst/>
            </a:prstGeom>
            <a:solidFill>
              <a:schemeClr val="folHlink"/>
            </a:solidFill>
            <a:ln w="6350">
              <a:solidFill>
                <a:schemeClr val="folHlink"/>
              </a:solidFill>
              <a:round/>
              <a:headEnd/>
              <a:tailEnd/>
            </a:ln>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nvGrpSpPr>
            <p:cNvPr id="151" name="Group 35"/>
            <p:cNvGrpSpPr>
              <a:grpSpLocks/>
            </p:cNvGrpSpPr>
            <p:nvPr/>
          </p:nvGrpSpPr>
          <p:grpSpPr bwMode="auto">
            <a:xfrm>
              <a:off x="1806" y="2709"/>
              <a:ext cx="360" cy="487"/>
              <a:chOff x="2080" y="1676"/>
              <a:chExt cx="360" cy="487"/>
            </a:xfrm>
          </p:grpSpPr>
          <p:sp>
            <p:nvSpPr>
              <p:cNvPr id="153" name="Rectangle 36"/>
              <p:cNvSpPr>
                <a:spLocks noChangeArrowheads="1"/>
              </p:cNvSpPr>
              <p:nvPr/>
            </p:nvSpPr>
            <p:spPr bwMode="auto">
              <a:xfrm>
                <a:off x="2080" y="2011"/>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Low</a:t>
                </a:r>
                <a:r>
                  <a:rPr lang="en-GB" altLang="en-US" sz="1000"/>
                  <a:t> -</a:t>
                </a:r>
              </a:p>
            </p:txBody>
          </p:sp>
          <p:sp>
            <p:nvSpPr>
              <p:cNvPr id="154" name="Rectangle 37"/>
              <p:cNvSpPr>
                <a:spLocks noChangeArrowheads="1"/>
              </p:cNvSpPr>
              <p:nvPr/>
            </p:nvSpPr>
            <p:spPr bwMode="auto">
              <a:xfrm>
                <a:off x="2080" y="1843"/>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Medium</a:t>
                </a:r>
                <a:r>
                  <a:rPr lang="en-GB" altLang="en-US" sz="1000"/>
                  <a:t> -</a:t>
                </a:r>
              </a:p>
            </p:txBody>
          </p:sp>
          <p:sp>
            <p:nvSpPr>
              <p:cNvPr id="155" name="Rectangle 38"/>
              <p:cNvSpPr>
                <a:spLocks noChangeArrowheads="1"/>
              </p:cNvSpPr>
              <p:nvPr/>
            </p:nvSpPr>
            <p:spPr bwMode="auto">
              <a:xfrm>
                <a:off x="2080" y="1676"/>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High</a:t>
                </a:r>
                <a:r>
                  <a:rPr lang="en-GB" altLang="en-US" sz="1000"/>
                  <a:t> -</a:t>
                </a:r>
              </a:p>
            </p:txBody>
          </p:sp>
        </p:grpSp>
        <p:sp>
          <p:nvSpPr>
            <p:cNvPr id="152" name="Rectangle 39"/>
            <p:cNvSpPr>
              <a:spLocks noChangeArrowheads="1"/>
            </p:cNvSpPr>
            <p:nvPr/>
          </p:nvSpPr>
          <p:spPr bwMode="auto">
            <a:xfrm>
              <a:off x="2320" y="3009"/>
              <a:ext cx="55" cy="114"/>
            </a:xfrm>
            <a:prstGeom prst="rect">
              <a:avLst/>
            </a:prstGeom>
            <a:solidFill>
              <a:schemeClr val="folHlink"/>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grpSp>
        <p:nvGrpSpPr>
          <p:cNvPr id="156" name="Group 40"/>
          <p:cNvGrpSpPr>
            <a:grpSpLocks/>
          </p:cNvGrpSpPr>
          <p:nvPr/>
        </p:nvGrpSpPr>
        <p:grpSpPr bwMode="auto">
          <a:xfrm>
            <a:off x="2235656" y="4181208"/>
            <a:ext cx="1352550" cy="1452563"/>
            <a:chOff x="2692" y="2496"/>
            <a:chExt cx="852" cy="915"/>
          </a:xfrm>
        </p:grpSpPr>
        <p:sp>
          <p:nvSpPr>
            <p:cNvPr id="157" name="Rectangle 41"/>
            <p:cNvSpPr>
              <a:spLocks noChangeArrowheads="1"/>
            </p:cNvSpPr>
            <p:nvPr/>
          </p:nvSpPr>
          <p:spPr bwMode="auto">
            <a:xfrm>
              <a:off x="3322" y="2709"/>
              <a:ext cx="59" cy="454"/>
            </a:xfrm>
            <a:prstGeom prst="rect">
              <a:avLst/>
            </a:prstGeom>
            <a:noFill/>
            <a:ln w="6350">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58" name="Oval 42"/>
            <p:cNvSpPr>
              <a:spLocks noChangeArrowheads="1"/>
            </p:cNvSpPr>
            <p:nvPr/>
          </p:nvSpPr>
          <p:spPr bwMode="auto">
            <a:xfrm>
              <a:off x="3283" y="3066"/>
              <a:ext cx="138" cy="130"/>
            </a:xfrm>
            <a:prstGeom prst="ellipse">
              <a:avLst/>
            </a:prstGeom>
            <a:solidFill>
              <a:schemeClr val="folHlink"/>
            </a:solidFill>
            <a:ln w="6350">
              <a:solidFill>
                <a:schemeClr val="folHlink"/>
              </a:solidFill>
              <a:round/>
              <a:headEnd/>
              <a:tailEnd/>
            </a:ln>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59" name="AutoShape 43"/>
            <p:cNvSpPr>
              <a:spLocks noChangeArrowheads="1"/>
            </p:cNvSpPr>
            <p:nvPr/>
          </p:nvSpPr>
          <p:spPr bwMode="auto">
            <a:xfrm>
              <a:off x="2692" y="2496"/>
              <a:ext cx="852" cy="915"/>
            </a:xfrm>
            <a:prstGeom prst="roundRect">
              <a:avLst>
                <a:gd name="adj" fmla="val 16667"/>
              </a:avLst>
            </a:prstGeom>
            <a:noFill/>
            <a:ln w="6350">
              <a:solidFill>
                <a:schemeClr val="folHlink"/>
              </a:solidFill>
              <a:prstDash val="dash"/>
              <a:round/>
              <a:headEnd/>
              <a:tailEnd/>
            </a:ln>
            <a:extLst>
              <a:ext uri="{909E8E84-426E-40DD-AFC4-6F175D3DCCD1}">
                <a14:hiddenFill xmlns:a14="http://schemas.microsoft.com/office/drawing/2010/main">
                  <a:solidFill>
                    <a:srgbClr val="FFFFFF"/>
                  </a:solidFill>
                </a14:hiddenFill>
              </a:ext>
            </a:extLst>
          </p:spPr>
          <p:txBody>
            <a:bodyPr lIns="45720" rIns="45720" anchorCtr="1"/>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nSpc>
                  <a:spcPct val="90000"/>
                </a:lnSpc>
                <a:spcBef>
                  <a:spcPct val="50000"/>
                </a:spcBef>
              </a:pPr>
              <a:r>
                <a:rPr lang="en-US" altLang="en-US" sz="1000" b="1"/>
                <a:t>Confidence</a:t>
              </a:r>
            </a:p>
          </p:txBody>
        </p:sp>
        <p:grpSp>
          <p:nvGrpSpPr>
            <p:cNvPr id="160" name="Group 44"/>
            <p:cNvGrpSpPr>
              <a:grpSpLocks/>
            </p:cNvGrpSpPr>
            <p:nvPr/>
          </p:nvGrpSpPr>
          <p:grpSpPr bwMode="auto">
            <a:xfrm>
              <a:off x="2824" y="2709"/>
              <a:ext cx="360" cy="487"/>
              <a:chOff x="2080" y="1676"/>
              <a:chExt cx="360" cy="487"/>
            </a:xfrm>
          </p:grpSpPr>
          <p:sp>
            <p:nvSpPr>
              <p:cNvPr id="162" name="Rectangle 45"/>
              <p:cNvSpPr>
                <a:spLocks noChangeArrowheads="1"/>
              </p:cNvSpPr>
              <p:nvPr/>
            </p:nvSpPr>
            <p:spPr bwMode="auto">
              <a:xfrm>
                <a:off x="2080" y="2011"/>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Low</a:t>
                </a:r>
                <a:r>
                  <a:rPr lang="en-GB" altLang="en-US" sz="1000"/>
                  <a:t> -</a:t>
                </a:r>
              </a:p>
            </p:txBody>
          </p:sp>
          <p:sp>
            <p:nvSpPr>
              <p:cNvPr id="163" name="Rectangle 46"/>
              <p:cNvSpPr>
                <a:spLocks noChangeArrowheads="1"/>
              </p:cNvSpPr>
              <p:nvPr/>
            </p:nvSpPr>
            <p:spPr bwMode="auto">
              <a:xfrm>
                <a:off x="2080" y="1843"/>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Medium</a:t>
                </a:r>
                <a:r>
                  <a:rPr lang="en-GB" altLang="en-US" sz="1000"/>
                  <a:t> -</a:t>
                </a:r>
              </a:p>
            </p:txBody>
          </p:sp>
          <p:sp>
            <p:nvSpPr>
              <p:cNvPr id="164" name="Rectangle 47"/>
              <p:cNvSpPr>
                <a:spLocks noChangeArrowheads="1"/>
              </p:cNvSpPr>
              <p:nvPr/>
            </p:nvSpPr>
            <p:spPr bwMode="auto">
              <a:xfrm>
                <a:off x="2080" y="1676"/>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High</a:t>
                </a:r>
                <a:r>
                  <a:rPr lang="en-GB" altLang="en-US" sz="1000"/>
                  <a:t> -</a:t>
                </a:r>
              </a:p>
            </p:txBody>
          </p:sp>
        </p:grpSp>
        <p:sp>
          <p:nvSpPr>
            <p:cNvPr id="161" name="Rectangle 48"/>
            <p:cNvSpPr>
              <a:spLocks noChangeArrowheads="1"/>
            </p:cNvSpPr>
            <p:nvPr/>
          </p:nvSpPr>
          <p:spPr bwMode="auto">
            <a:xfrm>
              <a:off x="3325" y="2931"/>
              <a:ext cx="57" cy="192"/>
            </a:xfrm>
            <a:prstGeom prst="rect">
              <a:avLst/>
            </a:prstGeom>
            <a:solidFill>
              <a:schemeClr val="folHlink"/>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grpSp>
        <p:nvGrpSpPr>
          <p:cNvPr id="165" name="Group 49"/>
          <p:cNvGrpSpPr>
            <a:grpSpLocks/>
          </p:cNvGrpSpPr>
          <p:nvPr/>
        </p:nvGrpSpPr>
        <p:grpSpPr bwMode="auto">
          <a:xfrm>
            <a:off x="3848556" y="4181208"/>
            <a:ext cx="1352550" cy="1452563"/>
            <a:chOff x="3708" y="2496"/>
            <a:chExt cx="852" cy="915"/>
          </a:xfrm>
        </p:grpSpPr>
        <p:sp>
          <p:nvSpPr>
            <p:cNvPr id="166" name="Rectangle 50"/>
            <p:cNvSpPr>
              <a:spLocks noChangeArrowheads="1"/>
            </p:cNvSpPr>
            <p:nvPr/>
          </p:nvSpPr>
          <p:spPr bwMode="auto">
            <a:xfrm>
              <a:off x="4311" y="2709"/>
              <a:ext cx="59" cy="454"/>
            </a:xfrm>
            <a:prstGeom prst="rect">
              <a:avLst/>
            </a:prstGeom>
            <a:noFill/>
            <a:ln w="6350">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67" name="Oval 51"/>
            <p:cNvSpPr>
              <a:spLocks noChangeArrowheads="1"/>
            </p:cNvSpPr>
            <p:nvPr/>
          </p:nvSpPr>
          <p:spPr bwMode="auto">
            <a:xfrm>
              <a:off x="4272" y="3066"/>
              <a:ext cx="138" cy="130"/>
            </a:xfrm>
            <a:prstGeom prst="ellipse">
              <a:avLst/>
            </a:prstGeom>
            <a:solidFill>
              <a:schemeClr val="folHlink"/>
            </a:solidFill>
            <a:ln w="6350">
              <a:solidFill>
                <a:schemeClr val="folHlink"/>
              </a:solidFill>
              <a:round/>
              <a:headEnd/>
              <a:tailEnd/>
            </a:ln>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sp>
          <p:nvSpPr>
            <p:cNvPr id="168" name="AutoShape 52"/>
            <p:cNvSpPr>
              <a:spLocks noChangeArrowheads="1"/>
            </p:cNvSpPr>
            <p:nvPr/>
          </p:nvSpPr>
          <p:spPr bwMode="auto">
            <a:xfrm>
              <a:off x="3708" y="2496"/>
              <a:ext cx="852" cy="915"/>
            </a:xfrm>
            <a:prstGeom prst="roundRect">
              <a:avLst>
                <a:gd name="adj" fmla="val 16667"/>
              </a:avLst>
            </a:prstGeom>
            <a:noFill/>
            <a:ln w="6350">
              <a:solidFill>
                <a:schemeClr val="folHlink"/>
              </a:solidFill>
              <a:prstDash val="dash"/>
              <a:round/>
              <a:headEnd/>
              <a:tailEnd/>
            </a:ln>
            <a:extLst>
              <a:ext uri="{909E8E84-426E-40DD-AFC4-6F175D3DCCD1}">
                <a14:hiddenFill xmlns:a14="http://schemas.microsoft.com/office/drawing/2010/main">
                  <a:solidFill>
                    <a:srgbClr val="FFFFFF"/>
                  </a:solidFill>
                </a14:hiddenFill>
              </a:ext>
            </a:extLst>
          </p:spPr>
          <p:txBody>
            <a:bodyPr lIns="45720" rIns="45720" anchorCtr="1"/>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nSpc>
                  <a:spcPct val="90000"/>
                </a:lnSpc>
                <a:spcBef>
                  <a:spcPct val="50000"/>
                </a:spcBef>
              </a:pPr>
              <a:r>
                <a:rPr lang="en-US" altLang="en-US" sz="1000" b="1"/>
                <a:t>Confidence</a:t>
              </a:r>
            </a:p>
          </p:txBody>
        </p:sp>
        <p:grpSp>
          <p:nvGrpSpPr>
            <p:cNvPr id="169" name="Group 53"/>
            <p:cNvGrpSpPr>
              <a:grpSpLocks/>
            </p:cNvGrpSpPr>
            <p:nvPr/>
          </p:nvGrpSpPr>
          <p:grpSpPr bwMode="auto">
            <a:xfrm>
              <a:off x="3831" y="2709"/>
              <a:ext cx="360" cy="487"/>
              <a:chOff x="2080" y="1676"/>
              <a:chExt cx="360" cy="487"/>
            </a:xfrm>
          </p:grpSpPr>
          <p:sp>
            <p:nvSpPr>
              <p:cNvPr id="171" name="Rectangle 54"/>
              <p:cNvSpPr>
                <a:spLocks noChangeArrowheads="1"/>
              </p:cNvSpPr>
              <p:nvPr/>
            </p:nvSpPr>
            <p:spPr bwMode="auto">
              <a:xfrm>
                <a:off x="2080" y="2011"/>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Low</a:t>
                </a:r>
                <a:r>
                  <a:rPr lang="en-GB" altLang="en-US" sz="1000"/>
                  <a:t> -</a:t>
                </a:r>
              </a:p>
            </p:txBody>
          </p:sp>
          <p:sp>
            <p:nvSpPr>
              <p:cNvPr id="172" name="Rectangle 55"/>
              <p:cNvSpPr>
                <a:spLocks noChangeArrowheads="1"/>
              </p:cNvSpPr>
              <p:nvPr/>
            </p:nvSpPr>
            <p:spPr bwMode="auto">
              <a:xfrm>
                <a:off x="2080" y="1843"/>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Medium</a:t>
                </a:r>
                <a:r>
                  <a:rPr lang="en-GB" altLang="en-US" sz="1000"/>
                  <a:t> -</a:t>
                </a:r>
              </a:p>
            </p:txBody>
          </p:sp>
          <p:sp>
            <p:nvSpPr>
              <p:cNvPr id="173" name="Rectangle 56"/>
              <p:cNvSpPr>
                <a:spLocks noChangeArrowheads="1"/>
              </p:cNvSpPr>
              <p:nvPr/>
            </p:nvSpPr>
            <p:spPr bwMode="auto">
              <a:xfrm>
                <a:off x="2080" y="1676"/>
                <a:ext cx="360"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pPr algn="l">
                  <a:spcAft>
                    <a:spcPct val="20000"/>
                  </a:spcAft>
                </a:pPr>
                <a:r>
                  <a:rPr lang="en-GB" altLang="en-US" sz="800"/>
                  <a:t>High</a:t>
                </a:r>
                <a:r>
                  <a:rPr lang="en-GB" altLang="en-US" sz="1000"/>
                  <a:t> -</a:t>
                </a:r>
              </a:p>
            </p:txBody>
          </p:sp>
        </p:grpSp>
        <p:sp>
          <p:nvSpPr>
            <p:cNvPr id="170" name="Rectangle 57"/>
            <p:cNvSpPr>
              <a:spLocks noChangeArrowheads="1"/>
            </p:cNvSpPr>
            <p:nvPr/>
          </p:nvSpPr>
          <p:spPr bwMode="auto">
            <a:xfrm>
              <a:off x="4314" y="2739"/>
              <a:ext cx="57" cy="384"/>
            </a:xfrm>
            <a:prstGeom prst="rect">
              <a:avLst/>
            </a:prstGeom>
            <a:solidFill>
              <a:schemeClr val="folHlink"/>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45720" rIns="4572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algn="ctr" eaLnBrk="0" fontAlgn="base" hangingPunct="0">
                <a:spcBef>
                  <a:spcPct val="0"/>
                </a:spcBef>
                <a:spcAft>
                  <a:spcPct val="0"/>
                </a:spcAft>
                <a:defRPr sz="1400">
                  <a:solidFill>
                    <a:schemeClr val="tx1"/>
                  </a:solidFill>
                  <a:latin typeface="Arial" charset="0"/>
                  <a:ea typeface="ＭＳ Ｐゴシック" charset="-128"/>
                </a:defRPr>
              </a:lvl6pPr>
              <a:lvl7pPr marL="2971800" indent="-228600" algn="ctr" eaLnBrk="0" fontAlgn="base" hangingPunct="0">
                <a:spcBef>
                  <a:spcPct val="0"/>
                </a:spcBef>
                <a:spcAft>
                  <a:spcPct val="0"/>
                </a:spcAft>
                <a:defRPr sz="1400">
                  <a:solidFill>
                    <a:schemeClr val="tx1"/>
                  </a:solidFill>
                  <a:latin typeface="Arial" charset="0"/>
                  <a:ea typeface="ＭＳ Ｐゴシック" charset="-128"/>
                </a:defRPr>
              </a:lvl7pPr>
              <a:lvl8pPr marL="3429000" indent="-228600" algn="ctr" eaLnBrk="0" fontAlgn="base" hangingPunct="0">
                <a:spcBef>
                  <a:spcPct val="0"/>
                </a:spcBef>
                <a:spcAft>
                  <a:spcPct val="0"/>
                </a:spcAft>
                <a:defRPr sz="1400">
                  <a:solidFill>
                    <a:schemeClr val="tx1"/>
                  </a:solidFill>
                  <a:latin typeface="Arial" charset="0"/>
                  <a:ea typeface="ＭＳ Ｐゴシック" charset="-128"/>
                </a:defRPr>
              </a:lvl8pPr>
              <a:lvl9pPr marL="3886200" indent="-228600" algn="ctr" eaLnBrk="0" fontAlgn="base" hangingPunct="0">
                <a:spcBef>
                  <a:spcPct val="0"/>
                </a:spcBef>
                <a:spcAft>
                  <a:spcPct val="0"/>
                </a:spcAft>
                <a:defRPr sz="1400">
                  <a:solidFill>
                    <a:schemeClr val="tx1"/>
                  </a:solidFill>
                  <a:latin typeface="Arial" charset="0"/>
                  <a:ea typeface="ＭＳ Ｐゴシック" charset="-128"/>
                </a:defRPr>
              </a:lvl9pPr>
            </a:lstStyle>
            <a:p>
              <a:endParaRPr lang="da-DK" altLang="en-US"/>
            </a:p>
          </p:txBody>
        </p:sp>
      </p:grpSp>
    </p:spTree>
    <p:extLst>
      <p:ext uri="{BB962C8B-B14F-4D97-AF65-F5344CB8AC3E}">
        <p14:creationId xmlns:p14="http://schemas.microsoft.com/office/powerpoint/2010/main" val="2610811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64471DA5-6875-DC4A-A8BF-68AE66CD6258}"/>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9CB31CB4-5D99-2846-9173-0FA63F056D90}"/>
              </a:ext>
            </a:extLst>
          </p:cNvPr>
          <p:cNvSpPr>
            <a:spLocks noGrp="1"/>
          </p:cNvSpPr>
          <p:nvPr>
            <p:ph type="body" sz="quarter" idx="15"/>
          </p:nvPr>
        </p:nvSpPr>
        <p:spPr/>
        <p:txBody>
          <a:bodyPr/>
          <a:lstStyle/>
          <a:p>
            <a:endParaRPr lang="da-DK"/>
          </a:p>
        </p:txBody>
      </p:sp>
      <p:sp>
        <p:nvSpPr>
          <p:cNvPr id="4" name="Titel 3">
            <a:extLst>
              <a:ext uri="{FF2B5EF4-FFF2-40B4-BE49-F238E27FC236}">
                <a16:creationId xmlns:a16="http://schemas.microsoft.com/office/drawing/2014/main" id="{B6DAAC6B-A5A3-1049-9139-2601D69A6F24}"/>
              </a:ext>
            </a:extLst>
          </p:cNvPr>
          <p:cNvSpPr>
            <a:spLocks noGrp="1"/>
          </p:cNvSpPr>
          <p:nvPr>
            <p:ph type="title"/>
          </p:nvPr>
        </p:nvSpPr>
        <p:spPr/>
        <p:txBody>
          <a:bodyPr/>
          <a:lstStyle/>
          <a:p>
            <a:r>
              <a:rPr lang="da-DK" dirty="0" err="1"/>
              <a:t>Implementaion</a:t>
            </a:r>
            <a:endParaRPr lang="da-DK" dirty="0"/>
          </a:p>
        </p:txBody>
      </p:sp>
    </p:spTree>
    <p:extLst>
      <p:ext uri="{BB962C8B-B14F-4D97-AF65-F5344CB8AC3E}">
        <p14:creationId xmlns:p14="http://schemas.microsoft.com/office/powerpoint/2010/main" val="15416379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81" name="think-cell Slide" r:id="rId52" imgW="270" imgH="270" progId="TCLayout.ActiveDocument.1">
                  <p:embed/>
                </p:oleObj>
              </mc:Choice>
              <mc:Fallback>
                <p:oleObj name="think-cell Slide" r:id="rId52" imgW="270" imgH="270" progId="TCLayout.ActiveDocument.1">
                  <p:embed/>
                  <p:pic>
                    <p:nvPicPr>
                      <p:cNvPr id="18" name="Object 17" hidden="1"/>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000">
              <a:latin typeface="Arial"/>
              <a:sym typeface="Arial"/>
            </a:endParaRPr>
          </a:p>
        </p:txBody>
      </p:sp>
      <p:sp>
        <p:nvSpPr>
          <p:cNvPr id="5" name="Text Placeholder 4">
            <a:extLst>
              <a:ext uri="{FF2B5EF4-FFF2-40B4-BE49-F238E27FC236}">
                <a16:creationId xmlns:a16="http://schemas.microsoft.com/office/drawing/2014/main" id="{0380481C-E2F2-DF46-9616-36F1BB98D99C}"/>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12" name="Text Placeholder 11">
            <a:extLst>
              <a:ext uri="{FF2B5EF4-FFF2-40B4-BE49-F238E27FC236}">
                <a16:creationId xmlns:a16="http://schemas.microsoft.com/office/drawing/2014/main" id="{2F12EDD9-0C9E-0143-963A-ED9A3DE3F994}"/>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US" sz="2000" dirty="0">
                <a:latin typeface="Arial" panose="020B0604020202020204" pitchFamily="34" charset="0"/>
                <a:cs typeface="Arial" panose="020B0604020202020204" pitchFamily="34" charset="0"/>
              </a:rPr>
              <a:t>Pandora will realize a revenue increase from 2015 to 2018 of 168%, yielding revenues of 2,246 </a:t>
            </a:r>
            <a:r>
              <a:rPr lang="en-US" sz="2000" dirty="0" err="1">
                <a:latin typeface="Arial" panose="020B0604020202020204" pitchFamily="34" charset="0"/>
                <a:cs typeface="Arial" panose="020B0604020202020204" pitchFamily="34" charset="0"/>
              </a:rPr>
              <a:t>bln</a:t>
            </a:r>
            <a:r>
              <a:rPr lang="en-US" sz="2000" dirty="0">
                <a:latin typeface="Arial" panose="020B0604020202020204" pitchFamily="34" charset="0"/>
                <a:cs typeface="Arial" panose="020B0604020202020204" pitchFamily="34" charset="0"/>
              </a:rPr>
              <a:t> in 2018, outperforming the revenue goal set by management</a:t>
            </a:r>
          </a:p>
        </p:txBody>
      </p:sp>
      <p:graphicFrame>
        <p:nvGraphicFramePr>
          <p:cNvPr id="7" name="Object 6"/>
          <p:cNvGraphicFramePr>
            <a:graphicFrameLocks/>
          </p:cNvGraphicFramePr>
          <p:nvPr>
            <p:custDataLst>
              <p:tags r:id="rId4"/>
            </p:custDataLst>
          </p:nvPr>
        </p:nvGraphicFramePr>
        <p:xfrm>
          <a:off x="495300" y="2611015"/>
          <a:ext cx="3200419" cy="2848069"/>
        </p:xfrm>
        <a:graphic>
          <a:graphicData uri="http://schemas.openxmlformats.org/presentationml/2006/ole">
            <mc:AlternateContent xmlns:mc="http://schemas.openxmlformats.org/markup-compatibility/2006">
              <mc:Choice xmlns:v="urn:schemas-microsoft-com:vml" Requires="v">
                <p:oleObj spid="_x0000_s138282" name="Chart" r:id="rId54" imgW="3200574" imgH="2847883" progId="MSGraph.Chart.8">
                  <p:embed followColorScheme="full"/>
                </p:oleObj>
              </mc:Choice>
              <mc:Fallback>
                <p:oleObj name="Chart" r:id="rId54" imgW="3200574" imgH="2847883" progId="MSGraph.Chart.8">
                  <p:embed followColorScheme="full"/>
                  <p:pic>
                    <p:nvPicPr>
                      <p:cNvPr id="7" name="Object 6"/>
                      <p:cNvPicPr/>
                      <p:nvPr/>
                    </p:nvPicPr>
                    <p:blipFill>
                      <a:blip r:embed="rId55"/>
                      <a:stretch>
                        <a:fillRect/>
                      </a:stretch>
                    </p:blipFill>
                    <p:spPr>
                      <a:xfrm>
                        <a:off x="495300" y="2611015"/>
                        <a:ext cx="3200419" cy="2848069"/>
                      </a:xfrm>
                      <a:prstGeom prst="rect">
                        <a:avLst/>
                      </a:prstGeom>
                    </p:spPr>
                  </p:pic>
                </p:oleObj>
              </mc:Fallback>
            </mc:AlternateContent>
          </a:graphicData>
        </a:graphic>
      </p:graphicFrame>
      <p:cxnSp>
        <p:nvCxnSpPr>
          <p:cNvPr id="58" name="Straight Connector 57"/>
          <p:cNvCxnSpPr/>
          <p:nvPr>
            <p:custDataLst>
              <p:tags r:id="rId5"/>
            </p:custDataLst>
          </p:nvPr>
        </p:nvCxnSpPr>
        <p:spPr bwMode="auto">
          <a:xfrm>
            <a:off x="985838" y="2307803"/>
            <a:ext cx="22288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6"/>
            </p:custDataLst>
          </p:nvPr>
        </p:nvCxnSpPr>
        <p:spPr bwMode="auto">
          <a:xfrm>
            <a:off x="3214688" y="2307803"/>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7"/>
            </p:custDataLst>
          </p:nvPr>
        </p:nvCxnSpPr>
        <p:spPr bwMode="auto">
          <a:xfrm flipV="1">
            <a:off x="985838" y="2307803"/>
            <a:ext cx="0" cy="18097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Text Placeholder 37"/>
          <p:cNvSpPr>
            <a:spLocks noGrp="1"/>
          </p:cNvSpPr>
          <p:nvPr>
            <p:custDataLst>
              <p:tags r:id="rId8"/>
            </p:custDataLst>
          </p:nvPr>
        </p:nvSpPr>
        <p:spPr bwMode="auto">
          <a:xfrm>
            <a:off x="1763713" y="2190328"/>
            <a:ext cx="674688" cy="234950"/>
          </a:xfrm>
          <a:prstGeom prst="ellipse">
            <a:avLst/>
          </a:prstGeom>
          <a:solidFill>
            <a:srgbClr val="FFFFFF"/>
          </a:solidFill>
          <a:ln w="9525">
            <a:solidFill>
              <a:schemeClr val="tx1"/>
            </a:solidFill>
          </a:ln>
        </p:spPr>
        <p:txBody>
          <a:bodyPr wrap="none" lIns="0" tIns="0" rIns="0"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lnSpc>
                <a:spcPct val="90000"/>
              </a:lnSpc>
              <a:spcBef>
                <a:spcPct val="0"/>
              </a:spcBef>
              <a:spcAft>
                <a:spcPct val="0"/>
              </a:spcAft>
            </a:pPr>
            <a:fld id="{B09A702C-5370-4529-99F6-ADB7951B7ABC}" type="datetime'''''''''''''''''''''''''''''''''+''1''''''''''''6''8''''%'">
              <a:rPr lang="en-US" b="1"/>
              <a:pPr/>
              <a:t>+168%</a:t>
            </a:fld>
            <a:endParaRPr lang="en-GB" b="1" dirty="0">
              <a:sym typeface="+mn-lt"/>
            </a:endParaRPr>
          </a:p>
        </p:txBody>
      </p:sp>
      <p:sp>
        <p:nvSpPr>
          <p:cNvPr id="20" name="Text Placeholder 13"/>
          <p:cNvSpPr>
            <a:spLocks noGrp="1"/>
          </p:cNvSpPr>
          <p:nvPr>
            <p:custDataLst>
              <p:tags r:id="rId9"/>
            </p:custDataLst>
          </p:nvPr>
        </p:nvSpPr>
        <p:spPr bwMode="gray">
          <a:xfrm>
            <a:off x="3003550" y="2498303"/>
            <a:ext cx="423863" cy="182563"/>
          </a:xfrm>
          <a:prstGeom prst="rect">
            <a:avLst/>
          </a:prstGeom>
          <a:noFill/>
          <a:extLst>
            <a:ext uri="{909E8E84-426E-40dd-AFC4-6F175D3DCCD1}">
              <a14:hiddenFill xmlns:a14="http://schemas.microsoft.com/office/drawing/2010/main" xmlns="">
                <a:solidFill>
                  <a:scrgbClr r="0" g="0" b="0"/>
                </a:solidFill>
              </a14:hiddenFill>
            </a:ext>
          </a:extLst>
        </p:spPr>
        <p:txBody>
          <a:bodyPr wrap="none" lIns="22225" tIns="0" rIns="22225" bIns="0" numCol="1" spcCol="0" anchor="b"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D27F416A-14B0-43FC-B362-D6370BB18595}" type="datetime'''''''''2''''''.''''''''''''''''''''''''''''''''2''''4''6'''">
              <a:rPr lang="en-US">
                <a:sym typeface="Arial"/>
              </a:rPr>
              <a:pPr algn="ctr">
                <a:spcBef>
                  <a:spcPct val="0"/>
                </a:spcBef>
                <a:spcAft>
                  <a:spcPct val="0"/>
                </a:spcAft>
              </a:pPr>
              <a:t>2.246</a:t>
            </a:fld>
            <a:endParaRPr lang="en-GB" dirty="0">
              <a:sym typeface="Arial"/>
            </a:endParaRPr>
          </a:p>
        </p:txBody>
      </p:sp>
      <p:sp>
        <p:nvSpPr>
          <p:cNvPr id="19" name="Text Placeholder 12"/>
          <p:cNvSpPr>
            <a:spLocks noGrp="1"/>
          </p:cNvSpPr>
          <p:nvPr>
            <p:custDataLst>
              <p:tags r:id="rId10"/>
            </p:custDataLst>
          </p:nvPr>
        </p:nvSpPr>
        <p:spPr bwMode="auto">
          <a:xfrm>
            <a:off x="3040063" y="5484390"/>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02109575-65AE-4187-932F-637162056008}" type="datetime'''''''''''''''''''''2''''''''''''''''''0''''''1''''''8'''''">
              <a:rPr lang="en-US">
                <a:sym typeface="Arial"/>
              </a:rPr>
              <a:pPr algn="ctr">
                <a:spcBef>
                  <a:spcPct val="0"/>
                </a:spcBef>
                <a:spcAft>
                  <a:spcPct val="0"/>
                </a:spcAft>
              </a:pPr>
              <a:t>2018</a:t>
            </a:fld>
            <a:endParaRPr lang="en-GB" dirty="0">
              <a:sym typeface="Arial"/>
            </a:endParaRPr>
          </a:p>
        </p:txBody>
      </p:sp>
      <p:sp>
        <p:nvSpPr>
          <p:cNvPr id="39" name="Text Placeholder 30"/>
          <p:cNvSpPr>
            <a:spLocks noGrp="1"/>
          </p:cNvSpPr>
          <p:nvPr>
            <p:custDataLst>
              <p:tags r:id="rId11"/>
            </p:custDataLst>
          </p:nvPr>
        </p:nvSpPr>
        <p:spPr bwMode="gray">
          <a:xfrm>
            <a:off x="3108325" y="4258840"/>
            <a:ext cx="212725" cy="182563"/>
          </a:xfrm>
          <a:prstGeom prst="rect">
            <a:avLst/>
          </a:prstGeom>
          <a:solidFill>
            <a:srgbClr val="808080"/>
          </a:solidFill>
        </p:spPr>
        <p:txBody>
          <a:bodyPr wrap="none" lIns="22225" tIns="0" rIns="22225"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9469C740-5F84-483A-972D-A316496C3954}" type="datetime'''''''''''''''2''''''0'''''''''''''''''''''''''''''''''''">
              <a:rPr lang="en-US">
                <a:solidFill>
                  <a:schemeClr val="bg1"/>
                </a:solidFill>
                <a:sym typeface="Arial"/>
              </a:rPr>
              <a:pPr algn="ctr">
                <a:spcBef>
                  <a:spcPct val="0"/>
                </a:spcBef>
                <a:spcAft>
                  <a:spcPct val="0"/>
                </a:spcAft>
              </a:pPr>
              <a:t>20</a:t>
            </a:fld>
            <a:endParaRPr lang="en-GB" dirty="0">
              <a:solidFill>
                <a:schemeClr val="bg1"/>
              </a:solidFill>
              <a:sym typeface="Arial"/>
            </a:endParaRPr>
          </a:p>
        </p:txBody>
      </p:sp>
      <p:sp>
        <p:nvSpPr>
          <p:cNvPr id="11" name="Text Placeholder 3"/>
          <p:cNvSpPr>
            <a:spLocks noGrp="1"/>
          </p:cNvSpPr>
          <p:nvPr>
            <p:custDataLst>
              <p:tags r:id="rId12"/>
            </p:custDataLst>
          </p:nvPr>
        </p:nvSpPr>
        <p:spPr bwMode="auto">
          <a:xfrm>
            <a:off x="2297113" y="5484390"/>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D6542878-990C-4BD4-A5AC-80E75BFD7713}" type="datetime'''''''''''''''''''2''0''''''''''1''''''7'''''''">
              <a:rPr lang="en-US"/>
              <a:pPr/>
              <a:t>2017</a:t>
            </a:fld>
            <a:endParaRPr lang="en-GB" dirty="0">
              <a:sym typeface="+mn-lt"/>
            </a:endParaRPr>
          </a:p>
        </p:txBody>
      </p:sp>
      <p:sp>
        <p:nvSpPr>
          <p:cNvPr id="17" name="Text Placeholder 9"/>
          <p:cNvSpPr>
            <a:spLocks noGrp="1"/>
          </p:cNvSpPr>
          <p:nvPr>
            <p:custDataLst>
              <p:tags r:id="rId13"/>
            </p:custDataLst>
          </p:nvPr>
        </p:nvSpPr>
        <p:spPr bwMode="gray">
          <a:xfrm>
            <a:off x="2260600" y="2822153"/>
            <a:ext cx="423863" cy="182563"/>
          </a:xfrm>
          <a:prstGeom prst="rect">
            <a:avLst/>
          </a:prstGeom>
          <a:noFill/>
          <a:extLst>
            <a:ext uri="{909E8E84-426E-40dd-AFC4-6F175D3DCCD1}">
              <a14:hiddenFill xmlns:a14="http://schemas.microsoft.com/office/drawing/2010/main" xmlns="">
                <a:solidFill>
                  <a:scrgbClr r="0" g="0" b="0"/>
                </a:solidFill>
              </a14:hiddenFill>
            </a:ext>
          </a:extLst>
        </p:spPr>
        <p:txBody>
          <a:bodyPr wrap="none" lIns="22225" tIns="0" rIns="22225" bIns="0" numCol="1" spcCol="0" anchor="b"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CCC0CE86-B5E0-4E97-BC19-9BCA1DA2823E}" type="datetime'''''''''1''''''''''''''''.''''9''72'''''''''''''''">
              <a:rPr lang="en-US"/>
              <a:pPr/>
              <a:t>1.972</a:t>
            </a:fld>
            <a:endParaRPr lang="en-GB" dirty="0">
              <a:sym typeface="+mn-lt"/>
            </a:endParaRPr>
          </a:p>
        </p:txBody>
      </p:sp>
      <p:sp>
        <p:nvSpPr>
          <p:cNvPr id="38" name="Text Placeholder 29"/>
          <p:cNvSpPr>
            <a:spLocks noGrp="1"/>
          </p:cNvSpPr>
          <p:nvPr>
            <p:custDataLst>
              <p:tags r:id="rId14"/>
            </p:custDataLst>
          </p:nvPr>
        </p:nvSpPr>
        <p:spPr bwMode="gray">
          <a:xfrm>
            <a:off x="2365375" y="4235028"/>
            <a:ext cx="212725" cy="182563"/>
          </a:xfrm>
          <a:prstGeom prst="rect">
            <a:avLst/>
          </a:prstGeom>
          <a:solidFill>
            <a:srgbClr val="808080"/>
          </a:solidFill>
        </p:spPr>
        <p:txBody>
          <a:bodyPr wrap="none" lIns="22225" tIns="0" rIns="22225"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78BBDD28-BC5F-44B3-8D55-2CE7B4E6E19A}" type="datetime'''''''''''''''''''''''''''''''6''''''''6'''''''''''''''">
              <a:rPr lang="en-US">
                <a:solidFill>
                  <a:schemeClr val="bg1"/>
                </a:solidFill>
                <a:sym typeface="Arial"/>
              </a:rPr>
              <a:pPr algn="ctr">
                <a:spcBef>
                  <a:spcPct val="0"/>
                </a:spcBef>
                <a:spcAft>
                  <a:spcPct val="0"/>
                </a:spcAft>
              </a:pPr>
              <a:t>66</a:t>
            </a:fld>
            <a:endParaRPr lang="en-GB" dirty="0">
              <a:solidFill>
                <a:schemeClr val="bg1"/>
              </a:solidFill>
              <a:sym typeface="Arial"/>
            </a:endParaRPr>
          </a:p>
        </p:txBody>
      </p:sp>
      <p:sp>
        <p:nvSpPr>
          <p:cNvPr id="10" name="Text Placeholder 2"/>
          <p:cNvSpPr>
            <a:spLocks noGrp="1"/>
          </p:cNvSpPr>
          <p:nvPr>
            <p:custDataLst>
              <p:tags r:id="rId15"/>
            </p:custDataLst>
          </p:nvPr>
        </p:nvSpPr>
        <p:spPr bwMode="auto">
          <a:xfrm>
            <a:off x="1554163" y="5484390"/>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07E5D85D-D061-44D1-A63F-B03CF42AE0A9}" type="datetime'2''''''''''0''''''''''''''16'''''''''''''''''''''''">
              <a:rPr lang="en-US"/>
              <a:pPr/>
              <a:t>2016</a:t>
            </a:fld>
            <a:endParaRPr lang="en-GB" dirty="0">
              <a:sym typeface="+mn-lt"/>
            </a:endParaRPr>
          </a:p>
        </p:txBody>
      </p:sp>
      <p:sp>
        <p:nvSpPr>
          <p:cNvPr id="16" name="Text Placeholder 8"/>
          <p:cNvSpPr>
            <a:spLocks noGrp="1"/>
          </p:cNvSpPr>
          <p:nvPr>
            <p:custDataLst>
              <p:tags r:id="rId16"/>
            </p:custDataLst>
          </p:nvPr>
        </p:nvSpPr>
        <p:spPr bwMode="gray">
          <a:xfrm>
            <a:off x="1517650" y="3898478"/>
            <a:ext cx="423863" cy="182563"/>
          </a:xfrm>
          <a:prstGeom prst="rect">
            <a:avLst/>
          </a:prstGeom>
          <a:noFill/>
          <a:extLst>
            <a:ext uri="{909E8E84-426E-40dd-AFC4-6F175D3DCCD1}">
              <a14:hiddenFill xmlns:a14="http://schemas.microsoft.com/office/drawing/2010/main" xmlns="">
                <a:solidFill>
                  <a:scrgbClr r="0" g="0" b="0"/>
                </a:solidFill>
              </a14:hiddenFill>
            </a:ext>
          </a:extLst>
        </p:spPr>
        <p:txBody>
          <a:bodyPr wrap="none" lIns="22225" tIns="0" rIns="22225" bIns="0" numCol="1" spcCol="0" anchor="b"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C9DF8EB8-449C-46D9-9FE8-8FB2636F6DA8}" type="datetime'''1''''''''''.''''0''''''''5''6'''''''''''''''''''">
              <a:rPr lang="en-US"/>
              <a:pPr/>
              <a:t>1.056</a:t>
            </a:fld>
            <a:endParaRPr lang="en-GB" dirty="0">
              <a:sym typeface="+mn-lt"/>
            </a:endParaRPr>
          </a:p>
        </p:txBody>
      </p:sp>
      <p:sp>
        <p:nvSpPr>
          <p:cNvPr id="8" name="Text Placeholder 1"/>
          <p:cNvSpPr>
            <a:spLocks noGrp="1"/>
          </p:cNvSpPr>
          <p:nvPr>
            <p:custDataLst>
              <p:tags r:id="rId17"/>
            </p:custDataLst>
          </p:nvPr>
        </p:nvSpPr>
        <p:spPr bwMode="auto">
          <a:xfrm>
            <a:off x="811213" y="5484390"/>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FF38EB01-3447-4198-92E3-5CD49C5C6150}" type="datetime'''''2''''0''''''''''1''''''''''''''''''''5'''''''''''''''''">
              <a:rPr lang="en-US"/>
              <a:pPr/>
              <a:t>2015</a:t>
            </a:fld>
            <a:endParaRPr lang="en-GB" dirty="0">
              <a:sym typeface="+mn-lt"/>
            </a:endParaRPr>
          </a:p>
        </p:txBody>
      </p:sp>
      <p:sp>
        <p:nvSpPr>
          <p:cNvPr id="46" name="Rectangle 45"/>
          <p:cNvSpPr/>
          <p:nvPr>
            <p:custDataLst>
              <p:tags r:id="rId18"/>
            </p:custDataLst>
          </p:nvPr>
        </p:nvSpPr>
        <p:spPr bwMode="auto">
          <a:xfrm>
            <a:off x="674688" y="6232103"/>
            <a:ext cx="179388" cy="133350"/>
          </a:xfrm>
          <a:prstGeom prst="rect">
            <a:avLst/>
          </a:prstGeom>
          <a:solidFill>
            <a:srgbClr val="C0C0C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4" name="Rectangle 43"/>
          <p:cNvSpPr/>
          <p:nvPr>
            <p:custDataLst>
              <p:tags r:id="rId19"/>
            </p:custDataLst>
          </p:nvPr>
        </p:nvSpPr>
        <p:spPr bwMode="auto">
          <a:xfrm>
            <a:off x="674688" y="5825702"/>
            <a:ext cx="179388" cy="133350"/>
          </a:xfrm>
          <a:prstGeom prst="rect">
            <a:avLst/>
          </a:prstGeom>
          <a:solidFill>
            <a:srgbClr val="361A4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5" name="Rectangle 44"/>
          <p:cNvSpPr/>
          <p:nvPr>
            <p:custDataLst>
              <p:tags r:id="rId20"/>
            </p:custDataLst>
          </p:nvPr>
        </p:nvSpPr>
        <p:spPr bwMode="auto">
          <a:xfrm>
            <a:off x="674688" y="6028903"/>
            <a:ext cx="179388" cy="133350"/>
          </a:xfrm>
          <a:prstGeom prst="rect">
            <a:avLst/>
          </a:prstGeom>
          <a:solidFill>
            <a:srgbClr val="80808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4" name="Text Placeholder 26"/>
          <p:cNvSpPr>
            <a:spLocks noGrp="1"/>
          </p:cNvSpPr>
          <p:nvPr>
            <p:custDataLst>
              <p:tags r:id="rId21"/>
            </p:custDataLst>
          </p:nvPr>
        </p:nvSpPr>
        <p:spPr bwMode="auto">
          <a:xfrm>
            <a:off x="904875" y="5822528"/>
            <a:ext cx="2020888"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4C587B2E-92F6-4F5D-88C6-5503EA920ADA}" type="datetime'''Reven''u''e from'''' ful''l''y ''''e''''x''panded st''ores'">
              <a:rPr lang="en-US" sz="1000">
                <a:sym typeface="Arial"/>
              </a:rPr>
              <a:pPr>
                <a:spcBef>
                  <a:spcPct val="0"/>
                </a:spcBef>
                <a:spcAft>
                  <a:spcPct val="0"/>
                </a:spcAft>
              </a:pPr>
              <a:t>Revenue from fully expanded stores</a:t>
            </a:fld>
            <a:endParaRPr lang="en-GB" sz="1000" dirty="0">
              <a:sym typeface="Arial"/>
            </a:endParaRPr>
          </a:p>
        </p:txBody>
      </p:sp>
      <p:sp>
        <p:nvSpPr>
          <p:cNvPr id="37" name="Text Placeholder 28"/>
          <p:cNvSpPr>
            <a:spLocks noGrp="1"/>
          </p:cNvSpPr>
          <p:nvPr>
            <p:custDataLst>
              <p:tags r:id="rId22"/>
            </p:custDataLst>
          </p:nvPr>
        </p:nvSpPr>
        <p:spPr bwMode="auto">
          <a:xfrm>
            <a:off x="904875" y="6025728"/>
            <a:ext cx="1600200"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D2D764D4-62CC-4CD4-8B34-A3D7F22F8E44}" type="datetime'Revenue fr''om'''' ''''p''o''''''p''''-u''''p sto''re''''s'">
              <a:rPr lang="en-US" sz="1000">
                <a:sym typeface="Arial"/>
              </a:rPr>
              <a:pPr>
                <a:spcBef>
                  <a:spcPct val="0"/>
                </a:spcBef>
                <a:spcAft>
                  <a:spcPct val="0"/>
                </a:spcAft>
              </a:pPr>
              <a:t>Revenue from pop-up stores</a:t>
            </a:fld>
            <a:endParaRPr lang="en-GB" sz="1000" dirty="0">
              <a:sym typeface="Arial"/>
            </a:endParaRPr>
          </a:p>
        </p:txBody>
      </p:sp>
      <p:sp>
        <p:nvSpPr>
          <p:cNvPr id="26" name="Text Placeholder 21"/>
          <p:cNvSpPr>
            <a:spLocks noGrp="1"/>
          </p:cNvSpPr>
          <p:nvPr>
            <p:custDataLst>
              <p:tags r:id="rId23"/>
            </p:custDataLst>
          </p:nvPr>
        </p:nvSpPr>
        <p:spPr bwMode="auto">
          <a:xfrm>
            <a:off x="904875" y="6228928"/>
            <a:ext cx="630238"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5C430213-D273-400F-96AD-305038863989}" type="datetime'''''''''''''''''''''S''t''''a''tu''s ''Q''u''''''o'''''''''''">
              <a:rPr lang="en-US" sz="1000">
                <a:sym typeface="Arial"/>
              </a:rPr>
              <a:pPr>
                <a:spcBef>
                  <a:spcPct val="0"/>
                </a:spcBef>
                <a:spcAft>
                  <a:spcPct val="0"/>
                </a:spcAft>
              </a:pPr>
              <a:t>Status Quo</a:t>
            </a:fld>
            <a:endParaRPr lang="en-GB" sz="1000" dirty="0">
              <a:sym typeface="Arial"/>
            </a:endParaRPr>
          </a:p>
        </p:txBody>
      </p:sp>
      <p:graphicFrame>
        <p:nvGraphicFramePr>
          <p:cNvPr id="117" name="Object 116"/>
          <p:cNvGraphicFramePr>
            <a:graphicFrameLocks/>
          </p:cNvGraphicFramePr>
          <p:nvPr>
            <p:custDataLst>
              <p:tags r:id="rId24"/>
            </p:custDataLst>
          </p:nvPr>
        </p:nvGraphicFramePr>
        <p:xfrm>
          <a:off x="4038600" y="2344315"/>
          <a:ext cx="3209867" cy="3095598"/>
        </p:xfrm>
        <a:graphic>
          <a:graphicData uri="http://schemas.openxmlformats.org/presentationml/2006/ole">
            <mc:AlternateContent xmlns:mc="http://schemas.openxmlformats.org/markup-compatibility/2006">
              <mc:Choice xmlns:v="urn:schemas-microsoft-com:vml" Requires="v">
                <p:oleObj spid="_x0000_s138283" name="Chart" r:id="rId56" imgW="3209838" imgH="3095507" progId="MSGraph.Chart.8">
                  <p:embed followColorScheme="full"/>
                </p:oleObj>
              </mc:Choice>
              <mc:Fallback>
                <p:oleObj name="Chart" r:id="rId56" imgW="3209838" imgH="3095507" progId="MSGraph.Chart.8">
                  <p:embed followColorScheme="full"/>
                  <p:pic>
                    <p:nvPicPr>
                      <p:cNvPr id="117" name="Object 116"/>
                      <p:cNvPicPr/>
                      <p:nvPr/>
                    </p:nvPicPr>
                    <p:blipFill>
                      <a:blip r:embed="rId57"/>
                      <a:stretch>
                        <a:fillRect/>
                      </a:stretch>
                    </p:blipFill>
                    <p:spPr>
                      <a:xfrm>
                        <a:off x="4038600" y="2344315"/>
                        <a:ext cx="3209867" cy="3095598"/>
                      </a:xfrm>
                      <a:prstGeom prst="rect">
                        <a:avLst/>
                      </a:prstGeom>
                    </p:spPr>
                  </p:pic>
                </p:oleObj>
              </mc:Fallback>
            </mc:AlternateContent>
          </a:graphicData>
        </a:graphic>
      </p:graphicFrame>
      <p:sp>
        <p:nvSpPr>
          <p:cNvPr id="118" name="Text Placeholder 79"/>
          <p:cNvSpPr>
            <a:spLocks noGrp="1"/>
          </p:cNvSpPr>
          <p:nvPr>
            <p:custDataLst>
              <p:tags r:id="rId25"/>
            </p:custDataLst>
          </p:nvPr>
        </p:nvSpPr>
        <p:spPr bwMode="auto">
          <a:xfrm>
            <a:off x="4354513" y="5474865"/>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5EF0067E-7185-426E-9EE7-E53AEA7E3497}" type="datetime'''''''''''''''2''0''''''''''''''''''''1''''''''''''''''5'">
              <a:rPr lang="en-US"/>
              <a:pPr/>
              <a:t>2015</a:t>
            </a:fld>
            <a:endParaRPr lang="en-GB" dirty="0">
              <a:sym typeface="+mn-lt"/>
            </a:endParaRPr>
          </a:p>
        </p:txBody>
      </p:sp>
      <p:sp>
        <p:nvSpPr>
          <p:cNvPr id="119" name="Text Placeholder 80"/>
          <p:cNvSpPr>
            <a:spLocks noGrp="1"/>
          </p:cNvSpPr>
          <p:nvPr>
            <p:custDataLst>
              <p:tags r:id="rId26"/>
            </p:custDataLst>
          </p:nvPr>
        </p:nvSpPr>
        <p:spPr bwMode="auto">
          <a:xfrm>
            <a:off x="5106988" y="5474865"/>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D3377F0F-3D23-427C-BB2F-34FBE54149AD}" type="datetime'''''2''0''1''''6'''''''''''''">
              <a:rPr lang="en-US"/>
              <a:pPr/>
              <a:t>2016</a:t>
            </a:fld>
            <a:endParaRPr lang="en-GB" dirty="0">
              <a:sym typeface="+mn-lt"/>
            </a:endParaRPr>
          </a:p>
        </p:txBody>
      </p:sp>
      <p:sp>
        <p:nvSpPr>
          <p:cNvPr id="121" name="Text Placeholder 82"/>
          <p:cNvSpPr>
            <a:spLocks noGrp="1"/>
          </p:cNvSpPr>
          <p:nvPr>
            <p:custDataLst>
              <p:tags r:id="rId27"/>
            </p:custDataLst>
          </p:nvPr>
        </p:nvSpPr>
        <p:spPr bwMode="auto">
          <a:xfrm>
            <a:off x="6602413" y="5474865"/>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163A01BA-CA24-4CB6-8282-B10CBC6E6295}" type="datetime'2''''''''0''''1''''''''''''''''''''8'''''''''''''''''''''''">
              <a:rPr lang="en-US"/>
              <a:pPr/>
              <a:t>2018</a:t>
            </a:fld>
            <a:endParaRPr lang="en-GB" dirty="0">
              <a:sym typeface="Arial"/>
            </a:endParaRPr>
          </a:p>
        </p:txBody>
      </p:sp>
      <p:sp>
        <p:nvSpPr>
          <p:cNvPr id="120" name="Text Placeholder 81"/>
          <p:cNvSpPr>
            <a:spLocks noGrp="1"/>
          </p:cNvSpPr>
          <p:nvPr>
            <p:custDataLst>
              <p:tags r:id="rId28"/>
            </p:custDataLst>
          </p:nvPr>
        </p:nvSpPr>
        <p:spPr bwMode="auto">
          <a:xfrm>
            <a:off x="5854700" y="5474865"/>
            <a:ext cx="349250" cy="182563"/>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EC34A68B-8744-46A4-927C-CDB230CB76A4}" type="datetime'2''''01''''''7'''''''''''''''''''''''''''''''''">
              <a:rPr lang="en-US"/>
              <a:pPr/>
              <a:t>2017</a:t>
            </a:fld>
            <a:endParaRPr lang="en-GB" dirty="0">
              <a:sym typeface="+mn-lt"/>
            </a:endParaRPr>
          </a:p>
        </p:txBody>
      </p:sp>
      <p:sp>
        <p:nvSpPr>
          <p:cNvPr id="125" name="Rectangle 124"/>
          <p:cNvSpPr/>
          <p:nvPr>
            <p:custDataLst>
              <p:tags r:id="rId29"/>
            </p:custDataLst>
          </p:nvPr>
        </p:nvSpPr>
        <p:spPr bwMode="auto">
          <a:xfrm>
            <a:off x="4213224" y="6028903"/>
            <a:ext cx="179388" cy="133350"/>
          </a:xfrm>
          <a:prstGeom prst="rect">
            <a:avLst/>
          </a:prstGeom>
          <a:solidFill>
            <a:srgbClr val="361A4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3" name="Rectangle 122"/>
          <p:cNvSpPr/>
          <p:nvPr>
            <p:custDataLst>
              <p:tags r:id="rId30"/>
            </p:custDataLst>
          </p:nvPr>
        </p:nvSpPr>
        <p:spPr bwMode="auto">
          <a:xfrm>
            <a:off x="4213224" y="5825702"/>
            <a:ext cx="179388" cy="133350"/>
          </a:xfrm>
          <a:prstGeom prst="rect">
            <a:avLst/>
          </a:prstGeom>
          <a:solidFill>
            <a:srgbClr val="96969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4" name="Text Placeholder 84"/>
          <p:cNvSpPr>
            <a:spLocks noGrp="1"/>
          </p:cNvSpPr>
          <p:nvPr>
            <p:custDataLst>
              <p:tags r:id="rId31"/>
            </p:custDataLst>
          </p:nvPr>
        </p:nvSpPr>
        <p:spPr bwMode="auto">
          <a:xfrm>
            <a:off x="4443413" y="6025728"/>
            <a:ext cx="1741488"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38DC6BE8-60AF-415D-A38B-155C3568CB01}" type="datetime'App''''''ly''i''ng'' ''''o''u''r r''ec''''om''mend''ation''s'">
              <a:rPr lang="en-US" sz="1000"/>
              <a:pPr/>
              <a:t>Applying our recommendations</a:t>
            </a:fld>
            <a:endParaRPr lang="en-GB" sz="1000" dirty="0">
              <a:sym typeface="Arial"/>
            </a:endParaRPr>
          </a:p>
        </p:txBody>
      </p:sp>
      <p:sp>
        <p:nvSpPr>
          <p:cNvPr id="122" name="Text Placeholder 83"/>
          <p:cNvSpPr>
            <a:spLocks noGrp="1"/>
          </p:cNvSpPr>
          <p:nvPr>
            <p:custDataLst>
              <p:tags r:id="rId32"/>
            </p:custDataLst>
          </p:nvPr>
        </p:nvSpPr>
        <p:spPr bwMode="auto">
          <a:xfrm>
            <a:off x="4443413" y="5822528"/>
            <a:ext cx="990600"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5DB3CF90-4213-4E41-A287-2BC86E807702}" type="datetime'''''''An''al''''''ys''''''t'''''' est''''i''m''''''ates'''''">
              <a:rPr lang="en-US" sz="1000">
                <a:sym typeface="+mn-lt"/>
              </a:rPr>
              <a:pPr>
                <a:spcBef>
                  <a:spcPct val="0"/>
                </a:spcBef>
                <a:spcAft>
                  <a:spcPct val="0"/>
                </a:spcAft>
              </a:pPr>
              <a:t>Analyst estimates</a:t>
            </a:fld>
            <a:endParaRPr lang="en-GB" sz="1000" dirty="0">
              <a:sym typeface="+mn-lt"/>
            </a:endParaRPr>
          </a:p>
        </p:txBody>
      </p:sp>
      <p:cxnSp>
        <p:nvCxnSpPr>
          <p:cNvPr id="141" name="Straight Connector 140"/>
          <p:cNvCxnSpPr/>
          <p:nvPr>
            <p:custDataLst>
              <p:tags r:id="rId33"/>
            </p:custDataLst>
          </p:nvPr>
        </p:nvCxnSpPr>
        <p:spPr bwMode="auto">
          <a:xfrm>
            <a:off x="9801225" y="270626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34"/>
            </p:custDataLst>
          </p:nvPr>
        </p:nvCxnSpPr>
        <p:spPr bwMode="auto">
          <a:xfrm>
            <a:off x="10344150" y="2772940"/>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35"/>
            </p:custDataLst>
          </p:nvPr>
        </p:nvCxnSpPr>
        <p:spPr bwMode="auto">
          <a:xfrm>
            <a:off x="9258300" y="270626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36"/>
            </p:custDataLst>
          </p:nvPr>
        </p:nvCxnSpPr>
        <p:spPr bwMode="auto">
          <a:xfrm>
            <a:off x="10896600" y="383021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37"/>
            </p:custDataLst>
          </p:nvPr>
        </p:nvCxnSpPr>
        <p:spPr bwMode="auto">
          <a:xfrm>
            <a:off x="8162925" y="4354090"/>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38"/>
            </p:custDataLst>
          </p:nvPr>
        </p:nvCxnSpPr>
        <p:spPr bwMode="auto">
          <a:xfrm>
            <a:off x="8715375" y="4335040"/>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31" name="Object 130"/>
          <p:cNvGraphicFramePr>
            <a:graphicFrameLocks/>
          </p:cNvGraphicFramePr>
          <p:nvPr>
            <p:custDataLst>
              <p:tags r:id="rId39"/>
            </p:custDataLst>
          </p:nvPr>
        </p:nvGraphicFramePr>
        <p:xfrm>
          <a:off x="7620000" y="2344315"/>
          <a:ext cx="4048033" cy="3095598"/>
        </p:xfrm>
        <a:graphic>
          <a:graphicData uri="http://schemas.openxmlformats.org/presentationml/2006/ole">
            <mc:AlternateContent xmlns:mc="http://schemas.openxmlformats.org/markup-compatibility/2006">
              <mc:Choice xmlns:v="urn:schemas-microsoft-com:vml" Requires="v">
                <p:oleObj spid="_x0000_s138284" name="Chart" r:id="rId58" imgW="4048194" imgH="3095507" progId="MSGraph.Chart.8">
                  <p:embed followColorScheme="full"/>
                </p:oleObj>
              </mc:Choice>
              <mc:Fallback>
                <p:oleObj name="Chart" r:id="rId58" imgW="4048194" imgH="3095507" progId="MSGraph.Chart.8">
                  <p:embed followColorScheme="full"/>
                  <p:pic>
                    <p:nvPicPr>
                      <p:cNvPr id="131" name="Object 130"/>
                      <p:cNvPicPr/>
                      <p:nvPr/>
                    </p:nvPicPr>
                    <p:blipFill>
                      <a:blip r:embed="rId59"/>
                      <a:stretch>
                        <a:fillRect/>
                      </a:stretch>
                    </p:blipFill>
                    <p:spPr>
                      <a:xfrm>
                        <a:off x="7620000" y="2344315"/>
                        <a:ext cx="4048033" cy="3095598"/>
                      </a:xfrm>
                      <a:prstGeom prst="rect">
                        <a:avLst/>
                      </a:prstGeom>
                    </p:spPr>
                  </p:pic>
                </p:oleObj>
              </mc:Fallback>
            </mc:AlternateContent>
          </a:graphicData>
        </a:graphic>
      </p:graphicFrame>
      <p:sp>
        <p:nvSpPr>
          <p:cNvPr id="145" name="Text Placeholder 95"/>
          <p:cNvSpPr>
            <a:spLocks noGrp="1"/>
          </p:cNvSpPr>
          <p:nvPr>
            <p:custDataLst>
              <p:tags r:id="rId40"/>
            </p:custDataLst>
          </p:nvPr>
        </p:nvSpPr>
        <p:spPr bwMode="auto">
          <a:xfrm>
            <a:off x="11141075" y="5452640"/>
            <a:ext cx="293688"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D24870BA-AAB0-490C-B632-9E32BA0E1F72}" type="datetime'EB''I''T'''''''''''''''''''''''''">
              <a:rPr lang="en-US" sz="1000">
                <a:sym typeface="+mn-lt"/>
              </a:rPr>
              <a:pPr algn="ctr">
                <a:spcBef>
                  <a:spcPct val="0"/>
                </a:spcBef>
                <a:spcAft>
                  <a:spcPct val="0"/>
                </a:spcAft>
              </a:pPr>
              <a:t>EBIT</a:t>
            </a:fld>
            <a:endParaRPr lang="en-GB" sz="1000" dirty="0">
              <a:sym typeface="+mn-lt"/>
            </a:endParaRPr>
          </a:p>
        </p:txBody>
      </p:sp>
      <p:sp useBgFill="1">
        <p:nvSpPr>
          <p:cNvPr id="162" name="Text Placeholder 104"/>
          <p:cNvSpPr>
            <a:spLocks noGrp="1"/>
          </p:cNvSpPr>
          <p:nvPr>
            <p:custDataLst>
              <p:tags r:id="rId41"/>
            </p:custDataLst>
          </p:nvPr>
        </p:nvSpPr>
        <p:spPr bwMode="gray">
          <a:xfrm>
            <a:off x="10085388" y="2649115"/>
            <a:ext cx="212725" cy="182563"/>
          </a:xfrm>
          <a:prstGeom prst="rect">
            <a:avLst/>
          </a:prstGeom>
        </p:spPr>
        <p:txBody>
          <a:bodyPr wrap="none" lIns="22225" tIns="0" rIns="22225"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7BD3C201-08F7-44E6-BCD4-DD1B8EA38784}" type="datetime'''''''''''''5''''''''''''''''''''8'''''''''''''''''''''''''">
              <a:rPr lang="en-US">
                <a:sym typeface="Arial"/>
              </a:rPr>
              <a:pPr algn="ctr">
                <a:spcBef>
                  <a:spcPct val="0"/>
                </a:spcBef>
                <a:spcAft>
                  <a:spcPct val="0"/>
                </a:spcAft>
              </a:pPr>
              <a:t>58</a:t>
            </a:fld>
            <a:endParaRPr lang="en-GB" dirty="0">
              <a:sym typeface="Arial"/>
            </a:endParaRPr>
          </a:p>
        </p:txBody>
      </p:sp>
      <p:sp>
        <p:nvSpPr>
          <p:cNvPr id="139" name="Text Placeholder 93"/>
          <p:cNvSpPr>
            <a:spLocks noGrp="1"/>
          </p:cNvSpPr>
          <p:nvPr>
            <p:custDataLst>
              <p:tags r:id="rId42"/>
            </p:custDataLst>
          </p:nvPr>
        </p:nvSpPr>
        <p:spPr bwMode="auto">
          <a:xfrm>
            <a:off x="9856788" y="5452640"/>
            <a:ext cx="671513" cy="4572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873B31CB-2579-4244-9BCF-343B37F69A41}" type="datetime'Po''p''-up'''' ''''stor''e ''e''''''xpe''ndi''t''''ur''''''e'">
              <a:rPr lang="en-US" sz="1000">
                <a:sym typeface="+mn-lt"/>
              </a:rPr>
              <a:pPr algn="ctr">
                <a:spcBef>
                  <a:spcPct val="0"/>
                </a:spcBef>
                <a:spcAft>
                  <a:spcPct val="0"/>
                </a:spcAft>
              </a:pPr>
              <a:t>Pop-up store expenditure</a:t>
            </a:fld>
            <a:endParaRPr lang="en-GB" sz="1000" dirty="0">
              <a:sym typeface="+mn-lt"/>
            </a:endParaRPr>
          </a:p>
        </p:txBody>
      </p:sp>
      <p:sp>
        <p:nvSpPr>
          <p:cNvPr id="169" name="Text Placeholder 110"/>
          <p:cNvSpPr>
            <a:spLocks noGrp="1"/>
          </p:cNvSpPr>
          <p:nvPr>
            <p:custDataLst>
              <p:tags r:id="rId43"/>
            </p:custDataLst>
          </p:nvPr>
        </p:nvSpPr>
        <p:spPr bwMode="gray">
          <a:xfrm>
            <a:off x="8894763" y="3430165"/>
            <a:ext cx="423863" cy="182563"/>
          </a:xfrm>
          <a:prstGeom prst="rect">
            <a:avLst/>
          </a:prstGeom>
          <a:solidFill>
            <a:srgbClr val="007770"/>
          </a:solidFill>
        </p:spPr>
        <p:txBody>
          <a:bodyPr wrap="none" lIns="22225" tIns="0" rIns="22225"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5F1EADBE-1F0C-49D4-803D-46E70FE9233E}" type="datetime'''1''''.''''''3''''''8''9'''''''''''''''''''''''''''''''''''''">
              <a:rPr lang="en-US">
                <a:solidFill>
                  <a:schemeClr val="bg1"/>
                </a:solidFill>
                <a:sym typeface="Arial"/>
              </a:rPr>
              <a:pPr algn="ctr">
                <a:spcBef>
                  <a:spcPct val="0"/>
                </a:spcBef>
                <a:spcAft>
                  <a:spcPct val="0"/>
                </a:spcAft>
              </a:pPr>
              <a:t>1.389</a:t>
            </a:fld>
            <a:endParaRPr lang="en-GB" dirty="0">
              <a:solidFill>
                <a:schemeClr val="bg1"/>
              </a:solidFill>
              <a:sym typeface="Arial"/>
            </a:endParaRPr>
          </a:p>
        </p:txBody>
      </p:sp>
      <p:sp>
        <p:nvSpPr>
          <p:cNvPr id="137" name="Text Placeholder 92"/>
          <p:cNvSpPr>
            <a:spLocks noGrp="1"/>
          </p:cNvSpPr>
          <p:nvPr>
            <p:custDataLst>
              <p:tags r:id="rId44"/>
            </p:custDataLst>
          </p:nvPr>
        </p:nvSpPr>
        <p:spPr bwMode="auto">
          <a:xfrm>
            <a:off x="9415463" y="5452640"/>
            <a:ext cx="468313" cy="6096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BC4C71E4-3360-4E97-BD0A-305B6DC69A99}" type="datetime'''T''''''''o''t''al'' r''ev''''''''e''nue'' from'' L''ATAM'">
              <a:rPr lang="en-US" sz="1000">
                <a:sym typeface="+mn-lt"/>
              </a:rPr>
              <a:pPr/>
              <a:t>Total revenue from LATAM</a:t>
            </a:fld>
            <a:endParaRPr lang="en-GB" sz="1000" dirty="0">
              <a:sym typeface="+mn-lt"/>
            </a:endParaRPr>
          </a:p>
        </p:txBody>
      </p:sp>
      <p:sp>
        <p:nvSpPr>
          <p:cNvPr id="134" name="Text Placeholder 91"/>
          <p:cNvSpPr>
            <a:spLocks noGrp="1"/>
          </p:cNvSpPr>
          <p:nvPr>
            <p:custDataLst>
              <p:tags r:id="rId45"/>
            </p:custDataLst>
          </p:nvPr>
        </p:nvSpPr>
        <p:spPr bwMode="auto">
          <a:xfrm>
            <a:off x="8823325" y="5452640"/>
            <a:ext cx="565150" cy="7620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8280AFCD-45CE-4AF5-9D3F-75B46686C827}" type="datetime'R''evenue from fully ''expanded'''''' (3 types'''') stor''es'">
              <a:rPr lang="en-US" sz="1000">
                <a:sym typeface="+mn-lt"/>
              </a:rPr>
              <a:pPr/>
              <a:t>Revenue from fully expanded (3 types) stores</a:t>
            </a:fld>
            <a:endParaRPr lang="en-GB" sz="1000" dirty="0">
              <a:sym typeface="+mn-lt"/>
            </a:endParaRPr>
          </a:p>
        </p:txBody>
      </p:sp>
      <p:sp useBgFill="1">
        <p:nvSpPr>
          <p:cNvPr id="165" name="Text Placeholder 106"/>
          <p:cNvSpPr>
            <a:spLocks noGrp="1"/>
          </p:cNvSpPr>
          <p:nvPr>
            <p:custDataLst>
              <p:tags r:id="rId46"/>
            </p:custDataLst>
          </p:nvPr>
        </p:nvSpPr>
        <p:spPr bwMode="gray">
          <a:xfrm>
            <a:off x="8451850" y="4254078"/>
            <a:ext cx="212725" cy="182563"/>
          </a:xfrm>
          <a:prstGeom prst="rect">
            <a:avLst/>
          </a:prstGeom>
        </p:spPr>
        <p:txBody>
          <a:bodyPr wrap="none" lIns="22225" tIns="0" rIns="22225" bIns="0" numCol="1" spcCol="0" anchor="ctr"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AAB1629F-D491-4317-9DD4-5619BEFA3935}" type="datetime'''''2''''''''''''''''''''''''0'''''''''''''''''''''''''''''''">
              <a:rPr lang="en-US">
                <a:sym typeface="Arial"/>
              </a:rPr>
              <a:pPr algn="ctr">
                <a:spcBef>
                  <a:spcPct val="0"/>
                </a:spcBef>
                <a:spcAft>
                  <a:spcPct val="0"/>
                </a:spcAft>
              </a:pPr>
              <a:t>20</a:t>
            </a:fld>
            <a:endParaRPr lang="en-GB" dirty="0">
              <a:sym typeface="Arial"/>
            </a:endParaRPr>
          </a:p>
        </p:txBody>
      </p:sp>
      <p:sp>
        <p:nvSpPr>
          <p:cNvPr id="142" name="Text Placeholder 94"/>
          <p:cNvSpPr>
            <a:spLocks noGrp="1"/>
          </p:cNvSpPr>
          <p:nvPr>
            <p:custDataLst>
              <p:tags r:id="rId47"/>
            </p:custDataLst>
          </p:nvPr>
        </p:nvSpPr>
        <p:spPr bwMode="auto">
          <a:xfrm>
            <a:off x="10404475" y="5452640"/>
            <a:ext cx="671513" cy="6096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D07A2255-18F5-44A2-8F52-5AD3FB21A5A6}" type="datetime'''Full''y exp''anded ''s''t''''ores ex''''pendit''u''r''''e'''">
              <a:rPr lang="en-US" sz="1000">
                <a:sym typeface="+mn-lt"/>
              </a:rPr>
              <a:pPr algn="ctr">
                <a:spcBef>
                  <a:spcPct val="0"/>
                </a:spcBef>
                <a:spcAft>
                  <a:spcPct val="0"/>
                </a:spcAft>
              </a:pPr>
              <a:t>Fully expanded stores expenditure</a:t>
            </a:fld>
            <a:endParaRPr lang="en-GB" sz="1000" dirty="0">
              <a:sym typeface="+mn-lt"/>
            </a:endParaRPr>
          </a:p>
        </p:txBody>
      </p:sp>
      <p:sp>
        <p:nvSpPr>
          <p:cNvPr id="133" name="Text Placeholder 90"/>
          <p:cNvSpPr>
            <a:spLocks noGrp="1"/>
          </p:cNvSpPr>
          <p:nvPr>
            <p:custDataLst>
              <p:tags r:id="rId48"/>
            </p:custDataLst>
          </p:nvPr>
        </p:nvSpPr>
        <p:spPr bwMode="auto">
          <a:xfrm>
            <a:off x="8299450" y="5452640"/>
            <a:ext cx="517525" cy="6096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0D4BF539-99A6-4325-BF5D-499C89036060}" type="datetime'Re''v''e''''nu''e f''''rom ''p''o''''p''''-u''p st''''ores'''">
              <a:rPr lang="en-US" sz="1000">
                <a:sym typeface="+mn-lt"/>
              </a:rPr>
              <a:pPr/>
              <a:t>Revenue from pop-up stores</a:t>
            </a:fld>
            <a:endParaRPr lang="en-GB" sz="1000" dirty="0">
              <a:sym typeface="+mn-lt"/>
            </a:endParaRPr>
          </a:p>
        </p:txBody>
      </p:sp>
      <p:sp>
        <p:nvSpPr>
          <p:cNvPr id="132" name="Text Placeholder 89"/>
          <p:cNvSpPr>
            <a:spLocks noGrp="1"/>
          </p:cNvSpPr>
          <p:nvPr>
            <p:custDataLst>
              <p:tags r:id="rId49"/>
            </p:custDataLst>
          </p:nvPr>
        </p:nvSpPr>
        <p:spPr bwMode="auto">
          <a:xfrm>
            <a:off x="7826375" y="5452640"/>
            <a:ext cx="369888" cy="4572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ct val="20000"/>
              </a:spcBef>
              <a:buFont typeface="Arial" panose="020B0604020202020204" pitchFamily="34" charset="0"/>
              <a:buNone/>
              <a:defRPr sz="1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fld id="{01011E12-3099-4528-9DF8-3314CC224113}" type="datetime'''S''''t''a''''''''tus'' ''''''''Q''''''''u''o ''201''5'''">
              <a:rPr lang="en-US" sz="1000">
                <a:sym typeface="+mn-lt"/>
              </a:rPr>
              <a:pPr/>
              <a:t>Status Quo 2015</a:t>
            </a:fld>
            <a:endParaRPr lang="en-GB" sz="1000" dirty="0">
              <a:sym typeface="+mn-lt"/>
            </a:endParaRPr>
          </a:p>
        </p:txBody>
      </p:sp>
      <p:sp>
        <p:nvSpPr>
          <p:cNvPr id="183" name="Rectangle 182"/>
          <p:cNvSpPr/>
          <p:nvPr/>
        </p:nvSpPr>
        <p:spPr>
          <a:xfrm>
            <a:off x="8400255" y="1037580"/>
            <a:ext cx="3169455" cy="879251"/>
          </a:xfrm>
          <a:prstGeom prst="rect">
            <a:avLst/>
          </a:prstGeom>
          <a:solidFill>
            <a:srgbClr val="504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84" name="Pentagon 183"/>
          <p:cNvSpPr/>
          <p:nvPr/>
        </p:nvSpPr>
        <p:spPr>
          <a:xfrm>
            <a:off x="617637" y="1033527"/>
            <a:ext cx="3462139" cy="883305"/>
          </a:xfrm>
          <a:prstGeom prst="homePlate">
            <a:avLst/>
          </a:prstGeom>
          <a:solidFill>
            <a:srgbClr val="504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Using pop-up stores enables significant revenues from successful full expansions …</a:t>
            </a:r>
          </a:p>
        </p:txBody>
      </p:sp>
      <p:sp>
        <p:nvSpPr>
          <p:cNvPr id="185" name="Chevron 184"/>
          <p:cNvSpPr/>
          <p:nvPr/>
        </p:nvSpPr>
        <p:spPr>
          <a:xfrm>
            <a:off x="7826375" y="1033527"/>
            <a:ext cx="3743336" cy="883305"/>
          </a:xfrm>
          <a:prstGeom prst="chevron">
            <a:avLst/>
          </a:prstGeom>
          <a:solidFill>
            <a:srgbClr val="504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 and still maintains a significant EBIT margin.</a:t>
            </a:r>
          </a:p>
        </p:txBody>
      </p:sp>
      <p:sp>
        <p:nvSpPr>
          <p:cNvPr id="186" name="Chevron 185"/>
          <p:cNvSpPr/>
          <p:nvPr/>
        </p:nvSpPr>
        <p:spPr>
          <a:xfrm>
            <a:off x="4079776" y="1033527"/>
            <a:ext cx="3746598" cy="883305"/>
          </a:xfrm>
          <a:prstGeom prst="chevron">
            <a:avLst/>
          </a:prstGeom>
          <a:solidFill>
            <a:srgbClr val="504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 outperforming analyst expectations based on general market trends …</a:t>
            </a:r>
          </a:p>
        </p:txBody>
      </p:sp>
      <p:cxnSp>
        <p:nvCxnSpPr>
          <p:cNvPr id="6" name="Straight Arrow Connector 5"/>
          <p:cNvCxnSpPr/>
          <p:nvPr/>
        </p:nvCxnSpPr>
        <p:spPr>
          <a:xfrm flipH="1" flipV="1">
            <a:off x="617637" y="2244397"/>
            <a:ext cx="9555" cy="3092934"/>
          </a:xfrm>
          <a:prstGeom prst="straightConnector1">
            <a:avLst/>
          </a:prstGeom>
          <a:ln>
            <a:solidFill>
              <a:srgbClr val="65596C"/>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16200000">
            <a:off x="113349" y="3580547"/>
            <a:ext cx="797013" cy="276999"/>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Revenue</a:t>
            </a:r>
            <a:endParaRPr lang="en-US" sz="1200" dirty="0">
              <a:latin typeface="Arial" panose="020B0604020202020204" pitchFamily="34" charset="0"/>
              <a:cs typeface="Arial" panose="020B0604020202020204" pitchFamily="34" charset="0"/>
            </a:endParaRPr>
          </a:p>
        </p:txBody>
      </p:sp>
      <p:sp>
        <p:nvSpPr>
          <p:cNvPr id="61" name="TextBox 60"/>
          <p:cNvSpPr txBox="1"/>
          <p:nvPr/>
        </p:nvSpPr>
        <p:spPr>
          <a:xfrm>
            <a:off x="435544" y="1949028"/>
            <a:ext cx="631357"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MM DKK RT15</a:t>
            </a:r>
          </a:p>
        </p:txBody>
      </p:sp>
      <p:cxnSp>
        <p:nvCxnSpPr>
          <p:cNvPr id="62" name="Straight Arrow Connector 61"/>
          <p:cNvCxnSpPr/>
          <p:nvPr/>
        </p:nvCxnSpPr>
        <p:spPr>
          <a:xfrm flipH="1" flipV="1">
            <a:off x="4133500" y="2245587"/>
            <a:ext cx="9555" cy="3092934"/>
          </a:xfrm>
          <a:prstGeom prst="straightConnector1">
            <a:avLst/>
          </a:prstGeom>
          <a:ln>
            <a:solidFill>
              <a:srgbClr val="65596C"/>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rot="16200000">
            <a:off x="3629212" y="3581737"/>
            <a:ext cx="797013" cy="276999"/>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Revenue</a:t>
            </a:r>
            <a:endParaRPr lang="en-US" sz="1200" dirty="0">
              <a:latin typeface="Arial" panose="020B0604020202020204" pitchFamily="34" charset="0"/>
              <a:cs typeface="Arial" panose="020B0604020202020204" pitchFamily="34" charset="0"/>
            </a:endParaRPr>
          </a:p>
        </p:txBody>
      </p:sp>
      <p:cxnSp>
        <p:nvCxnSpPr>
          <p:cNvPr id="65" name="Straight Arrow Connector 64"/>
          <p:cNvCxnSpPr/>
          <p:nvPr/>
        </p:nvCxnSpPr>
        <p:spPr>
          <a:xfrm flipH="1" flipV="1">
            <a:off x="7742382" y="2244397"/>
            <a:ext cx="9555" cy="3092934"/>
          </a:xfrm>
          <a:prstGeom prst="straightConnector1">
            <a:avLst/>
          </a:prstGeom>
          <a:ln>
            <a:solidFill>
              <a:srgbClr val="65596C"/>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3946190" y="1939576"/>
            <a:ext cx="631357"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MM DKK RT15</a:t>
            </a:r>
          </a:p>
        </p:txBody>
      </p:sp>
      <p:sp>
        <p:nvSpPr>
          <p:cNvPr id="69" name="TextBox 68"/>
          <p:cNvSpPr txBox="1"/>
          <p:nvPr/>
        </p:nvSpPr>
        <p:spPr>
          <a:xfrm>
            <a:off x="7549472" y="1946331"/>
            <a:ext cx="631357"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MM DKK RT15</a:t>
            </a:r>
          </a:p>
        </p:txBody>
      </p:sp>
    </p:spTree>
    <p:extLst>
      <p:ext uri="{BB962C8B-B14F-4D97-AF65-F5344CB8AC3E}">
        <p14:creationId xmlns:p14="http://schemas.microsoft.com/office/powerpoint/2010/main" val="24804595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72" name="Diagram 71">
                <a:extLst>
                  <a:ext uri="{FF2B5EF4-FFF2-40B4-BE49-F238E27FC236}">
                    <a16:creationId xmlns:a16="http://schemas.microsoft.com/office/drawing/2014/main" id="{CD00C17C-AC1D-44CA-8CC5-CCF1B48D4001}"/>
                  </a:ext>
                </a:extLst>
              </p:cNvPr>
              <p:cNvGraphicFramePr/>
              <p:nvPr/>
            </p:nvGraphicFramePr>
            <p:xfrm>
              <a:off x="527050" y="1767063"/>
              <a:ext cx="6979821" cy="3223830"/>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2" name="Diagram 71">
                <a:extLst>
                  <a:ext uri="{FF2B5EF4-FFF2-40B4-BE49-F238E27FC236}">
                    <a16:creationId xmlns:cx1="http://schemas.microsoft.com/office/drawing/2015/9/8/chartex" xmlns="" xmlns:a16="http://schemas.microsoft.com/office/drawing/2014/main" id="{CD00C17C-AC1D-44CA-8CC5-CCF1B48D4001}"/>
                  </a:ext>
                </a:extLst>
              </p:cNvPr>
              <p:cNvPicPr>
                <a:picLocks noGrp="1" noRot="1" noChangeAspect="1" noMove="1" noResize="1" noEditPoints="1" noAdjustHandles="1" noChangeArrowheads="1" noChangeShapeType="1"/>
              </p:cNvPicPr>
              <p:nvPr/>
            </p:nvPicPr>
            <p:blipFill>
              <a:blip r:embed="rId6"/>
              <a:stretch>
                <a:fillRect/>
              </a:stretch>
            </p:blipFill>
            <p:spPr>
              <a:xfrm>
                <a:off x="527050" y="1767063"/>
                <a:ext cx="6979821" cy="3223830"/>
              </a:xfrm>
              <a:prstGeom prst="rect">
                <a:avLst/>
              </a:prstGeom>
            </p:spPr>
          </p:pic>
        </mc:Fallback>
      </mc:AlternateContent>
      <p:cxnSp>
        <p:nvCxnSpPr>
          <p:cNvPr id="8" name="Lige pilforbindelse 7">
            <a:extLst>
              <a:ext uri="{FF2B5EF4-FFF2-40B4-BE49-F238E27FC236}">
                <a16:creationId xmlns:a16="http://schemas.microsoft.com/office/drawing/2014/main" id="{8D6AE6B5-4BC3-4089-A180-90852CA9BAF2}"/>
              </a:ext>
            </a:extLst>
          </p:cNvPr>
          <p:cNvCxnSpPr/>
          <p:nvPr/>
        </p:nvCxnSpPr>
        <p:spPr>
          <a:xfrm flipV="1">
            <a:off x="2959697" y="3070088"/>
            <a:ext cx="2792361" cy="12806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utediagram: Forbindelse 9">
            <a:extLst>
              <a:ext uri="{FF2B5EF4-FFF2-40B4-BE49-F238E27FC236}">
                <a16:creationId xmlns:a16="http://schemas.microsoft.com/office/drawing/2014/main" id="{D950851B-2D56-4E4C-B940-FCB5EDA15A84}"/>
              </a:ext>
            </a:extLst>
          </p:cNvPr>
          <p:cNvSpPr/>
          <p:nvPr/>
        </p:nvSpPr>
        <p:spPr>
          <a:xfrm>
            <a:off x="4042472" y="3508376"/>
            <a:ext cx="505072" cy="481854"/>
          </a:xfrm>
          <a:prstGeom prst="flowChartConnector">
            <a:avLst/>
          </a:prstGeom>
          <a:solidFill>
            <a:schemeClr val="bg1"/>
          </a:solidFill>
          <a:ln w="19050">
            <a:solidFill>
              <a:schemeClr val="bg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00" dirty="0" err="1">
              <a:solidFill>
                <a:schemeClr val="tx1"/>
              </a:solidFill>
              <a:latin typeface="Arial" panose="020B0604020202020204" pitchFamily="34" charset="0"/>
              <a:ea typeface="Gulim" charset="-127"/>
              <a:cs typeface="Arial" panose="020B0604020202020204" pitchFamily="34" charset="0"/>
            </a:endParaRPr>
          </a:p>
        </p:txBody>
      </p:sp>
      <p:sp>
        <p:nvSpPr>
          <p:cNvPr id="11" name="Tekstfelt 10">
            <a:extLst>
              <a:ext uri="{FF2B5EF4-FFF2-40B4-BE49-F238E27FC236}">
                <a16:creationId xmlns:a16="http://schemas.microsoft.com/office/drawing/2014/main" id="{68739955-5E2E-4963-8DD1-544905A87715}"/>
              </a:ext>
            </a:extLst>
          </p:cNvPr>
          <p:cNvSpPr txBox="1"/>
          <p:nvPr/>
        </p:nvSpPr>
        <p:spPr>
          <a:xfrm>
            <a:off x="4028715" y="3612838"/>
            <a:ext cx="607257" cy="292388"/>
          </a:xfrm>
          <a:prstGeom prst="rect">
            <a:avLst/>
          </a:prstGeom>
          <a:noFill/>
        </p:spPr>
        <p:txBody>
          <a:bodyPr wrap="square" rtlCol="0">
            <a:spAutoFit/>
          </a:bodyPr>
          <a:lstStyle/>
          <a:p>
            <a:pPr algn="ctr"/>
            <a:r>
              <a:rPr lang="da-DK" sz="1300" b="1" dirty="0">
                <a:latin typeface="Arial" panose="020B0604020202020204" pitchFamily="34" charset="0"/>
                <a:ea typeface="Gulim" charset="-127"/>
                <a:cs typeface="Arial" panose="020B0604020202020204" pitchFamily="34" charset="0"/>
              </a:rPr>
              <a:t>24%</a:t>
            </a:r>
          </a:p>
        </p:txBody>
      </p:sp>
      <p:graphicFrame>
        <p:nvGraphicFramePr>
          <p:cNvPr id="42" name="Object 4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5" name="think-cell Slide" r:id="rId7" imgW="473" imgH="473" progId="TCLayout.ActiveDocument.1">
                  <p:embed/>
                </p:oleObj>
              </mc:Choice>
              <mc:Fallback>
                <p:oleObj name="think-cell Slide" r:id="rId7" imgW="473" imgH="473" progId="TCLayout.ActiveDocument.1">
                  <p:embed/>
                  <p:pic>
                    <p:nvPicPr>
                      <p:cNvPr id="42" name="Object 4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1" name="Rectangle 4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400" dirty="0">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48826557-FDB7-674F-B559-90BB5D79FE8E}"/>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3159F35E-925D-8C41-B036-096C1AFDC858}"/>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le 1"/>
          <p:cNvSpPr>
            <a:spLocks noGrp="1"/>
          </p:cNvSpPr>
          <p:nvPr>
            <p:ph type="title"/>
          </p:nvPr>
        </p:nvSpPr>
        <p:spPr>
          <a:prstGeom prst="rect">
            <a:avLst/>
          </a:prstGeom>
        </p:spPr>
        <p:txBody>
          <a:bodyPr>
            <a:noAutofit/>
          </a:bodyPr>
          <a:lstStyle/>
          <a:p>
            <a:r>
              <a:rPr lang="en-GB" sz="2400" dirty="0" err="1">
                <a:latin typeface="Arial" panose="020B0604020202020204" pitchFamily="34" charset="0"/>
                <a:cs typeface="Arial" panose="020B0604020202020204" pitchFamily="34" charset="0"/>
              </a:rPr>
              <a:t>Succesfully</a:t>
            </a:r>
            <a:r>
              <a:rPr lang="en-GB" sz="2400" dirty="0">
                <a:latin typeface="Arial" panose="020B0604020202020204" pitchFamily="34" charset="0"/>
                <a:cs typeface="Arial" panose="020B0604020202020204" pitchFamily="34" charset="0"/>
              </a:rPr>
              <a:t> implementing COW strategy will allow </a:t>
            </a:r>
            <a:r>
              <a:rPr lang="en-GB" sz="2400" dirty="0" err="1">
                <a:latin typeface="Arial" panose="020B0604020202020204" pitchFamily="34" charset="0"/>
                <a:cs typeface="Arial" panose="020B0604020202020204" pitchFamily="34" charset="0"/>
              </a:rPr>
              <a:t>Arla</a:t>
            </a:r>
            <a:r>
              <a:rPr lang="en-GB" sz="2400" dirty="0">
                <a:latin typeface="Arial" panose="020B0604020202020204" pitchFamily="34" charset="0"/>
                <a:cs typeface="Arial" panose="020B0604020202020204" pitchFamily="34" charset="0"/>
              </a:rPr>
              <a:t> foods to outgrow “Good Growth” targets and increase </a:t>
            </a:r>
            <a:r>
              <a:rPr lang="en-GB" sz="2400" dirty="0" err="1">
                <a:latin typeface="Arial" panose="020B0604020202020204" pitchFamily="34" charset="0"/>
                <a:cs typeface="Arial" panose="020B0604020202020204" pitchFamily="34" charset="0"/>
              </a:rPr>
              <a:t>Arla</a:t>
            </a:r>
            <a:r>
              <a:rPr lang="en-GB" sz="2400" dirty="0">
                <a:latin typeface="Arial" panose="020B0604020202020204" pitchFamily="34" charset="0"/>
                <a:cs typeface="Arial" panose="020B0604020202020204" pitchFamily="34" charset="0"/>
              </a:rPr>
              <a:t> brand share to 43.5%</a:t>
            </a:r>
          </a:p>
        </p:txBody>
      </p:sp>
      <p:sp>
        <p:nvSpPr>
          <p:cNvPr id="5" name="Title 4"/>
          <p:cNvSpPr txBox="1">
            <a:spLocks/>
          </p:cNvSpPr>
          <p:nvPr/>
        </p:nvSpPr>
        <p:spPr>
          <a:xfrm>
            <a:off x="527051" y="127212"/>
            <a:ext cx="9216039" cy="925103"/>
          </a:xfrm>
          <a:prstGeom prst="rect">
            <a:avLst/>
          </a:prstGeom>
        </p:spPr>
        <p:txBody>
          <a:bodyPr anchor="b"/>
          <a:lstStyle>
            <a:lvl1pPr algn="l" defTabSz="914400" rtl="0" eaLnBrk="1" latinLnBrk="0" hangingPunct="1">
              <a:lnSpc>
                <a:spcPct val="90000"/>
              </a:lnSpc>
              <a:spcBef>
                <a:spcPct val="0"/>
              </a:spcBef>
              <a:buNone/>
              <a:defRPr sz="2400" kern="1200">
                <a:solidFill>
                  <a:srgbClr val="002D56"/>
                </a:solidFill>
                <a:latin typeface="+mj-lt"/>
                <a:ea typeface="+mj-ea"/>
                <a:cs typeface="+mj-cs"/>
              </a:defRPr>
            </a:lvl1pPr>
          </a:lstStyle>
          <a:p>
            <a:endParaRPr lang="en-US" dirty="0">
              <a:latin typeface="Arial" panose="020B0604020202020204" pitchFamily="34" charset="0"/>
              <a:cs typeface="Arial" panose="020B0604020202020204" pitchFamily="34" charset="0"/>
            </a:endParaRPr>
          </a:p>
        </p:txBody>
      </p:sp>
      <p:sp>
        <p:nvSpPr>
          <p:cNvPr id="7" name="Tekstfelt 5"/>
          <p:cNvSpPr txBox="1"/>
          <p:nvPr/>
        </p:nvSpPr>
        <p:spPr>
          <a:xfrm>
            <a:off x="8522426" y="1590190"/>
            <a:ext cx="2920734" cy="307777"/>
          </a:xfrm>
          <a:prstGeom prst="rect">
            <a:avLst/>
          </a:prstGeom>
          <a:noFill/>
          <a:ln>
            <a:noFill/>
          </a:ln>
        </p:spPr>
        <p:txBody>
          <a:bodyPr wrap="square" rtlCol="0">
            <a:spAutoFit/>
          </a:bodyPr>
          <a:lstStyle/>
          <a:p>
            <a:r>
              <a:rPr lang="da-DK" sz="1400" b="1" dirty="0">
                <a:latin typeface="Arial" panose="020B0604020202020204" pitchFamily="34" charset="0"/>
                <a:ea typeface="Gulim" charset="-127"/>
                <a:cs typeface="Arial" panose="020B0604020202020204" pitchFamily="34" charset="0"/>
              </a:rPr>
              <a:t>Key assumptions</a:t>
            </a:r>
          </a:p>
        </p:txBody>
      </p:sp>
      <p:sp>
        <p:nvSpPr>
          <p:cNvPr id="22" name="TextBox 27"/>
          <p:cNvSpPr txBox="1"/>
          <p:nvPr/>
        </p:nvSpPr>
        <p:spPr>
          <a:xfrm>
            <a:off x="620355" y="1400171"/>
            <a:ext cx="7726087" cy="307777"/>
          </a:xfrm>
          <a:prstGeom prst="rect">
            <a:avLst/>
          </a:prstGeom>
          <a:noFill/>
        </p:spPr>
        <p:txBody>
          <a:bodyPr wrap="square" rtlCol="0">
            <a:spAutoFit/>
          </a:bodyPr>
          <a:lstStyle/>
          <a:p>
            <a:r>
              <a:rPr lang="da-DK" sz="1400" b="1" dirty="0" err="1">
                <a:latin typeface="Arial" panose="020B0604020202020204" pitchFamily="34" charset="0"/>
                <a:ea typeface="Gulim" charset="-127"/>
                <a:cs typeface="Arial" panose="020B0604020202020204" pitchFamily="34" charset="0"/>
              </a:rPr>
              <a:t>Personalized</a:t>
            </a:r>
            <a:r>
              <a:rPr lang="da-DK" sz="1400" b="1" dirty="0">
                <a:latin typeface="Arial" panose="020B0604020202020204" pitchFamily="34" charset="0"/>
                <a:ea typeface="Gulim" charset="-127"/>
                <a:cs typeface="Arial" panose="020B0604020202020204" pitchFamily="34" charset="0"/>
              </a:rPr>
              <a:t> </a:t>
            </a:r>
            <a:r>
              <a:rPr lang="da-DK" sz="1400" b="1" dirty="0" err="1">
                <a:latin typeface="Arial" panose="020B0604020202020204" pitchFamily="34" charset="0"/>
                <a:ea typeface="Gulim" charset="-127"/>
                <a:cs typeface="Arial" panose="020B0604020202020204" pitchFamily="34" charset="0"/>
              </a:rPr>
              <a:t>offerings</a:t>
            </a:r>
            <a:r>
              <a:rPr lang="da-DK" sz="1400" b="1" dirty="0">
                <a:latin typeface="Arial" panose="020B0604020202020204" pitchFamily="34" charset="0"/>
                <a:ea typeface="Gulim" charset="-127"/>
                <a:cs typeface="Arial" panose="020B0604020202020204" pitchFamily="34" charset="0"/>
              </a:rPr>
              <a:t> </a:t>
            </a:r>
            <a:r>
              <a:rPr lang="da-DK" sz="1400" b="1" dirty="0" err="1">
                <a:latin typeface="Arial" panose="020B0604020202020204" pitchFamily="34" charset="0"/>
                <a:ea typeface="Gulim" charset="-127"/>
                <a:cs typeface="Arial" panose="020B0604020202020204" pitchFamily="34" charset="0"/>
              </a:rPr>
              <a:t>will</a:t>
            </a:r>
            <a:r>
              <a:rPr lang="da-DK" sz="1400" b="1" dirty="0">
                <a:latin typeface="Arial" panose="020B0604020202020204" pitchFamily="34" charset="0"/>
                <a:ea typeface="Gulim" charset="-127"/>
                <a:cs typeface="Arial" panose="020B0604020202020204" pitchFamily="34" charset="0"/>
              </a:rPr>
              <a:t> </a:t>
            </a:r>
            <a:r>
              <a:rPr lang="da-DK" sz="1400" b="1" dirty="0" err="1">
                <a:latin typeface="Arial" panose="020B0604020202020204" pitchFamily="34" charset="0"/>
                <a:ea typeface="Gulim" charset="-127"/>
                <a:cs typeface="Arial" panose="020B0604020202020204" pitchFamily="34" charset="0"/>
              </a:rPr>
              <a:t>be</a:t>
            </a:r>
            <a:r>
              <a:rPr lang="da-DK" sz="1400" b="1" dirty="0">
                <a:latin typeface="Arial" panose="020B0604020202020204" pitchFamily="34" charset="0"/>
                <a:ea typeface="Gulim" charset="-127"/>
                <a:cs typeface="Arial" panose="020B0604020202020204" pitchFamily="34" charset="0"/>
              </a:rPr>
              <a:t> </a:t>
            </a:r>
            <a:r>
              <a:rPr lang="da-DK" sz="1400" b="1" dirty="0" err="1">
                <a:latin typeface="Arial" panose="020B0604020202020204" pitchFamily="34" charset="0"/>
                <a:ea typeface="Gulim" charset="-127"/>
                <a:cs typeface="Arial" panose="020B0604020202020204" pitchFamily="34" charset="0"/>
              </a:rPr>
              <a:t>main</a:t>
            </a:r>
            <a:r>
              <a:rPr lang="da-DK" sz="1400" b="1" dirty="0">
                <a:latin typeface="Arial" panose="020B0604020202020204" pitchFamily="34" charset="0"/>
                <a:ea typeface="Gulim" charset="-127"/>
                <a:cs typeface="Arial" panose="020B0604020202020204" pitchFamily="34" charset="0"/>
              </a:rPr>
              <a:t> driver </a:t>
            </a:r>
            <a:r>
              <a:rPr lang="da-DK" sz="1400" b="1" dirty="0" err="1">
                <a:latin typeface="Arial" panose="020B0604020202020204" pitchFamily="34" charset="0"/>
                <a:ea typeface="Gulim" charset="-127"/>
                <a:cs typeface="Arial" panose="020B0604020202020204" pitchFamily="34" charset="0"/>
              </a:rPr>
              <a:t>behind</a:t>
            </a:r>
            <a:r>
              <a:rPr lang="da-DK" sz="1400" b="1" dirty="0">
                <a:latin typeface="Arial" panose="020B0604020202020204" pitchFamily="34" charset="0"/>
                <a:ea typeface="Gulim" charset="-127"/>
                <a:cs typeface="Arial" panose="020B0604020202020204" pitchFamily="34" charset="0"/>
              </a:rPr>
              <a:t> 24% Arla brand </a:t>
            </a:r>
            <a:r>
              <a:rPr lang="da-DK" sz="1400" b="1" dirty="0" err="1">
                <a:latin typeface="Arial" panose="020B0604020202020204" pitchFamily="34" charset="0"/>
                <a:ea typeface="Gulim" charset="-127"/>
                <a:cs typeface="Arial" panose="020B0604020202020204" pitchFamily="34" charset="0"/>
              </a:rPr>
              <a:t>revenue</a:t>
            </a:r>
            <a:r>
              <a:rPr lang="da-DK" sz="1400" b="1" dirty="0">
                <a:latin typeface="Arial" panose="020B0604020202020204" pitchFamily="34" charset="0"/>
                <a:ea typeface="Gulim" charset="-127"/>
                <a:cs typeface="Arial" panose="020B0604020202020204" pitchFamily="34" charset="0"/>
              </a:rPr>
              <a:t> </a:t>
            </a:r>
            <a:r>
              <a:rPr lang="da-DK" sz="1400" b="1" dirty="0" err="1">
                <a:latin typeface="Arial" panose="020B0604020202020204" pitchFamily="34" charset="0"/>
                <a:ea typeface="Gulim" charset="-127"/>
                <a:cs typeface="Arial" panose="020B0604020202020204" pitchFamily="34" charset="0"/>
              </a:rPr>
              <a:t>growth</a:t>
            </a:r>
            <a:endParaRPr lang="en-US" sz="1400" b="1" dirty="0">
              <a:latin typeface="Arial" panose="020B0604020202020204" pitchFamily="34" charset="0"/>
              <a:ea typeface="Gulim" charset="-127"/>
              <a:cs typeface="Arial" panose="020B0604020202020204" pitchFamily="34" charset="0"/>
            </a:endParaRPr>
          </a:p>
        </p:txBody>
      </p:sp>
      <p:cxnSp>
        <p:nvCxnSpPr>
          <p:cNvPr id="23" name="Lige forbindelse 29"/>
          <p:cNvCxnSpPr/>
          <p:nvPr/>
        </p:nvCxnSpPr>
        <p:spPr>
          <a:xfrm>
            <a:off x="8014649" y="1473281"/>
            <a:ext cx="0" cy="4742118"/>
          </a:xfrm>
          <a:prstGeom prst="line">
            <a:avLst/>
          </a:prstGeom>
          <a:ln w="222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Tekstfelt 5"/>
          <p:cNvSpPr txBox="1"/>
          <p:nvPr/>
        </p:nvSpPr>
        <p:spPr>
          <a:xfrm>
            <a:off x="8522426" y="4134978"/>
            <a:ext cx="2920734" cy="307777"/>
          </a:xfrm>
          <a:prstGeom prst="rect">
            <a:avLst/>
          </a:prstGeom>
          <a:noFill/>
          <a:ln>
            <a:noFill/>
          </a:ln>
        </p:spPr>
        <p:txBody>
          <a:bodyPr wrap="square" rtlCol="0">
            <a:spAutoFit/>
          </a:bodyPr>
          <a:lstStyle/>
          <a:p>
            <a:r>
              <a:rPr lang="en-AU" sz="1400" b="1" dirty="0">
                <a:latin typeface="Arial" panose="020B0604020202020204" pitchFamily="34" charset="0"/>
                <a:ea typeface="Gulim" charset="-127"/>
                <a:cs typeface="Arial" panose="020B0604020202020204" pitchFamily="34" charset="0"/>
              </a:rPr>
              <a:t>Main Costs Drivers</a:t>
            </a:r>
          </a:p>
        </p:txBody>
      </p:sp>
      <p:sp>
        <p:nvSpPr>
          <p:cNvPr id="58" name="Tekstfelt 5"/>
          <p:cNvSpPr txBox="1"/>
          <p:nvPr/>
        </p:nvSpPr>
        <p:spPr>
          <a:xfrm>
            <a:off x="8837059" y="4545009"/>
            <a:ext cx="2920734" cy="646331"/>
          </a:xfrm>
          <a:prstGeom prst="rect">
            <a:avLst/>
          </a:prstGeom>
          <a:noFill/>
          <a:ln>
            <a:noFill/>
          </a:ln>
        </p:spPr>
        <p:txBody>
          <a:bodyPr wrap="square" rtlCol="0">
            <a:spAutoFit/>
          </a:bodyPr>
          <a:lstStyle/>
          <a:p>
            <a:r>
              <a:rPr lang="en-AU" sz="1200" b="1" dirty="0">
                <a:latin typeface="Arial" panose="020B0604020202020204" pitchFamily="34" charset="0"/>
                <a:ea typeface="Gulim" charset="-127"/>
                <a:cs typeface="Arial" panose="020B0604020202020204" pitchFamily="34" charset="0"/>
              </a:rPr>
              <a:t>CAPEX</a:t>
            </a:r>
            <a:r>
              <a:rPr lang="en-AU" sz="1200" dirty="0">
                <a:latin typeface="Arial" panose="020B0604020202020204" pitchFamily="34" charset="0"/>
                <a:ea typeface="Gulim" charset="-127"/>
                <a:cs typeface="Arial" panose="020B0604020202020204" pitchFamily="34" charset="0"/>
              </a:rPr>
              <a:t>: Assuming 30,000 EUR per store and 100,000 EUR in rent</a:t>
            </a:r>
          </a:p>
          <a:p>
            <a:endParaRPr lang="en-AU" sz="1200" b="1" dirty="0">
              <a:latin typeface="Arial" panose="020B0604020202020204" pitchFamily="34" charset="0"/>
              <a:ea typeface="Gulim" charset="-127"/>
              <a:cs typeface="Arial" panose="020B0604020202020204" pitchFamily="34" charset="0"/>
            </a:endParaRPr>
          </a:p>
        </p:txBody>
      </p:sp>
      <p:sp>
        <p:nvSpPr>
          <p:cNvPr id="60" name="Tekstfelt 5"/>
          <p:cNvSpPr txBox="1"/>
          <p:nvPr/>
        </p:nvSpPr>
        <p:spPr>
          <a:xfrm>
            <a:off x="8832019" y="5062761"/>
            <a:ext cx="2920734" cy="461665"/>
          </a:xfrm>
          <a:prstGeom prst="rect">
            <a:avLst/>
          </a:prstGeom>
          <a:noFill/>
          <a:ln>
            <a:noFill/>
          </a:ln>
        </p:spPr>
        <p:txBody>
          <a:bodyPr wrap="square" rtlCol="0">
            <a:spAutoFit/>
          </a:bodyPr>
          <a:lstStyle/>
          <a:p>
            <a:r>
              <a:rPr lang="en-AU" sz="1200" b="1" dirty="0">
                <a:latin typeface="Arial" panose="020B0604020202020204" pitchFamily="34" charset="0"/>
                <a:ea typeface="Gulim" charset="-127"/>
                <a:cs typeface="Arial" panose="020B0604020202020204" pitchFamily="34" charset="0"/>
              </a:rPr>
              <a:t>Platform development</a:t>
            </a:r>
            <a:r>
              <a:rPr lang="en-AU" sz="1200" dirty="0">
                <a:latin typeface="Arial" panose="020B0604020202020204" pitchFamily="34" charset="0"/>
                <a:ea typeface="Gulim" charset="-127"/>
                <a:cs typeface="Arial" panose="020B0604020202020204" pitchFamily="34" charset="0"/>
              </a:rPr>
              <a:t>: 5m EUR in development costs</a:t>
            </a:r>
            <a:endParaRPr lang="en-AU" sz="1200" b="1" dirty="0">
              <a:latin typeface="Arial" panose="020B0604020202020204" pitchFamily="34" charset="0"/>
              <a:ea typeface="Gulim" charset="-127"/>
              <a:cs typeface="Arial" panose="020B0604020202020204" pitchFamily="34" charset="0"/>
            </a:endParaRPr>
          </a:p>
        </p:txBody>
      </p:sp>
      <p:sp>
        <p:nvSpPr>
          <p:cNvPr id="61" name="Tekstfelt 5"/>
          <p:cNvSpPr txBox="1"/>
          <p:nvPr/>
        </p:nvSpPr>
        <p:spPr>
          <a:xfrm>
            <a:off x="8839249" y="5581604"/>
            <a:ext cx="2920734" cy="276999"/>
          </a:xfrm>
          <a:prstGeom prst="rect">
            <a:avLst/>
          </a:prstGeom>
          <a:noFill/>
          <a:ln>
            <a:noFill/>
          </a:ln>
        </p:spPr>
        <p:txBody>
          <a:bodyPr wrap="square" rtlCol="0">
            <a:spAutoFit/>
          </a:bodyPr>
          <a:lstStyle/>
          <a:p>
            <a:r>
              <a:rPr lang="en-AU" sz="1200" b="1" dirty="0">
                <a:latin typeface="Arial" panose="020B0604020202020204" pitchFamily="34" charset="0"/>
                <a:ea typeface="Gulim" charset="-127"/>
                <a:cs typeface="Arial" panose="020B0604020202020204" pitchFamily="34" charset="0"/>
              </a:rPr>
              <a:t>Blockchain</a:t>
            </a:r>
            <a:r>
              <a:rPr lang="en-AU" sz="1200" dirty="0">
                <a:latin typeface="Arial" panose="020B0604020202020204" pitchFamily="34" charset="0"/>
                <a:ea typeface="Gulim" charset="-127"/>
                <a:cs typeface="Arial" panose="020B0604020202020204" pitchFamily="34" charset="0"/>
              </a:rPr>
              <a:t>: 1 EUR per month per cow</a:t>
            </a:r>
            <a:endParaRPr lang="en-AU" sz="1200" b="1" dirty="0">
              <a:latin typeface="Arial" panose="020B0604020202020204" pitchFamily="34" charset="0"/>
              <a:ea typeface="Gulim" charset="-127"/>
              <a:cs typeface="Arial" panose="020B0604020202020204" pitchFamily="34" charset="0"/>
            </a:endParaRPr>
          </a:p>
        </p:txBody>
      </p:sp>
      <p:sp>
        <p:nvSpPr>
          <p:cNvPr id="64" name="Tekstfelt 5"/>
          <p:cNvSpPr txBox="1"/>
          <p:nvPr/>
        </p:nvSpPr>
        <p:spPr>
          <a:xfrm>
            <a:off x="8822959" y="1903685"/>
            <a:ext cx="3677063" cy="2169825"/>
          </a:xfrm>
          <a:prstGeom prst="rect">
            <a:avLst/>
          </a:prstGeom>
          <a:noFill/>
          <a:ln>
            <a:noFill/>
          </a:ln>
        </p:spPr>
        <p:txBody>
          <a:bodyPr wrap="square" rtlCol="0">
            <a:spAutoFit/>
          </a:bodyPr>
          <a:lstStyle/>
          <a:p>
            <a:endParaRPr lang="en-AU" sz="300" b="1" dirty="0">
              <a:latin typeface="Arial" panose="020B0604020202020204" pitchFamily="34" charset="0"/>
              <a:ea typeface="Gulim" charset="-127"/>
              <a:cs typeface="Arial" panose="020B0604020202020204" pitchFamily="34" charset="0"/>
            </a:endParaRPr>
          </a:p>
          <a:p>
            <a:endParaRPr lang="en-AU" sz="1200" dirty="0">
              <a:latin typeface="Arial" panose="020B0604020202020204" pitchFamily="34" charset="0"/>
              <a:ea typeface="Gulim" charset="-127"/>
              <a:cs typeface="Arial" panose="020B0604020202020204" pitchFamily="34" charset="0"/>
            </a:endParaRPr>
          </a:p>
          <a:p>
            <a:r>
              <a:rPr lang="en-AU" sz="1200" dirty="0">
                <a:latin typeface="Arial" panose="020B0604020202020204" pitchFamily="34" charset="0"/>
                <a:ea typeface="Gulim" charset="-127"/>
                <a:cs typeface="Arial" panose="020B0604020202020204" pitchFamily="34" charset="0"/>
              </a:rPr>
              <a:t>50 stores opened in 3 years</a:t>
            </a:r>
          </a:p>
          <a:p>
            <a:endParaRPr lang="en-AU" sz="1200" dirty="0">
              <a:latin typeface="Arial" panose="020B0604020202020204" pitchFamily="34" charset="0"/>
              <a:ea typeface="Gulim" charset="-127"/>
              <a:cs typeface="Arial" panose="020B0604020202020204" pitchFamily="34" charset="0"/>
            </a:endParaRPr>
          </a:p>
          <a:p>
            <a:r>
              <a:rPr lang="en-AU" sz="1200" dirty="0">
                <a:latin typeface="Arial" panose="020B0604020202020204" pitchFamily="34" charset="0"/>
                <a:ea typeface="Gulim" charset="-127"/>
                <a:cs typeface="Arial" panose="020B0604020202020204" pitchFamily="34" charset="0"/>
              </a:rPr>
              <a:t>50,000 people ordering customized dairy</a:t>
            </a:r>
          </a:p>
          <a:p>
            <a:r>
              <a:rPr lang="en-AU" sz="1200" dirty="0">
                <a:latin typeface="Arial" panose="020B0604020202020204" pitchFamily="34" charset="0"/>
                <a:ea typeface="Gulim" charset="-127"/>
                <a:cs typeface="Arial" panose="020B0604020202020204" pitchFamily="34" charset="0"/>
              </a:rPr>
              <a:t>by 2020</a:t>
            </a:r>
          </a:p>
          <a:p>
            <a:endParaRPr lang="en-AU" sz="1200" dirty="0">
              <a:latin typeface="Arial" panose="020B0604020202020204" pitchFamily="34" charset="0"/>
              <a:ea typeface="Gulim" charset="-127"/>
              <a:cs typeface="Arial" panose="020B0604020202020204" pitchFamily="34" charset="0"/>
            </a:endParaRPr>
          </a:p>
          <a:p>
            <a:r>
              <a:rPr lang="en-AU" sz="1200" dirty="0">
                <a:latin typeface="Arial" panose="020B0604020202020204" pitchFamily="34" charset="0"/>
                <a:ea typeface="Gulim" charset="-127"/>
                <a:cs typeface="Arial" panose="020B0604020202020204" pitchFamily="34" charset="0"/>
              </a:rPr>
              <a:t>300K hashtags with #</a:t>
            </a:r>
            <a:r>
              <a:rPr lang="en-AU" sz="1200" dirty="0" err="1">
                <a:latin typeface="Arial" panose="020B0604020202020204" pitchFamily="34" charset="0"/>
                <a:ea typeface="Gulim" charset="-127"/>
                <a:cs typeface="Arial" panose="020B0604020202020204" pitchFamily="34" charset="0"/>
              </a:rPr>
              <a:t>LeadingTheWhey</a:t>
            </a:r>
            <a:endParaRPr lang="en-AU" sz="1200" dirty="0">
              <a:latin typeface="Arial" panose="020B0604020202020204" pitchFamily="34" charset="0"/>
              <a:ea typeface="Gulim" charset="-127"/>
              <a:cs typeface="Arial" panose="020B0604020202020204" pitchFamily="34" charset="0"/>
            </a:endParaRPr>
          </a:p>
          <a:p>
            <a:endParaRPr lang="en-AU" sz="1200" dirty="0">
              <a:latin typeface="Arial" panose="020B0604020202020204" pitchFamily="34" charset="0"/>
              <a:ea typeface="Gulim" charset="-127"/>
              <a:cs typeface="Arial" panose="020B0604020202020204" pitchFamily="34" charset="0"/>
            </a:endParaRPr>
          </a:p>
          <a:p>
            <a:r>
              <a:rPr lang="en-AU" sz="1200" dirty="0" err="1">
                <a:latin typeface="Arial" panose="020B0604020202020204" pitchFamily="34" charset="0"/>
                <a:ea typeface="Gulim" charset="-127"/>
                <a:cs typeface="Arial" panose="020B0604020202020204" pitchFamily="34" charset="0"/>
              </a:rPr>
              <a:t>Arla</a:t>
            </a:r>
            <a:r>
              <a:rPr lang="en-AU" sz="1200" dirty="0">
                <a:latin typeface="Arial" panose="020B0604020202020204" pitchFamily="34" charset="0"/>
                <a:ea typeface="Gulim" charset="-127"/>
                <a:cs typeface="Arial" panose="020B0604020202020204" pitchFamily="34" charset="0"/>
              </a:rPr>
              <a:t> brand revenue CAGR of 5% due to</a:t>
            </a:r>
          </a:p>
          <a:p>
            <a:r>
              <a:rPr lang="en-AU" sz="1200" dirty="0">
                <a:latin typeface="Arial" panose="020B0604020202020204" pitchFamily="34" charset="0"/>
                <a:ea typeface="Gulim" charset="-127"/>
                <a:cs typeface="Arial" panose="020B0604020202020204" pitchFamily="34" charset="0"/>
              </a:rPr>
              <a:t>improved brand</a:t>
            </a:r>
          </a:p>
          <a:p>
            <a:endParaRPr lang="en-AU" sz="1200" dirty="0">
              <a:latin typeface="Arial" panose="020B0604020202020204" pitchFamily="34" charset="0"/>
              <a:ea typeface="Gulim" charset="-127"/>
              <a:cs typeface="Arial" panose="020B0604020202020204" pitchFamily="34" charset="0"/>
            </a:endParaRPr>
          </a:p>
        </p:txBody>
      </p:sp>
      <p:pic>
        <p:nvPicPr>
          <p:cNvPr id="70" name="Billede 69">
            <a:extLst>
              <a:ext uri="{FF2B5EF4-FFF2-40B4-BE49-F238E27FC236}">
                <a16:creationId xmlns:a16="http://schemas.microsoft.com/office/drawing/2014/main" id="{BABBABD6-219B-4804-8584-C13B605FB60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462957" y="2083525"/>
            <a:ext cx="360000" cy="360000"/>
          </a:xfrm>
          <a:prstGeom prst="rect">
            <a:avLst/>
          </a:prstGeom>
        </p:spPr>
      </p:pic>
      <p:pic>
        <p:nvPicPr>
          <p:cNvPr id="71" name="Billede 70">
            <a:extLst>
              <a:ext uri="{FF2B5EF4-FFF2-40B4-BE49-F238E27FC236}">
                <a16:creationId xmlns:a16="http://schemas.microsoft.com/office/drawing/2014/main" id="{65F4BDD9-4393-458A-ABD9-FA4A47DB0806}"/>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465027" y="2526249"/>
            <a:ext cx="343665" cy="343665"/>
          </a:xfrm>
          <a:prstGeom prst="rect">
            <a:avLst/>
          </a:prstGeom>
        </p:spPr>
      </p:pic>
      <p:pic>
        <p:nvPicPr>
          <p:cNvPr id="73" name="Picture 83">
            <a:extLst>
              <a:ext uri="{FF2B5EF4-FFF2-40B4-BE49-F238E27FC236}">
                <a16:creationId xmlns:a16="http://schemas.microsoft.com/office/drawing/2014/main" id="{9D47FCEE-ABB8-4CB3-ACE5-778DB73B4262}"/>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8495548" y="3003181"/>
            <a:ext cx="318385" cy="318385"/>
          </a:xfrm>
          <a:prstGeom prst="rect">
            <a:avLst/>
          </a:prstGeom>
        </p:spPr>
      </p:pic>
      <p:pic>
        <p:nvPicPr>
          <p:cNvPr id="74" name="Billede 73">
            <a:extLst>
              <a:ext uri="{FF2B5EF4-FFF2-40B4-BE49-F238E27FC236}">
                <a16:creationId xmlns:a16="http://schemas.microsoft.com/office/drawing/2014/main" id="{F8F97A50-1070-49DE-B3C0-93030D26EBF9}"/>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8434425" y="3468714"/>
            <a:ext cx="360001" cy="360001"/>
          </a:xfrm>
          <a:prstGeom prst="rect">
            <a:avLst/>
          </a:prstGeom>
        </p:spPr>
      </p:pic>
      <p:grpSp>
        <p:nvGrpSpPr>
          <p:cNvPr id="75" name="Grupper 72">
            <a:extLst>
              <a:ext uri="{FF2B5EF4-FFF2-40B4-BE49-F238E27FC236}">
                <a16:creationId xmlns:a16="http://schemas.microsoft.com/office/drawing/2014/main" id="{07F29F90-3A38-408D-944F-B687D661CF6B}"/>
              </a:ext>
            </a:extLst>
          </p:cNvPr>
          <p:cNvGrpSpPr/>
          <p:nvPr/>
        </p:nvGrpSpPr>
        <p:grpSpPr>
          <a:xfrm>
            <a:off x="8407230" y="4561367"/>
            <a:ext cx="371364" cy="373032"/>
            <a:chOff x="3710081" y="3243947"/>
            <a:chExt cx="640247" cy="528412"/>
          </a:xfrm>
        </p:grpSpPr>
        <p:pic>
          <p:nvPicPr>
            <p:cNvPr id="76" name="Billede 75">
              <a:extLst>
                <a:ext uri="{FF2B5EF4-FFF2-40B4-BE49-F238E27FC236}">
                  <a16:creationId xmlns:a16="http://schemas.microsoft.com/office/drawing/2014/main" id="{88E73E62-4DA9-4D89-AE2B-8FAAE0AA0031}"/>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3710081" y="3243947"/>
              <a:ext cx="528412" cy="528412"/>
            </a:xfrm>
            <a:prstGeom prst="rect">
              <a:avLst/>
            </a:prstGeom>
          </p:spPr>
        </p:pic>
        <p:pic>
          <p:nvPicPr>
            <p:cNvPr id="77" name="Billede 76">
              <a:extLst>
                <a:ext uri="{FF2B5EF4-FFF2-40B4-BE49-F238E27FC236}">
                  <a16:creationId xmlns:a16="http://schemas.microsoft.com/office/drawing/2014/main" id="{BD000D53-DB84-4B46-88D5-2287221B0109}"/>
                </a:ext>
              </a:extLst>
            </p:cNvPr>
            <p:cNvPicPr>
              <a:picLocks noChangeAspect="1"/>
            </p:cNvPicPr>
            <p:nvPr/>
          </p:nvPicPr>
          <p:blipFill>
            <a:blip r:embed="rId14"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084154" y="3478476"/>
              <a:ext cx="266174" cy="266174"/>
            </a:xfrm>
            <a:prstGeom prst="rect">
              <a:avLst/>
            </a:prstGeom>
          </p:spPr>
        </p:pic>
      </p:grpSp>
      <p:pic>
        <p:nvPicPr>
          <p:cNvPr id="78" name="Picture 86">
            <a:extLst>
              <a:ext uri="{FF2B5EF4-FFF2-40B4-BE49-F238E27FC236}">
                <a16:creationId xmlns:a16="http://schemas.microsoft.com/office/drawing/2014/main" id="{A10C3DBD-695B-4DA2-A0F6-67EBA82C29BF}"/>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8421641" y="5100396"/>
            <a:ext cx="366736" cy="366736"/>
          </a:xfrm>
          <a:prstGeom prst="rect">
            <a:avLst/>
          </a:prstGeom>
        </p:spPr>
      </p:pic>
      <p:pic>
        <p:nvPicPr>
          <p:cNvPr id="79" name="Billede 78">
            <a:extLst>
              <a:ext uri="{FF2B5EF4-FFF2-40B4-BE49-F238E27FC236}">
                <a16:creationId xmlns:a16="http://schemas.microsoft.com/office/drawing/2014/main" id="{17683F5D-28AA-4258-9A3F-836990634DE3}"/>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8440120" y="5588648"/>
            <a:ext cx="366736" cy="366736"/>
          </a:xfrm>
          <a:prstGeom prst="rect">
            <a:avLst/>
          </a:prstGeom>
        </p:spPr>
      </p:pic>
      <p:sp>
        <p:nvSpPr>
          <p:cNvPr id="80" name="Rectangle 6">
            <a:extLst>
              <a:ext uri="{FF2B5EF4-FFF2-40B4-BE49-F238E27FC236}">
                <a16:creationId xmlns:a16="http://schemas.microsoft.com/office/drawing/2014/main" id="{34B5EEAE-0F65-403B-A7CD-05669864CB18}"/>
              </a:ext>
            </a:extLst>
          </p:cNvPr>
          <p:cNvSpPr/>
          <p:nvPr/>
        </p:nvSpPr>
        <p:spPr>
          <a:xfrm>
            <a:off x="517733" y="5516420"/>
            <a:ext cx="2224157" cy="64016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1">
                    <a:lumMod val="75000"/>
                    <a:lumOff val="25000"/>
                  </a:schemeClr>
                </a:solidFill>
                <a:latin typeface="Arial" panose="020B0604020202020204" pitchFamily="34" charset="0"/>
                <a:ea typeface="Gulim" charset="-127"/>
                <a:cs typeface="Arial" panose="020B0604020202020204" pitchFamily="34" charset="0"/>
              </a:rPr>
              <a:t>NPV of 17 million EUR for the 3 year time horizon</a:t>
            </a:r>
          </a:p>
        </p:txBody>
      </p:sp>
      <p:sp>
        <p:nvSpPr>
          <p:cNvPr id="81" name="Rectangle 6">
            <a:extLst>
              <a:ext uri="{FF2B5EF4-FFF2-40B4-BE49-F238E27FC236}">
                <a16:creationId xmlns:a16="http://schemas.microsoft.com/office/drawing/2014/main" id="{7DF2A7ED-720E-4D34-93EA-449B004F3DD1}"/>
              </a:ext>
            </a:extLst>
          </p:cNvPr>
          <p:cNvSpPr/>
          <p:nvPr/>
        </p:nvSpPr>
        <p:spPr>
          <a:xfrm>
            <a:off x="3081930" y="5538516"/>
            <a:ext cx="2224157" cy="64016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1">
                    <a:lumMod val="75000"/>
                    <a:lumOff val="25000"/>
                  </a:schemeClr>
                </a:solidFill>
                <a:latin typeface="Arial" panose="020B0604020202020204" pitchFamily="34" charset="0"/>
                <a:ea typeface="Gulim" charset="-127"/>
                <a:cs typeface="Arial" panose="020B0604020202020204" pitchFamily="34" charset="0"/>
              </a:rPr>
              <a:t>Create 1.600 EUR in extra income to each farmer</a:t>
            </a:r>
          </a:p>
        </p:txBody>
      </p:sp>
      <p:sp>
        <p:nvSpPr>
          <p:cNvPr id="83" name="Tekstfelt 1">
            <a:extLst>
              <a:ext uri="{FF2B5EF4-FFF2-40B4-BE49-F238E27FC236}">
                <a16:creationId xmlns:a16="http://schemas.microsoft.com/office/drawing/2014/main" id="{832B3542-044D-45F8-922D-859D549BDF9B}"/>
              </a:ext>
            </a:extLst>
          </p:cNvPr>
          <p:cNvSpPr txBox="1"/>
          <p:nvPr/>
        </p:nvSpPr>
        <p:spPr>
          <a:xfrm>
            <a:off x="129625" y="5421006"/>
            <a:ext cx="654290" cy="830997"/>
          </a:xfrm>
          <a:prstGeom prst="rect">
            <a:avLst/>
          </a:prstGeom>
          <a:noFill/>
        </p:spPr>
        <p:txBody>
          <a:bodyPr wrap="square" rtlCol="0">
            <a:spAutoFit/>
          </a:bodyPr>
          <a:lstStyle/>
          <a:p>
            <a:pPr algn="ctr"/>
            <a:r>
              <a:rPr lang="da-DK" sz="4800" b="1" i="1" dirty="0">
                <a:solidFill>
                  <a:schemeClr val="bg1">
                    <a:lumMod val="75000"/>
                  </a:schemeClr>
                </a:solidFill>
                <a:latin typeface="Arial" panose="020B0604020202020204" pitchFamily="34" charset="0"/>
                <a:ea typeface="Book Antiqua" charset="0"/>
                <a:cs typeface="Arial" panose="020B0604020202020204" pitchFamily="34" charset="0"/>
              </a:rPr>
              <a:t>1</a:t>
            </a:r>
            <a:endParaRPr lang="da-DK" sz="1000" b="1" i="1" dirty="0">
              <a:solidFill>
                <a:schemeClr val="bg1">
                  <a:lumMod val="75000"/>
                </a:schemeClr>
              </a:solidFill>
              <a:latin typeface="Arial" panose="020B0604020202020204" pitchFamily="34" charset="0"/>
              <a:ea typeface="Book Antiqua" charset="0"/>
              <a:cs typeface="Arial" panose="020B0604020202020204" pitchFamily="34" charset="0"/>
            </a:endParaRPr>
          </a:p>
        </p:txBody>
      </p:sp>
      <p:sp>
        <p:nvSpPr>
          <p:cNvPr id="84" name="Tekstfelt 31">
            <a:extLst>
              <a:ext uri="{FF2B5EF4-FFF2-40B4-BE49-F238E27FC236}">
                <a16:creationId xmlns:a16="http://schemas.microsoft.com/office/drawing/2014/main" id="{0DC1B955-C7F6-4EEB-B39B-19710DC24923}"/>
              </a:ext>
            </a:extLst>
          </p:cNvPr>
          <p:cNvSpPr txBox="1"/>
          <p:nvPr/>
        </p:nvSpPr>
        <p:spPr>
          <a:xfrm>
            <a:off x="2580259" y="5443102"/>
            <a:ext cx="797686" cy="830997"/>
          </a:xfrm>
          <a:prstGeom prst="rect">
            <a:avLst/>
          </a:prstGeom>
          <a:noFill/>
        </p:spPr>
        <p:txBody>
          <a:bodyPr wrap="square" rtlCol="0">
            <a:spAutoFit/>
          </a:bodyPr>
          <a:lstStyle/>
          <a:p>
            <a:pPr algn="ctr"/>
            <a:r>
              <a:rPr lang="da-DK" sz="4800" b="1" i="1" dirty="0">
                <a:solidFill>
                  <a:schemeClr val="bg1">
                    <a:lumMod val="75000"/>
                  </a:schemeClr>
                </a:solidFill>
                <a:latin typeface="Arial" panose="020B0604020202020204" pitchFamily="34" charset="0"/>
                <a:ea typeface="Book Antiqua" charset="0"/>
                <a:cs typeface="Arial" panose="020B0604020202020204" pitchFamily="34" charset="0"/>
              </a:rPr>
              <a:t>2</a:t>
            </a:r>
            <a:endParaRPr lang="da-DK" sz="1000" b="1" i="1" dirty="0">
              <a:solidFill>
                <a:schemeClr val="bg1">
                  <a:lumMod val="75000"/>
                </a:schemeClr>
              </a:solidFill>
              <a:latin typeface="Arial" panose="020B0604020202020204" pitchFamily="34" charset="0"/>
              <a:ea typeface="Book Antiqua" charset="0"/>
              <a:cs typeface="Arial" panose="020B0604020202020204" pitchFamily="34" charset="0"/>
            </a:endParaRPr>
          </a:p>
        </p:txBody>
      </p:sp>
      <p:grpSp>
        <p:nvGrpSpPr>
          <p:cNvPr id="86" name="Group 21">
            <a:extLst>
              <a:ext uri="{FF2B5EF4-FFF2-40B4-BE49-F238E27FC236}">
                <a16:creationId xmlns:a16="http://schemas.microsoft.com/office/drawing/2014/main" id="{88F76AAC-DD91-4BC3-915A-F3653D7CFAB7}"/>
              </a:ext>
            </a:extLst>
          </p:cNvPr>
          <p:cNvGrpSpPr/>
          <p:nvPr/>
        </p:nvGrpSpPr>
        <p:grpSpPr>
          <a:xfrm rot="5400000">
            <a:off x="4245949" y="4198307"/>
            <a:ext cx="288287" cy="1986065"/>
            <a:chOff x="5224966" y="3570231"/>
            <a:chExt cx="504294" cy="1434556"/>
          </a:xfrm>
        </p:grpSpPr>
        <p:cxnSp>
          <p:nvCxnSpPr>
            <p:cNvPr id="87" name="Straight Connector 22">
              <a:extLst>
                <a:ext uri="{FF2B5EF4-FFF2-40B4-BE49-F238E27FC236}">
                  <a16:creationId xmlns:a16="http://schemas.microsoft.com/office/drawing/2014/main" id="{0E9E58DA-0DF8-43A2-9E87-7D838A08BB3F}"/>
                </a:ext>
              </a:extLst>
            </p:cNvPr>
            <p:cNvCxnSpPr/>
            <p:nvPr/>
          </p:nvCxnSpPr>
          <p:spPr>
            <a:xfrm flipV="1">
              <a:off x="5225819" y="4282066"/>
              <a:ext cx="503441" cy="722721"/>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23">
              <a:extLst>
                <a:ext uri="{FF2B5EF4-FFF2-40B4-BE49-F238E27FC236}">
                  <a16:creationId xmlns:a16="http://schemas.microsoft.com/office/drawing/2014/main" id="{39C131D3-2F3B-48CC-87FB-CC31EC5C9168}"/>
                </a:ext>
              </a:extLst>
            </p:cNvPr>
            <p:cNvCxnSpPr/>
            <p:nvPr/>
          </p:nvCxnSpPr>
          <p:spPr>
            <a:xfrm>
              <a:off x="5224966" y="3570231"/>
              <a:ext cx="503441" cy="722721"/>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4" name="Rectangle 6">
            <a:extLst>
              <a:ext uri="{FF2B5EF4-FFF2-40B4-BE49-F238E27FC236}">
                <a16:creationId xmlns:a16="http://schemas.microsoft.com/office/drawing/2014/main" id="{7DF2A7ED-720E-4D34-93EA-449B004F3DD1}"/>
              </a:ext>
            </a:extLst>
          </p:cNvPr>
          <p:cNvSpPr/>
          <p:nvPr/>
        </p:nvSpPr>
        <p:spPr>
          <a:xfrm>
            <a:off x="5658901" y="5521505"/>
            <a:ext cx="2224157" cy="64016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1">
                    <a:lumMod val="75000"/>
                    <a:lumOff val="25000"/>
                  </a:schemeClr>
                </a:solidFill>
                <a:latin typeface="Arial" panose="020B0604020202020204" pitchFamily="34" charset="0"/>
                <a:ea typeface="Gulim" charset="-127"/>
                <a:cs typeface="Arial" panose="020B0604020202020204" pitchFamily="34" charset="0"/>
              </a:rPr>
              <a:t>Revenue per kilo milk increased by 9%</a:t>
            </a:r>
          </a:p>
        </p:txBody>
      </p:sp>
      <p:sp>
        <p:nvSpPr>
          <p:cNvPr id="35" name="Tekstfelt 31">
            <a:extLst>
              <a:ext uri="{FF2B5EF4-FFF2-40B4-BE49-F238E27FC236}">
                <a16:creationId xmlns:a16="http://schemas.microsoft.com/office/drawing/2014/main" id="{0DC1B955-C7F6-4EEB-B39B-19710DC24923}"/>
              </a:ext>
            </a:extLst>
          </p:cNvPr>
          <p:cNvSpPr txBox="1"/>
          <p:nvPr/>
        </p:nvSpPr>
        <p:spPr>
          <a:xfrm>
            <a:off x="5157230" y="5426091"/>
            <a:ext cx="797686" cy="830997"/>
          </a:xfrm>
          <a:prstGeom prst="rect">
            <a:avLst/>
          </a:prstGeom>
          <a:noFill/>
        </p:spPr>
        <p:txBody>
          <a:bodyPr wrap="square" rtlCol="0">
            <a:spAutoFit/>
          </a:bodyPr>
          <a:lstStyle/>
          <a:p>
            <a:pPr algn="ctr"/>
            <a:r>
              <a:rPr lang="da-DK" sz="4800" b="1" i="1" dirty="0">
                <a:solidFill>
                  <a:schemeClr val="bg1">
                    <a:lumMod val="75000"/>
                  </a:schemeClr>
                </a:solidFill>
                <a:latin typeface="Arial" panose="020B0604020202020204" pitchFamily="34" charset="0"/>
                <a:ea typeface="Book Antiqua" charset="0"/>
                <a:cs typeface="Arial" panose="020B0604020202020204" pitchFamily="34" charset="0"/>
              </a:rPr>
              <a:t>3</a:t>
            </a:r>
            <a:endParaRPr lang="da-DK" sz="1000" b="1" i="1" dirty="0">
              <a:solidFill>
                <a:schemeClr val="bg1">
                  <a:lumMod val="75000"/>
                </a:schemeClr>
              </a:solidFill>
              <a:latin typeface="Arial" panose="020B0604020202020204" pitchFamily="34" charset="0"/>
              <a:ea typeface="Book Antiqua" charset="0"/>
              <a:cs typeface="Arial" panose="020B0604020202020204" pitchFamily="34" charset="0"/>
            </a:endParaRPr>
          </a:p>
        </p:txBody>
      </p:sp>
    </p:spTree>
    <p:extLst>
      <p:ext uri="{BB962C8B-B14F-4D97-AF65-F5344CB8AC3E}">
        <p14:creationId xmlns:p14="http://schemas.microsoft.com/office/powerpoint/2010/main" val="150771659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Ellipse 15"/>
          <p:cNvSpPr/>
          <p:nvPr/>
        </p:nvSpPr>
        <p:spPr>
          <a:xfrm>
            <a:off x="801632" y="5247773"/>
            <a:ext cx="633412" cy="3195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Arial" panose="020B0604020202020204" pitchFamily="34" charset="0"/>
                <a:cs typeface="Arial" panose="020B0604020202020204" pitchFamily="34" charset="0"/>
              </a:rPr>
              <a:t>8</a:t>
            </a:r>
          </a:p>
        </p:txBody>
      </p:sp>
      <p:graphicFrame>
        <p:nvGraphicFramePr>
          <p:cNvPr id="12"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9" name="think-cell Slide" r:id="rId47" imgW="270" imgH="270" progId="TCLayout.ActiveDocument.1">
                  <p:embed/>
                </p:oleObj>
              </mc:Choice>
              <mc:Fallback>
                <p:oleObj name="think-cell Slide" r:id="rId47" imgW="270" imgH="270" progId="TCLayout.ActiveDocument.1">
                  <p:embed/>
                  <p:pic>
                    <p:nvPicPr>
                      <p:cNvPr id="12" name="Object 11" hidden="1"/>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1400" b="1" dirty="0">
              <a:latin typeface="Arial"/>
              <a:sym typeface="Arial"/>
            </a:endParaRPr>
          </a:p>
        </p:txBody>
      </p:sp>
      <p:sp>
        <p:nvSpPr>
          <p:cNvPr id="2" name="Text Placeholder 1">
            <a:extLst>
              <a:ext uri="{FF2B5EF4-FFF2-40B4-BE49-F238E27FC236}">
                <a16:creationId xmlns:a16="http://schemas.microsoft.com/office/drawing/2014/main" id="{E3964058-5993-C049-AC24-0CA5416FA98D}"/>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930A9E37-FE65-534A-8D30-F072CC733822}"/>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99" name="Title 98"/>
          <p:cNvSpPr>
            <a:spLocks noGrp="1"/>
          </p:cNvSpPr>
          <p:nvPr>
            <p:ph type="title"/>
          </p:nvPr>
        </p:nvSpPr>
        <p:spPr/>
        <p:txBody>
          <a:bodyPr/>
          <a:lstStyle/>
          <a:p>
            <a:r>
              <a:rPr lang="en-AU" dirty="0">
                <a:latin typeface="Arial" panose="020B0604020202020204" pitchFamily="34" charset="0"/>
                <a:cs typeface="Arial" panose="020B0604020202020204" pitchFamily="34" charset="0"/>
              </a:rPr>
              <a:t>By opening 108 UGLY FOODS stores, Coles will see incremental revenue of $b 1,7 and 25% EBIT increase by 2021</a:t>
            </a:r>
          </a:p>
        </p:txBody>
      </p:sp>
      <p:cxnSp>
        <p:nvCxnSpPr>
          <p:cNvPr id="32" name="Straight Connector 31"/>
          <p:cNvCxnSpPr/>
          <p:nvPr>
            <p:custDataLst>
              <p:tags r:id="rId4"/>
            </p:custDataLst>
          </p:nvPr>
        </p:nvCxnSpPr>
        <p:spPr bwMode="auto">
          <a:xfrm>
            <a:off x="10829925" y="3695700"/>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5"/>
            </p:custDataLst>
          </p:nvPr>
        </p:nvCxnSpPr>
        <p:spPr bwMode="auto">
          <a:xfrm>
            <a:off x="10039350" y="3914775"/>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6"/>
            </p:custDataLst>
          </p:nvPr>
        </p:nvCxnSpPr>
        <p:spPr bwMode="auto">
          <a:xfrm>
            <a:off x="9248775" y="4067175"/>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7"/>
            </p:custDataLst>
          </p:nvPr>
        </p:nvCxnSpPr>
        <p:spPr bwMode="auto">
          <a:xfrm>
            <a:off x="8458200" y="4171950"/>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8"/>
            </p:custDataLst>
          </p:nvPr>
        </p:nvCxnSpPr>
        <p:spPr bwMode="auto">
          <a:xfrm>
            <a:off x="7667625" y="4229100"/>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9"/>
            </p:custDataLst>
          </p:nvPr>
        </p:nvCxnSpPr>
        <p:spPr bwMode="auto">
          <a:xfrm>
            <a:off x="6877050" y="4238625"/>
            <a:ext cx="3524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 name="Object 4"/>
          <p:cNvGraphicFramePr>
            <a:graphicFrameLocks/>
          </p:cNvGraphicFramePr>
          <p:nvPr>
            <p:custDataLst>
              <p:tags r:id="rId10"/>
            </p:custDataLst>
          </p:nvPr>
        </p:nvGraphicFramePr>
        <p:xfrm>
          <a:off x="6134100" y="3057525"/>
          <a:ext cx="5772146" cy="2114660"/>
        </p:xfrm>
        <a:graphic>
          <a:graphicData uri="http://schemas.openxmlformats.org/presentationml/2006/ole">
            <mc:AlternateContent xmlns:mc="http://schemas.openxmlformats.org/markup-compatibility/2006">
              <mc:Choice xmlns:v="urn:schemas-microsoft-com:vml" Requires="v">
                <p:oleObj spid="_x0000_s140320" name="Chart" r:id="rId49" imgW="5772066" imgH="2114681" progId="MSGraph.Chart.8">
                  <p:embed followColorScheme="full"/>
                </p:oleObj>
              </mc:Choice>
              <mc:Fallback>
                <p:oleObj name="Chart" r:id="rId49" imgW="5772066" imgH="2114681" progId="MSGraph.Chart.8">
                  <p:embed followColorScheme="full"/>
                  <p:pic>
                    <p:nvPicPr>
                      <p:cNvPr id="5" name="Object 4"/>
                      <p:cNvPicPr/>
                      <p:nvPr/>
                    </p:nvPicPr>
                    <p:blipFill>
                      <a:blip r:embed="rId50"/>
                      <a:stretch>
                        <a:fillRect/>
                      </a:stretch>
                    </p:blipFill>
                    <p:spPr>
                      <a:xfrm>
                        <a:off x="6134100" y="3057525"/>
                        <a:ext cx="5772146" cy="2114660"/>
                      </a:xfrm>
                      <a:prstGeom prst="rect">
                        <a:avLst/>
                      </a:prstGeom>
                    </p:spPr>
                  </p:pic>
                </p:oleObj>
              </mc:Fallback>
            </mc:AlternateContent>
          </a:graphicData>
        </a:graphic>
      </p:graphicFrame>
      <p:cxnSp>
        <p:nvCxnSpPr>
          <p:cNvPr id="29" name="Straight Connector 28"/>
          <p:cNvCxnSpPr/>
          <p:nvPr>
            <p:custDataLst>
              <p:tags r:id="rId11"/>
            </p:custDataLst>
          </p:nvPr>
        </p:nvCxnSpPr>
        <p:spPr bwMode="auto">
          <a:xfrm flipV="1">
            <a:off x="6657975" y="2713038"/>
            <a:ext cx="4743450" cy="54292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custDataLst>
              <p:tags r:id="rId12"/>
            </p:custDataLst>
          </p:nvPr>
        </p:nvSpPr>
        <p:spPr bwMode="auto">
          <a:xfrm>
            <a:off x="8035925"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C4A3FFF-33BF-44C5-B0B4-4D80EF287B36}" type="datetime'''''''''''''''''''''''''''''''''2''''''0''''''1''8'''">
              <a:rPr lang="en-GB" altLang="en-US" sz="1400">
                <a:solidFill>
                  <a:schemeClr val="tx1"/>
                </a:solidFill>
                <a:latin typeface="Arial" panose="020B0604020202020204" pitchFamily="34" charset="0"/>
                <a:cs typeface="Arial" panose="020B0604020202020204" pitchFamily="34" charset="0"/>
              </a:rPr>
              <a:pPr/>
              <a:t>2018</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46" name="Rectangle 45"/>
          <p:cNvSpPr/>
          <p:nvPr>
            <p:custDataLst>
              <p:tags r:id="rId13"/>
            </p:custDataLst>
          </p:nvPr>
        </p:nvSpPr>
        <p:spPr bwMode="gray">
          <a:xfrm>
            <a:off x="10437813" y="292417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DDD0F0D2-1634-462F-899E-E103B6D4DCE6}" type="datetime'''''''''''''''''4''''''''''7''''''''''''''''''''''''8'''''''''">
              <a:rPr lang="en-GB" altLang="en-US" sz="1400" smtClean="0">
                <a:solidFill>
                  <a:schemeClr val="tx1"/>
                </a:solidFill>
                <a:latin typeface="Arial" panose="020B0604020202020204" pitchFamily="34" charset="0"/>
                <a:cs typeface="Arial" panose="020B0604020202020204" pitchFamily="34" charset="0"/>
              </a:rPr>
              <a:pPr/>
              <a:t>478</a:t>
            </a:fld>
            <a:endParaRPr lang="en-GB" sz="1400" dirty="0">
              <a:solidFill>
                <a:schemeClr val="tx1"/>
              </a:solidFill>
              <a:latin typeface="Arial" panose="020B0604020202020204" pitchFamily="34" charset="0"/>
              <a:cs typeface="Arial" panose="020B0604020202020204" pitchFamily="34" charset="0"/>
              <a:sym typeface="+mn-lt"/>
            </a:endParaRPr>
          </a:p>
        </p:txBody>
      </p:sp>
      <p:sp>
        <p:nvSpPr>
          <p:cNvPr id="43" name="Rectangle 42"/>
          <p:cNvSpPr/>
          <p:nvPr>
            <p:custDataLst>
              <p:tags r:id="rId14"/>
            </p:custDataLst>
          </p:nvPr>
        </p:nvSpPr>
        <p:spPr bwMode="gray">
          <a:xfrm>
            <a:off x="8066088" y="37814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F2BDB545-2A55-4493-A15A-FEDE99B8DFC2}" type="datetime'''''1''''''''''''''''''''2''3'''''''''''''''''''''''''''">
              <a:rPr lang="en-GB" altLang="en-US" sz="1400" smtClean="0">
                <a:solidFill>
                  <a:schemeClr val="tx1"/>
                </a:solidFill>
                <a:latin typeface="Arial" panose="020B0604020202020204" pitchFamily="34" charset="0"/>
                <a:cs typeface="Arial" panose="020B0604020202020204" pitchFamily="34" charset="0"/>
              </a:rPr>
              <a:pPr/>
              <a:t>123</a:t>
            </a:fld>
            <a:endParaRPr lang="en-GB" sz="1400" dirty="0">
              <a:solidFill>
                <a:schemeClr val="tx1"/>
              </a:solidFill>
              <a:latin typeface="Arial" panose="020B0604020202020204" pitchFamily="34" charset="0"/>
              <a:cs typeface="Arial" panose="020B0604020202020204" pitchFamily="34" charset="0"/>
              <a:sym typeface="+mn-lt"/>
            </a:endParaRPr>
          </a:p>
        </p:txBody>
      </p:sp>
      <p:sp>
        <p:nvSpPr>
          <p:cNvPr id="42" name="Rectangle 41"/>
          <p:cNvSpPr/>
          <p:nvPr>
            <p:custDataLst>
              <p:tags r:id="rId15"/>
            </p:custDataLst>
          </p:nvPr>
        </p:nvSpPr>
        <p:spPr bwMode="gray">
          <a:xfrm>
            <a:off x="7324725" y="3952875"/>
            <a:ext cx="24765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8A0DF7E5-1AC4-4B43-91B2-4449D5027F98}" type="datetime'''2''''''''''''''''''''''''''4'''''''''''''''">
              <a:rPr lang="en-GB" altLang="en-US" sz="1400" smtClean="0">
                <a:solidFill>
                  <a:schemeClr val="tx1"/>
                </a:solidFill>
                <a:latin typeface="Arial" panose="020B0604020202020204" pitchFamily="34" charset="0"/>
                <a:cs typeface="Arial" panose="020B0604020202020204" pitchFamily="34" charset="0"/>
              </a:rPr>
              <a:pPr/>
              <a:t>24</a:t>
            </a:fld>
            <a:endParaRPr lang="en-GB" sz="1400" dirty="0">
              <a:solidFill>
                <a:schemeClr val="tx1"/>
              </a:solidFill>
              <a:latin typeface="Arial" panose="020B0604020202020204" pitchFamily="34" charset="0"/>
              <a:cs typeface="Arial" panose="020B0604020202020204" pitchFamily="34" charset="0"/>
              <a:sym typeface="+mn-lt"/>
            </a:endParaRPr>
          </a:p>
        </p:txBody>
      </p:sp>
      <p:sp>
        <p:nvSpPr>
          <p:cNvPr id="13" name="Rectangle 12"/>
          <p:cNvSpPr/>
          <p:nvPr>
            <p:custDataLst>
              <p:tags r:id="rId16"/>
            </p:custDataLst>
          </p:nvPr>
        </p:nvSpPr>
        <p:spPr bwMode="auto">
          <a:xfrm>
            <a:off x="8826500"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36911D3-CA3A-42D5-B2A3-5CFA7241D69F}" type="datetime'''''''''''''''''''201''''''''''''''''''''9'''''''''''''''">
              <a:rPr lang="en-GB" altLang="en-US" sz="1400">
                <a:solidFill>
                  <a:schemeClr val="tx1"/>
                </a:solidFill>
                <a:latin typeface="Arial" panose="020B0604020202020204" pitchFamily="34" charset="0"/>
                <a:cs typeface="Arial" panose="020B0604020202020204" pitchFamily="34" charset="0"/>
              </a:rPr>
              <a:pPr/>
              <a:t>2019</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45" name="Rectangle 44"/>
          <p:cNvSpPr/>
          <p:nvPr>
            <p:custDataLst>
              <p:tags r:id="rId17"/>
            </p:custDataLst>
          </p:nvPr>
        </p:nvSpPr>
        <p:spPr bwMode="gray">
          <a:xfrm>
            <a:off x="9647238" y="326707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5A313D54-3D8C-4202-94AB-3551A31C4076}" type="datetime'''''''''3''''4''''''''''''''''''''''''''''''''''''''''''''8'">
              <a:rPr lang="en-GB" altLang="en-US" sz="1400" smtClean="0">
                <a:solidFill>
                  <a:schemeClr val="tx1"/>
                </a:solidFill>
                <a:latin typeface="Arial" panose="020B0604020202020204" pitchFamily="34" charset="0"/>
                <a:cs typeface="Arial" panose="020B0604020202020204" pitchFamily="34" charset="0"/>
              </a:rPr>
              <a:pPr/>
              <a:t>348</a:t>
            </a:fld>
            <a:endParaRPr lang="en-GB" sz="1400" dirty="0">
              <a:solidFill>
                <a:schemeClr val="tx1"/>
              </a:solidFill>
              <a:latin typeface="Arial" panose="020B0604020202020204" pitchFamily="34" charset="0"/>
              <a:cs typeface="Arial" panose="020B0604020202020204" pitchFamily="34" charset="0"/>
              <a:sym typeface="+mn-lt"/>
            </a:endParaRPr>
          </a:p>
        </p:txBody>
      </p:sp>
      <p:sp>
        <p:nvSpPr>
          <p:cNvPr id="14" name="Rectangle 13"/>
          <p:cNvSpPr/>
          <p:nvPr>
            <p:custDataLst>
              <p:tags r:id="rId18"/>
            </p:custDataLst>
          </p:nvPr>
        </p:nvSpPr>
        <p:spPr bwMode="auto">
          <a:xfrm>
            <a:off x="9617075"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AED83B98-C4C7-4A67-96D5-1D9C2CC2C9E7}" type="datetime'''''2''''''0''2''''0'''''''''''''''''''''''''''''''">
              <a:rPr lang="en-GB" altLang="en-US" sz="1400">
                <a:solidFill>
                  <a:schemeClr val="tx1"/>
                </a:solidFill>
                <a:latin typeface="Arial" panose="020B0604020202020204" pitchFamily="34" charset="0"/>
                <a:cs typeface="Arial" panose="020B0604020202020204" pitchFamily="34" charset="0"/>
              </a:rPr>
              <a:pPr/>
              <a:t>2020</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8" name="Rectangle 7"/>
          <p:cNvSpPr/>
          <p:nvPr>
            <p:custDataLst>
              <p:tags r:id="rId19"/>
            </p:custDataLst>
          </p:nvPr>
        </p:nvSpPr>
        <p:spPr bwMode="auto">
          <a:xfrm>
            <a:off x="7245350"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59805325-CA65-496B-8417-23965AEE34AD}" type="datetime'2''''''''''''0''''''''''''1''7'''''''''''''''''">
              <a:rPr lang="en-GB" altLang="en-US" sz="1400">
                <a:solidFill>
                  <a:schemeClr val="tx1"/>
                </a:solidFill>
                <a:latin typeface="Arial" panose="020B0604020202020204" pitchFamily="34" charset="0"/>
                <a:cs typeface="Arial" panose="020B0604020202020204" pitchFamily="34" charset="0"/>
              </a:rPr>
              <a:pPr/>
              <a:t>2017</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44" name="Rectangle 43"/>
          <p:cNvSpPr/>
          <p:nvPr>
            <p:custDataLst>
              <p:tags r:id="rId20"/>
            </p:custDataLst>
          </p:nvPr>
        </p:nvSpPr>
        <p:spPr bwMode="gray">
          <a:xfrm>
            <a:off x="8856663" y="35528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D65C2BB7-EC70-4AAF-87AC-2C2F2EDF772C}" type="datetime'2''''''''''''''''''30'''''''''''''''''">
              <a:rPr lang="en-GB" altLang="en-US" sz="1400" smtClean="0">
                <a:solidFill>
                  <a:schemeClr val="tx1"/>
                </a:solidFill>
                <a:latin typeface="Arial" panose="020B0604020202020204" pitchFamily="34" charset="0"/>
                <a:cs typeface="Arial" panose="020B0604020202020204" pitchFamily="34" charset="0"/>
              </a:rPr>
              <a:pPr/>
              <a:t>230</a:t>
            </a:fld>
            <a:endParaRPr lang="en-GB" sz="1400" dirty="0">
              <a:solidFill>
                <a:schemeClr val="tx1"/>
              </a:solidFill>
              <a:latin typeface="Arial" panose="020B0604020202020204" pitchFamily="34" charset="0"/>
              <a:cs typeface="Arial" panose="020B0604020202020204" pitchFamily="34" charset="0"/>
              <a:sym typeface="+mn-lt"/>
            </a:endParaRPr>
          </a:p>
        </p:txBody>
      </p:sp>
      <p:sp>
        <p:nvSpPr>
          <p:cNvPr id="15" name="Rectangle 14"/>
          <p:cNvSpPr/>
          <p:nvPr>
            <p:custDataLst>
              <p:tags r:id="rId21"/>
            </p:custDataLst>
          </p:nvPr>
        </p:nvSpPr>
        <p:spPr bwMode="auto">
          <a:xfrm>
            <a:off x="10407650"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A57426D-6CE2-4EC3-938A-6782E01EFDA9}" type="datetime'''''''''''''''''''''''''2''''''''02''''''''''''''''''1'''''''">
              <a:rPr lang="en-GB" altLang="en-US" sz="1400">
                <a:solidFill>
                  <a:schemeClr val="tx1"/>
                </a:solidFill>
                <a:latin typeface="Arial" panose="020B0604020202020204" pitchFamily="34" charset="0"/>
                <a:cs typeface="Arial" panose="020B0604020202020204" pitchFamily="34" charset="0"/>
              </a:rPr>
              <a:pPr/>
              <a:t>2021</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6" name="Rectangle 5"/>
          <p:cNvSpPr/>
          <p:nvPr>
            <p:custDataLst>
              <p:tags r:id="rId22"/>
            </p:custDataLst>
          </p:nvPr>
        </p:nvSpPr>
        <p:spPr bwMode="auto">
          <a:xfrm>
            <a:off x="6454775" y="517048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2B2448D-7105-45A9-A8EA-702BA4E15C97}" type="datetime'''''''''''''''''''''''''''''''201''''''''''''''''''''''''''6'">
              <a:rPr lang="en-GB" altLang="en-US" sz="1400">
                <a:solidFill>
                  <a:schemeClr val="tx1"/>
                </a:solidFill>
                <a:latin typeface="Arial" panose="020B0604020202020204" pitchFamily="34" charset="0"/>
                <a:cs typeface="Arial" panose="020B0604020202020204" pitchFamily="34" charset="0"/>
              </a:rPr>
              <a:pPr/>
              <a:t>2016</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28" name="Oval 27"/>
          <p:cNvSpPr/>
          <p:nvPr>
            <p:custDataLst>
              <p:tags r:id="rId23"/>
            </p:custDataLst>
          </p:nvPr>
        </p:nvSpPr>
        <p:spPr bwMode="auto">
          <a:xfrm>
            <a:off x="8705850" y="2847975"/>
            <a:ext cx="649288" cy="27305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542BD6D8-2AE6-4827-BF9D-990ED09A8DC0}" type="datetime'''''+''''''''''''''''''''1''''''''''0%'''''''''''''''''">
              <a:rPr lang="en-GB" altLang="en-US" sz="1400" b="1">
                <a:solidFill>
                  <a:schemeClr val="tx1"/>
                </a:solidFill>
                <a:latin typeface="Arial" panose="020B0604020202020204" pitchFamily="34" charset="0"/>
                <a:cs typeface="Arial" panose="020B0604020202020204" pitchFamily="34" charset="0"/>
              </a:rPr>
              <a:pPr/>
              <a:t>+10%</a:t>
            </a:fld>
            <a:endParaRPr lang="en-GB" sz="1400" b="1">
              <a:solidFill>
                <a:schemeClr val="tx1"/>
              </a:solidFill>
              <a:latin typeface="Arial" panose="020B0604020202020204" pitchFamily="34" charset="0"/>
              <a:cs typeface="Arial" panose="020B0604020202020204" pitchFamily="34" charset="0"/>
              <a:sym typeface="+mn-lt"/>
            </a:endParaRPr>
          </a:p>
        </p:txBody>
      </p:sp>
      <p:sp>
        <p:nvSpPr>
          <p:cNvPr id="31" name="Rectangle 30"/>
          <p:cNvSpPr/>
          <p:nvPr>
            <p:custDataLst>
              <p:tags r:id="rId24"/>
            </p:custDataLst>
          </p:nvPr>
        </p:nvSpPr>
        <p:spPr bwMode="auto">
          <a:xfrm>
            <a:off x="11026775" y="5170488"/>
            <a:ext cx="750888"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F2BA7B11-4B6A-43B6-A6E3-C65B949A210C}" type="datetime'2''''''''0''2''''''''1'' e''''''''''''nd'''''">
              <a:rPr lang="en-GB" altLang="en-US" sz="1400">
                <a:solidFill>
                  <a:schemeClr val="tx1"/>
                </a:solidFill>
                <a:latin typeface="Arial" panose="020B0604020202020204" pitchFamily="34" charset="0"/>
                <a:cs typeface="Arial" panose="020B0604020202020204" pitchFamily="34" charset="0"/>
              </a:rPr>
              <a:pPr/>
              <a:t>2021 end</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96" name="Rectangle 95"/>
          <p:cNvSpPr/>
          <p:nvPr>
            <p:custDataLst>
              <p:tags r:id="rId25"/>
            </p:custDataLst>
          </p:nvPr>
        </p:nvSpPr>
        <p:spPr bwMode="auto">
          <a:xfrm>
            <a:off x="9396413" y="5459413"/>
            <a:ext cx="250825" cy="187325"/>
          </a:xfrm>
          <a:prstGeom prst="rect">
            <a:avLst/>
          </a:prstGeom>
          <a:solidFill>
            <a:schemeClr val="accent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97" name="Rectangle 96"/>
          <p:cNvSpPr/>
          <p:nvPr>
            <p:custDataLst>
              <p:tags r:id="rId26"/>
            </p:custDataLst>
          </p:nvPr>
        </p:nvSpPr>
        <p:spPr bwMode="auto">
          <a:xfrm>
            <a:off x="10795000" y="5459413"/>
            <a:ext cx="250825" cy="187325"/>
          </a:xfrm>
          <a:prstGeom prst="rect">
            <a:avLst/>
          </a:prstGeom>
          <a:solidFill>
            <a:schemeClr val="accent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94" name="Rectangle 93"/>
          <p:cNvSpPr/>
          <p:nvPr>
            <p:custDataLst>
              <p:tags r:id="rId27"/>
            </p:custDataLst>
          </p:nvPr>
        </p:nvSpPr>
        <p:spPr bwMode="auto">
          <a:xfrm>
            <a:off x="7570788" y="5459413"/>
            <a:ext cx="250825" cy="187325"/>
          </a:xfrm>
          <a:prstGeom prst="rect">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95" name="Rectangle 94"/>
          <p:cNvSpPr/>
          <p:nvPr>
            <p:custDataLst>
              <p:tags r:id="rId28"/>
            </p:custDataLst>
          </p:nvPr>
        </p:nvSpPr>
        <p:spPr bwMode="auto">
          <a:xfrm>
            <a:off x="8497888" y="5459413"/>
            <a:ext cx="250825" cy="187325"/>
          </a:xfrm>
          <a:prstGeom prst="rect">
            <a:avLst/>
          </a:prstGeom>
          <a:solidFill>
            <a:schemeClr val="accent3"/>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93" name="Rectangle 92"/>
          <p:cNvSpPr/>
          <p:nvPr>
            <p:custDataLst>
              <p:tags r:id="rId29"/>
            </p:custDataLst>
          </p:nvPr>
        </p:nvSpPr>
        <p:spPr bwMode="auto">
          <a:xfrm>
            <a:off x="6457950" y="5459413"/>
            <a:ext cx="250825" cy="187325"/>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56" name="Rectangle 55"/>
          <p:cNvSpPr/>
          <p:nvPr>
            <p:custDataLst>
              <p:tags r:id="rId30"/>
            </p:custDataLst>
          </p:nvPr>
        </p:nvSpPr>
        <p:spPr bwMode="auto">
          <a:xfrm>
            <a:off x="8799513" y="5454650"/>
            <a:ext cx="4953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BA9F150-7C44-4F07-831C-0CDB5F119BF3}" type="datetime'S''''''G''&amp;''''''A'''''''''''''''''">
              <a:rPr lang="en-GB" altLang="en-US" sz="1400">
                <a:solidFill>
                  <a:schemeClr val="tx1"/>
                </a:solidFill>
                <a:latin typeface="Arial" panose="020B0604020202020204" pitchFamily="34" charset="0"/>
                <a:cs typeface="Arial" panose="020B0604020202020204" pitchFamily="34" charset="0"/>
                <a:sym typeface="+mn-lt"/>
              </a:rPr>
              <a:pPr>
                <a:spcBef>
                  <a:spcPct val="0"/>
                </a:spcBef>
                <a:spcAft>
                  <a:spcPct val="0"/>
                </a:spcAft>
              </a:pPr>
              <a:t>SG&amp;A</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87" name="Rectangle 86"/>
          <p:cNvSpPr/>
          <p:nvPr>
            <p:custDataLst>
              <p:tags r:id="rId31"/>
            </p:custDataLst>
          </p:nvPr>
        </p:nvSpPr>
        <p:spPr bwMode="auto">
          <a:xfrm>
            <a:off x="11096625" y="5454650"/>
            <a:ext cx="395288"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D8DE7486-C133-460E-AB35-67A1BE815C86}" type="datetime'''''''''''''''EB''''''''''I''''''''''T'''''''''''''''''">
              <a:rPr lang="en-GB" altLang="en-US" sz="1400">
                <a:solidFill>
                  <a:schemeClr val="tx1"/>
                </a:solidFill>
                <a:latin typeface="Arial" panose="020B0604020202020204" pitchFamily="34" charset="0"/>
                <a:cs typeface="Arial" panose="020B0604020202020204" pitchFamily="34" charset="0"/>
              </a:rPr>
              <a:pPr/>
              <a:t>EBIT</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40" name="Rectangle 39"/>
          <p:cNvSpPr/>
          <p:nvPr>
            <p:custDataLst>
              <p:tags r:id="rId32"/>
            </p:custDataLst>
          </p:nvPr>
        </p:nvSpPr>
        <p:spPr bwMode="auto">
          <a:xfrm>
            <a:off x="6759575" y="5454650"/>
            <a:ext cx="70961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3B0C2F9-D80F-40DA-80BA-5D0FD89E5E44}" type="datetime'''Rev''''''''''''''''''e''''''''''''''''''''nu''''''''''''e'">
              <a:rPr lang="en-GB" altLang="en-US" sz="1400">
                <a:solidFill>
                  <a:schemeClr val="tx1"/>
                </a:solidFill>
                <a:latin typeface="Arial" panose="020B0604020202020204" pitchFamily="34" charset="0"/>
                <a:cs typeface="Arial" panose="020B0604020202020204" pitchFamily="34" charset="0"/>
                <a:sym typeface="+mn-lt"/>
              </a:rPr>
              <a:pPr>
                <a:spcBef>
                  <a:spcPct val="0"/>
                </a:spcBef>
                <a:spcAft>
                  <a:spcPct val="0"/>
                </a:spcAft>
              </a:pPr>
              <a:t>Revenue</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72" name="Rectangle 71"/>
          <p:cNvSpPr/>
          <p:nvPr>
            <p:custDataLst>
              <p:tags r:id="rId33"/>
            </p:custDataLst>
          </p:nvPr>
        </p:nvSpPr>
        <p:spPr bwMode="auto">
          <a:xfrm>
            <a:off x="9698038" y="5454650"/>
            <a:ext cx="99536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1437CCF4-735E-423A-8F58-AF1C939A0618}" type="datetime'''''''''D''e''pr''eci''at''''i''''''''''''''on'''''''''''''">
              <a:rPr lang="en-GB" altLang="en-US" sz="1400">
                <a:solidFill>
                  <a:schemeClr val="tx1"/>
                </a:solidFill>
                <a:latin typeface="Arial" panose="020B0604020202020204" pitchFamily="34" charset="0"/>
                <a:cs typeface="Arial" panose="020B0604020202020204" pitchFamily="34" charset="0"/>
                <a:sym typeface="+mn-lt"/>
              </a:rPr>
              <a:pPr>
                <a:spcBef>
                  <a:spcPct val="0"/>
                </a:spcBef>
                <a:spcAft>
                  <a:spcPct val="0"/>
                </a:spcAft>
              </a:pPr>
              <a:t>Depreciation</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41" name="Rectangle 40"/>
          <p:cNvSpPr/>
          <p:nvPr>
            <p:custDataLst>
              <p:tags r:id="rId34"/>
            </p:custDataLst>
          </p:nvPr>
        </p:nvSpPr>
        <p:spPr bwMode="auto">
          <a:xfrm>
            <a:off x="7872413" y="5454650"/>
            <a:ext cx="5238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E1EB169-41D4-4FD6-93C8-63F2CEA229B4}" type="datetime'''C''''O''''''''''''''''''''G''''''''''S'">
              <a:rPr lang="en-GB" altLang="en-US" sz="1400">
                <a:solidFill>
                  <a:schemeClr val="tx1"/>
                </a:solidFill>
                <a:latin typeface="Arial" panose="020B0604020202020204" pitchFamily="34" charset="0"/>
                <a:cs typeface="Arial" panose="020B0604020202020204" pitchFamily="34" charset="0"/>
                <a:sym typeface="+mn-lt"/>
              </a:rPr>
              <a:pPr>
                <a:spcBef>
                  <a:spcPct val="0"/>
                </a:spcBef>
                <a:spcAft>
                  <a:spcPct val="0"/>
                </a:spcAft>
              </a:pPr>
              <a:t>COGS</a:t>
            </a:fld>
            <a:endParaRPr lang="en-GB" sz="1400" dirty="0">
              <a:solidFill>
                <a:schemeClr val="tx1"/>
              </a:solidFill>
              <a:latin typeface="Arial" panose="020B0604020202020204" pitchFamily="34" charset="0"/>
              <a:cs typeface="Arial" panose="020B0604020202020204" pitchFamily="34" charset="0"/>
              <a:sym typeface="+mn-lt"/>
            </a:endParaRPr>
          </a:p>
        </p:txBody>
      </p:sp>
      <p:sp>
        <p:nvSpPr>
          <p:cNvPr id="98" name="TextBox 97"/>
          <p:cNvSpPr txBox="1"/>
          <p:nvPr/>
        </p:nvSpPr>
        <p:spPr>
          <a:xfrm>
            <a:off x="6034180" y="1292084"/>
            <a:ext cx="5743484" cy="523220"/>
          </a:xfrm>
          <a:prstGeom prst="rect">
            <a:avLst/>
          </a:prstGeom>
          <a:noFill/>
        </p:spPr>
        <p:txBody>
          <a:bodyPr wrap="square" rtlCol="0">
            <a:spAutoFit/>
          </a:bodyPr>
          <a:lstStyle/>
          <a:p>
            <a:r>
              <a:rPr lang="en-AU" sz="1400" b="1" dirty="0">
                <a:latin typeface="Arial" panose="020B0604020202020204" pitchFamily="34" charset="0"/>
                <a:cs typeface="Arial" panose="020B0604020202020204" pitchFamily="34" charset="0"/>
              </a:rPr>
              <a:t>Through UGLY FOODS, Coles EBIT will increase from 1860 M to 3063 M over the next 5 years</a:t>
            </a:r>
          </a:p>
        </p:txBody>
      </p:sp>
      <p:graphicFrame>
        <p:nvGraphicFramePr>
          <p:cNvPr id="105" name="Object 104"/>
          <p:cNvGraphicFramePr>
            <a:graphicFrameLocks/>
          </p:cNvGraphicFramePr>
          <p:nvPr>
            <p:custDataLst>
              <p:tags r:id="rId35"/>
            </p:custDataLst>
          </p:nvPr>
        </p:nvGraphicFramePr>
        <p:xfrm>
          <a:off x="495299" y="1828800"/>
          <a:ext cx="5267356" cy="3095598"/>
        </p:xfrm>
        <a:graphic>
          <a:graphicData uri="http://schemas.openxmlformats.org/presentationml/2006/ole">
            <mc:AlternateContent xmlns:mc="http://schemas.openxmlformats.org/markup-compatibility/2006">
              <mc:Choice xmlns:v="urn:schemas-microsoft-com:vml" Requires="v">
                <p:oleObj spid="_x0000_s140321" name="Chart" r:id="rId51" imgW="5267200" imgH="3095507" progId="MSGraph.Chart.8">
                  <p:embed followColorScheme="full"/>
                </p:oleObj>
              </mc:Choice>
              <mc:Fallback>
                <p:oleObj name="Chart" r:id="rId51" imgW="5267200" imgH="3095507" progId="MSGraph.Chart.8">
                  <p:embed followColorScheme="full"/>
                  <p:pic>
                    <p:nvPicPr>
                      <p:cNvPr id="105" name="Object 104"/>
                      <p:cNvPicPr/>
                      <p:nvPr/>
                    </p:nvPicPr>
                    <p:blipFill>
                      <a:blip r:embed="rId52"/>
                      <a:stretch>
                        <a:fillRect/>
                      </a:stretch>
                    </p:blipFill>
                    <p:spPr>
                      <a:xfrm>
                        <a:off x="495299" y="1828800"/>
                        <a:ext cx="5267356" cy="3095598"/>
                      </a:xfrm>
                      <a:prstGeom prst="rect">
                        <a:avLst/>
                      </a:prstGeom>
                    </p:spPr>
                  </p:pic>
                </p:oleObj>
              </mc:Fallback>
            </mc:AlternateContent>
          </a:graphicData>
        </a:graphic>
      </p:graphicFrame>
      <p:sp>
        <p:nvSpPr>
          <p:cNvPr id="119" name="Rectangle 118"/>
          <p:cNvSpPr/>
          <p:nvPr>
            <p:custDataLst>
              <p:tags r:id="rId36"/>
            </p:custDataLst>
          </p:nvPr>
        </p:nvSpPr>
        <p:spPr bwMode="auto">
          <a:xfrm>
            <a:off x="4945063"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EC949755-224A-46E2-97DC-00F1AB0A5407}" type="datetime'''2''''''0''''''''''''''''''''''2''''''''''1'">
              <a:rPr lang="en-GB" altLang="en-US" sz="1400">
                <a:solidFill>
                  <a:schemeClr val="tx1"/>
                </a:solidFill>
                <a:latin typeface="Arial" panose="020B0604020202020204" pitchFamily="34" charset="0"/>
                <a:cs typeface="Arial" panose="020B0604020202020204" pitchFamily="34" charset="0"/>
              </a:rPr>
              <a:pPr/>
              <a:t>2021</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20" name="Rectangle 119"/>
          <p:cNvSpPr/>
          <p:nvPr>
            <p:custDataLst>
              <p:tags r:id="rId37"/>
            </p:custDataLst>
          </p:nvPr>
        </p:nvSpPr>
        <p:spPr bwMode="gray">
          <a:xfrm>
            <a:off x="3892550" y="2447925"/>
            <a:ext cx="49371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BC48FD45-5F78-4864-8E08-79D5426BE35D}" type="datetime'''''''''''1''''''.''''''''''''''''''''2''''5''''''''''''''2'''">
              <a:rPr lang="en-GB" altLang="en-US" sz="1400">
                <a:solidFill>
                  <a:schemeClr val="tx1"/>
                </a:solidFill>
                <a:latin typeface="Arial" panose="020B0604020202020204" pitchFamily="34" charset="0"/>
                <a:cs typeface="Arial" panose="020B0604020202020204" pitchFamily="34" charset="0"/>
                <a:sym typeface="+mn-lt"/>
              </a:rPr>
              <a:pPr algn="ctr">
                <a:spcBef>
                  <a:spcPct val="0"/>
                </a:spcBef>
                <a:spcAft>
                  <a:spcPct val="0"/>
                </a:spcAft>
              </a:pPr>
              <a:t>1.252</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21" name="Rectangle 120"/>
          <p:cNvSpPr/>
          <p:nvPr>
            <p:custDataLst>
              <p:tags r:id="rId38"/>
            </p:custDataLst>
          </p:nvPr>
        </p:nvSpPr>
        <p:spPr bwMode="gray">
          <a:xfrm>
            <a:off x="4902200" y="1724025"/>
            <a:ext cx="493713"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4C92CB0C-A57C-4505-92E0-E331A9F80964}" type="datetime'''''''''''''''1''''''''''''''''''''''.''67''''''''''''7'''''">
              <a:rPr lang="en-GB" altLang="en-US" sz="1400">
                <a:solidFill>
                  <a:schemeClr val="tx1"/>
                </a:solidFill>
                <a:latin typeface="Arial" panose="020B0604020202020204" pitchFamily="34" charset="0"/>
                <a:cs typeface="Arial" panose="020B0604020202020204" pitchFamily="34" charset="0"/>
                <a:sym typeface="+mn-lt"/>
              </a:rPr>
              <a:pPr algn="ctr">
                <a:spcBef>
                  <a:spcPct val="0"/>
                </a:spcBef>
                <a:spcAft>
                  <a:spcPct val="0"/>
                </a:spcAft>
              </a:pPr>
              <a:t>1.677</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18" name="Rectangle 117"/>
          <p:cNvSpPr/>
          <p:nvPr>
            <p:custDataLst>
              <p:tags r:id="rId39"/>
            </p:custDataLst>
          </p:nvPr>
        </p:nvSpPr>
        <p:spPr bwMode="auto">
          <a:xfrm>
            <a:off x="3935413"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CC7D6B46-B2FB-46C6-A5CF-EBAE1D1DB0ED}" type="datetime'20''''''''''''''''''''2''''''''''''''''''''''0'''">
              <a:rPr lang="en-GB" altLang="en-US" sz="1400">
                <a:solidFill>
                  <a:schemeClr val="tx1"/>
                </a:solidFill>
                <a:latin typeface="Arial" panose="020B0604020202020204" pitchFamily="34" charset="0"/>
                <a:cs typeface="Arial" panose="020B0604020202020204" pitchFamily="34" charset="0"/>
              </a:rPr>
              <a:pPr/>
              <a:t>2020</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06" name="Rectangle 105"/>
          <p:cNvSpPr/>
          <p:nvPr>
            <p:custDataLst>
              <p:tags r:id="rId40"/>
            </p:custDataLst>
          </p:nvPr>
        </p:nvSpPr>
        <p:spPr bwMode="auto">
          <a:xfrm>
            <a:off x="915988"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0C44915B-0BBA-436C-AF0C-6296388090D0}" type="datetime'''''''''''20''''''1''''''''''''''''''''''''''7'''''">
              <a:rPr lang="en-GB" altLang="en-US" sz="1400">
                <a:solidFill>
                  <a:schemeClr val="tx1"/>
                </a:solidFill>
                <a:latin typeface="Arial" panose="020B0604020202020204" pitchFamily="34" charset="0"/>
                <a:cs typeface="Arial" panose="020B0604020202020204" pitchFamily="34" charset="0"/>
              </a:rPr>
              <a:pPr/>
              <a:t>2017</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08" name="Rectangle 107"/>
          <p:cNvSpPr/>
          <p:nvPr>
            <p:custDataLst>
              <p:tags r:id="rId41"/>
            </p:custDataLst>
          </p:nvPr>
        </p:nvSpPr>
        <p:spPr bwMode="auto">
          <a:xfrm>
            <a:off x="2930525"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205A3D3D-D1EA-4677-81AD-B3906AF2B392}" type="datetime'''''''''2''''''''''''0''''''''''1''''9'''''''''''''''''">
              <a:rPr lang="en-GB" altLang="en-US" sz="1400">
                <a:solidFill>
                  <a:schemeClr val="tx1"/>
                </a:solidFill>
                <a:latin typeface="Arial" panose="020B0604020202020204" pitchFamily="34" charset="0"/>
                <a:cs typeface="Arial" panose="020B0604020202020204" pitchFamily="34" charset="0"/>
              </a:rPr>
              <a:pPr/>
              <a:t>2019</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12" name="Rectangle 111"/>
          <p:cNvSpPr/>
          <p:nvPr>
            <p:custDataLst>
              <p:tags r:id="rId42"/>
            </p:custDataLst>
          </p:nvPr>
        </p:nvSpPr>
        <p:spPr bwMode="gray">
          <a:xfrm>
            <a:off x="952500" y="4391025"/>
            <a:ext cx="3333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6025BED3-1AD6-4862-BFDD-6D8F0DB06A3D}" type="datetime'''''''''''''''''''1''''''1''''''''''''''''''0'''''''''''''''''">
              <a:rPr lang="en-GB" altLang="en-US" sz="1400">
                <a:solidFill>
                  <a:schemeClr val="tx1"/>
                </a:solidFill>
                <a:latin typeface="Arial" panose="020B0604020202020204" pitchFamily="34" charset="0"/>
                <a:cs typeface="Arial" panose="020B0604020202020204" pitchFamily="34" charset="0"/>
              </a:rPr>
              <a:pPr/>
              <a:t>110</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13" name="Rectangle 112"/>
          <p:cNvSpPr/>
          <p:nvPr>
            <p:custDataLst>
              <p:tags r:id="rId43"/>
            </p:custDataLst>
          </p:nvPr>
        </p:nvSpPr>
        <p:spPr bwMode="gray">
          <a:xfrm>
            <a:off x="1955800" y="37814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2E1CF539-AC93-4B31-9DE3-609AF31ABE53}" type="datetime'''''''''''''''''''''''4''''''''''''''''''''6''''''''9'''''''">
              <a:rPr lang="en-GB" altLang="en-US" sz="1400">
                <a:solidFill>
                  <a:schemeClr val="tx1"/>
                </a:solidFill>
                <a:latin typeface="Arial" panose="020B0604020202020204" pitchFamily="34" charset="0"/>
                <a:cs typeface="Arial" panose="020B0604020202020204" pitchFamily="34" charset="0"/>
              </a:rPr>
              <a:pPr/>
              <a:t>469</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14" name="Rectangle 113"/>
          <p:cNvSpPr/>
          <p:nvPr>
            <p:custDataLst>
              <p:tags r:id="rId44"/>
            </p:custDataLst>
          </p:nvPr>
        </p:nvSpPr>
        <p:spPr bwMode="gray">
          <a:xfrm>
            <a:off x="2960688" y="3133725"/>
            <a:ext cx="346075"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5F90997F-BB2E-4C87-9A8F-E1944F1CBB1C}" type="datetime'''''''''''''''8''''''''''''''4''''''''''9'''''''''''''''''''''">
              <a:rPr lang="en-GB" altLang="en-US" sz="1400">
                <a:solidFill>
                  <a:schemeClr val="tx1"/>
                </a:solidFill>
                <a:latin typeface="Arial" panose="020B0604020202020204" pitchFamily="34" charset="0"/>
                <a:cs typeface="Arial" panose="020B0604020202020204" pitchFamily="34" charset="0"/>
              </a:rPr>
              <a:pPr/>
              <a:t>849</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07" name="Rectangle 106"/>
          <p:cNvSpPr/>
          <p:nvPr>
            <p:custDataLst>
              <p:tags r:id="rId45"/>
            </p:custDataLst>
          </p:nvPr>
        </p:nvSpPr>
        <p:spPr bwMode="auto">
          <a:xfrm>
            <a:off x="1925638" y="4922838"/>
            <a:ext cx="406400" cy="2127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247EBD5-19B7-4CF3-8DFD-4F018ABD7805}" type="datetime'''2''''''''''''0''1''''''8'''">
              <a:rPr lang="en-GB" altLang="en-US" sz="1400">
                <a:solidFill>
                  <a:schemeClr val="tx1"/>
                </a:solidFill>
                <a:latin typeface="Arial" panose="020B0604020202020204" pitchFamily="34" charset="0"/>
                <a:cs typeface="Arial" panose="020B0604020202020204" pitchFamily="34" charset="0"/>
              </a:rPr>
              <a:pPr/>
              <a:t>2018</a:t>
            </a:fld>
            <a:endParaRPr lang="en-GB" sz="1400">
              <a:solidFill>
                <a:schemeClr val="tx1"/>
              </a:solidFill>
              <a:latin typeface="Arial" panose="020B0604020202020204" pitchFamily="34" charset="0"/>
              <a:cs typeface="Arial" panose="020B0604020202020204" pitchFamily="34" charset="0"/>
              <a:sym typeface="+mn-lt"/>
            </a:endParaRPr>
          </a:p>
        </p:txBody>
      </p:sp>
      <p:sp>
        <p:nvSpPr>
          <p:cNvPr id="128" name="TextBox 127"/>
          <p:cNvSpPr txBox="1"/>
          <p:nvPr/>
        </p:nvSpPr>
        <p:spPr>
          <a:xfrm>
            <a:off x="498026" y="1399805"/>
            <a:ext cx="3118576" cy="307777"/>
          </a:xfrm>
          <a:prstGeom prst="rect">
            <a:avLst/>
          </a:prstGeom>
          <a:noFill/>
        </p:spPr>
        <p:txBody>
          <a:bodyPr wrap="square" rtlCol="0">
            <a:spAutoFit/>
          </a:bodyPr>
          <a:lstStyle/>
          <a:p>
            <a:fld id="{A03EDD93-F633-4CB7-A19F-6EF89D5426CF}" type="datetime'Inc''r''ement''a''l ''r''eve''''''nue'''' in'''''' ''''$''M'''">
              <a:rPr lang="en-GB" altLang="en-US" sz="1400" b="1">
                <a:latin typeface="Arial" panose="020B0604020202020204" pitchFamily="34" charset="0"/>
                <a:cs typeface="Arial" panose="020B0604020202020204" pitchFamily="34" charset="0"/>
              </a:rPr>
              <a:pPr/>
              <a:t>Incremental revenue in $M</a:t>
            </a:fld>
            <a:endParaRPr lang="en-GB" sz="1400" b="1" dirty="0">
              <a:latin typeface="Arial" panose="020B0604020202020204" pitchFamily="34" charset="0"/>
              <a:cs typeface="Arial" panose="020B0604020202020204" pitchFamily="34" charset="0"/>
            </a:endParaRPr>
          </a:p>
        </p:txBody>
      </p:sp>
      <p:sp>
        <p:nvSpPr>
          <p:cNvPr id="10" name="Tekstfelt 9"/>
          <p:cNvSpPr txBox="1"/>
          <p:nvPr/>
        </p:nvSpPr>
        <p:spPr>
          <a:xfrm>
            <a:off x="106776" y="5271041"/>
            <a:ext cx="740908" cy="261610"/>
          </a:xfrm>
          <a:prstGeom prst="rect">
            <a:avLst/>
          </a:prstGeom>
          <a:noFill/>
        </p:spPr>
        <p:txBody>
          <a:bodyPr wrap="none" rtlCol="0">
            <a:spAutoFit/>
          </a:bodyPr>
          <a:lstStyle/>
          <a:p>
            <a:r>
              <a:rPr lang="en-US" sz="1050" b="1" dirty="0">
                <a:latin typeface="Arial" panose="020B0604020202020204" pitchFamily="34" charset="0"/>
                <a:cs typeface="Arial" panose="020B0604020202020204" pitchFamily="34" charset="0"/>
              </a:rPr>
              <a:t># Stores</a:t>
            </a:r>
          </a:p>
        </p:txBody>
      </p:sp>
      <p:sp>
        <p:nvSpPr>
          <p:cNvPr id="60" name="Ellipse 59"/>
          <p:cNvSpPr/>
          <p:nvPr/>
        </p:nvSpPr>
        <p:spPr>
          <a:xfrm>
            <a:off x="1819219" y="5245417"/>
            <a:ext cx="633412" cy="3195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33</a:t>
            </a:r>
          </a:p>
        </p:txBody>
      </p:sp>
      <p:sp>
        <p:nvSpPr>
          <p:cNvPr id="63" name="Ellipse 62"/>
          <p:cNvSpPr/>
          <p:nvPr/>
        </p:nvSpPr>
        <p:spPr>
          <a:xfrm>
            <a:off x="2812271" y="5249449"/>
            <a:ext cx="633412" cy="3195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58</a:t>
            </a:r>
          </a:p>
        </p:txBody>
      </p:sp>
      <p:sp>
        <p:nvSpPr>
          <p:cNvPr id="64" name="Ellipse 63"/>
          <p:cNvSpPr/>
          <p:nvPr/>
        </p:nvSpPr>
        <p:spPr>
          <a:xfrm>
            <a:off x="3816483" y="5247773"/>
            <a:ext cx="633412" cy="3195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83</a:t>
            </a:r>
          </a:p>
        </p:txBody>
      </p:sp>
      <p:sp>
        <p:nvSpPr>
          <p:cNvPr id="67" name="Ellipse 66"/>
          <p:cNvSpPr/>
          <p:nvPr/>
        </p:nvSpPr>
        <p:spPr>
          <a:xfrm>
            <a:off x="4831557" y="5249448"/>
            <a:ext cx="633412" cy="3195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Arial" panose="020B0604020202020204" pitchFamily="34" charset="0"/>
              <a:cs typeface="Arial" panose="020B0604020202020204" pitchFamily="34" charset="0"/>
            </a:endParaRPr>
          </a:p>
        </p:txBody>
      </p:sp>
      <p:sp>
        <p:nvSpPr>
          <p:cNvPr id="17" name="Tekstfelt 16"/>
          <p:cNvSpPr txBox="1"/>
          <p:nvPr/>
        </p:nvSpPr>
        <p:spPr>
          <a:xfrm>
            <a:off x="4852647" y="5236208"/>
            <a:ext cx="564532"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108</a:t>
            </a:r>
          </a:p>
        </p:txBody>
      </p:sp>
      <p:sp>
        <p:nvSpPr>
          <p:cNvPr id="18" name="Tekstfelt 17"/>
          <p:cNvSpPr txBox="1"/>
          <p:nvPr/>
        </p:nvSpPr>
        <p:spPr>
          <a:xfrm>
            <a:off x="10782485" y="2405261"/>
            <a:ext cx="704039" cy="307777"/>
          </a:xfrm>
          <a:prstGeom prst="rect">
            <a:avLst/>
          </a:prstGeom>
          <a:noFill/>
        </p:spPr>
        <p:txBody>
          <a:bodyPr wrap="none" rtlCol="0">
            <a:spAutoFit/>
          </a:bodyPr>
          <a:lstStyle/>
          <a:p>
            <a:r>
              <a:rPr lang="en-US" sz="1400" dirty="0">
                <a:latin typeface="Arial" panose="020B0604020202020204" pitchFamily="34" charset="0"/>
                <a:cs typeface="Arial" panose="020B0604020202020204" pitchFamily="34" charset="0"/>
              </a:rPr>
              <a:t>CAGR</a:t>
            </a:r>
          </a:p>
        </p:txBody>
      </p:sp>
    </p:spTree>
    <p:extLst>
      <p:ext uri="{BB962C8B-B14F-4D97-AF65-F5344CB8AC3E}">
        <p14:creationId xmlns:p14="http://schemas.microsoft.com/office/powerpoint/2010/main" val="24307654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AU" dirty="0">
                <a:latin typeface="Arial" panose="020B0604020202020204" pitchFamily="34" charset="0"/>
                <a:cs typeface="Arial" panose="020B0604020202020204" pitchFamily="34" charset="0"/>
              </a:rPr>
              <a:t>Australian government productivity </a:t>
            </a:r>
            <a:r>
              <a:rPr lang="en-AU" dirty="0" err="1">
                <a:latin typeface="Arial" panose="020B0604020202020204" pitchFamily="34" charset="0"/>
                <a:cs typeface="Arial" panose="020B0604020202020204" pitchFamily="34" charset="0"/>
              </a:rPr>
              <a:t>commision</a:t>
            </a:r>
            <a:r>
              <a:rPr lang="en-AU" dirty="0">
                <a:latin typeface="Arial" panose="020B0604020202020204" pitchFamily="34" charset="0"/>
                <a:cs typeface="Arial" panose="020B0604020202020204" pitchFamily="34" charset="0"/>
              </a:rPr>
              <a:t> research report (2014)</a:t>
            </a:r>
            <a:br>
              <a:rPr lang="en-AU" dirty="0">
                <a:latin typeface="Arial" panose="020B0604020202020204" pitchFamily="34" charset="0"/>
                <a:cs typeface="Arial" panose="020B0604020202020204" pitchFamily="34" charset="0"/>
              </a:rPr>
            </a:br>
            <a:r>
              <a:rPr lang="en-AU" dirty="0">
                <a:latin typeface="Arial" panose="020B0604020202020204" pitchFamily="34" charset="0"/>
                <a:cs typeface="Arial" panose="020B0604020202020204" pitchFamily="34" charset="0"/>
              </a:rPr>
              <a:t>Team analysis</a:t>
            </a:r>
          </a:p>
          <a:p>
            <a:endParaRPr lang="en-AU" dirty="0">
              <a:latin typeface="Arial" panose="020B0604020202020204" pitchFamily="34" charset="0"/>
              <a:cs typeface="Arial" panose="020B0604020202020204" pitchFamily="34" charset="0"/>
            </a:endParaRPr>
          </a:p>
        </p:txBody>
      </p:sp>
      <p:sp>
        <p:nvSpPr>
          <p:cNvPr id="2" name="Text Placeholder 1">
            <a:extLst>
              <a:ext uri="{FF2B5EF4-FFF2-40B4-BE49-F238E27FC236}">
                <a16:creationId xmlns:a16="http://schemas.microsoft.com/office/drawing/2014/main" id="{FC951BEC-0E0C-4D42-A6B3-3AEC5D721AE9}"/>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5" name="Title 4"/>
          <p:cNvSpPr>
            <a:spLocks noGrp="1"/>
          </p:cNvSpPr>
          <p:nvPr>
            <p:ph type="title"/>
          </p:nvPr>
        </p:nvSpPr>
        <p:spPr/>
        <p:txBody>
          <a:bodyPr/>
          <a:lstStyle/>
          <a:p>
            <a:r>
              <a:rPr lang="en-AU" dirty="0">
                <a:latin typeface="Arial" panose="020B0604020202020204" pitchFamily="34" charset="0"/>
                <a:cs typeface="Arial" panose="020B0604020202020204" pitchFamily="34" charset="0"/>
              </a:rPr>
              <a:t>… This means a positive NPV in every scenario, with a initial investment of $84 M and a payback time of 4 years</a:t>
            </a:r>
          </a:p>
        </p:txBody>
      </p:sp>
      <p:sp>
        <p:nvSpPr>
          <p:cNvPr id="11" name="Tekstfelt 5"/>
          <p:cNvSpPr txBox="1"/>
          <p:nvPr/>
        </p:nvSpPr>
        <p:spPr>
          <a:xfrm>
            <a:off x="8977893" y="3535399"/>
            <a:ext cx="3677063" cy="2539157"/>
          </a:xfrm>
          <a:prstGeom prst="rect">
            <a:avLst/>
          </a:prstGeom>
          <a:noFill/>
          <a:ln>
            <a:noFill/>
          </a:ln>
        </p:spPr>
        <p:txBody>
          <a:bodyPr wrap="square" rtlCol="0">
            <a:spAutoFit/>
          </a:bodyPr>
          <a:lstStyle/>
          <a:p>
            <a:endParaRPr lang="en-AU" sz="300" b="1" dirty="0">
              <a:solidFill>
                <a:schemeClr val="tx1">
                  <a:lumMod val="75000"/>
                  <a:lumOff val="25000"/>
                </a:schemeClr>
              </a:solidFill>
              <a:latin typeface="Arial" panose="020B0604020202020204" pitchFamily="34" charset="0"/>
              <a:cs typeface="Arial" panose="020B0604020202020204" pitchFamily="34" charset="0"/>
            </a:endParaRPr>
          </a:p>
          <a:p>
            <a:r>
              <a:rPr lang="en-AU" sz="1200" dirty="0">
                <a:solidFill>
                  <a:schemeClr val="tx1">
                    <a:lumMod val="75000"/>
                    <a:lumOff val="25000"/>
                  </a:schemeClr>
                </a:solidFill>
                <a:latin typeface="Arial" panose="020B0604020202020204" pitchFamily="34" charset="0"/>
                <a:cs typeface="Arial" panose="020B0604020202020204" pitchFamily="34" charset="0"/>
              </a:rPr>
              <a:t>Initial irreversible investment:</a:t>
            </a:r>
          </a:p>
          <a:p>
            <a:r>
              <a:rPr lang="en-AU" sz="1200" dirty="0">
                <a:solidFill>
                  <a:schemeClr val="tx1">
                    <a:lumMod val="75000"/>
                    <a:lumOff val="25000"/>
                  </a:schemeClr>
                </a:solidFill>
                <a:latin typeface="Arial" panose="020B0604020202020204" pitchFamily="34" charset="0"/>
                <a:cs typeface="Arial" panose="020B0604020202020204" pitchFamily="34" charset="0"/>
              </a:rPr>
              <a:t>$54 M CAPEX + $30 M for fixed cost first year.</a:t>
            </a:r>
          </a:p>
          <a:p>
            <a:endParaRPr lang="en-AU" sz="1200" dirty="0">
              <a:solidFill>
                <a:schemeClr val="tx1">
                  <a:lumMod val="75000"/>
                  <a:lumOff val="25000"/>
                </a:schemeClr>
              </a:solidFill>
              <a:latin typeface="Arial" panose="020B0604020202020204" pitchFamily="34" charset="0"/>
              <a:cs typeface="Arial" panose="020B0604020202020204" pitchFamily="34" charset="0"/>
            </a:endParaRPr>
          </a:p>
          <a:p>
            <a:r>
              <a:rPr lang="en-AU" sz="1200" dirty="0">
                <a:solidFill>
                  <a:schemeClr val="tx1">
                    <a:lumMod val="75000"/>
                    <a:lumOff val="25000"/>
                  </a:schemeClr>
                </a:solidFill>
                <a:latin typeface="Arial" panose="020B0604020202020204" pitchFamily="34" charset="0"/>
                <a:cs typeface="Arial" panose="020B0604020202020204" pitchFamily="34" charset="0"/>
              </a:rPr>
              <a:t>3% annual growth in best and base.</a:t>
            </a:r>
            <a:br>
              <a:rPr lang="en-AU" sz="1200" dirty="0">
                <a:solidFill>
                  <a:schemeClr val="tx1">
                    <a:lumMod val="75000"/>
                    <a:lumOff val="25000"/>
                  </a:schemeClr>
                </a:solidFill>
                <a:latin typeface="Arial" panose="020B0604020202020204" pitchFamily="34" charset="0"/>
                <a:cs typeface="Arial" panose="020B0604020202020204" pitchFamily="34" charset="0"/>
              </a:rPr>
            </a:br>
            <a:r>
              <a:rPr lang="en-AU" sz="1200" dirty="0">
                <a:solidFill>
                  <a:schemeClr val="tx1">
                    <a:lumMod val="75000"/>
                    <a:lumOff val="25000"/>
                  </a:schemeClr>
                </a:solidFill>
                <a:latin typeface="Arial" panose="020B0604020202020204" pitchFamily="34" charset="0"/>
                <a:cs typeface="Arial" panose="020B0604020202020204" pitchFamily="34" charset="0"/>
              </a:rPr>
              <a:t>0% in worst</a:t>
            </a:r>
          </a:p>
          <a:p>
            <a:endParaRPr lang="en-AU" sz="1200" dirty="0">
              <a:solidFill>
                <a:schemeClr val="tx1">
                  <a:lumMod val="75000"/>
                  <a:lumOff val="25000"/>
                </a:schemeClr>
              </a:solidFill>
              <a:latin typeface="Arial" panose="020B0604020202020204" pitchFamily="34" charset="0"/>
              <a:cs typeface="Arial" panose="020B0604020202020204" pitchFamily="34" charset="0"/>
            </a:endParaRPr>
          </a:p>
          <a:p>
            <a:r>
              <a:rPr lang="en-AU" sz="1200" dirty="0">
                <a:solidFill>
                  <a:schemeClr val="tx1">
                    <a:lumMod val="75000"/>
                    <a:lumOff val="25000"/>
                  </a:schemeClr>
                </a:solidFill>
                <a:latin typeface="Arial" panose="020B0604020202020204" pitchFamily="34" charset="0"/>
                <a:cs typeface="Arial" panose="020B0604020202020204" pitchFamily="34" charset="0"/>
              </a:rPr>
              <a:t>$ 13,8 M average revenue per store</a:t>
            </a:r>
          </a:p>
          <a:p>
            <a:endParaRPr lang="en-AU" sz="1200" dirty="0">
              <a:solidFill>
                <a:schemeClr val="tx1">
                  <a:lumMod val="75000"/>
                  <a:lumOff val="25000"/>
                </a:schemeClr>
              </a:solidFill>
              <a:latin typeface="Arial" panose="020B0604020202020204" pitchFamily="34" charset="0"/>
              <a:cs typeface="Arial" panose="020B0604020202020204" pitchFamily="34" charset="0"/>
            </a:endParaRPr>
          </a:p>
          <a:p>
            <a:r>
              <a:rPr lang="en-AU" sz="1200" dirty="0">
                <a:solidFill>
                  <a:schemeClr val="tx1">
                    <a:lumMod val="75000"/>
                    <a:lumOff val="25000"/>
                  </a:schemeClr>
                </a:solidFill>
                <a:latin typeface="Arial" panose="020B0604020202020204" pitchFamily="34" charset="0"/>
                <a:cs typeface="Arial" panose="020B0604020202020204" pitchFamily="34" charset="0"/>
              </a:rPr>
              <a:t>50/50 split between Ugly Foods &amp; private label</a:t>
            </a:r>
            <a:br>
              <a:rPr lang="en-AU" sz="1200" dirty="0">
                <a:solidFill>
                  <a:schemeClr val="tx1">
                    <a:lumMod val="75000"/>
                    <a:lumOff val="25000"/>
                  </a:schemeClr>
                </a:solidFill>
                <a:latin typeface="Arial" panose="020B0604020202020204" pitchFamily="34" charset="0"/>
                <a:cs typeface="Arial" panose="020B0604020202020204" pitchFamily="34" charset="0"/>
              </a:rPr>
            </a:br>
            <a:endParaRPr lang="en-AU" sz="1200" dirty="0">
              <a:solidFill>
                <a:schemeClr val="tx1">
                  <a:lumMod val="75000"/>
                  <a:lumOff val="25000"/>
                </a:schemeClr>
              </a:solidFill>
              <a:latin typeface="Arial" panose="020B0604020202020204" pitchFamily="34" charset="0"/>
              <a:cs typeface="Arial" panose="020B0604020202020204" pitchFamily="34" charset="0"/>
            </a:endParaRPr>
          </a:p>
          <a:p>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No investment after pilot in worst case.</a:t>
            </a:r>
            <a:b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b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Stores sold off at 80% of book value in 2021</a:t>
            </a:r>
          </a:p>
          <a:p>
            <a:endParaRPr lang="en-AU" sz="12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Tekstfelt 5"/>
          <p:cNvSpPr txBox="1"/>
          <p:nvPr/>
        </p:nvSpPr>
        <p:spPr>
          <a:xfrm>
            <a:off x="8441983" y="3304088"/>
            <a:ext cx="2920734" cy="307777"/>
          </a:xfrm>
          <a:prstGeom prst="rect">
            <a:avLst/>
          </a:prstGeom>
          <a:noFill/>
          <a:ln>
            <a:noFill/>
          </a:ln>
        </p:spPr>
        <p:txBody>
          <a:bodyPr wrap="square" rtlCol="0">
            <a:spAutoFit/>
          </a:bodyPr>
          <a:lstStyle/>
          <a:p>
            <a:r>
              <a:rPr lang="en-AU" sz="1400" b="1" dirty="0">
                <a:solidFill>
                  <a:schemeClr val="tx1">
                    <a:lumMod val="75000"/>
                    <a:lumOff val="25000"/>
                  </a:schemeClr>
                </a:solidFill>
                <a:latin typeface="Arial" panose="020B0604020202020204" pitchFamily="34" charset="0"/>
                <a:ea typeface="Arial" charset="0"/>
                <a:cs typeface="Arial" panose="020B0604020202020204" pitchFamily="34" charset="0"/>
              </a:rPr>
              <a:t>Key assumptions</a:t>
            </a:r>
          </a:p>
        </p:txBody>
      </p:sp>
      <p:pic>
        <p:nvPicPr>
          <p:cNvPr id="17" name="Picture 16"/>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23531" y="5039454"/>
            <a:ext cx="334646" cy="334646"/>
          </a:xfrm>
          <a:prstGeom prst="rect">
            <a:avLst/>
          </a:prstGeom>
        </p:spPr>
      </p:pic>
      <p:pic>
        <p:nvPicPr>
          <p:cNvPr id="18" name="Picture 17"/>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487884" y="4156022"/>
            <a:ext cx="360000" cy="360000"/>
          </a:xfrm>
          <a:prstGeom prst="rect">
            <a:avLst/>
          </a:prstGeom>
        </p:spPr>
      </p:pic>
      <p:pic>
        <p:nvPicPr>
          <p:cNvPr id="24" name="Picture 23"/>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57794" y="4677336"/>
            <a:ext cx="325070" cy="325070"/>
          </a:xfrm>
          <a:prstGeom prst="rect">
            <a:avLst/>
          </a:prstGeom>
        </p:spPr>
      </p:pic>
      <p:sp>
        <p:nvSpPr>
          <p:cNvPr id="28" name="TextBox 27"/>
          <p:cNvSpPr txBox="1"/>
          <p:nvPr/>
        </p:nvSpPr>
        <p:spPr>
          <a:xfrm>
            <a:off x="1134416" y="3639806"/>
            <a:ext cx="4974439" cy="307777"/>
          </a:xfrm>
          <a:prstGeom prst="rect">
            <a:avLst/>
          </a:prstGeom>
          <a:noFill/>
        </p:spPr>
        <p:txBody>
          <a:bodyPr wrap="none" rtlCol="0">
            <a:spAutoFit/>
          </a:bodyPr>
          <a:lstStyle/>
          <a:p>
            <a:r>
              <a:rPr lang="en-AU" sz="1400" b="1" dirty="0">
                <a:latin typeface="Arial" panose="020B0604020202020204" pitchFamily="34" charset="0"/>
                <a:cs typeface="Arial" panose="020B0604020202020204" pitchFamily="34" charset="0"/>
              </a:rPr>
              <a:t>In base case, Coles will face a payback period of 4 years</a:t>
            </a:r>
          </a:p>
        </p:txBody>
      </p:sp>
      <p:sp>
        <p:nvSpPr>
          <p:cNvPr id="27" name="Tekstfelt 5"/>
          <p:cNvSpPr txBox="1"/>
          <p:nvPr/>
        </p:nvSpPr>
        <p:spPr>
          <a:xfrm>
            <a:off x="8425169" y="1239924"/>
            <a:ext cx="2920734" cy="307777"/>
          </a:xfrm>
          <a:prstGeom prst="rect">
            <a:avLst/>
          </a:prstGeom>
          <a:noFill/>
          <a:ln>
            <a:noFill/>
          </a:ln>
        </p:spPr>
        <p:txBody>
          <a:bodyPr wrap="square" rtlCol="0">
            <a:spAutoFit/>
          </a:bodyPr>
          <a:lstStyle/>
          <a:p>
            <a:r>
              <a:rPr lang="en-AU" sz="1400" b="1" dirty="0">
                <a:solidFill>
                  <a:schemeClr val="tx1">
                    <a:lumMod val="75000"/>
                    <a:lumOff val="25000"/>
                  </a:schemeClr>
                </a:solidFill>
                <a:latin typeface="Arial" panose="020B0604020202020204" pitchFamily="34" charset="0"/>
                <a:ea typeface="Arial" charset="0"/>
                <a:cs typeface="Arial" panose="020B0604020202020204" pitchFamily="34" charset="0"/>
              </a:rPr>
              <a:t>Main Costs Drivers</a:t>
            </a:r>
          </a:p>
        </p:txBody>
      </p:sp>
      <p:pic>
        <p:nvPicPr>
          <p:cNvPr id="3" name="Billed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98177" y="5495648"/>
            <a:ext cx="360000" cy="360000"/>
          </a:xfrm>
          <a:prstGeom prst="rect">
            <a:avLst/>
          </a:prstGeom>
        </p:spPr>
      </p:pic>
      <p:sp>
        <p:nvSpPr>
          <p:cNvPr id="39" name="Tekstfelt 5"/>
          <p:cNvSpPr txBox="1"/>
          <p:nvPr/>
        </p:nvSpPr>
        <p:spPr>
          <a:xfrm>
            <a:off x="8977893" y="1613958"/>
            <a:ext cx="2920734" cy="646331"/>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rPr>
              <a:t>CAPEX</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 Assuming $6,8 M per store</a:t>
            </a:r>
            <a:b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b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Based on Aldi capex (similar size and concept). Useful life = 20 years</a:t>
            </a:r>
            <a:endPar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endParaRPr>
          </a:p>
        </p:txBody>
      </p:sp>
      <p:pic>
        <p:nvPicPr>
          <p:cNvPr id="10" name="Billed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5169" y="1603390"/>
            <a:ext cx="419100" cy="419100"/>
          </a:xfrm>
          <a:prstGeom prst="rect">
            <a:avLst/>
          </a:prstGeom>
        </p:spPr>
      </p:pic>
      <p:sp>
        <p:nvSpPr>
          <p:cNvPr id="40" name="Tekstfelt 5"/>
          <p:cNvSpPr txBox="1"/>
          <p:nvPr/>
        </p:nvSpPr>
        <p:spPr>
          <a:xfrm>
            <a:off x="8977893" y="2188888"/>
            <a:ext cx="2920734" cy="461665"/>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rPr>
              <a:t>Marketing</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 $3 M for trams, $2 M for public stunts. </a:t>
            </a:r>
            <a:endPar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endParaRPr>
          </a:p>
        </p:txBody>
      </p:sp>
      <p:sp>
        <p:nvSpPr>
          <p:cNvPr id="42" name="Tekstfelt 5"/>
          <p:cNvSpPr txBox="1"/>
          <p:nvPr/>
        </p:nvSpPr>
        <p:spPr>
          <a:xfrm>
            <a:off x="8980083" y="2650553"/>
            <a:ext cx="2920734" cy="646331"/>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rPr>
              <a:t>OPEX</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 Slightly lower than industry </a:t>
            </a:r>
            <a:r>
              <a:rPr lang="en-AU" sz="1200" dirty="0" err="1">
                <a:solidFill>
                  <a:schemeClr val="tx1">
                    <a:lumMod val="75000"/>
                    <a:lumOff val="25000"/>
                  </a:schemeClr>
                </a:solidFill>
                <a:latin typeface="Arial" panose="020B0604020202020204" pitchFamily="34" charset="0"/>
                <a:ea typeface="Arial" charset="0"/>
                <a:cs typeface="Arial" panose="020B0604020202020204" pitchFamily="34" charset="0"/>
              </a:rPr>
              <a:t>avg</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 due to lower number of team members in stores. Partly offset by logistics costs</a:t>
            </a:r>
            <a:endPar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endParaRPr>
          </a:p>
        </p:txBody>
      </p:sp>
      <p:sp>
        <p:nvSpPr>
          <p:cNvPr id="43" name="TextBox 27"/>
          <p:cNvSpPr txBox="1"/>
          <p:nvPr/>
        </p:nvSpPr>
        <p:spPr>
          <a:xfrm>
            <a:off x="1134416" y="1306588"/>
            <a:ext cx="4161717" cy="307777"/>
          </a:xfrm>
          <a:prstGeom prst="rect">
            <a:avLst/>
          </a:prstGeom>
          <a:noFill/>
        </p:spPr>
        <p:txBody>
          <a:bodyPr wrap="none" rtlCol="0">
            <a:spAutoFit/>
          </a:bodyPr>
          <a:lstStyle/>
          <a:p>
            <a:r>
              <a:rPr lang="en-AU" sz="1400" b="1" dirty="0">
                <a:latin typeface="Arial" panose="020B0604020202020204" pitchFamily="34" charset="0"/>
                <a:cs typeface="Arial" panose="020B0604020202020204" pitchFamily="34" charset="0"/>
              </a:rPr>
              <a:t>In base case, Coles will have a NPV of $1421 M</a:t>
            </a:r>
          </a:p>
        </p:txBody>
      </p:sp>
      <p:cxnSp>
        <p:nvCxnSpPr>
          <p:cNvPr id="30" name="Lige forbindelse 29"/>
          <p:cNvCxnSpPr/>
          <p:nvPr/>
        </p:nvCxnSpPr>
        <p:spPr>
          <a:xfrm>
            <a:off x="8229803" y="1327724"/>
            <a:ext cx="0" cy="4742118"/>
          </a:xfrm>
          <a:prstGeom prst="line">
            <a:avLst/>
          </a:prstGeom>
          <a:ln w="22225"/>
        </p:spPr>
        <p:style>
          <a:lnRef idx="1">
            <a:schemeClr val="accent1"/>
          </a:lnRef>
          <a:fillRef idx="0">
            <a:schemeClr val="accent1"/>
          </a:fillRef>
          <a:effectRef idx="0">
            <a:schemeClr val="accent1"/>
          </a:effectRef>
          <a:fontRef idx="minor">
            <a:schemeClr val="tx1"/>
          </a:fontRef>
        </p:style>
      </p:cxnSp>
      <p:graphicFrame>
        <p:nvGraphicFramePr>
          <p:cNvPr id="31" name="Chart 30"/>
          <p:cNvGraphicFramePr>
            <a:graphicFrameLocks/>
          </p:cNvGraphicFramePr>
          <p:nvPr/>
        </p:nvGraphicFramePr>
        <p:xfrm>
          <a:off x="1134416" y="1613958"/>
          <a:ext cx="6206184" cy="207123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p:cNvGraphicFramePr>
            <a:graphicFrameLocks/>
          </p:cNvGraphicFramePr>
          <p:nvPr/>
        </p:nvGraphicFramePr>
        <p:xfrm>
          <a:off x="1176256" y="3947583"/>
          <a:ext cx="6206184" cy="1908065"/>
        </p:xfrm>
        <a:graphic>
          <a:graphicData uri="http://schemas.openxmlformats.org/drawingml/2006/chart">
            <c:chart xmlns:c="http://schemas.openxmlformats.org/drawingml/2006/chart" xmlns:r="http://schemas.openxmlformats.org/officeDocument/2006/relationships" r:id="rId8"/>
          </a:graphicData>
        </a:graphic>
      </p:graphicFrame>
      <p:sp>
        <p:nvSpPr>
          <p:cNvPr id="4" name="Tekstfelt 3"/>
          <p:cNvSpPr txBox="1"/>
          <p:nvPr/>
        </p:nvSpPr>
        <p:spPr>
          <a:xfrm>
            <a:off x="4038600" y="3879187"/>
            <a:ext cx="1680909"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Different color </a:t>
            </a:r>
          </a:p>
        </p:txBody>
      </p:sp>
      <p:pic>
        <p:nvPicPr>
          <p:cNvPr id="7" name="Billede 6"/>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441983" y="2808701"/>
            <a:ext cx="419057" cy="419057"/>
          </a:xfrm>
          <a:prstGeom prst="rect">
            <a:avLst/>
          </a:prstGeom>
        </p:spPr>
      </p:pic>
      <p:pic>
        <p:nvPicPr>
          <p:cNvPr id="8" name="Billede 7"/>
          <p:cNvPicPr>
            <a:picLocks noChangeAspect="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486484" y="3612885"/>
            <a:ext cx="408739" cy="419220"/>
          </a:xfrm>
          <a:prstGeom prst="rect">
            <a:avLst/>
          </a:prstGeom>
        </p:spPr>
      </p:pic>
      <p:pic>
        <p:nvPicPr>
          <p:cNvPr id="9" name="Billede 8"/>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404630" y="2187465"/>
            <a:ext cx="493761" cy="456260"/>
          </a:xfrm>
          <a:prstGeom prst="rect">
            <a:avLst/>
          </a:prstGeom>
        </p:spPr>
      </p:pic>
    </p:spTree>
    <p:extLst>
      <p:ext uri="{BB962C8B-B14F-4D97-AF65-F5344CB8AC3E}">
        <p14:creationId xmlns:p14="http://schemas.microsoft.com/office/powerpoint/2010/main" val="6749203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EC2C16-B862-4740-BFDB-EC256CD917F4}"/>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3CDC04CB-3D9F-3042-887A-63BC8AB19B95}"/>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5" name="Title 4"/>
          <p:cNvSpPr>
            <a:spLocks noGrp="1"/>
          </p:cNvSpPr>
          <p:nvPr>
            <p:ph type="title"/>
          </p:nvPr>
        </p:nvSpPr>
        <p:spPr/>
        <p:txBody>
          <a:bodyPr/>
          <a:lstStyle/>
          <a:p>
            <a:r>
              <a:rPr lang="da-DK" dirty="0" err="1">
                <a:latin typeface="Arial" panose="020B0604020202020204" pitchFamily="34" charset="0"/>
                <a:cs typeface="Arial" panose="020B0604020202020204" pitchFamily="34" charset="0"/>
              </a:rPr>
              <a:t>Setting</a:t>
            </a:r>
            <a:r>
              <a:rPr lang="da-DK" dirty="0">
                <a:latin typeface="Arial" panose="020B0604020202020204" pitchFamily="34" charset="0"/>
                <a:cs typeface="Arial" panose="020B0604020202020204" pitchFamily="34" charset="0"/>
              </a:rPr>
              <a:t> up a </a:t>
            </a:r>
            <a:r>
              <a:rPr lang="da-DK" dirty="0" err="1">
                <a:latin typeface="Arial" panose="020B0604020202020204" pitchFamily="34" charset="0"/>
                <a:cs typeface="Arial" panose="020B0604020202020204" pitchFamily="34" charset="0"/>
              </a:rPr>
              <a:t>appare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factory</a:t>
            </a:r>
            <a:r>
              <a:rPr lang="da-DK" dirty="0">
                <a:latin typeface="Arial" panose="020B0604020202020204" pitchFamily="34" charset="0"/>
                <a:cs typeface="Arial" panose="020B0604020202020204" pitchFamily="34" charset="0"/>
              </a:rPr>
              <a:t> in Jordan </a:t>
            </a:r>
            <a:r>
              <a:rPr lang="da-DK" dirty="0" err="1">
                <a:latin typeface="Arial" panose="020B0604020202020204" pitchFamily="34" charset="0"/>
                <a:cs typeface="Arial" panose="020B0604020202020204" pitchFamily="34" charset="0"/>
              </a:rPr>
              <a:t>wil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result</a:t>
            </a:r>
            <a:r>
              <a:rPr lang="da-DK" dirty="0">
                <a:latin typeface="Arial" panose="020B0604020202020204" pitchFamily="34" charset="0"/>
                <a:cs typeface="Arial" panose="020B0604020202020204" pitchFamily="34" charset="0"/>
              </a:rPr>
              <a:t> in a payback </a:t>
            </a:r>
            <a:r>
              <a:rPr lang="da-DK" dirty="0" err="1">
                <a:latin typeface="Arial" panose="020B0604020202020204" pitchFamily="34" charset="0"/>
                <a:cs typeface="Arial" panose="020B0604020202020204" pitchFamily="34" charset="0"/>
              </a:rPr>
              <a:t>period</a:t>
            </a:r>
            <a:r>
              <a:rPr lang="da-DK" dirty="0">
                <a:latin typeface="Arial" panose="020B0604020202020204" pitchFamily="34" charset="0"/>
                <a:cs typeface="Arial" panose="020B0604020202020204" pitchFamily="34" charset="0"/>
              </a:rPr>
              <a:t> of 2 </a:t>
            </a:r>
            <a:r>
              <a:rPr lang="da-DK" dirty="0" err="1">
                <a:latin typeface="Arial" panose="020B0604020202020204" pitchFamily="34" charset="0"/>
                <a:cs typeface="Arial" panose="020B0604020202020204" pitchFamily="34" charset="0"/>
              </a:rPr>
              <a:t>years</a:t>
            </a:r>
            <a:r>
              <a:rPr lang="da-DK" dirty="0">
                <a:latin typeface="Arial" panose="020B0604020202020204" pitchFamily="34" charset="0"/>
                <a:cs typeface="Arial" panose="020B0604020202020204" pitchFamily="34" charset="0"/>
              </a:rPr>
              <a:t>, and a NPV of DKK 17 </a:t>
            </a:r>
            <a:r>
              <a:rPr lang="da-DK" dirty="0" err="1">
                <a:latin typeface="Arial" panose="020B0604020202020204" pitchFamily="34" charset="0"/>
                <a:cs typeface="Arial" panose="020B0604020202020204" pitchFamily="34" charset="0"/>
              </a:rPr>
              <a:t>mio</a:t>
            </a:r>
            <a:r>
              <a:rPr lang="da-DK" dirty="0">
                <a:latin typeface="Arial" panose="020B0604020202020204" pitchFamily="34" charset="0"/>
                <a:cs typeface="Arial" panose="020B0604020202020204" pitchFamily="34" charset="0"/>
              </a:rPr>
              <a:t> in the base case</a:t>
            </a:r>
            <a:endParaRPr lang="en-US" dirty="0">
              <a:latin typeface="Arial" panose="020B0604020202020204" pitchFamily="34" charset="0"/>
              <a:cs typeface="Arial" panose="020B0604020202020204" pitchFamily="34" charset="0"/>
            </a:endParaRPr>
          </a:p>
        </p:txBody>
      </p:sp>
      <p:sp>
        <p:nvSpPr>
          <p:cNvPr id="11" name="Tekstfelt 5"/>
          <p:cNvSpPr txBox="1"/>
          <p:nvPr/>
        </p:nvSpPr>
        <p:spPr>
          <a:xfrm>
            <a:off x="8977893" y="3554449"/>
            <a:ext cx="3677063" cy="2539157"/>
          </a:xfrm>
          <a:prstGeom prst="rect">
            <a:avLst/>
          </a:prstGeom>
          <a:noFill/>
          <a:ln>
            <a:noFill/>
          </a:ln>
        </p:spPr>
        <p:txBody>
          <a:bodyPr wrap="square" rtlCol="0">
            <a:spAutoFit/>
          </a:bodyPr>
          <a:lstStyle/>
          <a:p>
            <a:endParaRPr lang="da-DK" sz="300" b="1" dirty="0">
              <a:solidFill>
                <a:schemeClr val="tx1">
                  <a:lumMod val="75000"/>
                  <a:lumOff val="25000"/>
                </a:schemeClr>
              </a:solidFill>
              <a:latin typeface="Arial" panose="020B0604020202020204" pitchFamily="34" charset="0"/>
              <a:cs typeface="Arial" panose="020B0604020202020204" pitchFamily="34" charset="0"/>
            </a:endParaRPr>
          </a:p>
          <a:p>
            <a:endParaRPr lang="da-DK" sz="1200" dirty="0">
              <a:solidFill>
                <a:schemeClr val="tx1">
                  <a:lumMod val="75000"/>
                  <a:lumOff val="25000"/>
                </a:schemeClr>
              </a:solidFill>
              <a:latin typeface="Arial" panose="020B0604020202020204" pitchFamily="34" charset="0"/>
              <a:cs typeface="Arial" panose="020B0604020202020204" pitchFamily="34" charset="0"/>
            </a:endParaRPr>
          </a:p>
          <a:p>
            <a:r>
              <a:rPr lang="da-DK" sz="1200" dirty="0">
                <a:solidFill>
                  <a:schemeClr val="tx1">
                    <a:lumMod val="75000"/>
                    <a:lumOff val="25000"/>
                  </a:schemeClr>
                </a:solidFill>
                <a:latin typeface="Arial" panose="020B0604020202020204" pitchFamily="34" charset="0"/>
                <a:cs typeface="Arial" panose="020B0604020202020204" pitchFamily="34" charset="0"/>
              </a:rPr>
              <a:t>Initial irreversible </a:t>
            </a:r>
            <a:r>
              <a:rPr lang="da-DK" sz="1200" dirty="0" err="1">
                <a:solidFill>
                  <a:schemeClr val="tx1">
                    <a:lumMod val="75000"/>
                    <a:lumOff val="25000"/>
                  </a:schemeClr>
                </a:solidFill>
                <a:latin typeface="Arial" panose="020B0604020202020204" pitchFamily="34" charset="0"/>
                <a:cs typeface="Arial" panose="020B0604020202020204" pitchFamily="34" charset="0"/>
              </a:rPr>
              <a:t>investment</a:t>
            </a:r>
            <a:r>
              <a:rPr lang="da-DK" sz="1200" dirty="0">
                <a:solidFill>
                  <a:schemeClr val="tx1">
                    <a:lumMod val="75000"/>
                    <a:lumOff val="25000"/>
                  </a:schemeClr>
                </a:solidFill>
                <a:latin typeface="Arial" panose="020B0604020202020204" pitchFamily="34" charset="0"/>
                <a:cs typeface="Arial" panose="020B0604020202020204" pitchFamily="34" charset="0"/>
              </a:rPr>
              <a:t>: DKK 2.700.000</a:t>
            </a:r>
          </a:p>
          <a:p>
            <a:r>
              <a:rPr lang="da-DK" sz="1200" dirty="0">
                <a:solidFill>
                  <a:schemeClr val="tx1">
                    <a:lumMod val="75000"/>
                    <a:lumOff val="25000"/>
                  </a:schemeClr>
                </a:solidFill>
                <a:latin typeface="Arial" panose="020B0604020202020204" pitchFamily="34" charset="0"/>
                <a:cs typeface="Arial" panose="020B0604020202020204" pitchFamily="34" charset="0"/>
              </a:rPr>
              <a:t>DKK 1.500.000 for </a:t>
            </a:r>
            <a:r>
              <a:rPr lang="da-DK" sz="1200" dirty="0" err="1">
                <a:solidFill>
                  <a:schemeClr val="tx1">
                    <a:lumMod val="75000"/>
                    <a:lumOff val="25000"/>
                  </a:schemeClr>
                </a:solidFill>
                <a:latin typeface="Arial" panose="020B0604020202020204" pitchFamily="34" charset="0"/>
                <a:cs typeface="Arial" panose="020B0604020202020204" pitchFamily="34" charset="0"/>
              </a:rPr>
              <a:t>factory</a:t>
            </a:r>
            <a:r>
              <a:rPr lang="da-DK" sz="1200" dirty="0">
                <a:solidFill>
                  <a:schemeClr val="tx1">
                    <a:lumMod val="75000"/>
                    <a:lumOff val="25000"/>
                  </a:schemeClr>
                </a:solidFill>
                <a:latin typeface="Arial" panose="020B0604020202020204" pitchFamily="34" charset="0"/>
                <a:cs typeface="Arial" panose="020B0604020202020204" pitchFamily="34" charset="0"/>
              </a:rPr>
              <a:t> + .DKK 1.200.000 </a:t>
            </a:r>
            <a:br>
              <a:rPr lang="da-DK" sz="1200" dirty="0">
                <a:solidFill>
                  <a:schemeClr val="tx1">
                    <a:lumMod val="75000"/>
                    <a:lumOff val="25000"/>
                  </a:schemeClr>
                </a:solidFill>
                <a:latin typeface="Arial" panose="020B0604020202020204" pitchFamily="34" charset="0"/>
                <a:cs typeface="Arial" panose="020B0604020202020204" pitchFamily="34" charset="0"/>
              </a:rPr>
            </a:br>
            <a:r>
              <a:rPr lang="da-DK" sz="1200" dirty="0">
                <a:solidFill>
                  <a:schemeClr val="tx1">
                    <a:lumMod val="75000"/>
                    <a:lumOff val="25000"/>
                  </a:schemeClr>
                </a:solidFill>
                <a:latin typeface="Arial" panose="020B0604020202020204" pitchFamily="34" charset="0"/>
                <a:cs typeface="Arial" panose="020B0604020202020204" pitchFamily="34" charset="0"/>
              </a:rPr>
              <a:t>in </a:t>
            </a:r>
            <a:r>
              <a:rPr lang="da-DK" sz="1200" dirty="0" err="1">
                <a:solidFill>
                  <a:schemeClr val="tx1">
                    <a:lumMod val="75000"/>
                    <a:lumOff val="25000"/>
                  </a:schemeClr>
                </a:solidFill>
                <a:latin typeface="Arial" panose="020B0604020202020204" pitchFamily="34" charset="0"/>
                <a:cs typeface="Arial" panose="020B0604020202020204" pitchFamily="34" charset="0"/>
              </a:rPr>
              <a:t>operational</a:t>
            </a:r>
            <a:r>
              <a:rPr lang="da-DK" sz="1200" dirty="0">
                <a:solidFill>
                  <a:schemeClr val="tx1">
                    <a:lumMod val="75000"/>
                    <a:lumOff val="25000"/>
                  </a:schemeClr>
                </a:solidFill>
                <a:latin typeface="Arial" panose="020B0604020202020204" pitchFamily="34" charset="0"/>
                <a:cs typeface="Arial" panose="020B0604020202020204" pitchFamily="34" charset="0"/>
              </a:rPr>
              <a:t> </a:t>
            </a:r>
            <a:r>
              <a:rPr lang="da-DK" sz="1200" dirty="0" err="1">
                <a:solidFill>
                  <a:schemeClr val="tx1">
                    <a:lumMod val="75000"/>
                    <a:lumOff val="25000"/>
                  </a:schemeClr>
                </a:solidFill>
                <a:latin typeface="Arial" panose="020B0604020202020204" pitchFamily="34" charset="0"/>
                <a:cs typeface="Arial" panose="020B0604020202020204" pitchFamily="34" charset="0"/>
              </a:rPr>
              <a:t>expenses</a:t>
            </a:r>
            <a:r>
              <a:rPr lang="da-DK" sz="1200" dirty="0">
                <a:solidFill>
                  <a:schemeClr val="tx1">
                    <a:lumMod val="75000"/>
                    <a:lumOff val="25000"/>
                  </a:schemeClr>
                </a:solidFill>
                <a:latin typeface="Arial" panose="020B0604020202020204" pitchFamily="34" charset="0"/>
                <a:cs typeface="Arial" panose="020B0604020202020204" pitchFamily="34" charset="0"/>
              </a:rPr>
              <a:t> </a:t>
            </a:r>
            <a:r>
              <a:rPr lang="da-DK" sz="1200" dirty="0" err="1">
                <a:solidFill>
                  <a:schemeClr val="tx1">
                    <a:lumMod val="75000"/>
                    <a:lumOff val="25000"/>
                  </a:schemeClr>
                </a:solidFill>
                <a:latin typeface="Arial" panose="020B0604020202020204" pitchFamily="34" charset="0"/>
                <a:cs typeface="Arial" panose="020B0604020202020204" pitchFamily="34" charset="0"/>
              </a:rPr>
              <a:t>first</a:t>
            </a:r>
            <a:r>
              <a:rPr lang="da-DK" sz="1200" dirty="0">
                <a:solidFill>
                  <a:schemeClr val="tx1">
                    <a:lumMod val="75000"/>
                    <a:lumOff val="25000"/>
                  </a:schemeClr>
                </a:solidFill>
                <a:latin typeface="Arial" panose="020B0604020202020204" pitchFamily="34" charset="0"/>
                <a:cs typeface="Arial" panose="020B0604020202020204" pitchFamily="34" charset="0"/>
              </a:rPr>
              <a:t> 3 </a:t>
            </a:r>
            <a:r>
              <a:rPr lang="da-DK" sz="1200" dirty="0" err="1">
                <a:solidFill>
                  <a:schemeClr val="tx1">
                    <a:lumMod val="75000"/>
                    <a:lumOff val="25000"/>
                  </a:schemeClr>
                </a:solidFill>
                <a:latin typeface="Arial" panose="020B0604020202020204" pitchFamily="34" charset="0"/>
                <a:cs typeface="Arial" panose="020B0604020202020204" pitchFamily="34" charset="0"/>
              </a:rPr>
              <a:t>months</a:t>
            </a:r>
            <a:endParaRPr lang="da-DK" sz="1200" dirty="0">
              <a:solidFill>
                <a:schemeClr val="tx1">
                  <a:lumMod val="75000"/>
                  <a:lumOff val="25000"/>
                </a:schemeClr>
              </a:solidFill>
              <a:latin typeface="Arial" panose="020B0604020202020204" pitchFamily="34" charset="0"/>
              <a:cs typeface="Arial" panose="020B0604020202020204" pitchFamily="34" charset="0"/>
            </a:endParaRPr>
          </a:p>
          <a:p>
            <a:endParaRPr lang="da-DK" sz="1200" dirty="0">
              <a:solidFill>
                <a:schemeClr val="tx1">
                  <a:lumMod val="75000"/>
                  <a:lumOff val="25000"/>
                </a:schemeClr>
              </a:solidFill>
              <a:latin typeface="Arial" panose="020B0604020202020204" pitchFamily="34" charset="0"/>
              <a:cs typeface="Arial" panose="020B0604020202020204" pitchFamily="34" charset="0"/>
            </a:endParaRPr>
          </a:p>
          <a:p>
            <a:r>
              <a:rPr lang="da-DK" sz="1200" dirty="0">
                <a:solidFill>
                  <a:schemeClr val="tx1">
                    <a:lumMod val="75000"/>
                    <a:lumOff val="25000"/>
                  </a:schemeClr>
                </a:solidFill>
                <a:latin typeface="Arial" panose="020B0604020202020204" pitchFamily="34" charset="0"/>
                <a:cs typeface="Arial" panose="020B0604020202020204" pitchFamily="34" charset="0"/>
              </a:rPr>
              <a:t>150 </a:t>
            </a:r>
            <a:r>
              <a:rPr lang="da-DK" sz="1200" dirty="0" err="1">
                <a:solidFill>
                  <a:schemeClr val="tx1">
                    <a:lumMod val="75000"/>
                    <a:lumOff val="25000"/>
                  </a:schemeClr>
                </a:solidFill>
                <a:latin typeface="Arial" panose="020B0604020202020204" pitchFamily="34" charset="0"/>
                <a:cs typeface="Arial" panose="020B0604020202020204" pitchFamily="34" charset="0"/>
              </a:rPr>
              <a:t>workers</a:t>
            </a:r>
            <a:r>
              <a:rPr lang="da-DK" sz="1200" dirty="0">
                <a:solidFill>
                  <a:schemeClr val="tx1">
                    <a:lumMod val="75000"/>
                    <a:lumOff val="25000"/>
                  </a:schemeClr>
                </a:solidFill>
                <a:latin typeface="Arial" panose="020B0604020202020204" pitchFamily="34" charset="0"/>
                <a:cs typeface="Arial" panose="020B0604020202020204" pitchFamily="34" charset="0"/>
              </a:rPr>
              <a:t>, </a:t>
            </a:r>
            <a:r>
              <a:rPr lang="da-DK" sz="1200" dirty="0" err="1">
                <a:solidFill>
                  <a:schemeClr val="tx1">
                    <a:lumMod val="75000"/>
                    <a:lumOff val="25000"/>
                  </a:schemeClr>
                </a:solidFill>
                <a:latin typeface="Arial" panose="020B0604020202020204" pitchFamily="34" charset="0"/>
                <a:cs typeface="Arial" panose="020B0604020202020204" pitchFamily="34" charset="0"/>
              </a:rPr>
              <a:t>producing</a:t>
            </a:r>
            <a:r>
              <a:rPr lang="da-DK" sz="1200" dirty="0">
                <a:solidFill>
                  <a:schemeClr val="tx1">
                    <a:lumMod val="75000"/>
                    <a:lumOff val="25000"/>
                  </a:schemeClr>
                </a:solidFill>
                <a:latin typeface="Arial" panose="020B0604020202020204" pitchFamily="34" charset="0"/>
                <a:cs typeface="Arial" panose="020B0604020202020204" pitchFamily="34" charset="0"/>
              </a:rPr>
              <a:t> 5000 units </a:t>
            </a:r>
            <a:r>
              <a:rPr lang="da-DK" sz="1200" dirty="0" err="1">
                <a:solidFill>
                  <a:schemeClr val="tx1">
                    <a:lumMod val="75000"/>
                    <a:lumOff val="25000"/>
                  </a:schemeClr>
                </a:solidFill>
                <a:latin typeface="Arial" panose="020B0604020202020204" pitchFamily="34" charset="0"/>
                <a:cs typeface="Arial" panose="020B0604020202020204" pitchFamily="34" charset="0"/>
              </a:rPr>
              <a:t>monthly</a:t>
            </a:r>
            <a:endParaRPr lang="da-DK" sz="1200" dirty="0">
              <a:solidFill>
                <a:schemeClr val="tx1">
                  <a:lumMod val="75000"/>
                  <a:lumOff val="25000"/>
                </a:schemeClr>
              </a:solidFill>
              <a:latin typeface="Arial" panose="020B0604020202020204" pitchFamily="34" charset="0"/>
              <a:cs typeface="Arial" panose="020B0604020202020204" pitchFamily="34" charset="0"/>
            </a:endParaRPr>
          </a:p>
          <a:p>
            <a:endParaRPr lang="da-DK" sz="1200" dirty="0">
              <a:solidFill>
                <a:schemeClr val="tx1">
                  <a:lumMod val="75000"/>
                  <a:lumOff val="25000"/>
                </a:schemeClr>
              </a:solidFill>
              <a:latin typeface="Arial" panose="020B0604020202020204" pitchFamily="34" charset="0"/>
              <a:cs typeface="Arial" panose="020B0604020202020204" pitchFamily="34" charset="0"/>
            </a:endParaRPr>
          </a:p>
          <a:p>
            <a:r>
              <a:rPr lang="da-DK" sz="1200" dirty="0" err="1">
                <a:solidFill>
                  <a:schemeClr val="tx1">
                    <a:lumMod val="75000"/>
                    <a:lumOff val="25000"/>
                  </a:schemeClr>
                </a:solidFill>
                <a:latin typeface="Arial" panose="020B0604020202020204" pitchFamily="34" charset="0"/>
                <a:cs typeface="Arial" panose="020B0604020202020204" pitchFamily="34" charset="0"/>
              </a:rPr>
              <a:t>Constant</a:t>
            </a:r>
            <a:r>
              <a:rPr lang="da-DK" sz="1200" dirty="0">
                <a:solidFill>
                  <a:schemeClr val="tx1">
                    <a:lumMod val="75000"/>
                    <a:lumOff val="25000"/>
                  </a:schemeClr>
                </a:solidFill>
                <a:latin typeface="Arial" panose="020B0604020202020204" pitchFamily="34" charset="0"/>
                <a:cs typeface="Arial" panose="020B0604020202020204" pitchFamily="34" charset="0"/>
              </a:rPr>
              <a:t> margins, 5% </a:t>
            </a:r>
            <a:r>
              <a:rPr lang="da-DK" sz="1200" dirty="0" err="1">
                <a:solidFill>
                  <a:schemeClr val="tx1">
                    <a:lumMod val="75000"/>
                    <a:lumOff val="25000"/>
                  </a:schemeClr>
                </a:solidFill>
                <a:latin typeface="Arial" panose="020B0604020202020204" pitchFamily="34" charset="0"/>
                <a:cs typeface="Arial" panose="020B0604020202020204" pitchFamily="34" charset="0"/>
              </a:rPr>
              <a:t>above</a:t>
            </a:r>
            <a:r>
              <a:rPr lang="da-DK" sz="1200" dirty="0">
                <a:solidFill>
                  <a:schemeClr val="tx1">
                    <a:lumMod val="75000"/>
                    <a:lumOff val="25000"/>
                  </a:schemeClr>
                </a:solidFill>
                <a:latin typeface="Arial" panose="020B0604020202020204" pitchFamily="34" charset="0"/>
                <a:cs typeface="Arial" panose="020B0604020202020204" pitchFamily="34" charset="0"/>
              </a:rPr>
              <a:t> </a:t>
            </a:r>
            <a:r>
              <a:rPr lang="da-DK" sz="1200" dirty="0" err="1">
                <a:solidFill>
                  <a:schemeClr val="tx1">
                    <a:lumMod val="75000"/>
                    <a:lumOff val="25000"/>
                  </a:schemeClr>
                </a:solidFill>
                <a:latin typeface="Arial" panose="020B0604020202020204" pitchFamily="34" charset="0"/>
                <a:cs typeface="Arial" panose="020B0604020202020204" pitchFamily="34" charset="0"/>
              </a:rPr>
              <a:t>industry</a:t>
            </a:r>
            <a:r>
              <a:rPr lang="da-DK" sz="1200" dirty="0">
                <a:solidFill>
                  <a:schemeClr val="tx1">
                    <a:lumMod val="75000"/>
                    <a:lumOff val="25000"/>
                  </a:schemeClr>
                </a:solidFill>
                <a:latin typeface="Arial" panose="020B0604020202020204" pitchFamily="34" charset="0"/>
                <a:cs typeface="Arial" panose="020B0604020202020204" pitchFamily="34" charset="0"/>
              </a:rPr>
              <a:t> average</a:t>
            </a:r>
          </a:p>
          <a:p>
            <a:endParaRPr lang="da-DK" sz="1200" dirty="0">
              <a:solidFill>
                <a:schemeClr val="tx1">
                  <a:lumMod val="75000"/>
                  <a:lumOff val="25000"/>
                </a:schemeClr>
              </a:solidFill>
              <a:latin typeface="Arial" panose="020B0604020202020204" pitchFamily="34" charset="0"/>
              <a:cs typeface="Arial" panose="020B0604020202020204" pitchFamily="34" charset="0"/>
            </a:endParaRPr>
          </a:p>
          <a:p>
            <a:r>
              <a:rPr lang="da-DK" sz="1200" dirty="0">
                <a:solidFill>
                  <a:schemeClr val="tx1">
                    <a:lumMod val="75000"/>
                    <a:lumOff val="25000"/>
                  </a:schemeClr>
                </a:solidFill>
                <a:latin typeface="Arial" panose="020B0604020202020204" pitchFamily="34" charset="0"/>
                <a:cs typeface="Arial" panose="020B0604020202020204" pitchFamily="34" charset="0"/>
              </a:rPr>
              <a:t>Average unit </a:t>
            </a:r>
            <a:r>
              <a:rPr lang="da-DK" sz="1200" dirty="0" err="1">
                <a:solidFill>
                  <a:schemeClr val="tx1">
                    <a:lumMod val="75000"/>
                    <a:lumOff val="25000"/>
                  </a:schemeClr>
                </a:solidFill>
                <a:latin typeface="Arial" panose="020B0604020202020204" pitchFamily="34" charset="0"/>
                <a:cs typeface="Arial" panose="020B0604020202020204" pitchFamily="34" charset="0"/>
              </a:rPr>
              <a:t>salesprice</a:t>
            </a:r>
            <a:r>
              <a:rPr lang="da-DK" sz="1200" dirty="0">
                <a:solidFill>
                  <a:schemeClr val="tx1">
                    <a:lumMod val="75000"/>
                    <a:lumOff val="25000"/>
                  </a:schemeClr>
                </a:solidFill>
                <a:latin typeface="Arial" panose="020B0604020202020204" pitchFamily="34" charset="0"/>
                <a:cs typeface="Arial" panose="020B0604020202020204" pitchFamily="34" charset="0"/>
              </a:rPr>
              <a:t> = DKK 800</a:t>
            </a:r>
          </a:p>
          <a:p>
            <a:endParaRPr lang="da-DK" sz="1200" dirty="0">
              <a:solidFill>
                <a:schemeClr val="tx1">
                  <a:lumMod val="75000"/>
                  <a:lumOff val="25000"/>
                </a:schemeClr>
              </a:solidFill>
              <a:latin typeface="Arial" panose="020B0604020202020204" pitchFamily="34" charset="0"/>
              <a:ea typeface="Arial" charset="0"/>
              <a:cs typeface="Arial" panose="020B0604020202020204" pitchFamily="34" charset="0"/>
            </a:endParaRPr>
          </a:p>
          <a:p>
            <a:r>
              <a:rPr lang="da-DK" sz="1200" dirty="0">
                <a:solidFill>
                  <a:schemeClr val="tx1">
                    <a:lumMod val="75000"/>
                    <a:lumOff val="25000"/>
                  </a:schemeClr>
                </a:solidFill>
                <a:latin typeface="Arial" panose="020B0604020202020204" pitchFamily="34" charset="0"/>
                <a:ea typeface="Arial" charset="0"/>
                <a:cs typeface="Arial" panose="020B0604020202020204" pitchFamily="34" charset="0"/>
              </a:rPr>
              <a:t>Discount rate of 15%, </a:t>
            </a:r>
            <a:r>
              <a:rPr lang="da-DK" sz="1200" dirty="0" err="1">
                <a:solidFill>
                  <a:schemeClr val="tx1">
                    <a:lumMod val="75000"/>
                    <a:lumOff val="25000"/>
                  </a:schemeClr>
                </a:solidFill>
                <a:latin typeface="Arial" panose="020B0604020202020204" pitchFamily="34" charset="0"/>
                <a:ea typeface="Arial" charset="0"/>
                <a:cs typeface="Arial" panose="020B0604020202020204" pitchFamily="34" charset="0"/>
              </a:rPr>
              <a:t>tax</a:t>
            </a:r>
            <a:r>
              <a:rPr lang="da-DK" sz="1200" dirty="0">
                <a:solidFill>
                  <a:schemeClr val="tx1">
                    <a:lumMod val="75000"/>
                    <a:lumOff val="25000"/>
                  </a:schemeClr>
                </a:solidFill>
                <a:latin typeface="Arial" panose="020B0604020202020204" pitchFamily="34" charset="0"/>
                <a:ea typeface="Arial" charset="0"/>
                <a:cs typeface="Arial" panose="020B0604020202020204" pitchFamily="34" charset="0"/>
              </a:rPr>
              <a:t> rate 22%</a:t>
            </a:r>
          </a:p>
          <a:p>
            <a:endParaRPr lang="da-DK" sz="12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Tekstfelt 5"/>
          <p:cNvSpPr txBox="1"/>
          <p:nvPr/>
        </p:nvSpPr>
        <p:spPr>
          <a:xfrm>
            <a:off x="8441983" y="3458348"/>
            <a:ext cx="2920734" cy="307777"/>
          </a:xfrm>
          <a:prstGeom prst="rect">
            <a:avLst/>
          </a:prstGeom>
          <a:noFill/>
          <a:ln>
            <a:noFill/>
          </a:ln>
        </p:spPr>
        <p:txBody>
          <a:bodyPr wrap="square" rtlCol="0">
            <a:spAutoFit/>
          </a:bodyPr>
          <a:lstStyle/>
          <a:p>
            <a:r>
              <a:rPr lang="da-DK" sz="1400" b="1" dirty="0" err="1">
                <a:solidFill>
                  <a:schemeClr val="tx1">
                    <a:lumMod val="75000"/>
                    <a:lumOff val="25000"/>
                  </a:schemeClr>
                </a:solidFill>
                <a:latin typeface="Arial" panose="020B0604020202020204" pitchFamily="34" charset="0"/>
                <a:ea typeface="Arial" charset="0"/>
                <a:cs typeface="Arial" panose="020B0604020202020204" pitchFamily="34" charset="0"/>
              </a:rPr>
              <a:t>Key</a:t>
            </a:r>
            <a:r>
              <a:rPr lang="da-DK" sz="1400" b="1" dirty="0">
                <a:solidFill>
                  <a:schemeClr val="tx1">
                    <a:lumMod val="75000"/>
                    <a:lumOff val="25000"/>
                  </a:schemeClr>
                </a:solidFill>
                <a:latin typeface="Arial" panose="020B0604020202020204" pitchFamily="34" charset="0"/>
                <a:ea typeface="Arial" charset="0"/>
                <a:cs typeface="Arial" panose="020B0604020202020204" pitchFamily="34" charset="0"/>
              </a:rPr>
              <a:t> </a:t>
            </a:r>
            <a:r>
              <a:rPr lang="da-DK" sz="1400" b="1" dirty="0" err="1">
                <a:solidFill>
                  <a:schemeClr val="tx1">
                    <a:lumMod val="75000"/>
                    <a:lumOff val="25000"/>
                  </a:schemeClr>
                </a:solidFill>
                <a:latin typeface="Arial" panose="020B0604020202020204" pitchFamily="34" charset="0"/>
                <a:ea typeface="Arial" charset="0"/>
                <a:cs typeface="Arial" panose="020B0604020202020204" pitchFamily="34" charset="0"/>
              </a:rPr>
              <a:t>assumptions</a:t>
            </a:r>
            <a:r>
              <a:rPr lang="da-DK" sz="1400" b="1" dirty="0">
                <a:solidFill>
                  <a:schemeClr val="tx1">
                    <a:lumMod val="75000"/>
                    <a:lumOff val="25000"/>
                  </a:schemeClr>
                </a:solidFill>
                <a:latin typeface="Arial" panose="020B0604020202020204" pitchFamily="34" charset="0"/>
                <a:ea typeface="Arial" charset="0"/>
                <a:cs typeface="Arial" panose="020B0604020202020204" pitchFamily="34" charset="0"/>
              </a:rPr>
              <a:t>  (base case)</a:t>
            </a:r>
          </a:p>
        </p:txBody>
      </p:sp>
      <p:pic>
        <p:nvPicPr>
          <p:cNvPr id="17" name="Picture 16"/>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31840" y="4838203"/>
            <a:ext cx="334646" cy="334646"/>
          </a:xfrm>
          <a:prstGeom prst="rect">
            <a:avLst/>
          </a:prstGeom>
        </p:spPr>
      </p:pic>
      <p:pic>
        <p:nvPicPr>
          <p:cNvPr id="18" name="Picture 17"/>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12294956" y="3212134"/>
            <a:ext cx="360000" cy="360000"/>
          </a:xfrm>
          <a:prstGeom prst="rect">
            <a:avLst/>
          </a:prstGeom>
        </p:spPr>
      </p:pic>
      <p:pic>
        <p:nvPicPr>
          <p:cNvPr id="22" name="Picture 21"/>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24824" y="2856638"/>
            <a:ext cx="319445" cy="319445"/>
          </a:xfrm>
          <a:prstGeom prst="rect">
            <a:avLst/>
          </a:prstGeom>
        </p:spPr>
      </p:pic>
      <p:pic>
        <p:nvPicPr>
          <p:cNvPr id="24" name="Picture 23"/>
          <p:cNvPicPr>
            <a:picLocks noChangeAspect="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8539253" y="3964301"/>
            <a:ext cx="325070" cy="325070"/>
          </a:xfrm>
          <a:prstGeom prst="rect">
            <a:avLst/>
          </a:prstGeom>
        </p:spPr>
      </p:pic>
      <p:pic>
        <p:nvPicPr>
          <p:cNvPr id="25" name="Picture 24"/>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557941" y="5175264"/>
            <a:ext cx="360000" cy="360000"/>
          </a:xfrm>
          <a:prstGeom prst="rect">
            <a:avLst/>
          </a:prstGeom>
        </p:spPr>
      </p:pic>
      <p:sp>
        <p:nvSpPr>
          <p:cNvPr id="28" name="TextBox 27"/>
          <p:cNvSpPr txBox="1"/>
          <p:nvPr/>
        </p:nvSpPr>
        <p:spPr>
          <a:xfrm>
            <a:off x="769291" y="3559558"/>
            <a:ext cx="6668813" cy="307777"/>
          </a:xfrm>
          <a:prstGeom prst="rect">
            <a:avLst/>
          </a:prstGeom>
          <a:noFill/>
        </p:spPr>
        <p:txBody>
          <a:bodyPr wrap="none" rtlCol="0">
            <a:spAutoFit/>
          </a:bodyPr>
          <a:lstStyle/>
          <a:p>
            <a:r>
              <a:rPr lang="da-DK" sz="1400" b="1" dirty="0">
                <a:latin typeface="Arial" panose="020B0604020202020204" pitchFamily="34" charset="0"/>
                <a:cs typeface="Arial" panose="020B0604020202020204" pitchFamily="34" charset="0"/>
              </a:rPr>
              <a:t>…</a:t>
            </a:r>
            <a:r>
              <a:rPr lang="da-DK" sz="1400" b="1" dirty="0" err="1">
                <a:latin typeface="Arial" panose="020B0604020202020204" pitchFamily="34" charset="0"/>
                <a:cs typeface="Arial" panose="020B0604020202020204" pitchFamily="34" charset="0"/>
              </a:rPr>
              <a:t>Which</a:t>
            </a:r>
            <a:r>
              <a:rPr lang="da-DK" sz="1400" b="1" dirty="0">
                <a:latin typeface="Arial" panose="020B0604020202020204" pitchFamily="34" charset="0"/>
                <a:cs typeface="Arial" panose="020B0604020202020204" pitchFamily="34" charset="0"/>
              </a:rPr>
              <a:t> </a:t>
            </a:r>
            <a:r>
              <a:rPr lang="da-DK" sz="1400" b="1" dirty="0" err="1">
                <a:latin typeface="Arial" panose="020B0604020202020204" pitchFamily="34" charset="0"/>
                <a:cs typeface="Arial" panose="020B0604020202020204" pitchFamily="34" charset="0"/>
              </a:rPr>
              <a:t>means</a:t>
            </a:r>
            <a:r>
              <a:rPr lang="da-DK" sz="1400" b="1" dirty="0">
                <a:latin typeface="Arial" panose="020B0604020202020204" pitchFamily="34" charset="0"/>
                <a:cs typeface="Arial" panose="020B0604020202020204" pitchFamily="34" charset="0"/>
              </a:rPr>
              <a:t> more </a:t>
            </a:r>
            <a:r>
              <a:rPr lang="da-DK" sz="1400" b="1" dirty="0" err="1">
                <a:latin typeface="Arial" panose="020B0604020202020204" pitchFamily="34" charset="0"/>
                <a:cs typeface="Arial" panose="020B0604020202020204" pitchFamily="34" charset="0"/>
              </a:rPr>
              <a:t>than</a:t>
            </a:r>
            <a:r>
              <a:rPr lang="da-DK" sz="1400" b="1" dirty="0">
                <a:latin typeface="Arial" panose="020B0604020202020204" pitchFamily="34" charset="0"/>
                <a:cs typeface="Arial" panose="020B0604020202020204" pitchFamily="34" charset="0"/>
              </a:rPr>
              <a:t> DKK 10 </a:t>
            </a:r>
            <a:r>
              <a:rPr lang="da-DK" sz="1400" b="1" dirty="0" err="1">
                <a:latin typeface="Arial" panose="020B0604020202020204" pitchFamily="34" charset="0"/>
                <a:cs typeface="Arial" panose="020B0604020202020204" pitchFamily="34" charset="0"/>
              </a:rPr>
              <a:t>mio</a:t>
            </a:r>
            <a:r>
              <a:rPr lang="da-DK" sz="1400" b="1" dirty="0">
                <a:latin typeface="Arial" panose="020B0604020202020204" pitchFamily="34" charset="0"/>
                <a:cs typeface="Arial" panose="020B0604020202020204" pitchFamily="34" charset="0"/>
              </a:rPr>
              <a:t> </a:t>
            </a:r>
            <a:r>
              <a:rPr lang="da-DK" sz="1400" b="1" dirty="0" err="1">
                <a:latin typeface="Arial" panose="020B0604020202020204" pitchFamily="34" charset="0"/>
                <a:cs typeface="Arial" panose="020B0604020202020204" pitchFamily="34" charset="0"/>
              </a:rPr>
              <a:t>payed</a:t>
            </a:r>
            <a:r>
              <a:rPr lang="da-DK" sz="1400" b="1" dirty="0">
                <a:latin typeface="Arial" panose="020B0604020202020204" pitchFamily="34" charset="0"/>
                <a:cs typeface="Arial" panose="020B0604020202020204" pitchFamily="34" charset="0"/>
              </a:rPr>
              <a:t> out in </a:t>
            </a:r>
            <a:r>
              <a:rPr lang="da-DK" sz="1400" b="1" dirty="0" err="1">
                <a:latin typeface="Arial" panose="020B0604020202020204" pitchFamily="34" charset="0"/>
                <a:cs typeface="Arial" panose="020B0604020202020204" pitchFamily="34" charset="0"/>
              </a:rPr>
              <a:t>wages</a:t>
            </a:r>
            <a:r>
              <a:rPr lang="da-DK" sz="1400" b="1" dirty="0">
                <a:latin typeface="Arial" panose="020B0604020202020204" pitchFamily="34" charset="0"/>
                <a:cs typeface="Arial" panose="020B0604020202020204" pitchFamily="34" charset="0"/>
              </a:rPr>
              <a:t> </a:t>
            </a:r>
            <a:r>
              <a:rPr lang="da-DK" sz="1400" b="1" dirty="0" err="1">
                <a:latin typeface="Arial" panose="020B0604020202020204" pitchFamily="34" charset="0"/>
                <a:cs typeface="Arial" panose="020B0604020202020204" pitchFamily="34" charset="0"/>
              </a:rPr>
              <a:t>locally</a:t>
            </a:r>
            <a:r>
              <a:rPr lang="da-DK" sz="1400" b="1" dirty="0">
                <a:latin typeface="Arial" panose="020B0604020202020204" pitchFamily="34" charset="0"/>
                <a:cs typeface="Arial" panose="020B0604020202020204" pitchFamily="34" charset="0"/>
              </a:rPr>
              <a:t> in 3 </a:t>
            </a:r>
            <a:r>
              <a:rPr lang="da-DK" sz="1400" b="1" dirty="0" err="1">
                <a:latin typeface="Arial" panose="020B0604020202020204" pitchFamily="34" charset="0"/>
                <a:cs typeface="Arial" panose="020B0604020202020204" pitchFamily="34" charset="0"/>
              </a:rPr>
              <a:t>years</a:t>
            </a:r>
            <a:endParaRPr lang="en-US" sz="1400" b="1" dirty="0">
              <a:latin typeface="Arial" panose="020B0604020202020204" pitchFamily="34" charset="0"/>
              <a:cs typeface="Arial" panose="020B0604020202020204" pitchFamily="34" charset="0"/>
            </a:endParaRPr>
          </a:p>
        </p:txBody>
      </p:sp>
      <p:graphicFrame>
        <p:nvGraphicFramePr>
          <p:cNvPr id="29" name="Chart 28"/>
          <p:cNvGraphicFramePr>
            <a:graphicFrameLocks/>
          </p:cNvGraphicFramePr>
          <p:nvPr/>
        </p:nvGraphicFramePr>
        <p:xfrm>
          <a:off x="1092200" y="1547701"/>
          <a:ext cx="5448300" cy="2064536"/>
        </p:xfrm>
        <a:graphic>
          <a:graphicData uri="http://schemas.openxmlformats.org/drawingml/2006/chart">
            <c:chart xmlns:c="http://schemas.openxmlformats.org/drawingml/2006/chart" xmlns:r="http://schemas.openxmlformats.org/officeDocument/2006/relationships" r:id="rId8"/>
          </a:graphicData>
        </a:graphic>
      </p:graphicFrame>
      <p:sp>
        <p:nvSpPr>
          <p:cNvPr id="27" name="Tekstfelt 5"/>
          <p:cNvSpPr txBox="1"/>
          <p:nvPr/>
        </p:nvSpPr>
        <p:spPr>
          <a:xfrm>
            <a:off x="8425169" y="1239924"/>
            <a:ext cx="2920734" cy="307777"/>
          </a:xfrm>
          <a:prstGeom prst="rect">
            <a:avLst/>
          </a:prstGeom>
          <a:noFill/>
          <a:ln>
            <a:noFill/>
          </a:ln>
        </p:spPr>
        <p:txBody>
          <a:bodyPr wrap="square" rtlCol="0">
            <a:spAutoFit/>
          </a:bodyPr>
          <a:lstStyle/>
          <a:p>
            <a:r>
              <a:rPr lang="da-DK" sz="1400" b="1" dirty="0">
                <a:solidFill>
                  <a:schemeClr val="tx1">
                    <a:lumMod val="75000"/>
                    <a:lumOff val="25000"/>
                  </a:schemeClr>
                </a:solidFill>
                <a:latin typeface="Arial" panose="020B0604020202020204" pitchFamily="34" charset="0"/>
                <a:ea typeface="Arial" charset="0"/>
                <a:cs typeface="Arial" panose="020B0604020202020204" pitchFamily="34" charset="0"/>
              </a:rPr>
              <a:t>Main </a:t>
            </a:r>
            <a:r>
              <a:rPr lang="da-DK" sz="1400" b="1" dirty="0" err="1">
                <a:solidFill>
                  <a:schemeClr val="tx1">
                    <a:lumMod val="75000"/>
                    <a:lumOff val="25000"/>
                  </a:schemeClr>
                </a:solidFill>
                <a:latin typeface="Arial" panose="020B0604020202020204" pitchFamily="34" charset="0"/>
                <a:ea typeface="Arial" charset="0"/>
                <a:cs typeface="Arial" panose="020B0604020202020204" pitchFamily="34" charset="0"/>
              </a:rPr>
              <a:t>Cost</a:t>
            </a:r>
            <a:r>
              <a:rPr lang="da-DK" sz="1400" b="1" dirty="0">
                <a:solidFill>
                  <a:schemeClr val="tx1">
                    <a:lumMod val="75000"/>
                    <a:lumOff val="25000"/>
                  </a:schemeClr>
                </a:solidFill>
                <a:latin typeface="Arial" panose="020B0604020202020204" pitchFamily="34" charset="0"/>
                <a:ea typeface="Arial" charset="0"/>
                <a:cs typeface="Arial" panose="020B0604020202020204" pitchFamily="34" charset="0"/>
              </a:rPr>
              <a:t> Drivers</a:t>
            </a:r>
          </a:p>
        </p:txBody>
      </p:sp>
      <p:pic>
        <p:nvPicPr>
          <p:cNvPr id="3" name="Billed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63413" y="1694319"/>
            <a:ext cx="408943" cy="408943"/>
          </a:xfrm>
          <a:prstGeom prst="rect">
            <a:avLst/>
          </a:prstGeom>
        </p:spPr>
      </p:pic>
      <p:sp>
        <p:nvSpPr>
          <p:cNvPr id="39" name="Tekstfelt 5"/>
          <p:cNvSpPr txBox="1"/>
          <p:nvPr/>
        </p:nvSpPr>
        <p:spPr>
          <a:xfrm>
            <a:off x="8977893" y="1747308"/>
            <a:ext cx="2920734" cy="461665"/>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rPr>
              <a:t>Factory</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 Initial CAPEX = DKK 1,5 </a:t>
            </a:r>
            <a:r>
              <a:rPr lang="en-AU" sz="1200" dirty="0" err="1">
                <a:solidFill>
                  <a:schemeClr val="tx1">
                    <a:lumMod val="75000"/>
                    <a:lumOff val="25000"/>
                  </a:schemeClr>
                </a:solidFill>
                <a:latin typeface="Arial" panose="020B0604020202020204" pitchFamily="34" charset="0"/>
                <a:ea typeface="Arial" charset="0"/>
                <a:cs typeface="Arial" panose="020B0604020202020204" pitchFamily="34" charset="0"/>
              </a:rPr>
              <a:t>mio</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a:t>
            </a:r>
          </a:p>
          <a:p>
            <a:r>
              <a:rPr lang="en-AU" sz="800" i="1" dirty="0">
                <a:solidFill>
                  <a:schemeClr val="tx1">
                    <a:lumMod val="75000"/>
                    <a:lumOff val="25000"/>
                  </a:schemeClr>
                </a:solidFill>
                <a:latin typeface="Arial" panose="020B0604020202020204" pitchFamily="34" charset="0"/>
                <a:ea typeface="Arial" charset="0"/>
                <a:cs typeface="Arial" panose="020B0604020202020204" pitchFamily="34" charset="0"/>
              </a:rPr>
              <a:t>Depreciated over 20 years</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a:t>
            </a:r>
            <a:endPar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endParaRPr>
          </a:p>
        </p:txBody>
      </p:sp>
      <p:pic>
        <p:nvPicPr>
          <p:cNvPr id="10" name="Billed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25169" y="2166762"/>
            <a:ext cx="419100" cy="419100"/>
          </a:xfrm>
          <a:prstGeom prst="rect">
            <a:avLst/>
          </a:prstGeom>
        </p:spPr>
      </p:pic>
      <p:sp>
        <p:nvSpPr>
          <p:cNvPr id="40" name="Tekstfelt 5"/>
          <p:cNvSpPr txBox="1"/>
          <p:nvPr/>
        </p:nvSpPr>
        <p:spPr>
          <a:xfrm>
            <a:off x="8977893" y="2284138"/>
            <a:ext cx="2920734" cy="461665"/>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rPr>
              <a:t>Wage</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 2500 DKK / month. (20% above Jordan minimum wage) </a:t>
            </a:r>
            <a:endPar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endParaRPr>
          </a:p>
        </p:txBody>
      </p:sp>
      <p:pic>
        <p:nvPicPr>
          <p:cNvPr id="41" name="Billede 40"/>
          <p:cNvPicPr>
            <a:picLocks noChangeAspect="1"/>
          </p:cNvPicPr>
          <p:nvPr/>
        </p:nvPicPr>
        <p:blipFill>
          <a:blip r:embed="rId11"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2290284" y="4141018"/>
            <a:ext cx="360000" cy="360000"/>
          </a:xfrm>
          <a:prstGeom prst="rect">
            <a:avLst/>
          </a:prstGeom>
        </p:spPr>
      </p:pic>
      <p:sp>
        <p:nvSpPr>
          <p:cNvPr id="42" name="Tekstfelt 5"/>
          <p:cNvSpPr txBox="1"/>
          <p:nvPr/>
        </p:nvSpPr>
        <p:spPr>
          <a:xfrm>
            <a:off x="8980083" y="2745803"/>
            <a:ext cx="2920734" cy="646331"/>
          </a:xfrm>
          <a:prstGeom prst="rect">
            <a:avLst/>
          </a:prstGeom>
          <a:noFill/>
          <a:ln>
            <a:noFill/>
          </a:ln>
        </p:spPr>
        <p:txBody>
          <a:bodyPr wrap="square" rtlCol="0">
            <a:spAutoFit/>
          </a:bodyPr>
          <a:lstStyle/>
          <a:p>
            <a:r>
              <a:rPr lang="en-AU" sz="1200" b="1" dirty="0">
                <a:solidFill>
                  <a:schemeClr val="tx1">
                    <a:lumMod val="75000"/>
                    <a:lumOff val="25000"/>
                  </a:schemeClr>
                </a:solidFill>
                <a:latin typeface="Arial" panose="020B0604020202020204" pitchFamily="34" charset="0"/>
                <a:ea typeface="Arial" charset="0"/>
                <a:cs typeface="Arial" panose="020B0604020202020204" pitchFamily="34" charset="0"/>
              </a:rPr>
              <a:t>Logistics</a:t>
            </a:r>
            <a:r>
              <a:rPr lang="en-AU" sz="1200" dirty="0">
                <a:solidFill>
                  <a:schemeClr val="tx1">
                    <a:lumMod val="75000"/>
                    <a:lumOff val="25000"/>
                  </a:schemeClr>
                </a:solidFill>
                <a:latin typeface="Arial" panose="020B0604020202020204" pitchFamily="34" charset="0"/>
                <a:ea typeface="Arial" charset="0"/>
                <a:cs typeface="Arial" panose="020B0604020202020204" pitchFamily="34" charset="0"/>
              </a:rPr>
              <a:t>: Even with partner companies current distribution channels, cotton distribution must be setup</a:t>
            </a:r>
          </a:p>
        </p:txBody>
      </p:sp>
      <p:sp>
        <p:nvSpPr>
          <p:cNvPr id="43" name="TextBox 27"/>
          <p:cNvSpPr txBox="1"/>
          <p:nvPr/>
        </p:nvSpPr>
        <p:spPr>
          <a:xfrm>
            <a:off x="769291" y="1232854"/>
            <a:ext cx="5953874" cy="307777"/>
          </a:xfrm>
          <a:prstGeom prst="rect">
            <a:avLst/>
          </a:prstGeom>
          <a:noFill/>
        </p:spPr>
        <p:txBody>
          <a:bodyPr wrap="none" rtlCol="0">
            <a:spAutoFit/>
          </a:bodyPr>
          <a:lstStyle/>
          <a:p>
            <a:r>
              <a:rPr lang="da-DK" sz="1400" b="1" dirty="0">
                <a:latin typeface="Arial" panose="020B0604020202020204" pitchFamily="34" charset="0"/>
                <a:cs typeface="Arial" panose="020B0604020202020204" pitchFamily="34" charset="0"/>
              </a:rPr>
              <a:t>In base case, the </a:t>
            </a:r>
            <a:r>
              <a:rPr lang="da-DK" sz="1400" b="1" dirty="0" err="1">
                <a:latin typeface="Arial" panose="020B0604020202020204" pitchFamily="34" charset="0"/>
                <a:cs typeface="Arial" panose="020B0604020202020204" pitchFamily="34" charset="0"/>
              </a:rPr>
              <a:t>target</a:t>
            </a:r>
            <a:r>
              <a:rPr lang="da-DK" sz="1400" b="1" dirty="0">
                <a:latin typeface="Arial" panose="020B0604020202020204" pitchFamily="34" charset="0"/>
                <a:cs typeface="Arial" panose="020B0604020202020204" pitchFamily="34" charset="0"/>
              </a:rPr>
              <a:t> </a:t>
            </a:r>
            <a:r>
              <a:rPr lang="da-DK" sz="1400" b="1" dirty="0" err="1">
                <a:latin typeface="Arial" panose="020B0604020202020204" pitchFamily="34" charset="0"/>
                <a:cs typeface="Arial" panose="020B0604020202020204" pitchFamily="34" charset="0"/>
              </a:rPr>
              <a:t>company</a:t>
            </a:r>
            <a:r>
              <a:rPr lang="da-DK" sz="1400" b="1" dirty="0">
                <a:latin typeface="Arial" panose="020B0604020202020204" pitchFamily="34" charset="0"/>
                <a:cs typeface="Arial" panose="020B0604020202020204" pitchFamily="34" charset="0"/>
              </a:rPr>
              <a:t>  </a:t>
            </a:r>
            <a:r>
              <a:rPr lang="da-DK" sz="1400" b="1" dirty="0" err="1">
                <a:latin typeface="Arial" panose="020B0604020202020204" pitchFamily="34" charset="0"/>
                <a:cs typeface="Arial" panose="020B0604020202020204" pitchFamily="34" charset="0"/>
              </a:rPr>
              <a:t>will</a:t>
            </a:r>
            <a:r>
              <a:rPr lang="da-DK" sz="1400" b="1" dirty="0">
                <a:latin typeface="Arial" panose="020B0604020202020204" pitchFamily="34" charset="0"/>
                <a:cs typeface="Arial" panose="020B0604020202020204" pitchFamily="34" charset="0"/>
              </a:rPr>
              <a:t> </a:t>
            </a:r>
            <a:r>
              <a:rPr lang="da-DK" sz="1400" b="1" dirty="0" err="1">
                <a:latin typeface="Arial" panose="020B0604020202020204" pitchFamily="34" charset="0"/>
                <a:cs typeface="Arial" panose="020B0604020202020204" pitchFamily="34" charset="0"/>
              </a:rPr>
              <a:t>see</a:t>
            </a:r>
            <a:r>
              <a:rPr lang="da-DK" sz="1400" b="1" dirty="0">
                <a:latin typeface="Arial" panose="020B0604020202020204" pitchFamily="34" charset="0"/>
                <a:cs typeface="Arial" panose="020B0604020202020204" pitchFamily="34" charset="0"/>
              </a:rPr>
              <a:t> a NPV of DKK 17 </a:t>
            </a:r>
            <a:r>
              <a:rPr lang="da-DK" sz="1400" b="1" dirty="0" err="1">
                <a:latin typeface="Arial" panose="020B0604020202020204" pitchFamily="34" charset="0"/>
                <a:cs typeface="Arial" panose="020B0604020202020204" pitchFamily="34" charset="0"/>
              </a:rPr>
              <a:t>mio</a:t>
            </a:r>
            <a:r>
              <a:rPr lang="da-DK" sz="1400" b="1" dirty="0">
                <a:latin typeface="Arial" panose="020B0604020202020204" pitchFamily="34" charset="0"/>
                <a:cs typeface="Arial" panose="020B0604020202020204" pitchFamily="34" charset="0"/>
              </a:rPr>
              <a:t>…</a:t>
            </a:r>
            <a:endParaRPr lang="en-US" sz="1400" b="1" dirty="0">
              <a:latin typeface="Arial" panose="020B0604020202020204" pitchFamily="34" charset="0"/>
              <a:cs typeface="Arial" panose="020B0604020202020204" pitchFamily="34" charset="0"/>
            </a:endParaRPr>
          </a:p>
        </p:txBody>
      </p:sp>
      <p:cxnSp>
        <p:nvCxnSpPr>
          <p:cNvPr id="30" name="Lige forbindelse 29"/>
          <p:cNvCxnSpPr/>
          <p:nvPr/>
        </p:nvCxnSpPr>
        <p:spPr>
          <a:xfrm>
            <a:off x="8229803" y="1327724"/>
            <a:ext cx="0" cy="4742118"/>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32" name="TextBox 27"/>
          <p:cNvSpPr txBox="1"/>
          <p:nvPr/>
        </p:nvSpPr>
        <p:spPr>
          <a:xfrm rot="-5400000">
            <a:off x="353700" y="2292761"/>
            <a:ext cx="1215397" cy="253916"/>
          </a:xfrm>
          <a:prstGeom prst="rect">
            <a:avLst/>
          </a:prstGeom>
          <a:noFill/>
        </p:spPr>
        <p:txBody>
          <a:bodyPr wrap="none" rtlCol="0">
            <a:spAutoFit/>
          </a:bodyPr>
          <a:lstStyle/>
          <a:p>
            <a:r>
              <a:rPr lang="da-DK" sz="1050" b="1" dirty="0">
                <a:latin typeface="Arial" panose="020B0604020202020204" pitchFamily="34" charset="0"/>
                <a:cs typeface="Arial" panose="020B0604020202020204" pitchFamily="34" charset="0"/>
              </a:rPr>
              <a:t> NPV / DKK mio.</a:t>
            </a:r>
            <a:endParaRPr lang="en-US" sz="1050" b="1" dirty="0">
              <a:latin typeface="Arial" panose="020B0604020202020204" pitchFamily="34" charset="0"/>
              <a:cs typeface="Arial" panose="020B0604020202020204" pitchFamily="34" charset="0"/>
            </a:endParaRPr>
          </a:p>
        </p:txBody>
      </p:sp>
      <p:sp>
        <p:nvSpPr>
          <p:cNvPr id="36" name="Oval 35"/>
          <p:cNvSpPr/>
          <p:nvPr/>
        </p:nvSpPr>
        <p:spPr>
          <a:xfrm>
            <a:off x="5632177" y="3928975"/>
            <a:ext cx="568597" cy="24220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a-DK" sz="900" dirty="0">
                <a:latin typeface="Arial" panose="020B0604020202020204" pitchFamily="34" charset="0"/>
                <a:cs typeface="Arial" panose="020B0604020202020204" pitchFamily="34" charset="0"/>
              </a:rPr>
              <a:t>220</a:t>
            </a:r>
            <a:endParaRPr lang="en-US" sz="900" dirty="0">
              <a:latin typeface="Arial" panose="020B0604020202020204" pitchFamily="34" charset="0"/>
              <a:cs typeface="Arial" panose="020B0604020202020204" pitchFamily="34" charset="0"/>
            </a:endParaRPr>
          </a:p>
        </p:txBody>
      </p:sp>
      <p:sp>
        <p:nvSpPr>
          <p:cNvPr id="37" name="Oval 36"/>
          <p:cNvSpPr/>
          <p:nvPr/>
        </p:nvSpPr>
        <p:spPr>
          <a:xfrm>
            <a:off x="1879328" y="4897310"/>
            <a:ext cx="568597" cy="24220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a-DK" sz="900" dirty="0">
                <a:latin typeface="Arial" panose="020B0604020202020204" pitchFamily="34" charset="0"/>
                <a:cs typeface="Arial" panose="020B0604020202020204" pitchFamily="34" charset="0"/>
              </a:rPr>
              <a:t>75</a:t>
            </a:r>
            <a:endParaRPr lang="en-US" sz="900" dirty="0">
              <a:latin typeface="Arial" panose="020B0604020202020204" pitchFamily="34" charset="0"/>
              <a:cs typeface="Arial" panose="020B0604020202020204" pitchFamily="34" charset="0"/>
            </a:endParaRPr>
          </a:p>
        </p:txBody>
      </p:sp>
      <p:sp>
        <p:nvSpPr>
          <p:cNvPr id="38" name="TextBox 27"/>
          <p:cNvSpPr txBox="1"/>
          <p:nvPr/>
        </p:nvSpPr>
        <p:spPr>
          <a:xfrm rot="-5400000">
            <a:off x="274352" y="4878568"/>
            <a:ext cx="1374094" cy="253916"/>
          </a:xfrm>
          <a:prstGeom prst="rect">
            <a:avLst/>
          </a:prstGeom>
          <a:noFill/>
        </p:spPr>
        <p:txBody>
          <a:bodyPr wrap="none" rtlCol="0">
            <a:spAutoFit/>
          </a:bodyPr>
          <a:lstStyle/>
          <a:p>
            <a:r>
              <a:rPr lang="da-DK" sz="1050" b="1" dirty="0" err="1">
                <a:latin typeface="Arial" panose="020B0604020202020204" pitchFamily="34" charset="0"/>
                <a:cs typeface="Arial" panose="020B0604020202020204" pitchFamily="34" charset="0"/>
              </a:rPr>
              <a:t>Wage</a:t>
            </a:r>
            <a:r>
              <a:rPr lang="da-DK" sz="1050" b="1" dirty="0">
                <a:latin typeface="Arial" panose="020B0604020202020204" pitchFamily="34" charset="0"/>
                <a:cs typeface="Arial" panose="020B0604020202020204" pitchFamily="34" charset="0"/>
              </a:rPr>
              <a:t> </a:t>
            </a:r>
            <a:r>
              <a:rPr lang="da-DK" sz="1050" b="1" dirty="0" err="1">
                <a:latin typeface="Arial" panose="020B0604020202020204" pitchFamily="34" charset="0"/>
                <a:cs typeface="Arial" panose="020B0604020202020204" pitchFamily="34" charset="0"/>
              </a:rPr>
              <a:t>payed</a:t>
            </a:r>
            <a:r>
              <a:rPr lang="da-DK" sz="1050" b="1" dirty="0">
                <a:latin typeface="Arial" panose="020B0604020202020204" pitchFamily="34" charset="0"/>
                <a:cs typeface="Arial" panose="020B0604020202020204" pitchFamily="34" charset="0"/>
              </a:rPr>
              <a:t> / DKK</a:t>
            </a:r>
            <a:endParaRPr lang="en-US" sz="1050" b="1" dirty="0">
              <a:latin typeface="Arial" panose="020B0604020202020204" pitchFamily="34" charset="0"/>
              <a:cs typeface="Arial" panose="020B0604020202020204" pitchFamily="34" charset="0"/>
            </a:endParaRPr>
          </a:p>
        </p:txBody>
      </p:sp>
      <p:sp>
        <p:nvSpPr>
          <p:cNvPr id="44" name="Oval 43"/>
          <p:cNvSpPr/>
          <p:nvPr/>
        </p:nvSpPr>
        <p:spPr>
          <a:xfrm>
            <a:off x="1245508" y="4069183"/>
            <a:ext cx="284298" cy="12110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0" dirty="0">
              <a:latin typeface="Arial" panose="020B0604020202020204" pitchFamily="34" charset="0"/>
              <a:cs typeface="Arial" panose="020B0604020202020204" pitchFamily="34" charset="0"/>
            </a:endParaRPr>
          </a:p>
        </p:txBody>
      </p:sp>
      <p:sp>
        <p:nvSpPr>
          <p:cNvPr id="45" name="TextBox 27"/>
          <p:cNvSpPr txBox="1"/>
          <p:nvPr/>
        </p:nvSpPr>
        <p:spPr>
          <a:xfrm>
            <a:off x="1529805" y="4026809"/>
            <a:ext cx="1003801" cy="200055"/>
          </a:xfrm>
          <a:prstGeom prst="rect">
            <a:avLst/>
          </a:prstGeom>
          <a:noFill/>
        </p:spPr>
        <p:txBody>
          <a:bodyPr wrap="none" rtlCol="0">
            <a:spAutoFit/>
          </a:bodyPr>
          <a:lstStyle/>
          <a:p>
            <a:r>
              <a:rPr lang="da-DK" sz="700" b="1" dirty="0" err="1">
                <a:latin typeface="Arial" panose="020B0604020202020204" pitchFamily="34" charset="0"/>
                <a:cs typeface="Arial" panose="020B0604020202020204" pitchFamily="34" charset="0"/>
              </a:rPr>
              <a:t>Number</a:t>
            </a:r>
            <a:r>
              <a:rPr lang="da-DK" sz="700" b="1" dirty="0">
                <a:latin typeface="Arial" panose="020B0604020202020204" pitchFamily="34" charset="0"/>
                <a:cs typeface="Arial" panose="020B0604020202020204" pitchFamily="34" charset="0"/>
              </a:rPr>
              <a:t> of </a:t>
            </a:r>
            <a:r>
              <a:rPr lang="da-DK" sz="700" b="1" dirty="0" err="1">
                <a:latin typeface="Arial" panose="020B0604020202020204" pitchFamily="34" charset="0"/>
                <a:cs typeface="Arial" panose="020B0604020202020204" pitchFamily="34" charset="0"/>
              </a:rPr>
              <a:t>workers</a:t>
            </a:r>
            <a:endParaRPr lang="en-US" sz="700" b="1" dirty="0">
              <a:latin typeface="Arial" panose="020B0604020202020204" pitchFamily="34" charset="0"/>
              <a:cs typeface="Arial" panose="020B0604020202020204" pitchFamily="34" charset="0"/>
            </a:endParaRPr>
          </a:p>
        </p:txBody>
      </p:sp>
      <p:pic>
        <p:nvPicPr>
          <p:cNvPr id="92162" name="Picture 2" descr="C:\Users\Jakob\AppData\Local\Microsoft\Windows\Temporary Internet Files\Content.IE5\DYOFGXLM\group.png"/>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99000"/>
                    </a14:imgEffect>
                  </a14:imgLayer>
                </a14:imgProps>
              </a:ext>
              <a:ext uri="{28A0092B-C50C-407E-A947-70E740481C1C}">
                <a14:useLocalDpi xmlns:a14="http://schemas.microsoft.com/office/drawing/2010/main" val="0"/>
              </a:ext>
            </a:extLst>
          </a:blip>
          <a:srcRect/>
          <a:stretch>
            <a:fillRect/>
          </a:stretch>
        </p:blipFill>
        <p:spPr bwMode="auto">
          <a:xfrm>
            <a:off x="8548415" y="4479829"/>
            <a:ext cx="325148" cy="325148"/>
          </a:xfrm>
          <a:prstGeom prst="rect">
            <a:avLst/>
          </a:prstGeom>
          <a:noFill/>
          <a:extLst>
            <a:ext uri="{909E8E84-426E-40DD-AFC4-6F175D3DCCD1}">
              <a14:hiddenFill xmlns:a14="http://schemas.microsoft.com/office/drawing/2010/main">
                <a:solidFill>
                  <a:srgbClr val="FFFFFF"/>
                </a:solidFill>
              </a14:hiddenFill>
            </a:ext>
          </a:extLst>
        </p:spPr>
      </p:pic>
      <p:pic>
        <p:nvPicPr>
          <p:cNvPr id="92163" name="Picture 3" descr="C:\Users\Jakob\AppData\Local\Microsoft\Windows\Temporary Internet Files\Content.IE5\V7YS2C45\savings.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57941" y="5615913"/>
            <a:ext cx="325148" cy="32514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4" name="Chart 33"/>
          <p:cNvGraphicFramePr>
            <a:graphicFrameLocks/>
          </p:cNvGraphicFramePr>
          <p:nvPr/>
        </p:nvGraphicFramePr>
        <p:xfrm>
          <a:off x="1088357" y="4226864"/>
          <a:ext cx="5802993" cy="1852770"/>
        </p:xfrm>
        <a:graphic>
          <a:graphicData uri="http://schemas.openxmlformats.org/drawingml/2006/chart">
            <c:chart xmlns:c="http://schemas.openxmlformats.org/drawingml/2006/chart" xmlns:r="http://schemas.openxmlformats.org/officeDocument/2006/relationships" r:id="rId15"/>
          </a:graphicData>
        </a:graphic>
      </p:graphicFrame>
      <p:sp>
        <p:nvSpPr>
          <p:cNvPr id="35" name="Oval 34"/>
          <p:cNvSpPr/>
          <p:nvPr/>
        </p:nvSpPr>
        <p:spPr>
          <a:xfrm>
            <a:off x="3660502" y="4237626"/>
            <a:ext cx="568597" cy="24220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a-DK" sz="900" dirty="0">
                <a:latin typeface="Arial" panose="020B0604020202020204" pitchFamily="34" charset="0"/>
                <a:cs typeface="Arial" panose="020B0604020202020204" pitchFamily="34" charset="0"/>
              </a:rPr>
              <a:t>150</a:t>
            </a:r>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42395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p:cNvSpPr/>
          <p:nvPr/>
        </p:nvSpPr>
        <p:spPr>
          <a:xfrm>
            <a:off x="-294968" y="1120877"/>
            <a:ext cx="12816349" cy="4616246"/>
          </a:xfrm>
          <a:prstGeom prst="rect">
            <a:avLst/>
          </a:prstGeom>
          <a:solidFill>
            <a:srgbClr val="702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kstfelt 6"/>
          <p:cNvSpPr txBox="1"/>
          <p:nvPr/>
        </p:nvSpPr>
        <p:spPr>
          <a:xfrm>
            <a:off x="1993692" y="2896523"/>
            <a:ext cx="6494085" cy="1200329"/>
          </a:xfrm>
          <a:prstGeom prst="rect">
            <a:avLst/>
          </a:prstGeom>
          <a:noFill/>
        </p:spPr>
        <p:txBody>
          <a:bodyPr wrap="none" rtlCol="0">
            <a:spAutoFit/>
          </a:bodyPr>
          <a:lstStyle/>
          <a:p>
            <a:r>
              <a:rPr lang="da-DK" sz="7200" dirty="0" err="1">
                <a:solidFill>
                  <a:schemeClr val="bg1"/>
                </a:solidFill>
              </a:rPr>
              <a:t>Implementation</a:t>
            </a:r>
            <a:endParaRPr lang="da-DK" sz="7200" dirty="0">
              <a:solidFill>
                <a:schemeClr val="bg1"/>
              </a:solidFill>
            </a:endParaRPr>
          </a:p>
        </p:txBody>
      </p:sp>
    </p:spTree>
    <p:extLst>
      <p:ext uri="{BB962C8B-B14F-4D97-AF65-F5344CB8AC3E}">
        <p14:creationId xmlns:p14="http://schemas.microsoft.com/office/powerpoint/2010/main" val="15020221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23" name="think-cell Slide" r:id="rId12" imgW="270" imgH="270" progId="TCLayout.ActiveDocument.1">
                  <p:embed/>
                </p:oleObj>
              </mc:Choice>
              <mc:Fallback>
                <p:oleObj name="think-cell Slide" r:id="rId12" imgW="270" imgH="270" progId="TCLayout.ActiveDocument.1">
                  <p:embed/>
                  <p:pic>
                    <p:nvPicPr>
                      <p:cNvPr id="31" name="Object 30"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Pladsholder til tekst 5"/>
          <p:cNvSpPr>
            <a:spLocks noGrp="1"/>
          </p:cNvSpPr>
          <p:nvPr>
            <p:ph type="body" sz="quarter" idx="13"/>
          </p:nvPr>
        </p:nvSpPr>
        <p:spPr/>
        <p:txBody>
          <a:bodyPr/>
          <a:lstStyle/>
          <a:p>
            <a:endParaRPr lang="en-US"/>
          </a:p>
        </p:txBody>
      </p:sp>
      <p:sp>
        <p:nvSpPr>
          <p:cNvPr id="28" name="Pladsholder til tekst 27"/>
          <p:cNvSpPr>
            <a:spLocks noGrp="1"/>
          </p:cNvSpPr>
          <p:nvPr>
            <p:ph type="body" sz="quarter" idx="15"/>
          </p:nvPr>
        </p:nvSpPr>
        <p:spPr/>
        <p:txBody>
          <a:bodyPr/>
          <a:lstStyle/>
          <a:p>
            <a:endParaRPr lang="en-US" dirty="0"/>
          </a:p>
        </p:txBody>
      </p:sp>
      <p:sp>
        <p:nvSpPr>
          <p:cNvPr id="4" name="Title 3"/>
          <p:cNvSpPr>
            <a:spLocks noGrp="1"/>
          </p:cNvSpPr>
          <p:nvPr>
            <p:ph type="title"/>
          </p:nvPr>
        </p:nvSpPr>
        <p:spPr/>
        <p:txBody>
          <a:bodyPr/>
          <a:lstStyle/>
          <a:p>
            <a:r>
              <a:rPr lang="da-DK" dirty="0" err="1"/>
              <a:t>Succesfull</a:t>
            </a:r>
            <a:r>
              <a:rPr lang="da-DK" dirty="0"/>
              <a:t> </a:t>
            </a:r>
            <a:r>
              <a:rPr lang="da-DK" dirty="0" err="1"/>
              <a:t>implementation</a:t>
            </a:r>
            <a:r>
              <a:rPr lang="da-DK" dirty="0"/>
              <a:t> </a:t>
            </a:r>
            <a:r>
              <a:rPr lang="da-DK" dirty="0" err="1"/>
              <a:t>relies</a:t>
            </a:r>
            <a:r>
              <a:rPr lang="da-DK" dirty="0"/>
              <a:t> on 3 must </a:t>
            </a:r>
            <a:r>
              <a:rPr lang="da-DK" dirty="0" err="1"/>
              <a:t>win</a:t>
            </a:r>
            <a:r>
              <a:rPr lang="da-DK" dirty="0"/>
              <a:t> </a:t>
            </a:r>
            <a:r>
              <a:rPr lang="da-DK" dirty="0" err="1"/>
              <a:t>battles</a:t>
            </a:r>
            <a:endParaRPr lang="en-GB" dirty="0"/>
          </a:p>
        </p:txBody>
      </p:sp>
      <p:grpSp>
        <p:nvGrpSpPr>
          <p:cNvPr id="9" name="Grupper 1"/>
          <p:cNvGrpSpPr/>
          <p:nvPr/>
        </p:nvGrpSpPr>
        <p:grpSpPr>
          <a:xfrm>
            <a:off x="620912" y="1493240"/>
            <a:ext cx="1129060" cy="3662083"/>
            <a:chOff x="1596238" y="2501759"/>
            <a:chExt cx="829297" cy="3162279"/>
          </a:xfrm>
          <a:solidFill>
            <a:schemeClr val="accent1"/>
          </a:solidFill>
        </p:grpSpPr>
        <p:sp>
          <p:nvSpPr>
            <p:cNvPr id="10" name="Rektangel 28"/>
            <p:cNvSpPr/>
            <p:nvPr/>
          </p:nvSpPr>
          <p:spPr>
            <a:xfrm>
              <a:off x="1596238" y="2501759"/>
              <a:ext cx="829297" cy="98612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amera technology R&amp;D</a:t>
              </a:r>
            </a:p>
          </p:txBody>
        </p:sp>
        <p:sp>
          <p:nvSpPr>
            <p:cNvPr id="11" name="Rektangel 29"/>
            <p:cNvSpPr/>
            <p:nvPr/>
          </p:nvSpPr>
          <p:spPr>
            <a:xfrm>
              <a:off x="1596238" y="3589834"/>
              <a:ext cx="829296" cy="98612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artnership</a:t>
              </a:r>
            </a:p>
          </p:txBody>
        </p:sp>
        <p:sp>
          <p:nvSpPr>
            <p:cNvPr id="12" name="Rektangel 40"/>
            <p:cNvSpPr/>
            <p:nvPr/>
          </p:nvSpPr>
          <p:spPr>
            <a:xfrm>
              <a:off x="1596238" y="4677909"/>
              <a:ext cx="829296" cy="98612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OPS</a:t>
              </a:r>
            </a:p>
          </p:txBody>
        </p:sp>
      </p:grpSp>
      <p:sp>
        <p:nvSpPr>
          <p:cNvPr id="13" name="Rektangel 5"/>
          <p:cNvSpPr/>
          <p:nvPr/>
        </p:nvSpPr>
        <p:spPr>
          <a:xfrm>
            <a:off x="2193241" y="1204243"/>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17</a:t>
            </a:r>
            <a:endParaRPr lang="en-US" sz="2400" dirty="0"/>
          </a:p>
        </p:txBody>
      </p:sp>
      <p:sp>
        <p:nvSpPr>
          <p:cNvPr id="14" name="Rektangel 5"/>
          <p:cNvSpPr/>
          <p:nvPr/>
        </p:nvSpPr>
        <p:spPr>
          <a:xfrm>
            <a:off x="3711029" y="1196378"/>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18</a:t>
            </a:r>
            <a:endParaRPr lang="en-US" sz="2400" dirty="0"/>
          </a:p>
        </p:txBody>
      </p:sp>
      <p:sp>
        <p:nvSpPr>
          <p:cNvPr id="15" name="Rektangel 5"/>
          <p:cNvSpPr/>
          <p:nvPr/>
        </p:nvSpPr>
        <p:spPr>
          <a:xfrm>
            <a:off x="5213050" y="1204279"/>
            <a:ext cx="1381155"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19</a:t>
            </a:r>
            <a:endParaRPr lang="en-US" sz="2400" dirty="0"/>
          </a:p>
        </p:txBody>
      </p:sp>
      <p:sp>
        <p:nvSpPr>
          <p:cNvPr id="16" name="Rektangel 5"/>
          <p:cNvSpPr/>
          <p:nvPr/>
        </p:nvSpPr>
        <p:spPr>
          <a:xfrm>
            <a:off x="6750824" y="1196378"/>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20</a:t>
            </a:r>
            <a:endParaRPr lang="en-US" sz="2400" dirty="0"/>
          </a:p>
        </p:txBody>
      </p:sp>
      <p:sp>
        <p:nvSpPr>
          <p:cNvPr id="17" name="Rektangel 5"/>
          <p:cNvSpPr/>
          <p:nvPr/>
        </p:nvSpPr>
        <p:spPr>
          <a:xfrm>
            <a:off x="8286372" y="1204279"/>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21</a:t>
            </a:r>
            <a:endParaRPr lang="en-US" sz="2400" dirty="0"/>
          </a:p>
        </p:txBody>
      </p:sp>
      <p:sp>
        <p:nvSpPr>
          <p:cNvPr id="18" name="Rektangel 5"/>
          <p:cNvSpPr/>
          <p:nvPr/>
        </p:nvSpPr>
        <p:spPr>
          <a:xfrm>
            <a:off x="9840947" y="1196378"/>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22</a:t>
            </a:r>
            <a:endParaRPr lang="en-US" sz="2400" dirty="0"/>
          </a:p>
        </p:txBody>
      </p:sp>
      <p:sp>
        <p:nvSpPr>
          <p:cNvPr id="19" name="Rectangle 18"/>
          <p:cNvSpPr/>
          <p:nvPr/>
        </p:nvSpPr>
        <p:spPr>
          <a:xfrm>
            <a:off x="2177475" y="1540574"/>
            <a:ext cx="1365388" cy="3614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nvSpPr>
        <p:spPr>
          <a:xfrm>
            <a:off x="3696617" y="1540574"/>
            <a:ext cx="1365388" cy="3614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p:cNvSpPr/>
          <p:nvPr/>
        </p:nvSpPr>
        <p:spPr>
          <a:xfrm>
            <a:off x="5213051" y="1540574"/>
            <a:ext cx="1365388" cy="3614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p:cNvSpPr/>
          <p:nvPr/>
        </p:nvSpPr>
        <p:spPr>
          <a:xfrm>
            <a:off x="6750824" y="1522564"/>
            <a:ext cx="1365388" cy="36327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p:cNvSpPr/>
          <p:nvPr/>
        </p:nvSpPr>
        <p:spPr>
          <a:xfrm>
            <a:off x="8286372" y="1546616"/>
            <a:ext cx="1365388" cy="36087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nvSpPr>
        <p:spPr>
          <a:xfrm>
            <a:off x="9825181" y="1533702"/>
            <a:ext cx="1365388" cy="36216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6" name="Straight Connector 25"/>
          <p:cNvCxnSpPr/>
          <p:nvPr/>
        </p:nvCxnSpPr>
        <p:spPr>
          <a:xfrm>
            <a:off x="2177475" y="2705989"/>
            <a:ext cx="9028860"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167142" y="3997569"/>
            <a:ext cx="9028860"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5-Point Star 24"/>
          <p:cNvSpPr/>
          <p:nvPr/>
        </p:nvSpPr>
        <p:spPr>
          <a:xfrm>
            <a:off x="8414531" y="2118005"/>
            <a:ext cx="471452" cy="472966"/>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p:cNvSpPr/>
          <p:nvPr/>
        </p:nvSpPr>
        <p:spPr>
          <a:xfrm>
            <a:off x="5213050" y="1522563"/>
            <a:ext cx="5988733" cy="3632759"/>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0" name="Straight Connector 39"/>
          <p:cNvCxnSpPr/>
          <p:nvPr/>
        </p:nvCxnSpPr>
        <p:spPr>
          <a:xfrm>
            <a:off x="4193795" y="2603658"/>
            <a:ext cx="10042" cy="2551665"/>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1" name="Rectangle 41"/>
          <p:cNvSpPr/>
          <p:nvPr/>
        </p:nvSpPr>
        <p:spPr>
          <a:xfrm>
            <a:off x="515628" y="5198359"/>
            <a:ext cx="2031518" cy="307777"/>
          </a:xfrm>
          <a:prstGeom prst="rect">
            <a:avLst/>
          </a:prstGeom>
        </p:spPr>
        <p:txBody>
          <a:bodyPr wrap="none">
            <a:spAutoFit/>
          </a:bodyPr>
          <a:lstStyle/>
          <a:p>
            <a:r>
              <a:rPr lang="da-DK" sz="1400" b="1" dirty="0">
                <a:latin typeface="Arial" panose="020B0604020202020204" pitchFamily="34" charset="0"/>
                <a:cs typeface="Arial" panose="020B0604020202020204" pitchFamily="34" charset="0"/>
              </a:rPr>
              <a:t>MUST WIN BATTLES</a:t>
            </a:r>
          </a:p>
        </p:txBody>
      </p:sp>
      <p:sp>
        <p:nvSpPr>
          <p:cNvPr id="42" name="Rectangle 43"/>
          <p:cNvSpPr/>
          <p:nvPr/>
        </p:nvSpPr>
        <p:spPr>
          <a:xfrm>
            <a:off x="499854" y="5649674"/>
            <a:ext cx="2060179" cy="307777"/>
          </a:xfrm>
          <a:prstGeom prst="rect">
            <a:avLst/>
          </a:prstGeom>
        </p:spPr>
        <p:txBody>
          <a:bodyPr wrap="none">
            <a:spAutoFit/>
          </a:bodyPr>
          <a:lstStyle/>
          <a:p>
            <a:r>
              <a:rPr lang="da-DK" sz="1400" b="1" dirty="0">
                <a:latin typeface="Arial" panose="020B0604020202020204" pitchFamily="34" charset="0"/>
                <a:cs typeface="Arial" panose="020B0604020202020204" pitchFamily="34" charset="0"/>
              </a:rPr>
              <a:t>INVESTMENT COSTS</a:t>
            </a:r>
          </a:p>
        </p:txBody>
      </p:sp>
      <p:sp>
        <p:nvSpPr>
          <p:cNvPr id="43" name="AutoShape 124"/>
          <p:cNvSpPr>
            <a:spLocks noChangeArrowheads="1"/>
          </p:cNvSpPr>
          <p:nvPr>
            <p:custDataLst>
              <p:tags r:id="rId3"/>
            </p:custDataLst>
          </p:nvPr>
        </p:nvSpPr>
        <p:spPr bwMode="auto">
          <a:xfrm>
            <a:off x="2183256" y="1544543"/>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ABC</a:t>
            </a:r>
            <a:endParaRPr lang="en-GB" sz="1000" dirty="0">
              <a:solidFill>
                <a:schemeClr val="bg1"/>
              </a:solidFill>
            </a:endParaRPr>
          </a:p>
        </p:txBody>
      </p:sp>
      <p:sp>
        <p:nvSpPr>
          <p:cNvPr id="44" name="AutoShape 124"/>
          <p:cNvSpPr>
            <a:spLocks noChangeArrowheads="1"/>
          </p:cNvSpPr>
          <p:nvPr>
            <p:custDataLst>
              <p:tags r:id="rId4"/>
            </p:custDataLst>
          </p:nvPr>
        </p:nvSpPr>
        <p:spPr bwMode="auto">
          <a:xfrm>
            <a:off x="2673356" y="1952074"/>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ABC</a:t>
            </a:r>
            <a:endParaRPr lang="en-GB" sz="1000" dirty="0">
              <a:solidFill>
                <a:schemeClr val="bg1"/>
              </a:solidFill>
            </a:endParaRPr>
          </a:p>
        </p:txBody>
      </p:sp>
      <p:sp>
        <p:nvSpPr>
          <p:cNvPr id="46" name="AutoShape 124"/>
          <p:cNvSpPr>
            <a:spLocks noChangeArrowheads="1"/>
          </p:cNvSpPr>
          <p:nvPr>
            <p:custDataLst>
              <p:tags r:id="rId5"/>
            </p:custDataLst>
          </p:nvPr>
        </p:nvSpPr>
        <p:spPr bwMode="auto">
          <a:xfrm>
            <a:off x="3367477" y="2367153"/>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dirty="0">
                <a:solidFill>
                  <a:schemeClr val="bg1"/>
                </a:solidFill>
              </a:rPr>
              <a:t>Must Win Battle 1</a:t>
            </a:r>
          </a:p>
        </p:txBody>
      </p:sp>
      <p:sp>
        <p:nvSpPr>
          <p:cNvPr id="55" name="AutoShape 124"/>
          <p:cNvSpPr>
            <a:spLocks noChangeArrowheads="1"/>
          </p:cNvSpPr>
          <p:nvPr>
            <p:custDataLst>
              <p:tags r:id="rId6"/>
            </p:custDataLst>
          </p:nvPr>
        </p:nvSpPr>
        <p:spPr bwMode="auto">
          <a:xfrm>
            <a:off x="4690867" y="2819149"/>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ABC</a:t>
            </a:r>
            <a:endParaRPr lang="en-GB" sz="1000" dirty="0">
              <a:solidFill>
                <a:schemeClr val="bg1"/>
              </a:solidFill>
            </a:endParaRPr>
          </a:p>
        </p:txBody>
      </p:sp>
      <p:sp>
        <p:nvSpPr>
          <p:cNvPr id="56" name="AutoShape 124"/>
          <p:cNvSpPr>
            <a:spLocks noChangeArrowheads="1"/>
          </p:cNvSpPr>
          <p:nvPr>
            <p:custDataLst>
              <p:tags r:id="rId7"/>
            </p:custDataLst>
          </p:nvPr>
        </p:nvSpPr>
        <p:spPr bwMode="auto">
          <a:xfrm>
            <a:off x="5180967" y="3226680"/>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dirty="0">
                <a:solidFill>
                  <a:schemeClr val="bg1"/>
                </a:solidFill>
              </a:rPr>
              <a:t>Must Win Battle 2</a:t>
            </a:r>
          </a:p>
        </p:txBody>
      </p:sp>
      <p:sp>
        <p:nvSpPr>
          <p:cNvPr id="57" name="AutoShape 124"/>
          <p:cNvSpPr>
            <a:spLocks noChangeArrowheads="1"/>
          </p:cNvSpPr>
          <p:nvPr>
            <p:custDataLst>
              <p:tags r:id="rId8"/>
            </p:custDataLst>
          </p:nvPr>
        </p:nvSpPr>
        <p:spPr bwMode="auto">
          <a:xfrm>
            <a:off x="5875088" y="3641759"/>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ABC</a:t>
            </a:r>
            <a:endParaRPr lang="en-GB" sz="1000" dirty="0">
              <a:solidFill>
                <a:schemeClr val="bg1"/>
              </a:solidFill>
            </a:endParaRPr>
          </a:p>
        </p:txBody>
      </p:sp>
      <p:sp>
        <p:nvSpPr>
          <p:cNvPr id="58" name="AutoShape 124"/>
          <p:cNvSpPr>
            <a:spLocks noChangeArrowheads="1"/>
          </p:cNvSpPr>
          <p:nvPr>
            <p:custDataLst>
              <p:tags r:id="rId9"/>
            </p:custDataLst>
          </p:nvPr>
        </p:nvSpPr>
        <p:spPr bwMode="auto">
          <a:xfrm>
            <a:off x="7251803" y="4228087"/>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dirty="0">
                <a:solidFill>
                  <a:schemeClr val="bg1"/>
                </a:solidFill>
              </a:rPr>
              <a:t>Must Win Battle 3</a:t>
            </a:r>
          </a:p>
        </p:txBody>
      </p:sp>
      <p:sp>
        <p:nvSpPr>
          <p:cNvPr id="59" name="AutoShape 124"/>
          <p:cNvSpPr>
            <a:spLocks noChangeArrowheads="1"/>
          </p:cNvSpPr>
          <p:nvPr>
            <p:custDataLst>
              <p:tags r:id="rId10"/>
            </p:custDataLst>
          </p:nvPr>
        </p:nvSpPr>
        <p:spPr bwMode="auto">
          <a:xfrm>
            <a:off x="7745073" y="4783307"/>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ABC</a:t>
            </a:r>
            <a:endParaRPr lang="en-GB" sz="1000" dirty="0">
              <a:solidFill>
                <a:schemeClr val="bg1"/>
              </a:solidFill>
            </a:endParaRPr>
          </a:p>
        </p:txBody>
      </p:sp>
      <p:cxnSp>
        <p:nvCxnSpPr>
          <p:cNvPr id="61" name="Straight Connector 39"/>
          <p:cNvCxnSpPr/>
          <p:nvPr/>
        </p:nvCxnSpPr>
        <p:spPr>
          <a:xfrm>
            <a:off x="5979609" y="3466764"/>
            <a:ext cx="6645" cy="1688559"/>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39"/>
          <p:cNvCxnSpPr/>
          <p:nvPr/>
        </p:nvCxnSpPr>
        <p:spPr>
          <a:xfrm>
            <a:off x="8073172" y="4454196"/>
            <a:ext cx="0" cy="708198"/>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63" name="Tekstfelt 62"/>
          <p:cNvSpPr txBox="1"/>
          <p:nvPr/>
        </p:nvSpPr>
        <p:spPr>
          <a:xfrm>
            <a:off x="3696617" y="5213194"/>
            <a:ext cx="1080745" cy="307777"/>
          </a:xfrm>
          <a:prstGeom prst="rect">
            <a:avLst/>
          </a:prstGeom>
          <a:noFill/>
        </p:spPr>
        <p:txBody>
          <a:bodyPr wrap="none" rtlCol="0">
            <a:spAutoFit/>
          </a:bodyPr>
          <a:lstStyle/>
          <a:p>
            <a:r>
              <a:rPr lang="en-US" sz="1400" dirty="0"/>
              <a:t>Must Win 1</a:t>
            </a:r>
          </a:p>
        </p:txBody>
      </p:sp>
      <p:sp>
        <p:nvSpPr>
          <p:cNvPr id="64" name="Tekstfelt 63"/>
          <p:cNvSpPr txBox="1"/>
          <p:nvPr/>
        </p:nvSpPr>
        <p:spPr>
          <a:xfrm>
            <a:off x="5480399" y="5198358"/>
            <a:ext cx="1080745" cy="307777"/>
          </a:xfrm>
          <a:prstGeom prst="rect">
            <a:avLst/>
          </a:prstGeom>
          <a:noFill/>
        </p:spPr>
        <p:txBody>
          <a:bodyPr wrap="none" rtlCol="0">
            <a:spAutoFit/>
          </a:bodyPr>
          <a:lstStyle/>
          <a:p>
            <a:r>
              <a:rPr lang="en-US" sz="1400" dirty="0"/>
              <a:t>Must Win 2</a:t>
            </a:r>
          </a:p>
        </p:txBody>
      </p:sp>
      <p:sp>
        <p:nvSpPr>
          <p:cNvPr id="65" name="Tekstfelt 64"/>
          <p:cNvSpPr txBox="1"/>
          <p:nvPr/>
        </p:nvSpPr>
        <p:spPr>
          <a:xfrm>
            <a:off x="7532799" y="5192513"/>
            <a:ext cx="1080745" cy="307777"/>
          </a:xfrm>
          <a:prstGeom prst="rect">
            <a:avLst/>
          </a:prstGeom>
          <a:noFill/>
        </p:spPr>
        <p:txBody>
          <a:bodyPr wrap="none" rtlCol="0">
            <a:spAutoFit/>
          </a:bodyPr>
          <a:lstStyle/>
          <a:p>
            <a:r>
              <a:rPr lang="en-US" sz="1400" dirty="0"/>
              <a:t>Must Win 3</a:t>
            </a:r>
          </a:p>
        </p:txBody>
      </p:sp>
      <p:cxnSp>
        <p:nvCxnSpPr>
          <p:cNvPr id="66" name="Straight Connector 76"/>
          <p:cNvCxnSpPr/>
          <p:nvPr/>
        </p:nvCxnSpPr>
        <p:spPr>
          <a:xfrm flipH="1">
            <a:off x="620912" y="5573597"/>
            <a:ext cx="10569657" cy="0"/>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7495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7" name="think-cell Slide" r:id="rId18" imgW="270" imgH="270" progId="TCLayout.ActiveDocument.1">
                  <p:embed/>
                </p:oleObj>
              </mc:Choice>
              <mc:Fallback>
                <p:oleObj name="think-cell Slide" r:id="rId18" imgW="270" imgH="270" progId="TCLayout.ActiveDocument.1">
                  <p:embed/>
                  <p:pic>
                    <p:nvPicPr>
                      <p:cNvPr id="31" name="Object 30"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6" name="Pladsholder til tekst 5"/>
          <p:cNvSpPr>
            <a:spLocks noGrp="1"/>
          </p:cNvSpPr>
          <p:nvPr>
            <p:ph type="body" sz="quarter" idx="13"/>
          </p:nvPr>
        </p:nvSpPr>
        <p:spPr/>
        <p:txBody>
          <a:bodyPr/>
          <a:lstStyle/>
          <a:p>
            <a:endParaRPr lang="en-GB"/>
          </a:p>
        </p:txBody>
      </p:sp>
      <p:sp>
        <p:nvSpPr>
          <p:cNvPr id="28" name="Pladsholder til tekst 27"/>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GB" dirty="0"/>
              <a:t>Successful implementation relies on gradual implementation and brand awareness</a:t>
            </a:r>
          </a:p>
        </p:txBody>
      </p:sp>
      <p:grpSp>
        <p:nvGrpSpPr>
          <p:cNvPr id="9" name="Grupper 1"/>
          <p:cNvGrpSpPr/>
          <p:nvPr/>
        </p:nvGrpSpPr>
        <p:grpSpPr>
          <a:xfrm>
            <a:off x="864219" y="1618503"/>
            <a:ext cx="1129060" cy="3662085"/>
            <a:chOff x="1596238" y="2501757"/>
            <a:chExt cx="829297" cy="3162281"/>
          </a:xfrm>
          <a:solidFill>
            <a:schemeClr val="accent1"/>
          </a:solidFill>
        </p:grpSpPr>
        <p:sp>
          <p:nvSpPr>
            <p:cNvPr id="10" name="Rektangel 28"/>
            <p:cNvSpPr/>
            <p:nvPr/>
          </p:nvSpPr>
          <p:spPr>
            <a:xfrm>
              <a:off x="1596238" y="2501757"/>
              <a:ext cx="829297" cy="14968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2" name="Rektangel 40"/>
            <p:cNvSpPr/>
            <p:nvPr/>
          </p:nvSpPr>
          <p:spPr>
            <a:xfrm>
              <a:off x="1596238" y="4105641"/>
              <a:ext cx="829296" cy="15583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grpSp>
      <p:sp>
        <p:nvSpPr>
          <p:cNvPr id="13" name="Rektangel 5"/>
          <p:cNvSpPr/>
          <p:nvPr/>
        </p:nvSpPr>
        <p:spPr>
          <a:xfrm>
            <a:off x="2436548" y="1329508"/>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018</a:t>
            </a:r>
            <a:endParaRPr lang="en-GB" sz="2400"/>
          </a:p>
        </p:txBody>
      </p:sp>
      <p:sp>
        <p:nvSpPr>
          <p:cNvPr id="14" name="Rektangel 5"/>
          <p:cNvSpPr/>
          <p:nvPr/>
        </p:nvSpPr>
        <p:spPr>
          <a:xfrm>
            <a:off x="3954336" y="1321643"/>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019</a:t>
            </a:r>
            <a:endParaRPr lang="en-GB" sz="2400"/>
          </a:p>
        </p:txBody>
      </p:sp>
      <p:sp>
        <p:nvSpPr>
          <p:cNvPr id="15" name="Rektangel 5"/>
          <p:cNvSpPr/>
          <p:nvPr/>
        </p:nvSpPr>
        <p:spPr>
          <a:xfrm>
            <a:off x="5456357" y="1329544"/>
            <a:ext cx="1381155"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020</a:t>
            </a:r>
            <a:endParaRPr lang="en-GB" sz="2400"/>
          </a:p>
        </p:txBody>
      </p:sp>
      <p:sp>
        <p:nvSpPr>
          <p:cNvPr id="16" name="Rektangel 5"/>
          <p:cNvSpPr/>
          <p:nvPr/>
        </p:nvSpPr>
        <p:spPr>
          <a:xfrm>
            <a:off x="6994131" y="1321643"/>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021</a:t>
            </a:r>
            <a:endParaRPr lang="en-GB" sz="2400"/>
          </a:p>
        </p:txBody>
      </p:sp>
      <p:sp>
        <p:nvSpPr>
          <p:cNvPr id="17" name="Rektangel 5"/>
          <p:cNvSpPr/>
          <p:nvPr/>
        </p:nvSpPr>
        <p:spPr>
          <a:xfrm>
            <a:off x="8529679" y="1329544"/>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022</a:t>
            </a:r>
            <a:endParaRPr lang="en-GB" sz="2400"/>
          </a:p>
        </p:txBody>
      </p:sp>
      <p:sp>
        <p:nvSpPr>
          <p:cNvPr id="18" name="Rektangel 5"/>
          <p:cNvSpPr/>
          <p:nvPr/>
        </p:nvSpPr>
        <p:spPr>
          <a:xfrm>
            <a:off x="10084254" y="1321643"/>
            <a:ext cx="1365388" cy="28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023</a:t>
            </a:r>
            <a:endParaRPr lang="en-GB" sz="2400"/>
          </a:p>
        </p:txBody>
      </p:sp>
      <p:sp>
        <p:nvSpPr>
          <p:cNvPr id="19" name="Rectangle 18"/>
          <p:cNvSpPr/>
          <p:nvPr/>
        </p:nvSpPr>
        <p:spPr>
          <a:xfrm>
            <a:off x="2420782" y="1665839"/>
            <a:ext cx="1365388" cy="3614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nvSpPr>
        <p:spPr>
          <a:xfrm>
            <a:off x="3939924" y="1665839"/>
            <a:ext cx="1365388" cy="3614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p:cNvSpPr/>
          <p:nvPr/>
        </p:nvSpPr>
        <p:spPr>
          <a:xfrm>
            <a:off x="5456358" y="1665839"/>
            <a:ext cx="1365388" cy="3614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p:cNvSpPr/>
          <p:nvPr/>
        </p:nvSpPr>
        <p:spPr>
          <a:xfrm>
            <a:off x="6994131" y="1647829"/>
            <a:ext cx="1365388" cy="36327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p:cNvSpPr/>
          <p:nvPr/>
        </p:nvSpPr>
        <p:spPr>
          <a:xfrm>
            <a:off x="8529679" y="1671881"/>
            <a:ext cx="1365388" cy="36087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nvSpPr>
        <p:spPr>
          <a:xfrm>
            <a:off x="10068488" y="1658967"/>
            <a:ext cx="1365388" cy="36216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6" name="Straight Connector 25"/>
          <p:cNvCxnSpPr/>
          <p:nvPr/>
        </p:nvCxnSpPr>
        <p:spPr>
          <a:xfrm>
            <a:off x="2479701" y="3388475"/>
            <a:ext cx="9028860" cy="0"/>
          </a:xfrm>
          <a:prstGeom prst="line">
            <a:avLst/>
          </a:prstGeom>
          <a:ln>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438002" y="1654900"/>
            <a:ext cx="5988733" cy="3632759"/>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0" name="Straight Connector 39"/>
          <p:cNvCxnSpPr/>
          <p:nvPr/>
        </p:nvCxnSpPr>
        <p:spPr>
          <a:xfrm>
            <a:off x="4437102" y="2728923"/>
            <a:ext cx="10042" cy="2551665"/>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1" name="Rectangle 41"/>
          <p:cNvSpPr/>
          <p:nvPr/>
        </p:nvSpPr>
        <p:spPr>
          <a:xfrm>
            <a:off x="758935" y="5323624"/>
            <a:ext cx="2031518" cy="307777"/>
          </a:xfrm>
          <a:prstGeom prst="rect">
            <a:avLst/>
          </a:prstGeom>
        </p:spPr>
        <p:txBody>
          <a:bodyPr wrap="none">
            <a:spAutoFit/>
          </a:bodyPr>
          <a:lstStyle/>
          <a:p>
            <a:r>
              <a:rPr lang="en-GB" sz="1400" b="1">
                <a:latin typeface="Arial" panose="020B0604020202020204" pitchFamily="34" charset="0"/>
                <a:cs typeface="Arial" panose="020B0604020202020204" pitchFamily="34" charset="0"/>
              </a:rPr>
              <a:t>MUST WIN BATTLES</a:t>
            </a:r>
          </a:p>
        </p:txBody>
      </p:sp>
      <p:sp>
        <p:nvSpPr>
          <p:cNvPr id="56" name="AutoShape 124"/>
          <p:cNvSpPr>
            <a:spLocks noChangeArrowheads="1"/>
          </p:cNvSpPr>
          <p:nvPr>
            <p:custDataLst>
              <p:tags r:id="rId3"/>
            </p:custDataLst>
          </p:nvPr>
        </p:nvSpPr>
        <p:spPr bwMode="auto">
          <a:xfrm>
            <a:off x="4249149" y="3417349"/>
            <a:ext cx="1939062" cy="306268"/>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Set up flagship stores </a:t>
            </a:r>
          </a:p>
        </p:txBody>
      </p:sp>
      <p:cxnSp>
        <p:nvCxnSpPr>
          <p:cNvPr id="61" name="Straight Connector 39"/>
          <p:cNvCxnSpPr/>
          <p:nvPr/>
        </p:nvCxnSpPr>
        <p:spPr>
          <a:xfrm flipH="1">
            <a:off x="6064007" y="3763373"/>
            <a:ext cx="7315" cy="1534579"/>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57" name="AutoShape 124"/>
          <p:cNvSpPr>
            <a:spLocks noChangeArrowheads="1"/>
          </p:cNvSpPr>
          <p:nvPr>
            <p:custDataLst>
              <p:tags r:id="rId4"/>
            </p:custDataLst>
          </p:nvPr>
        </p:nvSpPr>
        <p:spPr bwMode="auto">
          <a:xfrm>
            <a:off x="4741565" y="3957039"/>
            <a:ext cx="2941181" cy="295568"/>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Marketing campaign</a:t>
            </a:r>
          </a:p>
        </p:txBody>
      </p:sp>
      <p:sp>
        <p:nvSpPr>
          <p:cNvPr id="58" name="AutoShape 124"/>
          <p:cNvSpPr>
            <a:spLocks noChangeArrowheads="1"/>
          </p:cNvSpPr>
          <p:nvPr>
            <p:custDataLst>
              <p:tags r:id="rId5"/>
            </p:custDataLst>
          </p:nvPr>
        </p:nvSpPr>
        <p:spPr bwMode="auto">
          <a:xfrm>
            <a:off x="6156113" y="4353351"/>
            <a:ext cx="2936281" cy="317469"/>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Obtain Franchisees and prepare stores </a:t>
            </a:r>
          </a:p>
        </p:txBody>
      </p:sp>
      <p:cxnSp>
        <p:nvCxnSpPr>
          <p:cNvPr id="62" name="Straight Connector 39"/>
          <p:cNvCxnSpPr/>
          <p:nvPr/>
        </p:nvCxnSpPr>
        <p:spPr>
          <a:xfrm flipH="1">
            <a:off x="7042357" y="4670820"/>
            <a:ext cx="2848" cy="594215"/>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8D61983-7978-3A49-B12A-9FB18EF67FC0}"/>
              </a:ext>
            </a:extLst>
          </p:cNvPr>
          <p:cNvGrpSpPr/>
          <p:nvPr/>
        </p:nvGrpSpPr>
        <p:grpSpPr>
          <a:xfrm>
            <a:off x="3939924" y="5338459"/>
            <a:ext cx="1073909" cy="506849"/>
            <a:chOff x="3939924" y="5338459"/>
            <a:chExt cx="1073909" cy="506849"/>
          </a:xfrm>
        </p:grpSpPr>
        <p:sp>
          <p:nvSpPr>
            <p:cNvPr id="32" name="Rectangle 31">
              <a:extLst>
                <a:ext uri="{FF2B5EF4-FFF2-40B4-BE49-F238E27FC236}">
                  <a16:creationId xmlns:a16="http://schemas.microsoft.com/office/drawing/2014/main" id="{F3D50279-A77A-2348-AA68-291597CA50F0}"/>
                </a:ext>
              </a:extLst>
            </p:cNvPr>
            <p:cNvSpPr/>
            <p:nvPr/>
          </p:nvSpPr>
          <p:spPr>
            <a:xfrm>
              <a:off x="3939924" y="5338459"/>
              <a:ext cx="1073909" cy="5068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kstfelt 62"/>
            <p:cNvSpPr txBox="1"/>
            <p:nvPr/>
          </p:nvSpPr>
          <p:spPr>
            <a:xfrm>
              <a:off x="3939924" y="5371925"/>
              <a:ext cx="1073909" cy="430887"/>
            </a:xfrm>
            <a:prstGeom prst="rect">
              <a:avLst/>
            </a:prstGeom>
            <a:noFill/>
          </p:spPr>
          <p:txBody>
            <a:bodyPr wrap="square" rtlCol="0" anchor="ctr">
              <a:spAutoFit/>
            </a:bodyPr>
            <a:lstStyle/>
            <a:p>
              <a:pPr algn="ctr"/>
              <a:r>
                <a:rPr lang="en-GB" sz="1100" dirty="0"/>
                <a:t>Franchised stores aligned</a:t>
              </a:r>
            </a:p>
          </p:txBody>
        </p:sp>
      </p:grpSp>
      <p:sp>
        <p:nvSpPr>
          <p:cNvPr id="45" name="AutoShape 124"/>
          <p:cNvSpPr>
            <a:spLocks noChangeArrowheads="1"/>
          </p:cNvSpPr>
          <p:nvPr>
            <p:custDataLst>
              <p:tags r:id="rId6"/>
            </p:custDataLst>
          </p:nvPr>
        </p:nvSpPr>
        <p:spPr bwMode="auto">
          <a:xfrm>
            <a:off x="4302749" y="2037751"/>
            <a:ext cx="5544000" cy="246890"/>
          </a:xfrm>
          <a:prstGeom prst="homePlate">
            <a:avLst>
              <a:gd name="adj" fmla="val 27767"/>
            </a:avLst>
          </a:prstGeom>
          <a:solidFill>
            <a:schemeClr val="tx1">
              <a:lumMod val="65000"/>
              <a:lumOff val="35000"/>
              <a:alpha val="41000"/>
            </a:schemeClr>
          </a:solidFill>
          <a:ln w="9525">
            <a:noFill/>
            <a:miter lim="800000"/>
            <a:headEnd/>
            <a:tailEnd/>
          </a:ln>
        </p:spPr>
        <p:txBody>
          <a:bodyPr lIns="36000" tIns="36000" rIns="36000" bIns="36000" anchor="ctr">
            <a:prstTxWarp prst="textNoShape">
              <a:avLst/>
            </a:prstTxWarp>
          </a:bodyPr>
          <a:lstStyle/>
          <a:p>
            <a:pPr algn="ctr">
              <a:spcBef>
                <a:spcPct val="20000"/>
              </a:spcBef>
            </a:pPr>
            <a:endParaRPr lang="en-GB" sz="1000">
              <a:solidFill>
                <a:schemeClr val="bg1"/>
              </a:solidFill>
            </a:endParaRPr>
          </a:p>
        </p:txBody>
      </p:sp>
      <p:sp>
        <p:nvSpPr>
          <p:cNvPr id="43" name="AutoShape 124"/>
          <p:cNvSpPr>
            <a:spLocks noChangeArrowheads="1"/>
          </p:cNvSpPr>
          <p:nvPr>
            <p:custDataLst>
              <p:tags r:id="rId7"/>
            </p:custDataLst>
          </p:nvPr>
        </p:nvSpPr>
        <p:spPr bwMode="auto">
          <a:xfrm>
            <a:off x="2888821" y="2037446"/>
            <a:ext cx="1711757" cy="247195"/>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Obtain franchisees </a:t>
            </a:r>
          </a:p>
        </p:txBody>
      </p:sp>
      <p:sp>
        <p:nvSpPr>
          <p:cNvPr id="47" name="AutoShape 124"/>
          <p:cNvSpPr>
            <a:spLocks noChangeArrowheads="1"/>
          </p:cNvSpPr>
          <p:nvPr>
            <p:custDataLst>
              <p:tags r:id="rId8"/>
            </p:custDataLst>
          </p:nvPr>
        </p:nvSpPr>
        <p:spPr bwMode="auto">
          <a:xfrm>
            <a:off x="4556878" y="2335440"/>
            <a:ext cx="5292000" cy="242342"/>
          </a:xfrm>
          <a:prstGeom prst="homePlate">
            <a:avLst>
              <a:gd name="adj" fmla="val 27767"/>
            </a:avLst>
          </a:prstGeom>
          <a:solidFill>
            <a:schemeClr val="tx1">
              <a:lumMod val="65000"/>
              <a:lumOff val="35000"/>
              <a:alpha val="41000"/>
            </a:schemeClr>
          </a:solidFill>
          <a:ln w="9525">
            <a:noFill/>
            <a:miter lim="800000"/>
            <a:headEnd/>
            <a:tailEnd/>
          </a:ln>
        </p:spPr>
        <p:txBody>
          <a:bodyPr lIns="36000" tIns="36000" rIns="36000" bIns="36000" anchor="ctr">
            <a:prstTxWarp prst="textNoShape">
              <a:avLst/>
            </a:prstTxWarp>
          </a:bodyPr>
          <a:lstStyle/>
          <a:p>
            <a:pPr algn="ctr">
              <a:spcBef>
                <a:spcPct val="20000"/>
              </a:spcBef>
            </a:pPr>
            <a:endParaRPr lang="en-GB" sz="1000">
              <a:solidFill>
                <a:schemeClr val="bg1"/>
              </a:solidFill>
            </a:endParaRPr>
          </a:p>
        </p:txBody>
      </p:sp>
      <p:sp>
        <p:nvSpPr>
          <p:cNvPr id="44" name="AutoShape 124"/>
          <p:cNvSpPr>
            <a:spLocks noChangeArrowheads="1"/>
          </p:cNvSpPr>
          <p:nvPr>
            <p:custDataLst>
              <p:tags r:id="rId9"/>
            </p:custDataLst>
          </p:nvPr>
        </p:nvSpPr>
        <p:spPr bwMode="auto">
          <a:xfrm>
            <a:off x="3499021" y="2342511"/>
            <a:ext cx="1597284" cy="240084"/>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Reframe stores</a:t>
            </a:r>
          </a:p>
        </p:txBody>
      </p:sp>
      <p:sp>
        <p:nvSpPr>
          <p:cNvPr id="48" name="AutoShape 124"/>
          <p:cNvSpPr>
            <a:spLocks noChangeArrowheads="1"/>
          </p:cNvSpPr>
          <p:nvPr>
            <p:custDataLst>
              <p:tags r:id="rId10"/>
            </p:custDataLst>
          </p:nvPr>
        </p:nvSpPr>
        <p:spPr bwMode="auto">
          <a:xfrm>
            <a:off x="4689398" y="2655990"/>
            <a:ext cx="5130000" cy="237217"/>
          </a:xfrm>
          <a:prstGeom prst="homePlate">
            <a:avLst>
              <a:gd name="adj" fmla="val 27767"/>
            </a:avLst>
          </a:prstGeom>
          <a:solidFill>
            <a:schemeClr val="tx1">
              <a:lumMod val="65000"/>
              <a:lumOff val="35000"/>
              <a:alpha val="41000"/>
            </a:schemeClr>
          </a:solidFill>
          <a:ln w="9525">
            <a:noFill/>
            <a:miter lim="800000"/>
            <a:headEnd/>
            <a:tailEnd/>
          </a:ln>
        </p:spPr>
        <p:txBody>
          <a:bodyPr lIns="36000" tIns="36000" rIns="36000" bIns="36000" anchor="ctr">
            <a:prstTxWarp prst="textNoShape">
              <a:avLst/>
            </a:prstTxWarp>
          </a:bodyPr>
          <a:lstStyle/>
          <a:p>
            <a:pPr algn="ctr">
              <a:spcBef>
                <a:spcPct val="20000"/>
              </a:spcBef>
            </a:pPr>
            <a:endParaRPr lang="en-GB" sz="1000">
              <a:solidFill>
                <a:schemeClr val="bg1"/>
              </a:solidFill>
            </a:endParaRPr>
          </a:p>
        </p:txBody>
      </p:sp>
      <p:sp>
        <p:nvSpPr>
          <p:cNvPr id="46" name="AutoShape 124"/>
          <p:cNvSpPr>
            <a:spLocks noChangeArrowheads="1"/>
          </p:cNvSpPr>
          <p:nvPr>
            <p:custDataLst>
              <p:tags r:id="rId11"/>
            </p:custDataLst>
          </p:nvPr>
        </p:nvSpPr>
        <p:spPr bwMode="auto">
          <a:xfrm>
            <a:off x="3645104" y="2655991"/>
            <a:ext cx="1597284" cy="237217"/>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Train staff</a:t>
            </a:r>
          </a:p>
        </p:txBody>
      </p:sp>
      <p:sp>
        <p:nvSpPr>
          <p:cNvPr id="49" name="AutoShape 124"/>
          <p:cNvSpPr>
            <a:spLocks noChangeArrowheads="1"/>
          </p:cNvSpPr>
          <p:nvPr>
            <p:custDataLst>
              <p:tags r:id="rId12"/>
            </p:custDataLst>
          </p:nvPr>
        </p:nvSpPr>
        <p:spPr bwMode="auto">
          <a:xfrm>
            <a:off x="6031566" y="3417349"/>
            <a:ext cx="457063" cy="306268"/>
          </a:xfrm>
          <a:prstGeom prst="homePlate">
            <a:avLst>
              <a:gd name="adj" fmla="val 27767"/>
            </a:avLst>
          </a:prstGeom>
          <a:solidFill>
            <a:schemeClr val="tx1">
              <a:lumMod val="65000"/>
              <a:lumOff val="35000"/>
              <a:alpha val="41000"/>
            </a:schemeClr>
          </a:solidFill>
          <a:ln w="9525">
            <a:noFill/>
            <a:miter lim="800000"/>
            <a:headEnd/>
            <a:tailEnd/>
          </a:ln>
        </p:spPr>
        <p:txBody>
          <a:bodyPr lIns="36000" tIns="36000" rIns="36000" bIns="36000" anchor="ctr">
            <a:prstTxWarp prst="textNoShape">
              <a:avLst/>
            </a:prstTxWarp>
          </a:bodyPr>
          <a:lstStyle/>
          <a:p>
            <a:pPr algn="ctr">
              <a:spcBef>
                <a:spcPct val="20000"/>
              </a:spcBef>
            </a:pPr>
            <a:endParaRPr lang="en-GB" sz="1000">
              <a:solidFill>
                <a:schemeClr val="bg1"/>
              </a:solidFill>
            </a:endParaRPr>
          </a:p>
        </p:txBody>
      </p:sp>
      <p:sp>
        <p:nvSpPr>
          <p:cNvPr id="37" name="Tekstfelt 36"/>
          <p:cNvSpPr txBox="1"/>
          <p:nvPr/>
        </p:nvSpPr>
        <p:spPr>
          <a:xfrm>
            <a:off x="2010092" y="2621745"/>
            <a:ext cx="1560327" cy="461665"/>
          </a:xfrm>
          <a:prstGeom prst="rect">
            <a:avLst/>
          </a:prstGeom>
          <a:solidFill>
            <a:schemeClr val="bg2">
              <a:lumMod val="25000"/>
              <a:alpha val="22000"/>
            </a:schemeClr>
          </a:solidFill>
        </p:spPr>
        <p:txBody>
          <a:bodyPr wrap="square" rtlCol="0">
            <a:spAutoFit/>
          </a:bodyPr>
          <a:lstStyle/>
          <a:p>
            <a:r>
              <a:rPr lang="en-GB" sz="1200"/>
              <a:t>Reorganize + hire </a:t>
            </a:r>
          </a:p>
          <a:p>
            <a:r>
              <a:rPr lang="en-GB" sz="1200"/>
              <a:t>franchise managers</a:t>
            </a:r>
          </a:p>
        </p:txBody>
      </p:sp>
      <p:sp>
        <p:nvSpPr>
          <p:cNvPr id="67" name="AutoShape 124"/>
          <p:cNvSpPr>
            <a:spLocks noChangeArrowheads="1"/>
          </p:cNvSpPr>
          <p:nvPr>
            <p:custDataLst>
              <p:tags r:id="rId13"/>
            </p:custDataLst>
          </p:nvPr>
        </p:nvSpPr>
        <p:spPr bwMode="auto">
          <a:xfrm>
            <a:off x="2415496" y="1715761"/>
            <a:ext cx="499862" cy="267700"/>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endParaRPr lang="en-GB" sz="1000">
              <a:solidFill>
                <a:schemeClr val="bg1"/>
              </a:solidFill>
            </a:endParaRPr>
          </a:p>
        </p:txBody>
      </p:sp>
      <p:cxnSp>
        <p:nvCxnSpPr>
          <p:cNvPr id="50" name="Lige pilforbindelse 49"/>
          <p:cNvCxnSpPr>
            <a:stCxn id="37" idx="0"/>
            <a:endCxn id="67" idx="0"/>
          </p:cNvCxnSpPr>
          <p:nvPr/>
        </p:nvCxnSpPr>
        <p:spPr>
          <a:xfrm flipH="1" flipV="1">
            <a:off x="2628261" y="1715761"/>
            <a:ext cx="161995" cy="9059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5-takket stjerne 74"/>
          <p:cNvSpPr/>
          <p:nvPr/>
        </p:nvSpPr>
        <p:spPr>
          <a:xfrm>
            <a:off x="4250422" y="2850519"/>
            <a:ext cx="386648" cy="33393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5-takket stjerne 75"/>
          <p:cNvSpPr/>
          <p:nvPr/>
        </p:nvSpPr>
        <p:spPr>
          <a:xfrm>
            <a:off x="5858145" y="3684530"/>
            <a:ext cx="386648" cy="33393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5-takket stjerne 76"/>
          <p:cNvSpPr/>
          <p:nvPr/>
        </p:nvSpPr>
        <p:spPr>
          <a:xfrm>
            <a:off x="6865067" y="4633988"/>
            <a:ext cx="386648" cy="33393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Højrepil 78"/>
          <p:cNvSpPr/>
          <p:nvPr/>
        </p:nvSpPr>
        <p:spPr>
          <a:xfrm>
            <a:off x="6619786" y="5536508"/>
            <a:ext cx="194015" cy="112431"/>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a:extLst>
              <a:ext uri="{FF2B5EF4-FFF2-40B4-BE49-F238E27FC236}">
                <a16:creationId xmlns:a16="http://schemas.microsoft.com/office/drawing/2014/main" id="{486BA587-1E40-334F-BE28-CC4F48F8B3C1}"/>
              </a:ext>
            </a:extLst>
          </p:cNvPr>
          <p:cNvGrpSpPr/>
          <p:nvPr/>
        </p:nvGrpSpPr>
        <p:grpSpPr>
          <a:xfrm>
            <a:off x="1124562" y="2150611"/>
            <a:ext cx="612000" cy="612000"/>
            <a:chOff x="1188281" y="1870355"/>
            <a:chExt cx="612000" cy="612000"/>
          </a:xfrm>
        </p:grpSpPr>
        <p:sp>
          <p:nvSpPr>
            <p:cNvPr id="2" name="Oval 1">
              <a:extLst>
                <a:ext uri="{FF2B5EF4-FFF2-40B4-BE49-F238E27FC236}">
                  <a16:creationId xmlns:a16="http://schemas.microsoft.com/office/drawing/2014/main" id="{AA2E98D7-5DE3-254C-8BF2-85034A8B3CC6}"/>
                </a:ext>
              </a:extLst>
            </p:cNvPr>
            <p:cNvSpPr>
              <a:spLocks noChangeAspect="1"/>
            </p:cNvSpPr>
            <p:nvPr/>
          </p:nvSpPr>
          <p:spPr>
            <a:xfrm>
              <a:off x="1188281" y="1870355"/>
              <a:ext cx="612000" cy="61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87CD765E-890A-684C-A4FA-872DC5C95958}"/>
                </a:ext>
              </a:extLst>
            </p:cNvPr>
            <p:cNvPicPr>
              <a:picLocks noChangeAspect="1"/>
            </p:cNvPicPr>
            <p:nvPr/>
          </p:nvPicPr>
          <p:blipFill>
            <a:blip r:embed="rId20"/>
            <a:stretch>
              <a:fillRect/>
            </a:stretch>
          </p:blipFill>
          <p:spPr>
            <a:xfrm>
              <a:off x="1226139" y="1910041"/>
              <a:ext cx="540000" cy="540000"/>
            </a:xfrm>
            <a:prstGeom prst="rect">
              <a:avLst/>
            </a:prstGeom>
          </p:spPr>
        </p:pic>
      </p:grpSp>
      <p:grpSp>
        <p:nvGrpSpPr>
          <p:cNvPr id="29" name="Group 28">
            <a:extLst>
              <a:ext uri="{FF2B5EF4-FFF2-40B4-BE49-F238E27FC236}">
                <a16:creationId xmlns:a16="http://schemas.microsoft.com/office/drawing/2014/main" id="{B7C72623-6721-FA49-ADC9-6F2E39B7A646}"/>
              </a:ext>
            </a:extLst>
          </p:cNvPr>
          <p:cNvGrpSpPr/>
          <p:nvPr/>
        </p:nvGrpSpPr>
        <p:grpSpPr>
          <a:xfrm>
            <a:off x="1124562" y="3663271"/>
            <a:ext cx="612000" cy="612000"/>
            <a:chOff x="1124562" y="3663271"/>
            <a:chExt cx="612000" cy="612000"/>
          </a:xfrm>
        </p:grpSpPr>
        <p:sp>
          <p:nvSpPr>
            <p:cNvPr id="54" name="Oval 53">
              <a:extLst>
                <a:ext uri="{FF2B5EF4-FFF2-40B4-BE49-F238E27FC236}">
                  <a16:creationId xmlns:a16="http://schemas.microsoft.com/office/drawing/2014/main" id="{015E4EA1-58A5-6B4F-923E-AF6F4F6ACA6F}"/>
                </a:ext>
              </a:extLst>
            </p:cNvPr>
            <p:cNvSpPr>
              <a:spLocks noChangeAspect="1"/>
            </p:cNvSpPr>
            <p:nvPr/>
          </p:nvSpPr>
          <p:spPr>
            <a:xfrm>
              <a:off x="1124562" y="3663271"/>
              <a:ext cx="612000" cy="61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81802EBA-E3FF-3345-BEC5-68A4F0DF3A19}"/>
                </a:ext>
              </a:extLst>
            </p:cNvPr>
            <p:cNvPicPr>
              <a:picLocks noChangeAspect="1"/>
            </p:cNvPicPr>
            <p:nvPr/>
          </p:nvPicPr>
          <p:blipFill>
            <a:blip r:embed="rId21"/>
            <a:stretch>
              <a:fillRect/>
            </a:stretch>
          </p:blipFill>
          <p:spPr>
            <a:xfrm>
              <a:off x="1163691" y="3699271"/>
              <a:ext cx="540000" cy="540000"/>
            </a:xfrm>
            <a:prstGeom prst="rect">
              <a:avLst/>
            </a:prstGeom>
          </p:spPr>
        </p:pic>
      </p:grpSp>
      <p:grpSp>
        <p:nvGrpSpPr>
          <p:cNvPr id="30" name="Group 29">
            <a:extLst>
              <a:ext uri="{FF2B5EF4-FFF2-40B4-BE49-F238E27FC236}">
                <a16:creationId xmlns:a16="http://schemas.microsoft.com/office/drawing/2014/main" id="{BA68D729-5AE2-1A4D-B2F6-8987368D8B5E}"/>
              </a:ext>
            </a:extLst>
          </p:cNvPr>
          <p:cNvGrpSpPr/>
          <p:nvPr/>
        </p:nvGrpSpPr>
        <p:grpSpPr>
          <a:xfrm>
            <a:off x="1124562" y="4451065"/>
            <a:ext cx="612000" cy="612000"/>
            <a:chOff x="1124562" y="4451065"/>
            <a:chExt cx="612000" cy="612000"/>
          </a:xfrm>
        </p:grpSpPr>
        <p:sp>
          <p:nvSpPr>
            <p:cNvPr id="68" name="Oval 67">
              <a:extLst>
                <a:ext uri="{FF2B5EF4-FFF2-40B4-BE49-F238E27FC236}">
                  <a16:creationId xmlns:a16="http://schemas.microsoft.com/office/drawing/2014/main" id="{407907C9-3FC8-4541-8D35-90A69810EA3A}"/>
                </a:ext>
              </a:extLst>
            </p:cNvPr>
            <p:cNvSpPr>
              <a:spLocks noChangeAspect="1"/>
            </p:cNvSpPr>
            <p:nvPr/>
          </p:nvSpPr>
          <p:spPr>
            <a:xfrm>
              <a:off x="1124562" y="4451065"/>
              <a:ext cx="612000" cy="61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26">
              <a:extLst>
                <a:ext uri="{FF2B5EF4-FFF2-40B4-BE49-F238E27FC236}">
                  <a16:creationId xmlns:a16="http://schemas.microsoft.com/office/drawing/2014/main" id="{8D9BF0AA-3834-0F4D-83CD-2E5DCFCD0C3C}"/>
                </a:ext>
              </a:extLst>
            </p:cNvPr>
            <p:cNvPicPr>
              <a:picLocks noChangeAspect="1"/>
            </p:cNvPicPr>
            <p:nvPr/>
          </p:nvPicPr>
          <p:blipFill>
            <a:blip r:embed="rId22"/>
            <a:stretch>
              <a:fillRect/>
            </a:stretch>
          </p:blipFill>
          <p:spPr>
            <a:xfrm>
              <a:off x="1159612" y="4489167"/>
              <a:ext cx="540000" cy="540000"/>
            </a:xfrm>
            <a:prstGeom prst="rect">
              <a:avLst/>
            </a:prstGeom>
          </p:spPr>
        </p:pic>
      </p:grpSp>
      <p:grpSp>
        <p:nvGrpSpPr>
          <p:cNvPr id="70" name="Group 69">
            <a:extLst>
              <a:ext uri="{FF2B5EF4-FFF2-40B4-BE49-F238E27FC236}">
                <a16:creationId xmlns:a16="http://schemas.microsoft.com/office/drawing/2014/main" id="{5DB4E0CE-19DA-0441-88F4-A6D5C94E4691}"/>
              </a:ext>
            </a:extLst>
          </p:cNvPr>
          <p:cNvGrpSpPr/>
          <p:nvPr/>
        </p:nvGrpSpPr>
        <p:grpSpPr>
          <a:xfrm>
            <a:off x="5494611" y="5338459"/>
            <a:ext cx="1073909" cy="506849"/>
            <a:chOff x="3939924" y="5338459"/>
            <a:chExt cx="1073909" cy="506849"/>
          </a:xfrm>
        </p:grpSpPr>
        <p:sp>
          <p:nvSpPr>
            <p:cNvPr id="71" name="Rectangle 70">
              <a:extLst>
                <a:ext uri="{FF2B5EF4-FFF2-40B4-BE49-F238E27FC236}">
                  <a16:creationId xmlns:a16="http://schemas.microsoft.com/office/drawing/2014/main" id="{5F8A2855-372D-1C4F-98AA-E3A689D887FA}"/>
                </a:ext>
              </a:extLst>
            </p:cNvPr>
            <p:cNvSpPr/>
            <p:nvPr/>
          </p:nvSpPr>
          <p:spPr>
            <a:xfrm>
              <a:off x="3939924" y="5338459"/>
              <a:ext cx="1073909" cy="5068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Tekstfelt 62">
              <a:extLst>
                <a:ext uri="{FF2B5EF4-FFF2-40B4-BE49-F238E27FC236}">
                  <a16:creationId xmlns:a16="http://schemas.microsoft.com/office/drawing/2014/main" id="{C4A301DE-E04C-BF42-95BA-C1B77B8DEAD2}"/>
                </a:ext>
              </a:extLst>
            </p:cNvPr>
            <p:cNvSpPr txBox="1"/>
            <p:nvPr/>
          </p:nvSpPr>
          <p:spPr>
            <a:xfrm>
              <a:off x="3939924" y="5371925"/>
              <a:ext cx="1073909" cy="430887"/>
            </a:xfrm>
            <a:prstGeom prst="rect">
              <a:avLst/>
            </a:prstGeom>
            <a:noFill/>
          </p:spPr>
          <p:txBody>
            <a:bodyPr wrap="square" rtlCol="0" anchor="ctr">
              <a:spAutoFit/>
            </a:bodyPr>
            <a:lstStyle/>
            <a:p>
              <a:pPr algn="ctr"/>
              <a:r>
                <a:rPr lang="en-GB" sz="1100" dirty="0"/>
                <a:t>Brand awareness</a:t>
              </a:r>
            </a:p>
          </p:txBody>
        </p:sp>
      </p:grpSp>
      <p:grpSp>
        <p:nvGrpSpPr>
          <p:cNvPr id="73" name="Group 72">
            <a:extLst>
              <a:ext uri="{FF2B5EF4-FFF2-40B4-BE49-F238E27FC236}">
                <a16:creationId xmlns:a16="http://schemas.microsoft.com/office/drawing/2014/main" id="{0E18B129-4BBF-5E4A-977B-1F58772C4CF8}"/>
              </a:ext>
            </a:extLst>
          </p:cNvPr>
          <p:cNvGrpSpPr/>
          <p:nvPr/>
        </p:nvGrpSpPr>
        <p:grpSpPr>
          <a:xfrm>
            <a:off x="6865067" y="5338459"/>
            <a:ext cx="1073909" cy="506849"/>
            <a:chOff x="3939924" y="5338459"/>
            <a:chExt cx="1073909" cy="506849"/>
          </a:xfrm>
        </p:grpSpPr>
        <p:sp>
          <p:nvSpPr>
            <p:cNvPr id="74" name="Rectangle 73">
              <a:extLst>
                <a:ext uri="{FF2B5EF4-FFF2-40B4-BE49-F238E27FC236}">
                  <a16:creationId xmlns:a16="http://schemas.microsoft.com/office/drawing/2014/main" id="{7DDD78B2-56E0-954D-A055-5FCA393D6EA2}"/>
                </a:ext>
              </a:extLst>
            </p:cNvPr>
            <p:cNvSpPr/>
            <p:nvPr/>
          </p:nvSpPr>
          <p:spPr>
            <a:xfrm>
              <a:off x="3939924" y="5338459"/>
              <a:ext cx="1073909" cy="5068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Tekstfelt 62">
              <a:extLst>
                <a:ext uri="{FF2B5EF4-FFF2-40B4-BE49-F238E27FC236}">
                  <a16:creationId xmlns:a16="http://schemas.microsoft.com/office/drawing/2014/main" id="{5B397C9D-DF97-2443-9C2D-D16BE11B964A}"/>
                </a:ext>
              </a:extLst>
            </p:cNvPr>
            <p:cNvSpPr txBox="1"/>
            <p:nvPr/>
          </p:nvSpPr>
          <p:spPr>
            <a:xfrm>
              <a:off x="3939924" y="5456563"/>
              <a:ext cx="1073909" cy="261610"/>
            </a:xfrm>
            <a:prstGeom prst="rect">
              <a:avLst/>
            </a:prstGeom>
            <a:noFill/>
          </p:spPr>
          <p:txBody>
            <a:bodyPr wrap="square" rtlCol="0" anchor="ctr">
              <a:spAutoFit/>
            </a:bodyPr>
            <a:lstStyle/>
            <a:p>
              <a:pPr algn="ctr"/>
              <a:r>
                <a:rPr lang="en-GB" sz="1100" dirty="0"/>
                <a:t>Brand action</a:t>
              </a:r>
            </a:p>
          </p:txBody>
        </p:sp>
      </p:grpSp>
      <p:cxnSp>
        <p:nvCxnSpPr>
          <p:cNvPr id="80" name="Straight Connector 79">
            <a:extLst>
              <a:ext uri="{FF2B5EF4-FFF2-40B4-BE49-F238E27FC236}">
                <a16:creationId xmlns:a16="http://schemas.microsoft.com/office/drawing/2014/main" id="{496FA52F-6BDC-094F-A002-06B892CB1982}"/>
              </a:ext>
            </a:extLst>
          </p:cNvPr>
          <p:cNvCxnSpPr>
            <a:cxnSpLocks/>
          </p:cNvCxnSpPr>
          <p:nvPr/>
        </p:nvCxnSpPr>
        <p:spPr>
          <a:xfrm>
            <a:off x="9689516" y="2314688"/>
            <a:ext cx="3758" cy="2965900"/>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6F9EE86A-387C-2846-A909-0560DBE36F3C}"/>
              </a:ext>
            </a:extLst>
          </p:cNvPr>
          <p:cNvGrpSpPr/>
          <p:nvPr/>
        </p:nvGrpSpPr>
        <p:grpSpPr>
          <a:xfrm>
            <a:off x="9186054" y="5338459"/>
            <a:ext cx="1073909" cy="506849"/>
            <a:chOff x="3939924" y="5338459"/>
            <a:chExt cx="1073909" cy="506849"/>
          </a:xfrm>
        </p:grpSpPr>
        <p:sp>
          <p:nvSpPr>
            <p:cNvPr id="82" name="Rectangle 81">
              <a:extLst>
                <a:ext uri="{FF2B5EF4-FFF2-40B4-BE49-F238E27FC236}">
                  <a16:creationId xmlns:a16="http://schemas.microsoft.com/office/drawing/2014/main" id="{C07F5577-02E1-6246-812C-288D0163EF29}"/>
                </a:ext>
              </a:extLst>
            </p:cNvPr>
            <p:cNvSpPr/>
            <p:nvPr/>
          </p:nvSpPr>
          <p:spPr>
            <a:xfrm>
              <a:off x="3939924" y="5338459"/>
              <a:ext cx="1073909" cy="5068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Tekstfelt 62">
              <a:extLst>
                <a:ext uri="{FF2B5EF4-FFF2-40B4-BE49-F238E27FC236}">
                  <a16:creationId xmlns:a16="http://schemas.microsoft.com/office/drawing/2014/main" id="{8426EA3A-DCAD-4C45-86F0-14BFBD940A42}"/>
                </a:ext>
              </a:extLst>
            </p:cNvPr>
            <p:cNvSpPr txBox="1"/>
            <p:nvPr/>
          </p:nvSpPr>
          <p:spPr>
            <a:xfrm>
              <a:off x="3939924" y="5371925"/>
              <a:ext cx="1073909" cy="430887"/>
            </a:xfrm>
            <a:prstGeom prst="rect">
              <a:avLst/>
            </a:prstGeom>
            <a:noFill/>
          </p:spPr>
          <p:txBody>
            <a:bodyPr wrap="square" rtlCol="0" anchor="ctr">
              <a:spAutoFit/>
            </a:bodyPr>
            <a:lstStyle/>
            <a:p>
              <a:pPr algn="ctr"/>
              <a:r>
                <a:rPr lang="en-GB" sz="1100" dirty="0"/>
                <a:t>100 franchises</a:t>
              </a:r>
            </a:p>
          </p:txBody>
        </p:sp>
      </p:grpSp>
      <p:sp>
        <p:nvSpPr>
          <p:cNvPr id="84" name="5-takket stjerne 74">
            <a:extLst>
              <a:ext uri="{FF2B5EF4-FFF2-40B4-BE49-F238E27FC236}">
                <a16:creationId xmlns:a16="http://schemas.microsoft.com/office/drawing/2014/main" id="{6E1DF1BD-5CA1-864D-BD97-23510B8C7924}"/>
              </a:ext>
            </a:extLst>
          </p:cNvPr>
          <p:cNvSpPr/>
          <p:nvPr/>
        </p:nvSpPr>
        <p:spPr>
          <a:xfrm>
            <a:off x="9497444" y="2016722"/>
            <a:ext cx="386648" cy="333939"/>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AutoShape 124"/>
          <p:cNvSpPr>
            <a:spLocks noChangeArrowheads="1"/>
          </p:cNvSpPr>
          <p:nvPr>
            <p:custDataLst>
              <p:tags r:id="rId14"/>
            </p:custDataLst>
          </p:nvPr>
        </p:nvSpPr>
        <p:spPr bwMode="auto">
          <a:xfrm>
            <a:off x="4598189" y="2933670"/>
            <a:ext cx="6835687" cy="290896"/>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Grow Brand Value and gain market share + revenue in Sweden</a:t>
            </a:r>
          </a:p>
        </p:txBody>
      </p:sp>
      <p:sp>
        <p:nvSpPr>
          <p:cNvPr id="59" name="AutoShape 124"/>
          <p:cNvSpPr>
            <a:spLocks noChangeArrowheads="1"/>
          </p:cNvSpPr>
          <p:nvPr>
            <p:custDataLst>
              <p:tags r:id="rId15"/>
            </p:custDataLst>
          </p:nvPr>
        </p:nvSpPr>
        <p:spPr bwMode="auto">
          <a:xfrm>
            <a:off x="7442389" y="4890302"/>
            <a:ext cx="4002701" cy="264660"/>
          </a:xfrm>
          <a:prstGeom prst="homePlate">
            <a:avLst>
              <a:gd name="adj" fmla="val 27767"/>
            </a:avLst>
          </a:prstGeom>
          <a:solidFill>
            <a:schemeClr val="tx1">
              <a:lumMod val="65000"/>
              <a:lumOff val="35000"/>
            </a:schemeClr>
          </a:solidFill>
          <a:ln w="9525">
            <a:noFill/>
            <a:miter lim="800000"/>
            <a:headEnd/>
            <a:tailEnd/>
          </a:ln>
        </p:spPr>
        <p:txBody>
          <a:bodyPr lIns="36000" tIns="36000" rIns="36000" bIns="36000" anchor="ctr">
            <a:prstTxWarp prst="textNoShape">
              <a:avLst/>
            </a:prstTxWarp>
          </a:bodyPr>
          <a:lstStyle/>
          <a:p>
            <a:pPr algn="ctr">
              <a:spcBef>
                <a:spcPct val="20000"/>
              </a:spcBef>
            </a:pPr>
            <a:r>
              <a:rPr lang="en-GB" sz="1000">
                <a:solidFill>
                  <a:schemeClr val="bg1"/>
                </a:solidFill>
              </a:rPr>
              <a:t>Grow Brand Value and gain market share in Baltics</a:t>
            </a:r>
          </a:p>
        </p:txBody>
      </p:sp>
    </p:spTree>
    <p:extLst>
      <p:ext uri="{BB962C8B-B14F-4D97-AF65-F5344CB8AC3E}">
        <p14:creationId xmlns:p14="http://schemas.microsoft.com/office/powerpoint/2010/main" val="28328221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DD06CB4-2D29-7C4C-AF0F-7862479815AA}"/>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14" name="Text Placeholder 13">
            <a:extLst>
              <a:ext uri="{FF2B5EF4-FFF2-40B4-BE49-F238E27FC236}">
                <a16:creationId xmlns:a16="http://schemas.microsoft.com/office/drawing/2014/main" id="{EA9BFA7A-B6CC-E04F-B8D1-8485C74BEA78}"/>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el 1"/>
          <p:cNvSpPr>
            <a:spLocks noGrp="1"/>
          </p:cNvSpPr>
          <p:nvPr>
            <p:ph type="title"/>
          </p:nvPr>
        </p:nvSpPr>
        <p:spPr/>
        <p:txBody>
          <a:bodyPr>
            <a:normAutofit fontScale="90000"/>
          </a:bodyPr>
          <a:lstStyle/>
          <a:p>
            <a:r>
              <a:rPr lang="da-DK" dirty="0">
                <a:latin typeface="Arial" panose="020B0604020202020204" pitchFamily="34" charset="0"/>
                <a:cs typeface="Arial" panose="020B0604020202020204" pitchFamily="34" charset="0"/>
              </a:rPr>
              <a:t>To </a:t>
            </a:r>
            <a:r>
              <a:rPr lang="da-DK" dirty="0" err="1">
                <a:latin typeface="Arial" panose="020B0604020202020204" pitchFamily="34" charset="0"/>
                <a:cs typeface="Arial" panose="020B0604020202020204" pitchFamily="34" charset="0"/>
              </a:rPr>
              <a:t>successfully</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implement</a:t>
            </a:r>
            <a:r>
              <a:rPr lang="da-DK" dirty="0">
                <a:latin typeface="Arial" panose="020B0604020202020204" pitchFamily="34" charset="0"/>
                <a:cs typeface="Arial" panose="020B0604020202020204" pitchFamily="34" charset="0"/>
              </a:rPr>
              <a:t> the </a:t>
            </a:r>
            <a:r>
              <a:rPr lang="da-DK" dirty="0" err="1">
                <a:latin typeface="Arial" panose="020B0604020202020204" pitchFamily="34" charset="0"/>
                <a:cs typeface="Arial" panose="020B0604020202020204" pitchFamily="34" charset="0"/>
              </a:rPr>
              <a:t>strategy</a:t>
            </a:r>
            <a:r>
              <a:rPr lang="da-DK" dirty="0">
                <a:latin typeface="Arial" panose="020B0604020202020204" pitchFamily="34" charset="0"/>
                <a:cs typeface="Arial" panose="020B0604020202020204" pitchFamily="34" charset="0"/>
              </a:rPr>
              <a:t>, DBS </a:t>
            </a:r>
            <a:r>
              <a:rPr lang="da-DK" dirty="0" err="1">
                <a:latin typeface="Arial" panose="020B0604020202020204" pitchFamily="34" charset="0"/>
                <a:cs typeface="Arial" panose="020B0604020202020204" pitchFamily="34" charset="0"/>
              </a:rPr>
              <a:t>wil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need</a:t>
            </a:r>
            <a:r>
              <a:rPr lang="da-DK" dirty="0">
                <a:latin typeface="Arial" panose="020B0604020202020204" pitchFamily="34" charset="0"/>
                <a:cs typeface="Arial" panose="020B0604020202020204" pitchFamily="34" charset="0"/>
              </a:rPr>
              <a:t> to </a:t>
            </a:r>
            <a:r>
              <a:rPr lang="da-DK" dirty="0" err="1">
                <a:latin typeface="Arial" panose="020B0604020202020204" pitchFamily="34" charset="0"/>
                <a:cs typeface="Arial" panose="020B0604020202020204" pitchFamily="34" charset="0"/>
              </a:rPr>
              <a:t>think</a:t>
            </a:r>
            <a:r>
              <a:rPr lang="da-DK" dirty="0">
                <a:latin typeface="Arial" panose="020B0604020202020204" pitchFamily="34" charset="0"/>
                <a:cs typeface="Arial" panose="020B0604020202020204" pitchFamily="34" charset="0"/>
              </a:rPr>
              <a:t> big, start small and </a:t>
            </a:r>
            <a:br>
              <a:rPr lang="da-DK" dirty="0">
                <a:latin typeface="Arial" panose="020B0604020202020204" pitchFamily="34" charset="0"/>
                <a:cs typeface="Arial" panose="020B0604020202020204" pitchFamily="34" charset="0"/>
              </a:rPr>
            </a:br>
            <a:r>
              <a:rPr lang="da-DK" dirty="0" err="1">
                <a:latin typeface="Arial" panose="020B0604020202020204" pitchFamily="34" charset="0"/>
                <a:cs typeface="Arial" panose="020B0604020202020204" pitchFamily="34" charset="0"/>
              </a:rPr>
              <a:t>scale</a:t>
            </a:r>
            <a:r>
              <a:rPr lang="da-DK" dirty="0">
                <a:latin typeface="Arial" panose="020B0604020202020204" pitchFamily="34" charset="0"/>
                <a:cs typeface="Arial" panose="020B0604020202020204" pitchFamily="34" charset="0"/>
              </a:rPr>
              <a:t> fast</a:t>
            </a:r>
          </a:p>
        </p:txBody>
      </p:sp>
      <p:graphicFrame>
        <p:nvGraphicFramePr>
          <p:cNvPr id="3" name="Tabel 2"/>
          <p:cNvGraphicFramePr>
            <a:graphicFrameLocks noGrp="1"/>
          </p:cNvGraphicFramePr>
          <p:nvPr/>
        </p:nvGraphicFramePr>
        <p:xfrm>
          <a:off x="1549885" y="1479798"/>
          <a:ext cx="9092229" cy="3209371"/>
        </p:xfrm>
        <a:graphic>
          <a:graphicData uri="http://schemas.openxmlformats.org/drawingml/2006/table">
            <a:tbl>
              <a:tblPr firstRow="1" bandRow="1">
                <a:tableStyleId>{2D5ABB26-0587-4C30-8999-92F81FD0307C}</a:tableStyleId>
              </a:tblPr>
              <a:tblGrid>
                <a:gridCol w="796515">
                  <a:extLst>
                    <a:ext uri="{9D8B030D-6E8A-4147-A177-3AD203B41FA5}">
                      <a16:colId xmlns:a16="http://schemas.microsoft.com/office/drawing/2014/main" val="20000"/>
                    </a:ext>
                  </a:extLst>
                </a:gridCol>
                <a:gridCol w="522486">
                  <a:extLst>
                    <a:ext uri="{9D8B030D-6E8A-4147-A177-3AD203B41FA5}">
                      <a16:colId xmlns:a16="http://schemas.microsoft.com/office/drawing/2014/main" val="20001"/>
                    </a:ext>
                  </a:extLst>
                </a:gridCol>
                <a:gridCol w="522487">
                  <a:extLst>
                    <a:ext uri="{9D8B030D-6E8A-4147-A177-3AD203B41FA5}">
                      <a16:colId xmlns:a16="http://schemas.microsoft.com/office/drawing/2014/main" val="20002"/>
                    </a:ext>
                  </a:extLst>
                </a:gridCol>
                <a:gridCol w="522486">
                  <a:extLst>
                    <a:ext uri="{9D8B030D-6E8A-4147-A177-3AD203B41FA5}">
                      <a16:colId xmlns:a16="http://schemas.microsoft.com/office/drawing/2014/main" val="20003"/>
                    </a:ext>
                  </a:extLst>
                </a:gridCol>
                <a:gridCol w="522486">
                  <a:extLst>
                    <a:ext uri="{9D8B030D-6E8A-4147-A177-3AD203B41FA5}">
                      <a16:colId xmlns:a16="http://schemas.microsoft.com/office/drawing/2014/main" val="20004"/>
                    </a:ext>
                  </a:extLst>
                </a:gridCol>
                <a:gridCol w="522487">
                  <a:extLst>
                    <a:ext uri="{9D8B030D-6E8A-4147-A177-3AD203B41FA5}">
                      <a16:colId xmlns:a16="http://schemas.microsoft.com/office/drawing/2014/main" val="20005"/>
                    </a:ext>
                  </a:extLst>
                </a:gridCol>
                <a:gridCol w="522486">
                  <a:extLst>
                    <a:ext uri="{9D8B030D-6E8A-4147-A177-3AD203B41FA5}">
                      <a16:colId xmlns:a16="http://schemas.microsoft.com/office/drawing/2014/main" val="20006"/>
                    </a:ext>
                  </a:extLst>
                </a:gridCol>
                <a:gridCol w="522486">
                  <a:extLst>
                    <a:ext uri="{9D8B030D-6E8A-4147-A177-3AD203B41FA5}">
                      <a16:colId xmlns:a16="http://schemas.microsoft.com/office/drawing/2014/main" val="20007"/>
                    </a:ext>
                  </a:extLst>
                </a:gridCol>
                <a:gridCol w="522486">
                  <a:extLst>
                    <a:ext uri="{9D8B030D-6E8A-4147-A177-3AD203B41FA5}">
                      <a16:colId xmlns:a16="http://schemas.microsoft.com/office/drawing/2014/main" val="20008"/>
                    </a:ext>
                  </a:extLst>
                </a:gridCol>
                <a:gridCol w="522486">
                  <a:extLst>
                    <a:ext uri="{9D8B030D-6E8A-4147-A177-3AD203B41FA5}">
                      <a16:colId xmlns:a16="http://schemas.microsoft.com/office/drawing/2014/main" val="20009"/>
                    </a:ext>
                  </a:extLst>
                </a:gridCol>
                <a:gridCol w="522486">
                  <a:extLst>
                    <a:ext uri="{9D8B030D-6E8A-4147-A177-3AD203B41FA5}">
                      <a16:colId xmlns:a16="http://schemas.microsoft.com/office/drawing/2014/main" val="20010"/>
                    </a:ext>
                  </a:extLst>
                </a:gridCol>
                <a:gridCol w="522486">
                  <a:extLst>
                    <a:ext uri="{9D8B030D-6E8A-4147-A177-3AD203B41FA5}">
                      <a16:colId xmlns:a16="http://schemas.microsoft.com/office/drawing/2014/main" val="20011"/>
                    </a:ext>
                  </a:extLst>
                </a:gridCol>
                <a:gridCol w="522486">
                  <a:extLst>
                    <a:ext uri="{9D8B030D-6E8A-4147-A177-3AD203B41FA5}">
                      <a16:colId xmlns:a16="http://schemas.microsoft.com/office/drawing/2014/main" val="20012"/>
                    </a:ext>
                  </a:extLst>
                </a:gridCol>
                <a:gridCol w="522486">
                  <a:extLst>
                    <a:ext uri="{9D8B030D-6E8A-4147-A177-3AD203B41FA5}">
                      <a16:colId xmlns:a16="http://schemas.microsoft.com/office/drawing/2014/main" val="20013"/>
                    </a:ext>
                  </a:extLst>
                </a:gridCol>
                <a:gridCol w="522486">
                  <a:extLst>
                    <a:ext uri="{9D8B030D-6E8A-4147-A177-3AD203B41FA5}">
                      <a16:colId xmlns:a16="http://schemas.microsoft.com/office/drawing/2014/main" val="20014"/>
                    </a:ext>
                  </a:extLst>
                </a:gridCol>
                <a:gridCol w="274588">
                  <a:extLst>
                    <a:ext uri="{9D8B030D-6E8A-4147-A177-3AD203B41FA5}">
                      <a16:colId xmlns:a16="http://schemas.microsoft.com/office/drawing/2014/main" val="20015"/>
                    </a:ext>
                  </a:extLst>
                </a:gridCol>
                <a:gridCol w="706320">
                  <a:extLst>
                    <a:ext uri="{9D8B030D-6E8A-4147-A177-3AD203B41FA5}">
                      <a16:colId xmlns:a16="http://schemas.microsoft.com/office/drawing/2014/main" val="20016"/>
                    </a:ext>
                  </a:extLst>
                </a:gridCol>
              </a:tblGrid>
              <a:tr h="515124">
                <a:tc>
                  <a:txBody>
                    <a:bodyPr/>
                    <a:lstStyle/>
                    <a:p>
                      <a:pPr algn="ctr"/>
                      <a:endParaRPr lang="da-DK" sz="1600" b="0" i="0" dirty="0">
                        <a:solidFill>
                          <a:schemeClr val="tx1">
                            <a:lumMod val="85000"/>
                            <a:lumOff val="15000"/>
                          </a:schemeClr>
                        </a:solidFill>
                        <a:latin typeface="Gulim" charset="-127"/>
                        <a:ea typeface="Gulim" charset="-127"/>
                        <a:cs typeface="Gulim" charset="-127"/>
                      </a:endParaRPr>
                    </a:p>
                  </a:txBody>
                  <a:tcPr anchor="ct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r>
                        <a:rPr lang="da-DK" sz="1600" b="0" i="0" dirty="0">
                          <a:solidFill>
                            <a:schemeClr val="tx1">
                              <a:lumMod val="85000"/>
                              <a:lumOff val="15000"/>
                            </a:schemeClr>
                          </a:solidFill>
                          <a:latin typeface="Gulim" charset="-127"/>
                          <a:ea typeface="Gulim" charset="-127"/>
                          <a:cs typeface="Gulim" charset="-127"/>
                        </a:rPr>
                        <a:t>…</a:t>
                      </a:r>
                      <a:r>
                        <a:rPr lang="da-DK" sz="1600" b="0" i="0" dirty="0" err="1">
                          <a:solidFill>
                            <a:schemeClr val="tx1">
                              <a:lumMod val="85000"/>
                              <a:lumOff val="15000"/>
                            </a:schemeClr>
                          </a:solidFill>
                          <a:latin typeface="Gulim" charset="-127"/>
                          <a:ea typeface="Gulim" charset="-127"/>
                          <a:cs typeface="Gulim" charset="-127"/>
                        </a:rPr>
                        <a:t>within</a:t>
                      </a:r>
                      <a:r>
                        <a:rPr lang="da-DK" sz="1600" b="0" i="0" dirty="0">
                          <a:solidFill>
                            <a:schemeClr val="tx1">
                              <a:lumMod val="85000"/>
                              <a:lumOff val="15000"/>
                            </a:schemeClr>
                          </a:solidFill>
                          <a:latin typeface="Gulim" charset="-127"/>
                          <a:ea typeface="Gulim" charset="-127"/>
                          <a:cs typeface="Gulim" charset="-127"/>
                        </a:rPr>
                        <a:t> 6 </a:t>
                      </a:r>
                      <a:r>
                        <a:rPr lang="da-DK" sz="1600" b="0" i="0" dirty="0" err="1">
                          <a:solidFill>
                            <a:schemeClr val="tx1">
                              <a:lumMod val="85000"/>
                              <a:lumOff val="15000"/>
                            </a:schemeClr>
                          </a:solidFill>
                          <a:latin typeface="Gulim" charset="-127"/>
                          <a:ea typeface="Gulim" charset="-127"/>
                          <a:cs typeface="Gulim" charset="-127"/>
                        </a:rPr>
                        <a:t>months</a:t>
                      </a:r>
                      <a:r>
                        <a:rPr lang="da-DK" sz="1600" b="0" i="0" dirty="0">
                          <a:solidFill>
                            <a:schemeClr val="tx1">
                              <a:lumMod val="85000"/>
                              <a:lumOff val="15000"/>
                            </a:schemeClr>
                          </a:solidFill>
                          <a:latin typeface="Gulim" charset="-127"/>
                          <a:ea typeface="Gulim" charset="-127"/>
                          <a:cs typeface="Gulim" charset="-127"/>
                        </a:rPr>
                        <a:t>…</a:t>
                      </a:r>
                    </a:p>
                  </a:txBody>
                  <a:tcPr anchor="ctr">
                    <a:lnL>
                      <a:noFill/>
                    </a:lnL>
                    <a:lnR w="12700" cap="flat" cmpd="sng" algn="ctr">
                      <a:noFill/>
                      <a:prstDash val="solid"/>
                      <a:round/>
                      <a:headEnd type="none" w="med" len="med"/>
                      <a:tailEnd type="none" w="med" len="med"/>
                    </a:lnR>
                    <a:lnT>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hMerge="1">
                  <a:txBody>
                    <a:bodyPr/>
                    <a:lstStyle/>
                    <a:p>
                      <a:endParaRPr lang="da-DK"/>
                    </a:p>
                  </a:txBody>
                  <a:tcPr/>
                </a:tc>
                <a:tc hMerge="1">
                  <a:txBody>
                    <a:bodyPr/>
                    <a:lstStyle/>
                    <a:p>
                      <a:endParaRPr lang="da-DK"/>
                    </a:p>
                  </a:txBody>
                  <a:tcPr/>
                </a:tc>
                <a:tc gridSpan="4">
                  <a:txBody>
                    <a:bodyPr/>
                    <a:lstStyle/>
                    <a:p>
                      <a:pPr algn="ctr"/>
                      <a:r>
                        <a:rPr lang="da-DK" sz="1600" b="0" i="0" dirty="0">
                          <a:solidFill>
                            <a:schemeClr val="tx1">
                              <a:lumMod val="85000"/>
                              <a:lumOff val="15000"/>
                            </a:schemeClr>
                          </a:solidFill>
                          <a:latin typeface="Gulim" charset="-127"/>
                          <a:ea typeface="Gulim" charset="-127"/>
                          <a:cs typeface="Gulim" charset="-127"/>
                        </a:rPr>
                        <a:t>…</a:t>
                      </a:r>
                      <a:r>
                        <a:rPr lang="da-DK" sz="1600" b="0" i="0" dirty="0" err="1">
                          <a:solidFill>
                            <a:schemeClr val="tx1">
                              <a:lumMod val="85000"/>
                              <a:lumOff val="15000"/>
                            </a:schemeClr>
                          </a:solidFill>
                          <a:latin typeface="Gulim" charset="-127"/>
                          <a:ea typeface="Gulim" charset="-127"/>
                          <a:cs typeface="Gulim" charset="-127"/>
                        </a:rPr>
                        <a:t>within</a:t>
                      </a:r>
                      <a:r>
                        <a:rPr lang="da-DK" sz="1600" b="0" i="0" dirty="0">
                          <a:solidFill>
                            <a:schemeClr val="tx1">
                              <a:lumMod val="85000"/>
                              <a:lumOff val="15000"/>
                            </a:schemeClr>
                          </a:solidFill>
                          <a:latin typeface="Gulim" charset="-127"/>
                          <a:ea typeface="Gulim" charset="-127"/>
                          <a:cs typeface="Gulim" charset="-127"/>
                        </a:rPr>
                        <a:t> 12 </a:t>
                      </a:r>
                      <a:r>
                        <a:rPr lang="da-DK" sz="1600" b="0" i="0" dirty="0" err="1">
                          <a:solidFill>
                            <a:schemeClr val="tx1">
                              <a:lumMod val="85000"/>
                              <a:lumOff val="15000"/>
                            </a:schemeClr>
                          </a:solidFill>
                          <a:latin typeface="Gulim" charset="-127"/>
                          <a:ea typeface="Gulim" charset="-127"/>
                          <a:cs typeface="Gulim" charset="-127"/>
                        </a:rPr>
                        <a:t>months</a:t>
                      </a:r>
                      <a:r>
                        <a:rPr lang="da-DK" sz="1600" b="0" i="0" dirty="0">
                          <a:solidFill>
                            <a:schemeClr val="tx1">
                              <a:lumMod val="85000"/>
                              <a:lumOff val="15000"/>
                            </a:schemeClr>
                          </a:solidFill>
                          <a:latin typeface="Gulim" charset="-127"/>
                          <a:ea typeface="Gulim" charset="-127"/>
                          <a:cs typeface="Gulim" charset="-127"/>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hMerge="1">
                  <a:txBody>
                    <a:bodyPr/>
                    <a:lstStyle/>
                    <a:p>
                      <a:endParaRPr lang="da-DK"/>
                    </a:p>
                  </a:txBody>
                  <a:tcPr/>
                </a:tc>
                <a:tc hMerge="1">
                  <a:txBody>
                    <a:bodyPr/>
                    <a:lstStyle/>
                    <a:p>
                      <a:endParaRPr lang="da-DK"/>
                    </a:p>
                  </a:txBody>
                  <a:tcPr/>
                </a:tc>
                <a:tc gridSpan="4">
                  <a:txBody>
                    <a:bodyPr/>
                    <a:lstStyle/>
                    <a:p>
                      <a:pPr algn="ctr"/>
                      <a:r>
                        <a:rPr lang="da-DK" sz="1600" b="0" i="0" dirty="0">
                          <a:solidFill>
                            <a:schemeClr val="tx1">
                              <a:lumMod val="85000"/>
                              <a:lumOff val="15000"/>
                            </a:schemeClr>
                          </a:solidFill>
                          <a:latin typeface="Gulim" charset="-127"/>
                          <a:ea typeface="Gulim" charset="-127"/>
                          <a:cs typeface="Gulim" charset="-127"/>
                        </a:rPr>
                        <a:t>…</a:t>
                      </a:r>
                      <a:r>
                        <a:rPr lang="da-DK" sz="1600" b="0" i="0" dirty="0" err="1">
                          <a:solidFill>
                            <a:schemeClr val="tx1">
                              <a:lumMod val="85000"/>
                              <a:lumOff val="15000"/>
                            </a:schemeClr>
                          </a:solidFill>
                          <a:latin typeface="Gulim" charset="-127"/>
                          <a:ea typeface="Gulim" charset="-127"/>
                          <a:cs typeface="Gulim" charset="-127"/>
                        </a:rPr>
                        <a:t>within</a:t>
                      </a:r>
                      <a:r>
                        <a:rPr lang="da-DK" sz="1600" b="0" i="0" dirty="0">
                          <a:solidFill>
                            <a:schemeClr val="tx1">
                              <a:lumMod val="85000"/>
                              <a:lumOff val="15000"/>
                            </a:schemeClr>
                          </a:solidFill>
                          <a:latin typeface="Gulim" charset="-127"/>
                          <a:ea typeface="Gulim" charset="-127"/>
                          <a:cs typeface="Gulim" charset="-127"/>
                        </a:rPr>
                        <a:t> 18 </a:t>
                      </a:r>
                      <a:r>
                        <a:rPr lang="da-DK" sz="1600" b="0" i="0" dirty="0" err="1">
                          <a:solidFill>
                            <a:schemeClr val="tx1">
                              <a:lumMod val="85000"/>
                              <a:lumOff val="15000"/>
                            </a:schemeClr>
                          </a:solidFill>
                          <a:latin typeface="Gulim" charset="-127"/>
                          <a:ea typeface="Gulim" charset="-127"/>
                          <a:cs typeface="Gulim" charset="-127"/>
                        </a:rPr>
                        <a:t>months</a:t>
                      </a:r>
                      <a:r>
                        <a:rPr lang="da-DK" sz="1600" b="0" i="0" dirty="0">
                          <a:solidFill>
                            <a:schemeClr val="tx1">
                              <a:lumMod val="85000"/>
                              <a:lumOff val="15000"/>
                            </a:schemeClr>
                          </a:solidFill>
                          <a:latin typeface="Gulim" charset="-127"/>
                          <a:ea typeface="Gulim" charset="-127"/>
                          <a:cs typeface="Gulim" charset="-127"/>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hMerge="1">
                  <a:txBody>
                    <a:bodyPr/>
                    <a:lstStyle/>
                    <a:p>
                      <a:endParaRPr lang="da-DK"/>
                    </a:p>
                  </a:txBody>
                  <a:tcPr/>
                </a:tc>
                <a:tc hMerge="1">
                  <a:txBody>
                    <a:bodyPr/>
                    <a:lstStyle/>
                    <a:p>
                      <a:endParaRPr lang="da-DK"/>
                    </a:p>
                  </a:txBody>
                  <a:tcPr/>
                </a:tc>
                <a:tc gridSpan="4">
                  <a:txBody>
                    <a:bodyPr/>
                    <a:lstStyle/>
                    <a:p>
                      <a:pPr algn="ctr"/>
                      <a:r>
                        <a:rPr lang="da-DK" sz="1600" b="0" i="0" dirty="0">
                          <a:solidFill>
                            <a:schemeClr val="tx1">
                              <a:lumMod val="85000"/>
                              <a:lumOff val="15000"/>
                            </a:schemeClr>
                          </a:solidFill>
                          <a:latin typeface="Gulim" charset="-127"/>
                          <a:ea typeface="Gulim" charset="-127"/>
                          <a:cs typeface="Gulim" charset="-127"/>
                        </a:rPr>
                        <a:t>…</a:t>
                      </a:r>
                      <a:r>
                        <a:rPr lang="da-DK" sz="1600" b="0" i="0" dirty="0" err="1">
                          <a:solidFill>
                            <a:schemeClr val="tx1">
                              <a:lumMod val="85000"/>
                              <a:lumOff val="15000"/>
                            </a:schemeClr>
                          </a:solidFill>
                          <a:latin typeface="Gulim" charset="-127"/>
                          <a:ea typeface="Gulim" charset="-127"/>
                          <a:cs typeface="Gulim" charset="-127"/>
                        </a:rPr>
                        <a:t>within</a:t>
                      </a:r>
                      <a:r>
                        <a:rPr lang="da-DK" sz="1600" b="0" i="0" dirty="0">
                          <a:solidFill>
                            <a:schemeClr val="tx1">
                              <a:lumMod val="85000"/>
                              <a:lumOff val="15000"/>
                            </a:schemeClr>
                          </a:solidFill>
                          <a:latin typeface="Gulim" charset="-127"/>
                          <a:ea typeface="Gulim" charset="-127"/>
                          <a:cs typeface="Gulim" charset="-127"/>
                        </a:rPr>
                        <a:t> 24 </a:t>
                      </a:r>
                      <a:r>
                        <a:rPr lang="da-DK" sz="1600" b="0" i="0" dirty="0" err="1">
                          <a:solidFill>
                            <a:schemeClr val="tx1">
                              <a:lumMod val="85000"/>
                              <a:lumOff val="15000"/>
                            </a:schemeClr>
                          </a:solidFill>
                          <a:latin typeface="Gulim" charset="-127"/>
                          <a:ea typeface="Gulim" charset="-127"/>
                          <a:cs typeface="Gulim" charset="-127"/>
                        </a:rPr>
                        <a:t>months</a:t>
                      </a:r>
                      <a:r>
                        <a:rPr lang="da-DK" sz="1600" b="0" i="0" dirty="0">
                          <a:solidFill>
                            <a:schemeClr val="tx1">
                              <a:lumMod val="85000"/>
                              <a:lumOff val="15000"/>
                            </a:schemeClr>
                          </a:solidFill>
                          <a:latin typeface="Gulim" charset="-127"/>
                          <a:ea typeface="Gulim" charset="-127"/>
                          <a:cs typeface="Gulim" charset="-127"/>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val="10000"/>
                  </a:ext>
                </a:extLst>
              </a:tr>
              <a:tr h="179513">
                <a:tc>
                  <a:txBody>
                    <a:bodyPr/>
                    <a:lstStyle/>
                    <a:p>
                      <a:pPr algn="ctr"/>
                      <a:endParaRPr lang="da-DK" sz="100" b="0" i="0" dirty="0">
                        <a:latin typeface="Gulim" charset="-127"/>
                        <a:ea typeface="Gulim" charset="-127"/>
                        <a:cs typeface="Gulim" charset="-127"/>
                      </a:endParaRPr>
                    </a:p>
                  </a:txBody>
                  <a:tcPr anchor="ctr">
                    <a:lnL>
                      <a:noFill/>
                    </a:lnL>
                    <a:lnR w="3175"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da-DK" sz="1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a:noFill/>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0001"/>
                  </a:ext>
                </a:extLst>
              </a:tr>
              <a:tr h="374634">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3175"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gridSpan="4">
                  <a:txBody>
                    <a:bodyPr/>
                    <a:lstStyle/>
                    <a:p>
                      <a:pPr algn="ctr"/>
                      <a:r>
                        <a:rPr lang="da-DK" sz="1000" b="0" i="0" dirty="0" err="1">
                          <a:latin typeface="Gulim" charset="-127"/>
                          <a:ea typeface="Gulim" charset="-127"/>
                          <a:cs typeface="Gulim" charset="-127"/>
                        </a:rPr>
                        <a:t>Think</a:t>
                      </a:r>
                      <a:r>
                        <a:rPr lang="da-DK" sz="1000" b="0" i="0" dirty="0">
                          <a:latin typeface="Gulim" charset="-127"/>
                          <a:ea typeface="Gulim" charset="-127"/>
                          <a:cs typeface="Gulim" charset="-127"/>
                        </a:rPr>
                        <a:t>, </a:t>
                      </a:r>
                      <a:r>
                        <a:rPr lang="da-DK" sz="1000" b="0" i="0" dirty="0" err="1">
                          <a:latin typeface="Gulim" charset="-127"/>
                          <a:ea typeface="Gulim" charset="-127"/>
                          <a:cs typeface="Gulim" charset="-127"/>
                        </a:rPr>
                        <a:t>develop</a:t>
                      </a:r>
                      <a:r>
                        <a:rPr lang="da-DK" sz="1000" b="0" i="0" dirty="0">
                          <a:latin typeface="Gulim" charset="-127"/>
                          <a:ea typeface="Gulim" charset="-127"/>
                          <a:cs typeface="Gulim" charset="-127"/>
                        </a:rPr>
                        <a:t>, </a:t>
                      </a:r>
                      <a:r>
                        <a:rPr lang="da-DK" sz="1000" b="0" i="0" dirty="0" err="1">
                          <a:latin typeface="Gulim" charset="-127"/>
                          <a:ea typeface="Gulim" charset="-127"/>
                          <a:cs typeface="Gulim" charset="-127"/>
                        </a:rPr>
                        <a:t>market</a:t>
                      </a:r>
                      <a:endParaRPr lang="da-DK" sz="10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dash"/>
                      <a:round/>
                      <a:headEnd type="none" w="med" len="med"/>
                      <a:tailEnd type="none" w="med" len="med"/>
                    </a:lnR>
                    <a:solidFill>
                      <a:schemeClr val="accent1">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6350" cap="flat" cmpd="sng" algn="ctr">
                      <a:solidFill>
                        <a:schemeClr val="bg1">
                          <a:lumMod val="85000"/>
                        </a:schemeClr>
                      </a:solidFill>
                      <a:prstDash val="dash"/>
                      <a:round/>
                      <a:headEnd type="none" w="med" len="med"/>
                      <a:tailEnd type="none" w="med" len="med"/>
                    </a:lnL>
                    <a:lnR w="6350" cap="flat" cmpd="sng" algn="ctr">
                      <a:noFill/>
                      <a:prstDash val="dash"/>
                      <a:round/>
                      <a:headEnd type="none" w="med" len="med"/>
                      <a:tailEnd type="none" w="med" len="med"/>
                    </a:lnR>
                    <a:solidFill>
                      <a:schemeClr val="accent1">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a:noFill/>
                    </a:lnT>
                    <a:lnB>
                      <a:noFill/>
                    </a:lnB>
                    <a:solidFill>
                      <a:schemeClr val="accent1">
                        <a:lumMod val="20000"/>
                        <a:lumOff val="80000"/>
                      </a:schemeClr>
                    </a:solidFill>
                  </a:tcPr>
                </a:tc>
                <a:tc hMerge="1">
                  <a:txBody>
                    <a:bodyPr/>
                    <a:lstStyle/>
                    <a:p>
                      <a:endParaRPr lang="da-DK"/>
                    </a:p>
                  </a:txBody>
                  <a:tcPr/>
                </a:tc>
                <a:tc>
                  <a:txBody>
                    <a:bodyPr/>
                    <a:lstStyle/>
                    <a:p>
                      <a:pPr algn="ctr"/>
                      <a:endParaRPr lang="da-DK" sz="10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solidFill>
                      <a:schemeClr val="accent1">
                        <a:lumMod val="20000"/>
                        <a:lumOff val="80000"/>
                      </a:schemeClr>
                    </a:solidFill>
                  </a:tcPr>
                </a:tc>
                <a:tc>
                  <a:txBody>
                    <a:bodyPr/>
                    <a:lstStyle/>
                    <a:p>
                      <a:pPr algn="ctr"/>
                      <a:endParaRPr lang="da-DK" sz="1000" b="0" i="0" dirty="0">
                        <a:latin typeface="Gulim" charset="-127"/>
                        <a:ea typeface="Gulim" charset="-127"/>
                        <a:cs typeface="Gulim" charset="-127"/>
                      </a:endParaRPr>
                    </a:p>
                  </a:txBody>
                  <a:tcPr anchor="ctr">
                    <a:noFill/>
                  </a:tcPr>
                </a:tc>
                <a:tc>
                  <a:txBody>
                    <a:bodyPr/>
                    <a:lstStyle/>
                    <a:p>
                      <a:pPr algn="ctr"/>
                      <a:endParaRPr lang="da-DK" sz="1000" b="0" i="0" dirty="0">
                        <a:latin typeface="Gulim" charset="-127"/>
                        <a:ea typeface="Gulim" charset="-127"/>
                        <a:cs typeface="Gulim" charset="-127"/>
                      </a:endParaRPr>
                    </a:p>
                  </a:txBody>
                  <a:tcPr anchor="ctr">
                    <a:lnR w="6350" cap="flat" cmpd="sng" algn="ctr">
                      <a:no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tcPr>
                </a:tc>
                <a:tc>
                  <a:txBody>
                    <a:bodyPr/>
                    <a:lstStyle/>
                    <a:p>
                      <a:pPr algn="ctr"/>
                      <a:endParaRPr lang="da-DK" sz="1000" b="0" i="0" dirty="0">
                        <a:latin typeface="Gulim" charset="-127"/>
                        <a:ea typeface="Gulim" charset="-127"/>
                        <a:cs typeface="Gulim" charset="-127"/>
                      </a:endParaRPr>
                    </a:p>
                  </a:txBody>
                  <a:tcPr anchor="ctr"/>
                </a:tc>
                <a:tc>
                  <a:txBody>
                    <a:bodyPr/>
                    <a:lstStyle/>
                    <a:p>
                      <a:pPr algn="ctr"/>
                      <a:endParaRPr lang="da-DK" sz="1000" b="0" i="0" dirty="0">
                        <a:latin typeface="Gulim" charset="-127"/>
                        <a:ea typeface="Gulim" charset="-127"/>
                        <a:cs typeface="Gulim" charset="-127"/>
                      </a:endParaRPr>
                    </a:p>
                  </a:txBody>
                  <a:tcPr anchor="ctr">
                    <a:lnR w="6350" cap="flat" cmpd="sng" algn="ctr">
                      <a:no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tcPr>
                </a:tc>
                <a:tc>
                  <a:txBody>
                    <a:bodyPr/>
                    <a:lstStyle/>
                    <a:p>
                      <a:pPr algn="ctr"/>
                      <a:endParaRPr lang="da-DK" sz="1000" b="0" i="0" dirty="0">
                        <a:latin typeface="Gulim" charset="-127"/>
                        <a:ea typeface="Gulim" charset="-127"/>
                        <a:cs typeface="Gulim" charset="-127"/>
                      </a:endParaRPr>
                    </a:p>
                  </a:txBody>
                  <a:tcPr anchor="ctr"/>
                </a:tc>
                <a:tc>
                  <a:txBody>
                    <a:bodyPr/>
                    <a:lstStyle/>
                    <a:p>
                      <a:pPr algn="ctr"/>
                      <a:endParaRPr lang="da-DK" sz="1000" b="0" i="0" dirty="0">
                        <a:latin typeface="Gulim" charset="-127"/>
                        <a:ea typeface="Gulim" charset="-127"/>
                        <a:cs typeface="Gulim" charset="-127"/>
                      </a:endParaRPr>
                    </a:p>
                  </a:txBody>
                  <a:tcPr anchor="ctr">
                    <a:lnR w="6350" cap="flat" cmpd="sng" algn="ctr">
                      <a:no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tcPr>
                </a:tc>
                <a:extLst>
                  <a:ext uri="{0D108BD9-81ED-4DB2-BD59-A6C34878D82A}">
                    <a16:rowId xmlns:a16="http://schemas.microsoft.com/office/drawing/2014/main" val="10002"/>
                  </a:ext>
                </a:extLst>
              </a:tr>
              <a:tr h="187319">
                <a:tc>
                  <a:txBody>
                    <a:bodyPr/>
                    <a:lstStyle/>
                    <a:p>
                      <a:pPr algn="ctr"/>
                      <a:endParaRPr lang="da-DK" sz="100" b="0" i="0" dirty="0">
                        <a:latin typeface="Gulim" charset="-127"/>
                        <a:ea typeface="Gulim" charset="-127"/>
                        <a:cs typeface="Gulim" charset="-127"/>
                      </a:endParaRPr>
                    </a:p>
                  </a:txBody>
                  <a:tcPr anchor="ctr">
                    <a:lnL>
                      <a:noFill/>
                    </a:lnL>
                    <a:lnR w="3175" cap="flat" cmpd="sng" algn="ctr">
                      <a:solidFill>
                        <a:schemeClr val="bg1">
                          <a:lumMod val="75000"/>
                        </a:schemeClr>
                      </a:solidFill>
                      <a:prstDash val="solid"/>
                      <a:round/>
                      <a:headEnd type="none" w="med" len="med"/>
                      <a:tailEnd type="none" w="med" len="med"/>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algn="ctr"/>
                      <a:endParaRPr lang="da-DK" sz="100" b="0" i="0" dirty="0">
                        <a:latin typeface="Gulim" charset="-127"/>
                        <a:ea typeface="Gulim" charset="-127"/>
                        <a:cs typeface="Gulim" charset="-127"/>
                      </a:endParaRPr>
                    </a:p>
                    <a:p>
                      <a:pPr algn="ctr"/>
                      <a:endParaRPr lang="da-DK" sz="1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a:noFill/>
                    </a:lnT>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extLst>
                  <a:ext uri="{0D108BD9-81ED-4DB2-BD59-A6C34878D82A}">
                    <a16:rowId xmlns:a16="http://schemas.microsoft.com/office/drawing/2014/main" val="10003"/>
                  </a:ext>
                </a:extLst>
              </a:tr>
              <a:tr h="179513">
                <a:tc>
                  <a:txBody>
                    <a:bodyPr/>
                    <a:lstStyle/>
                    <a:p>
                      <a:pPr algn="ctr"/>
                      <a:endParaRPr lang="da-DK" sz="100" b="0" i="0" dirty="0">
                        <a:latin typeface="Gulim" charset="-127"/>
                        <a:ea typeface="Gulim" charset="-127"/>
                        <a:cs typeface="Gulim" charset="-127"/>
                      </a:endParaRPr>
                    </a:p>
                  </a:txBody>
                  <a:tcPr anchor="ctr">
                    <a:lnL>
                      <a:noFill/>
                    </a:lnL>
                    <a:lnR w="3175" cap="flat" cmpd="sng" algn="ctr">
                      <a:solidFill>
                        <a:schemeClr val="bg1">
                          <a:lumMod val="75000"/>
                        </a:schemeClr>
                      </a:solidFill>
                      <a:prstDash val="solid"/>
                      <a:round/>
                      <a:headEnd type="none" w="med" len="med"/>
                      <a:tailEnd type="none" w="med" len="med"/>
                    </a:lnR>
                    <a:lnT w="12700" cap="flat" cmpd="sng" algn="ctr">
                      <a:noFill/>
                      <a:prstDash val="sys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da-DK" sz="1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ysDash"/>
                      <a:round/>
                      <a:headEnd type="none" w="med" len="med"/>
                      <a:tailEnd type="none" w="med" len="med"/>
                    </a:lnT>
                    <a:lnB w="6350" cap="flat" cmpd="sng" algn="ctr">
                      <a:noFill/>
                      <a:prstDash val="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ysDash"/>
                      <a:round/>
                      <a:headEnd type="none" w="med" len="med"/>
                      <a:tailEnd type="none" w="med" len="med"/>
                    </a:lnT>
                    <a:lnB w="6350" cap="flat" cmpd="sng" algn="ctr">
                      <a:noFill/>
                      <a:prstDash val="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6350" cap="flat" cmpd="sng" algn="ctr">
                      <a:noFill/>
                      <a:prstDash val="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952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6350" cap="flat" cmpd="sng" algn="ctr">
                      <a:noFill/>
                      <a:prstDash val="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9525" cap="flat" cmpd="sng" algn="ctr">
                      <a:solidFill>
                        <a:schemeClr val="bg1">
                          <a:lumMod val="85000"/>
                        </a:schemeClr>
                      </a:solidFill>
                      <a:prstDash val="sysDash"/>
                      <a:round/>
                      <a:headEnd type="none" w="med" len="med"/>
                      <a:tailEnd type="none" w="med" len="med"/>
                    </a:lnL>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extLst>
                  <a:ext uri="{0D108BD9-81ED-4DB2-BD59-A6C34878D82A}">
                    <a16:rowId xmlns:a16="http://schemas.microsoft.com/office/drawing/2014/main" val="10004"/>
                  </a:ext>
                </a:extLst>
              </a:tr>
              <a:tr h="374634">
                <a:tc>
                  <a:txBody>
                    <a:bodyPr/>
                    <a:lstStyle/>
                    <a:p>
                      <a:pPr algn="ctr"/>
                      <a:endParaRPr lang="da-DK" sz="10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da-DK" sz="1000" b="0" i="0" dirty="0">
                        <a:latin typeface="Gulim" charset="-127"/>
                        <a:ea typeface="Gulim" charset="-127"/>
                        <a:cs typeface="Gulim" charset="-127"/>
                      </a:endParaRPr>
                    </a:p>
                  </a:txBody>
                  <a:tcPr anchor="ctr">
                    <a:lnL w="6350" cap="flat" cmpd="sng" algn="ctr">
                      <a:solidFill>
                        <a:schemeClr val="bg1">
                          <a:lumMod val="85000"/>
                        </a:schemeClr>
                      </a:solidFill>
                      <a:prstDash val="solid"/>
                      <a:round/>
                      <a:headEnd type="none" w="med" len="med"/>
                      <a:tailEnd type="none" w="med" len="med"/>
                    </a:lnL>
                    <a:lnR w="28575" cap="flat" cmpd="sng" algn="ctr">
                      <a:noFill/>
                      <a:prstDash val="lg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noFill/>
                  </a:tcPr>
                </a:tc>
                <a:tc>
                  <a:txBody>
                    <a:bodyPr/>
                    <a:lstStyle/>
                    <a:p>
                      <a:pPr algn="ctr"/>
                      <a:endParaRPr lang="da-DK" sz="1000" b="0" i="0" dirty="0">
                        <a:latin typeface="Gulim" charset="-127"/>
                        <a:ea typeface="Gulim" charset="-127"/>
                        <a:cs typeface="Gulim" charset="-127"/>
                      </a:endParaRPr>
                    </a:p>
                  </a:txBody>
                  <a:tcPr anchor="ctr">
                    <a:lnL w="3175" cap="flat" cmpd="sng" algn="ctr">
                      <a:noFill/>
                      <a:prstDash val="solid"/>
                      <a:round/>
                      <a:headEnd type="none" w="med" len="med"/>
                      <a:tailEnd type="none" w="med" len="med"/>
                    </a:lnL>
                    <a:lnR w="28575" cap="flat" cmpd="sng" algn="ctr">
                      <a:noFill/>
                      <a:prstDash val="lg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noFill/>
                  </a:tcPr>
                </a:tc>
                <a:tc>
                  <a:txBody>
                    <a:bodyPr/>
                    <a:lstStyle/>
                    <a:p>
                      <a:pPr algn="ctr"/>
                      <a:endParaRPr lang="da-DK" sz="1000" b="0" i="0" dirty="0">
                        <a:latin typeface="Gulim" charset="-127"/>
                        <a:ea typeface="Gulim" charset="-127"/>
                        <a:cs typeface="Gulim" charset="-127"/>
                      </a:endParaRPr>
                    </a:p>
                  </a:txBody>
                  <a:tcPr anchor="ctr">
                    <a:lnL w="3175" cap="flat" cmpd="sng" algn="ctr">
                      <a:noFill/>
                      <a:prstDash val="solid"/>
                      <a:round/>
                      <a:headEnd type="none" w="med" len="med"/>
                      <a:tailEnd type="none" w="med" len="med"/>
                    </a:lnL>
                    <a:lnR w="28575" cap="flat" cmpd="sng" algn="ctr">
                      <a:noFill/>
                      <a:prstDash val="lg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noFill/>
                  </a:tcPr>
                </a:tc>
                <a:tc>
                  <a:txBody>
                    <a:bodyPr/>
                    <a:lstStyle/>
                    <a:p>
                      <a:pPr algn="ctr"/>
                      <a:endParaRPr lang="da-DK" sz="1000" b="0" i="0" dirty="0">
                        <a:latin typeface="Gulim" charset="-127"/>
                        <a:ea typeface="Gulim" charset="-127"/>
                        <a:cs typeface="Gulim" charset="-127"/>
                      </a:endParaRPr>
                    </a:p>
                  </a:txBody>
                  <a:tcPr anchor="ctr">
                    <a:lnL w="3175" cap="flat" cmpd="sng" algn="ctr">
                      <a:noFill/>
                      <a:prstDash val="solid"/>
                      <a:round/>
                      <a:headEnd type="none" w="med" len="med"/>
                      <a:tailEnd type="none" w="med" len="med"/>
                    </a:lnL>
                    <a:lnR w="9525" cap="flat" cmpd="sng" algn="ctr">
                      <a:solidFill>
                        <a:schemeClr val="bg1">
                          <a:lumMod val="85000"/>
                        </a:schemeClr>
                      </a:solidFill>
                      <a:prstDash val="sys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noFill/>
                  </a:tcPr>
                </a:tc>
                <a:tc gridSpan="6">
                  <a:txBody>
                    <a:bodyPr/>
                    <a:lstStyle/>
                    <a:p>
                      <a:pPr algn="ctr"/>
                      <a:r>
                        <a:rPr lang="da-DK" sz="1000" b="0" i="0" dirty="0" err="1">
                          <a:latin typeface="Gulim" charset="-127"/>
                          <a:ea typeface="Gulim" charset="-127"/>
                          <a:cs typeface="Gulim" charset="-127"/>
                        </a:rPr>
                        <a:t>Launch</a:t>
                      </a:r>
                      <a:r>
                        <a:rPr lang="da-DK" sz="1000" b="0" i="0" dirty="0">
                          <a:latin typeface="Gulim" charset="-127"/>
                          <a:ea typeface="Gulim" charset="-127"/>
                          <a:cs typeface="Gulim" charset="-127"/>
                        </a:rPr>
                        <a:t>, </a:t>
                      </a:r>
                      <a:r>
                        <a:rPr lang="da-DK" sz="1000" b="0" i="0" dirty="0" err="1">
                          <a:latin typeface="Gulim" charset="-127"/>
                          <a:ea typeface="Gulim" charset="-127"/>
                          <a:cs typeface="Gulim" charset="-127"/>
                        </a:rPr>
                        <a:t>learn</a:t>
                      </a:r>
                      <a:r>
                        <a:rPr lang="da-DK" sz="1000" b="0" i="0" dirty="0">
                          <a:latin typeface="Gulim" charset="-127"/>
                          <a:ea typeface="Gulim" charset="-127"/>
                          <a:cs typeface="Gulim" charset="-127"/>
                        </a:rPr>
                        <a:t>, </a:t>
                      </a:r>
                      <a:r>
                        <a:rPr lang="da-DK" sz="1000" b="0" i="0" dirty="0" err="1">
                          <a:latin typeface="Gulim" charset="-127"/>
                          <a:ea typeface="Gulim" charset="-127"/>
                          <a:cs typeface="Gulim" charset="-127"/>
                        </a:rPr>
                        <a:t>grow</a:t>
                      </a:r>
                      <a:endParaRPr lang="da-DK" sz="1000" b="0" i="0" dirty="0">
                        <a:latin typeface="Gulim" charset="-127"/>
                        <a:ea typeface="Gulim" charset="-127"/>
                        <a:cs typeface="Gulim" charset="-127"/>
                      </a:endParaRPr>
                    </a:p>
                  </a:txBody>
                  <a:tcPr anchor="ctr">
                    <a:lnL w="9525" cap="flat" cmpd="sng" algn="ctr">
                      <a:solidFill>
                        <a:schemeClr val="bg1">
                          <a:lumMod val="85000"/>
                        </a:schemeClr>
                      </a:solidFill>
                      <a:prstDash val="sysDash"/>
                      <a:round/>
                      <a:headEnd type="none" w="med" len="med"/>
                      <a:tailEnd type="none" w="med" len="med"/>
                    </a:lnL>
                    <a:lnB w="6350" cap="flat" cmpd="sng" algn="ctr">
                      <a:noFill/>
                      <a:prstDash val="dash"/>
                      <a:round/>
                      <a:headEnd type="none" w="med" len="med"/>
                      <a:tailEnd type="none" w="med" len="med"/>
                    </a:lnB>
                    <a:solidFill>
                      <a:schemeClr val="bg2">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3175" cap="flat" cmpd="sng" algn="ctr">
                      <a:noFill/>
                      <a:prstDash val="solid"/>
                      <a:round/>
                      <a:headEnd type="none" w="med" len="med"/>
                      <a:tailEnd type="none" w="med" len="med"/>
                    </a:lnL>
                    <a:lnR w="28575" cap="flat" cmpd="sng" algn="ctr">
                      <a:noFill/>
                      <a:prstDash val="lgDash"/>
                      <a:round/>
                      <a:headEnd type="none" w="med" len="med"/>
                      <a:tailEnd type="none" w="med" len="med"/>
                    </a:lnR>
                    <a:lnB w="6350" cap="flat" cmpd="sng" algn="ctr">
                      <a:noFill/>
                      <a:prstDash val="dash"/>
                      <a:round/>
                      <a:headEnd type="none" w="med" len="med"/>
                      <a:tailEnd type="none" w="med" len="med"/>
                    </a:lnB>
                    <a:solidFill>
                      <a:schemeClr val="bg2">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28575" cap="flat" cmpd="sng" algn="ctr">
                      <a:noFill/>
                      <a:prstDash val="lgDash"/>
                      <a:round/>
                      <a:headEnd type="none" w="med" len="med"/>
                      <a:tailEnd type="none" w="med" len="med"/>
                    </a:lnL>
                    <a:lnR w="6350" cap="flat" cmpd="sng" algn="ctr">
                      <a:noFill/>
                      <a:prstDash val="dash"/>
                      <a:round/>
                      <a:headEnd type="none" w="med" len="med"/>
                      <a:tailEnd type="none" w="med" len="med"/>
                    </a:lnR>
                    <a:solidFill>
                      <a:schemeClr val="bg2">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solidFill>
                      <a:schemeClr val="bg2">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6350" cap="flat" cmpd="sng" algn="ctr">
                      <a:solidFill>
                        <a:schemeClr val="bg1">
                          <a:lumMod val="85000"/>
                        </a:schemeClr>
                      </a:solidFill>
                      <a:prstDash val="dash"/>
                      <a:round/>
                      <a:headEnd type="none" w="med" len="med"/>
                      <a:tailEnd type="none" w="med" len="med"/>
                    </a:lnL>
                    <a:solidFill>
                      <a:schemeClr val="bg2">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solidFill>
                      <a:schemeClr val="bg2">
                        <a:lumMod val="20000"/>
                        <a:lumOff val="80000"/>
                      </a:schemeClr>
                    </a:solidFill>
                  </a:tcPr>
                </a:tc>
                <a:tc>
                  <a:txBody>
                    <a:bodyPr/>
                    <a:lstStyle/>
                    <a:p>
                      <a:pPr algn="ctr"/>
                      <a:endParaRPr lang="da-DK" sz="1000" b="0" i="0" dirty="0">
                        <a:latin typeface="Gulim" charset="-127"/>
                        <a:ea typeface="Gulim" charset="-127"/>
                        <a:cs typeface="Gulim" charset="-127"/>
                      </a:endParaRPr>
                    </a:p>
                  </a:txBody>
                  <a:tcPr anchor="ctr">
                    <a:lnR w="6350" cap="flat" cmpd="sng" algn="ctr">
                      <a:no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tcPr>
                </a:tc>
                <a:tc>
                  <a:txBody>
                    <a:bodyPr/>
                    <a:lstStyle/>
                    <a:p>
                      <a:pPr algn="ctr"/>
                      <a:endParaRPr lang="da-DK" sz="1000" b="0" i="0" dirty="0">
                        <a:latin typeface="Gulim" charset="-127"/>
                        <a:ea typeface="Gulim" charset="-127"/>
                        <a:cs typeface="Gulim" charset="-127"/>
                      </a:endParaRPr>
                    </a:p>
                  </a:txBody>
                  <a:tcPr anchor="ctr"/>
                </a:tc>
                <a:tc>
                  <a:txBody>
                    <a:bodyPr/>
                    <a:lstStyle/>
                    <a:p>
                      <a:pPr algn="ctr"/>
                      <a:endParaRPr lang="da-DK" sz="1000" b="0" i="0" dirty="0">
                        <a:latin typeface="Gulim" charset="-127"/>
                        <a:ea typeface="Gulim" charset="-127"/>
                        <a:cs typeface="Gulim" charset="-127"/>
                      </a:endParaRPr>
                    </a:p>
                  </a:txBody>
                  <a:tcPr anchor="ctr">
                    <a:lnR w="6350" cap="flat" cmpd="sng" algn="ctr">
                      <a:noFill/>
                      <a:prstDash val="dash"/>
                      <a:round/>
                      <a:headEnd type="none" w="med" len="med"/>
                      <a:tailEnd type="none" w="med" len="med"/>
                    </a:lnR>
                  </a:tcPr>
                </a:tc>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tcPr>
                </a:tc>
                <a:extLst>
                  <a:ext uri="{0D108BD9-81ED-4DB2-BD59-A6C34878D82A}">
                    <a16:rowId xmlns:a16="http://schemas.microsoft.com/office/drawing/2014/main" val="10005"/>
                  </a:ext>
                </a:extLst>
              </a:tr>
              <a:tr h="179513">
                <a:tc>
                  <a:txBody>
                    <a:bodyPr/>
                    <a:lstStyle/>
                    <a:p>
                      <a:pPr algn="ctr"/>
                      <a:endParaRPr lang="da-DK" sz="100" b="0" i="0" dirty="0">
                        <a:latin typeface="Gulim" charset="-127"/>
                        <a:ea typeface="Gulim" charset="-127"/>
                        <a:cs typeface="Gulim" charset="-127"/>
                      </a:endParaRPr>
                    </a:p>
                  </a:txBody>
                  <a:tcPr anchor="ctr">
                    <a:lnL>
                      <a:noFill/>
                    </a:lnL>
                    <a:lnR w="3175" cap="flat" cmpd="sng" algn="ctr">
                      <a:solidFill>
                        <a:schemeClr val="bg1">
                          <a:lumMod val="75000"/>
                        </a:schemeClr>
                      </a:solidFill>
                      <a:prstDash val="solid"/>
                      <a:round/>
                      <a:headEnd type="none" w="med" len="med"/>
                      <a:tailEnd type="none" w="med" len="med"/>
                    </a:lnR>
                    <a:lnT w="6350" cap="flat" cmpd="sng" algn="ctr">
                      <a:noFill/>
                      <a:prstDash val="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algn="ctr"/>
                      <a:endParaRPr lang="da-DK" sz="1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lnT w="6350" cap="flat" cmpd="sng" algn="ctr">
                      <a:noFill/>
                      <a:prstDash val="dash"/>
                      <a:round/>
                      <a:headEnd type="none" w="med" len="med"/>
                      <a:tailEnd type="none" w="med" len="med"/>
                    </a:lnT>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T w="6350" cap="flat" cmpd="sng" algn="ctr">
                      <a:noFill/>
                      <a:prstDash val="dash"/>
                      <a:round/>
                      <a:headEnd type="none" w="med" len="med"/>
                      <a:tailEnd type="none" w="med" len="med"/>
                    </a:lnT>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6350" cap="flat" cmpd="sng" algn="ctr">
                      <a:noFill/>
                      <a:prstDash val="dash"/>
                      <a:round/>
                      <a:headEnd type="none" w="med" len="med"/>
                      <a:tailEnd type="none" w="med" len="med"/>
                    </a:lnT>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9525" cap="flat" cmpd="sng" algn="ctr">
                      <a:solidFill>
                        <a:schemeClr val="bg1">
                          <a:lumMod val="85000"/>
                        </a:schemeClr>
                      </a:solidFill>
                      <a:prstDash val="sysDash"/>
                      <a:round/>
                      <a:headEnd type="none" w="med" len="med"/>
                      <a:tailEnd type="none" w="med" len="med"/>
                    </a:lnR>
                    <a:lnT w="6350" cap="flat" cmpd="sng" algn="ctr">
                      <a:noFill/>
                      <a:prstDash val="dash"/>
                      <a:round/>
                      <a:headEnd type="none" w="med" len="med"/>
                      <a:tailEnd type="none" w="med" len="med"/>
                    </a:lnT>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9525" cap="flat" cmpd="sng" algn="ctr">
                      <a:solidFill>
                        <a:schemeClr val="bg1">
                          <a:lumMod val="85000"/>
                        </a:schemeClr>
                      </a:solidFill>
                      <a:prstDash val="sysDash"/>
                      <a:round/>
                      <a:headEnd type="none" w="med" len="med"/>
                      <a:tailEnd type="none" w="med" len="med"/>
                    </a:lnL>
                    <a:lnR w="28575" cap="flat" cmpd="sng" algn="ctr">
                      <a:noFill/>
                      <a:prstDash val="lgDash"/>
                      <a:round/>
                      <a:headEnd type="none" w="med" len="med"/>
                      <a:tailEnd type="none" w="med" len="med"/>
                    </a:lnR>
                    <a:lnT>
                      <a:noFill/>
                    </a:lnT>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28575" cap="flat" cmpd="sng" algn="ctr">
                      <a:noFill/>
                      <a:prstDash val="lgDash"/>
                      <a:round/>
                      <a:headEnd type="none" w="med" len="med"/>
                      <a:tailEnd type="none" w="med" len="med"/>
                    </a:lnR>
                    <a:lnT>
                      <a:noFill/>
                    </a:lnT>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extLst>
                  <a:ext uri="{0D108BD9-81ED-4DB2-BD59-A6C34878D82A}">
                    <a16:rowId xmlns:a16="http://schemas.microsoft.com/office/drawing/2014/main" val="10006"/>
                  </a:ext>
                </a:extLst>
              </a:tr>
              <a:tr h="179513">
                <a:tc>
                  <a:txBody>
                    <a:bodyPr/>
                    <a:lstStyle/>
                    <a:p>
                      <a:pPr algn="ctr"/>
                      <a:endParaRPr lang="da-DK" sz="100" b="0" i="0" dirty="0">
                        <a:latin typeface="Gulim" charset="-127"/>
                        <a:ea typeface="Gulim" charset="-127"/>
                        <a:cs typeface="Gulim" charset="-127"/>
                      </a:endParaRPr>
                    </a:p>
                  </a:txBody>
                  <a:tcPr anchor="ctr">
                    <a:lnL>
                      <a:noFill/>
                    </a:lnL>
                    <a:lnR w="3175" cap="flat" cmpd="sng" algn="ctr">
                      <a:solidFill>
                        <a:schemeClr val="bg1">
                          <a:lumMod val="75000"/>
                        </a:schemeClr>
                      </a:solidFill>
                      <a:prstDash val="solid"/>
                      <a:round/>
                      <a:headEnd type="none" w="med" len="med"/>
                      <a:tailEnd type="none" w="med" len="med"/>
                    </a:lnR>
                    <a:lnT w="12700" cap="flat" cmpd="sng" algn="ctr">
                      <a:noFill/>
                      <a:prstDash val="sysDash"/>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da-DK" sz="1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R w="28575" cap="flat" cmpd="sng" algn="ctr">
                      <a:noFill/>
                      <a:prstDash val="lg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28575" cap="flat" cmpd="sng" algn="ctr">
                      <a:noFill/>
                      <a:prstDash val="lg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tcPr>
                </a:tc>
                <a:extLst>
                  <a:ext uri="{0D108BD9-81ED-4DB2-BD59-A6C34878D82A}">
                    <a16:rowId xmlns:a16="http://schemas.microsoft.com/office/drawing/2014/main" val="10007"/>
                  </a:ext>
                </a:extLst>
              </a:tr>
              <a:tr h="374634">
                <a:tc>
                  <a:txBody>
                    <a:bodyPr/>
                    <a:lstStyle/>
                    <a:p>
                      <a:pPr algn="ctr"/>
                      <a:endParaRPr lang="da-DK" sz="1000" b="0" i="0" dirty="0">
                        <a:latin typeface="Gulim" charset="-127"/>
                        <a:ea typeface="Gulim" charset="-127"/>
                        <a:cs typeface="Gulim" charset="-127"/>
                      </a:endParaRPr>
                    </a:p>
                  </a:txBody>
                  <a:tcPr anchor="ctr">
                    <a:lnL>
                      <a:noFill/>
                    </a:lnL>
                    <a:lnR w="3175"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endParaRPr lang="da-DK" sz="10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noFill/>
                  </a:tcPr>
                </a:tc>
                <a:tc>
                  <a:txBody>
                    <a:bodyPr/>
                    <a:lstStyle/>
                    <a:p>
                      <a:pPr algn="ctr"/>
                      <a:endParaRPr lang="da-DK" sz="1000" b="0" i="0" dirty="0">
                        <a:latin typeface="Gulim" charset="-127"/>
                        <a:ea typeface="Gulim" charset="-127"/>
                        <a:cs typeface="Gulim" charset="-127"/>
                      </a:endParaRPr>
                    </a:p>
                  </a:txBody>
                  <a:tcPr anchor="ctr">
                    <a:noFill/>
                  </a:tcPr>
                </a:tc>
                <a:tc>
                  <a:txBody>
                    <a:bodyPr/>
                    <a:lstStyle/>
                    <a:p>
                      <a:pPr algn="ctr"/>
                      <a:endParaRPr lang="da-DK" sz="1000" b="0" i="0" dirty="0">
                        <a:latin typeface="Gulim" charset="-127"/>
                        <a:ea typeface="Gulim" charset="-127"/>
                        <a:cs typeface="Gulim" charset="-127"/>
                      </a:endParaRPr>
                    </a:p>
                  </a:txBody>
                  <a:tcPr anchor="ctr">
                    <a:lnR w="6350" cap="flat" cmpd="sng" algn="ctr">
                      <a:noFill/>
                      <a:prstDash val="dash"/>
                      <a:round/>
                      <a:headEnd type="none" w="med" len="med"/>
                      <a:tailEnd type="none" w="med" len="med"/>
                    </a:lnR>
                    <a:noFill/>
                  </a:tcPr>
                </a:tc>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noFill/>
                  </a:tcPr>
                </a:tc>
                <a:tc>
                  <a:txBody>
                    <a:bodyPr/>
                    <a:lstStyle/>
                    <a:p>
                      <a:pPr algn="ctr"/>
                      <a:endParaRPr lang="da-DK" sz="10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R w="28575" cap="flat" cmpd="sng" algn="ctr">
                      <a:noFill/>
                      <a:prstDash val="lgDash"/>
                      <a:round/>
                      <a:headEnd type="none" w="med" len="med"/>
                      <a:tailEnd type="none" w="med" len="med"/>
                    </a:lnR>
                    <a:noFill/>
                  </a:tcPr>
                </a:tc>
                <a:tc>
                  <a:txBody>
                    <a:bodyPr/>
                    <a:lstStyle/>
                    <a:p>
                      <a:pPr algn="ctr"/>
                      <a:endParaRPr lang="da-DK" sz="10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28575" cap="flat" cmpd="sng" algn="ctr">
                      <a:noFill/>
                      <a:prstDash val="lgDash"/>
                      <a:round/>
                      <a:headEnd type="none" w="med" len="med"/>
                      <a:tailEnd type="none" w="med" len="med"/>
                    </a:lnR>
                    <a:noFill/>
                  </a:tcPr>
                </a:tc>
                <a:tc>
                  <a:txBody>
                    <a:bodyPr/>
                    <a:lstStyle/>
                    <a:p>
                      <a:pPr algn="ctr"/>
                      <a:endParaRPr lang="da-DK" sz="10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6350" cap="flat" cmpd="sng" algn="ctr">
                      <a:noFill/>
                      <a:prstDash val="dash"/>
                      <a:round/>
                      <a:headEnd type="none" w="med" len="med"/>
                      <a:tailEnd type="none" w="med" len="med"/>
                    </a:lnR>
                    <a:noFill/>
                  </a:tcPr>
                </a:tc>
                <a:tc>
                  <a:txBody>
                    <a:bodyPr/>
                    <a:lstStyle/>
                    <a:p>
                      <a:pPr algn="ctr"/>
                      <a:endParaRPr lang="da-DK" sz="10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tcPr>
                </a:tc>
                <a:tc gridSpan="8">
                  <a:txBody>
                    <a:bodyPr/>
                    <a:lstStyle/>
                    <a:p>
                      <a:pPr algn="ctr"/>
                      <a:r>
                        <a:rPr lang="da-DK" sz="1000" b="0" i="0" dirty="0" err="1">
                          <a:latin typeface="Gulim" charset="-127"/>
                          <a:ea typeface="Gulim" charset="-127"/>
                          <a:cs typeface="Gulim" charset="-127"/>
                        </a:rPr>
                        <a:t>Scale</a:t>
                      </a:r>
                      <a:r>
                        <a:rPr lang="da-DK" sz="1000" b="0" i="0" dirty="0">
                          <a:latin typeface="Gulim" charset="-127"/>
                          <a:ea typeface="Gulim" charset="-127"/>
                          <a:cs typeface="Gulim" charset="-127"/>
                        </a:rPr>
                        <a:t>, </a:t>
                      </a:r>
                      <a:r>
                        <a:rPr lang="da-DK" sz="1000" b="0" i="0" dirty="0" err="1">
                          <a:latin typeface="Gulim" charset="-127"/>
                          <a:ea typeface="Gulim" charset="-127"/>
                          <a:cs typeface="Gulim" charset="-127"/>
                        </a:rPr>
                        <a:t>expand</a:t>
                      </a:r>
                      <a:r>
                        <a:rPr lang="da-DK" sz="1000" b="0" i="0" dirty="0">
                          <a:latin typeface="Gulim" charset="-127"/>
                          <a:ea typeface="Gulim" charset="-127"/>
                          <a:cs typeface="Gulim" charset="-127"/>
                        </a:rPr>
                        <a:t> &amp; monitor</a:t>
                      </a:r>
                    </a:p>
                  </a:txBody>
                  <a:tcPr anchor="ct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solidFill>
                      <a:schemeClr val="accent6">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solidFill>
                      <a:schemeClr val="accent6">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R w="6350" cap="flat" cmpd="sng" algn="ctr">
                      <a:noFill/>
                      <a:prstDash val="dash"/>
                      <a:round/>
                      <a:headEnd type="none" w="med" len="med"/>
                      <a:tailEnd type="none" w="med" len="med"/>
                    </a:lnR>
                    <a:solidFill>
                      <a:schemeClr val="accent6">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solidFill>
                      <a:schemeClr val="accent6">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6350" cap="flat" cmpd="sng" algn="ctr">
                      <a:solidFill>
                        <a:schemeClr val="bg1">
                          <a:lumMod val="85000"/>
                        </a:schemeClr>
                      </a:solidFill>
                      <a:prstDash val="dash"/>
                      <a:round/>
                      <a:headEnd type="none" w="med" len="med"/>
                      <a:tailEnd type="none" w="med" len="med"/>
                    </a:lnL>
                    <a:solidFill>
                      <a:schemeClr val="accent6">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solidFill>
                      <a:schemeClr val="accent6">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R w="6350" cap="flat" cmpd="sng" algn="ctr">
                      <a:noFill/>
                      <a:prstDash val="dash"/>
                      <a:round/>
                      <a:headEnd type="none" w="med" len="med"/>
                      <a:tailEnd type="none" w="med" len="med"/>
                    </a:lnR>
                    <a:solidFill>
                      <a:schemeClr val="accent6">
                        <a:lumMod val="20000"/>
                        <a:lumOff val="80000"/>
                      </a:schemeClr>
                    </a:solidFill>
                  </a:tcPr>
                </a:tc>
                <a:tc hMerge="1">
                  <a:txBody>
                    <a:bodyPr/>
                    <a:lstStyle/>
                    <a:p>
                      <a:pPr algn="ctr"/>
                      <a:endParaRPr lang="da-DK" sz="1000" b="0" i="0" dirty="0">
                        <a:latin typeface="Gill Sans Light" charset="0"/>
                        <a:ea typeface="Gill Sans Light" charset="0"/>
                        <a:cs typeface="Gill Sans Light" charset="0"/>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10008"/>
                  </a:ext>
                </a:extLst>
              </a:tr>
              <a:tr h="179513">
                <a:tc>
                  <a:txBody>
                    <a:bodyPr/>
                    <a:lstStyle/>
                    <a:p>
                      <a:pPr algn="ctr"/>
                      <a:endParaRPr lang="da-DK" sz="100" b="0" i="0" dirty="0">
                        <a:latin typeface="Gulim" charset="-127"/>
                        <a:ea typeface="Gulim" charset="-127"/>
                        <a:cs typeface="Gulim" charset="-127"/>
                      </a:endParaRPr>
                    </a:p>
                  </a:txBody>
                  <a:tcPr anchor="ctr">
                    <a:lnL>
                      <a:noFill/>
                    </a:lnL>
                    <a:lnR w="3175" cap="flat" cmpd="sng" algn="ctr">
                      <a:solidFill>
                        <a:schemeClr val="bg1">
                          <a:lumMod val="75000"/>
                        </a:schemeClr>
                      </a:solidFill>
                      <a:prstDash val="solid"/>
                      <a:round/>
                      <a:headEnd type="none" w="med" len="med"/>
                      <a:tailEnd type="none" w="med" len="med"/>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tcPr>
                </a:tc>
                <a:tc>
                  <a:txBody>
                    <a:bodyPr/>
                    <a:lstStyle/>
                    <a:p>
                      <a:pPr algn="ctr"/>
                      <a:endParaRPr lang="da-DK" sz="100" b="0" i="0" dirty="0">
                        <a:latin typeface="Gulim" charset="-127"/>
                        <a:ea typeface="Gulim" charset="-127"/>
                        <a:cs typeface="Gulim" charset="-127"/>
                      </a:endParaRPr>
                    </a:p>
                  </a:txBody>
                  <a:tcPr anchor="ctr">
                    <a:lnL w="3175" cap="flat" cmpd="sng" algn="ctr">
                      <a:solidFill>
                        <a:schemeClr val="bg1">
                          <a:lumMod val="75000"/>
                        </a:schemeClr>
                      </a:solidFill>
                      <a:prstDash val="solid"/>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R w="28575" cap="flat" cmpd="sng" algn="ctr">
                      <a:noFill/>
                      <a:prstDash val="lg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28575" cap="flat" cmpd="sng" algn="ctr">
                      <a:noFill/>
                      <a:prstDash val="lg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28575" cap="flat" cmpd="sng" algn="ctr">
                      <a:noFill/>
                      <a:prstDash val="lgDash"/>
                      <a:round/>
                      <a:headEnd type="none" w="med" len="med"/>
                      <a:tailEnd type="none" w="med" len="med"/>
                    </a:lnL>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solidFill>
                        <a:schemeClr val="bg1">
                          <a:lumMod val="85000"/>
                        </a:schemeClr>
                      </a:solidFill>
                      <a:prstDash val="dash"/>
                      <a:round/>
                      <a:headEnd type="none" w="med" len="med"/>
                      <a:tailEnd type="none" w="med" len="med"/>
                    </a:lnL>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R w="6350" cap="flat" cmpd="sng" algn="ctr">
                      <a:no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tc>
                  <a:txBody>
                    <a:bodyPr/>
                    <a:lstStyle/>
                    <a:p>
                      <a:pPr algn="ctr"/>
                      <a:endParaRPr lang="da-DK" sz="1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B w="12700" cap="flat" cmpd="sng" algn="ctr">
                      <a:solidFill>
                        <a:schemeClr val="bg1">
                          <a:lumMod val="85000"/>
                        </a:schemeClr>
                      </a:solidFill>
                      <a:prstDash val="sysDash"/>
                      <a:round/>
                      <a:headEnd type="none" w="med" len="med"/>
                      <a:tailEnd type="none" w="med" len="med"/>
                    </a:lnB>
                  </a:tcPr>
                </a:tc>
                <a:extLst>
                  <a:ext uri="{0D108BD9-81ED-4DB2-BD59-A6C34878D82A}">
                    <a16:rowId xmlns:a16="http://schemas.microsoft.com/office/drawing/2014/main" val="10009"/>
                  </a:ext>
                </a:extLst>
              </a:tr>
              <a:tr h="421465">
                <a:tc>
                  <a:txBody>
                    <a:bodyPr/>
                    <a:lstStyle/>
                    <a:p>
                      <a:pPr algn="ctr"/>
                      <a:endParaRPr lang="da-DK" sz="1200" b="0" i="0" dirty="0">
                        <a:latin typeface="Gulim" charset="-127"/>
                        <a:ea typeface="Gulim" charset="-127"/>
                        <a:cs typeface="Gulim" charset="-127"/>
                      </a:endParaRPr>
                    </a:p>
                  </a:txBody>
                  <a:tcPr anchor="ctr">
                    <a:lnL w="12700" cap="flat" cmpd="sng" algn="ctr">
                      <a:noFill/>
                      <a:prstDash val="sysDash"/>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w="12700" cap="flat" cmpd="sng" algn="ctr">
                      <a:noFill/>
                      <a:prstDash val="sys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w="12700" cap="flat" cmpd="sng" algn="ctr">
                      <a:noFill/>
                      <a:prstDash val="sys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a:noFill/>
                    </a:lnL>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a:noFill/>
                    </a:lnL>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da-DK" sz="105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da-DK" sz="1200" b="0" i="0" dirty="0">
                        <a:latin typeface="Gill Sans Light" charset="0"/>
                        <a:ea typeface="Gill Sans Light" charset="0"/>
                        <a:cs typeface="Gill Sans Light" charset="0"/>
                      </a:endParaRPr>
                    </a:p>
                  </a:txBody>
                  <a:tcPr anchor="ctr">
                    <a:lnL w="6350" cap="flat" cmpd="sng" algn="ctr">
                      <a:noFill/>
                      <a:prstDash val="dash"/>
                      <a:round/>
                      <a:headEnd type="none" w="med" len="med"/>
                      <a:tailEnd type="none" w="med" len="med"/>
                    </a:lnL>
                    <a:lnR>
                      <a:noFill/>
                    </a:lnR>
                    <a:lnT w="1905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da-DK" sz="12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a-DK" sz="12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a:noFill/>
                    </a:lnL>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a:noFill/>
                    </a:lnL>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w="6350" cap="flat" cmpd="sng" algn="ctr">
                      <a:noFill/>
                      <a:prstDash val="dash"/>
                      <a:round/>
                      <a:headEnd type="none" w="med" len="med"/>
                      <a:tailEnd type="none" w="med" len="med"/>
                    </a:lnL>
                    <a:lnR>
                      <a:noFill/>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a:noFill/>
                    </a:lnL>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da-DK" sz="1200" b="0" i="0" dirty="0">
                        <a:latin typeface="Gulim" charset="-127"/>
                        <a:ea typeface="Gulim" charset="-127"/>
                        <a:cs typeface="Gulim" charset="-127"/>
                      </a:endParaRPr>
                    </a:p>
                  </a:txBody>
                  <a:tcPr anchor="ctr">
                    <a:lnL>
                      <a:noFill/>
                    </a:lnL>
                    <a:lnR w="6350" cap="flat" cmpd="sng" algn="ctr">
                      <a:noFill/>
                      <a:prstDash val="dash"/>
                      <a:round/>
                      <a:headEnd type="none" w="med" len="med"/>
                      <a:tailEnd type="none" w="med" len="med"/>
                    </a:lnR>
                    <a:lnT w="12700" cap="flat" cmpd="sng" algn="ctr">
                      <a:solidFill>
                        <a:schemeClr val="bg1">
                          <a:lumMod val="8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bl>
          </a:graphicData>
        </a:graphic>
      </p:graphicFrame>
      <p:grpSp>
        <p:nvGrpSpPr>
          <p:cNvPr id="23" name="Grupper 22"/>
          <p:cNvGrpSpPr/>
          <p:nvPr/>
        </p:nvGrpSpPr>
        <p:grpSpPr>
          <a:xfrm>
            <a:off x="1690411" y="1989109"/>
            <a:ext cx="699874" cy="2222632"/>
            <a:chOff x="2193202" y="2036763"/>
            <a:chExt cx="699874" cy="2222632"/>
          </a:xfrm>
        </p:grpSpPr>
        <p:sp>
          <p:nvSpPr>
            <p:cNvPr id="5" name="Ellipse 4"/>
            <p:cNvSpPr/>
            <p:nvPr/>
          </p:nvSpPr>
          <p:spPr>
            <a:xfrm>
              <a:off x="2199682" y="2036763"/>
              <a:ext cx="693394" cy="693394"/>
            </a:xfrm>
            <a:prstGeom prst="ellipse">
              <a:avLst/>
            </a:prstGeom>
            <a:solidFill>
              <a:schemeClr val="bg1"/>
            </a:solidFill>
            <a:ln w="762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dirty="0">
                <a:solidFill>
                  <a:schemeClr val="tx1"/>
                </a:solidFill>
                <a:latin typeface="Arial" panose="020B0604020202020204" pitchFamily="34" charset="0"/>
                <a:cs typeface="Arial" panose="020B0604020202020204" pitchFamily="34" charset="0"/>
              </a:endParaRPr>
            </a:p>
          </p:txBody>
        </p:sp>
        <p:sp>
          <p:nvSpPr>
            <p:cNvPr id="4" name="Tekstfelt 3"/>
            <p:cNvSpPr txBox="1"/>
            <p:nvPr/>
          </p:nvSpPr>
          <p:spPr>
            <a:xfrm>
              <a:off x="2218063" y="2180192"/>
              <a:ext cx="653418" cy="461665"/>
            </a:xfrm>
            <a:prstGeom prst="rect">
              <a:avLst/>
            </a:prstGeom>
            <a:noFill/>
          </p:spPr>
          <p:txBody>
            <a:bodyPr wrap="square" rtlCol="0">
              <a:spAutoFit/>
            </a:bodyPr>
            <a:lstStyle/>
            <a:p>
              <a:pPr algn="ctr"/>
              <a:r>
                <a:rPr lang="da-DK" sz="1200" dirty="0" err="1">
                  <a:latin typeface="Arial" panose="020B0604020202020204" pitchFamily="34" charset="0"/>
                  <a:ea typeface="Gulim" charset="-127"/>
                  <a:cs typeface="Arial" panose="020B0604020202020204" pitchFamily="34" charset="0"/>
                </a:rPr>
                <a:t>Think</a:t>
              </a:r>
              <a:r>
                <a:rPr lang="da-DK" sz="1200" dirty="0">
                  <a:latin typeface="Arial" panose="020B0604020202020204" pitchFamily="34" charset="0"/>
                  <a:ea typeface="Gulim" charset="-127"/>
                  <a:cs typeface="Arial" panose="020B0604020202020204" pitchFamily="34" charset="0"/>
                </a:rPr>
                <a:t> Big</a:t>
              </a:r>
            </a:p>
          </p:txBody>
        </p:sp>
        <p:sp>
          <p:nvSpPr>
            <p:cNvPr id="7" name="Ellipse 6"/>
            <p:cNvSpPr/>
            <p:nvPr/>
          </p:nvSpPr>
          <p:spPr>
            <a:xfrm>
              <a:off x="2193202" y="2799769"/>
              <a:ext cx="693394" cy="693394"/>
            </a:xfrm>
            <a:prstGeom prst="ellipse">
              <a:avLst/>
            </a:prstGeom>
            <a:solidFill>
              <a:schemeClr val="bg1"/>
            </a:solidFill>
            <a:ln w="7620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dirty="0">
                <a:solidFill>
                  <a:schemeClr val="tx1"/>
                </a:solidFill>
                <a:latin typeface="Arial" panose="020B0604020202020204" pitchFamily="34" charset="0"/>
                <a:cs typeface="Arial" panose="020B0604020202020204" pitchFamily="34" charset="0"/>
              </a:endParaRPr>
            </a:p>
          </p:txBody>
        </p:sp>
        <p:sp>
          <p:nvSpPr>
            <p:cNvPr id="9" name="Tekstfelt 8"/>
            <p:cNvSpPr txBox="1"/>
            <p:nvPr/>
          </p:nvSpPr>
          <p:spPr>
            <a:xfrm>
              <a:off x="2213190" y="2914909"/>
              <a:ext cx="653418" cy="461665"/>
            </a:xfrm>
            <a:prstGeom prst="rect">
              <a:avLst/>
            </a:prstGeom>
            <a:noFill/>
          </p:spPr>
          <p:txBody>
            <a:bodyPr wrap="square" rtlCol="0">
              <a:spAutoFit/>
            </a:bodyPr>
            <a:lstStyle/>
            <a:p>
              <a:pPr algn="ctr"/>
              <a:r>
                <a:rPr lang="da-DK" sz="1200" dirty="0">
                  <a:latin typeface="Arial" panose="020B0604020202020204" pitchFamily="34" charset="0"/>
                  <a:ea typeface="Gulim" charset="-127"/>
                  <a:cs typeface="Arial" panose="020B0604020202020204" pitchFamily="34" charset="0"/>
                </a:rPr>
                <a:t>Start</a:t>
              </a:r>
            </a:p>
            <a:p>
              <a:pPr algn="ctr"/>
              <a:r>
                <a:rPr lang="da-DK" sz="1200" dirty="0">
                  <a:latin typeface="Arial" panose="020B0604020202020204" pitchFamily="34" charset="0"/>
                  <a:ea typeface="Gulim" charset="-127"/>
                  <a:cs typeface="Arial" panose="020B0604020202020204" pitchFamily="34" charset="0"/>
                </a:rPr>
                <a:t>Small</a:t>
              </a:r>
            </a:p>
          </p:txBody>
        </p:sp>
        <p:sp>
          <p:nvSpPr>
            <p:cNvPr id="10" name="Ellipse 9"/>
            <p:cNvSpPr/>
            <p:nvPr/>
          </p:nvSpPr>
          <p:spPr>
            <a:xfrm>
              <a:off x="2197077" y="3566001"/>
              <a:ext cx="693394" cy="693394"/>
            </a:xfrm>
            <a:prstGeom prst="ellipse">
              <a:avLst/>
            </a:prstGeom>
            <a:solidFill>
              <a:schemeClr val="bg1"/>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dirty="0">
                <a:solidFill>
                  <a:schemeClr val="tx1"/>
                </a:solidFill>
                <a:latin typeface="Arial" panose="020B0604020202020204" pitchFamily="34" charset="0"/>
                <a:cs typeface="Arial" panose="020B0604020202020204" pitchFamily="34" charset="0"/>
              </a:endParaRPr>
            </a:p>
          </p:txBody>
        </p:sp>
        <p:sp>
          <p:nvSpPr>
            <p:cNvPr id="17" name="Tekstfelt 16"/>
            <p:cNvSpPr txBox="1"/>
            <p:nvPr/>
          </p:nvSpPr>
          <p:spPr>
            <a:xfrm>
              <a:off x="2216258" y="3680736"/>
              <a:ext cx="653418" cy="461665"/>
            </a:xfrm>
            <a:prstGeom prst="rect">
              <a:avLst/>
            </a:prstGeom>
            <a:noFill/>
          </p:spPr>
          <p:txBody>
            <a:bodyPr wrap="square" rtlCol="0">
              <a:spAutoFit/>
            </a:bodyPr>
            <a:lstStyle/>
            <a:p>
              <a:pPr algn="ctr"/>
              <a:r>
                <a:rPr lang="da-DK" sz="1200" dirty="0" err="1">
                  <a:latin typeface="Arial" panose="020B0604020202020204" pitchFamily="34" charset="0"/>
                  <a:ea typeface="Gulim" charset="-127"/>
                  <a:cs typeface="Arial" panose="020B0604020202020204" pitchFamily="34" charset="0"/>
                </a:rPr>
                <a:t>Scale</a:t>
              </a:r>
              <a:r>
                <a:rPr lang="da-DK" sz="1200" dirty="0">
                  <a:latin typeface="Arial" panose="020B0604020202020204" pitchFamily="34" charset="0"/>
                  <a:ea typeface="Gulim" charset="-127"/>
                  <a:cs typeface="Arial" panose="020B0604020202020204" pitchFamily="34" charset="0"/>
                </a:rPr>
                <a:t> Fast</a:t>
              </a:r>
            </a:p>
          </p:txBody>
        </p:sp>
      </p:grpSp>
      <p:grpSp>
        <p:nvGrpSpPr>
          <p:cNvPr id="6" name="Group 5">
            <a:extLst>
              <a:ext uri="{FF2B5EF4-FFF2-40B4-BE49-F238E27FC236}">
                <a16:creationId xmlns:a16="http://schemas.microsoft.com/office/drawing/2014/main" id="{00D11812-D704-4E31-944E-E9BF39C9DF03}"/>
              </a:ext>
            </a:extLst>
          </p:cNvPr>
          <p:cNvGrpSpPr/>
          <p:nvPr/>
        </p:nvGrpSpPr>
        <p:grpSpPr>
          <a:xfrm>
            <a:off x="1549885" y="4423687"/>
            <a:ext cx="693394" cy="693394"/>
            <a:chOff x="2693857" y="4569626"/>
            <a:chExt cx="693394" cy="693394"/>
          </a:xfrm>
        </p:grpSpPr>
        <p:sp>
          <p:nvSpPr>
            <p:cNvPr id="15" name="Ellipse 4">
              <a:extLst>
                <a:ext uri="{FF2B5EF4-FFF2-40B4-BE49-F238E27FC236}">
                  <a16:creationId xmlns:a16="http://schemas.microsoft.com/office/drawing/2014/main" id="{C6D2A8A8-8726-47BD-A330-FB35D6B7FE4A}"/>
                </a:ext>
              </a:extLst>
            </p:cNvPr>
            <p:cNvSpPr/>
            <p:nvPr/>
          </p:nvSpPr>
          <p:spPr>
            <a:xfrm>
              <a:off x="2693857" y="4569626"/>
              <a:ext cx="693394" cy="693394"/>
            </a:xfrm>
            <a:prstGeom prst="ellipse">
              <a:avLst/>
            </a:prstGeom>
            <a:solidFill>
              <a:schemeClr val="bg1"/>
            </a:solidFill>
            <a:ln w="762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dirty="0">
                <a:solidFill>
                  <a:schemeClr val="tx1"/>
                </a:solidFill>
                <a:latin typeface="Arial" panose="020B0604020202020204" pitchFamily="34" charset="0"/>
                <a:cs typeface="Arial" panose="020B0604020202020204" pitchFamily="34" charset="0"/>
              </a:endParaRPr>
            </a:p>
          </p:txBody>
        </p:sp>
        <p:sp>
          <p:nvSpPr>
            <p:cNvPr id="16" name="Tekstfelt 3">
              <a:extLst>
                <a:ext uri="{FF2B5EF4-FFF2-40B4-BE49-F238E27FC236}">
                  <a16:creationId xmlns:a16="http://schemas.microsoft.com/office/drawing/2014/main" id="{42D13132-CF9A-430E-95FC-A9839A2E9177}"/>
                </a:ext>
              </a:extLst>
            </p:cNvPr>
            <p:cNvSpPr txBox="1"/>
            <p:nvPr/>
          </p:nvSpPr>
          <p:spPr>
            <a:xfrm>
              <a:off x="2712238" y="4713055"/>
              <a:ext cx="653418" cy="461665"/>
            </a:xfrm>
            <a:prstGeom prst="rect">
              <a:avLst/>
            </a:prstGeom>
            <a:noFill/>
          </p:spPr>
          <p:txBody>
            <a:bodyPr wrap="square" rtlCol="0">
              <a:spAutoFit/>
            </a:bodyPr>
            <a:lstStyle/>
            <a:p>
              <a:pPr algn="ctr"/>
              <a:r>
                <a:rPr lang="da-DK" sz="1200" dirty="0" err="1">
                  <a:latin typeface="Arial" panose="020B0604020202020204" pitchFamily="34" charset="0"/>
                  <a:ea typeface="Gulim" charset="-127"/>
                  <a:cs typeface="Arial" panose="020B0604020202020204" pitchFamily="34" charset="0"/>
                </a:rPr>
                <a:t>Think</a:t>
              </a:r>
              <a:r>
                <a:rPr lang="da-DK" sz="1200" dirty="0">
                  <a:latin typeface="Arial" panose="020B0604020202020204" pitchFamily="34" charset="0"/>
                  <a:ea typeface="Gulim" charset="-127"/>
                  <a:cs typeface="Arial" panose="020B0604020202020204" pitchFamily="34" charset="0"/>
                </a:rPr>
                <a:t> Big</a:t>
              </a:r>
            </a:p>
          </p:txBody>
        </p:sp>
      </p:grpSp>
      <p:grpSp>
        <p:nvGrpSpPr>
          <p:cNvPr id="11" name="Group 10">
            <a:extLst>
              <a:ext uri="{FF2B5EF4-FFF2-40B4-BE49-F238E27FC236}">
                <a16:creationId xmlns:a16="http://schemas.microsoft.com/office/drawing/2014/main" id="{91592DA5-AA50-440D-9AAF-6391D22E4291}"/>
              </a:ext>
            </a:extLst>
          </p:cNvPr>
          <p:cNvGrpSpPr/>
          <p:nvPr/>
        </p:nvGrpSpPr>
        <p:grpSpPr>
          <a:xfrm>
            <a:off x="4793673" y="4423687"/>
            <a:ext cx="693394" cy="693394"/>
            <a:chOff x="5583539" y="4481326"/>
            <a:chExt cx="693394" cy="693394"/>
          </a:xfrm>
        </p:grpSpPr>
        <p:sp>
          <p:nvSpPr>
            <p:cNvPr id="18" name="Ellipse 6">
              <a:extLst>
                <a:ext uri="{FF2B5EF4-FFF2-40B4-BE49-F238E27FC236}">
                  <a16:creationId xmlns:a16="http://schemas.microsoft.com/office/drawing/2014/main" id="{AB752E7E-71AF-498A-B393-E3574F4EC080}"/>
                </a:ext>
              </a:extLst>
            </p:cNvPr>
            <p:cNvSpPr/>
            <p:nvPr/>
          </p:nvSpPr>
          <p:spPr>
            <a:xfrm>
              <a:off x="5583539" y="4481326"/>
              <a:ext cx="693394" cy="693394"/>
            </a:xfrm>
            <a:prstGeom prst="ellipse">
              <a:avLst/>
            </a:prstGeom>
            <a:solidFill>
              <a:schemeClr val="bg1"/>
            </a:solidFill>
            <a:ln w="762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dirty="0">
                <a:solidFill>
                  <a:schemeClr val="tx1"/>
                </a:solidFill>
                <a:latin typeface="Arial" panose="020B0604020202020204" pitchFamily="34" charset="0"/>
                <a:cs typeface="Arial" panose="020B0604020202020204" pitchFamily="34" charset="0"/>
              </a:endParaRPr>
            </a:p>
          </p:txBody>
        </p:sp>
        <p:sp>
          <p:nvSpPr>
            <p:cNvPr id="19" name="Tekstfelt 8">
              <a:extLst>
                <a:ext uri="{FF2B5EF4-FFF2-40B4-BE49-F238E27FC236}">
                  <a16:creationId xmlns:a16="http://schemas.microsoft.com/office/drawing/2014/main" id="{2E39B731-7FE9-4DAA-B36F-0E2679F2560B}"/>
                </a:ext>
              </a:extLst>
            </p:cNvPr>
            <p:cNvSpPr txBox="1"/>
            <p:nvPr/>
          </p:nvSpPr>
          <p:spPr>
            <a:xfrm>
              <a:off x="5603527" y="4596466"/>
              <a:ext cx="653418" cy="461665"/>
            </a:xfrm>
            <a:prstGeom prst="rect">
              <a:avLst/>
            </a:prstGeom>
            <a:noFill/>
            <a:ln>
              <a:noFill/>
            </a:ln>
          </p:spPr>
          <p:txBody>
            <a:bodyPr wrap="square" rtlCol="0">
              <a:spAutoFit/>
            </a:bodyPr>
            <a:lstStyle/>
            <a:p>
              <a:pPr algn="ctr"/>
              <a:r>
                <a:rPr lang="da-DK" sz="1200" dirty="0">
                  <a:latin typeface="Arial" panose="020B0604020202020204" pitchFamily="34" charset="0"/>
                  <a:ea typeface="Gulim" charset="-127"/>
                  <a:cs typeface="Arial" panose="020B0604020202020204" pitchFamily="34" charset="0"/>
                </a:rPr>
                <a:t>Start</a:t>
              </a:r>
            </a:p>
            <a:p>
              <a:pPr algn="ctr"/>
              <a:r>
                <a:rPr lang="da-DK" sz="1200" dirty="0">
                  <a:latin typeface="Arial" panose="020B0604020202020204" pitchFamily="34" charset="0"/>
                  <a:ea typeface="Gulim" charset="-127"/>
                  <a:cs typeface="Arial" panose="020B0604020202020204" pitchFamily="34" charset="0"/>
                </a:rPr>
                <a:t>Small</a:t>
              </a:r>
            </a:p>
          </p:txBody>
        </p:sp>
      </p:grpSp>
      <p:grpSp>
        <p:nvGrpSpPr>
          <p:cNvPr id="12" name="Group 11">
            <a:extLst>
              <a:ext uri="{FF2B5EF4-FFF2-40B4-BE49-F238E27FC236}">
                <a16:creationId xmlns:a16="http://schemas.microsoft.com/office/drawing/2014/main" id="{D4F06D10-1638-4176-9E12-6D9DFCF21D58}"/>
              </a:ext>
            </a:extLst>
          </p:cNvPr>
          <p:cNvGrpSpPr/>
          <p:nvPr/>
        </p:nvGrpSpPr>
        <p:grpSpPr>
          <a:xfrm>
            <a:off x="8049097" y="4423687"/>
            <a:ext cx="693394" cy="693394"/>
            <a:chOff x="8301429" y="4423687"/>
            <a:chExt cx="693394" cy="693394"/>
          </a:xfrm>
        </p:grpSpPr>
        <p:sp>
          <p:nvSpPr>
            <p:cNvPr id="21" name="Ellipse 9">
              <a:extLst>
                <a:ext uri="{FF2B5EF4-FFF2-40B4-BE49-F238E27FC236}">
                  <a16:creationId xmlns:a16="http://schemas.microsoft.com/office/drawing/2014/main" id="{8C1EF63E-0EC9-446D-BCA5-B31775AD9875}"/>
                </a:ext>
              </a:extLst>
            </p:cNvPr>
            <p:cNvSpPr/>
            <p:nvPr/>
          </p:nvSpPr>
          <p:spPr>
            <a:xfrm>
              <a:off x="8301429" y="4423687"/>
              <a:ext cx="693394" cy="693394"/>
            </a:xfrm>
            <a:prstGeom prst="ellipse">
              <a:avLst/>
            </a:prstGeom>
            <a:solidFill>
              <a:schemeClr val="bg1"/>
            </a:solidFill>
            <a:ln w="762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dirty="0">
                <a:solidFill>
                  <a:schemeClr val="tx1"/>
                </a:solidFill>
                <a:latin typeface="Arial" panose="020B0604020202020204" pitchFamily="34" charset="0"/>
                <a:cs typeface="Arial" panose="020B0604020202020204" pitchFamily="34" charset="0"/>
              </a:endParaRPr>
            </a:p>
          </p:txBody>
        </p:sp>
        <p:sp>
          <p:nvSpPr>
            <p:cNvPr id="22" name="Tekstfelt 16">
              <a:extLst>
                <a:ext uri="{FF2B5EF4-FFF2-40B4-BE49-F238E27FC236}">
                  <a16:creationId xmlns:a16="http://schemas.microsoft.com/office/drawing/2014/main" id="{AE2D3350-8410-49FC-964A-6398D9A12746}"/>
                </a:ext>
              </a:extLst>
            </p:cNvPr>
            <p:cNvSpPr txBox="1"/>
            <p:nvPr/>
          </p:nvSpPr>
          <p:spPr>
            <a:xfrm>
              <a:off x="8320610" y="4538422"/>
              <a:ext cx="653418" cy="461665"/>
            </a:xfrm>
            <a:prstGeom prst="rect">
              <a:avLst/>
            </a:prstGeom>
            <a:noFill/>
          </p:spPr>
          <p:txBody>
            <a:bodyPr wrap="square" rtlCol="0">
              <a:spAutoFit/>
            </a:bodyPr>
            <a:lstStyle/>
            <a:p>
              <a:pPr algn="ctr"/>
              <a:r>
                <a:rPr lang="da-DK" sz="1200" dirty="0" err="1">
                  <a:latin typeface="Arial" panose="020B0604020202020204" pitchFamily="34" charset="0"/>
                  <a:ea typeface="Gulim" charset="-127"/>
                  <a:cs typeface="Arial" panose="020B0604020202020204" pitchFamily="34" charset="0"/>
                </a:rPr>
                <a:t>Scale</a:t>
              </a:r>
              <a:r>
                <a:rPr lang="da-DK" sz="1200" dirty="0">
                  <a:latin typeface="Arial" panose="020B0604020202020204" pitchFamily="34" charset="0"/>
                  <a:ea typeface="Gulim" charset="-127"/>
                  <a:cs typeface="Arial" panose="020B0604020202020204" pitchFamily="34" charset="0"/>
                </a:rPr>
                <a:t> Fast</a:t>
              </a:r>
            </a:p>
          </p:txBody>
        </p:sp>
      </p:grpSp>
      <p:sp>
        <p:nvSpPr>
          <p:cNvPr id="13" name="TextBox 12">
            <a:extLst>
              <a:ext uri="{FF2B5EF4-FFF2-40B4-BE49-F238E27FC236}">
                <a16:creationId xmlns:a16="http://schemas.microsoft.com/office/drawing/2014/main" id="{8FED515E-3F85-472C-8B50-D63221FF13AD}"/>
              </a:ext>
            </a:extLst>
          </p:cNvPr>
          <p:cNvSpPr txBox="1"/>
          <p:nvPr/>
        </p:nvSpPr>
        <p:spPr>
          <a:xfrm>
            <a:off x="2231643" y="4605012"/>
            <a:ext cx="2420869" cy="1420902"/>
          </a:xfrm>
          <a:prstGeom prst="rect">
            <a:avLst/>
          </a:prstGeom>
          <a:solidFill>
            <a:schemeClr val="accent1">
              <a:lumMod val="20000"/>
              <a:lumOff val="80000"/>
            </a:schemeClr>
          </a:solidFill>
          <a:ln>
            <a:noFill/>
          </a:ln>
        </p:spPr>
        <p:txBody>
          <a:bodyPr wrap="square" rtlCol="0">
            <a:spAutoFit/>
          </a:bodyPr>
          <a:lstStyle/>
          <a:p>
            <a:pPr marL="171450" indent="-171450">
              <a:lnSpc>
                <a:spcPts val="1600"/>
              </a:lnSpc>
              <a:buFont typeface="Courier New" charset="0"/>
              <a:buChar char="o"/>
            </a:pPr>
            <a:r>
              <a:rPr lang="da-DK" sz="1100" dirty="0">
                <a:latin typeface="Arial" panose="020B0604020202020204" pitchFamily="34" charset="0"/>
                <a:ea typeface="Gulim" charset="-127"/>
                <a:cs typeface="Arial" panose="020B0604020202020204" pitchFamily="34" charset="0"/>
              </a:rPr>
              <a:t>Find talent for </a:t>
            </a:r>
            <a:r>
              <a:rPr lang="da-DK" sz="1100" dirty="0" err="1">
                <a:latin typeface="Arial" panose="020B0604020202020204" pitchFamily="34" charset="0"/>
                <a:ea typeface="Gulim" charset="-127"/>
                <a:cs typeface="Arial" panose="020B0604020202020204" pitchFamily="34" charset="0"/>
              </a:rPr>
              <a:t>Wennovate</a:t>
            </a:r>
            <a:r>
              <a:rPr lang="da-DK" sz="1100" dirty="0">
                <a:latin typeface="Arial" panose="020B0604020202020204" pitchFamily="34" charset="0"/>
                <a:ea typeface="Gulim" charset="-127"/>
                <a:cs typeface="Arial" panose="020B0604020202020204" pitchFamily="34" charset="0"/>
              </a:rPr>
              <a:t> team</a:t>
            </a:r>
          </a:p>
          <a:p>
            <a:pPr marL="171450" indent="-171450">
              <a:lnSpc>
                <a:spcPts val="1600"/>
              </a:lnSpc>
              <a:buFont typeface="Courier New" charset="0"/>
              <a:buChar char="o"/>
            </a:pPr>
            <a:r>
              <a:rPr lang="da-DK" sz="1100" dirty="0">
                <a:latin typeface="Arial" panose="020B0604020202020204" pitchFamily="34" charset="0"/>
                <a:ea typeface="Gulim" charset="-127"/>
                <a:cs typeface="Arial" panose="020B0604020202020204" pitchFamily="34" charset="0"/>
              </a:rPr>
              <a:t>Complete marketing </a:t>
            </a:r>
            <a:r>
              <a:rPr lang="da-DK" sz="1100" dirty="0" err="1">
                <a:latin typeface="Arial" panose="020B0604020202020204" pitchFamily="34" charset="0"/>
                <a:ea typeface="Gulim" charset="-127"/>
                <a:cs typeface="Arial" panose="020B0604020202020204" pitchFamily="34" charset="0"/>
              </a:rPr>
              <a:t>strategy</a:t>
            </a:r>
            <a:endParaRPr lang="da-DK" sz="1100" dirty="0">
              <a:latin typeface="Arial" panose="020B0604020202020204" pitchFamily="34" charset="0"/>
              <a:ea typeface="Gulim" charset="-127"/>
              <a:cs typeface="Arial" panose="020B0604020202020204" pitchFamily="34" charset="0"/>
            </a:endParaRPr>
          </a:p>
          <a:p>
            <a:pPr marL="171450" indent="-171450">
              <a:lnSpc>
                <a:spcPts val="1600"/>
              </a:lnSpc>
              <a:buFont typeface="Courier New" charset="0"/>
              <a:buChar char="o"/>
            </a:pPr>
            <a:r>
              <a:rPr lang="da-DK" sz="1100" dirty="0">
                <a:latin typeface="Arial" panose="020B0604020202020204" pitchFamily="34" charset="0"/>
                <a:ea typeface="Gulim" charset="-127"/>
                <a:cs typeface="Arial" panose="020B0604020202020204" pitchFamily="34" charset="0"/>
              </a:rPr>
              <a:t>Contact API </a:t>
            </a:r>
            <a:r>
              <a:rPr lang="da-DK" sz="1100" dirty="0" err="1">
                <a:latin typeface="Arial" panose="020B0604020202020204" pitchFamily="34" charset="0"/>
                <a:ea typeface="Gulim" charset="-127"/>
                <a:cs typeface="Arial" panose="020B0604020202020204" pitchFamily="34" charset="0"/>
              </a:rPr>
              <a:t>provider</a:t>
            </a:r>
            <a:r>
              <a:rPr lang="da-DK" sz="1100" dirty="0">
                <a:latin typeface="Arial" panose="020B0604020202020204" pitchFamily="34" charset="0"/>
                <a:ea typeface="Gulim" charset="-127"/>
                <a:cs typeface="Arial" panose="020B0604020202020204" pitchFamily="34" charset="0"/>
              </a:rPr>
              <a:t> and </a:t>
            </a:r>
            <a:r>
              <a:rPr lang="da-DK" sz="1100" dirty="0" err="1">
                <a:latin typeface="Arial" panose="020B0604020202020204" pitchFamily="34" charset="0"/>
                <a:ea typeface="Gulim" charset="-127"/>
                <a:cs typeface="Arial" panose="020B0604020202020204" pitchFamily="34" charset="0"/>
              </a:rPr>
              <a:t>settle</a:t>
            </a:r>
            <a:r>
              <a:rPr lang="da-DK" sz="1100" dirty="0">
                <a:latin typeface="Arial" panose="020B0604020202020204" pitchFamily="34" charset="0"/>
                <a:ea typeface="Gulim" charset="-127"/>
                <a:cs typeface="Arial" panose="020B0604020202020204" pitchFamily="34" charset="0"/>
              </a:rPr>
              <a:t> deal</a:t>
            </a:r>
          </a:p>
          <a:p>
            <a:pPr marL="171450" indent="-171450">
              <a:buFont typeface="Courier New" charset="0"/>
              <a:buChar char="o"/>
            </a:pPr>
            <a:r>
              <a:rPr lang="da-DK" sz="1100" dirty="0">
                <a:latin typeface="Arial" panose="020B0604020202020204" pitchFamily="34" charset="0"/>
                <a:ea typeface="Gulim" charset="-127"/>
                <a:cs typeface="Arial" panose="020B0604020202020204" pitchFamily="34" charset="0"/>
              </a:rPr>
              <a:t>Go </a:t>
            </a:r>
            <a:r>
              <a:rPr lang="da-DK" sz="1100" dirty="0" err="1">
                <a:latin typeface="Arial" panose="020B0604020202020204" pitchFamily="34" charset="0"/>
                <a:ea typeface="Gulim" charset="-127"/>
                <a:cs typeface="Arial" panose="020B0604020202020204" pitchFamily="34" charset="0"/>
              </a:rPr>
              <a:t>through</a:t>
            </a:r>
            <a:r>
              <a:rPr lang="da-DK" sz="1100" dirty="0">
                <a:latin typeface="Arial" panose="020B0604020202020204" pitchFamily="34" charset="0"/>
                <a:ea typeface="Gulim" charset="-127"/>
                <a:cs typeface="Arial" panose="020B0604020202020204" pitchFamily="34" charset="0"/>
              </a:rPr>
              <a:t> all </a:t>
            </a:r>
            <a:r>
              <a:rPr lang="da-DK" sz="1100" dirty="0" err="1">
                <a:latin typeface="Arial" panose="020B0604020202020204" pitchFamily="34" charset="0"/>
                <a:ea typeface="Gulim" charset="-127"/>
                <a:cs typeface="Arial" panose="020B0604020202020204" pitchFamily="34" charset="0"/>
              </a:rPr>
              <a:t>backend</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infrastructure</a:t>
            </a:r>
            <a:r>
              <a:rPr lang="da-DK" sz="1100" dirty="0">
                <a:latin typeface="Arial" panose="020B0604020202020204" pitchFamily="34" charset="0"/>
                <a:ea typeface="Gulim" charset="-127"/>
                <a:cs typeface="Arial" panose="020B0604020202020204" pitchFamily="34" charset="0"/>
              </a:rPr>
              <a:t> to </a:t>
            </a:r>
            <a:r>
              <a:rPr lang="da-DK" sz="1100" dirty="0" err="1">
                <a:latin typeface="Arial" panose="020B0604020202020204" pitchFamily="34" charset="0"/>
                <a:ea typeface="Gulim" charset="-127"/>
                <a:cs typeface="Arial" panose="020B0604020202020204" pitchFamily="34" charset="0"/>
              </a:rPr>
              <a:t>ensure</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cloud-compatability</a:t>
            </a:r>
            <a:endParaRPr lang="en-US" sz="1400" dirty="0">
              <a:latin typeface="Arial" panose="020B0604020202020204" pitchFamily="34" charset="0"/>
              <a:ea typeface="Gulim" charset="-127"/>
              <a:cs typeface="Arial" panose="020B0604020202020204" pitchFamily="34" charset="0"/>
            </a:endParaRPr>
          </a:p>
        </p:txBody>
      </p:sp>
      <p:sp>
        <p:nvSpPr>
          <p:cNvPr id="24" name="TextBox 23">
            <a:extLst>
              <a:ext uri="{FF2B5EF4-FFF2-40B4-BE49-F238E27FC236}">
                <a16:creationId xmlns:a16="http://schemas.microsoft.com/office/drawing/2014/main" id="{A38F373A-09ED-4B9D-830F-B1AF091523DC}"/>
              </a:ext>
            </a:extLst>
          </p:cNvPr>
          <p:cNvSpPr txBox="1"/>
          <p:nvPr/>
        </p:nvSpPr>
        <p:spPr>
          <a:xfrm>
            <a:off x="5487067" y="4605012"/>
            <a:ext cx="2420869" cy="1528624"/>
          </a:xfrm>
          <a:prstGeom prst="rect">
            <a:avLst/>
          </a:prstGeom>
          <a:solidFill>
            <a:schemeClr val="bg2">
              <a:lumMod val="20000"/>
              <a:lumOff val="80000"/>
            </a:schemeClr>
          </a:solidFill>
          <a:ln>
            <a:noFill/>
          </a:ln>
        </p:spPr>
        <p:txBody>
          <a:bodyPr wrap="square" rtlCol="0">
            <a:spAutoFit/>
          </a:bodyPr>
          <a:lstStyle/>
          <a:p>
            <a:pPr marL="171450" indent="-171450">
              <a:lnSpc>
                <a:spcPts val="1600"/>
              </a:lnSpc>
              <a:buFont typeface="Courier New" charset="0"/>
              <a:buChar char="o"/>
            </a:pPr>
            <a:r>
              <a:rPr lang="da-DK" sz="1100" dirty="0">
                <a:latin typeface="Arial" panose="020B0604020202020204" pitchFamily="34" charset="0"/>
                <a:ea typeface="Gulim" charset="-127"/>
                <a:cs typeface="Arial" panose="020B0604020202020204" pitchFamily="34" charset="0"/>
              </a:rPr>
              <a:t>Complete </a:t>
            </a:r>
            <a:r>
              <a:rPr lang="da-DK" sz="1100" dirty="0" err="1">
                <a:latin typeface="Arial" panose="020B0604020202020204" pitchFamily="34" charset="0"/>
                <a:ea typeface="Gulim" charset="-127"/>
                <a:cs typeface="Arial" panose="020B0604020202020204" pitchFamily="34" charset="0"/>
              </a:rPr>
              <a:t>first</a:t>
            </a:r>
            <a:r>
              <a:rPr lang="da-DK" sz="1100" dirty="0">
                <a:latin typeface="Arial" panose="020B0604020202020204" pitchFamily="34" charset="0"/>
                <a:ea typeface="Gulim" charset="-127"/>
                <a:cs typeface="Arial" panose="020B0604020202020204" pitchFamily="34" charset="0"/>
              </a:rPr>
              <a:t> data </a:t>
            </a:r>
            <a:r>
              <a:rPr lang="da-DK" sz="1100" dirty="0" err="1">
                <a:latin typeface="Arial" panose="020B0604020202020204" pitchFamily="34" charset="0"/>
                <a:ea typeface="Gulim" charset="-127"/>
                <a:cs typeface="Arial" panose="020B0604020202020204" pitchFamily="34" charset="0"/>
              </a:rPr>
              <a:t>sharing</a:t>
            </a:r>
            <a:endParaRPr lang="da-DK" sz="1100" dirty="0">
              <a:latin typeface="Arial" panose="020B0604020202020204" pitchFamily="34" charset="0"/>
              <a:ea typeface="Gulim" charset="-127"/>
              <a:cs typeface="Arial" panose="020B0604020202020204" pitchFamily="34" charset="0"/>
            </a:endParaRPr>
          </a:p>
          <a:p>
            <a:pPr marL="171450" indent="-171450">
              <a:lnSpc>
                <a:spcPts val="1600"/>
              </a:lnSpc>
              <a:buFont typeface="Courier New" charset="0"/>
              <a:buChar char="o"/>
            </a:pPr>
            <a:r>
              <a:rPr lang="da-DK" sz="1100" dirty="0" err="1">
                <a:latin typeface="Arial" panose="020B0604020202020204" pitchFamily="34" charset="0"/>
                <a:ea typeface="Gulim" charset="-127"/>
                <a:cs typeface="Arial" panose="020B0604020202020204" pitchFamily="34" charset="0"/>
              </a:rPr>
              <a:t>Launch</a:t>
            </a:r>
            <a:r>
              <a:rPr lang="da-DK" sz="1100" dirty="0">
                <a:latin typeface="Arial" panose="020B0604020202020204" pitchFamily="34" charset="0"/>
                <a:ea typeface="Gulim" charset="-127"/>
                <a:cs typeface="Arial" panose="020B0604020202020204" pitchFamily="34" charset="0"/>
              </a:rPr>
              <a:t> real time </a:t>
            </a:r>
            <a:r>
              <a:rPr lang="da-DK" sz="1100" dirty="0" err="1">
                <a:latin typeface="Arial" panose="020B0604020202020204" pitchFamily="34" charset="0"/>
                <a:ea typeface="Gulim" charset="-127"/>
                <a:cs typeface="Arial" panose="020B0604020202020204" pitchFamily="34" charset="0"/>
              </a:rPr>
              <a:t>budgeting</a:t>
            </a:r>
            <a:endParaRPr lang="da-DK" sz="1100" dirty="0">
              <a:latin typeface="Arial" panose="020B0604020202020204" pitchFamily="34" charset="0"/>
              <a:ea typeface="Gulim" charset="-127"/>
              <a:cs typeface="Arial" panose="020B0604020202020204" pitchFamily="34" charset="0"/>
            </a:endParaRPr>
          </a:p>
          <a:p>
            <a:pPr marL="171450" indent="-171450">
              <a:lnSpc>
                <a:spcPts val="1600"/>
              </a:lnSpc>
              <a:buFont typeface="Courier New" charset="0"/>
              <a:buChar char="o"/>
            </a:pPr>
            <a:r>
              <a:rPr lang="da-DK" sz="1100" dirty="0" err="1">
                <a:latin typeface="Arial" panose="020B0604020202020204" pitchFamily="34" charset="0"/>
                <a:ea typeface="Gulim" charset="-127"/>
                <a:cs typeface="Arial" panose="020B0604020202020204" pitchFamily="34" charset="0"/>
              </a:rPr>
              <a:t>Create</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buzz</a:t>
            </a:r>
            <a:r>
              <a:rPr lang="da-DK" sz="1100" dirty="0">
                <a:latin typeface="Arial" panose="020B0604020202020204" pitchFamily="34" charset="0"/>
                <a:ea typeface="Gulim" charset="-127"/>
                <a:cs typeface="Arial" panose="020B0604020202020204" pitchFamily="34" charset="0"/>
              </a:rPr>
              <a:t> for </a:t>
            </a:r>
            <a:r>
              <a:rPr lang="da-DK" sz="1100" dirty="0" err="1">
                <a:latin typeface="Arial" panose="020B0604020202020204" pitchFamily="34" charset="0"/>
                <a:ea typeface="Gulim" charset="-127"/>
                <a:cs typeface="Arial" panose="020B0604020202020204" pitchFamily="34" charset="0"/>
              </a:rPr>
              <a:t>first</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Wennovate</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competition</a:t>
            </a:r>
            <a:r>
              <a:rPr lang="da-DK" sz="1100" dirty="0">
                <a:latin typeface="Arial" panose="020B0604020202020204" pitchFamily="34" charset="0"/>
                <a:ea typeface="Gulim" charset="-127"/>
                <a:cs typeface="Arial" panose="020B0604020202020204" pitchFamily="34" charset="0"/>
              </a:rPr>
              <a:t> (big </a:t>
            </a:r>
            <a:r>
              <a:rPr lang="da-DK" sz="1100" dirty="0" err="1">
                <a:latin typeface="Arial" panose="020B0604020202020204" pitchFamily="34" charset="0"/>
                <a:ea typeface="Gulim" charset="-127"/>
                <a:cs typeface="Arial" panose="020B0604020202020204" pitchFamily="34" charset="0"/>
              </a:rPr>
              <a:t>prize</a:t>
            </a:r>
            <a:r>
              <a:rPr lang="da-DK" sz="1100" dirty="0">
                <a:latin typeface="Arial" panose="020B0604020202020204" pitchFamily="34" charset="0"/>
                <a:ea typeface="Gulim" charset="-127"/>
                <a:cs typeface="Arial" panose="020B0604020202020204" pitchFamily="34" charset="0"/>
              </a:rPr>
              <a:t> pool)</a:t>
            </a:r>
          </a:p>
          <a:p>
            <a:pPr marL="171450" indent="-171450">
              <a:lnSpc>
                <a:spcPts val="1600"/>
              </a:lnSpc>
              <a:buFont typeface="Courier New" charset="0"/>
              <a:buChar char="o"/>
            </a:pPr>
            <a:r>
              <a:rPr lang="da-DK" sz="1100" dirty="0">
                <a:latin typeface="Arial" panose="020B0604020202020204" pitchFamily="34" charset="0"/>
                <a:ea typeface="Gulim" charset="-127"/>
                <a:cs typeface="Arial" panose="020B0604020202020204" pitchFamily="34" charset="0"/>
              </a:rPr>
              <a:t>Monitor feedback </a:t>
            </a:r>
            <a:r>
              <a:rPr lang="da-DK" sz="1100" dirty="0" err="1">
                <a:latin typeface="Arial" panose="020B0604020202020204" pitchFamily="34" charset="0"/>
                <a:ea typeface="Gulim" charset="-127"/>
                <a:cs typeface="Arial" panose="020B0604020202020204" pitchFamily="34" charset="0"/>
              </a:rPr>
              <a:t>very</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closely</a:t>
            </a:r>
            <a:r>
              <a:rPr lang="da-DK" sz="1100" dirty="0">
                <a:latin typeface="Arial" panose="020B0604020202020204" pitchFamily="34" charset="0"/>
                <a:ea typeface="Gulim" charset="-127"/>
                <a:cs typeface="Arial" panose="020B0604020202020204" pitchFamily="34" charset="0"/>
              </a:rPr>
              <a:t>, and </a:t>
            </a:r>
            <a:r>
              <a:rPr lang="da-DK" sz="1100" dirty="0" err="1">
                <a:latin typeface="Arial" panose="020B0604020202020204" pitchFamily="34" charset="0"/>
                <a:ea typeface="Gulim" charset="-127"/>
                <a:cs typeface="Arial" panose="020B0604020202020204" pitchFamily="34" charset="0"/>
              </a:rPr>
              <a:t>implement</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adjustments</a:t>
            </a:r>
            <a:r>
              <a:rPr lang="da-DK" sz="1100" dirty="0">
                <a:latin typeface="Arial" panose="020B0604020202020204" pitchFamily="34" charset="0"/>
                <a:ea typeface="Gulim" charset="-127"/>
                <a:cs typeface="Arial" panose="020B0604020202020204" pitchFamily="34" charset="0"/>
              </a:rPr>
              <a:t> on bi-</a:t>
            </a:r>
            <a:r>
              <a:rPr lang="da-DK" sz="1100" dirty="0" err="1">
                <a:latin typeface="Arial" panose="020B0604020202020204" pitchFamily="34" charset="0"/>
                <a:ea typeface="Gulim" charset="-127"/>
                <a:cs typeface="Arial" panose="020B0604020202020204" pitchFamily="34" charset="0"/>
              </a:rPr>
              <a:t>weekly</a:t>
            </a:r>
            <a:r>
              <a:rPr lang="da-DK" sz="1100" dirty="0">
                <a:latin typeface="Arial" panose="020B0604020202020204" pitchFamily="34" charset="0"/>
                <a:ea typeface="Gulim" charset="-127"/>
                <a:cs typeface="Arial" panose="020B0604020202020204" pitchFamily="34" charset="0"/>
              </a:rPr>
              <a:t> team meetings</a:t>
            </a:r>
            <a:endParaRPr lang="en-US" sz="1100" dirty="0">
              <a:latin typeface="Arial" panose="020B0604020202020204" pitchFamily="34" charset="0"/>
              <a:ea typeface="Gulim" charset="-127"/>
              <a:cs typeface="Arial" panose="020B0604020202020204" pitchFamily="34" charset="0"/>
            </a:endParaRPr>
          </a:p>
        </p:txBody>
      </p:sp>
      <p:sp>
        <p:nvSpPr>
          <p:cNvPr id="28" name="TextBox 27">
            <a:extLst>
              <a:ext uri="{FF2B5EF4-FFF2-40B4-BE49-F238E27FC236}">
                <a16:creationId xmlns:a16="http://schemas.microsoft.com/office/drawing/2014/main" id="{F2E241E5-8DA2-42AF-A3DC-990E4D862CC1}"/>
              </a:ext>
            </a:extLst>
          </p:cNvPr>
          <p:cNvSpPr txBox="1"/>
          <p:nvPr/>
        </p:nvSpPr>
        <p:spPr>
          <a:xfrm>
            <a:off x="8742491" y="4605012"/>
            <a:ext cx="2420869" cy="1323439"/>
          </a:xfrm>
          <a:prstGeom prst="rect">
            <a:avLst/>
          </a:prstGeom>
          <a:solidFill>
            <a:schemeClr val="accent6">
              <a:lumMod val="20000"/>
              <a:lumOff val="80000"/>
            </a:schemeClr>
          </a:solidFill>
          <a:ln>
            <a:noFill/>
          </a:ln>
        </p:spPr>
        <p:txBody>
          <a:bodyPr wrap="square" rtlCol="0">
            <a:spAutoFit/>
          </a:bodyPr>
          <a:lstStyle/>
          <a:p>
            <a:pPr marL="171450" indent="-171450">
              <a:lnSpc>
                <a:spcPts val="1600"/>
              </a:lnSpc>
              <a:buFont typeface="Courier New" charset="0"/>
              <a:buChar char="o"/>
            </a:pPr>
            <a:r>
              <a:rPr lang="da-DK" sz="1100" dirty="0">
                <a:latin typeface="Arial" panose="020B0604020202020204" pitchFamily="34" charset="0"/>
                <a:ea typeface="Gulim" charset="-127"/>
                <a:cs typeface="Arial" panose="020B0604020202020204" pitchFamily="34" charset="0"/>
              </a:rPr>
              <a:t>Market </a:t>
            </a:r>
            <a:r>
              <a:rPr lang="da-DK" sz="1100" dirty="0" err="1">
                <a:latin typeface="Arial" panose="020B0604020202020204" pitchFamily="34" charset="0"/>
                <a:ea typeface="Gulim" charset="-127"/>
                <a:cs typeface="Arial" panose="020B0604020202020204" pitchFamily="34" charset="0"/>
              </a:rPr>
              <a:t>Wennowate</a:t>
            </a:r>
            <a:r>
              <a:rPr lang="da-DK" sz="1100" dirty="0">
                <a:latin typeface="Arial" panose="020B0604020202020204" pitchFamily="34" charset="0"/>
                <a:ea typeface="Gulim" charset="-127"/>
                <a:cs typeface="Arial" panose="020B0604020202020204" pitchFamily="34" charset="0"/>
              </a:rPr>
              <a:t> in all </a:t>
            </a:r>
            <a:r>
              <a:rPr lang="da-DK" sz="1100" dirty="0" err="1">
                <a:latin typeface="Arial" panose="020B0604020202020204" pitchFamily="34" charset="0"/>
                <a:ea typeface="Gulim" charset="-127"/>
                <a:cs typeface="Arial" panose="020B0604020202020204" pitchFamily="34" charset="0"/>
              </a:rPr>
              <a:t>countries</a:t>
            </a:r>
            <a:r>
              <a:rPr lang="da-DK" sz="1100" dirty="0">
                <a:latin typeface="Arial" panose="020B0604020202020204" pitchFamily="34" charset="0"/>
                <a:ea typeface="Gulim" charset="-127"/>
                <a:cs typeface="Arial" panose="020B0604020202020204" pitchFamily="34" charset="0"/>
              </a:rPr>
              <a:t> with DBS </a:t>
            </a:r>
            <a:r>
              <a:rPr lang="da-DK" sz="1100" dirty="0" err="1">
                <a:latin typeface="Arial" panose="020B0604020202020204" pitchFamily="34" charset="0"/>
                <a:ea typeface="Gulim" charset="-127"/>
                <a:cs typeface="Arial" panose="020B0604020202020204" pitchFamily="34" charset="0"/>
              </a:rPr>
              <a:t>presence</a:t>
            </a:r>
            <a:endParaRPr lang="da-DK" sz="1100" dirty="0">
              <a:latin typeface="Arial" panose="020B0604020202020204" pitchFamily="34" charset="0"/>
              <a:ea typeface="Gulim" charset="-127"/>
              <a:cs typeface="Arial" panose="020B0604020202020204" pitchFamily="34" charset="0"/>
            </a:endParaRPr>
          </a:p>
          <a:p>
            <a:pPr marL="171450" indent="-171450">
              <a:lnSpc>
                <a:spcPts val="1600"/>
              </a:lnSpc>
              <a:buFont typeface="Courier New" charset="0"/>
              <a:buChar char="o"/>
            </a:pPr>
            <a:r>
              <a:rPr lang="da-DK" sz="1100" dirty="0">
                <a:latin typeface="Arial" panose="020B0604020202020204" pitchFamily="34" charset="0"/>
                <a:ea typeface="Gulim" charset="-127"/>
                <a:cs typeface="Arial" panose="020B0604020202020204" pitchFamily="34" charset="0"/>
              </a:rPr>
              <a:t>Buy and </a:t>
            </a:r>
            <a:r>
              <a:rPr lang="da-DK" sz="1100" dirty="0" err="1">
                <a:latin typeface="Arial" panose="020B0604020202020204" pitchFamily="34" charset="0"/>
                <a:ea typeface="Gulim" charset="-127"/>
                <a:cs typeface="Arial" panose="020B0604020202020204" pitchFamily="34" charset="0"/>
              </a:rPr>
              <a:t>scale</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first</a:t>
            </a:r>
            <a:r>
              <a:rPr lang="da-DK" sz="1100" dirty="0">
                <a:latin typeface="Arial" panose="020B0604020202020204" pitchFamily="34" charset="0"/>
                <a:ea typeface="Gulim" charset="-127"/>
                <a:cs typeface="Arial" panose="020B0604020202020204" pitchFamily="34" charset="0"/>
              </a:rPr>
              <a:t> </a:t>
            </a:r>
            <a:r>
              <a:rPr lang="da-DK" sz="1100" dirty="0" err="1">
                <a:latin typeface="Arial" panose="020B0604020202020204" pitchFamily="34" charset="0"/>
                <a:ea typeface="Gulim" charset="-127"/>
                <a:cs typeface="Arial" panose="020B0604020202020204" pitchFamily="34" charset="0"/>
              </a:rPr>
              <a:t>Wennovate</a:t>
            </a:r>
            <a:r>
              <a:rPr lang="da-DK" sz="1100" dirty="0">
                <a:latin typeface="Arial" panose="020B0604020202020204" pitchFamily="34" charset="0"/>
                <a:ea typeface="Gulim" charset="-127"/>
                <a:cs typeface="Arial" panose="020B0604020202020204" pitchFamily="34" charset="0"/>
              </a:rPr>
              <a:t> solution</a:t>
            </a:r>
          </a:p>
          <a:p>
            <a:pPr marL="171450" indent="-171450">
              <a:lnSpc>
                <a:spcPts val="1600"/>
              </a:lnSpc>
              <a:buFont typeface="Courier New" charset="0"/>
              <a:buChar char="o"/>
            </a:pPr>
            <a:r>
              <a:rPr lang="da-DK" sz="1100" dirty="0" err="1">
                <a:latin typeface="Arial" panose="020B0604020202020204" pitchFamily="34" charset="0"/>
                <a:ea typeface="Gulim" charset="-127"/>
                <a:cs typeface="Arial" panose="020B0604020202020204" pitchFamily="34" charset="0"/>
              </a:rPr>
              <a:t>Expand</a:t>
            </a:r>
            <a:r>
              <a:rPr lang="da-DK" sz="1100" dirty="0">
                <a:latin typeface="Arial" panose="020B0604020202020204" pitchFamily="34" charset="0"/>
                <a:ea typeface="Gulim" charset="-127"/>
                <a:cs typeface="Arial" panose="020B0604020202020204" pitchFamily="34" charset="0"/>
              </a:rPr>
              <a:t> data </a:t>
            </a:r>
            <a:r>
              <a:rPr lang="da-DK" sz="1100" dirty="0" err="1">
                <a:latin typeface="Arial" panose="020B0604020202020204" pitchFamily="34" charset="0"/>
                <a:ea typeface="Gulim" charset="-127"/>
                <a:cs typeface="Arial" panose="020B0604020202020204" pitchFamily="34" charset="0"/>
              </a:rPr>
              <a:t>sharing</a:t>
            </a:r>
            <a:r>
              <a:rPr lang="da-DK" sz="1100" dirty="0">
                <a:latin typeface="Arial" panose="020B0604020202020204" pitchFamily="34" charset="0"/>
                <a:ea typeface="Gulim" charset="-127"/>
                <a:cs typeface="Arial" panose="020B0604020202020204" pitchFamily="34" charset="0"/>
              </a:rPr>
              <a:t> to </a:t>
            </a:r>
            <a:r>
              <a:rPr lang="da-DK" sz="1100" dirty="0" err="1">
                <a:latin typeface="Arial" panose="020B0604020202020204" pitchFamily="34" charset="0"/>
                <a:ea typeface="Gulim" charset="-127"/>
                <a:cs typeface="Arial" panose="020B0604020202020204" pitchFamily="34" charset="0"/>
              </a:rPr>
              <a:t>markets</a:t>
            </a:r>
            <a:r>
              <a:rPr lang="da-DK" sz="1100" dirty="0">
                <a:latin typeface="Arial" panose="020B0604020202020204" pitchFamily="34" charset="0"/>
                <a:ea typeface="Gulim" charset="-127"/>
                <a:cs typeface="Arial" panose="020B0604020202020204" pitchFamily="34" charset="0"/>
              </a:rPr>
              <a:t> with favorable </a:t>
            </a:r>
            <a:r>
              <a:rPr lang="da-DK" sz="1100" dirty="0" err="1">
                <a:latin typeface="Arial" panose="020B0604020202020204" pitchFamily="34" charset="0"/>
                <a:ea typeface="Gulim" charset="-127"/>
                <a:cs typeface="Arial" panose="020B0604020202020204" pitchFamily="34" charset="0"/>
              </a:rPr>
              <a:t>legislation</a:t>
            </a:r>
            <a:endParaRPr lang="da-DK" sz="1100" dirty="0">
              <a:latin typeface="Arial" panose="020B0604020202020204" pitchFamily="34" charset="0"/>
              <a:ea typeface="Gulim" charset="-127"/>
              <a:cs typeface="Arial" panose="020B0604020202020204" pitchFamily="34" charset="0"/>
            </a:endParaRPr>
          </a:p>
        </p:txBody>
      </p:sp>
    </p:spTree>
    <p:extLst>
      <p:ext uri="{BB962C8B-B14F-4D97-AF65-F5344CB8AC3E}">
        <p14:creationId xmlns:p14="http://schemas.microsoft.com/office/powerpoint/2010/main" val="12365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4" grpId="0" animBg="1"/>
      <p:bldP spid="28"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Lige pilforbindelse 69"/>
          <p:cNvCxnSpPr/>
          <p:nvPr/>
        </p:nvCxnSpPr>
        <p:spPr>
          <a:xfrm flipV="1">
            <a:off x="1146562" y="1515878"/>
            <a:ext cx="0" cy="4151043"/>
          </a:xfrm>
          <a:prstGeom prst="straightConnector1">
            <a:avLst/>
          </a:prstGeom>
          <a:ln w="19050">
            <a:solidFill>
              <a:schemeClr val="accent3"/>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sp>
        <p:nvSpPr>
          <p:cNvPr id="103" name="Ellipse 102"/>
          <p:cNvSpPr/>
          <p:nvPr/>
        </p:nvSpPr>
        <p:spPr>
          <a:xfrm rot="5400000">
            <a:off x="1383351" y="1671509"/>
            <a:ext cx="359533" cy="35953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a:latin typeface="Arial" panose="020B0604020202020204" pitchFamily="34" charset="0"/>
              <a:cs typeface="Arial" panose="020B0604020202020204" pitchFamily="34" charset="0"/>
            </a:endParaRPr>
          </a:p>
        </p:txBody>
      </p:sp>
      <p:cxnSp>
        <p:nvCxnSpPr>
          <p:cNvPr id="104" name="Lige forbindelse 103"/>
          <p:cNvCxnSpPr/>
          <p:nvPr/>
        </p:nvCxnSpPr>
        <p:spPr>
          <a:xfrm flipH="1">
            <a:off x="1146562" y="1851360"/>
            <a:ext cx="23774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32" name="Tekstfelt 31"/>
          <p:cNvSpPr txBox="1"/>
          <p:nvPr/>
        </p:nvSpPr>
        <p:spPr>
          <a:xfrm>
            <a:off x="587375" y="1689844"/>
            <a:ext cx="582211" cy="307777"/>
          </a:xfrm>
          <a:prstGeom prst="rect">
            <a:avLst/>
          </a:prstGeom>
          <a:noFill/>
        </p:spPr>
        <p:txBody>
          <a:bodyPr wrap="none" rtlCol="0">
            <a:spAutoFit/>
          </a:bodyPr>
          <a:lstStyle/>
          <a:p>
            <a:r>
              <a:rPr lang="en-GB" sz="1400" dirty="0">
                <a:latin typeface="Arial" panose="020B0604020202020204" pitchFamily="34" charset="0"/>
                <a:cs typeface="Arial" panose="020B0604020202020204" pitchFamily="34" charset="0"/>
              </a:rPr>
              <a:t>2017</a:t>
            </a:r>
          </a:p>
        </p:txBody>
      </p:sp>
      <p:sp>
        <p:nvSpPr>
          <p:cNvPr id="36" name="Tekstfelt 35"/>
          <p:cNvSpPr txBox="1"/>
          <p:nvPr/>
        </p:nvSpPr>
        <p:spPr>
          <a:xfrm>
            <a:off x="1409105" y="1679796"/>
            <a:ext cx="327334" cy="400110"/>
          </a:xfrm>
          <a:prstGeom prst="rect">
            <a:avLst/>
          </a:prstGeom>
          <a:noFill/>
        </p:spPr>
        <p:txBody>
          <a:bodyPr wrap="none" rtlCol="0">
            <a:spAutoFit/>
          </a:bodyPr>
          <a:lstStyle/>
          <a:p>
            <a:r>
              <a:rPr lang="en-GB" sz="2000" b="1" dirty="0">
                <a:latin typeface="Arial" panose="020B0604020202020204" pitchFamily="34" charset="0"/>
                <a:ea typeface="Calisto MT" charset="0"/>
                <a:cs typeface="Arial" panose="020B0604020202020204" pitchFamily="34" charset="0"/>
              </a:rPr>
              <a:t>1</a:t>
            </a:r>
            <a:endParaRPr lang="en-GB" b="1" dirty="0">
              <a:latin typeface="Arial" panose="020B0604020202020204" pitchFamily="34" charset="0"/>
              <a:ea typeface="Calisto MT" charset="0"/>
              <a:cs typeface="Arial" panose="020B0604020202020204" pitchFamily="34" charset="0"/>
            </a:endParaRPr>
          </a:p>
        </p:txBody>
      </p:sp>
      <p:sp>
        <p:nvSpPr>
          <p:cNvPr id="37" name="Tekstfelt 36"/>
          <p:cNvSpPr txBox="1"/>
          <p:nvPr/>
        </p:nvSpPr>
        <p:spPr>
          <a:xfrm>
            <a:off x="1755454" y="1603643"/>
            <a:ext cx="1902146" cy="461665"/>
          </a:xfrm>
          <a:prstGeom prst="rect">
            <a:avLst/>
          </a:prstGeom>
          <a:noFill/>
        </p:spPr>
        <p:txBody>
          <a:bodyPr wrap="square" rtlCol="0">
            <a:spAutoFit/>
          </a:bodyPr>
          <a:lstStyle/>
          <a:p>
            <a:r>
              <a:rPr lang="en-GB" sz="1200" dirty="0">
                <a:latin typeface="Arial" panose="020B0604020202020204" pitchFamily="34" charset="0"/>
                <a:cs typeface="Arial" panose="020B0604020202020204" pitchFamily="34" charset="0"/>
              </a:rPr>
              <a:t>Proof of concept from pilot roll-out in Stockholm</a:t>
            </a:r>
          </a:p>
        </p:txBody>
      </p:sp>
      <p:sp>
        <p:nvSpPr>
          <p:cNvPr id="105" name="Ellipse 104"/>
          <p:cNvSpPr/>
          <p:nvPr/>
        </p:nvSpPr>
        <p:spPr>
          <a:xfrm rot="5400000">
            <a:off x="1408430" y="2710287"/>
            <a:ext cx="359533" cy="35953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a:latin typeface="Arial" panose="020B0604020202020204" pitchFamily="34" charset="0"/>
              <a:cs typeface="Arial" panose="020B0604020202020204" pitchFamily="34" charset="0"/>
            </a:endParaRPr>
          </a:p>
        </p:txBody>
      </p:sp>
      <p:cxnSp>
        <p:nvCxnSpPr>
          <p:cNvPr id="106" name="Lige forbindelse 105"/>
          <p:cNvCxnSpPr/>
          <p:nvPr/>
        </p:nvCxnSpPr>
        <p:spPr>
          <a:xfrm flipH="1">
            <a:off x="1141999" y="2890054"/>
            <a:ext cx="255215"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107" name="Tekstfelt 106"/>
          <p:cNvSpPr txBox="1"/>
          <p:nvPr/>
        </p:nvSpPr>
        <p:spPr>
          <a:xfrm>
            <a:off x="1445918" y="2719842"/>
            <a:ext cx="327334" cy="400110"/>
          </a:xfrm>
          <a:prstGeom prst="rect">
            <a:avLst/>
          </a:prstGeom>
          <a:noFill/>
        </p:spPr>
        <p:txBody>
          <a:bodyPr wrap="none" rtlCol="0">
            <a:spAutoFit/>
          </a:bodyPr>
          <a:lstStyle/>
          <a:p>
            <a:r>
              <a:rPr lang="en-GB" sz="2000" b="1" dirty="0">
                <a:latin typeface="Arial" panose="020B0604020202020204" pitchFamily="34" charset="0"/>
                <a:ea typeface="Calisto MT" charset="0"/>
                <a:cs typeface="Arial" panose="020B0604020202020204" pitchFamily="34" charset="0"/>
              </a:rPr>
              <a:t>2</a:t>
            </a:r>
            <a:endParaRPr lang="en-GB" b="1" dirty="0">
              <a:latin typeface="Arial" panose="020B0604020202020204" pitchFamily="34" charset="0"/>
              <a:ea typeface="Calisto MT" charset="0"/>
              <a:cs typeface="Arial" panose="020B0604020202020204" pitchFamily="34" charset="0"/>
            </a:endParaRPr>
          </a:p>
        </p:txBody>
      </p:sp>
      <p:sp>
        <p:nvSpPr>
          <p:cNvPr id="108" name="Tekstfelt 107"/>
          <p:cNvSpPr txBox="1"/>
          <p:nvPr/>
        </p:nvSpPr>
        <p:spPr>
          <a:xfrm>
            <a:off x="568023" y="2704846"/>
            <a:ext cx="582211" cy="307777"/>
          </a:xfrm>
          <a:prstGeom prst="rect">
            <a:avLst/>
          </a:prstGeom>
          <a:noFill/>
        </p:spPr>
        <p:txBody>
          <a:bodyPr wrap="none" rtlCol="0">
            <a:spAutoFit/>
          </a:bodyPr>
          <a:lstStyle/>
          <a:p>
            <a:r>
              <a:rPr lang="en-GB" sz="1400" dirty="0">
                <a:latin typeface="Arial" panose="020B0604020202020204" pitchFamily="34" charset="0"/>
                <a:cs typeface="Arial" panose="020B0604020202020204" pitchFamily="34" charset="0"/>
              </a:rPr>
              <a:t>2018</a:t>
            </a:r>
          </a:p>
        </p:txBody>
      </p:sp>
      <p:sp>
        <p:nvSpPr>
          <p:cNvPr id="109" name="Tekstfelt 108"/>
          <p:cNvSpPr txBox="1"/>
          <p:nvPr/>
        </p:nvSpPr>
        <p:spPr>
          <a:xfrm>
            <a:off x="1796213" y="2649372"/>
            <a:ext cx="1659339" cy="461665"/>
          </a:xfrm>
          <a:prstGeom prst="rect">
            <a:avLst/>
          </a:prstGeom>
          <a:noFill/>
        </p:spPr>
        <p:txBody>
          <a:bodyPr wrap="square" rtlCol="0">
            <a:spAutoFit/>
          </a:bodyPr>
          <a:lstStyle/>
          <a:p>
            <a:r>
              <a:rPr lang="en-GB" sz="1200" dirty="0">
                <a:latin typeface="Arial" panose="020B0604020202020204" pitchFamily="34" charset="0"/>
                <a:cs typeface="Arial" panose="020B0604020202020204" pitchFamily="34" charset="0"/>
              </a:rPr>
              <a:t>Roll-out to all of Scandinavia.</a:t>
            </a:r>
          </a:p>
        </p:txBody>
      </p:sp>
      <p:sp>
        <p:nvSpPr>
          <p:cNvPr id="110" name="Ellipse 109"/>
          <p:cNvSpPr/>
          <p:nvPr/>
        </p:nvSpPr>
        <p:spPr>
          <a:xfrm rot="5400000">
            <a:off x="1403662" y="4148571"/>
            <a:ext cx="359533" cy="35953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a:latin typeface="Arial" panose="020B0604020202020204" pitchFamily="34" charset="0"/>
              <a:cs typeface="Arial" panose="020B0604020202020204" pitchFamily="34" charset="0"/>
            </a:endParaRPr>
          </a:p>
        </p:txBody>
      </p:sp>
      <p:cxnSp>
        <p:nvCxnSpPr>
          <p:cNvPr id="111" name="Lige forbindelse 110"/>
          <p:cNvCxnSpPr/>
          <p:nvPr/>
        </p:nvCxnSpPr>
        <p:spPr>
          <a:xfrm flipH="1">
            <a:off x="1137231" y="4328338"/>
            <a:ext cx="255215"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112" name="Tekstfelt 111"/>
          <p:cNvSpPr txBox="1"/>
          <p:nvPr/>
        </p:nvSpPr>
        <p:spPr>
          <a:xfrm>
            <a:off x="1441150" y="4158126"/>
            <a:ext cx="327334" cy="400110"/>
          </a:xfrm>
          <a:prstGeom prst="rect">
            <a:avLst/>
          </a:prstGeom>
          <a:noFill/>
        </p:spPr>
        <p:txBody>
          <a:bodyPr wrap="none" rtlCol="0">
            <a:spAutoFit/>
          </a:bodyPr>
          <a:lstStyle/>
          <a:p>
            <a:r>
              <a:rPr lang="en-GB" sz="2000" b="1" dirty="0">
                <a:latin typeface="Arial" panose="020B0604020202020204" pitchFamily="34" charset="0"/>
                <a:ea typeface="Calisto MT" charset="0"/>
                <a:cs typeface="Arial" panose="020B0604020202020204" pitchFamily="34" charset="0"/>
              </a:rPr>
              <a:t>3</a:t>
            </a:r>
            <a:endParaRPr lang="en-GB" b="1" dirty="0">
              <a:latin typeface="Arial" panose="020B0604020202020204" pitchFamily="34" charset="0"/>
              <a:ea typeface="Calisto MT" charset="0"/>
              <a:cs typeface="Arial" panose="020B0604020202020204" pitchFamily="34" charset="0"/>
            </a:endParaRPr>
          </a:p>
        </p:txBody>
      </p:sp>
      <p:sp>
        <p:nvSpPr>
          <p:cNvPr id="113" name="Tekstfelt 112"/>
          <p:cNvSpPr txBox="1"/>
          <p:nvPr/>
        </p:nvSpPr>
        <p:spPr>
          <a:xfrm>
            <a:off x="563255" y="4143130"/>
            <a:ext cx="582211" cy="307777"/>
          </a:xfrm>
          <a:prstGeom prst="rect">
            <a:avLst/>
          </a:prstGeom>
          <a:noFill/>
        </p:spPr>
        <p:txBody>
          <a:bodyPr wrap="none" rtlCol="0">
            <a:spAutoFit/>
          </a:bodyPr>
          <a:lstStyle/>
          <a:p>
            <a:r>
              <a:rPr lang="en-GB" sz="1400" dirty="0">
                <a:latin typeface="Arial" panose="020B0604020202020204" pitchFamily="34" charset="0"/>
                <a:cs typeface="Arial" panose="020B0604020202020204" pitchFamily="34" charset="0"/>
              </a:rPr>
              <a:t>2021</a:t>
            </a:r>
          </a:p>
        </p:txBody>
      </p:sp>
      <p:sp>
        <p:nvSpPr>
          <p:cNvPr id="114" name="Tekstfelt 113"/>
          <p:cNvSpPr txBox="1"/>
          <p:nvPr/>
        </p:nvSpPr>
        <p:spPr>
          <a:xfrm>
            <a:off x="1803848" y="4088931"/>
            <a:ext cx="2226622" cy="646331"/>
          </a:xfrm>
          <a:prstGeom prst="rect">
            <a:avLst/>
          </a:prstGeom>
          <a:noFill/>
        </p:spPr>
        <p:txBody>
          <a:bodyPr wrap="square" rtlCol="0">
            <a:spAutoFit/>
          </a:bodyPr>
          <a:lstStyle/>
          <a:p>
            <a:r>
              <a:rPr lang="en-GB" sz="1200" dirty="0">
                <a:latin typeface="Arial" panose="020B0604020202020204" pitchFamily="34" charset="0"/>
                <a:cs typeface="Arial" panose="020B0604020202020204" pitchFamily="34" charset="0"/>
              </a:rPr>
              <a:t>Scale to further potential away from home market in Belgium and The Netherlands</a:t>
            </a:r>
          </a:p>
        </p:txBody>
      </p:sp>
      <p:sp>
        <p:nvSpPr>
          <p:cNvPr id="115" name="L-form 114"/>
          <p:cNvSpPr/>
          <p:nvPr/>
        </p:nvSpPr>
        <p:spPr>
          <a:xfrm rot="18259209">
            <a:off x="1408069" y="2176921"/>
            <a:ext cx="346867" cy="188821"/>
          </a:xfrm>
          <a:prstGeom prst="corner">
            <a:avLst>
              <a:gd name="adj1" fmla="val 31460"/>
              <a:gd name="adj2" fmla="val 2973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40" name="Tekstfelt 39"/>
          <p:cNvSpPr txBox="1"/>
          <p:nvPr/>
        </p:nvSpPr>
        <p:spPr>
          <a:xfrm>
            <a:off x="1755454" y="2193471"/>
            <a:ext cx="2351926"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Customer feedback on concept </a:t>
            </a:r>
          </a:p>
        </p:txBody>
      </p:sp>
      <p:sp>
        <p:nvSpPr>
          <p:cNvPr id="118" name="Tekstfelt 117"/>
          <p:cNvSpPr txBox="1"/>
          <p:nvPr/>
        </p:nvSpPr>
        <p:spPr>
          <a:xfrm>
            <a:off x="1796213" y="3279724"/>
            <a:ext cx="1616148"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Existing supply chain</a:t>
            </a:r>
          </a:p>
        </p:txBody>
      </p:sp>
      <p:sp>
        <p:nvSpPr>
          <p:cNvPr id="119" name="Tekstfelt 118"/>
          <p:cNvSpPr txBox="1"/>
          <p:nvPr/>
        </p:nvSpPr>
        <p:spPr>
          <a:xfrm>
            <a:off x="1796213" y="3624585"/>
            <a:ext cx="1725601"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Well-known customers</a:t>
            </a:r>
          </a:p>
        </p:txBody>
      </p:sp>
      <p:pic>
        <p:nvPicPr>
          <p:cNvPr id="41" name="Billede 4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31439" y="3200158"/>
            <a:ext cx="370876" cy="370876"/>
          </a:xfrm>
          <a:prstGeom prst="rect">
            <a:avLst/>
          </a:prstGeom>
        </p:spPr>
      </p:pic>
      <p:pic>
        <p:nvPicPr>
          <p:cNvPr id="42" name="Billede 4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31439" y="3537982"/>
            <a:ext cx="389387" cy="389387"/>
          </a:xfrm>
          <a:prstGeom prst="rect">
            <a:avLst/>
          </a:prstGeom>
        </p:spPr>
      </p:pic>
      <p:pic>
        <p:nvPicPr>
          <p:cNvPr id="120" name="Picture 7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65977" y="4673028"/>
            <a:ext cx="303737" cy="303737"/>
          </a:xfrm>
          <a:prstGeom prst="rect">
            <a:avLst/>
          </a:prstGeom>
        </p:spPr>
      </p:pic>
      <p:sp>
        <p:nvSpPr>
          <p:cNvPr id="121" name="Tekstfelt 120"/>
          <p:cNvSpPr txBox="1"/>
          <p:nvPr/>
        </p:nvSpPr>
        <p:spPr>
          <a:xfrm>
            <a:off x="1843239" y="4715352"/>
            <a:ext cx="2204450"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 High ease of doing business</a:t>
            </a:r>
          </a:p>
        </p:txBody>
      </p:sp>
      <p:pic>
        <p:nvPicPr>
          <p:cNvPr id="122" name="Billed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59007" y="5000231"/>
            <a:ext cx="344842" cy="344842"/>
          </a:xfrm>
          <a:prstGeom prst="rect">
            <a:avLst/>
          </a:prstGeom>
        </p:spPr>
      </p:pic>
      <p:sp>
        <p:nvSpPr>
          <p:cNvPr id="123" name="Tekstfelt 122"/>
          <p:cNvSpPr txBox="1"/>
          <p:nvPr/>
        </p:nvSpPr>
        <p:spPr>
          <a:xfrm>
            <a:off x="1826020" y="5052688"/>
            <a:ext cx="2031775"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 High Coffee Consumption</a:t>
            </a:r>
          </a:p>
        </p:txBody>
      </p:sp>
      <p:pic>
        <p:nvPicPr>
          <p:cNvPr id="124" name="Billede 3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83693" y="5370562"/>
            <a:ext cx="274778" cy="274778"/>
          </a:xfrm>
          <a:prstGeom prst="rect">
            <a:avLst/>
          </a:prstGeom>
        </p:spPr>
      </p:pic>
      <p:sp>
        <p:nvSpPr>
          <p:cNvPr id="125" name="Tekstfelt 124"/>
          <p:cNvSpPr txBox="1"/>
          <p:nvPr/>
        </p:nvSpPr>
        <p:spPr>
          <a:xfrm>
            <a:off x="1796213" y="5362028"/>
            <a:ext cx="1943161"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 High Proximity to Malmö</a:t>
            </a:r>
          </a:p>
        </p:txBody>
      </p:sp>
      <p:sp>
        <p:nvSpPr>
          <p:cNvPr id="126" name="Rektangel 125"/>
          <p:cNvSpPr/>
          <p:nvPr/>
        </p:nvSpPr>
        <p:spPr>
          <a:xfrm>
            <a:off x="1354775" y="1589355"/>
            <a:ext cx="2664338" cy="968505"/>
          </a:xfrm>
          <a:prstGeom prst="rect">
            <a:avLst/>
          </a:prstGeom>
          <a:noFill/>
          <a:ln>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127" name="Rektangel 126"/>
          <p:cNvSpPr/>
          <p:nvPr/>
        </p:nvSpPr>
        <p:spPr>
          <a:xfrm>
            <a:off x="1366132" y="2642845"/>
            <a:ext cx="2664338" cy="1303316"/>
          </a:xfrm>
          <a:prstGeom prst="rect">
            <a:avLst/>
          </a:prstGeom>
          <a:noFill/>
          <a:ln>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128" name="Rektangel 127"/>
          <p:cNvSpPr/>
          <p:nvPr/>
        </p:nvSpPr>
        <p:spPr>
          <a:xfrm>
            <a:off x="1378747" y="4028205"/>
            <a:ext cx="2664338" cy="1638716"/>
          </a:xfrm>
          <a:prstGeom prst="rect">
            <a:avLst/>
          </a:prstGeom>
          <a:noFill/>
          <a:ln>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44AE832F-64C3-064B-B0D2-691B2C6B8AAC}"/>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1197A752-BAA2-5648-AFAD-329101A36CF6}"/>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191" name="Titel 190"/>
          <p:cNvSpPr>
            <a:spLocks noGrp="1"/>
          </p:cNvSpPr>
          <p:nvPr>
            <p:ph type="title"/>
          </p:nvPr>
        </p:nvSpPr>
        <p:spPr/>
        <p:txBody>
          <a:bodyPr/>
          <a:lstStyle/>
          <a:p>
            <a:r>
              <a:rPr lang="en-GB" dirty="0">
                <a:latin typeface="Arial" panose="020B0604020202020204" pitchFamily="34" charset="0"/>
                <a:cs typeface="Arial" panose="020B0604020202020204" pitchFamily="34" charset="0"/>
              </a:rPr>
              <a:t>To successfully scale Espresso House, the ‘A Barista on Every Corner’-strategy should be executed in three phases from 2018 to 2022</a:t>
            </a:r>
          </a:p>
        </p:txBody>
      </p:sp>
      <p:grpSp>
        <p:nvGrpSpPr>
          <p:cNvPr id="117" name="Group 116"/>
          <p:cNvGrpSpPr/>
          <p:nvPr/>
        </p:nvGrpSpPr>
        <p:grpSpPr>
          <a:xfrm>
            <a:off x="4443764" y="1769896"/>
            <a:ext cx="6112040" cy="3296654"/>
            <a:chOff x="2565459" y="1589601"/>
            <a:chExt cx="1795974" cy="2055677"/>
          </a:xfrm>
          <a:solidFill>
            <a:schemeClr val="bg2"/>
          </a:solidFill>
        </p:grpSpPr>
        <p:sp>
          <p:nvSpPr>
            <p:cNvPr id="129" name="Freeform 1155"/>
            <p:cNvSpPr>
              <a:spLocks/>
            </p:cNvSpPr>
            <p:nvPr/>
          </p:nvSpPr>
          <p:spPr bwMode="auto">
            <a:xfrm>
              <a:off x="2680126" y="2706594"/>
              <a:ext cx="28667" cy="3693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33" name="Freeform 1156"/>
            <p:cNvSpPr>
              <a:spLocks/>
            </p:cNvSpPr>
            <p:nvPr/>
          </p:nvSpPr>
          <p:spPr bwMode="auto">
            <a:xfrm>
              <a:off x="2668658" y="2730794"/>
              <a:ext cx="18633" cy="15284"/>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34" name="Freeform 1157"/>
            <p:cNvSpPr>
              <a:spLocks/>
            </p:cNvSpPr>
            <p:nvPr/>
          </p:nvSpPr>
          <p:spPr bwMode="auto">
            <a:xfrm>
              <a:off x="2869326" y="2421296"/>
              <a:ext cx="215001" cy="212700"/>
            </a:xfrm>
            <a:custGeom>
              <a:avLst/>
              <a:gdLst>
                <a:gd name="T0" fmla="*/ 2147483647 w 456"/>
                <a:gd name="T1" fmla="*/ 2147483647 h 510"/>
                <a:gd name="T2" fmla="*/ 2147483647 w 456"/>
                <a:gd name="T3" fmla="*/ 2147483647 h 510"/>
                <a:gd name="T4" fmla="*/ 2147483647 w 456"/>
                <a:gd name="T5" fmla="*/ 2147483647 h 510"/>
                <a:gd name="T6" fmla="*/ 2147483647 w 456"/>
                <a:gd name="T7" fmla="*/ 2147483647 h 510"/>
                <a:gd name="T8" fmla="*/ 2147483647 w 456"/>
                <a:gd name="T9" fmla="*/ 2147483647 h 510"/>
                <a:gd name="T10" fmla="*/ 2147483647 w 456"/>
                <a:gd name="T11" fmla="*/ 2147483647 h 510"/>
                <a:gd name="T12" fmla="*/ 2147483647 w 456"/>
                <a:gd name="T13" fmla="*/ 2147483647 h 510"/>
                <a:gd name="T14" fmla="*/ 2147483647 w 456"/>
                <a:gd name="T15" fmla="*/ 2147483647 h 510"/>
                <a:gd name="T16" fmla="*/ 2147483647 w 456"/>
                <a:gd name="T17" fmla="*/ 2147483647 h 510"/>
                <a:gd name="T18" fmla="*/ 2147483647 w 456"/>
                <a:gd name="T19" fmla="*/ 2147483647 h 510"/>
                <a:gd name="T20" fmla="*/ 2147483647 w 456"/>
                <a:gd name="T21" fmla="*/ 2147483647 h 510"/>
                <a:gd name="T22" fmla="*/ 2147483647 w 456"/>
                <a:gd name="T23" fmla="*/ 2147483647 h 510"/>
                <a:gd name="T24" fmla="*/ 2147483647 w 456"/>
                <a:gd name="T25" fmla="*/ 2147483647 h 510"/>
                <a:gd name="T26" fmla="*/ 2147483647 w 456"/>
                <a:gd name="T27" fmla="*/ 2147483647 h 510"/>
                <a:gd name="T28" fmla="*/ 2147483647 w 456"/>
                <a:gd name="T29" fmla="*/ 2147483647 h 510"/>
                <a:gd name="T30" fmla="*/ 2147483647 w 456"/>
                <a:gd name="T31" fmla="*/ 2147483647 h 510"/>
                <a:gd name="T32" fmla="*/ 2147483647 w 456"/>
                <a:gd name="T33" fmla="*/ 2147483647 h 510"/>
                <a:gd name="T34" fmla="*/ 0 w 456"/>
                <a:gd name="T35" fmla="*/ 2147483647 h 510"/>
                <a:gd name="T36" fmla="*/ 2147483647 w 456"/>
                <a:gd name="T37" fmla="*/ 2147483647 h 510"/>
                <a:gd name="T38" fmla="*/ 2147483647 w 456"/>
                <a:gd name="T39" fmla="*/ 2147483647 h 510"/>
                <a:gd name="T40" fmla="*/ 2147483647 w 456"/>
                <a:gd name="T41" fmla="*/ 2147483647 h 510"/>
                <a:gd name="T42" fmla="*/ 2147483647 w 456"/>
                <a:gd name="T43" fmla="*/ 2147483647 h 510"/>
                <a:gd name="T44" fmla="*/ 2147483647 w 456"/>
                <a:gd name="T45" fmla="*/ 2147483647 h 510"/>
                <a:gd name="T46" fmla="*/ 2147483647 w 456"/>
                <a:gd name="T47" fmla="*/ 2147483647 h 510"/>
                <a:gd name="T48" fmla="*/ 2147483647 w 456"/>
                <a:gd name="T49" fmla="*/ 2147483647 h 510"/>
                <a:gd name="T50" fmla="*/ 2147483647 w 456"/>
                <a:gd name="T51" fmla="*/ 2147483647 h 510"/>
                <a:gd name="T52" fmla="*/ 2147483647 w 456"/>
                <a:gd name="T53" fmla="*/ 2147483647 h 510"/>
                <a:gd name="T54" fmla="*/ 2147483647 w 456"/>
                <a:gd name="T55" fmla="*/ 2147483647 h 510"/>
                <a:gd name="T56" fmla="*/ 2147483647 w 456"/>
                <a:gd name="T57" fmla="*/ 2147483647 h 510"/>
                <a:gd name="T58" fmla="*/ 2147483647 w 456"/>
                <a:gd name="T59" fmla="*/ 2147483647 h 510"/>
                <a:gd name="T60" fmla="*/ 2147483647 w 456"/>
                <a:gd name="T61" fmla="*/ 2147483647 h 510"/>
                <a:gd name="T62" fmla="*/ 2147483647 w 456"/>
                <a:gd name="T63" fmla="*/ 2147483647 h 510"/>
                <a:gd name="T64" fmla="*/ 2147483647 w 456"/>
                <a:gd name="T65" fmla="*/ 2147483647 h 510"/>
                <a:gd name="T66" fmla="*/ 2147483647 w 456"/>
                <a:gd name="T67" fmla="*/ 2147483647 h 510"/>
                <a:gd name="T68" fmla="*/ 2147483647 w 456"/>
                <a:gd name="T69" fmla="*/ 2147483647 h 510"/>
                <a:gd name="T70" fmla="*/ 2147483647 w 456"/>
                <a:gd name="T71" fmla="*/ 2147483647 h 510"/>
                <a:gd name="T72" fmla="*/ 2147483647 w 456"/>
                <a:gd name="T73" fmla="*/ 2147483647 h 510"/>
                <a:gd name="T74" fmla="*/ 2147483647 w 456"/>
                <a:gd name="T75" fmla="*/ 2147483647 h 510"/>
                <a:gd name="T76" fmla="*/ 2147483647 w 456"/>
                <a:gd name="T77" fmla="*/ 2147483647 h 510"/>
                <a:gd name="T78" fmla="*/ 2147483647 w 456"/>
                <a:gd name="T79" fmla="*/ 2147483647 h 510"/>
                <a:gd name="T80" fmla="*/ 2147483647 w 456"/>
                <a:gd name="T81" fmla="*/ 2147483647 h 510"/>
                <a:gd name="T82" fmla="*/ 2147483647 w 456"/>
                <a:gd name="T83" fmla="*/ 2147483647 h 510"/>
                <a:gd name="T84" fmla="*/ 2147483647 w 456"/>
                <a:gd name="T85" fmla="*/ 2147483647 h 510"/>
                <a:gd name="T86" fmla="*/ 2147483647 w 456"/>
                <a:gd name="T87" fmla="*/ 2147483647 h 510"/>
                <a:gd name="T88" fmla="*/ 2147483647 w 456"/>
                <a:gd name="T89" fmla="*/ 2147483647 h 510"/>
                <a:gd name="T90" fmla="*/ 2147483647 w 456"/>
                <a:gd name="T91" fmla="*/ 0 h 510"/>
                <a:gd name="T92" fmla="*/ 2147483647 w 456"/>
                <a:gd name="T93" fmla="*/ 2147483647 h 510"/>
                <a:gd name="T94" fmla="*/ 2147483647 w 456"/>
                <a:gd name="T95" fmla="*/ 2147483647 h 510"/>
                <a:gd name="T96" fmla="*/ 2147483647 w 456"/>
                <a:gd name="T97" fmla="*/ 2147483647 h 510"/>
                <a:gd name="T98" fmla="*/ 2147483647 w 456"/>
                <a:gd name="T99" fmla="*/ 2147483647 h 510"/>
                <a:gd name="T100" fmla="*/ 2147483647 w 456"/>
                <a:gd name="T101" fmla="*/ 2147483647 h 510"/>
                <a:gd name="T102" fmla="*/ 2147483647 w 456"/>
                <a:gd name="T103" fmla="*/ 2147483647 h 510"/>
                <a:gd name="T104" fmla="*/ 2147483647 w 456"/>
                <a:gd name="T105" fmla="*/ 2147483647 h 5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56"/>
                <a:gd name="T160" fmla="*/ 0 h 510"/>
                <a:gd name="T161" fmla="*/ 456 w 456"/>
                <a:gd name="T162" fmla="*/ 510 h 5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56" h="510">
                  <a:moveTo>
                    <a:pt x="73" y="90"/>
                  </a:moveTo>
                  <a:lnTo>
                    <a:pt x="88" y="114"/>
                  </a:lnTo>
                  <a:lnTo>
                    <a:pt x="77" y="148"/>
                  </a:lnTo>
                  <a:lnTo>
                    <a:pt x="43" y="225"/>
                  </a:lnTo>
                  <a:lnTo>
                    <a:pt x="57" y="250"/>
                  </a:lnTo>
                  <a:lnTo>
                    <a:pt x="33" y="254"/>
                  </a:lnTo>
                  <a:lnTo>
                    <a:pt x="37" y="280"/>
                  </a:lnTo>
                  <a:lnTo>
                    <a:pt x="34" y="297"/>
                  </a:lnTo>
                  <a:lnTo>
                    <a:pt x="40" y="302"/>
                  </a:lnTo>
                  <a:lnTo>
                    <a:pt x="31" y="316"/>
                  </a:lnTo>
                  <a:lnTo>
                    <a:pt x="21" y="326"/>
                  </a:lnTo>
                  <a:lnTo>
                    <a:pt x="15" y="340"/>
                  </a:lnTo>
                  <a:lnTo>
                    <a:pt x="23" y="350"/>
                  </a:lnTo>
                  <a:lnTo>
                    <a:pt x="9" y="355"/>
                  </a:lnTo>
                  <a:lnTo>
                    <a:pt x="13" y="363"/>
                  </a:lnTo>
                  <a:lnTo>
                    <a:pt x="7" y="368"/>
                  </a:lnTo>
                  <a:lnTo>
                    <a:pt x="12" y="376"/>
                  </a:lnTo>
                  <a:lnTo>
                    <a:pt x="0" y="390"/>
                  </a:lnTo>
                  <a:lnTo>
                    <a:pt x="32" y="399"/>
                  </a:lnTo>
                  <a:lnTo>
                    <a:pt x="51" y="414"/>
                  </a:lnTo>
                  <a:lnTo>
                    <a:pt x="58" y="407"/>
                  </a:lnTo>
                  <a:lnTo>
                    <a:pt x="77" y="422"/>
                  </a:lnTo>
                  <a:lnTo>
                    <a:pt x="118" y="510"/>
                  </a:lnTo>
                  <a:lnTo>
                    <a:pt x="180" y="454"/>
                  </a:lnTo>
                  <a:lnTo>
                    <a:pt x="195" y="471"/>
                  </a:lnTo>
                  <a:lnTo>
                    <a:pt x="228" y="450"/>
                  </a:lnTo>
                  <a:lnTo>
                    <a:pt x="237" y="423"/>
                  </a:lnTo>
                  <a:lnTo>
                    <a:pt x="234" y="391"/>
                  </a:lnTo>
                  <a:lnTo>
                    <a:pt x="247" y="350"/>
                  </a:lnTo>
                  <a:lnTo>
                    <a:pt x="285" y="338"/>
                  </a:lnTo>
                  <a:lnTo>
                    <a:pt x="291" y="297"/>
                  </a:lnTo>
                  <a:lnTo>
                    <a:pt x="299" y="289"/>
                  </a:lnTo>
                  <a:lnTo>
                    <a:pt x="456" y="174"/>
                  </a:lnTo>
                  <a:lnTo>
                    <a:pt x="456" y="157"/>
                  </a:lnTo>
                  <a:lnTo>
                    <a:pt x="364" y="53"/>
                  </a:lnTo>
                  <a:lnTo>
                    <a:pt x="307" y="56"/>
                  </a:lnTo>
                  <a:lnTo>
                    <a:pt x="301" y="67"/>
                  </a:lnTo>
                  <a:lnTo>
                    <a:pt x="306" y="74"/>
                  </a:lnTo>
                  <a:lnTo>
                    <a:pt x="301" y="88"/>
                  </a:lnTo>
                  <a:lnTo>
                    <a:pt x="291" y="93"/>
                  </a:lnTo>
                  <a:lnTo>
                    <a:pt x="292" y="60"/>
                  </a:lnTo>
                  <a:lnTo>
                    <a:pt x="281" y="58"/>
                  </a:lnTo>
                  <a:lnTo>
                    <a:pt x="267" y="86"/>
                  </a:lnTo>
                  <a:lnTo>
                    <a:pt x="264" y="70"/>
                  </a:lnTo>
                  <a:lnTo>
                    <a:pt x="271" y="59"/>
                  </a:lnTo>
                  <a:lnTo>
                    <a:pt x="192" y="0"/>
                  </a:lnTo>
                  <a:lnTo>
                    <a:pt x="123" y="13"/>
                  </a:lnTo>
                  <a:lnTo>
                    <a:pt x="124" y="34"/>
                  </a:lnTo>
                  <a:lnTo>
                    <a:pt x="114" y="14"/>
                  </a:lnTo>
                  <a:lnTo>
                    <a:pt x="55" y="29"/>
                  </a:lnTo>
                  <a:lnTo>
                    <a:pt x="73" y="57"/>
                  </a:lnTo>
                  <a:lnTo>
                    <a:pt x="65" y="69"/>
                  </a:lnTo>
                  <a:lnTo>
                    <a:pt x="73" y="9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35" name="Freeform 1158"/>
            <p:cNvSpPr>
              <a:spLocks/>
            </p:cNvSpPr>
            <p:nvPr/>
          </p:nvSpPr>
          <p:spPr bwMode="auto">
            <a:xfrm>
              <a:off x="3009794" y="2501534"/>
              <a:ext cx="369801" cy="268741"/>
            </a:xfrm>
            <a:custGeom>
              <a:avLst/>
              <a:gdLst>
                <a:gd name="T0" fmla="*/ 2147483647 w 783"/>
                <a:gd name="T1" fmla="*/ 2147483647 h 643"/>
                <a:gd name="T2" fmla="*/ 2147483647 w 783"/>
                <a:gd name="T3" fmla="*/ 2147483647 h 643"/>
                <a:gd name="T4" fmla="*/ 2147483647 w 783"/>
                <a:gd name="T5" fmla="*/ 2147483647 h 643"/>
                <a:gd name="T6" fmla="*/ 2147483647 w 783"/>
                <a:gd name="T7" fmla="*/ 2147483647 h 643"/>
                <a:gd name="T8" fmla="*/ 2147483647 w 783"/>
                <a:gd name="T9" fmla="*/ 2147483647 h 643"/>
                <a:gd name="T10" fmla="*/ 2147483647 w 783"/>
                <a:gd name="T11" fmla="*/ 2147483647 h 643"/>
                <a:gd name="T12" fmla="*/ 2147483647 w 783"/>
                <a:gd name="T13" fmla="*/ 2147483647 h 643"/>
                <a:gd name="T14" fmla="*/ 0 w 783"/>
                <a:gd name="T15" fmla="*/ 2147483647 h 643"/>
                <a:gd name="T16" fmla="*/ 2147483647 w 783"/>
                <a:gd name="T17" fmla="*/ 2147483647 h 643"/>
                <a:gd name="T18" fmla="*/ 2147483647 w 783"/>
                <a:gd name="T19" fmla="*/ 2147483647 h 643"/>
                <a:gd name="T20" fmla="*/ 2147483647 w 783"/>
                <a:gd name="T21" fmla="*/ 2147483647 h 643"/>
                <a:gd name="T22" fmla="*/ 2147483647 w 783"/>
                <a:gd name="T23" fmla="*/ 2147483647 h 643"/>
                <a:gd name="T24" fmla="*/ 2147483647 w 783"/>
                <a:gd name="T25" fmla="*/ 2147483647 h 643"/>
                <a:gd name="T26" fmla="*/ 2147483647 w 783"/>
                <a:gd name="T27" fmla="*/ 2147483647 h 643"/>
                <a:gd name="T28" fmla="*/ 2147483647 w 783"/>
                <a:gd name="T29" fmla="*/ 2147483647 h 643"/>
                <a:gd name="T30" fmla="*/ 2147483647 w 783"/>
                <a:gd name="T31" fmla="*/ 2147483647 h 643"/>
                <a:gd name="T32" fmla="*/ 2147483647 w 783"/>
                <a:gd name="T33" fmla="*/ 2147483647 h 643"/>
                <a:gd name="T34" fmla="*/ 2147483647 w 783"/>
                <a:gd name="T35" fmla="*/ 2147483647 h 643"/>
                <a:gd name="T36" fmla="*/ 2147483647 w 783"/>
                <a:gd name="T37" fmla="*/ 2147483647 h 643"/>
                <a:gd name="T38" fmla="*/ 2147483647 w 783"/>
                <a:gd name="T39" fmla="*/ 2147483647 h 643"/>
                <a:gd name="T40" fmla="*/ 2147483647 w 783"/>
                <a:gd name="T41" fmla="*/ 2147483647 h 643"/>
                <a:gd name="T42" fmla="*/ 2147483647 w 783"/>
                <a:gd name="T43" fmla="*/ 2147483647 h 643"/>
                <a:gd name="T44" fmla="*/ 2147483647 w 783"/>
                <a:gd name="T45" fmla="*/ 2147483647 h 643"/>
                <a:gd name="T46" fmla="*/ 2147483647 w 783"/>
                <a:gd name="T47" fmla="*/ 2147483647 h 643"/>
                <a:gd name="T48" fmla="*/ 2147483647 w 783"/>
                <a:gd name="T49" fmla="*/ 2147483647 h 643"/>
                <a:gd name="T50" fmla="*/ 2147483647 w 783"/>
                <a:gd name="T51" fmla="*/ 2147483647 h 643"/>
                <a:gd name="T52" fmla="*/ 2147483647 w 783"/>
                <a:gd name="T53" fmla="*/ 2147483647 h 643"/>
                <a:gd name="T54" fmla="*/ 2147483647 w 783"/>
                <a:gd name="T55" fmla="*/ 2147483647 h 643"/>
                <a:gd name="T56" fmla="*/ 2147483647 w 783"/>
                <a:gd name="T57" fmla="*/ 2147483647 h 643"/>
                <a:gd name="T58" fmla="*/ 2147483647 w 783"/>
                <a:gd name="T59" fmla="*/ 2147483647 h 643"/>
                <a:gd name="T60" fmla="*/ 2147483647 w 783"/>
                <a:gd name="T61" fmla="*/ 2147483647 h 643"/>
                <a:gd name="T62" fmla="*/ 2147483647 w 783"/>
                <a:gd name="T63" fmla="*/ 2147483647 h 643"/>
                <a:gd name="T64" fmla="*/ 2147483647 w 783"/>
                <a:gd name="T65" fmla="*/ 2147483647 h 643"/>
                <a:gd name="T66" fmla="*/ 2147483647 w 783"/>
                <a:gd name="T67" fmla="*/ 2147483647 h 643"/>
                <a:gd name="T68" fmla="*/ 2147483647 w 783"/>
                <a:gd name="T69" fmla="*/ 2147483647 h 643"/>
                <a:gd name="T70" fmla="*/ 2147483647 w 783"/>
                <a:gd name="T71" fmla="*/ 2147483647 h 643"/>
                <a:gd name="T72" fmla="*/ 2147483647 w 783"/>
                <a:gd name="T73" fmla="*/ 2147483647 h 643"/>
                <a:gd name="T74" fmla="*/ 2147483647 w 783"/>
                <a:gd name="T75" fmla="*/ 2147483647 h 643"/>
                <a:gd name="T76" fmla="*/ 2147483647 w 783"/>
                <a:gd name="T77" fmla="*/ 2147483647 h 643"/>
                <a:gd name="T78" fmla="*/ 2147483647 w 783"/>
                <a:gd name="T79" fmla="*/ 2147483647 h 643"/>
                <a:gd name="T80" fmla="*/ 2147483647 w 783"/>
                <a:gd name="T81" fmla="*/ 2147483647 h 643"/>
                <a:gd name="T82" fmla="*/ 2147483647 w 783"/>
                <a:gd name="T83" fmla="*/ 2147483647 h 643"/>
                <a:gd name="T84" fmla="*/ 2147483647 w 783"/>
                <a:gd name="T85" fmla="*/ 2147483647 h 643"/>
                <a:gd name="T86" fmla="*/ 2147483647 w 783"/>
                <a:gd name="T87" fmla="*/ 2147483647 h 6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3"/>
                <a:gd name="T133" fmla="*/ 0 h 643"/>
                <a:gd name="T134" fmla="*/ 783 w 783"/>
                <a:gd name="T135" fmla="*/ 643 h 6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3" h="643">
                  <a:moveTo>
                    <a:pt x="179" y="547"/>
                  </a:moveTo>
                  <a:lnTo>
                    <a:pt x="135" y="546"/>
                  </a:lnTo>
                  <a:lnTo>
                    <a:pt x="106" y="526"/>
                  </a:lnTo>
                  <a:lnTo>
                    <a:pt x="92" y="511"/>
                  </a:lnTo>
                  <a:lnTo>
                    <a:pt x="71" y="457"/>
                  </a:lnTo>
                  <a:lnTo>
                    <a:pt x="198" y="417"/>
                  </a:lnTo>
                  <a:lnTo>
                    <a:pt x="279" y="428"/>
                  </a:lnTo>
                  <a:lnTo>
                    <a:pt x="288" y="419"/>
                  </a:lnTo>
                  <a:lnTo>
                    <a:pt x="285" y="409"/>
                  </a:lnTo>
                  <a:lnTo>
                    <a:pt x="220" y="372"/>
                  </a:lnTo>
                  <a:lnTo>
                    <a:pt x="152" y="391"/>
                  </a:lnTo>
                  <a:lnTo>
                    <a:pt x="122" y="378"/>
                  </a:lnTo>
                  <a:lnTo>
                    <a:pt x="63" y="379"/>
                  </a:lnTo>
                  <a:lnTo>
                    <a:pt x="32" y="328"/>
                  </a:lnTo>
                  <a:lnTo>
                    <a:pt x="63" y="304"/>
                  </a:lnTo>
                  <a:lnTo>
                    <a:pt x="105" y="295"/>
                  </a:lnTo>
                  <a:lnTo>
                    <a:pt x="139" y="285"/>
                  </a:lnTo>
                  <a:lnTo>
                    <a:pt x="127" y="277"/>
                  </a:lnTo>
                  <a:lnTo>
                    <a:pt x="39" y="284"/>
                  </a:lnTo>
                  <a:lnTo>
                    <a:pt x="33" y="272"/>
                  </a:lnTo>
                  <a:lnTo>
                    <a:pt x="52" y="261"/>
                  </a:lnTo>
                  <a:lnTo>
                    <a:pt x="51" y="244"/>
                  </a:lnTo>
                  <a:lnTo>
                    <a:pt x="5" y="247"/>
                  </a:lnTo>
                  <a:lnTo>
                    <a:pt x="0" y="214"/>
                  </a:lnTo>
                  <a:lnTo>
                    <a:pt x="24" y="170"/>
                  </a:lnTo>
                  <a:lnTo>
                    <a:pt x="40" y="164"/>
                  </a:lnTo>
                  <a:lnTo>
                    <a:pt x="36" y="149"/>
                  </a:lnTo>
                  <a:lnTo>
                    <a:pt x="24" y="143"/>
                  </a:lnTo>
                  <a:lnTo>
                    <a:pt x="27" y="118"/>
                  </a:lnTo>
                  <a:lnTo>
                    <a:pt x="35" y="107"/>
                  </a:lnTo>
                  <a:lnTo>
                    <a:pt x="114" y="35"/>
                  </a:lnTo>
                  <a:lnTo>
                    <a:pt x="186" y="0"/>
                  </a:lnTo>
                  <a:lnTo>
                    <a:pt x="204" y="11"/>
                  </a:lnTo>
                  <a:lnTo>
                    <a:pt x="213" y="56"/>
                  </a:lnTo>
                  <a:lnTo>
                    <a:pt x="212" y="74"/>
                  </a:lnTo>
                  <a:lnTo>
                    <a:pt x="186" y="104"/>
                  </a:lnTo>
                  <a:lnTo>
                    <a:pt x="189" y="114"/>
                  </a:lnTo>
                  <a:lnTo>
                    <a:pt x="230" y="100"/>
                  </a:lnTo>
                  <a:lnTo>
                    <a:pt x="234" y="89"/>
                  </a:lnTo>
                  <a:lnTo>
                    <a:pt x="229" y="77"/>
                  </a:lnTo>
                  <a:lnTo>
                    <a:pt x="234" y="65"/>
                  </a:lnTo>
                  <a:lnTo>
                    <a:pt x="257" y="49"/>
                  </a:lnTo>
                  <a:lnTo>
                    <a:pt x="332" y="100"/>
                  </a:lnTo>
                  <a:lnTo>
                    <a:pt x="333" y="113"/>
                  </a:lnTo>
                  <a:lnTo>
                    <a:pt x="303" y="151"/>
                  </a:lnTo>
                  <a:lnTo>
                    <a:pt x="333" y="130"/>
                  </a:lnTo>
                  <a:lnTo>
                    <a:pt x="329" y="147"/>
                  </a:lnTo>
                  <a:lnTo>
                    <a:pt x="338" y="150"/>
                  </a:lnTo>
                  <a:lnTo>
                    <a:pt x="354" y="116"/>
                  </a:lnTo>
                  <a:lnTo>
                    <a:pt x="379" y="128"/>
                  </a:lnTo>
                  <a:lnTo>
                    <a:pt x="377" y="113"/>
                  </a:lnTo>
                  <a:lnTo>
                    <a:pt x="390" y="116"/>
                  </a:lnTo>
                  <a:lnTo>
                    <a:pt x="378" y="97"/>
                  </a:lnTo>
                  <a:lnTo>
                    <a:pt x="393" y="97"/>
                  </a:lnTo>
                  <a:lnTo>
                    <a:pt x="366" y="53"/>
                  </a:lnTo>
                  <a:lnTo>
                    <a:pt x="406" y="68"/>
                  </a:lnTo>
                  <a:lnTo>
                    <a:pt x="444" y="121"/>
                  </a:lnTo>
                  <a:lnTo>
                    <a:pt x="443" y="146"/>
                  </a:lnTo>
                  <a:lnTo>
                    <a:pt x="451" y="190"/>
                  </a:lnTo>
                  <a:lnTo>
                    <a:pt x="463" y="202"/>
                  </a:lnTo>
                  <a:lnTo>
                    <a:pt x="457" y="214"/>
                  </a:lnTo>
                  <a:lnTo>
                    <a:pt x="458" y="232"/>
                  </a:lnTo>
                  <a:lnTo>
                    <a:pt x="470" y="244"/>
                  </a:lnTo>
                  <a:lnTo>
                    <a:pt x="484" y="233"/>
                  </a:lnTo>
                  <a:lnTo>
                    <a:pt x="500" y="208"/>
                  </a:lnTo>
                  <a:lnTo>
                    <a:pt x="491" y="194"/>
                  </a:lnTo>
                  <a:lnTo>
                    <a:pt x="483" y="159"/>
                  </a:lnTo>
                  <a:lnTo>
                    <a:pt x="484" y="130"/>
                  </a:lnTo>
                  <a:lnTo>
                    <a:pt x="465" y="48"/>
                  </a:lnTo>
                  <a:lnTo>
                    <a:pt x="470" y="39"/>
                  </a:lnTo>
                  <a:lnTo>
                    <a:pt x="463" y="30"/>
                  </a:lnTo>
                  <a:lnTo>
                    <a:pt x="476" y="21"/>
                  </a:lnTo>
                  <a:lnTo>
                    <a:pt x="468" y="7"/>
                  </a:lnTo>
                  <a:lnTo>
                    <a:pt x="494" y="8"/>
                  </a:lnTo>
                  <a:lnTo>
                    <a:pt x="521" y="31"/>
                  </a:lnTo>
                  <a:lnTo>
                    <a:pt x="524" y="24"/>
                  </a:lnTo>
                  <a:lnTo>
                    <a:pt x="518" y="13"/>
                  </a:lnTo>
                  <a:lnTo>
                    <a:pt x="530" y="15"/>
                  </a:lnTo>
                  <a:lnTo>
                    <a:pt x="588" y="81"/>
                  </a:lnTo>
                  <a:lnTo>
                    <a:pt x="584" y="96"/>
                  </a:lnTo>
                  <a:lnTo>
                    <a:pt x="593" y="110"/>
                  </a:lnTo>
                  <a:lnTo>
                    <a:pt x="602" y="193"/>
                  </a:lnTo>
                  <a:lnTo>
                    <a:pt x="630" y="253"/>
                  </a:lnTo>
                  <a:lnTo>
                    <a:pt x="631" y="279"/>
                  </a:lnTo>
                  <a:lnTo>
                    <a:pt x="624" y="282"/>
                  </a:lnTo>
                  <a:lnTo>
                    <a:pt x="622" y="311"/>
                  </a:lnTo>
                  <a:lnTo>
                    <a:pt x="625" y="321"/>
                  </a:lnTo>
                  <a:lnTo>
                    <a:pt x="674" y="379"/>
                  </a:lnTo>
                  <a:lnTo>
                    <a:pt x="701" y="377"/>
                  </a:lnTo>
                  <a:lnTo>
                    <a:pt x="734" y="417"/>
                  </a:lnTo>
                  <a:lnTo>
                    <a:pt x="751" y="421"/>
                  </a:lnTo>
                  <a:lnTo>
                    <a:pt x="755" y="440"/>
                  </a:lnTo>
                  <a:lnTo>
                    <a:pt x="780" y="440"/>
                  </a:lnTo>
                  <a:lnTo>
                    <a:pt x="783" y="458"/>
                  </a:lnTo>
                  <a:lnTo>
                    <a:pt x="778" y="499"/>
                  </a:lnTo>
                  <a:lnTo>
                    <a:pt x="765" y="499"/>
                  </a:lnTo>
                  <a:lnTo>
                    <a:pt x="758" y="484"/>
                  </a:lnTo>
                  <a:lnTo>
                    <a:pt x="758" y="466"/>
                  </a:lnTo>
                  <a:lnTo>
                    <a:pt x="751" y="499"/>
                  </a:lnTo>
                  <a:lnTo>
                    <a:pt x="740" y="497"/>
                  </a:lnTo>
                  <a:lnTo>
                    <a:pt x="732" y="468"/>
                  </a:lnTo>
                  <a:lnTo>
                    <a:pt x="707" y="491"/>
                  </a:lnTo>
                  <a:lnTo>
                    <a:pt x="712" y="515"/>
                  </a:lnTo>
                  <a:lnTo>
                    <a:pt x="685" y="513"/>
                  </a:lnTo>
                  <a:lnTo>
                    <a:pt x="688" y="549"/>
                  </a:lnTo>
                  <a:lnTo>
                    <a:pt x="709" y="521"/>
                  </a:lnTo>
                  <a:lnTo>
                    <a:pt x="728" y="520"/>
                  </a:lnTo>
                  <a:lnTo>
                    <a:pt x="737" y="526"/>
                  </a:lnTo>
                  <a:lnTo>
                    <a:pt x="725" y="544"/>
                  </a:lnTo>
                  <a:lnTo>
                    <a:pt x="727" y="558"/>
                  </a:lnTo>
                  <a:lnTo>
                    <a:pt x="733" y="549"/>
                  </a:lnTo>
                  <a:lnTo>
                    <a:pt x="753" y="564"/>
                  </a:lnTo>
                  <a:lnTo>
                    <a:pt x="740" y="584"/>
                  </a:lnTo>
                  <a:lnTo>
                    <a:pt x="701" y="594"/>
                  </a:lnTo>
                  <a:lnTo>
                    <a:pt x="693" y="607"/>
                  </a:lnTo>
                  <a:lnTo>
                    <a:pt x="594" y="588"/>
                  </a:lnTo>
                  <a:lnTo>
                    <a:pt x="606" y="569"/>
                  </a:lnTo>
                  <a:lnTo>
                    <a:pt x="546" y="558"/>
                  </a:lnTo>
                  <a:lnTo>
                    <a:pt x="546" y="531"/>
                  </a:lnTo>
                  <a:lnTo>
                    <a:pt x="534" y="520"/>
                  </a:lnTo>
                  <a:lnTo>
                    <a:pt x="516" y="537"/>
                  </a:lnTo>
                  <a:lnTo>
                    <a:pt x="521" y="556"/>
                  </a:lnTo>
                  <a:lnTo>
                    <a:pt x="501" y="582"/>
                  </a:lnTo>
                  <a:lnTo>
                    <a:pt x="451" y="591"/>
                  </a:lnTo>
                  <a:lnTo>
                    <a:pt x="443" y="604"/>
                  </a:lnTo>
                  <a:lnTo>
                    <a:pt x="408" y="624"/>
                  </a:lnTo>
                  <a:lnTo>
                    <a:pt x="249" y="643"/>
                  </a:lnTo>
                  <a:lnTo>
                    <a:pt x="259" y="634"/>
                  </a:lnTo>
                  <a:lnTo>
                    <a:pt x="238" y="614"/>
                  </a:lnTo>
                  <a:lnTo>
                    <a:pt x="231" y="595"/>
                  </a:lnTo>
                  <a:lnTo>
                    <a:pt x="234" y="572"/>
                  </a:lnTo>
                  <a:lnTo>
                    <a:pt x="216" y="550"/>
                  </a:lnTo>
                  <a:lnTo>
                    <a:pt x="179" y="547"/>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37" name="Freeform 1159"/>
            <p:cNvSpPr>
              <a:spLocks/>
            </p:cNvSpPr>
            <p:nvPr/>
          </p:nvSpPr>
          <p:spPr bwMode="auto">
            <a:xfrm>
              <a:off x="3253462" y="2478610"/>
              <a:ext cx="48734" cy="52219"/>
            </a:xfrm>
            <a:custGeom>
              <a:avLst/>
              <a:gdLst>
                <a:gd name="T0" fmla="*/ 2147483647 w 108"/>
                <a:gd name="T1" fmla="*/ 2147483647 h 126"/>
                <a:gd name="T2" fmla="*/ 2147483647 w 108"/>
                <a:gd name="T3" fmla="*/ 2147483647 h 126"/>
                <a:gd name="T4" fmla="*/ 2147483647 w 108"/>
                <a:gd name="T5" fmla="*/ 2147483647 h 126"/>
                <a:gd name="T6" fmla="*/ 2147483647 w 108"/>
                <a:gd name="T7" fmla="*/ 0 h 126"/>
                <a:gd name="T8" fmla="*/ 0 w 108"/>
                <a:gd name="T9" fmla="*/ 2147483647 h 126"/>
                <a:gd name="T10" fmla="*/ 2147483647 w 108"/>
                <a:gd name="T11" fmla="*/ 2147483647 h 126"/>
                <a:gd name="T12" fmla="*/ 2147483647 w 108"/>
                <a:gd name="T13" fmla="*/ 2147483647 h 126"/>
                <a:gd name="T14" fmla="*/ 2147483647 w 108"/>
                <a:gd name="T15" fmla="*/ 2147483647 h 126"/>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26"/>
                <a:gd name="T26" fmla="*/ 108 w 108"/>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26">
                  <a:moveTo>
                    <a:pt x="90" y="96"/>
                  </a:moveTo>
                  <a:lnTo>
                    <a:pt x="108" y="25"/>
                  </a:lnTo>
                  <a:lnTo>
                    <a:pt x="95" y="7"/>
                  </a:lnTo>
                  <a:lnTo>
                    <a:pt x="27" y="0"/>
                  </a:lnTo>
                  <a:lnTo>
                    <a:pt x="0" y="40"/>
                  </a:lnTo>
                  <a:lnTo>
                    <a:pt x="35" y="67"/>
                  </a:lnTo>
                  <a:lnTo>
                    <a:pt x="74" y="126"/>
                  </a:lnTo>
                  <a:lnTo>
                    <a:pt x="90" y="96"/>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0" name="Freeform 1160"/>
            <p:cNvSpPr>
              <a:spLocks/>
            </p:cNvSpPr>
            <p:nvPr/>
          </p:nvSpPr>
          <p:spPr bwMode="auto">
            <a:xfrm>
              <a:off x="3345195" y="2467147"/>
              <a:ext cx="123267" cy="159208"/>
            </a:xfrm>
            <a:custGeom>
              <a:avLst/>
              <a:gdLst>
                <a:gd name="T0" fmla="*/ 2147483647 w 260"/>
                <a:gd name="T1" fmla="*/ 2147483647 h 379"/>
                <a:gd name="T2" fmla="*/ 2147483647 w 260"/>
                <a:gd name="T3" fmla="*/ 2147483647 h 379"/>
                <a:gd name="T4" fmla="*/ 2147483647 w 260"/>
                <a:gd name="T5" fmla="*/ 2147483647 h 379"/>
                <a:gd name="T6" fmla="*/ 2147483647 w 260"/>
                <a:gd name="T7" fmla="*/ 2147483647 h 379"/>
                <a:gd name="T8" fmla="*/ 2147483647 w 260"/>
                <a:gd name="T9" fmla="*/ 2147483647 h 379"/>
                <a:gd name="T10" fmla="*/ 2147483647 w 260"/>
                <a:gd name="T11" fmla="*/ 2147483647 h 379"/>
                <a:gd name="T12" fmla="*/ 0 w 260"/>
                <a:gd name="T13" fmla="*/ 2147483647 h 379"/>
                <a:gd name="T14" fmla="*/ 2147483647 w 260"/>
                <a:gd name="T15" fmla="*/ 2147483647 h 379"/>
                <a:gd name="T16" fmla="*/ 2147483647 w 260"/>
                <a:gd name="T17" fmla="*/ 2147483647 h 379"/>
                <a:gd name="T18" fmla="*/ 2147483647 w 260"/>
                <a:gd name="T19" fmla="*/ 2147483647 h 379"/>
                <a:gd name="T20" fmla="*/ 2147483647 w 260"/>
                <a:gd name="T21" fmla="*/ 2147483647 h 379"/>
                <a:gd name="T22" fmla="*/ 2147483647 w 260"/>
                <a:gd name="T23" fmla="*/ 2147483647 h 379"/>
                <a:gd name="T24" fmla="*/ 2147483647 w 260"/>
                <a:gd name="T25" fmla="*/ 2147483647 h 379"/>
                <a:gd name="T26" fmla="*/ 2147483647 w 260"/>
                <a:gd name="T27" fmla="*/ 2147483647 h 379"/>
                <a:gd name="T28" fmla="*/ 2147483647 w 260"/>
                <a:gd name="T29" fmla="*/ 2147483647 h 379"/>
                <a:gd name="T30" fmla="*/ 2147483647 w 260"/>
                <a:gd name="T31" fmla="*/ 2147483647 h 379"/>
                <a:gd name="T32" fmla="*/ 2147483647 w 260"/>
                <a:gd name="T33" fmla="*/ 2147483647 h 379"/>
                <a:gd name="T34" fmla="*/ 2147483647 w 260"/>
                <a:gd name="T35" fmla="*/ 2147483647 h 379"/>
                <a:gd name="T36" fmla="*/ 2147483647 w 260"/>
                <a:gd name="T37" fmla="*/ 2147483647 h 379"/>
                <a:gd name="T38" fmla="*/ 2147483647 w 260"/>
                <a:gd name="T39" fmla="*/ 2147483647 h 379"/>
                <a:gd name="T40" fmla="*/ 2147483647 w 260"/>
                <a:gd name="T41" fmla="*/ 2147483647 h 379"/>
                <a:gd name="T42" fmla="*/ 2147483647 w 260"/>
                <a:gd name="T43" fmla="*/ 2147483647 h 379"/>
                <a:gd name="T44" fmla="*/ 2147483647 w 260"/>
                <a:gd name="T45" fmla="*/ 2147483647 h 379"/>
                <a:gd name="T46" fmla="*/ 2147483647 w 260"/>
                <a:gd name="T47" fmla="*/ 2147483647 h 379"/>
                <a:gd name="T48" fmla="*/ 2147483647 w 260"/>
                <a:gd name="T49" fmla="*/ 2147483647 h 379"/>
                <a:gd name="T50" fmla="*/ 2147483647 w 260"/>
                <a:gd name="T51" fmla="*/ 2147483647 h 379"/>
                <a:gd name="T52" fmla="*/ 2147483647 w 260"/>
                <a:gd name="T53" fmla="*/ 2147483647 h 379"/>
                <a:gd name="T54" fmla="*/ 2147483647 w 260"/>
                <a:gd name="T55" fmla="*/ 2147483647 h 379"/>
                <a:gd name="T56" fmla="*/ 2147483647 w 260"/>
                <a:gd name="T57" fmla="*/ 2147483647 h 379"/>
                <a:gd name="T58" fmla="*/ 2147483647 w 260"/>
                <a:gd name="T59" fmla="*/ 2147483647 h 379"/>
                <a:gd name="T60" fmla="*/ 2147483647 w 260"/>
                <a:gd name="T61" fmla="*/ 2147483647 h 379"/>
                <a:gd name="T62" fmla="*/ 2147483647 w 260"/>
                <a:gd name="T63" fmla="*/ 2147483647 h 379"/>
                <a:gd name="T64" fmla="*/ 2147483647 w 260"/>
                <a:gd name="T65" fmla="*/ 0 h 379"/>
                <a:gd name="T66" fmla="*/ 2147483647 w 260"/>
                <a:gd name="T67" fmla="*/ 2147483647 h 379"/>
                <a:gd name="T68" fmla="*/ 2147483647 w 260"/>
                <a:gd name="T69" fmla="*/ 2147483647 h 379"/>
                <a:gd name="T70" fmla="*/ 2147483647 w 260"/>
                <a:gd name="T71" fmla="*/ 2147483647 h 379"/>
                <a:gd name="T72" fmla="*/ 2147483647 w 260"/>
                <a:gd name="T73" fmla="*/ 2147483647 h 379"/>
                <a:gd name="T74" fmla="*/ 2147483647 w 260"/>
                <a:gd name="T75" fmla="*/ 2147483647 h 379"/>
                <a:gd name="T76" fmla="*/ 2147483647 w 260"/>
                <a:gd name="T77" fmla="*/ 2147483647 h 379"/>
                <a:gd name="T78" fmla="*/ 2147483647 w 260"/>
                <a:gd name="T79" fmla="*/ 2147483647 h 379"/>
                <a:gd name="T80" fmla="*/ 2147483647 w 260"/>
                <a:gd name="T81" fmla="*/ 2147483647 h 379"/>
                <a:gd name="T82" fmla="*/ 2147483647 w 260"/>
                <a:gd name="T83" fmla="*/ 2147483647 h 379"/>
                <a:gd name="T84" fmla="*/ 2147483647 w 260"/>
                <a:gd name="T85" fmla="*/ 2147483647 h 379"/>
                <a:gd name="T86" fmla="*/ 2147483647 w 260"/>
                <a:gd name="T87" fmla="*/ 2147483647 h 379"/>
                <a:gd name="T88" fmla="*/ 2147483647 w 260"/>
                <a:gd name="T89" fmla="*/ 2147483647 h 379"/>
                <a:gd name="T90" fmla="*/ 2147483647 w 260"/>
                <a:gd name="T91" fmla="*/ 2147483647 h 379"/>
                <a:gd name="T92" fmla="*/ 2147483647 w 260"/>
                <a:gd name="T93" fmla="*/ 2147483647 h 379"/>
                <a:gd name="T94" fmla="*/ 2147483647 w 260"/>
                <a:gd name="T95" fmla="*/ 2147483647 h 379"/>
                <a:gd name="T96" fmla="*/ 2147483647 w 260"/>
                <a:gd name="T97" fmla="*/ 2147483647 h 379"/>
                <a:gd name="T98" fmla="*/ 2147483647 w 260"/>
                <a:gd name="T99" fmla="*/ 2147483647 h 379"/>
                <a:gd name="T100" fmla="*/ 2147483647 w 260"/>
                <a:gd name="T101" fmla="*/ 2147483647 h 379"/>
                <a:gd name="T102" fmla="*/ 2147483647 w 260"/>
                <a:gd name="T103" fmla="*/ 2147483647 h 379"/>
                <a:gd name="T104" fmla="*/ 2147483647 w 260"/>
                <a:gd name="T105" fmla="*/ 2147483647 h 379"/>
                <a:gd name="T106" fmla="*/ 2147483647 w 260"/>
                <a:gd name="T107" fmla="*/ 2147483647 h 379"/>
                <a:gd name="T108" fmla="*/ 2147483647 w 260"/>
                <a:gd name="T109" fmla="*/ 2147483647 h 379"/>
                <a:gd name="T110" fmla="*/ 2147483647 w 260"/>
                <a:gd name="T111" fmla="*/ 2147483647 h 379"/>
                <a:gd name="T112" fmla="*/ 2147483647 w 260"/>
                <a:gd name="T113" fmla="*/ 2147483647 h 379"/>
                <a:gd name="T114" fmla="*/ 2147483647 w 260"/>
                <a:gd name="T115" fmla="*/ 2147483647 h 379"/>
                <a:gd name="T116" fmla="*/ 2147483647 w 260"/>
                <a:gd name="T117" fmla="*/ 2147483647 h 3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0"/>
                <a:gd name="T178" fmla="*/ 0 h 379"/>
                <a:gd name="T179" fmla="*/ 260 w 260"/>
                <a:gd name="T180" fmla="*/ 379 h 3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0" h="379">
                  <a:moveTo>
                    <a:pt x="107" y="294"/>
                  </a:moveTo>
                  <a:lnTo>
                    <a:pt x="91" y="263"/>
                  </a:lnTo>
                  <a:lnTo>
                    <a:pt x="77" y="267"/>
                  </a:lnTo>
                  <a:lnTo>
                    <a:pt x="69" y="248"/>
                  </a:lnTo>
                  <a:lnTo>
                    <a:pt x="42" y="252"/>
                  </a:lnTo>
                  <a:lnTo>
                    <a:pt x="1" y="192"/>
                  </a:lnTo>
                  <a:lnTo>
                    <a:pt x="0" y="177"/>
                  </a:lnTo>
                  <a:lnTo>
                    <a:pt x="5" y="148"/>
                  </a:lnTo>
                  <a:lnTo>
                    <a:pt x="21" y="140"/>
                  </a:lnTo>
                  <a:lnTo>
                    <a:pt x="49" y="170"/>
                  </a:lnTo>
                  <a:lnTo>
                    <a:pt x="55" y="191"/>
                  </a:lnTo>
                  <a:lnTo>
                    <a:pt x="97" y="174"/>
                  </a:lnTo>
                  <a:lnTo>
                    <a:pt x="91" y="154"/>
                  </a:lnTo>
                  <a:lnTo>
                    <a:pt x="100" y="162"/>
                  </a:lnTo>
                  <a:lnTo>
                    <a:pt x="104" y="149"/>
                  </a:lnTo>
                  <a:lnTo>
                    <a:pt x="87" y="132"/>
                  </a:lnTo>
                  <a:lnTo>
                    <a:pt x="86" y="112"/>
                  </a:lnTo>
                  <a:lnTo>
                    <a:pt x="109" y="114"/>
                  </a:lnTo>
                  <a:lnTo>
                    <a:pt x="92" y="89"/>
                  </a:lnTo>
                  <a:lnTo>
                    <a:pt x="81" y="103"/>
                  </a:lnTo>
                  <a:lnTo>
                    <a:pt x="60" y="96"/>
                  </a:lnTo>
                  <a:lnTo>
                    <a:pt x="46" y="69"/>
                  </a:lnTo>
                  <a:lnTo>
                    <a:pt x="63" y="61"/>
                  </a:lnTo>
                  <a:lnTo>
                    <a:pt x="78" y="77"/>
                  </a:lnTo>
                  <a:lnTo>
                    <a:pt x="77" y="55"/>
                  </a:lnTo>
                  <a:lnTo>
                    <a:pt x="52" y="36"/>
                  </a:lnTo>
                  <a:lnTo>
                    <a:pt x="75" y="17"/>
                  </a:lnTo>
                  <a:lnTo>
                    <a:pt x="97" y="30"/>
                  </a:lnTo>
                  <a:lnTo>
                    <a:pt x="98" y="20"/>
                  </a:lnTo>
                  <a:lnTo>
                    <a:pt x="85" y="10"/>
                  </a:lnTo>
                  <a:lnTo>
                    <a:pt x="93" y="3"/>
                  </a:lnTo>
                  <a:lnTo>
                    <a:pt x="151" y="29"/>
                  </a:lnTo>
                  <a:lnTo>
                    <a:pt x="215" y="0"/>
                  </a:lnTo>
                  <a:lnTo>
                    <a:pt x="231" y="22"/>
                  </a:lnTo>
                  <a:lnTo>
                    <a:pt x="229" y="40"/>
                  </a:lnTo>
                  <a:lnTo>
                    <a:pt x="206" y="61"/>
                  </a:lnTo>
                  <a:lnTo>
                    <a:pt x="220" y="67"/>
                  </a:lnTo>
                  <a:lnTo>
                    <a:pt x="221" y="88"/>
                  </a:lnTo>
                  <a:lnTo>
                    <a:pt x="197" y="102"/>
                  </a:lnTo>
                  <a:lnTo>
                    <a:pt x="173" y="134"/>
                  </a:lnTo>
                  <a:lnTo>
                    <a:pt x="172" y="153"/>
                  </a:lnTo>
                  <a:lnTo>
                    <a:pt x="208" y="135"/>
                  </a:lnTo>
                  <a:lnTo>
                    <a:pt x="229" y="174"/>
                  </a:lnTo>
                  <a:lnTo>
                    <a:pt x="227" y="194"/>
                  </a:lnTo>
                  <a:lnTo>
                    <a:pt x="247" y="174"/>
                  </a:lnTo>
                  <a:lnTo>
                    <a:pt x="260" y="214"/>
                  </a:lnTo>
                  <a:lnTo>
                    <a:pt x="246" y="235"/>
                  </a:lnTo>
                  <a:lnTo>
                    <a:pt x="254" y="264"/>
                  </a:lnTo>
                  <a:lnTo>
                    <a:pt x="247" y="277"/>
                  </a:lnTo>
                  <a:lnTo>
                    <a:pt x="254" y="281"/>
                  </a:lnTo>
                  <a:lnTo>
                    <a:pt x="256" y="302"/>
                  </a:lnTo>
                  <a:lnTo>
                    <a:pt x="219" y="336"/>
                  </a:lnTo>
                  <a:lnTo>
                    <a:pt x="186" y="331"/>
                  </a:lnTo>
                  <a:lnTo>
                    <a:pt x="195" y="357"/>
                  </a:lnTo>
                  <a:lnTo>
                    <a:pt x="173" y="379"/>
                  </a:lnTo>
                  <a:lnTo>
                    <a:pt x="161" y="365"/>
                  </a:lnTo>
                  <a:lnTo>
                    <a:pt x="146" y="371"/>
                  </a:lnTo>
                  <a:lnTo>
                    <a:pt x="131" y="318"/>
                  </a:lnTo>
                  <a:lnTo>
                    <a:pt x="107" y="29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1" name="Freeform 1161"/>
            <p:cNvSpPr>
              <a:spLocks/>
            </p:cNvSpPr>
            <p:nvPr/>
          </p:nvSpPr>
          <p:spPr bwMode="auto">
            <a:xfrm>
              <a:off x="3451262" y="2515545"/>
              <a:ext cx="14334" cy="15284"/>
            </a:xfrm>
            <a:custGeom>
              <a:avLst/>
              <a:gdLst>
                <a:gd name="T0" fmla="*/ 2147483647 w 27"/>
                <a:gd name="T1" fmla="*/ 2147483647 h 39"/>
                <a:gd name="T2" fmla="*/ 2147483647 w 27"/>
                <a:gd name="T3" fmla="*/ 2147483647 h 39"/>
                <a:gd name="T4" fmla="*/ 2147483647 w 27"/>
                <a:gd name="T5" fmla="*/ 0 h 39"/>
                <a:gd name="T6" fmla="*/ 0 w 27"/>
                <a:gd name="T7" fmla="*/ 2147483647 h 39"/>
                <a:gd name="T8" fmla="*/ 2147483647 w 27"/>
                <a:gd name="T9" fmla="*/ 2147483647 h 39"/>
                <a:gd name="T10" fmla="*/ 2147483647 w 27"/>
                <a:gd name="T11" fmla="*/ 2147483647 h 39"/>
                <a:gd name="T12" fmla="*/ 0 60000 65536"/>
                <a:gd name="T13" fmla="*/ 0 60000 65536"/>
                <a:gd name="T14" fmla="*/ 0 60000 65536"/>
                <a:gd name="T15" fmla="*/ 0 60000 65536"/>
                <a:gd name="T16" fmla="*/ 0 60000 65536"/>
                <a:gd name="T17" fmla="*/ 0 60000 65536"/>
                <a:gd name="T18" fmla="*/ 0 w 27"/>
                <a:gd name="T19" fmla="*/ 0 h 39"/>
                <a:gd name="T20" fmla="*/ 27 w 27"/>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7" h="39">
                  <a:moveTo>
                    <a:pt x="23" y="25"/>
                  </a:moveTo>
                  <a:lnTo>
                    <a:pt x="27" y="15"/>
                  </a:lnTo>
                  <a:lnTo>
                    <a:pt x="18" y="0"/>
                  </a:lnTo>
                  <a:lnTo>
                    <a:pt x="0" y="11"/>
                  </a:lnTo>
                  <a:lnTo>
                    <a:pt x="8" y="39"/>
                  </a:lnTo>
                  <a:lnTo>
                    <a:pt x="23" y="2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3" name="Freeform 1162"/>
            <p:cNvSpPr>
              <a:spLocks/>
            </p:cNvSpPr>
            <p:nvPr/>
          </p:nvSpPr>
          <p:spPr bwMode="auto">
            <a:xfrm>
              <a:off x="3406829" y="2455685"/>
              <a:ext cx="32967" cy="17831"/>
            </a:xfrm>
            <a:custGeom>
              <a:avLst/>
              <a:gdLst>
                <a:gd name="T0" fmla="*/ 2147483647 w 68"/>
                <a:gd name="T1" fmla="*/ 2147483647 h 43"/>
                <a:gd name="T2" fmla="*/ 2147483647 w 68"/>
                <a:gd name="T3" fmla="*/ 2147483647 h 43"/>
                <a:gd name="T4" fmla="*/ 2147483647 w 68"/>
                <a:gd name="T5" fmla="*/ 0 h 43"/>
                <a:gd name="T6" fmla="*/ 0 w 68"/>
                <a:gd name="T7" fmla="*/ 2147483647 h 43"/>
                <a:gd name="T8" fmla="*/ 2147483647 w 68"/>
                <a:gd name="T9" fmla="*/ 2147483647 h 43"/>
                <a:gd name="T10" fmla="*/ 0 60000 65536"/>
                <a:gd name="T11" fmla="*/ 0 60000 65536"/>
                <a:gd name="T12" fmla="*/ 0 60000 65536"/>
                <a:gd name="T13" fmla="*/ 0 60000 65536"/>
                <a:gd name="T14" fmla="*/ 0 60000 65536"/>
                <a:gd name="T15" fmla="*/ 0 w 68"/>
                <a:gd name="T16" fmla="*/ 0 h 43"/>
                <a:gd name="T17" fmla="*/ 68 w 68"/>
                <a:gd name="T18" fmla="*/ 43 h 43"/>
              </a:gdLst>
              <a:ahLst/>
              <a:cxnLst>
                <a:cxn ang="T10">
                  <a:pos x="T0" y="T1"/>
                </a:cxn>
                <a:cxn ang="T11">
                  <a:pos x="T2" y="T3"/>
                </a:cxn>
                <a:cxn ang="T12">
                  <a:pos x="T4" y="T5"/>
                </a:cxn>
                <a:cxn ang="T13">
                  <a:pos x="T6" y="T7"/>
                </a:cxn>
                <a:cxn ang="T14">
                  <a:pos x="T8" y="T9"/>
                </a:cxn>
              </a:cxnLst>
              <a:rect l="T15" t="T16" r="T17" b="T18"/>
              <a:pathLst>
                <a:path w="68" h="43">
                  <a:moveTo>
                    <a:pt x="33" y="43"/>
                  </a:moveTo>
                  <a:lnTo>
                    <a:pt x="58" y="25"/>
                  </a:lnTo>
                  <a:lnTo>
                    <a:pt x="68" y="0"/>
                  </a:lnTo>
                  <a:lnTo>
                    <a:pt x="0" y="36"/>
                  </a:lnTo>
                  <a:lnTo>
                    <a:pt x="33" y="43"/>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5" name="Freeform 1163"/>
            <p:cNvSpPr>
              <a:spLocks/>
            </p:cNvSpPr>
            <p:nvPr/>
          </p:nvSpPr>
          <p:spPr bwMode="auto">
            <a:xfrm>
              <a:off x="3405395" y="2698952"/>
              <a:ext cx="86001" cy="71324"/>
            </a:xfrm>
            <a:custGeom>
              <a:avLst/>
              <a:gdLst>
                <a:gd name="T0" fmla="*/ 2147483647 w 184"/>
                <a:gd name="T1" fmla="*/ 2147483647 h 170"/>
                <a:gd name="T2" fmla="*/ 2147483647 w 184"/>
                <a:gd name="T3" fmla="*/ 2147483647 h 170"/>
                <a:gd name="T4" fmla="*/ 2147483647 w 184"/>
                <a:gd name="T5" fmla="*/ 2147483647 h 170"/>
                <a:gd name="T6" fmla="*/ 2147483647 w 184"/>
                <a:gd name="T7" fmla="*/ 0 h 170"/>
                <a:gd name="T8" fmla="*/ 2147483647 w 184"/>
                <a:gd name="T9" fmla="*/ 2147483647 h 170"/>
                <a:gd name="T10" fmla="*/ 2147483647 w 184"/>
                <a:gd name="T11" fmla="*/ 2147483647 h 170"/>
                <a:gd name="T12" fmla="*/ 2147483647 w 184"/>
                <a:gd name="T13" fmla="*/ 2147483647 h 170"/>
                <a:gd name="T14" fmla="*/ 2147483647 w 184"/>
                <a:gd name="T15" fmla="*/ 2147483647 h 170"/>
                <a:gd name="T16" fmla="*/ 2147483647 w 184"/>
                <a:gd name="T17" fmla="*/ 2147483647 h 170"/>
                <a:gd name="T18" fmla="*/ 2147483647 w 184"/>
                <a:gd name="T19" fmla="*/ 2147483647 h 170"/>
                <a:gd name="T20" fmla="*/ 0 w 184"/>
                <a:gd name="T21" fmla="*/ 2147483647 h 170"/>
                <a:gd name="T22" fmla="*/ 2147483647 w 184"/>
                <a:gd name="T23" fmla="*/ 2147483647 h 170"/>
                <a:gd name="T24" fmla="*/ 2147483647 w 184"/>
                <a:gd name="T25" fmla="*/ 2147483647 h 170"/>
                <a:gd name="T26" fmla="*/ 2147483647 w 184"/>
                <a:gd name="T27" fmla="*/ 2147483647 h 170"/>
                <a:gd name="T28" fmla="*/ 2147483647 w 184"/>
                <a:gd name="T29" fmla="*/ 2147483647 h 170"/>
                <a:gd name="T30" fmla="*/ 2147483647 w 184"/>
                <a:gd name="T31" fmla="*/ 2147483647 h 170"/>
                <a:gd name="T32" fmla="*/ 2147483647 w 184"/>
                <a:gd name="T33" fmla="*/ 2147483647 h 170"/>
                <a:gd name="T34" fmla="*/ 2147483647 w 184"/>
                <a:gd name="T35" fmla="*/ 2147483647 h 170"/>
                <a:gd name="T36" fmla="*/ 2147483647 w 184"/>
                <a:gd name="T37" fmla="*/ 2147483647 h 170"/>
                <a:gd name="T38" fmla="*/ 2147483647 w 184"/>
                <a:gd name="T39" fmla="*/ 2147483647 h 170"/>
                <a:gd name="T40" fmla="*/ 2147483647 w 184"/>
                <a:gd name="T41" fmla="*/ 2147483647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4"/>
                <a:gd name="T64" fmla="*/ 0 h 170"/>
                <a:gd name="T65" fmla="*/ 184 w 184"/>
                <a:gd name="T66" fmla="*/ 170 h 1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4" h="170">
                  <a:moveTo>
                    <a:pt x="109" y="44"/>
                  </a:moveTo>
                  <a:lnTo>
                    <a:pt x="92" y="27"/>
                  </a:lnTo>
                  <a:lnTo>
                    <a:pt x="92" y="15"/>
                  </a:lnTo>
                  <a:lnTo>
                    <a:pt x="67" y="0"/>
                  </a:lnTo>
                  <a:lnTo>
                    <a:pt x="50" y="36"/>
                  </a:lnTo>
                  <a:lnTo>
                    <a:pt x="54" y="46"/>
                  </a:lnTo>
                  <a:lnTo>
                    <a:pt x="40" y="46"/>
                  </a:lnTo>
                  <a:lnTo>
                    <a:pt x="44" y="71"/>
                  </a:lnTo>
                  <a:lnTo>
                    <a:pt x="36" y="86"/>
                  </a:lnTo>
                  <a:lnTo>
                    <a:pt x="1" y="98"/>
                  </a:lnTo>
                  <a:lnTo>
                    <a:pt x="0" y="120"/>
                  </a:lnTo>
                  <a:lnTo>
                    <a:pt x="15" y="132"/>
                  </a:lnTo>
                  <a:lnTo>
                    <a:pt x="24" y="120"/>
                  </a:lnTo>
                  <a:lnTo>
                    <a:pt x="85" y="159"/>
                  </a:lnTo>
                  <a:lnTo>
                    <a:pt x="137" y="170"/>
                  </a:lnTo>
                  <a:lnTo>
                    <a:pt x="146" y="154"/>
                  </a:lnTo>
                  <a:lnTo>
                    <a:pt x="174" y="143"/>
                  </a:lnTo>
                  <a:lnTo>
                    <a:pt x="184" y="129"/>
                  </a:lnTo>
                  <a:lnTo>
                    <a:pt x="171" y="133"/>
                  </a:lnTo>
                  <a:lnTo>
                    <a:pt x="149" y="87"/>
                  </a:lnTo>
                  <a:lnTo>
                    <a:pt x="109" y="4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6" name="Freeform 1164"/>
            <p:cNvSpPr>
              <a:spLocks/>
            </p:cNvSpPr>
            <p:nvPr/>
          </p:nvSpPr>
          <p:spPr bwMode="auto">
            <a:xfrm>
              <a:off x="3454130" y="2342330"/>
              <a:ext cx="20066" cy="21653"/>
            </a:xfrm>
            <a:custGeom>
              <a:avLst/>
              <a:gdLst>
                <a:gd name="T0" fmla="*/ 2147483647 w 48"/>
                <a:gd name="T1" fmla="*/ 2147483647 h 51"/>
                <a:gd name="T2" fmla="*/ 2147483647 w 48"/>
                <a:gd name="T3" fmla="*/ 2147483647 h 51"/>
                <a:gd name="T4" fmla="*/ 2147483647 w 48"/>
                <a:gd name="T5" fmla="*/ 2147483647 h 51"/>
                <a:gd name="T6" fmla="*/ 0 w 48"/>
                <a:gd name="T7" fmla="*/ 2147483647 h 51"/>
                <a:gd name="T8" fmla="*/ 2147483647 w 48"/>
                <a:gd name="T9" fmla="*/ 0 h 51"/>
                <a:gd name="T10" fmla="*/ 2147483647 w 48"/>
                <a:gd name="T11" fmla="*/ 2147483647 h 51"/>
                <a:gd name="T12" fmla="*/ 2147483647 w 48"/>
                <a:gd name="T13" fmla="*/ 2147483647 h 51"/>
                <a:gd name="T14" fmla="*/ 2147483647 w 48"/>
                <a:gd name="T15" fmla="*/ 2147483647 h 51"/>
                <a:gd name="T16" fmla="*/ 2147483647 w 48"/>
                <a:gd name="T17" fmla="*/ 2147483647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51"/>
                <a:gd name="T29" fmla="*/ 48 w 48"/>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51">
                  <a:moveTo>
                    <a:pt x="31" y="15"/>
                  </a:moveTo>
                  <a:lnTo>
                    <a:pt x="15" y="51"/>
                  </a:lnTo>
                  <a:lnTo>
                    <a:pt x="4" y="50"/>
                  </a:lnTo>
                  <a:lnTo>
                    <a:pt x="0" y="30"/>
                  </a:lnTo>
                  <a:lnTo>
                    <a:pt x="30" y="0"/>
                  </a:lnTo>
                  <a:lnTo>
                    <a:pt x="45" y="12"/>
                  </a:lnTo>
                  <a:lnTo>
                    <a:pt x="48" y="24"/>
                  </a:lnTo>
                  <a:lnTo>
                    <a:pt x="40" y="36"/>
                  </a:lnTo>
                  <a:lnTo>
                    <a:pt x="31" y="1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7" name="Freeform 1165"/>
            <p:cNvSpPr>
              <a:spLocks/>
            </p:cNvSpPr>
            <p:nvPr/>
          </p:nvSpPr>
          <p:spPr bwMode="auto">
            <a:xfrm>
              <a:off x="3338028" y="2269730"/>
              <a:ext cx="107501" cy="123545"/>
            </a:xfrm>
            <a:custGeom>
              <a:avLst/>
              <a:gdLst>
                <a:gd name="T0" fmla="*/ 2147483647 w 230"/>
                <a:gd name="T1" fmla="*/ 2147483647 h 298"/>
                <a:gd name="T2" fmla="*/ 2147483647 w 230"/>
                <a:gd name="T3" fmla="*/ 2147483647 h 298"/>
                <a:gd name="T4" fmla="*/ 2147483647 w 230"/>
                <a:gd name="T5" fmla="*/ 2147483647 h 298"/>
                <a:gd name="T6" fmla="*/ 2147483647 w 230"/>
                <a:gd name="T7" fmla="*/ 2147483647 h 298"/>
                <a:gd name="T8" fmla="*/ 2147483647 w 230"/>
                <a:gd name="T9" fmla="*/ 2147483647 h 298"/>
                <a:gd name="T10" fmla="*/ 2147483647 w 230"/>
                <a:gd name="T11" fmla="*/ 2147483647 h 298"/>
                <a:gd name="T12" fmla="*/ 2147483647 w 230"/>
                <a:gd name="T13" fmla="*/ 2147483647 h 298"/>
                <a:gd name="T14" fmla="*/ 2147483647 w 230"/>
                <a:gd name="T15" fmla="*/ 2147483647 h 298"/>
                <a:gd name="T16" fmla="*/ 2147483647 w 230"/>
                <a:gd name="T17" fmla="*/ 2147483647 h 298"/>
                <a:gd name="T18" fmla="*/ 2147483647 w 230"/>
                <a:gd name="T19" fmla="*/ 2147483647 h 298"/>
                <a:gd name="T20" fmla="*/ 2147483647 w 230"/>
                <a:gd name="T21" fmla="*/ 2147483647 h 298"/>
                <a:gd name="T22" fmla="*/ 2147483647 w 230"/>
                <a:gd name="T23" fmla="*/ 2147483647 h 298"/>
                <a:gd name="T24" fmla="*/ 2147483647 w 230"/>
                <a:gd name="T25" fmla="*/ 2147483647 h 298"/>
                <a:gd name="T26" fmla="*/ 2147483647 w 230"/>
                <a:gd name="T27" fmla="*/ 2147483647 h 298"/>
                <a:gd name="T28" fmla="*/ 2147483647 w 230"/>
                <a:gd name="T29" fmla="*/ 2147483647 h 298"/>
                <a:gd name="T30" fmla="*/ 2147483647 w 230"/>
                <a:gd name="T31" fmla="*/ 2147483647 h 298"/>
                <a:gd name="T32" fmla="*/ 2147483647 w 230"/>
                <a:gd name="T33" fmla="*/ 2147483647 h 298"/>
                <a:gd name="T34" fmla="*/ 2147483647 w 230"/>
                <a:gd name="T35" fmla="*/ 2147483647 h 298"/>
                <a:gd name="T36" fmla="*/ 2147483647 w 230"/>
                <a:gd name="T37" fmla="*/ 2147483647 h 298"/>
                <a:gd name="T38" fmla="*/ 2147483647 w 230"/>
                <a:gd name="T39" fmla="*/ 2147483647 h 298"/>
                <a:gd name="T40" fmla="*/ 2147483647 w 230"/>
                <a:gd name="T41" fmla="*/ 2147483647 h 298"/>
                <a:gd name="T42" fmla="*/ 2147483647 w 230"/>
                <a:gd name="T43" fmla="*/ 2147483647 h 298"/>
                <a:gd name="T44" fmla="*/ 2147483647 w 230"/>
                <a:gd name="T45" fmla="*/ 2147483647 h 298"/>
                <a:gd name="T46" fmla="*/ 2147483647 w 230"/>
                <a:gd name="T47" fmla="*/ 2147483647 h 298"/>
                <a:gd name="T48" fmla="*/ 2147483647 w 230"/>
                <a:gd name="T49" fmla="*/ 2147483647 h 298"/>
                <a:gd name="T50" fmla="*/ 2147483647 w 230"/>
                <a:gd name="T51" fmla="*/ 2147483647 h 298"/>
                <a:gd name="T52" fmla="*/ 0 w 230"/>
                <a:gd name="T53" fmla="*/ 2147483647 h 298"/>
                <a:gd name="T54" fmla="*/ 2147483647 w 230"/>
                <a:gd name="T55" fmla="*/ 2147483647 h 298"/>
                <a:gd name="T56" fmla="*/ 2147483647 w 230"/>
                <a:gd name="T57" fmla="*/ 2147483647 h 298"/>
                <a:gd name="T58" fmla="*/ 2147483647 w 230"/>
                <a:gd name="T59" fmla="*/ 2147483647 h 298"/>
                <a:gd name="T60" fmla="*/ 2147483647 w 230"/>
                <a:gd name="T61" fmla="*/ 2147483647 h 298"/>
                <a:gd name="T62" fmla="*/ 2147483647 w 230"/>
                <a:gd name="T63" fmla="*/ 2147483647 h 298"/>
                <a:gd name="T64" fmla="*/ 2147483647 w 230"/>
                <a:gd name="T65" fmla="*/ 2147483647 h 298"/>
                <a:gd name="T66" fmla="*/ 2147483647 w 230"/>
                <a:gd name="T67" fmla="*/ 2147483647 h 298"/>
                <a:gd name="T68" fmla="*/ 2147483647 w 230"/>
                <a:gd name="T69" fmla="*/ 2147483647 h 298"/>
                <a:gd name="T70" fmla="*/ 2147483647 w 230"/>
                <a:gd name="T71" fmla="*/ 2147483647 h 298"/>
                <a:gd name="T72" fmla="*/ 2147483647 w 230"/>
                <a:gd name="T73" fmla="*/ 2147483647 h 298"/>
                <a:gd name="T74" fmla="*/ 2147483647 w 230"/>
                <a:gd name="T75" fmla="*/ 2147483647 h 298"/>
                <a:gd name="T76" fmla="*/ 2147483647 w 230"/>
                <a:gd name="T77" fmla="*/ 2147483647 h 298"/>
                <a:gd name="T78" fmla="*/ 2147483647 w 230"/>
                <a:gd name="T79" fmla="*/ 2147483647 h 298"/>
                <a:gd name="T80" fmla="*/ 2147483647 w 230"/>
                <a:gd name="T81" fmla="*/ 2147483647 h 298"/>
                <a:gd name="T82" fmla="*/ 2147483647 w 230"/>
                <a:gd name="T83" fmla="*/ 2147483647 h 298"/>
                <a:gd name="T84" fmla="*/ 2147483647 w 230"/>
                <a:gd name="T85" fmla="*/ 2147483647 h 298"/>
                <a:gd name="T86" fmla="*/ 2147483647 w 230"/>
                <a:gd name="T87" fmla="*/ 2147483647 h 298"/>
                <a:gd name="T88" fmla="*/ 2147483647 w 230"/>
                <a:gd name="T89" fmla="*/ 2147483647 h 298"/>
                <a:gd name="T90" fmla="*/ 2147483647 w 230"/>
                <a:gd name="T91" fmla="*/ 2147483647 h 298"/>
                <a:gd name="T92" fmla="*/ 2147483647 w 230"/>
                <a:gd name="T93" fmla="*/ 2147483647 h 298"/>
                <a:gd name="T94" fmla="*/ 2147483647 w 230"/>
                <a:gd name="T95" fmla="*/ 2147483647 h 298"/>
                <a:gd name="T96" fmla="*/ 2147483647 w 230"/>
                <a:gd name="T97" fmla="*/ 2147483647 h 298"/>
                <a:gd name="T98" fmla="*/ 2147483647 w 230"/>
                <a:gd name="T99" fmla="*/ 2147483647 h 298"/>
                <a:gd name="T100" fmla="*/ 2147483647 w 230"/>
                <a:gd name="T101" fmla="*/ 2147483647 h 298"/>
                <a:gd name="T102" fmla="*/ 2147483647 w 230"/>
                <a:gd name="T103" fmla="*/ 2147483647 h 298"/>
                <a:gd name="T104" fmla="*/ 2147483647 w 230"/>
                <a:gd name="T105" fmla="*/ 2147483647 h 298"/>
                <a:gd name="T106" fmla="*/ 2147483647 w 230"/>
                <a:gd name="T107" fmla="*/ 2147483647 h 298"/>
                <a:gd name="T108" fmla="*/ 2147483647 w 230"/>
                <a:gd name="T109" fmla="*/ 2147483647 h 298"/>
                <a:gd name="T110" fmla="*/ 2147483647 w 230"/>
                <a:gd name="T111" fmla="*/ 2147483647 h 298"/>
                <a:gd name="T112" fmla="*/ 2147483647 w 230"/>
                <a:gd name="T113" fmla="*/ 0 h 298"/>
                <a:gd name="T114" fmla="*/ 2147483647 w 230"/>
                <a:gd name="T115" fmla="*/ 0 h 298"/>
                <a:gd name="T116" fmla="*/ 2147483647 w 230"/>
                <a:gd name="T117" fmla="*/ 2147483647 h 298"/>
                <a:gd name="T118" fmla="*/ 2147483647 w 230"/>
                <a:gd name="T119" fmla="*/ 2147483647 h 298"/>
                <a:gd name="T120" fmla="*/ 2147483647 w 230"/>
                <a:gd name="T121" fmla="*/ 2147483647 h 298"/>
                <a:gd name="T122" fmla="*/ 2147483647 w 230"/>
                <a:gd name="T123" fmla="*/ 2147483647 h 2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30"/>
                <a:gd name="T187" fmla="*/ 0 h 298"/>
                <a:gd name="T188" fmla="*/ 230 w 230"/>
                <a:gd name="T189" fmla="*/ 298 h 2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30" h="298">
                  <a:moveTo>
                    <a:pt x="221" y="124"/>
                  </a:moveTo>
                  <a:lnTo>
                    <a:pt x="221" y="147"/>
                  </a:lnTo>
                  <a:lnTo>
                    <a:pt x="210" y="161"/>
                  </a:lnTo>
                  <a:lnTo>
                    <a:pt x="228" y="164"/>
                  </a:lnTo>
                  <a:lnTo>
                    <a:pt x="230" y="223"/>
                  </a:lnTo>
                  <a:lnTo>
                    <a:pt x="219" y="190"/>
                  </a:lnTo>
                  <a:lnTo>
                    <a:pt x="206" y="189"/>
                  </a:lnTo>
                  <a:lnTo>
                    <a:pt x="212" y="206"/>
                  </a:lnTo>
                  <a:lnTo>
                    <a:pt x="202" y="207"/>
                  </a:lnTo>
                  <a:lnTo>
                    <a:pt x="206" y="218"/>
                  </a:lnTo>
                  <a:lnTo>
                    <a:pt x="194" y="236"/>
                  </a:lnTo>
                  <a:lnTo>
                    <a:pt x="215" y="271"/>
                  </a:lnTo>
                  <a:lnTo>
                    <a:pt x="195" y="259"/>
                  </a:lnTo>
                  <a:lnTo>
                    <a:pt x="200" y="289"/>
                  </a:lnTo>
                  <a:lnTo>
                    <a:pt x="141" y="293"/>
                  </a:lnTo>
                  <a:lnTo>
                    <a:pt x="140" y="277"/>
                  </a:lnTo>
                  <a:lnTo>
                    <a:pt x="131" y="298"/>
                  </a:lnTo>
                  <a:lnTo>
                    <a:pt x="112" y="298"/>
                  </a:lnTo>
                  <a:lnTo>
                    <a:pt x="97" y="286"/>
                  </a:lnTo>
                  <a:lnTo>
                    <a:pt x="94" y="256"/>
                  </a:lnTo>
                  <a:lnTo>
                    <a:pt x="91" y="234"/>
                  </a:lnTo>
                  <a:lnTo>
                    <a:pt x="90" y="219"/>
                  </a:lnTo>
                  <a:lnTo>
                    <a:pt x="111" y="208"/>
                  </a:lnTo>
                  <a:lnTo>
                    <a:pt x="132" y="188"/>
                  </a:lnTo>
                  <a:lnTo>
                    <a:pt x="130" y="175"/>
                  </a:lnTo>
                  <a:lnTo>
                    <a:pt x="14" y="206"/>
                  </a:lnTo>
                  <a:lnTo>
                    <a:pt x="0" y="188"/>
                  </a:lnTo>
                  <a:lnTo>
                    <a:pt x="8" y="173"/>
                  </a:lnTo>
                  <a:lnTo>
                    <a:pt x="31" y="177"/>
                  </a:lnTo>
                  <a:lnTo>
                    <a:pt x="22" y="161"/>
                  </a:lnTo>
                  <a:lnTo>
                    <a:pt x="34" y="144"/>
                  </a:lnTo>
                  <a:lnTo>
                    <a:pt x="56" y="163"/>
                  </a:lnTo>
                  <a:lnTo>
                    <a:pt x="65" y="160"/>
                  </a:lnTo>
                  <a:lnTo>
                    <a:pt x="51" y="138"/>
                  </a:lnTo>
                  <a:lnTo>
                    <a:pt x="61" y="117"/>
                  </a:lnTo>
                  <a:lnTo>
                    <a:pt x="42" y="125"/>
                  </a:lnTo>
                  <a:lnTo>
                    <a:pt x="35" y="106"/>
                  </a:lnTo>
                  <a:lnTo>
                    <a:pt x="38" y="86"/>
                  </a:lnTo>
                  <a:lnTo>
                    <a:pt x="27" y="86"/>
                  </a:lnTo>
                  <a:lnTo>
                    <a:pt x="27" y="66"/>
                  </a:lnTo>
                  <a:lnTo>
                    <a:pt x="42" y="39"/>
                  </a:lnTo>
                  <a:lnTo>
                    <a:pt x="61" y="44"/>
                  </a:lnTo>
                  <a:lnTo>
                    <a:pt x="90" y="103"/>
                  </a:lnTo>
                  <a:lnTo>
                    <a:pt x="100" y="102"/>
                  </a:lnTo>
                  <a:lnTo>
                    <a:pt x="96" y="109"/>
                  </a:lnTo>
                  <a:lnTo>
                    <a:pt x="132" y="124"/>
                  </a:lnTo>
                  <a:lnTo>
                    <a:pt x="111" y="90"/>
                  </a:lnTo>
                  <a:lnTo>
                    <a:pt x="120" y="82"/>
                  </a:lnTo>
                  <a:lnTo>
                    <a:pt x="116" y="67"/>
                  </a:lnTo>
                  <a:lnTo>
                    <a:pt x="75" y="35"/>
                  </a:lnTo>
                  <a:lnTo>
                    <a:pt x="102" y="6"/>
                  </a:lnTo>
                  <a:lnTo>
                    <a:pt x="131" y="5"/>
                  </a:lnTo>
                  <a:lnTo>
                    <a:pt x="160" y="27"/>
                  </a:lnTo>
                  <a:lnTo>
                    <a:pt x="160" y="40"/>
                  </a:lnTo>
                  <a:lnTo>
                    <a:pt x="173" y="31"/>
                  </a:lnTo>
                  <a:lnTo>
                    <a:pt x="169" y="12"/>
                  </a:lnTo>
                  <a:lnTo>
                    <a:pt x="172" y="0"/>
                  </a:lnTo>
                  <a:lnTo>
                    <a:pt x="186" y="0"/>
                  </a:lnTo>
                  <a:lnTo>
                    <a:pt x="218" y="37"/>
                  </a:lnTo>
                  <a:lnTo>
                    <a:pt x="216" y="70"/>
                  </a:lnTo>
                  <a:lnTo>
                    <a:pt x="223" y="95"/>
                  </a:lnTo>
                  <a:lnTo>
                    <a:pt x="221" y="12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8" name="Freeform 1166"/>
            <p:cNvSpPr>
              <a:spLocks/>
            </p:cNvSpPr>
            <p:nvPr/>
          </p:nvSpPr>
          <p:spPr bwMode="auto">
            <a:xfrm>
              <a:off x="3429762" y="2079957"/>
              <a:ext cx="71667" cy="101892"/>
            </a:xfrm>
            <a:custGeom>
              <a:avLst/>
              <a:gdLst>
                <a:gd name="T0" fmla="*/ 2147483647 w 155"/>
                <a:gd name="T1" fmla="*/ 2147483647 h 248"/>
                <a:gd name="T2" fmla="*/ 2147483647 w 155"/>
                <a:gd name="T3" fmla="*/ 2147483647 h 248"/>
                <a:gd name="T4" fmla="*/ 2147483647 w 155"/>
                <a:gd name="T5" fmla="*/ 2147483647 h 248"/>
                <a:gd name="T6" fmla="*/ 2147483647 w 155"/>
                <a:gd name="T7" fmla="*/ 2147483647 h 248"/>
                <a:gd name="T8" fmla="*/ 2147483647 w 155"/>
                <a:gd name="T9" fmla="*/ 2147483647 h 248"/>
                <a:gd name="T10" fmla="*/ 2147483647 w 155"/>
                <a:gd name="T11" fmla="*/ 2147483647 h 248"/>
                <a:gd name="T12" fmla="*/ 2147483647 w 155"/>
                <a:gd name="T13" fmla="*/ 2147483647 h 248"/>
                <a:gd name="T14" fmla="*/ 2147483647 w 155"/>
                <a:gd name="T15" fmla="*/ 2147483647 h 248"/>
                <a:gd name="T16" fmla="*/ 2147483647 w 155"/>
                <a:gd name="T17" fmla="*/ 2147483647 h 248"/>
                <a:gd name="T18" fmla="*/ 2147483647 w 155"/>
                <a:gd name="T19" fmla="*/ 2147483647 h 248"/>
                <a:gd name="T20" fmla="*/ 2147483647 w 155"/>
                <a:gd name="T21" fmla="*/ 2147483647 h 248"/>
                <a:gd name="T22" fmla="*/ 2147483647 w 155"/>
                <a:gd name="T23" fmla="*/ 2147483647 h 248"/>
                <a:gd name="T24" fmla="*/ 2147483647 w 155"/>
                <a:gd name="T25" fmla="*/ 2147483647 h 248"/>
                <a:gd name="T26" fmla="*/ 0 w 155"/>
                <a:gd name="T27" fmla="*/ 2147483647 h 248"/>
                <a:gd name="T28" fmla="*/ 2147483647 w 155"/>
                <a:gd name="T29" fmla="*/ 2147483647 h 248"/>
                <a:gd name="T30" fmla="*/ 2147483647 w 155"/>
                <a:gd name="T31" fmla="*/ 2147483647 h 248"/>
                <a:gd name="T32" fmla="*/ 2147483647 w 155"/>
                <a:gd name="T33" fmla="*/ 2147483647 h 248"/>
                <a:gd name="T34" fmla="*/ 2147483647 w 155"/>
                <a:gd name="T35" fmla="*/ 0 h 248"/>
                <a:gd name="T36" fmla="*/ 2147483647 w 155"/>
                <a:gd name="T37" fmla="*/ 2147483647 h 248"/>
                <a:gd name="T38" fmla="*/ 2147483647 w 155"/>
                <a:gd name="T39" fmla="*/ 2147483647 h 248"/>
                <a:gd name="T40" fmla="*/ 2147483647 w 155"/>
                <a:gd name="T41" fmla="*/ 2147483647 h 248"/>
                <a:gd name="T42" fmla="*/ 2147483647 w 155"/>
                <a:gd name="T43" fmla="*/ 2147483647 h 248"/>
                <a:gd name="T44" fmla="*/ 2147483647 w 155"/>
                <a:gd name="T45" fmla="*/ 2147483647 h 248"/>
                <a:gd name="T46" fmla="*/ 2147483647 w 155"/>
                <a:gd name="T47" fmla="*/ 2147483647 h 248"/>
                <a:gd name="T48" fmla="*/ 2147483647 w 155"/>
                <a:gd name="T49" fmla="*/ 2147483647 h 248"/>
                <a:gd name="T50" fmla="*/ 2147483647 w 155"/>
                <a:gd name="T51" fmla="*/ 2147483647 h 248"/>
                <a:gd name="T52" fmla="*/ 2147483647 w 155"/>
                <a:gd name="T53" fmla="*/ 2147483647 h 2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5"/>
                <a:gd name="T82" fmla="*/ 0 h 248"/>
                <a:gd name="T83" fmla="*/ 155 w 155"/>
                <a:gd name="T84" fmla="*/ 248 h 2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5" h="248">
                  <a:moveTo>
                    <a:pt x="141" y="212"/>
                  </a:moveTo>
                  <a:lnTo>
                    <a:pt x="84" y="215"/>
                  </a:lnTo>
                  <a:lnTo>
                    <a:pt x="67" y="248"/>
                  </a:lnTo>
                  <a:lnTo>
                    <a:pt x="51" y="242"/>
                  </a:lnTo>
                  <a:lnTo>
                    <a:pt x="56" y="219"/>
                  </a:lnTo>
                  <a:lnTo>
                    <a:pt x="27" y="185"/>
                  </a:lnTo>
                  <a:lnTo>
                    <a:pt x="61" y="177"/>
                  </a:lnTo>
                  <a:lnTo>
                    <a:pt x="69" y="169"/>
                  </a:lnTo>
                  <a:lnTo>
                    <a:pt x="66" y="158"/>
                  </a:lnTo>
                  <a:lnTo>
                    <a:pt x="22" y="144"/>
                  </a:lnTo>
                  <a:lnTo>
                    <a:pt x="26" y="135"/>
                  </a:lnTo>
                  <a:lnTo>
                    <a:pt x="17" y="126"/>
                  </a:lnTo>
                  <a:lnTo>
                    <a:pt x="15" y="99"/>
                  </a:lnTo>
                  <a:lnTo>
                    <a:pt x="0" y="76"/>
                  </a:lnTo>
                  <a:lnTo>
                    <a:pt x="12" y="64"/>
                  </a:lnTo>
                  <a:lnTo>
                    <a:pt x="4" y="40"/>
                  </a:lnTo>
                  <a:lnTo>
                    <a:pt x="4" y="12"/>
                  </a:lnTo>
                  <a:lnTo>
                    <a:pt x="18" y="0"/>
                  </a:lnTo>
                  <a:lnTo>
                    <a:pt x="99" y="51"/>
                  </a:lnTo>
                  <a:lnTo>
                    <a:pt x="103" y="57"/>
                  </a:lnTo>
                  <a:lnTo>
                    <a:pt x="99" y="82"/>
                  </a:lnTo>
                  <a:lnTo>
                    <a:pt x="122" y="80"/>
                  </a:lnTo>
                  <a:lnTo>
                    <a:pt x="154" y="116"/>
                  </a:lnTo>
                  <a:lnTo>
                    <a:pt x="144" y="136"/>
                  </a:lnTo>
                  <a:lnTo>
                    <a:pt x="144" y="171"/>
                  </a:lnTo>
                  <a:lnTo>
                    <a:pt x="155" y="195"/>
                  </a:lnTo>
                  <a:lnTo>
                    <a:pt x="141" y="21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49" name="Freeform 1167"/>
            <p:cNvSpPr>
              <a:spLocks/>
            </p:cNvSpPr>
            <p:nvPr/>
          </p:nvSpPr>
          <p:spPr bwMode="auto">
            <a:xfrm>
              <a:off x="3279261" y="2039199"/>
              <a:ext cx="134734" cy="140103"/>
            </a:xfrm>
            <a:custGeom>
              <a:avLst/>
              <a:gdLst>
                <a:gd name="T0" fmla="*/ 2147483647 w 288"/>
                <a:gd name="T1" fmla="*/ 2147483647 h 334"/>
                <a:gd name="T2" fmla="*/ 2147483647 w 288"/>
                <a:gd name="T3" fmla="*/ 2147483647 h 334"/>
                <a:gd name="T4" fmla="*/ 2147483647 w 288"/>
                <a:gd name="T5" fmla="*/ 2147483647 h 334"/>
                <a:gd name="T6" fmla="*/ 2147483647 w 288"/>
                <a:gd name="T7" fmla="*/ 2147483647 h 334"/>
                <a:gd name="T8" fmla="*/ 2147483647 w 288"/>
                <a:gd name="T9" fmla="*/ 2147483647 h 334"/>
                <a:gd name="T10" fmla="*/ 2147483647 w 288"/>
                <a:gd name="T11" fmla="*/ 2147483647 h 334"/>
                <a:gd name="T12" fmla="*/ 2147483647 w 288"/>
                <a:gd name="T13" fmla="*/ 2147483647 h 334"/>
                <a:gd name="T14" fmla="*/ 2147483647 w 288"/>
                <a:gd name="T15" fmla="*/ 2147483647 h 334"/>
                <a:gd name="T16" fmla="*/ 2147483647 w 288"/>
                <a:gd name="T17" fmla="*/ 2147483647 h 334"/>
                <a:gd name="T18" fmla="*/ 2147483647 w 288"/>
                <a:gd name="T19" fmla="*/ 2147483647 h 334"/>
                <a:gd name="T20" fmla="*/ 2147483647 w 288"/>
                <a:gd name="T21" fmla="*/ 2147483647 h 334"/>
                <a:gd name="T22" fmla="*/ 2147483647 w 288"/>
                <a:gd name="T23" fmla="*/ 2147483647 h 334"/>
                <a:gd name="T24" fmla="*/ 2147483647 w 288"/>
                <a:gd name="T25" fmla="*/ 2147483647 h 334"/>
                <a:gd name="T26" fmla="*/ 2147483647 w 288"/>
                <a:gd name="T27" fmla="*/ 2147483647 h 334"/>
                <a:gd name="T28" fmla="*/ 2147483647 w 288"/>
                <a:gd name="T29" fmla="*/ 2147483647 h 334"/>
                <a:gd name="T30" fmla="*/ 2147483647 w 288"/>
                <a:gd name="T31" fmla="*/ 2147483647 h 334"/>
                <a:gd name="T32" fmla="*/ 2147483647 w 288"/>
                <a:gd name="T33" fmla="*/ 2147483647 h 334"/>
                <a:gd name="T34" fmla="*/ 2147483647 w 288"/>
                <a:gd name="T35" fmla="*/ 2147483647 h 334"/>
                <a:gd name="T36" fmla="*/ 2147483647 w 288"/>
                <a:gd name="T37" fmla="*/ 2147483647 h 334"/>
                <a:gd name="T38" fmla="*/ 2147483647 w 288"/>
                <a:gd name="T39" fmla="*/ 2147483647 h 334"/>
                <a:gd name="T40" fmla="*/ 2147483647 w 288"/>
                <a:gd name="T41" fmla="*/ 2147483647 h 334"/>
                <a:gd name="T42" fmla="*/ 2147483647 w 288"/>
                <a:gd name="T43" fmla="*/ 2147483647 h 334"/>
                <a:gd name="T44" fmla="*/ 2147483647 w 288"/>
                <a:gd name="T45" fmla="*/ 2147483647 h 334"/>
                <a:gd name="T46" fmla="*/ 2147483647 w 288"/>
                <a:gd name="T47" fmla="*/ 2147483647 h 334"/>
                <a:gd name="T48" fmla="*/ 2147483647 w 288"/>
                <a:gd name="T49" fmla="*/ 2147483647 h 334"/>
                <a:gd name="T50" fmla="*/ 2147483647 w 288"/>
                <a:gd name="T51" fmla="*/ 2147483647 h 334"/>
                <a:gd name="T52" fmla="*/ 0 w 288"/>
                <a:gd name="T53" fmla="*/ 2147483647 h 334"/>
                <a:gd name="T54" fmla="*/ 2147483647 w 288"/>
                <a:gd name="T55" fmla="*/ 2147483647 h 334"/>
                <a:gd name="T56" fmla="*/ 2147483647 w 288"/>
                <a:gd name="T57" fmla="*/ 0 h 334"/>
                <a:gd name="T58" fmla="*/ 2147483647 w 288"/>
                <a:gd name="T59" fmla="*/ 2147483647 h 334"/>
                <a:gd name="T60" fmla="*/ 2147483647 w 288"/>
                <a:gd name="T61" fmla="*/ 2147483647 h 334"/>
                <a:gd name="T62" fmla="*/ 2147483647 w 288"/>
                <a:gd name="T63" fmla="*/ 2147483647 h 334"/>
                <a:gd name="T64" fmla="*/ 2147483647 w 288"/>
                <a:gd name="T65" fmla="*/ 2147483647 h 334"/>
                <a:gd name="T66" fmla="*/ 2147483647 w 288"/>
                <a:gd name="T67" fmla="*/ 2147483647 h 334"/>
                <a:gd name="T68" fmla="*/ 2147483647 w 288"/>
                <a:gd name="T69" fmla="*/ 2147483647 h 334"/>
                <a:gd name="T70" fmla="*/ 2147483647 w 288"/>
                <a:gd name="T71" fmla="*/ 2147483647 h 334"/>
                <a:gd name="T72" fmla="*/ 2147483647 w 288"/>
                <a:gd name="T73" fmla="*/ 2147483647 h 334"/>
                <a:gd name="T74" fmla="*/ 2147483647 w 288"/>
                <a:gd name="T75" fmla="*/ 2147483647 h 334"/>
                <a:gd name="T76" fmla="*/ 2147483647 w 288"/>
                <a:gd name="T77" fmla="*/ 2147483647 h 3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8"/>
                <a:gd name="T118" fmla="*/ 0 h 334"/>
                <a:gd name="T119" fmla="*/ 288 w 288"/>
                <a:gd name="T120" fmla="*/ 334 h 3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8" h="334">
                  <a:moveTo>
                    <a:pt x="244" y="135"/>
                  </a:moveTo>
                  <a:lnTo>
                    <a:pt x="260" y="156"/>
                  </a:lnTo>
                  <a:lnTo>
                    <a:pt x="248" y="186"/>
                  </a:lnTo>
                  <a:lnTo>
                    <a:pt x="250" y="214"/>
                  </a:lnTo>
                  <a:lnTo>
                    <a:pt x="288" y="277"/>
                  </a:lnTo>
                  <a:lnTo>
                    <a:pt x="279" y="318"/>
                  </a:lnTo>
                  <a:lnTo>
                    <a:pt x="246" y="334"/>
                  </a:lnTo>
                  <a:lnTo>
                    <a:pt x="218" y="309"/>
                  </a:lnTo>
                  <a:lnTo>
                    <a:pt x="198" y="243"/>
                  </a:lnTo>
                  <a:lnTo>
                    <a:pt x="133" y="235"/>
                  </a:lnTo>
                  <a:lnTo>
                    <a:pt x="124" y="211"/>
                  </a:lnTo>
                  <a:lnTo>
                    <a:pt x="81" y="239"/>
                  </a:lnTo>
                  <a:lnTo>
                    <a:pt x="44" y="223"/>
                  </a:lnTo>
                  <a:lnTo>
                    <a:pt x="34" y="207"/>
                  </a:lnTo>
                  <a:lnTo>
                    <a:pt x="32" y="181"/>
                  </a:lnTo>
                  <a:lnTo>
                    <a:pt x="93" y="185"/>
                  </a:lnTo>
                  <a:lnTo>
                    <a:pt x="100" y="166"/>
                  </a:lnTo>
                  <a:lnTo>
                    <a:pt x="73" y="161"/>
                  </a:lnTo>
                  <a:lnTo>
                    <a:pt x="96" y="129"/>
                  </a:lnTo>
                  <a:lnTo>
                    <a:pt x="65" y="130"/>
                  </a:lnTo>
                  <a:lnTo>
                    <a:pt x="73" y="98"/>
                  </a:lnTo>
                  <a:lnTo>
                    <a:pt x="62" y="82"/>
                  </a:lnTo>
                  <a:lnTo>
                    <a:pt x="32" y="123"/>
                  </a:lnTo>
                  <a:lnTo>
                    <a:pt x="28" y="113"/>
                  </a:lnTo>
                  <a:lnTo>
                    <a:pt x="41" y="74"/>
                  </a:lnTo>
                  <a:lnTo>
                    <a:pt x="4" y="79"/>
                  </a:lnTo>
                  <a:lnTo>
                    <a:pt x="0" y="40"/>
                  </a:lnTo>
                  <a:lnTo>
                    <a:pt x="8" y="9"/>
                  </a:lnTo>
                  <a:lnTo>
                    <a:pt x="73" y="0"/>
                  </a:lnTo>
                  <a:lnTo>
                    <a:pt x="102" y="14"/>
                  </a:lnTo>
                  <a:lnTo>
                    <a:pt x="101" y="72"/>
                  </a:lnTo>
                  <a:lnTo>
                    <a:pt x="112" y="87"/>
                  </a:lnTo>
                  <a:lnTo>
                    <a:pt x="118" y="48"/>
                  </a:lnTo>
                  <a:lnTo>
                    <a:pt x="137" y="31"/>
                  </a:lnTo>
                  <a:lnTo>
                    <a:pt x="181" y="63"/>
                  </a:lnTo>
                  <a:lnTo>
                    <a:pt x="178" y="96"/>
                  </a:lnTo>
                  <a:lnTo>
                    <a:pt x="186" y="107"/>
                  </a:lnTo>
                  <a:lnTo>
                    <a:pt x="208" y="89"/>
                  </a:lnTo>
                  <a:lnTo>
                    <a:pt x="244" y="13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50" name="Freeform 1168"/>
            <p:cNvSpPr>
              <a:spLocks/>
            </p:cNvSpPr>
            <p:nvPr/>
          </p:nvSpPr>
          <p:spPr bwMode="auto">
            <a:xfrm>
              <a:off x="3342328" y="2166565"/>
              <a:ext cx="34400" cy="16558"/>
            </a:xfrm>
            <a:custGeom>
              <a:avLst/>
              <a:gdLst>
                <a:gd name="T0" fmla="*/ 2147483647 w 74"/>
                <a:gd name="T1" fmla="*/ 0 h 40"/>
                <a:gd name="T2" fmla="*/ 2147483647 w 74"/>
                <a:gd name="T3" fmla="*/ 2147483647 h 40"/>
                <a:gd name="T4" fmla="*/ 2147483647 w 74"/>
                <a:gd name="T5" fmla="*/ 2147483647 h 40"/>
                <a:gd name="T6" fmla="*/ 0 w 74"/>
                <a:gd name="T7" fmla="*/ 2147483647 h 40"/>
                <a:gd name="T8" fmla="*/ 2147483647 w 74"/>
                <a:gd name="T9" fmla="*/ 0 h 40"/>
                <a:gd name="T10" fmla="*/ 0 60000 65536"/>
                <a:gd name="T11" fmla="*/ 0 60000 65536"/>
                <a:gd name="T12" fmla="*/ 0 60000 65536"/>
                <a:gd name="T13" fmla="*/ 0 60000 65536"/>
                <a:gd name="T14" fmla="*/ 0 60000 65536"/>
                <a:gd name="T15" fmla="*/ 0 w 74"/>
                <a:gd name="T16" fmla="*/ 0 h 40"/>
                <a:gd name="T17" fmla="*/ 74 w 74"/>
                <a:gd name="T18" fmla="*/ 40 h 40"/>
              </a:gdLst>
              <a:ahLst/>
              <a:cxnLst>
                <a:cxn ang="T10">
                  <a:pos x="T0" y="T1"/>
                </a:cxn>
                <a:cxn ang="T11">
                  <a:pos x="T2" y="T3"/>
                </a:cxn>
                <a:cxn ang="T12">
                  <a:pos x="T4" y="T5"/>
                </a:cxn>
                <a:cxn ang="T13">
                  <a:pos x="T6" y="T7"/>
                </a:cxn>
                <a:cxn ang="T14">
                  <a:pos x="T8" y="T9"/>
                </a:cxn>
              </a:cxnLst>
              <a:rect l="T15" t="T16" r="T17" b="T18"/>
              <a:pathLst>
                <a:path w="74" h="40">
                  <a:moveTo>
                    <a:pt x="27" y="0"/>
                  </a:moveTo>
                  <a:lnTo>
                    <a:pt x="74" y="33"/>
                  </a:lnTo>
                  <a:lnTo>
                    <a:pt x="22" y="40"/>
                  </a:lnTo>
                  <a:lnTo>
                    <a:pt x="0" y="8"/>
                  </a:lnTo>
                  <a:lnTo>
                    <a:pt x="27"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76" name="Freeform 1169"/>
            <p:cNvSpPr>
              <a:spLocks/>
            </p:cNvSpPr>
            <p:nvPr/>
          </p:nvSpPr>
          <p:spPr bwMode="auto">
            <a:xfrm>
              <a:off x="3273529" y="2184396"/>
              <a:ext cx="34400" cy="52220"/>
            </a:xfrm>
            <a:custGeom>
              <a:avLst/>
              <a:gdLst>
                <a:gd name="T0" fmla="*/ 2147483647 w 75"/>
                <a:gd name="T1" fmla="*/ 2147483647 h 125"/>
                <a:gd name="T2" fmla="*/ 2147483647 w 75"/>
                <a:gd name="T3" fmla="*/ 2147483647 h 125"/>
                <a:gd name="T4" fmla="*/ 2147483647 w 75"/>
                <a:gd name="T5" fmla="*/ 2147483647 h 125"/>
                <a:gd name="T6" fmla="*/ 2147483647 w 75"/>
                <a:gd name="T7" fmla="*/ 2147483647 h 125"/>
                <a:gd name="T8" fmla="*/ 2147483647 w 75"/>
                <a:gd name="T9" fmla="*/ 2147483647 h 125"/>
                <a:gd name="T10" fmla="*/ 2147483647 w 75"/>
                <a:gd name="T11" fmla="*/ 2147483647 h 125"/>
                <a:gd name="T12" fmla="*/ 2147483647 w 75"/>
                <a:gd name="T13" fmla="*/ 2147483647 h 125"/>
                <a:gd name="T14" fmla="*/ 0 w 75"/>
                <a:gd name="T15" fmla="*/ 2147483647 h 125"/>
                <a:gd name="T16" fmla="*/ 2147483647 w 75"/>
                <a:gd name="T17" fmla="*/ 0 h 125"/>
                <a:gd name="T18" fmla="*/ 2147483647 w 75"/>
                <a:gd name="T19" fmla="*/ 2147483647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5"/>
                <a:gd name="T31" fmla="*/ 0 h 125"/>
                <a:gd name="T32" fmla="*/ 75 w 75"/>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5" h="125">
                  <a:moveTo>
                    <a:pt x="43" y="34"/>
                  </a:moveTo>
                  <a:lnTo>
                    <a:pt x="47" y="60"/>
                  </a:lnTo>
                  <a:lnTo>
                    <a:pt x="71" y="83"/>
                  </a:lnTo>
                  <a:lnTo>
                    <a:pt x="62" y="91"/>
                  </a:lnTo>
                  <a:lnTo>
                    <a:pt x="75" y="107"/>
                  </a:lnTo>
                  <a:lnTo>
                    <a:pt x="62" y="125"/>
                  </a:lnTo>
                  <a:lnTo>
                    <a:pt x="38" y="112"/>
                  </a:lnTo>
                  <a:lnTo>
                    <a:pt x="0" y="2"/>
                  </a:lnTo>
                  <a:lnTo>
                    <a:pt x="19" y="0"/>
                  </a:lnTo>
                  <a:lnTo>
                    <a:pt x="43" y="3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77" name="Freeform 1170"/>
            <p:cNvSpPr>
              <a:spLocks/>
            </p:cNvSpPr>
            <p:nvPr/>
          </p:nvSpPr>
          <p:spPr bwMode="auto">
            <a:xfrm>
              <a:off x="3299329" y="2271004"/>
              <a:ext cx="34400" cy="26747"/>
            </a:xfrm>
            <a:custGeom>
              <a:avLst/>
              <a:gdLst>
                <a:gd name="T0" fmla="*/ 2147483647 w 69"/>
                <a:gd name="T1" fmla="*/ 2147483647 h 63"/>
                <a:gd name="T2" fmla="*/ 2147483647 w 69"/>
                <a:gd name="T3" fmla="*/ 2147483647 h 63"/>
                <a:gd name="T4" fmla="*/ 2147483647 w 69"/>
                <a:gd name="T5" fmla="*/ 2147483647 h 63"/>
                <a:gd name="T6" fmla="*/ 2147483647 w 69"/>
                <a:gd name="T7" fmla="*/ 2147483647 h 63"/>
                <a:gd name="T8" fmla="*/ 2147483647 w 69"/>
                <a:gd name="T9" fmla="*/ 2147483647 h 63"/>
                <a:gd name="T10" fmla="*/ 2147483647 w 69"/>
                <a:gd name="T11" fmla="*/ 2147483647 h 63"/>
                <a:gd name="T12" fmla="*/ 0 w 69"/>
                <a:gd name="T13" fmla="*/ 2147483647 h 63"/>
                <a:gd name="T14" fmla="*/ 2147483647 w 69"/>
                <a:gd name="T15" fmla="*/ 0 h 63"/>
                <a:gd name="T16" fmla="*/ 2147483647 w 69"/>
                <a:gd name="T17" fmla="*/ 2147483647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63"/>
                <a:gd name="T29" fmla="*/ 69 w 69"/>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63">
                  <a:moveTo>
                    <a:pt x="30" y="13"/>
                  </a:moveTo>
                  <a:lnTo>
                    <a:pt x="69" y="48"/>
                  </a:lnTo>
                  <a:lnTo>
                    <a:pt x="16" y="63"/>
                  </a:lnTo>
                  <a:lnTo>
                    <a:pt x="24" y="58"/>
                  </a:lnTo>
                  <a:lnTo>
                    <a:pt x="8" y="46"/>
                  </a:lnTo>
                  <a:lnTo>
                    <a:pt x="12" y="27"/>
                  </a:lnTo>
                  <a:lnTo>
                    <a:pt x="0" y="16"/>
                  </a:lnTo>
                  <a:lnTo>
                    <a:pt x="20" y="0"/>
                  </a:lnTo>
                  <a:lnTo>
                    <a:pt x="30" y="13"/>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78" name="Freeform 1171"/>
            <p:cNvSpPr>
              <a:spLocks/>
            </p:cNvSpPr>
            <p:nvPr/>
          </p:nvSpPr>
          <p:spPr bwMode="auto">
            <a:xfrm>
              <a:off x="3305062" y="2297750"/>
              <a:ext cx="37267" cy="20378"/>
            </a:xfrm>
            <a:custGeom>
              <a:avLst/>
              <a:gdLst>
                <a:gd name="T0" fmla="*/ 2147483647 w 83"/>
                <a:gd name="T1" fmla="*/ 0 h 47"/>
                <a:gd name="T2" fmla="*/ 2147483647 w 83"/>
                <a:gd name="T3" fmla="*/ 2147483647 h 47"/>
                <a:gd name="T4" fmla="*/ 2147483647 w 83"/>
                <a:gd name="T5" fmla="*/ 2147483647 h 47"/>
                <a:gd name="T6" fmla="*/ 2147483647 w 83"/>
                <a:gd name="T7" fmla="*/ 2147483647 h 47"/>
                <a:gd name="T8" fmla="*/ 2147483647 w 83"/>
                <a:gd name="T9" fmla="*/ 2147483647 h 47"/>
                <a:gd name="T10" fmla="*/ 0 w 83"/>
                <a:gd name="T11" fmla="*/ 2147483647 h 47"/>
                <a:gd name="T12" fmla="*/ 2147483647 w 83"/>
                <a:gd name="T13" fmla="*/ 0 h 47"/>
                <a:gd name="T14" fmla="*/ 0 60000 65536"/>
                <a:gd name="T15" fmla="*/ 0 60000 65536"/>
                <a:gd name="T16" fmla="*/ 0 60000 65536"/>
                <a:gd name="T17" fmla="*/ 0 60000 65536"/>
                <a:gd name="T18" fmla="*/ 0 60000 65536"/>
                <a:gd name="T19" fmla="*/ 0 60000 65536"/>
                <a:gd name="T20" fmla="*/ 0 60000 65536"/>
                <a:gd name="T21" fmla="*/ 0 w 83"/>
                <a:gd name="T22" fmla="*/ 0 h 47"/>
                <a:gd name="T23" fmla="*/ 83 w 83"/>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47">
                  <a:moveTo>
                    <a:pt x="63" y="0"/>
                  </a:moveTo>
                  <a:lnTo>
                    <a:pt x="83" y="14"/>
                  </a:lnTo>
                  <a:lnTo>
                    <a:pt x="78" y="32"/>
                  </a:lnTo>
                  <a:lnTo>
                    <a:pt x="60" y="43"/>
                  </a:lnTo>
                  <a:lnTo>
                    <a:pt x="15" y="47"/>
                  </a:lnTo>
                  <a:lnTo>
                    <a:pt x="0" y="26"/>
                  </a:lnTo>
                  <a:lnTo>
                    <a:pt x="63"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86" name="Freeform 1172"/>
            <p:cNvSpPr>
              <a:spLocks/>
            </p:cNvSpPr>
            <p:nvPr/>
          </p:nvSpPr>
          <p:spPr bwMode="auto">
            <a:xfrm>
              <a:off x="3316528" y="2316856"/>
              <a:ext cx="31533" cy="11463"/>
            </a:xfrm>
            <a:custGeom>
              <a:avLst/>
              <a:gdLst>
                <a:gd name="T0" fmla="*/ 2147483647 w 66"/>
                <a:gd name="T1" fmla="*/ 2147483647 h 31"/>
                <a:gd name="T2" fmla="*/ 2147483647 w 66"/>
                <a:gd name="T3" fmla="*/ 0 h 31"/>
                <a:gd name="T4" fmla="*/ 2147483647 w 66"/>
                <a:gd name="T5" fmla="*/ 2147483647 h 31"/>
                <a:gd name="T6" fmla="*/ 0 w 66"/>
                <a:gd name="T7" fmla="*/ 2147483647 h 31"/>
                <a:gd name="T8" fmla="*/ 2147483647 w 66"/>
                <a:gd name="T9" fmla="*/ 2147483647 h 31"/>
                <a:gd name="T10" fmla="*/ 0 60000 65536"/>
                <a:gd name="T11" fmla="*/ 0 60000 65536"/>
                <a:gd name="T12" fmla="*/ 0 60000 65536"/>
                <a:gd name="T13" fmla="*/ 0 60000 65536"/>
                <a:gd name="T14" fmla="*/ 0 60000 65536"/>
                <a:gd name="T15" fmla="*/ 0 w 66"/>
                <a:gd name="T16" fmla="*/ 0 h 31"/>
                <a:gd name="T17" fmla="*/ 66 w 66"/>
                <a:gd name="T18" fmla="*/ 31 h 31"/>
              </a:gdLst>
              <a:ahLst/>
              <a:cxnLst>
                <a:cxn ang="T10">
                  <a:pos x="T0" y="T1"/>
                </a:cxn>
                <a:cxn ang="T11">
                  <a:pos x="T2" y="T3"/>
                </a:cxn>
                <a:cxn ang="T12">
                  <a:pos x="T4" y="T5"/>
                </a:cxn>
                <a:cxn ang="T13">
                  <a:pos x="T6" y="T7"/>
                </a:cxn>
                <a:cxn ang="T14">
                  <a:pos x="T8" y="T9"/>
                </a:cxn>
              </a:cxnLst>
              <a:rect l="T15" t="T16" r="T17" b="T18"/>
              <a:pathLst>
                <a:path w="66" h="31">
                  <a:moveTo>
                    <a:pt x="38" y="2"/>
                  </a:moveTo>
                  <a:lnTo>
                    <a:pt x="66" y="0"/>
                  </a:lnTo>
                  <a:lnTo>
                    <a:pt x="58" y="13"/>
                  </a:lnTo>
                  <a:lnTo>
                    <a:pt x="0" y="31"/>
                  </a:lnTo>
                  <a:lnTo>
                    <a:pt x="38" y="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87" name="Freeform 1173"/>
            <p:cNvSpPr>
              <a:spLocks/>
            </p:cNvSpPr>
            <p:nvPr/>
          </p:nvSpPr>
          <p:spPr bwMode="auto">
            <a:xfrm>
              <a:off x="3326561" y="2324498"/>
              <a:ext cx="27234" cy="15284"/>
            </a:xfrm>
            <a:custGeom>
              <a:avLst/>
              <a:gdLst>
                <a:gd name="T0" fmla="*/ 2147483647 w 56"/>
                <a:gd name="T1" fmla="*/ 2147483647 h 35"/>
                <a:gd name="T2" fmla="*/ 2147483647 w 56"/>
                <a:gd name="T3" fmla="*/ 0 h 35"/>
                <a:gd name="T4" fmla="*/ 2147483647 w 56"/>
                <a:gd name="T5" fmla="*/ 2147483647 h 35"/>
                <a:gd name="T6" fmla="*/ 2147483647 w 56"/>
                <a:gd name="T7" fmla="*/ 2147483647 h 35"/>
                <a:gd name="T8" fmla="*/ 0 w 56"/>
                <a:gd name="T9" fmla="*/ 2147483647 h 35"/>
                <a:gd name="T10" fmla="*/ 2147483647 w 56"/>
                <a:gd name="T11" fmla="*/ 2147483647 h 35"/>
                <a:gd name="T12" fmla="*/ 0 60000 65536"/>
                <a:gd name="T13" fmla="*/ 0 60000 65536"/>
                <a:gd name="T14" fmla="*/ 0 60000 65536"/>
                <a:gd name="T15" fmla="*/ 0 60000 65536"/>
                <a:gd name="T16" fmla="*/ 0 60000 65536"/>
                <a:gd name="T17" fmla="*/ 0 60000 65536"/>
                <a:gd name="T18" fmla="*/ 0 w 56"/>
                <a:gd name="T19" fmla="*/ 0 h 35"/>
                <a:gd name="T20" fmla="*/ 56 w 56"/>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56" h="35">
                  <a:moveTo>
                    <a:pt x="15" y="6"/>
                  </a:moveTo>
                  <a:lnTo>
                    <a:pt x="56" y="0"/>
                  </a:lnTo>
                  <a:lnTo>
                    <a:pt x="33" y="31"/>
                  </a:lnTo>
                  <a:lnTo>
                    <a:pt x="12" y="35"/>
                  </a:lnTo>
                  <a:lnTo>
                    <a:pt x="0" y="31"/>
                  </a:lnTo>
                  <a:lnTo>
                    <a:pt x="15" y="6"/>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89" name="Freeform 1174"/>
            <p:cNvSpPr>
              <a:spLocks/>
            </p:cNvSpPr>
            <p:nvPr/>
          </p:nvSpPr>
          <p:spPr bwMode="auto">
            <a:xfrm>
              <a:off x="3296462" y="2362707"/>
              <a:ext cx="25800" cy="26747"/>
            </a:xfrm>
            <a:custGeom>
              <a:avLst/>
              <a:gdLst>
                <a:gd name="T0" fmla="*/ 2147483647 w 55"/>
                <a:gd name="T1" fmla="*/ 0 h 67"/>
                <a:gd name="T2" fmla="*/ 2147483647 w 55"/>
                <a:gd name="T3" fmla="*/ 2147483647 h 67"/>
                <a:gd name="T4" fmla="*/ 2147483647 w 55"/>
                <a:gd name="T5" fmla="*/ 2147483647 h 67"/>
                <a:gd name="T6" fmla="*/ 2147483647 w 55"/>
                <a:gd name="T7" fmla="*/ 2147483647 h 67"/>
                <a:gd name="T8" fmla="*/ 0 w 55"/>
                <a:gd name="T9" fmla="*/ 2147483647 h 67"/>
                <a:gd name="T10" fmla="*/ 2147483647 w 55"/>
                <a:gd name="T11" fmla="*/ 2147483647 h 67"/>
                <a:gd name="T12" fmla="*/ 2147483647 w 55"/>
                <a:gd name="T13" fmla="*/ 0 h 67"/>
                <a:gd name="T14" fmla="*/ 0 60000 65536"/>
                <a:gd name="T15" fmla="*/ 0 60000 65536"/>
                <a:gd name="T16" fmla="*/ 0 60000 65536"/>
                <a:gd name="T17" fmla="*/ 0 60000 65536"/>
                <a:gd name="T18" fmla="*/ 0 60000 65536"/>
                <a:gd name="T19" fmla="*/ 0 60000 65536"/>
                <a:gd name="T20" fmla="*/ 0 60000 65536"/>
                <a:gd name="T21" fmla="*/ 0 w 55"/>
                <a:gd name="T22" fmla="*/ 0 h 67"/>
                <a:gd name="T23" fmla="*/ 55 w 55"/>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7">
                  <a:moveTo>
                    <a:pt x="35" y="0"/>
                  </a:moveTo>
                  <a:lnTo>
                    <a:pt x="55" y="45"/>
                  </a:lnTo>
                  <a:lnTo>
                    <a:pt x="48" y="59"/>
                  </a:lnTo>
                  <a:lnTo>
                    <a:pt x="30" y="67"/>
                  </a:lnTo>
                  <a:lnTo>
                    <a:pt x="0" y="44"/>
                  </a:lnTo>
                  <a:lnTo>
                    <a:pt x="14" y="2"/>
                  </a:lnTo>
                  <a:lnTo>
                    <a:pt x="35"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0" name="Freeform 1175"/>
            <p:cNvSpPr>
              <a:spLocks/>
            </p:cNvSpPr>
            <p:nvPr/>
          </p:nvSpPr>
          <p:spPr bwMode="auto">
            <a:xfrm>
              <a:off x="3038461" y="2255721"/>
              <a:ext cx="247967" cy="175765"/>
            </a:xfrm>
            <a:custGeom>
              <a:avLst/>
              <a:gdLst>
                <a:gd name="T0" fmla="*/ 2147483647 w 529"/>
                <a:gd name="T1" fmla="*/ 2147483647 h 419"/>
                <a:gd name="T2" fmla="*/ 2147483647 w 529"/>
                <a:gd name="T3" fmla="*/ 0 h 419"/>
                <a:gd name="T4" fmla="*/ 2147483647 w 529"/>
                <a:gd name="T5" fmla="*/ 2147483647 h 419"/>
                <a:gd name="T6" fmla="*/ 2147483647 w 529"/>
                <a:gd name="T7" fmla="*/ 2147483647 h 419"/>
                <a:gd name="T8" fmla="*/ 2147483647 w 529"/>
                <a:gd name="T9" fmla="*/ 2147483647 h 419"/>
                <a:gd name="T10" fmla="*/ 2147483647 w 529"/>
                <a:gd name="T11" fmla="*/ 2147483647 h 419"/>
                <a:gd name="T12" fmla="*/ 2147483647 w 529"/>
                <a:gd name="T13" fmla="*/ 2147483647 h 419"/>
                <a:gd name="T14" fmla="*/ 2147483647 w 529"/>
                <a:gd name="T15" fmla="*/ 2147483647 h 419"/>
                <a:gd name="T16" fmla="*/ 2147483647 w 529"/>
                <a:gd name="T17" fmla="*/ 2147483647 h 419"/>
                <a:gd name="T18" fmla="*/ 2147483647 w 529"/>
                <a:gd name="T19" fmla="*/ 2147483647 h 419"/>
                <a:gd name="T20" fmla="*/ 2147483647 w 529"/>
                <a:gd name="T21" fmla="*/ 2147483647 h 419"/>
                <a:gd name="T22" fmla="*/ 2147483647 w 529"/>
                <a:gd name="T23" fmla="*/ 2147483647 h 419"/>
                <a:gd name="T24" fmla="*/ 2147483647 w 529"/>
                <a:gd name="T25" fmla="*/ 2147483647 h 419"/>
                <a:gd name="T26" fmla="*/ 2147483647 w 529"/>
                <a:gd name="T27" fmla="*/ 2147483647 h 419"/>
                <a:gd name="T28" fmla="*/ 2147483647 w 529"/>
                <a:gd name="T29" fmla="*/ 2147483647 h 419"/>
                <a:gd name="T30" fmla="*/ 2147483647 w 529"/>
                <a:gd name="T31" fmla="*/ 2147483647 h 419"/>
                <a:gd name="T32" fmla="*/ 2147483647 w 529"/>
                <a:gd name="T33" fmla="*/ 2147483647 h 419"/>
                <a:gd name="T34" fmla="*/ 2147483647 w 529"/>
                <a:gd name="T35" fmla="*/ 2147483647 h 419"/>
                <a:gd name="T36" fmla="*/ 2147483647 w 529"/>
                <a:gd name="T37" fmla="*/ 2147483647 h 419"/>
                <a:gd name="T38" fmla="*/ 2147483647 w 529"/>
                <a:gd name="T39" fmla="*/ 2147483647 h 419"/>
                <a:gd name="T40" fmla="*/ 2147483647 w 529"/>
                <a:gd name="T41" fmla="*/ 2147483647 h 419"/>
                <a:gd name="T42" fmla="*/ 2147483647 w 529"/>
                <a:gd name="T43" fmla="*/ 2147483647 h 419"/>
                <a:gd name="T44" fmla="*/ 2147483647 w 529"/>
                <a:gd name="T45" fmla="*/ 2147483647 h 419"/>
                <a:gd name="T46" fmla="*/ 2147483647 w 529"/>
                <a:gd name="T47" fmla="*/ 2147483647 h 419"/>
                <a:gd name="T48" fmla="*/ 2147483647 w 529"/>
                <a:gd name="T49" fmla="*/ 2147483647 h 419"/>
                <a:gd name="T50" fmla="*/ 2147483647 w 529"/>
                <a:gd name="T51" fmla="*/ 2147483647 h 419"/>
                <a:gd name="T52" fmla="*/ 2147483647 w 529"/>
                <a:gd name="T53" fmla="*/ 2147483647 h 419"/>
                <a:gd name="T54" fmla="*/ 2147483647 w 529"/>
                <a:gd name="T55" fmla="*/ 2147483647 h 419"/>
                <a:gd name="T56" fmla="*/ 2147483647 w 529"/>
                <a:gd name="T57" fmla="*/ 2147483647 h 419"/>
                <a:gd name="T58" fmla="*/ 2147483647 w 529"/>
                <a:gd name="T59" fmla="*/ 2147483647 h 419"/>
                <a:gd name="T60" fmla="*/ 2147483647 w 529"/>
                <a:gd name="T61" fmla="*/ 2147483647 h 419"/>
                <a:gd name="T62" fmla="*/ 2147483647 w 529"/>
                <a:gd name="T63" fmla="*/ 2147483647 h 419"/>
                <a:gd name="T64" fmla="*/ 2147483647 w 529"/>
                <a:gd name="T65" fmla="*/ 2147483647 h 419"/>
                <a:gd name="T66" fmla="*/ 2147483647 w 529"/>
                <a:gd name="T67" fmla="*/ 2147483647 h 419"/>
                <a:gd name="T68" fmla="*/ 2147483647 w 529"/>
                <a:gd name="T69" fmla="*/ 2147483647 h 419"/>
                <a:gd name="T70" fmla="*/ 2147483647 w 529"/>
                <a:gd name="T71" fmla="*/ 2147483647 h 419"/>
                <a:gd name="T72" fmla="*/ 2147483647 w 529"/>
                <a:gd name="T73" fmla="*/ 2147483647 h 419"/>
                <a:gd name="T74" fmla="*/ 2147483647 w 529"/>
                <a:gd name="T75" fmla="*/ 2147483647 h 419"/>
                <a:gd name="T76" fmla="*/ 2147483647 w 529"/>
                <a:gd name="T77" fmla="*/ 2147483647 h 419"/>
                <a:gd name="T78" fmla="*/ 2147483647 w 529"/>
                <a:gd name="T79" fmla="*/ 2147483647 h 419"/>
                <a:gd name="T80" fmla="*/ 2147483647 w 529"/>
                <a:gd name="T81" fmla="*/ 2147483647 h 419"/>
                <a:gd name="T82" fmla="*/ 2147483647 w 529"/>
                <a:gd name="T83" fmla="*/ 2147483647 h 419"/>
                <a:gd name="T84" fmla="*/ 2147483647 w 529"/>
                <a:gd name="T85" fmla="*/ 2147483647 h 419"/>
                <a:gd name="T86" fmla="*/ 2147483647 w 529"/>
                <a:gd name="T87" fmla="*/ 2147483647 h 419"/>
                <a:gd name="T88" fmla="*/ 2147483647 w 529"/>
                <a:gd name="T89" fmla="*/ 2147483647 h 419"/>
                <a:gd name="T90" fmla="*/ 2147483647 w 529"/>
                <a:gd name="T91" fmla="*/ 2147483647 h 419"/>
                <a:gd name="T92" fmla="*/ 2147483647 w 529"/>
                <a:gd name="T93" fmla="*/ 2147483647 h 419"/>
                <a:gd name="T94" fmla="*/ 2147483647 w 529"/>
                <a:gd name="T95" fmla="*/ 2147483647 h 4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9"/>
                <a:gd name="T145" fmla="*/ 0 h 419"/>
                <a:gd name="T146" fmla="*/ 529 w 529"/>
                <a:gd name="T147" fmla="*/ 419 h 4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9" h="419">
                  <a:moveTo>
                    <a:pt x="329" y="65"/>
                  </a:moveTo>
                  <a:lnTo>
                    <a:pt x="345" y="56"/>
                  </a:lnTo>
                  <a:lnTo>
                    <a:pt x="360" y="6"/>
                  </a:lnTo>
                  <a:lnTo>
                    <a:pt x="383" y="0"/>
                  </a:lnTo>
                  <a:lnTo>
                    <a:pt x="396" y="21"/>
                  </a:lnTo>
                  <a:lnTo>
                    <a:pt x="386" y="38"/>
                  </a:lnTo>
                  <a:lnTo>
                    <a:pt x="393" y="54"/>
                  </a:lnTo>
                  <a:lnTo>
                    <a:pt x="393" y="74"/>
                  </a:lnTo>
                  <a:lnTo>
                    <a:pt x="413" y="101"/>
                  </a:lnTo>
                  <a:lnTo>
                    <a:pt x="392" y="139"/>
                  </a:lnTo>
                  <a:lnTo>
                    <a:pt x="436" y="153"/>
                  </a:lnTo>
                  <a:lnTo>
                    <a:pt x="418" y="190"/>
                  </a:lnTo>
                  <a:lnTo>
                    <a:pt x="455" y="171"/>
                  </a:lnTo>
                  <a:lnTo>
                    <a:pt x="468" y="208"/>
                  </a:lnTo>
                  <a:lnTo>
                    <a:pt x="475" y="189"/>
                  </a:lnTo>
                  <a:lnTo>
                    <a:pt x="468" y="162"/>
                  </a:lnTo>
                  <a:lnTo>
                    <a:pt x="476" y="144"/>
                  </a:lnTo>
                  <a:lnTo>
                    <a:pt x="518" y="169"/>
                  </a:lnTo>
                  <a:lnTo>
                    <a:pt x="528" y="192"/>
                  </a:lnTo>
                  <a:lnTo>
                    <a:pt x="529" y="219"/>
                  </a:lnTo>
                  <a:lnTo>
                    <a:pt x="499" y="318"/>
                  </a:lnTo>
                  <a:lnTo>
                    <a:pt x="452" y="338"/>
                  </a:lnTo>
                  <a:lnTo>
                    <a:pt x="434" y="327"/>
                  </a:lnTo>
                  <a:lnTo>
                    <a:pt x="431" y="310"/>
                  </a:lnTo>
                  <a:lnTo>
                    <a:pt x="400" y="334"/>
                  </a:lnTo>
                  <a:lnTo>
                    <a:pt x="385" y="330"/>
                  </a:lnTo>
                  <a:lnTo>
                    <a:pt x="392" y="323"/>
                  </a:lnTo>
                  <a:lnTo>
                    <a:pt x="386" y="306"/>
                  </a:lnTo>
                  <a:lnTo>
                    <a:pt x="353" y="341"/>
                  </a:lnTo>
                  <a:lnTo>
                    <a:pt x="303" y="359"/>
                  </a:lnTo>
                  <a:lnTo>
                    <a:pt x="295" y="381"/>
                  </a:lnTo>
                  <a:lnTo>
                    <a:pt x="218" y="419"/>
                  </a:lnTo>
                  <a:lnTo>
                    <a:pt x="159" y="402"/>
                  </a:lnTo>
                  <a:lnTo>
                    <a:pt x="140" y="380"/>
                  </a:lnTo>
                  <a:lnTo>
                    <a:pt x="143" y="365"/>
                  </a:lnTo>
                  <a:lnTo>
                    <a:pt x="184" y="351"/>
                  </a:lnTo>
                  <a:lnTo>
                    <a:pt x="199" y="326"/>
                  </a:lnTo>
                  <a:lnTo>
                    <a:pt x="257" y="330"/>
                  </a:lnTo>
                  <a:lnTo>
                    <a:pt x="288" y="276"/>
                  </a:lnTo>
                  <a:lnTo>
                    <a:pt x="231" y="299"/>
                  </a:lnTo>
                  <a:lnTo>
                    <a:pt x="230" y="282"/>
                  </a:lnTo>
                  <a:lnTo>
                    <a:pt x="214" y="278"/>
                  </a:lnTo>
                  <a:lnTo>
                    <a:pt x="207" y="306"/>
                  </a:lnTo>
                  <a:lnTo>
                    <a:pt x="194" y="297"/>
                  </a:lnTo>
                  <a:lnTo>
                    <a:pt x="163" y="320"/>
                  </a:lnTo>
                  <a:lnTo>
                    <a:pt x="158" y="312"/>
                  </a:lnTo>
                  <a:lnTo>
                    <a:pt x="169" y="292"/>
                  </a:lnTo>
                  <a:lnTo>
                    <a:pt x="166" y="266"/>
                  </a:lnTo>
                  <a:lnTo>
                    <a:pt x="184" y="250"/>
                  </a:lnTo>
                  <a:lnTo>
                    <a:pt x="157" y="254"/>
                  </a:lnTo>
                  <a:lnTo>
                    <a:pt x="151" y="285"/>
                  </a:lnTo>
                  <a:lnTo>
                    <a:pt x="134" y="271"/>
                  </a:lnTo>
                  <a:lnTo>
                    <a:pt x="140" y="309"/>
                  </a:lnTo>
                  <a:lnTo>
                    <a:pt x="122" y="327"/>
                  </a:lnTo>
                  <a:lnTo>
                    <a:pt x="112" y="326"/>
                  </a:lnTo>
                  <a:lnTo>
                    <a:pt x="108" y="296"/>
                  </a:lnTo>
                  <a:lnTo>
                    <a:pt x="90" y="304"/>
                  </a:lnTo>
                  <a:lnTo>
                    <a:pt x="90" y="330"/>
                  </a:lnTo>
                  <a:lnTo>
                    <a:pt x="63" y="314"/>
                  </a:lnTo>
                  <a:lnTo>
                    <a:pt x="67" y="305"/>
                  </a:lnTo>
                  <a:lnTo>
                    <a:pt x="61" y="289"/>
                  </a:lnTo>
                  <a:lnTo>
                    <a:pt x="46" y="304"/>
                  </a:lnTo>
                  <a:lnTo>
                    <a:pt x="0" y="281"/>
                  </a:lnTo>
                  <a:lnTo>
                    <a:pt x="19" y="243"/>
                  </a:lnTo>
                  <a:lnTo>
                    <a:pt x="68" y="243"/>
                  </a:lnTo>
                  <a:lnTo>
                    <a:pt x="110" y="203"/>
                  </a:lnTo>
                  <a:lnTo>
                    <a:pt x="48" y="233"/>
                  </a:lnTo>
                  <a:lnTo>
                    <a:pt x="18" y="229"/>
                  </a:lnTo>
                  <a:lnTo>
                    <a:pt x="18" y="211"/>
                  </a:lnTo>
                  <a:lnTo>
                    <a:pt x="27" y="192"/>
                  </a:lnTo>
                  <a:lnTo>
                    <a:pt x="37" y="176"/>
                  </a:lnTo>
                  <a:lnTo>
                    <a:pt x="48" y="154"/>
                  </a:lnTo>
                  <a:lnTo>
                    <a:pt x="40" y="140"/>
                  </a:lnTo>
                  <a:lnTo>
                    <a:pt x="48" y="124"/>
                  </a:lnTo>
                  <a:lnTo>
                    <a:pt x="74" y="101"/>
                  </a:lnTo>
                  <a:lnTo>
                    <a:pt x="90" y="69"/>
                  </a:lnTo>
                  <a:lnTo>
                    <a:pt x="116" y="62"/>
                  </a:lnTo>
                  <a:lnTo>
                    <a:pt x="150" y="75"/>
                  </a:lnTo>
                  <a:lnTo>
                    <a:pt x="147" y="97"/>
                  </a:lnTo>
                  <a:lnTo>
                    <a:pt x="151" y="115"/>
                  </a:lnTo>
                  <a:lnTo>
                    <a:pt x="203" y="106"/>
                  </a:lnTo>
                  <a:lnTo>
                    <a:pt x="220" y="120"/>
                  </a:lnTo>
                  <a:lnTo>
                    <a:pt x="252" y="165"/>
                  </a:lnTo>
                  <a:lnTo>
                    <a:pt x="235" y="184"/>
                  </a:lnTo>
                  <a:lnTo>
                    <a:pt x="263" y="178"/>
                  </a:lnTo>
                  <a:lnTo>
                    <a:pt x="269" y="196"/>
                  </a:lnTo>
                  <a:lnTo>
                    <a:pt x="263" y="201"/>
                  </a:lnTo>
                  <a:lnTo>
                    <a:pt x="275" y="233"/>
                  </a:lnTo>
                  <a:lnTo>
                    <a:pt x="375" y="235"/>
                  </a:lnTo>
                  <a:lnTo>
                    <a:pt x="378" y="204"/>
                  </a:lnTo>
                  <a:lnTo>
                    <a:pt x="334" y="172"/>
                  </a:lnTo>
                  <a:lnTo>
                    <a:pt x="362" y="149"/>
                  </a:lnTo>
                  <a:lnTo>
                    <a:pt x="353" y="119"/>
                  </a:lnTo>
                  <a:lnTo>
                    <a:pt x="316" y="94"/>
                  </a:lnTo>
                  <a:lnTo>
                    <a:pt x="311" y="73"/>
                  </a:lnTo>
                  <a:lnTo>
                    <a:pt x="329" y="6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2" name="Freeform 1176"/>
            <p:cNvSpPr>
              <a:spLocks/>
            </p:cNvSpPr>
            <p:nvPr/>
          </p:nvSpPr>
          <p:spPr bwMode="auto">
            <a:xfrm>
              <a:off x="3004060" y="2313035"/>
              <a:ext cx="37267" cy="43304"/>
            </a:xfrm>
            <a:custGeom>
              <a:avLst/>
              <a:gdLst>
                <a:gd name="T0" fmla="*/ 2147483647 w 77"/>
                <a:gd name="T1" fmla="*/ 2147483647 h 105"/>
                <a:gd name="T2" fmla="*/ 2147483647 w 77"/>
                <a:gd name="T3" fmla="*/ 0 h 105"/>
                <a:gd name="T4" fmla="*/ 2147483647 w 77"/>
                <a:gd name="T5" fmla="*/ 2147483647 h 105"/>
                <a:gd name="T6" fmla="*/ 2147483647 w 77"/>
                <a:gd name="T7" fmla="*/ 2147483647 h 105"/>
                <a:gd name="T8" fmla="*/ 0 w 77"/>
                <a:gd name="T9" fmla="*/ 2147483647 h 105"/>
                <a:gd name="T10" fmla="*/ 2147483647 w 77"/>
                <a:gd name="T11" fmla="*/ 2147483647 h 105"/>
                <a:gd name="T12" fmla="*/ 0 60000 65536"/>
                <a:gd name="T13" fmla="*/ 0 60000 65536"/>
                <a:gd name="T14" fmla="*/ 0 60000 65536"/>
                <a:gd name="T15" fmla="*/ 0 60000 65536"/>
                <a:gd name="T16" fmla="*/ 0 60000 65536"/>
                <a:gd name="T17" fmla="*/ 0 60000 65536"/>
                <a:gd name="T18" fmla="*/ 0 w 77"/>
                <a:gd name="T19" fmla="*/ 0 h 105"/>
                <a:gd name="T20" fmla="*/ 77 w 77"/>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7" h="105">
                  <a:moveTo>
                    <a:pt x="57" y="13"/>
                  </a:moveTo>
                  <a:lnTo>
                    <a:pt x="70" y="0"/>
                  </a:lnTo>
                  <a:lnTo>
                    <a:pt x="77" y="14"/>
                  </a:lnTo>
                  <a:lnTo>
                    <a:pt x="40" y="105"/>
                  </a:lnTo>
                  <a:lnTo>
                    <a:pt x="0" y="76"/>
                  </a:lnTo>
                  <a:lnTo>
                    <a:pt x="57" y="13"/>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3" name="Freeform 1177"/>
            <p:cNvSpPr>
              <a:spLocks/>
            </p:cNvSpPr>
            <p:nvPr/>
          </p:nvSpPr>
          <p:spPr bwMode="auto">
            <a:xfrm>
              <a:off x="2932393" y="2199680"/>
              <a:ext cx="146200" cy="135008"/>
            </a:xfrm>
            <a:custGeom>
              <a:avLst/>
              <a:gdLst>
                <a:gd name="T0" fmla="*/ 2147483647 w 315"/>
                <a:gd name="T1" fmla="*/ 2147483647 h 322"/>
                <a:gd name="T2" fmla="*/ 2147483647 w 315"/>
                <a:gd name="T3" fmla="*/ 2147483647 h 322"/>
                <a:gd name="T4" fmla="*/ 2147483647 w 315"/>
                <a:gd name="T5" fmla="*/ 2147483647 h 322"/>
                <a:gd name="T6" fmla="*/ 2147483647 w 315"/>
                <a:gd name="T7" fmla="*/ 2147483647 h 322"/>
                <a:gd name="T8" fmla="*/ 2147483647 w 315"/>
                <a:gd name="T9" fmla="*/ 2147483647 h 322"/>
                <a:gd name="T10" fmla="*/ 2147483647 w 315"/>
                <a:gd name="T11" fmla="*/ 2147483647 h 322"/>
                <a:gd name="T12" fmla="*/ 2147483647 w 315"/>
                <a:gd name="T13" fmla="*/ 2147483647 h 322"/>
                <a:gd name="T14" fmla="*/ 2147483647 w 315"/>
                <a:gd name="T15" fmla="*/ 2147483647 h 322"/>
                <a:gd name="T16" fmla="*/ 2147483647 w 315"/>
                <a:gd name="T17" fmla="*/ 0 h 322"/>
                <a:gd name="T18" fmla="*/ 2147483647 w 315"/>
                <a:gd name="T19" fmla="*/ 2147483647 h 322"/>
                <a:gd name="T20" fmla="*/ 2147483647 w 315"/>
                <a:gd name="T21" fmla="*/ 2147483647 h 322"/>
                <a:gd name="T22" fmla="*/ 2147483647 w 315"/>
                <a:gd name="T23" fmla="*/ 2147483647 h 322"/>
                <a:gd name="T24" fmla="*/ 2147483647 w 315"/>
                <a:gd name="T25" fmla="*/ 2147483647 h 322"/>
                <a:gd name="T26" fmla="*/ 2147483647 w 315"/>
                <a:gd name="T27" fmla="*/ 2147483647 h 322"/>
                <a:gd name="T28" fmla="*/ 2147483647 w 315"/>
                <a:gd name="T29" fmla="*/ 2147483647 h 322"/>
                <a:gd name="T30" fmla="*/ 2147483647 w 315"/>
                <a:gd name="T31" fmla="*/ 2147483647 h 322"/>
                <a:gd name="T32" fmla="*/ 2147483647 w 315"/>
                <a:gd name="T33" fmla="*/ 2147483647 h 322"/>
                <a:gd name="T34" fmla="*/ 2147483647 w 315"/>
                <a:gd name="T35" fmla="*/ 2147483647 h 322"/>
                <a:gd name="T36" fmla="*/ 2147483647 w 315"/>
                <a:gd name="T37" fmla="*/ 2147483647 h 322"/>
                <a:gd name="T38" fmla="*/ 2147483647 w 315"/>
                <a:gd name="T39" fmla="*/ 2147483647 h 322"/>
                <a:gd name="T40" fmla="*/ 2147483647 w 315"/>
                <a:gd name="T41" fmla="*/ 2147483647 h 322"/>
                <a:gd name="T42" fmla="*/ 2147483647 w 315"/>
                <a:gd name="T43" fmla="*/ 2147483647 h 322"/>
                <a:gd name="T44" fmla="*/ 2147483647 w 315"/>
                <a:gd name="T45" fmla="*/ 2147483647 h 322"/>
                <a:gd name="T46" fmla="*/ 2147483647 w 315"/>
                <a:gd name="T47" fmla="*/ 2147483647 h 322"/>
                <a:gd name="T48" fmla="*/ 2147483647 w 315"/>
                <a:gd name="T49" fmla="*/ 2147483647 h 322"/>
                <a:gd name="T50" fmla="*/ 2147483647 w 315"/>
                <a:gd name="T51" fmla="*/ 2147483647 h 322"/>
                <a:gd name="T52" fmla="*/ 2147483647 w 315"/>
                <a:gd name="T53" fmla="*/ 2147483647 h 322"/>
                <a:gd name="T54" fmla="*/ 2147483647 w 315"/>
                <a:gd name="T55" fmla="*/ 2147483647 h 322"/>
                <a:gd name="T56" fmla="*/ 2147483647 w 315"/>
                <a:gd name="T57" fmla="*/ 2147483647 h 322"/>
                <a:gd name="T58" fmla="*/ 2147483647 w 315"/>
                <a:gd name="T59" fmla="*/ 2147483647 h 322"/>
                <a:gd name="T60" fmla="*/ 2147483647 w 315"/>
                <a:gd name="T61" fmla="*/ 2147483647 h 322"/>
                <a:gd name="T62" fmla="*/ 2147483647 w 315"/>
                <a:gd name="T63" fmla="*/ 2147483647 h 322"/>
                <a:gd name="T64" fmla="*/ 2147483647 w 315"/>
                <a:gd name="T65" fmla="*/ 2147483647 h 322"/>
                <a:gd name="T66" fmla="*/ 2147483647 w 315"/>
                <a:gd name="T67" fmla="*/ 2147483647 h 322"/>
                <a:gd name="T68" fmla="*/ 2147483647 w 315"/>
                <a:gd name="T69" fmla="*/ 2147483647 h 322"/>
                <a:gd name="T70" fmla="*/ 2147483647 w 315"/>
                <a:gd name="T71" fmla="*/ 2147483647 h 322"/>
                <a:gd name="T72" fmla="*/ 2147483647 w 315"/>
                <a:gd name="T73" fmla="*/ 2147483647 h 322"/>
                <a:gd name="T74" fmla="*/ 2147483647 w 315"/>
                <a:gd name="T75" fmla="*/ 2147483647 h 322"/>
                <a:gd name="T76" fmla="*/ 2147483647 w 315"/>
                <a:gd name="T77" fmla="*/ 2147483647 h 322"/>
                <a:gd name="T78" fmla="*/ 2147483647 w 315"/>
                <a:gd name="T79" fmla="*/ 2147483647 h 322"/>
                <a:gd name="T80" fmla="*/ 2147483647 w 315"/>
                <a:gd name="T81" fmla="*/ 2147483647 h 322"/>
                <a:gd name="T82" fmla="*/ 2147483647 w 315"/>
                <a:gd name="T83" fmla="*/ 2147483647 h 322"/>
                <a:gd name="T84" fmla="*/ 2147483647 w 315"/>
                <a:gd name="T85" fmla="*/ 2147483647 h 322"/>
                <a:gd name="T86" fmla="*/ 2147483647 w 315"/>
                <a:gd name="T87" fmla="*/ 2147483647 h 322"/>
                <a:gd name="T88" fmla="*/ 2147483647 w 315"/>
                <a:gd name="T89" fmla="*/ 2147483647 h 322"/>
                <a:gd name="T90" fmla="*/ 2147483647 w 315"/>
                <a:gd name="T91" fmla="*/ 2147483647 h 322"/>
                <a:gd name="T92" fmla="*/ 2147483647 w 315"/>
                <a:gd name="T93" fmla="*/ 2147483647 h 322"/>
                <a:gd name="T94" fmla="*/ 0 w 315"/>
                <a:gd name="T95" fmla="*/ 2147483647 h 322"/>
                <a:gd name="T96" fmla="*/ 2147483647 w 315"/>
                <a:gd name="T97" fmla="*/ 2147483647 h 322"/>
                <a:gd name="T98" fmla="*/ 2147483647 w 315"/>
                <a:gd name="T99" fmla="*/ 2147483647 h 322"/>
                <a:gd name="T100" fmla="*/ 2147483647 w 315"/>
                <a:gd name="T101" fmla="*/ 2147483647 h 322"/>
                <a:gd name="T102" fmla="*/ 2147483647 w 315"/>
                <a:gd name="T103" fmla="*/ 2147483647 h 322"/>
                <a:gd name="T104" fmla="*/ 2147483647 w 315"/>
                <a:gd name="T105" fmla="*/ 2147483647 h 322"/>
                <a:gd name="T106" fmla="*/ 2147483647 w 315"/>
                <a:gd name="T107" fmla="*/ 2147483647 h 3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15"/>
                <a:gd name="T163" fmla="*/ 0 h 322"/>
                <a:gd name="T164" fmla="*/ 315 w 315"/>
                <a:gd name="T165" fmla="*/ 322 h 3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15" h="322">
                  <a:moveTo>
                    <a:pt x="122" y="105"/>
                  </a:moveTo>
                  <a:lnTo>
                    <a:pt x="177" y="38"/>
                  </a:lnTo>
                  <a:lnTo>
                    <a:pt x="212" y="35"/>
                  </a:lnTo>
                  <a:lnTo>
                    <a:pt x="213" y="60"/>
                  </a:lnTo>
                  <a:lnTo>
                    <a:pt x="217" y="38"/>
                  </a:lnTo>
                  <a:lnTo>
                    <a:pt x="252" y="48"/>
                  </a:lnTo>
                  <a:lnTo>
                    <a:pt x="259" y="34"/>
                  </a:lnTo>
                  <a:lnTo>
                    <a:pt x="243" y="19"/>
                  </a:lnTo>
                  <a:lnTo>
                    <a:pt x="270" y="0"/>
                  </a:lnTo>
                  <a:lnTo>
                    <a:pt x="315" y="52"/>
                  </a:lnTo>
                  <a:lnTo>
                    <a:pt x="275" y="78"/>
                  </a:lnTo>
                  <a:lnTo>
                    <a:pt x="296" y="117"/>
                  </a:lnTo>
                  <a:lnTo>
                    <a:pt x="278" y="125"/>
                  </a:lnTo>
                  <a:lnTo>
                    <a:pt x="294" y="164"/>
                  </a:lnTo>
                  <a:lnTo>
                    <a:pt x="251" y="192"/>
                  </a:lnTo>
                  <a:lnTo>
                    <a:pt x="247" y="238"/>
                  </a:lnTo>
                  <a:lnTo>
                    <a:pt x="227" y="241"/>
                  </a:lnTo>
                  <a:lnTo>
                    <a:pt x="209" y="210"/>
                  </a:lnTo>
                  <a:lnTo>
                    <a:pt x="218" y="143"/>
                  </a:lnTo>
                  <a:lnTo>
                    <a:pt x="194" y="148"/>
                  </a:lnTo>
                  <a:lnTo>
                    <a:pt x="187" y="168"/>
                  </a:lnTo>
                  <a:lnTo>
                    <a:pt x="194" y="192"/>
                  </a:lnTo>
                  <a:lnTo>
                    <a:pt x="168" y="201"/>
                  </a:lnTo>
                  <a:lnTo>
                    <a:pt x="185" y="229"/>
                  </a:lnTo>
                  <a:lnTo>
                    <a:pt x="172" y="244"/>
                  </a:lnTo>
                  <a:lnTo>
                    <a:pt x="166" y="268"/>
                  </a:lnTo>
                  <a:lnTo>
                    <a:pt x="159" y="269"/>
                  </a:lnTo>
                  <a:lnTo>
                    <a:pt x="146" y="224"/>
                  </a:lnTo>
                  <a:lnTo>
                    <a:pt x="137" y="227"/>
                  </a:lnTo>
                  <a:lnTo>
                    <a:pt x="141" y="254"/>
                  </a:lnTo>
                  <a:lnTo>
                    <a:pt x="137" y="262"/>
                  </a:lnTo>
                  <a:lnTo>
                    <a:pt x="129" y="272"/>
                  </a:lnTo>
                  <a:lnTo>
                    <a:pt x="143" y="294"/>
                  </a:lnTo>
                  <a:lnTo>
                    <a:pt x="129" y="313"/>
                  </a:lnTo>
                  <a:lnTo>
                    <a:pt x="116" y="302"/>
                  </a:lnTo>
                  <a:lnTo>
                    <a:pt x="111" y="322"/>
                  </a:lnTo>
                  <a:lnTo>
                    <a:pt x="104" y="288"/>
                  </a:lnTo>
                  <a:lnTo>
                    <a:pt x="90" y="275"/>
                  </a:lnTo>
                  <a:lnTo>
                    <a:pt x="90" y="251"/>
                  </a:lnTo>
                  <a:lnTo>
                    <a:pt x="81" y="258"/>
                  </a:lnTo>
                  <a:lnTo>
                    <a:pt x="71" y="300"/>
                  </a:lnTo>
                  <a:lnTo>
                    <a:pt x="45" y="281"/>
                  </a:lnTo>
                  <a:lnTo>
                    <a:pt x="46" y="261"/>
                  </a:lnTo>
                  <a:lnTo>
                    <a:pt x="17" y="301"/>
                  </a:lnTo>
                  <a:lnTo>
                    <a:pt x="10" y="292"/>
                  </a:lnTo>
                  <a:lnTo>
                    <a:pt x="19" y="261"/>
                  </a:lnTo>
                  <a:lnTo>
                    <a:pt x="2" y="271"/>
                  </a:lnTo>
                  <a:lnTo>
                    <a:pt x="0" y="256"/>
                  </a:lnTo>
                  <a:lnTo>
                    <a:pt x="23" y="214"/>
                  </a:lnTo>
                  <a:lnTo>
                    <a:pt x="56" y="213"/>
                  </a:lnTo>
                  <a:lnTo>
                    <a:pt x="71" y="182"/>
                  </a:lnTo>
                  <a:lnTo>
                    <a:pt x="71" y="164"/>
                  </a:lnTo>
                  <a:lnTo>
                    <a:pt x="110" y="134"/>
                  </a:lnTo>
                  <a:lnTo>
                    <a:pt x="122" y="10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4" name="Freeform 1178"/>
            <p:cNvSpPr>
              <a:spLocks/>
            </p:cNvSpPr>
            <p:nvPr/>
          </p:nvSpPr>
          <p:spPr bwMode="auto">
            <a:xfrm>
              <a:off x="3092928" y="2253172"/>
              <a:ext cx="25800" cy="12737"/>
            </a:xfrm>
            <a:custGeom>
              <a:avLst/>
              <a:gdLst>
                <a:gd name="T0" fmla="*/ 2147483647 w 57"/>
                <a:gd name="T1" fmla="*/ 0 h 30"/>
                <a:gd name="T2" fmla="*/ 2147483647 w 57"/>
                <a:gd name="T3" fmla="*/ 2147483647 h 30"/>
                <a:gd name="T4" fmla="*/ 2147483647 w 57"/>
                <a:gd name="T5" fmla="*/ 2147483647 h 30"/>
                <a:gd name="T6" fmla="*/ 0 w 57"/>
                <a:gd name="T7" fmla="*/ 2147483647 h 30"/>
                <a:gd name="T8" fmla="*/ 2147483647 w 57"/>
                <a:gd name="T9" fmla="*/ 0 h 30"/>
                <a:gd name="T10" fmla="*/ 0 60000 65536"/>
                <a:gd name="T11" fmla="*/ 0 60000 65536"/>
                <a:gd name="T12" fmla="*/ 0 60000 65536"/>
                <a:gd name="T13" fmla="*/ 0 60000 65536"/>
                <a:gd name="T14" fmla="*/ 0 60000 65536"/>
                <a:gd name="T15" fmla="*/ 0 w 57"/>
                <a:gd name="T16" fmla="*/ 0 h 30"/>
                <a:gd name="T17" fmla="*/ 57 w 57"/>
                <a:gd name="T18" fmla="*/ 30 h 30"/>
              </a:gdLst>
              <a:ahLst/>
              <a:cxnLst>
                <a:cxn ang="T10">
                  <a:pos x="T0" y="T1"/>
                </a:cxn>
                <a:cxn ang="T11">
                  <a:pos x="T2" y="T3"/>
                </a:cxn>
                <a:cxn ang="T12">
                  <a:pos x="T4" y="T5"/>
                </a:cxn>
                <a:cxn ang="T13">
                  <a:pos x="T6" y="T7"/>
                </a:cxn>
                <a:cxn ang="T14">
                  <a:pos x="T8" y="T9"/>
                </a:cxn>
              </a:cxnLst>
              <a:rect l="T15" t="T16" r="T17" b="T18"/>
              <a:pathLst>
                <a:path w="57" h="30">
                  <a:moveTo>
                    <a:pt x="36" y="0"/>
                  </a:moveTo>
                  <a:lnTo>
                    <a:pt x="57" y="16"/>
                  </a:lnTo>
                  <a:lnTo>
                    <a:pt x="54" y="30"/>
                  </a:lnTo>
                  <a:lnTo>
                    <a:pt x="0" y="15"/>
                  </a:lnTo>
                  <a:lnTo>
                    <a:pt x="36"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5" name="Freeform 1179"/>
            <p:cNvSpPr>
              <a:spLocks/>
            </p:cNvSpPr>
            <p:nvPr/>
          </p:nvSpPr>
          <p:spPr bwMode="auto">
            <a:xfrm>
              <a:off x="3124461" y="2153828"/>
              <a:ext cx="71667" cy="63683"/>
            </a:xfrm>
            <a:custGeom>
              <a:avLst/>
              <a:gdLst>
                <a:gd name="T0" fmla="*/ 2147483647 w 157"/>
                <a:gd name="T1" fmla="*/ 2147483647 h 153"/>
                <a:gd name="T2" fmla="*/ 2147483647 w 157"/>
                <a:gd name="T3" fmla="*/ 0 h 153"/>
                <a:gd name="T4" fmla="*/ 2147483647 w 157"/>
                <a:gd name="T5" fmla="*/ 2147483647 h 153"/>
                <a:gd name="T6" fmla="*/ 2147483647 w 157"/>
                <a:gd name="T7" fmla="*/ 2147483647 h 153"/>
                <a:gd name="T8" fmla="*/ 2147483647 w 157"/>
                <a:gd name="T9" fmla="*/ 2147483647 h 153"/>
                <a:gd name="T10" fmla="*/ 2147483647 w 157"/>
                <a:gd name="T11" fmla="*/ 2147483647 h 153"/>
                <a:gd name="T12" fmla="*/ 2147483647 w 157"/>
                <a:gd name="T13" fmla="*/ 2147483647 h 153"/>
                <a:gd name="T14" fmla="*/ 2147483647 w 157"/>
                <a:gd name="T15" fmla="*/ 2147483647 h 153"/>
                <a:gd name="T16" fmla="*/ 2147483647 w 157"/>
                <a:gd name="T17" fmla="*/ 2147483647 h 153"/>
                <a:gd name="T18" fmla="*/ 2147483647 w 157"/>
                <a:gd name="T19" fmla="*/ 2147483647 h 153"/>
                <a:gd name="T20" fmla="*/ 2147483647 w 157"/>
                <a:gd name="T21" fmla="*/ 2147483647 h 153"/>
                <a:gd name="T22" fmla="*/ 2147483647 w 157"/>
                <a:gd name="T23" fmla="*/ 2147483647 h 153"/>
                <a:gd name="T24" fmla="*/ 2147483647 w 157"/>
                <a:gd name="T25" fmla="*/ 2147483647 h 153"/>
                <a:gd name="T26" fmla="*/ 0 w 157"/>
                <a:gd name="T27" fmla="*/ 2147483647 h 153"/>
                <a:gd name="T28" fmla="*/ 2147483647 w 157"/>
                <a:gd name="T29" fmla="*/ 2147483647 h 153"/>
                <a:gd name="T30" fmla="*/ 2147483647 w 157"/>
                <a:gd name="T31" fmla="*/ 2147483647 h 1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153"/>
                <a:gd name="T50" fmla="*/ 157 w 157"/>
                <a:gd name="T51" fmla="*/ 153 h 1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153">
                  <a:moveTo>
                    <a:pt x="60" y="14"/>
                  </a:moveTo>
                  <a:lnTo>
                    <a:pt x="135" y="0"/>
                  </a:lnTo>
                  <a:lnTo>
                    <a:pt x="157" y="15"/>
                  </a:lnTo>
                  <a:lnTo>
                    <a:pt x="152" y="35"/>
                  </a:lnTo>
                  <a:lnTo>
                    <a:pt x="81" y="64"/>
                  </a:lnTo>
                  <a:lnTo>
                    <a:pt x="90" y="69"/>
                  </a:lnTo>
                  <a:lnTo>
                    <a:pt x="87" y="82"/>
                  </a:lnTo>
                  <a:lnTo>
                    <a:pt x="135" y="68"/>
                  </a:lnTo>
                  <a:lnTo>
                    <a:pt x="138" y="90"/>
                  </a:lnTo>
                  <a:lnTo>
                    <a:pt x="131" y="123"/>
                  </a:lnTo>
                  <a:lnTo>
                    <a:pt x="50" y="153"/>
                  </a:lnTo>
                  <a:lnTo>
                    <a:pt x="5" y="116"/>
                  </a:lnTo>
                  <a:lnTo>
                    <a:pt x="7" y="100"/>
                  </a:lnTo>
                  <a:lnTo>
                    <a:pt x="0" y="65"/>
                  </a:lnTo>
                  <a:lnTo>
                    <a:pt x="5" y="44"/>
                  </a:lnTo>
                  <a:lnTo>
                    <a:pt x="60" y="1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6" name="Freeform 1182"/>
            <p:cNvSpPr>
              <a:spLocks/>
            </p:cNvSpPr>
            <p:nvPr/>
          </p:nvSpPr>
          <p:spPr bwMode="auto">
            <a:xfrm>
              <a:off x="3405395" y="1965329"/>
              <a:ext cx="25800" cy="47126"/>
            </a:xfrm>
            <a:custGeom>
              <a:avLst/>
              <a:gdLst>
                <a:gd name="T0" fmla="*/ 2147483647 w 56"/>
                <a:gd name="T1" fmla="*/ 0 h 112"/>
                <a:gd name="T2" fmla="*/ 2147483647 w 56"/>
                <a:gd name="T3" fmla="*/ 2147483647 h 112"/>
                <a:gd name="T4" fmla="*/ 2147483647 w 56"/>
                <a:gd name="T5" fmla="*/ 2147483647 h 112"/>
                <a:gd name="T6" fmla="*/ 2147483647 w 56"/>
                <a:gd name="T7" fmla="*/ 2147483647 h 112"/>
                <a:gd name="T8" fmla="*/ 2147483647 w 56"/>
                <a:gd name="T9" fmla="*/ 2147483647 h 112"/>
                <a:gd name="T10" fmla="*/ 0 w 56"/>
                <a:gd name="T11" fmla="*/ 2147483647 h 112"/>
                <a:gd name="T12" fmla="*/ 2147483647 w 56"/>
                <a:gd name="T13" fmla="*/ 2147483647 h 112"/>
                <a:gd name="T14" fmla="*/ 2147483647 w 56"/>
                <a:gd name="T15" fmla="*/ 0 h 112"/>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112"/>
                <a:gd name="T26" fmla="*/ 56 w 56"/>
                <a:gd name="T27" fmla="*/ 112 h 1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112">
                  <a:moveTo>
                    <a:pt x="19" y="0"/>
                  </a:moveTo>
                  <a:lnTo>
                    <a:pt x="52" y="12"/>
                  </a:lnTo>
                  <a:lnTo>
                    <a:pt x="56" y="72"/>
                  </a:lnTo>
                  <a:lnTo>
                    <a:pt x="48" y="112"/>
                  </a:lnTo>
                  <a:lnTo>
                    <a:pt x="22" y="60"/>
                  </a:lnTo>
                  <a:lnTo>
                    <a:pt x="0" y="59"/>
                  </a:lnTo>
                  <a:lnTo>
                    <a:pt x="3" y="19"/>
                  </a:lnTo>
                  <a:lnTo>
                    <a:pt x="19"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7" name="Freeform 1183"/>
            <p:cNvSpPr>
              <a:spLocks/>
            </p:cNvSpPr>
            <p:nvPr/>
          </p:nvSpPr>
          <p:spPr bwMode="auto">
            <a:xfrm>
              <a:off x="3471329" y="1827773"/>
              <a:ext cx="226468" cy="328602"/>
            </a:xfrm>
            <a:custGeom>
              <a:avLst/>
              <a:gdLst>
                <a:gd name="T0" fmla="*/ 2147483647 w 482"/>
                <a:gd name="T1" fmla="*/ 2147483647 h 786"/>
                <a:gd name="T2" fmla="*/ 2147483647 w 482"/>
                <a:gd name="T3" fmla="*/ 2147483647 h 786"/>
                <a:gd name="T4" fmla="*/ 2147483647 w 482"/>
                <a:gd name="T5" fmla="*/ 2147483647 h 786"/>
                <a:gd name="T6" fmla="*/ 2147483647 w 482"/>
                <a:gd name="T7" fmla="*/ 2147483647 h 786"/>
                <a:gd name="T8" fmla="*/ 2147483647 w 482"/>
                <a:gd name="T9" fmla="*/ 2147483647 h 786"/>
                <a:gd name="T10" fmla="*/ 2147483647 w 482"/>
                <a:gd name="T11" fmla="*/ 2147483647 h 786"/>
                <a:gd name="T12" fmla="*/ 2147483647 w 482"/>
                <a:gd name="T13" fmla="*/ 0 h 786"/>
                <a:gd name="T14" fmla="*/ 2147483647 w 482"/>
                <a:gd name="T15" fmla="*/ 2147483647 h 786"/>
                <a:gd name="T16" fmla="*/ 2147483647 w 482"/>
                <a:gd name="T17" fmla="*/ 2147483647 h 786"/>
                <a:gd name="T18" fmla="*/ 2147483647 w 482"/>
                <a:gd name="T19" fmla="*/ 2147483647 h 786"/>
                <a:gd name="T20" fmla="*/ 2147483647 w 482"/>
                <a:gd name="T21" fmla="*/ 2147483647 h 786"/>
                <a:gd name="T22" fmla="*/ 2147483647 w 482"/>
                <a:gd name="T23" fmla="*/ 2147483647 h 786"/>
                <a:gd name="T24" fmla="*/ 2147483647 w 482"/>
                <a:gd name="T25" fmla="*/ 2147483647 h 786"/>
                <a:gd name="T26" fmla="*/ 2147483647 w 482"/>
                <a:gd name="T27" fmla="*/ 2147483647 h 786"/>
                <a:gd name="T28" fmla="*/ 2147483647 w 482"/>
                <a:gd name="T29" fmla="*/ 2147483647 h 786"/>
                <a:gd name="T30" fmla="*/ 2147483647 w 482"/>
                <a:gd name="T31" fmla="*/ 2147483647 h 786"/>
                <a:gd name="T32" fmla="*/ 2147483647 w 482"/>
                <a:gd name="T33" fmla="*/ 2147483647 h 786"/>
                <a:gd name="T34" fmla="*/ 2147483647 w 482"/>
                <a:gd name="T35" fmla="*/ 2147483647 h 786"/>
                <a:gd name="T36" fmla="*/ 2147483647 w 482"/>
                <a:gd name="T37" fmla="*/ 2147483647 h 786"/>
                <a:gd name="T38" fmla="*/ 2147483647 w 482"/>
                <a:gd name="T39" fmla="*/ 2147483647 h 786"/>
                <a:gd name="T40" fmla="*/ 2147483647 w 482"/>
                <a:gd name="T41" fmla="*/ 2147483647 h 786"/>
                <a:gd name="T42" fmla="*/ 2147483647 w 482"/>
                <a:gd name="T43" fmla="*/ 2147483647 h 786"/>
                <a:gd name="T44" fmla="*/ 2147483647 w 482"/>
                <a:gd name="T45" fmla="*/ 2147483647 h 786"/>
                <a:gd name="T46" fmla="*/ 2147483647 w 482"/>
                <a:gd name="T47" fmla="*/ 2147483647 h 786"/>
                <a:gd name="T48" fmla="*/ 2147483647 w 482"/>
                <a:gd name="T49" fmla="*/ 2147483647 h 786"/>
                <a:gd name="T50" fmla="*/ 2147483647 w 482"/>
                <a:gd name="T51" fmla="*/ 2147483647 h 786"/>
                <a:gd name="T52" fmla="*/ 2147483647 w 482"/>
                <a:gd name="T53" fmla="*/ 2147483647 h 786"/>
                <a:gd name="T54" fmla="*/ 2147483647 w 482"/>
                <a:gd name="T55" fmla="*/ 2147483647 h 786"/>
                <a:gd name="T56" fmla="*/ 2147483647 w 482"/>
                <a:gd name="T57" fmla="*/ 2147483647 h 786"/>
                <a:gd name="T58" fmla="*/ 2147483647 w 482"/>
                <a:gd name="T59" fmla="*/ 2147483647 h 786"/>
                <a:gd name="T60" fmla="*/ 2147483647 w 482"/>
                <a:gd name="T61" fmla="*/ 2147483647 h 786"/>
                <a:gd name="T62" fmla="*/ 2147483647 w 482"/>
                <a:gd name="T63" fmla="*/ 2147483647 h 786"/>
                <a:gd name="T64" fmla="*/ 2147483647 w 482"/>
                <a:gd name="T65" fmla="*/ 2147483647 h 786"/>
                <a:gd name="T66" fmla="*/ 2147483647 w 482"/>
                <a:gd name="T67" fmla="*/ 2147483647 h 786"/>
                <a:gd name="T68" fmla="*/ 2147483647 w 482"/>
                <a:gd name="T69" fmla="*/ 2147483647 h 786"/>
                <a:gd name="T70" fmla="*/ 2147483647 w 482"/>
                <a:gd name="T71" fmla="*/ 2147483647 h 786"/>
                <a:gd name="T72" fmla="*/ 2147483647 w 482"/>
                <a:gd name="T73" fmla="*/ 2147483647 h 786"/>
                <a:gd name="T74" fmla="*/ 2147483647 w 482"/>
                <a:gd name="T75" fmla="*/ 2147483647 h 786"/>
                <a:gd name="T76" fmla="*/ 2147483647 w 482"/>
                <a:gd name="T77" fmla="*/ 2147483647 h 786"/>
                <a:gd name="T78" fmla="*/ 2147483647 w 482"/>
                <a:gd name="T79" fmla="*/ 2147483647 h 786"/>
                <a:gd name="T80" fmla="*/ 2147483647 w 482"/>
                <a:gd name="T81" fmla="*/ 2147483647 h 786"/>
                <a:gd name="T82" fmla="*/ 2147483647 w 482"/>
                <a:gd name="T83" fmla="*/ 2147483647 h 786"/>
                <a:gd name="T84" fmla="*/ 2147483647 w 482"/>
                <a:gd name="T85" fmla="*/ 2147483647 h 786"/>
                <a:gd name="T86" fmla="*/ 2147483647 w 482"/>
                <a:gd name="T87" fmla="*/ 2147483647 h 786"/>
                <a:gd name="T88" fmla="*/ 2147483647 w 482"/>
                <a:gd name="T89" fmla="*/ 2147483647 h 786"/>
                <a:gd name="T90" fmla="*/ 2147483647 w 482"/>
                <a:gd name="T91" fmla="*/ 2147483647 h 786"/>
                <a:gd name="T92" fmla="*/ 2147483647 w 482"/>
                <a:gd name="T93" fmla="*/ 2147483647 h 786"/>
                <a:gd name="T94" fmla="*/ 2147483647 w 482"/>
                <a:gd name="T95" fmla="*/ 2147483647 h 786"/>
                <a:gd name="T96" fmla="*/ 2147483647 w 482"/>
                <a:gd name="T97" fmla="*/ 2147483647 h 786"/>
                <a:gd name="T98" fmla="*/ 2147483647 w 482"/>
                <a:gd name="T99" fmla="*/ 2147483647 h 786"/>
                <a:gd name="T100" fmla="*/ 2147483647 w 482"/>
                <a:gd name="T101" fmla="*/ 2147483647 h 786"/>
                <a:gd name="T102" fmla="*/ 2147483647 w 482"/>
                <a:gd name="T103" fmla="*/ 2147483647 h 786"/>
                <a:gd name="T104" fmla="*/ 2147483647 w 482"/>
                <a:gd name="T105" fmla="*/ 2147483647 h 786"/>
                <a:gd name="T106" fmla="*/ 0 w 482"/>
                <a:gd name="T107" fmla="*/ 2147483647 h 786"/>
                <a:gd name="T108" fmla="*/ 2147483647 w 482"/>
                <a:gd name="T109" fmla="*/ 2147483647 h 786"/>
                <a:gd name="T110" fmla="*/ 2147483647 w 482"/>
                <a:gd name="T111" fmla="*/ 2147483647 h 786"/>
                <a:gd name="T112" fmla="*/ 2147483647 w 482"/>
                <a:gd name="T113" fmla="*/ 2147483647 h 7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2"/>
                <a:gd name="T172" fmla="*/ 0 h 786"/>
                <a:gd name="T173" fmla="*/ 482 w 482"/>
                <a:gd name="T174" fmla="*/ 786 h 7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2" h="786">
                  <a:moveTo>
                    <a:pt x="46" y="201"/>
                  </a:moveTo>
                  <a:lnTo>
                    <a:pt x="115" y="218"/>
                  </a:lnTo>
                  <a:lnTo>
                    <a:pt x="87" y="183"/>
                  </a:lnTo>
                  <a:lnTo>
                    <a:pt x="60" y="152"/>
                  </a:lnTo>
                  <a:lnTo>
                    <a:pt x="58" y="139"/>
                  </a:lnTo>
                  <a:lnTo>
                    <a:pt x="66" y="127"/>
                  </a:lnTo>
                  <a:lnTo>
                    <a:pt x="58" y="106"/>
                  </a:lnTo>
                  <a:lnTo>
                    <a:pt x="73" y="85"/>
                  </a:lnTo>
                  <a:lnTo>
                    <a:pt x="95" y="107"/>
                  </a:lnTo>
                  <a:lnTo>
                    <a:pt x="99" y="71"/>
                  </a:lnTo>
                  <a:lnTo>
                    <a:pt x="157" y="54"/>
                  </a:lnTo>
                  <a:lnTo>
                    <a:pt x="84" y="40"/>
                  </a:lnTo>
                  <a:lnTo>
                    <a:pt x="73" y="11"/>
                  </a:lnTo>
                  <a:lnTo>
                    <a:pt x="77" y="0"/>
                  </a:lnTo>
                  <a:lnTo>
                    <a:pt x="174" y="17"/>
                  </a:lnTo>
                  <a:lnTo>
                    <a:pt x="204" y="59"/>
                  </a:lnTo>
                  <a:lnTo>
                    <a:pt x="203" y="84"/>
                  </a:lnTo>
                  <a:lnTo>
                    <a:pt x="246" y="197"/>
                  </a:lnTo>
                  <a:lnTo>
                    <a:pt x="240" y="223"/>
                  </a:lnTo>
                  <a:lnTo>
                    <a:pt x="251" y="205"/>
                  </a:lnTo>
                  <a:lnTo>
                    <a:pt x="311" y="226"/>
                  </a:lnTo>
                  <a:lnTo>
                    <a:pt x="317" y="247"/>
                  </a:lnTo>
                  <a:lnTo>
                    <a:pt x="309" y="255"/>
                  </a:lnTo>
                  <a:lnTo>
                    <a:pt x="316" y="271"/>
                  </a:lnTo>
                  <a:lnTo>
                    <a:pt x="313" y="302"/>
                  </a:lnTo>
                  <a:lnTo>
                    <a:pt x="332" y="332"/>
                  </a:lnTo>
                  <a:lnTo>
                    <a:pt x="351" y="324"/>
                  </a:lnTo>
                  <a:lnTo>
                    <a:pt x="333" y="286"/>
                  </a:lnTo>
                  <a:lnTo>
                    <a:pt x="339" y="247"/>
                  </a:lnTo>
                  <a:lnTo>
                    <a:pt x="374" y="261"/>
                  </a:lnTo>
                  <a:lnTo>
                    <a:pt x="377" y="308"/>
                  </a:lnTo>
                  <a:lnTo>
                    <a:pt x="357" y="330"/>
                  </a:lnTo>
                  <a:lnTo>
                    <a:pt x="389" y="337"/>
                  </a:lnTo>
                  <a:lnTo>
                    <a:pt x="395" y="363"/>
                  </a:lnTo>
                  <a:lnTo>
                    <a:pt x="399" y="375"/>
                  </a:lnTo>
                  <a:lnTo>
                    <a:pt x="372" y="450"/>
                  </a:lnTo>
                  <a:lnTo>
                    <a:pt x="407" y="424"/>
                  </a:lnTo>
                  <a:lnTo>
                    <a:pt x="430" y="452"/>
                  </a:lnTo>
                  <a:lnTo>
                    <a:pt x="433" y="476"/>
                  </a:lnTo>
                  <a:lnTo>
                    <a:pt x="449" y="446"/>
                  </a:lnTo>
                  <a:lnTo>
                    <a:pt x="482" y="509"/>
                  </a:lnTo>
                  <a:lnTo>
                    <a:pt x="481" y="530"/>
                  </a:lnTo>
                  <a:lnTo>
                    <a:pt x="411" y="579"/>
                  </a:lnTo>
                  <a:lnTo>
                    <a:pt x="412" y="592"/>
                  </a:lnTo>
                  <a:lnTo>
                    <a:pt x="400" y="607"/>
                  </a:lnTo>
                  <a:lnTo>
                    <a:pt x="391" y="578"/>
                  </a:lnTo>
                  <a:lnTo>
                    <a:pt x="393" y="619"/>
                  </a:lnTo>
                  <a:lnTo>
                    <a:pt x="366" y="668"/>
                  </a:lnTo>
                  <a:lnTo>
                    <a:pt x="353" y="648"/>
                  </a:lnTo>
                  <a:lnTo>
                    <a:pt x="348" y="573"/>
                  </a:lnTo>
                  <a:lnTo>
                    <a:pt x="338" y="632"/>
                  </a:lnTo>
                  <a:lnTo>
                    <a:pt x="342" y="668"/>
                  </a:lnTo>
                  <a:lnTo>
                    <a:pt x="352" y="689"/>
                  </a:lnTo>
                  <a:lnTo>
                    <a:pt x="351" y="711"/>
                  </a:lnTo>
                  <a:lnTo>
                    <a:pt x="322" y="675"/>
                  </a:lnTo>
                  <a:lnTo>
                    <a:pt x="320" y="704"/>
                  </a:lnTo>
                  <a:lnTo>
                    <a:pt x="333" y="728"/>
                  </a:lnTo>
                  <a:lnTo>
                    <a:pt x="324" y="777"/>
                  </a:lnTo>
                  <a:lnTo>
                    <a:pt x="266" y="682"/>
                  </a:lnTo>
                  <a:lnTo>
                    <a:pt x="262" y="700"/>
                  </a:lnTo>
                  <a:lnTo>
                    <a:pt x="295" y="782"/>
                  </a:lnTo>
                  <a:lnTo>
                    <a:pt x="265" y="749"/>
                  </a:lnTo>
                  <a:lnTo>
                    <a:pt x="244" y="750"/>
                  </a:lnTo>
                  <a:lnTo>
                    <a:pt x="263" y="767"/>
                  </a:lnTo>
                  <a:lnTo>
                    <a:pt x="264" y="786"/>
                  </a:lnTo>
                  <a:lnTo>
                    <a:pt x="185" y="770"/>
                  </a:lnTo>
                  <a:lnTo>
                    <a:pt x="174" y="752"/>
                  </a:lnTo>
                  <a:lnTo>
                    <a:pt x="178" y="741"/>
                  </a:lnTo>
                  <a:lnTo>
                    <a:pt x="165" y="745"/>
                  </a:lnTo>
                  <a:lnTo>
                    <a:pt x="149" y="708"/>
                  </a:lnTo>
                  <a:lnTo>
                    <a:pt x="200" y="697"/>
                  </a:lnTo>
                  <a:lnTo>
                    <a:pt x="144" y="683"/>
                  </a:lnTo>
                  <a:lnTo>
                    <a:pt x="128" y="646"/>
                  </a:lnTo>
                  <a:lnTo>
                    <a:pt x="123" y="631"/>
                  </a:lnTo>
                  <a:lnTo>
                    <a:pt x="108" y="594"/>
                  </a:lnTo>
                  <a:lnTo>
                    <a:pt x="145" y="558"/>
                  </a:lnTo>
                  <a:lnTo>
                    <a:pt x="187" y="541"/>
                  </a:lnTo>
                  <a:lnTo>
                    <a:pt x="173" y="525"/>
                  </a:lnTo>
                  <a:lnTo>
                    <a:pt x="190" y="513"/>
                  </a:lnTo>
                  <a:lnTo>
                    <a:pt x="178" y="506"/>
                  </a:lnTo>
                  <a:lnTo>
                    <a:pt x="180" y="493"/>
                  </a:lnTo>
                  <a:lnTo>
                    <a:pt x="146" y="515"/>
                  </a:lnTo>
                  <a:lnTo>
                    <a:pt x="143" y="512"/>
                  </a:lnTo>
                  <a:lnTo>
                    <a:pt x="147" y="484"/>
                  </a:lnTo>
                  <a:lnTo>
                    <a:pt x="124" y="533"/>
                  </a:lnTo>
                  <a:lnTo>
                    <a:pt x="109" y="526"/>
                  </a:lnTo>
                  <a:lnTo>
                    <a:pt x="122" y="500"/>
                  </a:lnTo>
                  <a:lnTo>
                    <a:pt x="100" y="494"/>
                  </a:lnTo>
                  <a:lnTo>
                    <a:pt x="75" y="533"/>
                  </a:lnTo>
                  <a:lnTo>
                    <a:pt x="65" y="499"/>
                  </a:lnTo>
                  <a:lnTo>
                    <a:pt x="38" y="490"/>
                  </a:lnTo>
                  <a:lnTo>
                    <a:pt x="44" y="464"/>
                  </a:lnTo>
                  <a:lnTo>
                    <a:pt x="90" y="461"/>
                  </a:lnTo>
                  <a:lnTo>
                    <a:pt x="108" y="432"/>
                  </a:lnTo>
                  <a:lnTo>
                    <a:pt x="92" y="449"/>
                  </a:lnTo>
                  <a:lnTo>
                    <a:pt x="35" y="431"/>
                  </a:lnTo>
                  <a:lnTo>
                    <a:pt x="9" y="382"/>
                  </a:lnTo>
                  <a:lnTo>
                    <a:pt x="8" y="356"/>
                  </a:lnTo>
                  <a:lnTo>
                    <a:pt x="8" y="341"/>
                  </a:lnTo>
                  <a:lnTo>
                    <a:pt x="2" y="316"/>
                  </a:lnTo>
                  <a:lnTo>
                    <a:pt x="96" y="362"/>
                  </a:lnTo>
                  <a:lnTo>
                    <a:pt x="86" y="333"/>
                  </a:lnTo>
                  <a:lnTo>
                    <a:pt x="116" y="317"/>
                  </a:lnTo>
                  <a:lnTo>
                    <a:pt x="91" y="302"/>
                  </a:lnTo>
                  <a:lnTo>
                    <a:pt x="64" y="331"/>
                  </a:lnTo>
                  <a:lnTo>
                    <a:pt x="41" y="311"/>
                  </a:lnTo>
                  <a:lnTo>
                    <a:pt x="9" y="288"/>
                  </a:lnTo>
                  <a:lnTo>
                    <a:pt x="0" y="263"/>
                  </a:lnTo>
                  <a:lnTo>
                    <a:pt x="8" y="257"/>
                  </a:lnTo>
                  <a:lnTo>
                    <a:pt x="62" y="262"/>
                  </a:lnTo>
                  <a:lnTo>
                    <a:pt x="21" y="234"/>
                  </a:lnTo>
                  <a:lnTo>
                    <a:pt x="25" y="227"/>
                  </a:lnTo>
                  <a:lnTo>
                    <a:pt x="23" y="204"/>
                  </a:lnTo>
                  <a:lnTo>
                    <a:pt x="46" y="201"/>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8" name="Freeform 1184"/>
            <p:cNvSpPr>
              <a:spLocks/>
            </p:cNvSpPr>
            <p:nvPr/>
          </p:nvSpPr>
          <p:spPr bwMode="auto">
            <a:xfrm>
              <a:off x="3472763" y="2179300"/>
              <a:ext cx="60200" cy="33115"/>
            </a:xfrm>
            <a:custGeom>
              <a:avLst/>
              <a:gdLst>
                <a:gd name="T0" fmla="*/ 2147483647 w 129"/>
                <a:gd name="T1" fmla="*/ 2147483647 h 78"/>
                <a:gd name="T2" fmla="*/ 2147483647 w 129"/>
                <a:gd name="T3" fmla="*/ 2147483647 h 78"/>
                <a:gd name="T4" fmla="*/ 2147483647 w 129"/>
                <a:gd name="T5" fmla="*/ 2147483647 h 78"/>
                <a:gd name="T6" fmla="*/ 2147483647 w 129"/>
                <a:gd name="T7" fmla="*/ 2147483647 h 78"/>
                <a:gd name="T8" fmla="*/ 2147483647 w 129"/>
                <a:gd name="T9" fmla="*/ 2147483647 h 78"/>
                <a:gd name="T10" fmla="*/ 2147483647 w 129"/>
                <a:gd name="T11" fmla="*/ 2147483647 h 78"/>
                <a:gd name="T12" fmla="*/ 2147483647 w 129"/>
                <a:gd name="T13" fmla="*/ 2147483647 h 78"/>
                <a:gd name="T14" fmla="*/ 2147483647 w 129"/>
                <a:gd name="T15" fmla="*/ 2147483647 h 78"/>
                <a:gd name="T16" fmla="*/ 0 w 129"/>
                <a:gd name="T17" fmla="*/ 2147483647 h 78"/>
                <a:gd name="T18" fmla="*/ 2147483647 w 129"/>
                <a:gd name="T19" fmla="*/ 0 h 78"/>
                <a:gd name="T20" fmla="*/ 2147483647 w 129"/>
                <a:gd name="T21" fmla="*/ 2147483647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9"/>
                <a:gd name="T34" fmla="*/ 0 h 78"/>
                <a:gd name="T35" fmla="*/ 129 w 129"/>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9" h="78">
                  <a:moveTo>
                    <a:pt x="47" y="10"/>
                  </a:moveTo>
                  <a:lnTo>
                    <a:pt x="110" y="11"/>
                  </a:lnTo>
                  <a:lnTo>
                    <a:pt x="129" y="34"/>
                  </a:lnTo>
                  <a:lnTo>
                    <a:pt x="117" y="44"/>
                  </a:lnTo>
                  <a:lnTo>
                    <a:pt x="119" y="70"/>
                  </a:lnTo>
                  <a:lnTo>
                    <a:pt x="115" y="78"/>
                  </a:lnTo>
                  <a:lnTo>
                    <a:pt x="50" y="75"/>
                  </a:lnTo>
                  <a:lnTo>
                    <a:pt x="13" y="58"/>
                  </a:lnTo>
                  <a:lnTo>
                    <a:pt x="0" y="31"/>
                  </a:lnTo>
                  <a:lnTo>
                    <a:pt x="27" y="0"/>
                  </a:lnTo>
                  <a:lnTo>
                    <a:pt x="47" y="1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199" name="Freeform 1185"/>
            <p:cNvSpPr>
              <a:spLocks/>
            </p:cNvSpPr>
            <p:nvPr/>
          </p:nvSpPr>
          <p:spPr bwMode="auto">
            <a:xfrm>
              <a:off x="3456995" y="2241711"/>
              <a:ext cx="346868" cy="189773"/>
            </a:xfrm>
            <a:custGeom>
              <a:avLst/>
              <a:gdLst>
                <a:gd name="T0" fmla="*/ 2147483647 w 745"/>
                <a:gd name="T1" fmla="*/ 2147483647 h 456"/>
                <a:gd name="T2" fmla="*/ 0 w 745"/>
                <a:gd name="T3" fmla="*/ 2147483647 h 456"/>
                <a:gd name="T4" fmla="*/ 2147483647 w 745"/>
                <a:gd name="T5" fmla="*/ 2147483647 h 456"/>
                <a:gd name="T6" fmla="*/ 2147483647 w 745"/>
                <a:gd name="T7" fmla="*/ 2147483647 h 456"/>
                <a:gd name="T8" fmla="*/ 2147483647 w 745"/>
                <a:gd name="T9" fmla="*/ 2147483647 h 456"/>
                <a:gd name="T10" fmla="*/ 2147483647 w 745"/>
                <a:gd name="T11" fmla="*/ 2147483647 h 456"/>
                <a:gd name="T12" fmla="*/ 2147483647 w 745"/>
                <a:gd name="T13" fmla="*/ 2147483647 h 456"/>
                <a:gd name="T14" fmla="*/ 2147483647 w 745"/>
                <a:gd name="T15" fmla="*/ 2147483647 h 456"/>
                <a:gd name="T16" fmla="*/ 2147483647 w 745"/>
                <a:gd name="T17" fmla="*/ 2147483647 h 456"/>
                <a:gd name="T18" fmla="*/ 2147483647 w 745"/>
                <a:gd name="T19" fmla="*/ 2147483647 h 456"/>
                <a:gd name="T20" fmla="*/ 2147483647 w 745"/>
                <a:gd name="T21" fmla="*/ 2147483647 h 456"/>
                <a:gd name="T22" fmla="*/ 2147483647 w 745"/>
                <a:gd name="T23" fmla="*/ 2147483647 h 456"/>
                <a:gd name="T24" fmla="*/ 2147483647 w 745"/>
                <a:gd name="T25" fmla="*/ 2147483647 h 456"/>
                <a:gd name="T26" fmla="*/ 2147483647 w 745"/>
                <a:gd name="T27" fmla="*/ 2147483647 h 456"/>
                <a:gd name="T28" fmla="*/ 2147483647 w 745"/>
                <a:gd name="T29" fmla="*/ 2147483647 h 456"/>
                <a:gd name="T30" fmla="*/ 2147483647 w 745"/>
                <a:gd name="T31" fmla="*/ 2147483647 h 456"/>
                <a:gd name="T32" fmla="*/ 2147483647 w 745"/>
                <a:gd name="T33" fmla="*/ 2147483647 h 456"/>
                <a:gd name="T34" fmla="*/ 2147483647 w 745"/>
                <a:gd name="T35" fmla="*/ 2147483647 h 456"/>
                <a:gd name="T36" fmla="*/ 2147483647 w 745"/>
                <a:gd name="T37" fmla="*/ 2147483647 h 456"/>
                <a:gd name="T38" fmla="*/ 2147483647 w 745"/>
                <a:gd name="T39" fmla="*/ 2147483647 h 456"/>
                <a:gd name="T40" fmla="*/ 2147483647 w 745"/>
                <a:gd name="T41" fmla="*/ 2147483647 h 456"/>
                <a:gd name="T42" fmla="*/ 2147483647 w 745"/>
                <a:gd name="T43" fmla="*/ 2147483647 h 456"/>
                <a:gd name="T44" fmla="*/ 2147483647 w 745"/>
                <a:gd name="T45" fmla="*/ 2147483647 h 456"/>
                <a:gd name="T46" fmla="*/ 2147483647 w 745"/>
                <a:gd name="T47" fmla="*/ 2147483647 h 456"/>
                <a:gd name="T48" fmla="*/ 2147483647 w 745"/>
                <a:gd name="T49" fmla="*/ 2147483647 h 456"/>
                <a:gd name="T50" fmla="*/ 2147483647 w 745"/>
                <a:gd name="T51" fmla="*/ 2147483647 h 456"/>
                <a:gd name="T52" fmla="*/ 2147483647 w 745"/>
                <a:gd name="T53" fmla="*/ 2147483647 h 456"/>
                <a:gd name="T54" fmla="*/ 2147483647 w 745"/>
                <a:gd name="T55" fmla="*/ 2147483647 h 456"/>
                <a:gd name="T56" fmla="*/ 2147483647 w 745"/>
                <a:gd name="T57" fmla="*/ 2147483647 h 456"/>
                <a:gd name="T58" fmla="*/ 2147483647 w 745"/>
                <a:gd name="T59" fmla="*/ 2147483647 h 456"/>
                <a:gd name="T60" fmla="*/ 2147483647 w 745"/>
                <a:gd name="T61" fmla="*/ 2147483647 h 456"/>
                <a:gd name="T62" fmla="*/ 2147483647 w 745"/>
                <a:gd name="T63" fmla="*/ 2147483647 h 456"/>
                <a:gd name="T64" fmla="*/ 2147483647 w 745"/>
                <a:gd name="T65" fmla="*/ 2147483647 h 456"/>
                <a:gd name="T66" fmla="*/ 2147483647 w 745"/>
                <a:gd name="T67" fmla="*/ 2147483647 h 456"/>
                <a:gd name="T68" fmla="*/ 2147483647 w 745"/>
                <a:gd name="T69" fmla="*/ 2147483647 h 456"/>
                <a:gd name="T70" fmla="*/ 2147483647 w 745"/>
                <a:gd name="T71" fmla="*/ 2147483647 h 456"/>
                <a:gd name="T72" fmla="*/ 2147483647 w 745"/>
                <a:gd name="T73" fmla="*/ 2147483647 h 456"/>
                <a:gd name="T74" fmla="*/ 2147483647 w 745"/>
                <a:gd name="T75" fmla="*/ 2147483647 h 456"/>
                <a:gd name="T76" fmla="*/ 2147483647 w 745"/>
                <a:gd name="T77" fmla="*/ 2147483647 h 456"/>
                <a:gd name="T78" fmla="*/ 2147483647 w 745"/>
                <a:gd name="T79" fmla="*/ 2147483647 h 456"/>
                <a:gd name="T80" fmla="*/ 2147483647 w 745"/>
                <a:gd name="T81" fmla="*/ 2147483647 h 456"/>
                <a:gd name="T82" fmla="*/ 2147483647 w 745"/>
                <a:gd name="T83" fmla="*/ 2147483647 h 4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5"/>
                <a:gd name="T127" fmla="*/ 0 h 456"/>
                <a:gd name="T128" fmla="*/ 745 w 745"/>
                <a:gd name="T129" fmla="*/ 456 h 4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5" h="456">
                  <a:moveTo>
                    <a:pt x="86" y="4"/>
                  </a:moveTo>
                  <a:lnTo>
                    <a:pt x="21" y="0"/>
                  </a:lnTo>
                  <a:lnTo>
                    <a:pt x="4" y="22"/>
                  </a:lnTo>
                  <a:lnTo>
                    <a:pt x="30" y="51"/>
                  </a:lnTo>
                  <a:lnTo>
                    <a:pt x="5" y="41"/>
                  </a:lnTo>
                  <a:lnTo>
                    <a:pt x="0" y="57"/>
                  </a:lnTo>
                  <a:lnTo>
                    <a:pt x="42" y="86"/>
                  </a:lnTo>
                  <a:lnTo>
                    <a:pt x="56" y="122"/>
                  </a:lnTo>
                  <a:lnTo>
                    <a:pt x="79" y="132"/>
                  </a:lnTo>
                  <a:lnTo>
                    <a:pt x="86" y="156"/>
                  </a:lnTo>
                  <a:lnTo>
                    <a:pt x="89" y="142"/>
                  </a:lnTo>
                  <a:lnTo>
                    <a:pt x="133" y="156"/>
                  </a:lnTo>
                  <a:lnTo>
                    <a:pt x="163" y="135"/>
                  </a:lnTo>
                  <a:lnTo>
                    <a:pt x="177" y="172"/>
                  </a:lnTo>
                  <a:lnTo>
                    <a:pt x="181" y="202"/>
                  </a:lnTo>
                  <a:lnTo>
                    <a:pt x="201" y="231"/>
                  </a:lnTo>
                  <a:lnTo>
                    <a:pt x="204" y="262"/>
                  </a:lnTo>
                  <a:lnTo>
                    <a:pt x="210" y="269"/>
                  </a:lnTo>
                  <a:lnTo>
                    <a:pt x="189" y="302"/>
                  </a:lnTo>
                  <a:lnTo>
                    <a:pt x="193" y="305"/>
                  </a:lnTo>
                  <a:lnTo>
                    <a:pt x="188" y="334"/>
                  </a:lnTo>
                  <a:lnTo>
                    <a:pt x="219" y="353"/>
                  </a:lnTo>
                  <a:lnTo>
                    <a:pt x="201" y="370"/>
                  </a:lnTo>
                  <a:lnTo>
                    <a:pt x="203" y="399"/>
                  </a:lnTo>
                  <a:lnTo>
                    <a:pt x="222" y="418"/>
                  </a:lnTo>
                  <a:lnTo>
                    <a:pt x="227" y="429"/>
                  </a:lnTo>
                  <a:lnTo>
                    <a:pt x="242" y="426"/>
                  </a:lnTo>
                  <a:lnTo>
                    <a:pt x="242" y="413"/>
                  </a:lnTo>
                  <a:lnTo>
                    <a:pt x="259" y="396"/>
                  </a:lnTo>
                  <a:lnTo>
                    <a:pt x="251" y="414"/>
                  </a:lnTo>
                  <a:lnTo>
                    <a:pt x="263" y="432"/>
                  </a:lnTo>
                  <a:lnTo>
                    <a:pt x="263" y="411"/>
                  </a:lnTo>
                  <a:lnTo>
                    <a:pt x="280" y="430"/>
                  </a:lnTo>
                  <a:lnTo>
                    <a:pt x="277" y="438"/>
                  </a:lnTo>
                  <a:lnTo>
                    <a:pt x="312" y="447"/>
                  </a:lnTo>
                  <a:lnTo>
                    <a:pt x="327" y="429"/>
                  </a:lnTo>
                  <a:lnTo>
                    <a:pt x="318" y="407"/>
                  </a:lnTo>
                  <a:lnTo>
                    <a:pt x="330" y="409"/>
                  </a:lnTo>
                  <a:lnTo>
                    <a:pt x="329" y="396"/>
                  </a:lnTo>
                  <a:lnTo>
                    <a:pt x="340" y="423"/>
                  </a:lnTo>
                  <a:lnTo>
                    <a:pt x="348" y="397"/>
                  </a:lnTo>
                  <a:lnTo>
                    <a:pt x="352" y="399"/>
                  </a:lnTo>
                  <a:lnTo>
                    <a:pt x="359" y="405"/>
                  </a:lnTo>
                  <a:lnTo>
                    <a:pt x="356" y="450"/>
                  </a:lnTo>
                  <a:lnTo>
                    <a:pt x="367" y="455"/>
                  </a:lnTo>
                  <a:lnTo>
                    <a:pt x="401" y="455"/>
                  </a:lnTo>
                  <a:lnTo>
                    <a:pt x="436" y="456"/>
                  </a:lnTo>
                  <a:lnTo>
                    <a:pt x="441" y="452"/>
                  </a:lnTo>
                  <a:lnTo>
                    <a:pt x="435" y="437"/>
                  </a:lnTo>
                  <a:lnTo>
                    <a:pt x="449" y="453"/>
                  </a:lnTo>
                  <a:lnTo>
                    <a:pt x="458" y="436"/>
                  </a:lnTo>
                  <a:lnTo>
                    <a:pt x="467" y="456"/>
                  </a:lnTo>
                  <a:lnTo>
                    <a:pt x="488" y="443"/>
                  </a:lnTo>
                  <a:lnTo>
                    <a:pt x="488" y="423"/>
                  </a:lnTo>
                  <a:lnTo>
                    <a:pt x="503" y="450"/>
                  </a:lnTo>
                  <a:lnTo>
                    <a:pt x="512" y="437"/>
                  </a:lnTo>
                  <a:lnTo>
                    <a:pt x="511" y="418"/>
                  </a:lnTo>
                  <a:lnTo>
                    <a:pt x="516" y="446"/>
                  </a:lnTo>
                  <a:lnTo>
                    <a:pt x="574" y="438"/>
                  </a:lnTo>
                  <a:lnTo>
                    <a:pt x="587" y="409"/>
                  </a:lnTo>
                  <a:lnTo>
                    <a:pt x="562" y="383"/>
                  </a:lnTo>
                  <a:lnTo>
                    <a:pt x="572" y="383"/>
                  </a:lnTo>
                  <a:lnTo>
                    <a:pt x="594" y="398"/>
                  </a:lnTo>
                  <a:lnTo>
                    <a:pt x="595" y="431"/>
                  </a:lnTo>
                  <a:lnTo>
                    <a:pt x="610" y="449"/>
                  </a:lnTo>
                  <a:lnTo>
                    <a:pt x="621" y="439"/>
                  </a:lnTo>
                  <a:lnTo>
                    <a:pt x="649" y="455"/>
                  </a:lnTo>
                  <a:lnTo>
                    <a:pt x="721" y="438"/>
                  </a:lnTo>
                  <a:lnTo>
                    <a:pt x="721" y="411"/>
                  </a:lnTo>
                  <a:lnTo>
                    <a:pt x="719" y="400"/>
                  </a:lnTo>
                  <a:lnTo>
                    <a:pt x="704" y="380"/>
                  </a:lnTo>
                  <a:lnTo>
                    <a:pt x="705" y="359"/>
                  </a:lnTo>
                  <a:lnTo>
                    <a:pt x="745" y="317"/>
                  </a:lnTo>
                  <a:lnTo>
                    <a:pt x="744" y="288"/>
                  </a:lnTo>
                  <a:lnTo>
                    <a:pt x="736" y="275"/>
                  </a:lnTo>
                  <a:lnTo>
                    <a:pt x="709" y="275"/>
                  </a:lnTo>
                  <a:lnTo>
                    <a:pt x="718" y="270"/>
                  </a:lnTo>
                  <a:lnTo>
                    <a:pt x="715" y="259"/>
                  </a:lnTo>
                  <a:lnTo>
                    <a:pt x="677" y="248"/>
                  </a:lnTo>
                  <a:lnTo>
                    <a:pt x="676" y="228"/>
                  </a:lnTo>
                  <a:lnTo>
                    <a:pt x="627" y="219"/>
                  </a:lnTo>
                  <a:lnTo>
                    <a:pt x="594" y="237"/>
                  </a:lnTo>
                  <a:lnTo>
                    <a:pt x="560" y="226"/>
                  </a:lnTo>
                  <a:lnTo>
                    <a:pt x="529" y="259"/>
                  </a:lnTo>
                  <a:lnTo>
                    <a:pt x="506" y="257"/>
                  </a:lnTo>
                  <a:lnTo>
                    <a:pt x="500" y="263"/>
                  </a:lnTo>
                  <a:lnTo>
                    <a:pt x="501" y="280"/>
                  </a:lnTo>
                  <a:lnTo>
                    <a:pt x="488" y="264"/>
                  </a:lnTo>
                  <a:lnTo>
                    <a:pt x="459" y="281"/>
                  </a:lnTo>
                  <a:lnTo>
                    <a:pt x="485" y="304"/>
                  </a:lnTo>
                  <a:lnTo>
                    <a:pt x="436" y="311"/>
                  </a:lnTo>
                  <a:lnTo>
                    <a:pt x="446" y="300"/>
                  </a:lnTo>
                  <a:lnTo>
                    <a:pt x="402" y="268"/>
                  </a:lnTo>
                  <a:lnTo>
                    <a:pt x="395" y="294"/>
                  </a:lnTo>
                  <a:lnTo>
                    <a:pt x="387" y="272"/>
                  </a:lnTo>
                  <a:lnTo>
                    <a:pt x="366" y="292"/>
                  </a:lnTo>
                  <a:lnTo>
                    <a:pt x="368" y="280"/>
                  </a:lnTo>
                  <a:lnTo>
                    <a:pt x="350" y="257"/>
                  </a:lnTo>
                  <a:lnTo>
                    <a:pt x="343" y="263"/>
                  </a:lnTo>
                  <a:lnTo>
                    <a:pt x="345" y="292"/>
                  </a:lnTo>
                  <a:lnTo>
                    <a:pt x="340" y="302"/>
                  </a:lnTo>
                  <a:lnTo>
                    <a:pt x="332" y="278"/>
                  </a:lnTo>
                  <a:lnTo>
                    <a:pt x="322" y="265"/>
                  </a:lnTo>
                  <a:lnTo>
                    <a:pt x="328" y="240"/>
                  </a:lnTo>
                  <a:lnTo>
                    <a:pt x="320" y="229"/>
                  </a:lnTo>
                  <a:lnTo>
                    <a:pt x="300" y="231"/>
                  </a:lnTo>
                  <a:lnTo>
                    <a:pt x="305" y="223"/>
                  </a:lnTo>
                  <a:lnTo>
                    <a:pt x="295" y="206"/>
                  </a:lnTo>
                  <a:lnTo>
                    <a:pt x="242" y="236"/>
                  </a:lnTo>
                  <a:lnTo>
                    <a:pt x="247" y="204"/>
                  </a:lnTo>
                  <a:lnTo>
                    <a:pt x="279" y="198"/>
                  </a:lnTo>
                  <a:lnTo>
                    <a:pt x="229" y="171"/>
                  </a:lnTo>
                  <a:lnTo>
                    <a:pt x="234" y="154"/>
                  </a:lnTo>
                  <a:lnTo>
                    <a:pt x="275" y="180"/>
                  </a:lnTo>
                  <a:lnTo>
                    <a:pt x="316" y="176"/>
                  </a:lnTo>
                  <a:lnTo>
                    <a:pt x="327" y="166"/>
                  </a:lnTo>
                  <a:lnTo>
                    <a:pt x="329" y="143"/>
                  </a:lnTo>
                  <a:lnTo>
                    <a:pt x="278" y="113"/>
                  </a:lnTo>
                  <a:lnTo>
                    <a:pt x="272" y="93"/>
                  </a:lnTo>
                  <a:lnTo>
                    <a:pt x="231" y="66"/>
                  </a:lnTo>
                  <a:lnTo>
                    <a:pt x="166" y="86"/>
                  </a:lnTo>
                  <a:lnTo>
                    <a:pt x="142" y="120"/>
                  </a:lnTo>
                  <a:lnTo>
                    <a:pt x="153" y="88"/>
                  </a:lnTo>
                  <a:lnTo>
                    <a:pt x="156" y="59"/>
                  </a:lnTo>
                  <a:lnTo>
                    <a:pt x="153" y="46"/>
                  </a:lnTo>
                  <a:lnTo>
                    <a:pt x="139" y="20"/>
                  </a:lnTo>
                  <a:lnTo>
                    <a:pt x="114" y="27"/>
                  </a:lnTo>
                  <a:lnTo>
                    <a:pt x="86" y="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0" name="Freeform 1186"/>
            <p:cNvSpPr>
              <a:spLocks/>
            </p:cNvSpPr>
            <p:nvPr/>
          </p:nvSpPr>
          <p:spPr bwMode="auto">
            <a:xfrm>
              <a:off x="3803863" y="2315582"/>
              <a:ext cx="17201" cy="20378"/>
            </a:xfrm>
            <a:custGeom>
              <a:avLst/>
              <a:gdLst>
                <a:gd name="T0" fmla="*/ 2147483647 w 35"/>
                <a:gd name="T1" fmla="*/ 2147483647 h 49"/>
                <a:gd name="T2" fmla="*/ 2147483647 w 35"/>
                <a:gd name="T3" fmla="*/ 2147483647 h 49"/>
                <a:gd name="T4" fmla="*/ 2147483647 w 35"/>
                <a:gd name="T5" fmla="*/ 2147483647 h 49"/>
                <a:gd name="T6" fmla="*/ 0 w 35"/>
                <a:gd name="T7" fmla="*/ 2147483647 h 49"/>
                <a:gd name="T8" fmla="*/ 2147483647 w 35"/>
                <a:gd name="T9" fmla="*/ 0 h 49"/>
                <a:gd name="T10" fmla="*/ 2147483647 w 35"/>
                <a:gd name="T11" fmla="*/ 2147483647 h 49"/>
                <a:gd name="T12" fmla="*/ 0 60000 65536"/>
                <a:gd name="T13" fmla="*/ 0 60000 65536"/>
                <a:gd name="T14" fmla="*/ 0 60000 65536"/>
                <a:gd name="T15" fmla="*/ 0 60000 65536"/>
                <a:gd name="T16" fmla="*/ 0 60000 65536"/>
                <a:gd name="T17" fmla="*/ 0 60000 65536"/>
                <a:gd name="T18" fmla="*/ 0 w 35"/>
                <a:gd name="T19" fmla="*/ 0 h 49"/>
                <a:gd name="T20" fmla="*/ 35 w 35"/>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35" h="49">
                  <a:moveTo>
                    <a:pt x="28" y="6"/>
                  </a:moveTo>
                  <a:lnTo>
                    <a:pt x="23" y="31"/>
                  </a:lnTo>
                  <a:lnTo>
                    <a:pt x="35" y="48"/>
                  </a:lnTo>
                  <a:lnTo>
                    <a:pt x="0" y="49"/>
                  </a:lnTo>
                  <a:lnTo>
                    <a:pt x="16" y="0"/>
                  </a:lnTo>
                  <a:lnTo>
                    <a:pt x="28" y="6"/>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1" name="Freeform 1187"/>
            <p:cNvSpPr>
              <a:spLocks/>
            </p:cNvSpPr>
            <p:nvPr/>
          </p:nvSpPr>
          <p:spPr bwMode="auto">
            <a:xfrm>
              <a:off x="3789531" y="2390727"/>
              <a:ext cx="20066" cy="15284"/>
            </a:xfrm>
            <a:custGeom>
              <a:avLst/>
              <a:gdLst>
                <a:gd name="T0" fmla="*/ 2147483647 w 45"/>
                <a:gd name="T1" fmla="*/ 2147483647 h 37"/>
                <a:gd name="T2" fmla="*/ 2147483647 w 45"/>
                <a:gd name="T3" fmla="*/ 2147483647 h 37"/>
                <a:gd name="T4" fmla="*/ 2147483647 w 45"/>
                <a:gd name="T5" fmla="*/ 0 h 37"/>
                <a:gd name="T6" fmla="*/ 0 w 45"/>
                <a:gd name="T7" fmla="*/ 2147483647 h 37"/>
                <a:gd name="T8" fmla="*/ 2147483647 w 45"/>
                <a:gd name="T9" fmla="*/ 2147483647 h 37"/>
                <a:gd name="T10" fmla="*/ 2147483647 w 45"/>
                <a:gd name="T11" fmla="*/ 2147483647 h 37"/>
                <a:gd name="T12" fmla="*/ 0 60000 65536"/>
                <a:gd name="T13" fmla="*/ 0 60000 65536"/>
                <a:gd name="T14" fmla="*/ 0 60000 65536"/>
                <a:gd name="T15" fmla="*/ 0 60000 65536"/>
                <a:gd name="T16" fmla="*/ 0 60000 65536"/>
                <a:gd name="T17" fmla="*/ 0 60000 65536"/>
                <a:gd name="T18" fmla="*/ 0 w 45"/>
                <a:gd name="T19" fmla="*/ 0 h 37"/>
                <a:gd name="T20" fmla="*/ 45 w 45"/>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45" h="37">
                  <a:moveTo>
                    <a:pt x="34" y="30"/>
                  </a:moveTo>
                  <a:lnTo>
                    <a:pt x="45" y="21"/>
                  </a:lnTo>
                  <a:lnTo>
                    <a:pt x="36" y="0"/>
                  </a:lnTo>
                  <a:lnTo>
                    <a:pt x="0" y="17"/>
                  </a:lnTo>
                  <a:lnTo>
                    <a:pt x="13" y="37"/>
                  </a:lnTo>
                  <a:lnTo>
                    <a:pt x="34" y="3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2" name="Freeform 1188"/>
            <p:cNvSpPr>
              <a:spLocks/>
            </p:cNvSpPr>
            <p:nvPr/>
          </p:nvSpPr>
          <p:spPr bwMode="auto">
            <a:xfrm>
              <a:off x="3465596" y="2346150"/>
              <a:ext cx="60200" cy="73872"/>
            </a:xfrm>
            <a:custGeom>
              <a:avLst/>
              <a:gdLst>
                <a:gd name="T0" fmla="*/ 2147483647 w 127"/>
                <a:gd name="T1" fmla="*/ 2147483647 h 177"/>
                <a:gd name="T2" fmla="*/ 2147483647 w 127"/>
                <a:gd name="T3" fmla="*/ 2147483647 h 177"/>
                <a:gd name="T4" fmla="*/ 2147483647 w 127"/>
                <a:gd name="T5" fmla="*/ 2147483647 h 177"/>
                <a:gd name="T6" fmla="*/ 2147483647 w 127"/>
                <a:gd name="T7" fmla="*/ 2147483647 h 177"/>
                <a:gd name="T8" fmla="*/ 2147483647 w 127"/>
                <a:gd name="T9" fmla="*/ 2147483647 h 177"/>
                <a:gd name="T10" fmla="*/ 2147483647 w 127"/>
                <a:gd name="T11" fmla="*/ 2147483647 h 177"/>
                <a:gd name="T12" fmla="*/ 2147483647 w 127"/>
                <a:gd name="T13" fmla="*/ 2147483647 h 177"/>
                <a:gd name="T14" fmla="*/ 2147483647 w 127"/>
                <a:gd name="T15" fmla="*/ 2147483647 h 177"/>
                <a:gd name="T16" fmla="*/ 2147483647 w 127"/>
                <a:gd name="T17" fmla="*/ 2147483647 h 177"/>
                <a:gd name="T18" fmla="*/ 2147483647 w 127"/>
                <a:gd name="T19" fmla="*/ 2147483647 h 177"/>
                <a:gd name="T20" fmla="*/ 2147483647 w 127"/>
                <a:gd name="T21" fmla="*/ 2147483647 h 177"/>
                <a:gd name="T22" fmla="*/ 0 w 127"/>
                <a:gd name="T23" fmla="*/ 2147483647 h 177"/>
                <a:gd name="T24" fmla="*/ 2147483647 w 127"/>
                <a:gd name="T25" fmla="*/ 2147483647 h 177"/>
                <a:gd name="T26" fmla="*/ 2147483647 w 127"/>
                <a:gd name="T27" fmla="*/ 2147483647 h 177"/>
                <a:gd name="T28" fmla="*/ 2147483647 w 127"/>
                <a:gd name="T29" fmla="*/ 2147483647 h 177"/>
                <a:gd name="T30" fmla="*/ 2147483647 w 127"/>
                <a:gd name="T31" fmla="*/ 2147483647 h 177"/>
                <a:gd name="T32" fmla="*/ 2147483647 w 127"/>
                <a:gd name="T33" fmla="*/ 2147483647 h 177"/>
                <a:gd name="T34" fmla="*/ 2147483647 w 127"/>
                <a:gd name="T35" fmla="*/ 2147483647 h 177"/>
                <a:gd name="T36" fmla="*/ 2147483647 w 127"/>
                <a:gd name="T37" fmla="*/ 0 h 177"/>
                <a:gd name="T38" fmla="*/ 2147483647 w 127"/>
                <a:gd name="T39" fmla="*/ 2147483647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77"/>
                <a:gd name="T62" fmla="*/ 127 w 12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77">
                  <a:moveTo>
                    <a:pt x="65" y="2"/>
                  </a:moveTo>
                  <a:lnTo>
                    <a:pt x="127" y="74"/>
                  </a:lnTo>
                  <a:lnTo>
                    <a:pt x="124" y="82"/>
                  </a:lnTo>
                  <a:lnTo>
                    <a:pt x="127" y="163"/>
                  </a:lnTo>
                  <a:lnTo>
                    <a:pt x="78" y="177"/>
                  </a:lnTo>
                  <a:lnTo>
                    <a:pt x="53" y="143"/>
                  </a:lnTo>
                  <a:lnTo>
                    <a:pt x="27" y="137"/>
                  </a:lnTo>
                  <a:lnTo>
                    <a:pt x="20" y="122"/>
                  </a:lnTo>
                  <a:lnTo>
                    <a:pt x="24" y="109"/>
                  </a:lnTo>
                  <a:lnTo>
                    <a:pt x="11" y="121"/>
                  </a:lnTo>
                  <a:lnTo>
                    <a:pt x="5" y="108"/>
                  </a:lnTo>
                  <a:lnTo>
                    <a:pt x="0" y="77"/>
                  </a:lnTo>
                  <a:lnTo>
                    <a:pt x="19" y="61"/>
                  </a:lnTo>
                  <a:lnTo>
                    <a:pt x="28" y="59"/>
                  </a:lnTo>
                  <a:lnTo>
                    <a:pt x="20" y="49"/>
                  </a:lnTo>
                  <a:lnTo>
                    <a:pt x="18" y="37"/>
                  </a:lnTo>
                  <a:lnTo>
                    <a:pt x="34" y="35"/>
                  </a:lnTo>
                  <a:lnTo>
                    <a:pt x="32" y="19"/>
                  </a:lnTo>
                  <a:lnTo>
                    <a:pt x="51" y="0"/>
                  </a:lnTo>
                  <a:lnTo>
                    <a:pt x="65" y="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3" name="Freeform 1189"/>
            <p:cNvSpPr>
              <a:spLocks/>
            </p:cNvSpPr>
            <p:nvPr/>
          </p:nvSpPr>
          <p:spPr bwMode="auto">
            <a:xfrm>
              <a:off x="3484229" y="2450590"/>
              <a:ext cx="107501" cy="133734"/>
            </a:xfrm>
            <a:custGeom>
              <a:avLst/>
              <a:gdLst>
                <a:gd name="T0" fmla="*/ 2147483647 w 232"/>
                <a:gd name="T1" fmla="*/ 2147483647 h 321"/>
                <a:gd name="T2" fmla="*/ 2147483647 w 232"/>
                <a:gd name="T3" fmla="*/ 0 h 321"/>
                <a:gd name="T4" fmla="*/ 2147483647 w 232"/>
                <a:gd name="T5" fmla="*/ 2147483647 h 321"/>
                <a:gd name="T6" fmla="*/ 2147483647 w 232"/>
                <a:gd name="T7" fmla="*/ 2147483647 h 321"/>
                <a:gd name="T8" fmla="*/ 2147483647 w 232"/>
                <a:gd name="T9" fmla="*/ 2147483647 h 321"/>
                <a:gd name="T10" fmla="*/ 2147483647 w 232"/>
                <a:gd name="T11" fmla="*/ 2147483647 h 321"/>
                <a:gd name="T12" fmla="*/ 2147483647 w 232"/>
                <a:gd name="T13" fmla="*/ 2147483647 h 321"/>
                <a:gd name="T14" fmla="*/ 2147483647 w 232"/>
                <a:gd name="T15" fmla="*/ 2147483647 h 321"/>
                <a:gd name="T16" fmla="*/ 2147483647 w 232"/>
                <a:gd name="T17" fmla="*/ 2147483647 h 321"/>
                <a:gd name="T18" fmla="*/ 2147483647 w 232"/>
                <a:gd name="T19" fmla="*/ 2147483647 h 321"/>
                <a:gd name="T20" fmla="*/ 2147483647 w 232"/>
                <a:gd name="T21" fmla="*/ 2147483647 h 321"/>
                <a:gd name="T22" fmla="*/ 2147483647 w 232"/>
                <a:gd name="T23" fmla="*/ 2147483647 h 321"/>
                <a:gd name="T24" fmla="*/ 2147483647 w 232"/>
                <a:gd name="T25" fmla="*/ 2147483647 h 321"/>
                <a:gd name="T26" fmla="*/ 2147483647 w 232"/>
                <a:gd name="T27" fmla="*/ 2147483647 h 321"/>
                <a:gd name="T28" fmla="*/ 2147483647 w 232"/>
                <a:gd name="T29" fmla="*/ 2147483647 h 321"/>
                <a:gd name="T30" fmla="*/ 2147483647 w 232"/>
                <a:gd name="T31" fmla="*/ 2147483647 h 321"/>
                <a:gd name="T32" fmla="*/ 2147483647 w 232"/>
                <a:gd name="T33" fmla="*/ 2147483647 h 321"/>
                <a:gd name="T34" fmla="*/ 2147483647 w 232"/>
                <a:gd name="T35" fmla="*/ 2147483647 h 321"/>
                <a:gd name="T36" fmla="*/ 2147483647 w 232"/>
                <a:gd name="T37" fmla="*/ 2147483647 h 321"/>
                <a:gd name="T38" fmla="*/ 2147483647 w 232"/>
                <a:gd name="T39" fmla="*/ 2147483647 h 321"/>
                <a:gd name="T40" fmla="*/ 2147483647 w 232"/>
                <a:gd name="T41" fmla="*/ 2147483647 h 321"/>
                <a:gd name="T42" fmla="*/ 2147483647 w 232"/>
                <a:gd name="T43" fmla="*/ 2147483647 h 321"/>
                <a:gd name="T44" fmla="*/ 2147483647 w 232"/>
                <a:gd name="T45" fmla="*/ 2147483647 h 321"/>
                <a:gd name="T46" fmla="*/ 2147483647 w 232"/>
                <a:gd name="T47" fmla="*/ 2147483647 h 321"/>
                <a:gd name="T48" fmla="*/ 2147483647 w 232"/>
                <a:gd name="T49" fmla="*/ 2147483647 h 321"/>
                <a:gd name="T50" fmla="*/ 2147483647 w 232"/>
                <a:gd name="T51" fmla="*/ 2147483647 h 321"/>
                <a:gd name="T52" fmla="*/ 2147483647 w 232"/>
                <a:gd name="T53" fmla="*/ 2147483647 h 321"/>
                <a:gd name="T54" fmla="*/ 0 w 232"/>
                <a:gd name="T55" fmla="*/ 2147483647 h 321"/>
                <a:gd name="T56" fmla="*/ 2147483647 w 232"/>
                <a:gd name="T57" fmla="*/ 2147483647 h 321"/>
                <a:gd name="T58" fmla="*/ 0 w 232"/>
                <a:gd name="T59" fmla="*/ 2147483647 h 321"/>
                <a:gd name="T60" fmla="*/ 2147483647 w 232"/>
                <a:gd name="T61" fmla="*/ 2147483647 h 321"/>
                <a:gd name="T62" fmla="*/ 2147483647 w 232"/>
                <a:gd name="T63" fmla="*/ 2147483647 h 321"/>
                <a:gd name="T64" fmla="*/ 2147483647 w 232"/>
                <a:gd name="T65" fmla="*/ 2147483647 h 321"/>
                <a:gd name="T66" fmla="*/ 2147483647 w 232"/>
                <a:gd name="T67" fmla="*/ 2147483647 h 3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321"/>
                <a:gd name="T104" fmla="*/ 232 w 232"/>
                <a:gd name="T105" fmla="*/ 321 h 32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321">
                  <a:moveTo>
                    <a:pt x="26" y="14"/>
                  </a:moveTo>
                  <a:lnTo>
                    <a:pt x="96" y="0"/>
                  </a:lnTo>
                  <a:lnTo>
                    <a:pt x="136" y="14"/>
                  </a:lnTo>
                  <a:lnTo>
                    <a:pt x="146" y="33"/>
                  </a:lnTo>
                  <a:lnTo>
                    <a:pt x="177" y="23"/>
                  </a:lnTo>
                  <a:lnTo>
                    <a:pt x="232" y="41"/>
                  </a:lnTo>
                  <a:lnTo>
                    <a:pt x="213" y="90"/>
                  </a:lnTo>
                  <a:lnTo>
                    <a:pt x="198" y="90"/>
                  </a:lnTo>
                  <a:lnTo>
                    <a:pt x="201" y="108"/>
                  </a:lnTo>
                  <a:lnTo>
                    <a:pt x="193" y="137"/>
                  </a:lnTo>
                  <a:lnTo>
                    <a:pt x="177" y="146"/>
                  </a:lnTo>
                  <a:lnTo>
                    <a:pt x="184" y="148"/>
                  </a:lnTo>
                  <a:lnTo>
                    <a:pt x="181" y="163"/>
                  </a:lnTo>
                  <a:lnTo>
                    <a:pt x="151" y="219"/>
                  </a:lnTo>
                  <a:lnTo>
                    <a:pt x="104" y="207"/>
                  </a:lnTo>
                  <a:lnTo>
                    <a:pt x="57" y="216"/>
                  </a:lnTo>
                  <a:lnTo>
                    <a:pt x="78" y="225"/>
                  </a:lnTo>
                  <a:lnTo>
                    <a:pt x="94" y="255"/>
                  </a:lnTo>
                  <a:lnTo>
                    <a:pt x="66" y="309"/>
                  </a:lnTo>
                  <a:lnTo>
                    <a:pt x="32" y="321"/>
                  </a:lnTo>
                  <a:lnTo>
                    <a:pt x="20" y="316"/>
                  </a:lnTo>
                  <a:lnTo>
                    <a:pt x="33" y="300"/>
                  </a:lnTo>
                  <a:lnTo>
                    <a:pt x="20" y="294"/>
                  </a:lnTo>
                  <a:lnTo>
                    <a:pt x="20" y="263"/>
                  </a:lnTo>
                  <a:lnTo>
                    <a:pt x="34" y="241"/>
                  </a:lnTo>
                  <a:lnTo>
                    <a:pt x="19" y="245"/>
                  </a:lnTo>
                  <a:lnTo>
                    <a:pt x="3" y="222"/>
                  </a:lnTo>
                  <a:lnTo>
                    <a:pt x="0" y="190"/>
                  </a:lnTo>
                  <a:lnTo>
                    <a:pt x="4" y="158"/>
                  </a:lnTo>
                  <a:lnTo>
                    <a:pt x="0" y="67"/>
                  </a:lnTo>
                  <a:lnTo>
                    <a:pt x="7" y="58"/>
                  </a:lnTo>
                  <a:lnTo>
                    <a:pt x="12" y="41"/>
                  </a:lnTo>
                  <a:lnTo>
                    <a:pt x="13" y="21"/>
                  </a:lnTo>
                  <a:lnTo>
                    <a:pt x="26" y="1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4" name="Freeform 1190"/>
            <p:cNvSpPr>
              <a:spLocks/>
            </p:cNvSpPr>
            <p:nvPr/>
          </p:nvSpPr>
          <p:spPr bwMode="auto">
            <a:xfrm>
              <a:off x="3659096" y="2777918"/>
              <a:ext cx="10034" cy="28020"/>
            </a:xfrm>
            <a:custGeom>
              <a:avLst/>
              <a:gdLst>
                <a:gd name="T0" fmla="*/ 2147483647 w 20"/>
                <a:gd name="T1" fmla="*/ 2147483647 h 64"/>
                <a:gd name="T2" fmla="*/ 2147483647 w 20"/>
                <a:gd name="T3" fmla="*/ 2147483647 h 64"/>
                <a:gd name="T4" fmla="*/ 2147483647 w 20"/>
                <a:gd name="T5" fmla="*/ 2147483647 h 64"/>
                <a:gd name="T6" fmla="*/ 0 w 20"/>
                <a:gd name="T7" fmla="*/ 2147483647 h 64"/>
                <a:gd name="T8" fmla="*/ 2147483647 w 20"/>
                <a:gd name="T9" fmla="*/ 2147483647 h 64"/>
                <a:gd name="T10" fmla="*/ 2147483647 w 20"/>
                <a:gd name="T11" fmla="*/ 0 h 64"/>
                <a:gd name="T12" fmla="*/ 2147483647 w 20"/>
                <a:gd name="T13" fmla="*/ 2147483647 h 64"/>
                <a:gd name="T14" fmla="*/ 0 60000 65536"/>
                <a:gd name="T15" fmla="*/ 0 60000 65536"/>
                <a:gd name="T16" fmla="*/ 0 60000 65536"/>
                <a:gd name="T17" fmla="*/ 0 60000 65536"/>
                <a:gd name="T18" fmla="*/ 0 60000 65536"/>
                <a:gd name="T19" fmla="*/ 0 60000 65536"/>
                <a:gd name="T20" fmla="*/ 0 60000 65536"/>
                <a:gd name="T21" fmla="*/ 0 w 20"/>
                <a:gd name="T22" fmla="*/ 0 h 64"/>
                <a:gd name="T23" fmla="*/ 20 w 2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64">
                  <a:moveTo>
                    <a:pt x="14" y="6"/>
                  </a:moveTo>
                  <a:lnTo>
                    <a:pt x="20" y="52"/>
                  </a:lnTo>
                  <a:lnTo>
                    <a:pt x="17" y="64"/>
                  </a:lnTo>
                  <a:lnTo>
                    <a:pt x="0" y="52"/>
                  </a:lnTo>
                  <a:lnTo>
                    <a:pt x="1" y="10"/>
                  </a:lnTo>
                  <a:lnTo>
                    <a:pt x="7" y="0"/>
                  </a:lnTo>
                  <a:lnTo>
                    <a:pt x="14" y="6"/>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5" name="Freeform 1191"/>
            <p:cNvSpPr>
              <a:spLocks/>
            </p:cNvSpPr>
            <p:nvPr/>
          </p:nvSpPr>
          <p:spPr bwMode="auto">
            <a:xfrm>
              <a:off x="3656230" y="2889999"/>
              <a:ext cx="140467" cy="114630"/>
            </a:xfrm>
            <a:custGeom>
              <a:avLst/>
              <a:gdLst>
                <a:gd name="T0" fmla="*/ 2147483647 w 302"/>
                <a:gd name="T1" fmla="*/ 2147483647 h 273"/>
                <a:gd name="T2" fmla="*/ 2147483647 w 302"/>
                <a:gd name="T3" fmla="*/ 0 h 273"/>
                <a:gd name="T4" fmla="*/ 2147483647 w 302"/>
                <a:gd name="T5" fmla="*/ 2147483647 h 273"/>
                <a:gd name="T6" fmla="*/ 2147483647 w 302"/>
                <a:gd name="T7" fmla="*/ 2147483647 h 273"/>
                <a:gd name="T8" fmla="*/ 2147483647 w 302"/>
                <a:gd name="T9" fmla="*/ 2147483647 h 273"/>
                <a:gd name="T10" fmla="*/ 2147483647 w 302"/>
                <a:gd name="T11" fmla="*/ 2147483647 h 273"/>
                <a:gd name="T12" fmla="*/ 2147483647 w 302"/>
                <a:gd name="T13" fmla="*/ 2147483647 h 273"/>
                <a:gd name="T14" fmla="*/ 2147483647 w 302"/>
                <a:gd name="T15" fmla="*/ 2147483647 h 273"/>
                <a:gd name="T16" fmla="*/ 2147483647 w 302"/>
                <a:gd name="T17" fmla="*/ 2147483647 h 273"/>
                <a:gd name="T18" fmla="*/ 2147483647 w 302"/>
                <a:gd name="T19" fmla="*/ 2147483647 h 273"/>
                <a:gd name="T20" fmla="*/ 2147483647 w 302"/>
                <a:gd name="T21" fmla="*/ 2147483647 h 273"/>
                <a:gd name="T22" fmla="*/ 2147483647 w 302"/>
                <a:gd name="T23" fmla="*/ 2147483647 h 273"/>
                <a:gd name="T24" fmla="*/ 2147483647 w 302"/>
                <a:gd name="T25" fmla="*/ 2147483647 h 273"/>
                <a:gd name="T26" fmla="*/ 2147483647 w 302"/>
                <a:gd name="T27" fmla="*/ 2147483647 h 273"/>
                <a:gd name="T28" fmla="*/ 2147483647 w 302"/>
                <a:gd name="T29" fmla="*/ 2147483647 h 273"/>
                <a:gd name="T30" fmla="*/ 2147483647 w 302"/>
                <a:gd name="T31" fmla="*/ 2147483647 h 273"/>
                <a:gd name="T32" fmla="*/ 2147483647 w 302"/>
                <a:gd name="T33" fmla="*/ 2147483647 h 273"/>
                <a:gd name="T34" fmla="*/ 2147483647 w 302"/>
                <a:gd name="T35" fmla="*/ 2147483647 h 273"/>
                <a:gd name="T36" fmla="*/ 2147483647 w 302"/>
                <a:gd name="T37" fmla="*/ 2147483647 h 273"/>
                <a:gd name="T38" fmla="*/ 2147483647 w 302"/>
                <a:gd name="T39" fmla="*/ 2147483647 h 273"/>
                <a:gd name="T40" fmla="*/ 2147483647 w 302"/>
                <a:gd name="T41" fmla="*/ 2147483647 h 273"/>
                <a:gd name="T42" fmla="*/ 2147483647 w 302"/>
                <a:gd name="T43" fmla="*/ 2147483647 h 273"/>
                <a:gd name="T44" fmla="*/ 2147483647 w 302"/>
                <a:gd name="T45" fmla="*/ 2147483647 h 273"/>
                <a:gd name="T46" fmla="*/ 2147483647 w 302"/>
                <a:gd name="T47" fmla="*/ 2147483647 h 273"/>
                <a:gd name="T48" fmla="*/ 2147483647 w 302"/>
                <a:gd name="T49" fmla="*/ 2147483647 h 273"/>
                <a:gd name="T50" fmla="*/ 2147483647 w 302"/>
                <a:gd name="T51" fmla="*/ 2147483647 h 273"/>
                <a:gd name="T52" fmla="*/ 2147483647 w 302"/>
                <a:gd name="T53" fmla="*/ 2147483647 h 273"/>
                <a:gd name="T54" fmla="*/ 2147483647 w 302"/>
                <a:gd name="T55" fmla="*/ 2147483647 h 273"/>
                <a:gd name="T56" fmla="*/ 2147483647 w 302"/>
                <a:gd name="T57" fmla="*/ 2147483647 h 273"/>
                <a:gd name="T58" fmla="*/ 2147483647 w 302"/>
                <a:gd name="T59" fmla="*/ 2147483647 h 273"/>
                <a:gd name="T60" fmla="*/ 2147483647 w 302"/>
                <a:gd name="T61" fmla="*/ 2147483647 h 273"/>
                <a:gd name="T62" fmla="*/ 2147483647 w 302"/>
                <a:gd name="T63" fmla="*/ 2147483647 h 273"/>
                <a:gd name="T64" fmla="*/ 2147483647 w 302"/>
                <a:gd name="T65" fmla="*/ 2147483647 h 273"/>
                <a:gd name="T66" fmla="*/ 2147483647 w 302"/>
                <a:gd name="T67" fmla="*/ 2147483647 h 273"/>
                <a:gd name="T68" fmla="*/ 2147483647 w 302"/>
                <a:gd name="T69" fmla="*/ 2147483647 h 273"/>
                <a:gd name="T70" fmla="*/ 2147483647 w 302"/>
                <a:gd name="T71" fmla="*/ 2147483647 h 273"/>
                <a:gd name="T72" fmla="*/ 2147483647 w 302"/>
                <a:gd name="T73" fmla="*/ 2147483647 h 273"/>
                <a:gd name="T74" fmla="*/ 2147483647 w 302"/>
                <a:gd name="T75" fmla="*/ 2147483647 h 273"/>
                <a:gd name="T76" fmla="*/ 0 w 302"/>
                <a:gd name="T77" fmla="*/ 2147483647 h 273"/>
                <a:gd name="T78" fmla="*/ 2147483647 w 302"/>
                <a:gd name="T79" fmla="*/ 2147483647 h 273"/>
                <a:gd name="T80" fmla="*/ 2147483647 w 302"/>
                <a:gd name="T81" fmla="*/ 2147483647 h 273"/>
                <a:gd name="T82" fmla="*/ 2147483647 w 302"/>
                <a:gd name="T83" fmla="*/ 2147483647 h 273"/>
                <a:gd name="T84" fmla="*/ 2147483647 w 302"/>
                <a:gd name="T85" fmla="*/ 2147483647 h 273"/>
                <a:gd name="T86" fmla="*/ 2147483647 w 302"/>
                <a:gd name="T87" fmla="*/ 2147483647 h 273"/>
                <a:gd name="T88" fmla="*/ 2147483647 w 302"/>
                <a:gd name="T89" fmla="*/ 2147483647 h 2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2"/>
                <a:gd name="T136" fmla="*/ 0 h 273"/>
                <a:gd name="T137" fmla="*/ 302 w 302"/>
                <a:gd name="T138" fmla="*/ 273 h 2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2" h="273">
                  <a:moveTo>
                    <a:pt x="61" y="11"/>
                  </a:moveTo>
                  <a:lnTo>
                    <a:pt x="71" y="0"/>
                  </a:lnTo>
                  <a:lnTo>
                    <a:pt x="73" y="9"/>
                  </a:lnTo>
                  <a:lnTo>
                    <a:pt x="82" y="8"/>
                  </a:lnTo>
                  <a:lnTo>
                    <a:pt x="93" y="30"/>
                  </a:lnTo>
                  <a:lnTo>
                    <a:pt x="89" y="37"/>
                  </a:lnTo>
                  <a:lnTo>
                    <a:pt x="94" y="63"/>
                  </a:lnTo>
                  <a:lnTo>
                    <a:pt x="100" y="66"/>
                  </a:lnTo>
                  <a:lnTo>
                    <a:pt x="110" y="45"/>
                  </a:lnTo>
                  <a:lnTo>
                    <a:pt x="116" y="46"/>
                  </a:lnTo>
                  <a:lnTo>
                    <a:pt x="132" y="57"/>
                  </a:lnTo>
                  <a:lnTo>
                    <a:pt x="131" y="70"/>
                  </a:lnTo>
                  <a:lnTo>
                    <a:pt x="162" y="79"/>
                  </a:lnTo>
                  <a:lnTo>
                    <a:pt x="191" y="113"/>
                  </a:lnTo>
                  <a:lnTo>
                    <a:pt x="224" y="127"/>
                  </a:lnTo>
                  <a:lnTo>
                    <a:pt x="240" y="174"/>
                  </a:lnTo>
                  <a:lnTo>
                    <a:pt x="237" y="184"/>
                  </a:lnTo>
                  <a:lnTo>
                    <a:pt x="259" y="188"/>
                  </a:lnTo>
                  <a:lnTo>
                    <a:pt x="269" y="177"/>
                  </a:lnTo>
                  <a:lnTo>
                    <a:pt x="285" y="193"/>
                  </a:lnTo>
                  <a:lnTo>
                    <a:pt x="284" y="204"/>
                  </a:lnTo>
                  <a:lnTo>
                    <a:pt x="302" y="214"/>
                  </a:lnTo>
                  <a:lnTo>
                    <a:pt x="263" y="243"/>
                  </a:lnTo>
                  <a:lnTo>
                    <a:pt x="219" y="219"/>
                  </a:lnTo>
                  <a:lnTo>
                    <a:pt x="206" y="221"/>
                  </a:lnTo>
                  <a:lnTo>
                    <a:pt x="206" y="199"/>
                  </a:lnTo>
                  <a:lnTo>
                    <a:pt x="175" y="192"/>
                  </a:lnTo>
                  <a:lnTo>
                    <a:pt x="182" y="174"/>
                  </a:lnTo>
                  <a:lnTo>
                    <a:pt x="154" y="182"/>
                  </a:lnTo>
                  <a:lnTo>
                    <a:pt x="153" y="215"/>
                  </a:lnTo>
                  <a:lnTo>
                    <a:pt x="127" y="231"/>
                  </a:lnTo>
                  <a:lnTo>
                    <a:pt x="107" y="263"/>
                  </a:lnTo>
                  <a:lnTo>
                    <a:pt x="84" y="273"/>
                  </a:lnTo>
                  <a:lnTo>
                    <a:pt x="75" y="273"/>
                  </a:lnTo>
                  <a:lnTo>
                    <a:pt x="69" y="260"/>
                  </a:lnTo>
                  <a:lnTo>
                    <a:pt x="64" y="204"/>
                  </a:lnTo>
                  <a:lnTo>
                    <a:pt x="60" y="220"/>
                  </a:lnTo>
                  <a:lnTo>
                    <a:pt x="6" y="235"/>
                  </a:lnTo>
                  <a:lnTo>
                    <a:pt x="0" y="222"/>
                  </a:lnTo>
                  <a:lnTo>
                    <a:pt x="9" y="202"/>
                  </a:lnTo>
                  <a:lnTo>
                    <a:pt x="40" y="175"/>
                  </a:lnTo>
                  <a:lnTo>
                    <a:pt x="34" y="137"/>
                  </a:lnTo>
                  <a:lnTo>
                    <a:pt x="44" y="87"/>
                  </a:lnTo>
                  <a:lnTo>
                    <a:pt x="45" y="46"/>
                  </a:lnTo>
                  <a:lnTo>
                    <a:pt x="61" y="11"/>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6" name="Freeform 1192"/>
            <p:cNvSpPr>
              <a:spLocks/>
            </p:cNvSpPr>
            <p:nvPr/>
          </p:nvSpPr>
          <p:spPr bwMode="auto">
            <a:xfrm>
              <a:off x="3710696" y="2881084"/>
              <a:ext cx="21500" cy="20378"/>
            </a:xfrm>
            <a:custGeom>
              <a:avLst/>
              <a:gdLst>
                <a:gd name="T0" fmla="*/ 2147483647 w 49"/>
                <a:gd name="T1" fmla="*/ 2147483647 h 52"/>
                <a:gd name="T2" fmla="*/ 2147483647 w 49"/>
                <a:gd name="T3" fmla="*/ 2147483647 h 52"/>
                <a:gd name="T4" fmla="*/ 2147483647 w 49"/>
                <a:gd name="T5" fmla="*/ 2147483647 h 52"/>
                <a:gd name="T6" fmla="*/ 2147483647 w 49"/>
                <a:gd name="T7" fmla="*/ 2147483647 h 52"/>
                <a:gd name="T8" fmla="*/ 0 w 49"/>
                <a:gd name="T9" fmla="*/ 0 h 52"/>
                <a:gd name="T10" fmla="*/ 2147483647 w 49"/>
                <a:gd name="T11" fmla="*/ 2147483647 h 52"/>
                <a:gd name="T12" fmla="*/ 0 60000 65536"/>
                <a:gd name="T13" fmla="*/ 0 60000 65536"/>
                <a:gd name="T14" fmla="*/ 0 60000 65536"/>
                <a:gd name="T15" fmla="*/ 0 60000 65536"/>
                <a:gd name="T16" fmla="*/ 0 60000 65536"/>
                <a:gd name="T17" fmla="*/ 0 60000 65536"/>
                <a:gd name="T18" fmla="*/ 0 w 49"/>
                <a:gd name="T19" fmla="*/ 0 h 52"/>
                <a:gd name="T20" fmla="*/ 49 w 49"/>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9" h="52">
                  <a:moveTo>
                    <a:pt x="26" y="17"/>
                  </a:moveTo>
                  <a:lnTo>
                    <a:pt x="49" y="52"/>
                  </a:lnTo>
                  <a:lnTo>
                    <a:pt x="32" y="50"/>
                  </a:lnTo>
                  <a:lnTo>
                    <a:pt x="18" y="34"/>
                  </a:lnTo>
                  <a:lnTo>
                    <a:pt x="0" y="0"/>
                  </a:lnTo>
                  <a:lnTo>
                    <a:pt x="26" y="17"/>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7" name="Freeform 1193"/>
            <p:cNvSpPr>
              <a:spLocks/>
            </p:cNvSpPr>
            <p:nvPr/>
          </p:nvSpPr>
          <p:spPr bwMode="auto">
            <a:xfrm>
              <a:off x="3855464" y="2779192"/>
              <a:ext cx="43001" cy="49672"/>
            </a:xfrm>
            <a:custGeom>
              <a:avLst/>
              <a:gdLst>
                <a:gd name="T0" fmla="*/ 2147483647 w 94"/>
                <a:gd name="T1" fmla="*/ 0 h 118"/>
                <a:gd name="T2" fmla="*/ 2147483647 w 94"/>
                <a:gd name="T3" fmla="*/ 2147483647 h 118"/>
                <a:gd name="T4" fmla="*/ 2147483647 w 94"/>
                <a:gd name="T5" fmla="*/ 2147483647 h 118"/>
                <a:gd name="T6" fmla="*/ 2147483647 w 94"/>
                <a:gd name="T7" fmla="*/ 2147483647 h 118"/>
                <a:gd name="T8" fmla="*/ 2147483647 w 94"/>
                <a:gd name="T9" fmla="*/ 2147483647 h 118"/>
                <a:gd name="T10" fmla="*/ 2147483647 w 94"/>
                <a:gd name="T11" fmla="*/ 2147483647 h 118"/>
                <a:gd name="T12" fmla="*/ 0 w 94"/>
                <a:gd name="T13" fmla="*/ 2147483647 h 118"/>
                <a:gd name="T14" fmla="*/ 2147483647 w 94"/>
                <a:gd name="T15" fmla="*/ 2147483647 h 118"/>
                <a:gd name="T16" fmla="*/ 2147483647 w 94"/>
                <a:gd name="T17" fmla="*/ 2147483647 h 118"/>
                <a:gd name="T18" fmla="*/ 2147483647 w 94"/>
                <a:gd name="T19" fmla="*/ 0 h 1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4"/>
                <a:gd name="T31" fmla="*/ 0 h 118"/>
                <a:gd name="T32" fmla="*/ 94 w 94"/>
                <a:gd name="T33" fmla="*/ 118 h 1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4" h="118">
                  <a:moveTo>
                    <a:pt x="41" y="0"/>
                  </a:moveTo>
                  <a:lnTo>
                    <a:pt x="87" y="9"/>
                  </a:lnTo>
                  <a:lnTo>
                    <a:pt x="94" y="36"/>
                  </a:lnTo>
                  <a:lnTo>
                    <a:pt x="93" y="90"/>
                  </a:lnTo>
                  <a:lnTo>
                    <a:pt x="68" y="117"/>
                  </a:lnTo>
                  <a:lnTo>
                    <a:pt x="12" y="118"/>
                  </a:lnTo>
                  <a:lnTo>
                    <a:pt x="0" y="82"/>
                  </a:lnTo>
                  <a:lnTo>
                    <a:pt x="1" y="52"/>
                  </a:lnTo>
                  <a:lnTo>
                    <a:pt x="25" y="6"/>
                  </a:lnTo>
                  <a:lnTo>
                    <a:pt x="41"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8" name="Freeform 1194"/>
            <p:cNvSpPr>
              <a:spLocks/>
            </p:cNvSpPr>
            <p:nvPr/>
          </p:nvSpPr>
          <p:spPr bwMode="auto">
            <a:xfrm>
              <a:off x="3907065" y="2786834"/>
              <a:ext cx="22933" cy="17831"/>
            </a:xfrm>
            <a:custGeom>
              <a:avLst/>
              <a:gdLst>
                <a:gd name="T0" fmla="*/ 0 w 53"/>
                <a:gd name="T1" fmla="*/ 2147483647 h 44"/>
                <a:gd name="T2" fmla="*/ 2147483647 w 53"/>
                <a:gd name="T3" fmla="*/ 0 h 44"/>
                <a:gd name="T4" fmla="*/ 2147483647 w 53"/>
                <a:gd name="T5" fmla="*/ 2147483647 h 44"/>
                <a:gd name="T6" fmla="*/ 2147483647 w 53"/>
                <a:gd name="T7" fmla="*/ 2147483647 h 44"/>
                <a:gd name="T8" fmla="*/ 2147483647 w 53"/>
                <a:gd name="T9" fmla="*/ 2147483647 h 44"/>
                <a:gd name="T10" fmla="*/ 2147483647 w 53"/>
                <a:gd name="T11" fmla="*/ 2147483647 h 44"/>
                <a:gd name="T12" fmla="*/ 0 w 53"/>
                <a:gd name="T13" fmla="*/ 2147483647 h 44"/>
                <a:gd name="T14" fmla="*/ 0 60000 65536"/>
                <a:gd name="T15" fmla="*/ 0 60000 65536"/>
                <a:gd name="T16" fmla="*/ 0 60000 65536"/>
                <a:gd name="T17" fmla="*/ 0 60000 65536"/>
                <a:gd name="T18" fmla="*/ 0 60000 65536"/>
                <a:gd name="T19" fmla="*/ 0 60000 65536"/>
                <a:gd name="T20" fmla="*/ 0 60000 65536"/>
                <a:gd name="T21" fmla="*/ 0 w 53"/>
                <a:gd name="T22" fmla="*/ 0 h 44"/>
                <a:gd name="T23" fmla="*/ 53 w 53"/>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44">
                  <a:moveTo>
                    <a:pt x="0" y="19"/>
                  </a:moveTo>
                  <a:lnTo>
                    <a:pt x="18" y="0"/>
                  </a:lnTo>
                  <a:lnTo>
                    <a:pt x="46" y="21"/>
                  </a:lnTo>
                  <a:lnTo>
                    <a:pt x="53" y="41"/>
                  </a:lnTo>
                  <a:lnTo>
                    <a:pt x="14" y="44"/>
                  </a:lnTo>
                  <a:lnTo>
                    <a:pt x="2" y="32"/>
                  </a:lnTo>
                  <a:lnTo>
                    <a:pt x="0" y="19"/>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09" name="Freeform 1195"/>
            <p:cNvSpPr>
              <a:spLocks/>
            </p:cNvSpPr>
            <p:nvPr/>
          </p:nvSpPr>
          <p:spPr bwMode="auto">
            <a:xfrm>
              <a:off x="3809597" y="2726972"/>
              <a:ext cx="22933" cy="22926"/>
            </a:xfrm>
            <a:custGeom>
              <a:avLst/>
              <a:gdLst>
                <a:gd name="T0" fmla="*/ 2147483647 w 47"/>
                <a:gd name="T1" fmla="*/ 2147483647 h 57"/>
                <a:gd name="T2" fmla="*/ 2147483647 w 47"/>
                <a:gd name="T3" fmla="*/ 2147483647 h 57"/>
                <a:gd name="T4" fmla="*/ 0 w 47"/>
                <a:gd name="T5" fmla="*/ 2147483647 h 57"/>
                <a:gd name="T6" fmla="*/ 2147483647 w 47"/>
                <a:gd name="T7" fmla="*/ 2147483647 h 57"/>
                <a:gd name="T8" fmla="*/ 2147483647 w 47"/>
                <a:gd name="T9" fmla="*/ 2147483647 h 57"/>
                <a:gd name="T10" fmla="*/ 2147483647 w 47"/>
                <a:gd name="T11" fmla="*/ 2147483647 h 57"/>
                <a:gd name="T12" fmla="*/ 2147483647 w 47"/>
                <a:gd name="T13" fmla="*/ 2147483647 h 57"/>
                <a:gd name="T14" fmla="*/ 2147483647 w 47"/>
                <a:gd name="T15" fmla="*/ 0 h 57"/>
                <a:gd name="T16" fmla="*/ 2147483647 w 47"/>
                <a:gd name="T17" fmla="*/ 2147483647 h 57"/>
                <a:gd name="T18" fmla="*/ 2147483647 w 47"/>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57"/>
                <a:gd name="T32" fmla="*/ 47 w 47"/>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57">
                  <a:moveTo>
                    <a:pt x="37" y="18"/>
                  </a:moveTo>
                  <a:lnTo>
                    <a:pt x="25" y="47"/>
                  </a:lnTo>
                  <a:lnTo>
                    <a:pt x="0" y="57"/>
                  </a:lnTo>
                  <a:lnTo>
                    <a:pt x="8" y="34"/>
                  </a:lnTo>
                  <a:lnTo>
                    <a:pt x="28" y="12"/>
                  </a:lnTo>
                  <a:lnTo>
                    <a:pt x="45" y="18"/>
                  </a:lnTo>
                  <a:lnTo>
                    <a:pt x="47" y="1"/>
                  </a:lnTo>
                  <a:lnTo>
                    <a:pt x="34" y="0"/>
                  </a:lnTo>
                  <a:lnTo>
                    <a:pt x="31" y="11"/>
                  </a:lnTo>
                  <a:lnTo>
                    <a:pt x="37" y="18"/>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0" name="Freeform 1196"/>
            <p:cNvSpPr>
              <a:spLocks/>
            </p:cNvSpPr>
            <p:nvPr/>
          </p:nvSpPr>
          <p:spPr bwMode="auto">
            <a:xfrm>
              <a:off x="3789531" y="2705319"/>
              <a:ext cx="22933" cy="16557"/>
            </a:xfrm>
            <a:custGeom>
              <a:avLst/>
              <a:gdLst>
                <a:gd name="T0" fmla="*/ 2147483647 w 48"/>
                <a:gd name="T1" fmla="*/ 0 h 39"/>
                <a:gd name="T2" fmla="*/ 2147483647 w 48"/>
                <a:gd name="T3" fmla="*/ 2147483647 h 39"/>
                <a:gd name="T4" fmla="*/ 2147483647 w 48"/>
                <a:gd name="T5" fmla="*/ 2147483647 h 39"/>
                <a:gd name="T6" fmla="*/ 2147483647 w 48"/>
                <a:gd name="T7" fmla="*/ 2147483647 h 39"/>
                <a:gd name="T8" fmla="*/ 2147483647 w 48"/>
                <a:gd name="T9" fmla="*/ 2147483647 h 39"/>
                <a:gd name="T10" fmla="*/ 0 w 48"/>
                <a:gd name="T11" fmla="*/ 2147483647 h 39"/>
                <a:gd name="T12" fmla="*/ 2147483647 w 48"/>
                <a:gd name="T13" fmla="*/ 0 h 39"/>
                <a:gd name="T14" fmla="*/ 0 60000 65536"/>
                <a:gd name="T15" fmla="*/ 0 60000 65536"/>
                <a:gd name="T16" fmla="*/ 0 60000 65536"/>
                <a:gd name="T17" fmla="*/ 0 60000 65536"/>
                <a:gd name="T18" fmla="*/ 0 60000 65536"/>
                <a:gd name="T19" fmla="*/ 0 60000 65536"/>
                <a:gd name="T20" fmla="*/ 0 60000 65536"/>
                <a:gd name="T21" fmla="*/ 0 w 48"/>
                <a:gd name="T22" fmla="*/ 0 h 39"/>
                <a:gd name="T23" fmla="*/ 48 w 48"/>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9">
                  <a:moveTo>
                    <a:pt x="12" y="0"/>
                  </a:moveTo>
                  <a:lnTo>
                    <a:pt x="48" y="8"/>
                  </a:lnTo>
                  <a:lnTo>
                    <a:pt x="28" y="26"/>
                  </a:lnTo>
                  <a:lnTo>
                    <a:pt x="20" y="19"/>
                  </a:lnTo>
                  <a:lnTo>
                    <a:pt x="20" y="39"/>
                  </a:lnTo>
                  <a:lnTo>
                    <a:pt x="0" y="2"/>
                  </a:lnTo>
                  <a:lnTo>
                    <a:pt x="12"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1" name="Freeform 1197"/>
            <p:cNvSpPr>
              <a:spLocks/>
            </p:cNvSpPr>
            <p:nvPr/>
          </p:nvSpPr>
          <p:spPr bwMode="auto">
            <a:xfrm>
              <a:off x="3829665" y="2993165"/>
              <a:ext cx="20066" cy="14010"/>
            </a:xfrm>
            <a:custGeom>
              <a:avLst/>
              <a:gdLst>
                <a:gd name="T0" fmla="*/ 0 w 41"/>
                <a:gd name="T1" fmla="*/ 2147483647 h 32"/>
                <a:gd name="T2" fmla="*/ 2147483647 w 41"/>
                <a:gd name="T3" fmla="*/ 0 h 32"/>
                <a:gd name="T4" fmla="*/ 2147483647 w 41"/>
                <a:gd name="T5" fmla="*/ 2147483647 h 32"/>
                <a:gd name="T6" fmla="*/ 2147483647 w 41"/>
                <a:gd name="T7" fmla="*/ 2147483647 h 32"/>
                <a:gd name="T8" fmla="*/ 0 w 41"/>
                <a:gd name="T9" fmla="*/ 2147483647 h 32"/>
                <a:gd name="T10" fmla="*/ 0 60000 65536"/>
                <a:gd name="T11" fmla="*/ 0 60000 65536"/>
                <a:gd name="T12" fmla="*/ 0 60000 65536"/>
                <a:gd name="T13" fmla="*/ 0 60000 65536"/>
                <a:gd name="T14" fmla="*/ 0 60000 65536"/>
                <a:gd name="T15" fmla="*/ 0 w 41"/>
                <a:gd name="T16" fmla="*/ 0 h 32"/>
                <a:gd name="T17" fmla="*/ 41 w 41"/>
                <a:gd name="T18" fmla="*/ 32 h 32"/>
              </a:gdLst>
              <a:ahLst/>
              <a:cxnLst>
                <a:cxn ang="T10">
                  <a:pos x="T0" y="T1"/>
                </a:cxn>
                <a:cxn ang="T11">
                  <a:pos x="T2" y="T3"/>
                </a:cxn>
                <a:cxn ang="T12">
                  <a:pos x="T4" y="T5"/>
                </a:cxn>
                <a:cxn ang="T13">
                  <a:pos x="T6" y="T7"/>
                </a:cxn>
                <a:cxn ang="T14">
                  <a:pos x="T8" y="T9"/>
                </a:cxn>
              </a:cxnLst>
              <a:rect l="T15" t="T16" r="T17" b="T18"/>
              <a:pathLst>
                <a:path w="41" h="32">
                  <a:moveTo>
                    <a:pt x="0" y="2"/>
                  </a:moveTo>
                  <a:lnTo>
                    <a:pt x="32" y="0"/>
                  </a:lnTo>
                  <a:lnTo>
                    <a:pt x="41" y="20"/>
                  </a:lnTo>
                  <a:lnTo>
                    <a:pt x="28" y="32"/>
                  </a:lnTo>
                  <a:lnTo>
                    <a:pt x="0" y="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2" name="Freeform 1198"/>
            <p:cNvSpPr>
              <a:spLocks/>
            </p:cNvSpPr>
            <p:nvPr/>
          </p:nvSpPr>
          <p:spPr bwMode="auto">
            <a:xfrm>
              <a:off x="3852598" y="2982977"/>
              <a:ext cx="14334" cy="11462"/>
            </a:xfrm>
            <a:custGeom>
              <a:avLst/>
              <a:gdLst>
                <a:gd name="T0" fmla="*/ 0 w 32"/>
                <a:gd name="T1" fmla="*/ 0 h 27"/>
                <a:gd name="T2" fmla="*/ 2147483647 w 32"/>
                <a:gd name="T3" fmla="*/ 2147483647 h 27"/>
                <a:gd name="T4" fmla="*/ 2147483647 w 32"/>
                <a:gd name="T5" fmla="*/ 2147483647 h 27"/>
                <a:gd name="T6" fmla="*/ 2147483647 w 32"/>
                <a:gd name="T7" fmla="*/ 2147483647 h 27"/>
                <a:gd name="T8" fmla="*/ 0 w 32"/>
                <a:gd name="T9" fmla="*/ 0 h 27"/>
                <a:gd name="T10" fmla="*/ 0 60000 65536"/>
                <a:gd name="T11" fmla="*/ 0 60000 65536"/>
                <a:gd name="T12" fmla="*/ 0 60000 65536"/>
                <a:gd name="T13" fmla="*/ 0 60000 65536"/>
                <a:gd name="T14" fmla="*/ 0 60000 65536"/>
                <a:gd name="T15" fmla="*/ 0 w 32"/>
                <a:gd name="T16" fmla="*/ 0 h 27"/>
                <a:gd name="T17" fmla="*/ 32 w 32"/>
                <a:gd name="T18" fmla="*/ 27 h 27"/>
              </a:gdLst>
              <a:ahLst/>
              <a:cxnLst>
                <a:cxn ang="T10">
                  <a:pos x="T0" y="T1"/>
                </a:cxn>
                <a:cxn ang="T11">
                  <a:pos x="T2" y="T3"/>
                </a:cxn>
                <a:cxn ang="T12">
                  <a:pos x="T4" y="T5"/>
                </a:cxn>
                <a:cxn ang="T13">
                  <a:pos x="T6" y="T7"/>
                </a:cxn>
                <a:cxn ang="T14">
                  <a:pos x="T8" y="T9"/>
                </a:cxn>
              </a:cxnLst>
              <a:rect l="T15" t="T16" r="T17" b="T18"/>
              <a:pathLst>
                <a:path w="32" h="27">
                  <a:moveTo>
                    <a:pt x="0" y="0"/>
                  </a:moveTo>
                  <a:lnTo>
                    <a:pt x="28" y="12"/>
                  </a:lnTo>
                  <a:lnTo>
                    <a:pt x="32" y="27"/>
                  </a:lnTo>
                  <a:lnTo>
                    <a:pt x="14" y="22"/>
                  </a:lnTo>
                  <a:lnTo>
                    <a:pt x="0"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3" name="Freeform 1199"/>
            <p:cNvSpPr>
              <a:spLocks/>
            </p:cNvSpPr>
            <p:nvPr/>
          </p:nvSpPr>
          <p:spPr bwMode="auto">
            <a:xfrm>
              <a:off x="3557329" y="1589601"/>
              <a:ext cx="624936" cy="723435"/>
            </a:xfrm>
            <a:custGeom>
              <a:avLst/>
              <a:gdLst>
                <a:gd name="T0" fmla="*/ 2147483647 w 1329"/>
                <a:gd name="T1" fmla="*/ 2147483647 h 1734"/>
                <a:gd name="T2" fmla="*/ 2147483647 w 1329"/>
                <a:gd name="T3" fmla="*/ 2147483647 h 1734"/>
                <a:gd name="T4" fmla="*/ 2147483647 w 1329"/>
                <a:gd name="T5" fmla="*/ 2147483647 h 1734"/>
                <a:gd name="T6" fmla="*/ 2147483647 w 1329"/>
                <a:gd name="T7" fmla="*/ 2147483647 h 1734"/>
                <a:gd name="T8" fmla="*/ 2147483647 w 1329"/>
                <a:gd name="T9" fmla="*/ 2147483647 h 1734"/>
                <a:gd name="T10" fmla="*/ 2147483647 w 1329"/>
                <a:gd name="T11" fmla="*/ 2147483647 h 1734"/>
                <a:gd name="T12" fmla="*/ 2147483647 w 1329"/>
                <a:gd name="T13" fmla="*/ 2147483647 h 1734"/>
                <a:gd name="T14" fmla="*/ 2147483647 w 1329"/>
                <a:gd name="T15" fmla="*/ 2147483647 h 1734"/>
                <a:gd name="T16" fmla="*/ 2147483647 w 1329"/>
                <a:gd name="T17" fmla="*/ 2147483647 h 1734"/>
                <a:gd name="T18" fmla="*/ 2147483647 w 1329"/>
                <a:gd name="T19" fmla="*/ 2147483647 h 1734"/>
                <a:gd name="T20" fmla="*/ 2147483647 w 1329"/>
                <a:gd name="T21" fmla="*/ 2147483647 h 1734"/>
                <a:gd name="T22" fmla="*/ 2147483647 w 1329"/>
                <a:gd name="T23" fmla="*/ 2147483647 h 1734"/>
                <a:gd name="T24" fmla="*/ 2147483647 w 1329"/>
                <a:gd name="T25" fmla="*/ 2147483647 h 1734"/>
                <a:gd name="T26" fmla="*/ 2147483647 w 1329"/>
                <a:gd name="T27" fmla="*/ 2147483647 h 1734"/>
                <a:gd name="T28" fmla="*/ 2147483647 w 1329"/>
                <a:gd name="T29" fmla="*/ 2147483647 h 1734"/>
                <a:gd name="T30" fmla="*/ 2147483647 w 1329"/>
                <a:gd name="T31" fmla="*/ 2147483647 h 1734"/>
                <a:gd name="T32" fmla="*/ 2147483647 w 1329"/>
                <a:gd name="T33" fmla="*/ 2147483647 h 1734"/>
                <a:gd name="T34" fmla="*/ 2147483647 w 1329"/>
                <a:gd name="T35" fmla="*/ 2147483647 h 1734"/>
                <a:gd name="T36" fmla="*/ 2147483647 w 1329"/>
                <a:gd name="T37" fmla="*/ 2147483647 h 1734"/>
                <a:gd name="T38" fmla="*/ 2147483647 w 1329"/>
                <a:gd name="T39" fmla="*/ 2147483647 h 1734"/>
                <a:gd name="T40" fmla="*/ 2147483647 w 1329"/>
                <a:gd name="T41" fmla="*/ 2147483647 h 1734"/>
                <a:gd name="T42" fmla="*/ 2147483647 w 1329"/>
                <a:gd name="T43" fmla="*/ 2147483647 h 1734"/>
                <a:gd name="T44" fmla="*/ 2147483647 w 1329"/>
                <a:gd name="T45" fmla="*/ 2147483647 h 1734"/>
                <a:gd name="T46" fmla="*/ 2147483647 w 1329"/>
                <a:gd name="T47" fmla="*/ 2147483647 h 1734"/>
                <a:gd name="T48" fmla="*/ 2147483647 w 1329"/>
                <a:gd name="T49" fmla="*/ 2147483647 h 1734"/>
                <a:gd name="T50" fmla="*/ 2147483647 w 1329"/>
                <a:gd name="T51" fmla="*/ 2147483647 h 1734"/>
                <a:gd name="T52" fmla="*/ 2147483647 w 1329"/>
                <a:gd name="T53" fmla="*/ 2147483647 h 1734"/>
                <a:gd name="T54" fmla="*/ 2147483647 w 1329"/>
                <a:gd name="T55" fmla="*/ 2147483647 h 1734"/>
                <a:gd name="T56" fmla="*/ 2147483647 w 1329"/>
                <a:gd name="T57" fmla="*/ 2147483647 h 1734"/>
                <a:gd name="T58" fmla="*/ 2147483647 w 1329"/>
                <a:gd name="T59" fmla="*/ 2147483647 h 1734"/>
                <a:gd name="T60" fmla="*/ 2147483647 w 1329"/>
                <a:gd name="T61" fmla="*/ 2147483647 h 1734"/>
                <a:gd name="T62" fmla="*/ 2147483647 w 1329"/>
                <a:gd name="T63" fmla="*/ 2147483647 h 1734"/>
                <a:gd name="T64" fmla="*/ 2147483647 w 1329"/>
                <a:gd name="T65" fmla="*/ 2147483647 h 1734"/>
                <a:gd name="T66" fmla="*/ 2147483647 w 1329"/>
                <a:gd name="T67" fmla="*/ 2147483647 h 1734"/>
                <a:gd name="T68" fmla="*/ 2147483647 w 1329"/>
                <a:gd name="T69" fmla="*/ 2147483647 h 1734"/>
                <a:gd name="T70" fmla="*/ 2147483647 w 1329"/>
                <a:gd name="T71" fmla="*/ 2147483647 h 1734"/>
                <a:gd name="T72" fmla="*/ 2147483647 w 1329"/>
                <a:gd name="T73" fmla="*/ 2147483647 h 1734"/>
                <a:gd name="T74" fmla="*/ 2147483647 w 1329"/>
                <a:gd name="T75" fmla="*/ 2147483647 h 1734"/>
                <a:gd name="T76" fmla="*/ 2147483647 w 1329"/>
                <a:gd name="T77" fmla="*/ 2147483647 h 1734"/>
                <a:gd name="T78" fmla="*/ 2147483647 w 1329"/>
                <a:gd name="T79" fmla="*/ 2147483647 h 1734"/>
                <a:gd name="T80" fmla="*/ 2147483647 w 1329"/>
                <a:gd name="T81" fmla="*/ 2147483647 h 1734"/>
                <a:gd name="T82" fmla="*/ 2147483647 w 1329"/>
                <a:gd name="T83" fmla="*/ 2147483647 h 1734"/>
                <a:gd name="T84" fmla="*/ 2147483647 w 1329"/>
                <a:gd name="T85" fmla="*/ 2147483647 h 1734"/>
                <a:gd name="T86" fmla="*/ 2147483647 w 1329"/>
                <a:gd name="T87" fmla="*/ 2147483647 h 1734"/>
                <a:gd name="T88" fmla="*/ 2147483647 w 1329"/>
                <a:gd name="T89" fmla="*/ 2147483647 h 1734"/>
                <a:gd name="T90" fmla="*/ 2147483647 w 1329"/>
                <a:gd name="T91" fmla="*/ 2147483647 h 1734"/>
                <a:gd name="T92" fmla="*/ 2147483647 w 1329"/>
                <a:gd name="T93" fmla="*/ 2147483647 h 1734"/>
                <a:gd name="T94" fmla="*/ 2147483647 w 1329"/>
                <a:gd name="T95" fmla="*/ 2147483647 h 1734"/>
                <a:gd name="T96" fmla="*/ 2147483647 w 1329"/>
                <a:gd name="T97" fmla="*/ 2147483647 h 1734"/>
                <a:gd name="T98" fmla="*/ 2147483647 w 1329"/>
                <a:gd name="T99" fmla="*/ 2147483647 h 1734"/>
                <a:gd name="T100" fmla="*/ 2147483647 w 1329"/>
                <a:gd name="T101" fmla="*/ 2147483647 h 1734"/>
                <a:gd name="T102" fmla="*/ 2147483647 w 1329"/>
                <a:gd name="T103" fmla="*/ 2147483647 h 1734"/>
                <a:gd name="T104" fmla="*/ 2147483647 w 1329"/>
                <a:gd name="T105" fmla="*/ 2147483647 h 1734"/>
                <a:gd name="T106" fmla="*/ 2147483647 w 1329"/>
                <a:gd name="T107" fmla="*/ 2147483647 h 1734"/>
                <a:gd name="T108" fmla="*/ 2147483647 w 1329"/>
                <a:gd name="T109" fmla="*/ 2147483647 h 173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29"/>
                <a:gd name="T166" fmla="*/ 0 h 1734"/>
                <a:gd name="T167" fmla="*/ 1329 w 1329"/>
                <a:gd name="T168" fmla="*/ 1734 h 173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29" h="1734">
                  <a:moveTo>
                    <a:pt x="227" y="1696"/>
                  </a:moveTo>
                  <a:lnTo>
                    <a:pt x="280" y="1718"/>
                  </a:lnTo>
                  <a:lnTo>
                    <a:pt x="316" y="1712"/>
                  </a:lnTo>
                  <a:lnTo>
                    <a:pt x="292" y="1678"/>
                  </a:lnTo>
                  <a:lnTo>
                    <a:pt x="291" y="1661"/>
                  </a:lnTo>
                  <a:lnTo>
                    <a:pt x="312" y="1685"/>
                  </a:lnTo>
                  <a:lnTo>
                    <a:pt x="326" y="1672"/>
                  </a:lnTo>
                  <a:lnTo>
                    <a:pt x="326" y="1647"/>
                  </a:lnTo>
                  <a:lnTo>
                    <a:pt x="360" y="1687"/>
                  </a:lnTo>
                  <a:lnTo>
                    <a:pt x="371" y="1680"/>
                  </a:lnTo>
                  <a:lnTo>
                    <a:pt x="372" y="1661"/>
                  </a:lnTo>
                  <a:lnTo>
                    <a:pt x="381" y="1685"/>
                  </a:lnTo>
                  <a:lnTo>
                    <a:pt x="394" y="1695"/>
                  </a:lnTo>
                  <a:lnTo>
                    <a:pt x="415" y="1688"/>
                  </a:lnTo>
                  <a:lnTo>
                    <a:pt x="420" y="1669"/>
                  </a:lnTo>
                  <a:lnTo>
                    <a:pt x="403" y="1638"/>
                  </a:lnTo>
                  <a:lnTo>
                    <a:pt x="424" y="1648"/>
                  </a:lnTo>
                  <a:lnTo>
                    <a:pt x="431" y="1675"/>
                  </a:lnTo>
                  <a:lnTo>
                    <a:pt x="468" y="1674"/>
                  </a:lnTo>
                  <a:lnTo>
                    <a:pt x="475" y="1697"/>
                  </a:lnTo>
                  <a:lnTo>
                    <a:pt x="466" y="1724"/>
                  </a:lnTo>
                  <a:lnTo>
                    <a:pt x="470" y="1734"/>
                  </a:lnTo>
                  <a:lnTo>
                    <a:pt x="527" y="1710"/>
                  </a:lnTo>
                  <a:lnTo>
                    <a:pt x="558" y="1661"/>
                  </a:lnTo>
                  <a:lnTo>
                    <a:pt x="562" y="1684"/>
                  </a:lnTo>
                  <a:lnTo>
                    <a:pt x="598" y="1654"/>
                  </a:lnTo>
                  <a:lnTo>
                    <a:pt x="603" y="1621"/>
                  </a:lnTo>
                  <a:lnTo>
                    <a:pt x="593" y="1583"/>
                  </a:lnTo>
                  <a:lnTo>
                    <a:pt x="562" y="1611"/>
                  </a:lnTo>
                  <a:lnTo>
                    <a:pt x="538" y="1587"/>
                  </a:lnTo>
                  <a:lnTo>
                    <a:pt x="545" y="1578"/>
                  </a:lnTo>
                  <a:lnTo>
                    <a:pt x="558" y="1562"/>
                  </a:lnTo>
                  <a:lnTo>
                    <a:pt x="539" y="1540"/>
                  </a:lnTo>
                  <a:lnTo>
                    <a:pt x="503" y="1565"/>
                  </a:lnTo>
                  <a:lnTo>
                    <a:pt x="499" y="1565"/>
                  </a:lnTo>
                  <a:lnTo>
                    <a:pt x="508" y="1540"/>
                  </a:lnTo>
                  <a:lnTo>
                    <a:pt x="474" y="1534"/>
                  </a:lnTo>
                  <a:lnTo>
                    <a:pt x="436" y="1564"/>
                  </a:lnTo>
                  <a:lnTo>
                    <a:pt x="426" y="1530"/>
                  </a:lnTo>
                  <a:lnTo>
                    <a:pt x="462" y="1523"/>
                  </a:lnTo>
                  <a:lnTo>
                    <a:pt x="448" y="1509"/>
                  </a:lnTo>
                  <a:lnTo>
                    <a:pt x="445" y="1489"/>
                  </a:lnTo>
                  <a:lnTo>
                    <a:pt x="492" y="1528"/>
                  </a:lnTo>
                  <a:lnTo>
                    <a:pt x="590" y="1513"/>
                  </a:lnTo>
                  <a:lnTo>
                    <a:pt x="601" y="1471"/>
                  </a:lnTo>
                  <a:lnTo>
                    <a:pt x="615" y="1461"/>
                  </a:lnTo>
                  <a:lnTo>
                    <a:pt x="600" y="1446"/>
                  </a:lnTo>
                  <a:lnTo>
                    <a:pt x="601" y="1431"/>
                  </a:lnTo>
                  <a:lnTo>
                    <a:pt x="591" y="1414"/>
                  </a:lnTo>
                  <a:lnTo>
                    <a:pt x="590" y="1388"/>
                  </a:lnTo>
                  <a:lnTo>
                    <a:pt x="687" y="1392"/>
                  </a:lnTo>
                  <a:lnTo>
                    <a:pt x="704" y="1357"/>
                  </a:lnTo>
                  <a:lnTo>
                    <a:pt x="701" y="1344"/>
                  </a:lnTo>
                  <a:lnTo>
                    <a:pt x="728" y="1307"/>
                  </a:lnTo>
                  <a:lnTo>
                    <a:pt x="671" y="1274"/>
                  </a:lnTo>
                  <a:lnTo>
                    <a:pt x="745" y="1251"/>
                  </a:lnTo>
                  <a:lnTo>
                    <a:pt x="740" y="1245"/>
                  </a:lnTo>
                  <a:lnTo>
                    <a:pt x="740" y="1200"/>
                  </a:lnTo>
                  <a:lnTo>
                    <a:pt x="731" y="1191"/>
                  </a:lnTo>
                  <a:lnTo>
                    <a:pt x="677" y="1188"/>
                  </a:lnTo>
                  <a:lnTo>
                    <a:pt x="695" y="1171"/>
                  </a:lnTo>
                  <a:lnTo>
                    <a:pt x="690" y="1160"/>
                  </a:lnTo>
                  <a:lnTo>
                    <a:pt x="610" y="1180"/>
                  </a:lnTo>
                  <a:lnTo>
                    <a:pt x="619" y="1158"/>
                  </a:lnTo>
                  <a:lnTo>
                    <a:pt x="608" y="1150"/>
                  </a:lnTo>
                  <a:lnTo>
                    <a:pt x="608" y="1125"/>
                  </a:lnTo>
                  <a:lnTo>
                    <a:pt x="676" y="1117"/>
                  </a:lnTo>
                  <a:lnTo>
                    <a:pt x="697" y="1148"/>
                  </a:lnTo>
                  <a:lnTo>
                    <a:pt x="745" y="1158"/>
                  </a:lnTo>
                  <a:lnTo>
                    <a:pt x="751" y="1137"/>
                  </a:lnTo>
                  <a:lnTo>
                    <a:pt x="741" y="1122"/>
                  </a:lnTo>
                  <a:lnTo>
                    <a:pt x="750" y="1109"/>
                  </a:lnTo>
                  <a:lnTo>
                    <a:pt x="629" y="1100"/>
                  </a:lnTo>
                  <a:lnTo>
                    <a:pt x="638" y="1088"/>
                  </a:lnTo>
                  <a:lnTo>
                    <a:pt x="629" y="1064"/>
                  </a:lnTo>
                  <a:lnTo>
                    <a:pt x="635" y="1062"/>
                  </a:lnTo>
                  <a:lnTo>
                    <a:pt x="641" y="1044"/>
                  </a:lnTo>
                  <a:lnTo>
                    <a:pt x="725" y="1074"/>
                  </a:lnTo>
                  <a:lnTo>
                    <a:pt x="730" y="1068"/>
                  </a:lnTo>
                  <a:lnTo>
                    <a:pt x="728" y="1054"/>
                  </a:lnTo>
                  <a:lnTo>
                    <a:pt x="790" y="1044"/>
                  </a:lnTo>
                  <a:lnTo>
                    <a:pt x="793" y="1031"/>
                  </a:lnTo>
                  <a:lnTo>
                    <a:pt x="786" y="994"/>
                  </a:lnTo>
                  <a:lnTo>
                    <a:pt x="796" y="983"/>
                  </a:lnTo>
                  <a:lnTo>
                    <a:pt x="796" y="1003"/>
                  </a:lnTo>
                  <a:lnTo>
                    <a:pt x="808" y="1010"/>
                  </a:lnTo>
                  <a:lnTo>
                    <a:pt x="856" y="1007"/>
                  </a:lnTo>
                  <a:lnTo>
                    <a:pt x="889" y="969"/>
                  </a:lnTo>
                  <a:lnTo>
                    <a:pt x="871" y="957"/>
                  </a:lnTo>
                  <a:lnTo>
                    <a:pt x="911" y="911"/>
                  </a:lnTo>
                  <a:lnTo>
                    <a:pt x="832" y="922"/>
                  </a:lnTo>
                  <a:lnTo>
                    <a:pt x="845" y="902"/>
                  </a:lnTo>
                  <a:lnTo>
                    <a:pt x="931" y="887"/>
                  </a:lnTo>
                  <a:lnTo>
                    <a:pt x="911" y="842"/>
                  </a:lnTo>
                  <a:lnTo>
                    <a:pt x="918" y="817"/>
                  </a:lnTo>
                  <a:lnTo>
                    <a:pt x="922" y="850"/>
                  </a:lnTo>
                  <a:lnTo>
                    <a:pt x="958" y="837"/>
                  </a:lnTo>
                  <a:lnTo>
                    <a:pt x="976" y="782"/>
                  </a:lnTo>
                  <a:lnTo>
                    <a:pt x="1006" y="741"/>
                  </a:lnTo>
                  <a:lnTo>
                    <a:pt x="1181" y="542"/>
                  </a:lnTo>
                  <a:lnTo>
                    <a:pt x="1182" y="510"/>
                  </a:lnTo>
                  <a:lnTo>
                    <a:pt x="1134" y="524"/>
                  </a:lnTo>
                  <a:lnTo>
                    <a:pt x="935" y="647"/>
                  </a:lnTo>
                  <a:lnTo>
                    <a:pt x="941" y="629"/>
                  </a:lnTo>
                  <a:lnTo>
                    <a:pt x="937" y="622"/>
                  </a:lnTo>
                  <a:lnTo>
                    <a:pt x="1076" y="519"/>
                  </a:lnTo>
                  <a:lnTo>
                    <a:pt x="986" y="526"/>
                  </a:lnTo>
                  <a:lnTo>
                    <a:pt x="986" y="505"/>
                  </a:lnTo>
                  <a:lnTo>
                    <a:pt x="1003" y="504"/>
                  </a:lnTo>
                  <a:lnTo>
                    <a:pt x="1012" y="502"/>
                  </a:lnTo>
                  <a:lnTo>
                    <a:pt x="1204" y="447"/>
                  </a:lnTo>
                  <a:lnTo>
                    <a:pt x="1324" y="305"/>
                  </a:lnTo>
                  <a:lnTo>
                    <a:pt x="1329" y="260"/>
                  </a:lnTo>
                  <a:lnTo>
                    <a:pt x="1319" y="233"/>
                  </a:lnTo>
                  <a:lnTo>
                    <a:pt x="1277" y="208"/>
                  </a:lnTo>
                  <a:lnTo>
                    <a:pt x="1234" y="237"/>
                  </a:lnTo>
                  <a:lnTo>
                    <a:pt x="1248" y="189"/>
                  </a:lnTo>
                  <a:lnTo>
                    <a:pt x="1208" y="131"/>
                  </a:lnTo>
                  <a:lnTo>
                    <a:pt x="1217" y="122"/>
                  </a:lnTo>
                  <a:lnTo>
                    <a:pt x="1215" y="89"/>
                  </a:lnTo>
                  <a:lnTo>
                    <a:pt x="1180" y="114"/>
                  </a:lnTo>
                  <a:lnTo>
                    <a:pt x="1162" y="68"/>
                  </a:lnTo>
                  <a:lnTo>
                    <a:pt x="1134" y="106"/>
                  </a:lnTo>
                  <a:lnTo>
                    <a:pt x="1143" y="122"/>
                  </a:lnTo>
                  <a:lnTo>
                    <a:pt x="1139" y="131"/>
                  </a:lnTo>
                  <a:lnTo>
                    <a:pt x="1118" y="91"/>
                  </a:lnTo>
                  <a:lnTo>
                    <a:pt x="988" y="174"/>
                  </a:lnTo>
                  <a:lnTo>
                    <a:pt x="1087" y="56"/>
                  </a:lnTo>
                  <a:lnTo>
                    <a:pt x="964" y="54"/>
                  </a:lnTo>
                  <a:lnTo>
                    <a:pt x="920" y="0"/>
                  </a:lnTo>
                  <a:lnTo>
                    <a:pt x="853" y="41"/>
                  </a:lnTo>
                  <a:lnTo>
                    <a:pt x="822" y="1"/>
                  </a:lnTo>
                  <a:lnTo>
                    <a:pt x="788" y="8"/>
                  </a:lnTo>
                  <a:lnTo>
                    <a:pt x="761" y="63"/>
                  </a:lnTo>
                  <a:lnTo>
                    <a:pt x="785" y="127"/>
                  </a:lnTo>
                  <a:lnTo>
                    <a:pt x="725" y="34"/>
                  </a:lnTo>
                  <a:lnTo>
                    <a:pt x="593" y="38"/>
                  </a:lnTo>
                  <a:lnTo>
                    <a:pt x="690" y="193"/>
                  </a:lnTo>
                  <a:lnTo>
                    <a:pt x="657" y="237"/>
                  </a:lnTo>
                  <a:lnTo>
                    <a:pt x="663" y="202"/>
                  </a:lnTo>
                  <a:lnTo>
                    <a:pt x="659" y="181"/>
                  </a:lnTo>
                  <a:lnTo>
                    <a:pt x="607" y="86"/>
                  </a:lnTo>
                  <a:lnTo>
                    <a:pt x="482" y="58"/>
                  </a:lnTo>
                  <a:lnTo>
                    <a:pt x="466" y="82"/>
                  </a:lnTo>
                  <a:lnTo>
                    <a:pt x="508" y="148"/>
                  </a:lnTo>
                  <a:lnTo>
                    <a:pt x="417" y="120"/>
                  </a:lnTo>
                  <a:lnTo>
                    <a:pt x="464" y="218"/>
                  </a:lnTo>
                  <a:lnTo>
                    <a:pt x="388" y="168"/>
                  </a:lnTo>
                  <a:lnTo>
                    <a:pt x="377" y="194"/>
                  </a:lnTo>
                  <a:lnTo>
                    <a:pt x="411" y="219"/>
                  </a:lnTo>
                  <a:lnTo>
                    <a:pt x="365" y="241"/>
                  </a:lnTo>
                  <a:lnTo>
                    <a:pt x="371" y="274"/>
                  </a:lnTo>
                  <a:lnTo>
                    <a:pt x="457" y="335"/>
                  </a:lnTo>
                  <a:lnTo>
                    <a:pt x="450" y="356"/>
                  </a:lnTo>
                  <a:lnTo>
                    <a:pt x="371" y="289"/>
                  </a:lnTo>
                  <a:lnTo>
                    <a:pt x="352" y="301"/>
                  </a:lnTo>
                  <a:lnTo>
                    <a:pt x="380" y="346"/>
                  </a:lnTo>
                  <a:lnTo>
                    <a:pt x="351" y="345"/>
                  </a:lnTo>
                  <a:lnTo>
                    <a:pt x="352" y="325"/>
                  </a:lnTo>
                  <a:lnTo>
                    <a:pt x="337" y="277"/>
                  </a:lnTo>
                  <a:lnTo>
                    <a:pt x="264" y="228"/>
                  </a:lnTo>
                  <a:lnTo>
                    <a:pt x="235" y="243"/>
                  </a:lnTo>
                  <a:lnTo>
                    <a:pt x="253" y="274"/>
                  </a:lnTo>
                  <a:lnTo>
                    <a:pt x="250" y="291"/>
                  </a:lnTo>
                  <a:lnTo>
                    <a:pt x="202" y="321"/>
                  </a:lnTo>
                  <a:lnTo>
                    <a:pt x="291" y="366"/>
                  </a:lnTo>
                  <a:lnTo>
                    <a:pt x="284" y="371"/>
                  </a:lnTo>
                  <a:lnTo>
                    <a:pt x="286" y="388"/>
                  </a:lnTo>
                  <a:lnTo>
                    <a:pt x="258" y="370"/>
                  </a:lnTo>
                  <a:lnTo>
                    <a:pt x="263" y="401"/>
                  </a:lnTo>
                  <a:lnTo>
                    <a:pt x="226" y="355"/>
                  </a:lnTo>
                  <a:lnTo>
                    <a:pt x="205" y="358"/>
                  </a:lnTo>
                  <a:lnTo>
                    <a:pt x="199" y="377"/>
                  </a:lnTo>
                  <a:lnTo>
                    <a:pt x="201" y="394"/>
                  </a:lnTo>
                  <a:lnTo>
                    <a:pt x="188" y="355"/>
                  </a:lnTo>
                  <a:lnTo>
                    <a:pt x="148" y="339"/>
                  </a:lnTo>
                  <a:lnTo>
                    <a:pt x="106" y="380"/>
                  </a:lnTo>
                  <a:lnTo>
                    <a:pt x="119" y="415"/>
                  </a:lnTo>
                  <a:lnTo>
                    <a:pt x="102" y="396"/>
                  </a:lnTo>
                  <a:lnTo>
                    <a:pt x="103" y="435"/>
                  </a:lnTo>
                  <a:lnTo>
                    <a:pt x="80" y="399"/>
                  </a:lnTo>
                  <a:lnTo>
                    <a:pt x="12" y="451"/>
                  </a:lnTo>
                  <a:lnTo>
                    <a:pt x="0" y="484"/>
                  </a:lnTo>
                  <a:lnTo>
                    <a:pt x="30" y="514"/>
                  </a:lnTo>
                  <a:lnTo>
                    <a:pt x="86" y="469"/>
                  </a:lnTo>
                  <a:lnTo>
                    <a:pt x="113" y="492"/>
                  </a:lnTo>
                  <a:lnTo>
                    <a:pt x="59" y="545"/>
                  </a:lnTo>
                  <a:lnTo>
                    <a:pt x="75" y="567"/>
                  </a:lnTo>
                  <a:lnTo>
                    <a:pt x="169" y="502"/>
                  </a:lnTo>
                  <a:lnTo>
                    <a:pt x="168" y="520"/>
                  </a:lnTo>
                  <a:lnTo>
                    <a:pt x="98" y="574"/>
                  </a:lnTo>
                  <a:lnTo>
                    <a:pt x="140" y="595"/>
                  </a:lnTo>
                  <a:lnTo>
                    <a:pt x="92" y="609"/>
                  </a:lnTo>
                  <a:lnTo>
                    <a:pt x="91" y="645"/>
                  </a:lnTo>
                  <a:lnTo>
                    <a:pt x="108" y="662"/>
                  </a:lnTo>
                  <a:lnTo>
                    <a:pt x="207" y="653"/>
                  </a:lnTo>
                  <a:lnTo>
                    <a:pt x="236" y="668"/>
                  </a:lnTo>
                  <a:lnTo>
                    <a:pt x="116" y="697"/>
                  </a:lnTo>
                  <a:lnTo>
                    <a:pt x="215" y="780"/>
                  </a:lnTo>
                  <a:lnTo>
                    <a:pt x="245" y="703"/>
                  </a:lnTo>
                  <a:lnTo>
                    <a:pt x="283" y="658"/>
                  </a:lnTo>
                  <a:lnTo>
                    <a:pt x="280" y="680"/>
                  </a:lnTo>
                  <a:lnTo>
                    <a:pt x="244" y="759"/>
                  </a:lnTo>
                  <a:lnTo>
                    <a:pt x="243" y="783"/>
                  </a:lnTo>
                  <a:lnTo>
                    <a:pt x="262" y="794"/>
                  </a:lnTo>
                  <a:lnTo>
                    <a:pt x="294" y="773"/>
                  </a:lnTo>
                  <a:lnTo>
                    <a:pt x="288" y="798"/>
                  </a:lnTo>
                  <a:lnTo>
                    <a:pt x="331" y="805"/>
                  </a:lnTo>
                  <a:lnTo>
                    <a:pt x="341" y="780"/>
                  </a:lnTo>
                  <a:lnTo>
                    <a:pt x="337" y="754"/>
                  </a:lnTo>
                  <a:lnTo>
                    <a:pt x="357" y="726"/>
                  </a:lnTo>
                  <a:lnTo>
                    <a:pt x="349" y="766"/>
                  </a:lnTo>
                  <a:lnTo>
                    <a:pt x="367" y="768"/>
                  </a:lnTo>
                  <a:lnTo>
                    <a:pt x="422" y="691"/>
                  </a:lnTo>
                  <a:lnTo>
                    <a:pt x="418" y="703"/>
                  </a:lnTo>
                  <a:lnTo>
                    <a:pt x="420" y="724"/>
                  </a:lnTo>
                  <a:lnTo>
                    <a:pt x="433" y="720"/>
                  </a:lnTo>
                  <a:lnTo>
                    <a:pt x="363" y="781"/>
                  </a:lnTo>
                  <a:lnTo>
                    <a:pt x="375" y="807"/>
                  </a:lnTo>
                  <a:lnTo>
                    <a:pt x="516" y="716"/>
                  </a:lnTo>
                  <a:lnTo>
                    <a:pt x="530" y="684"/>
                  </a:lnTo>
                  <a:lnTo>
                    <a:pt x="522" y="678"/>
                  </a:lnTo>
                  <a:lnTo>
                    <a:pt x="529" y="646"/>
                  </a:lnTo>
                  <a:lnTo>
                    <a:pt x="511" y="613"/>
                  </a:lnTo>
                  <a:lnTo>
                    <a:pt x="538" y="640"/>
                  </a:lnTo>
                  <a:lnTo>
                    <a:pt x="564" y="581"/>
                  </a:lnTo>
                  <a:lnTo>
                    <a:pt x="616" y="529"/>
                  </a:lnTo>
                  <a:lnTo>
                    <a:pt x="559" y="615"/>
                  </a:lnTo>
                  <a:lnTo>
                    <a:pt x="538" y="673"/>
                  </a:lnTo>
                  <a:lnTo>
                    <a:pt x="540" y="699"/>
                  </a:lnTo>
                  <a:lnTo>
                    <a:pt x="664" y="696"/>
                  </a:lnTo>
                  <a:lnTo>
                    <a:pt x="667" y="717"/>
                  </a:lnTo>
                  <a:lnTo>
                    <a:pt x="595" y="714"/>
                  </a:lnTo>
                  <a:lnTo>
                    <a:pt x="509" y="761"/>
                  </a:lnTo>
                  <a:lnTo>
                    <a:pt x="370" y="842"/>
                  </a:lnTo>
                  <a:lnTo>
                    <a:pt x="410" y="923"/>
                  </a:lnTo>
                  <a:lnTo>
                    <a:pt x="447" y="944"/>
                  </a:lnTo>
                  <a:lnTo>
                    <a:pt x="437" y="954"/>
                  </a:lnTo>
                  <a:lnTo>
                    <a:pt x="448" y="1002"/>
                  </a:lnTo>
                  <a:lnTo>
                    <a:pt x="514" y="1006"/>
                  </a:lnTo>
                  <a:lnTo>
                    <a:pt x="478" y="1042"/>
                  </a:lnTo>
                  <a:lnTo>
                    <a:pt x="434" y="1030"/>
                  </a:lnTo>
                  <a:lnTo>
                    <a:pt x="419" y="975"/>
                  </a:lnTo>
                  <a:lnTo>
                    <a:pt x="337" y="862"/>
                  </a:lnTo>
                  <a:lnTo>
                    <a:pt x="243" y="840"/>
                  </a:lnTo>
                  <a:lnTo>
                    <a:pt x="233" y="854"/>
                  </a:lnTo>
                  <a:lnTo>
                    <a:pt x="228" y="892"/>
                  </a:lnTo>
                  <a:lnTo>
                    <a:pt x="231" y="917"/>
                  </a:lnTo>
                  <a:lnTo>
                    <a:pt x="238" y="928"/>
                  </a:lnTo>
                  <a:lnTo>
                    <a:pt x="234" y="931"/>
                  </a:lnTo>
                  <a:lnTo>
                    <a:pt x="234" y="966"/>
                  </a:lnTo>
                  <a:lnTo>
                    <a:pt x="292" y="1008"/>
                  </a:lnTo>
                  <a:lnTo>
                    <a:pt x="320" y="1064"/>
                  </a:lnTo>
                  <a:lnTo>
                    <a:pt x="329" y="1120"/>
                  </a:lnTo>
                  <a:lnTo>
                    <a:pt x="345" y="1109"/>
                  </a:lnTo>
                  <a:lnTo>
                    <a:pt x="339" y="1125"/>
                  </a:lnTo>
                  <a:lnTo>
                    <a:pt x="317" y="1133"/>
                  </a:lnTo>
                  <a:lnTo>
                    <a:pt x="307" y="1146"/>
                  </a:lnTo>
                  <a:lnTo>
                    <a:pt x="310" y="1158"/>
                  </a:lnTo>
                  <a:lnTo>
                    <a:pt x="397" y="1192"/>
                  </a:lnTo>
                  <a:lnTo>
                    <a:pt x="449" y="1170"/>
                  </a:lnTo>
                  <a:lnTo>
                    <a:pt x="432" y="1210"/>
                  </a:lnTo>
                  <a:lnTo>
                    <a:pt x="419" y="1231"/>
                  </a:lnTo>
                  <a:lnTo>
                    <a:pt x="406" y="1236"/>
                  </a:lnTo>
                  <a:lnTo>
                    <a:pt x="414" y="1263"/>
                  </a:lnTo>
                  <a:lnTo>
                    <a:pt x="347" y="1198"/>
                  </a:lnTo>
                  <a:lnTo>
                    <a:pt x="292" y="1181"/>
                  </a:lnTo>
                  <a:lnTo>
                    <a:pt x="221" y="1213"/>
                  </a:lnTo>
                  <a:lnTo>
                    <a:pt x="209" y="1255"/>
                  </a:lnTo>
                  <a:lnTo>
                    <a:pt x="217" y="1258"/>
                  </a:lnTo>
                  <a:lnTo>
                    <a:pt x="186" y="1293"/>
                  </a:lnTo>
                  <a:lnTo>
                    <a:pt x="192" y="1336"/>
                  </a:lnTo>
                  <a:lnTo>
                    <a:pt x="193" y="1354"/>
                  </a:lnTo>
                  <a:lnTo>
                    <a:pt x="235" y="1349"/>
                  </a:lnTo>
                  <a:lnTo>
                    <a:pt x="263" y="1302"/>
                  </a:lnTo>
                  <a:lnTo>
                    <a:pt x="246" y="1346"/>
                  </a:lnTo>
                  <a:lnTo>
                    <a:pt x="249" y="1361"/>
                  </a:lnTo>
                  <a:lnTo>
                    <a:pt x="279" y="1359"/>
                  </a:lnTo>
                  <a:lnTo>
                    <a:pt x="295" y="1331"/>
                  </a:lnTo>
                  <a:lnTo>
                    <a:pt x="315" y="1254"/>
                  </a:lnTo>
                  <a:lnTo>
                    <a:pt x="307" y="1300"/>
                  </a:lnTo>
                  <a:lnTo>
                    <a:pt x="317" y="1303"/>
                  </a:lnTo>
                  <a:lnTo>
                    <a:pt x="304" y="1337"/>
                  </a:lnTo>
                  <a:lnTo>
                    <a:pt x="299" y="1350"/>
                  </a:lnTo>
                  <a:lnTo>
                    <a:pt x="292" y="1368"/>
                  </a:lnTo>
                  <a:lnTo>
                    <a:pt x="302" y="1373"/>
                  </a:lnTo>
                  <a:lnTo>
                    <a:pt x="265" y="1394"/>
                  </a:lnTo>
                  <a:lnTo>
                    <a:pt x="279" y="1414"/>
                  </a:lnTo>
                  <a:lnTo>
                    <a:pt x="294" y="1414"/>
                  </a:lnTo>
                  <a:lnTo>
                    <a:pt x="285" y="1436"/>
                  </a:lnTo>
                  <a:lnTo>
                    <a:pt x="301" y="1456"/>
                  </a:lnTo>
                  <a:lnTo>
                    <a:pt x="312" y="1428"/>
                  </a:lnTo>
                  <a:lnTo>
                    <a:pt x="307" y="1472"/>
                  </a:lnTo>
                  <a:lnTo>
                    <a:pt x="362" y="1469"/>
                  </a:lnTo>
                  <a:lnTo>
                    <a:pt x="397" y="1374"/>
                  </a:lnTo>
                  <a:lnTo>
                    <a:pt x="412" y="1370"/>
                  </a:lnTo>
                  <a:lnTo>
                    <a:pt x="383" y="1446"/>
                  </a:lnTo>
                  <a:lnTo>
                    <a:pt x="355" y="1485"/>
                  </a:lnTo>
                  <a:lnTo>
                    <a:pt x="364" y="1501"/>
                  </a:lnTo>
                  <a:lnTo>
                    <a:pt x="319" y="1497"/>
                  </a:lnTo>
                  <a:lnTo>
                    <a:pt x="323" y="1516"/>
                  </a:lnTo>
                  <a:lnTo>
                    <a:pt x="268" y="1491"/>
                  </a:lnTo>
                  <a:lnTo>
                    <a:pt x="263" y="1462"/>
                  </a:lnTo>
                  <a:lnTo>
                    <a:pt x="234" y="1410"/>
                  </a:lnTo>
                  <a:lnTo>
                    <a:pt x="156" y="1421"/>
                  </a:lnTo>
                  <a:lnTo>
                    <a:pt x="157" y="1454"/>
                  </a:lnTo>
                  <a:lnTo>
                    <a:pt x="179" y="1482"/>
                  </a:lnTo>
                  <a:lnTo>
                    <a:pt x="182" y="1510"/>
                  </a:lnTo>
                  <a:lnTo>
                    <a:pt x="215" y="1508"/>
                  </a:lnTo>
                  <a:lnTo>
                    <a:pt x="201" y="1523"/>
                  </a:lnTo>
                  <a:lnTo>
                    <a:pt x="211" y="1527"/>
                  </a:lnTo>
                  <a:lnTo>
                    <a:pt x="202" y="1541"/>
                  </a:lnTo>
                  <a:lnTo>
                    <a:pt x="146" y="1572"/>
                  </a:lnTo>
                  <a:lnTo>
                    <a:pt x="104" y="1621"/>
                  </a:lnTo>
                  <a:lnTo>
                    <a:pt x="101" y="1660"/>
                  </a:lnTo>
                  <a:lnTo>
                    <a:pt x="116" y="1685"/>
                  </a:lnTo>
                  <a:lnTo>
                    <a:pt x="134" y="1660"/>
                  </a:lnTo>
                  <a:lnTo>
                    <a:pt x="138" y="1682"/>
                  </a:lnTo>
                  <a:lnTo>
                    <a:pt x="144" y="1663"/>
                  </a:lnTo>
                  <a:lnTo>
                    <a:pt x="138" y="1626"/>
                  </a:lnTo>
                  <a:lnTo>
                    <a:pt x="143" y="1615"/>
                  </a:lnTo>
                  <a:lnTo>
                    <a:pt x="148" y="1687"/>
                  </a:lnTo>
                  <a:lnTo>
                    <a:pt x="167" y="1699"/>
                  </a:lnTo>
                  <a:lnTo>
                    <a:pt x="179" y="1694"/>
                  </a:lnTo>
                  <a:lnTo>
                    <a:pt x="181" y="1662"/>
                  </a:lnTo>
                  <a:lnTo>
                    <a:pt x="213" y="1698"/>
                  </a:lnTo>
                  <a:lnTo>
                    <a:pt x="225" y="1673"/>
                  </a:lnTo>
                  <a:lnTo>
                    <a:pt x="226" y="1654"/>
                  </a:lnTo>
                  <a:lnTo>
                    <a:pt x="230" y="1675"/>
                  </a:lnTo>
                  <a:lnTo>
                    <a:pt x="227" y="1696"/>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4" name="Freeform 1200"/>
            <p:cNvSpPr>
              <a:spLocks/>
            </p:cNvSpPr>
            <p:nvPr/>
          </p:nvSpPr>
          <p:spPr bwMode="auto">
            <a:xfrm>
              <a:off x="3780931" y="2479885"/>
              <a:ext cx="98900" cy="61135"/>
            </a:xfrm>
            <a:custGeom>
              <a:avLst/>
              <a:gdLst>
                <a:gd name="T0" fmla="*/ 2147483647 w 208"/>
                <a:gd name="T1" fmla="*/ 2147483647 h 149"/>
                <a:gd name="T2" fmla="*/ 2147483647 w 208"/>
                <a:gd name="T3" fmla="*/ 2147483647 h 149"/>
                <a:gd name="T4" fmla="*/ 2147483647 w 208"/>
                <a:gd name="T5" fmla="*/ 2147483647 h 149"/>
                <a:gd name="T6" fmla="*/ 2147483647 w 208"/>
                <a:gd name="T7" fmla="*/ 2147483647 h 149"/>
                <a:gd name="T8" fmla="*/ 2147483647 w 208"/>
                <a:gd name="T9" fmla="*/ 2147483647 h 149"/>
                <a:gd name="T10" fmla="*/ 2147483647 w 208"/>
                <a:gd name="T11" fmla="*/ 2147483647 h 149"/>
                <a:gd name="T12" fmla="*/ 2147483647 w 208"/>
                <a:gd name="T13" fmla="*/ 2147483647 h 149"/>
                <a:gd name="T14" fmla="*/ 2147483647 w 208"/>
                <a:gd name="T15" fmla="*/ 2147483647 h 149"/>
                <a:gd name="T16" fmla="*/ 2147483647 w 208"/>
                <a:gd name="T17" fmla="*/ 2147483647 h 149"/>
                <a:gd name="T18" fmla="*/ 0 w 208"/>
                <a:gd name="T19" fmla="*/ 2147483647 h 149"/>
                <a:gd name="T20" fmla="*/ 2147483647 w 208"/>
                <a:gd name="T21" fmla="*/ 2147483647 h 149"/>
                <a:gd name="T22" fmla="*/ 2147483647 w 208"/>
                <a:gd name="T23" fmla="*/ 0 h 149"/>
                <a:gd name="T24" fmla="*/ 2147483647 w 208"/>
                <a:gd name="T25" fmla="*/ 214748364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49"/>
                <a:gd name="T41" fmla="*/ 208 w 208"/>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49">
                  <a:moveTo>
                    <a:pt x="87" y="15"/>
                  </a:moveTo>
                  <a:lnTo>
                    <a:pt x="118" y="13"/>
                  </a:lnTo>
                  <a:lnTo>
                    <a:pt x="157" y="36"/>
                  </a:lnTo>
                  <a:lnTo>
                    <a:pt x="208" y="125"/>
                  </a:lnTo>
                  <a:lnTo>
                    <a:pt x="187" y="136"/>
                  </a:lnTo>
                  <a:lnTo>
                    <a:pt x="117" y="125"/>
                  </a:lnTo>
                  <a:lnTo>
                    <a:pt x="67" y="149"/>
                  </a:lnTo>
                  <a:lnTo>
                    <a:pt x="38" y="131"/>
                  </a:lnTo>
                  <a:lnTo>
                    <a:pt x="31" y="80"/>
                  </a:lnTo>
                  <a:lnTo>
                    <a:pt x="0" y="58"/>
                  </a:lnTo>
                  <a:lnTo>
                    <a:pt x="5" y="15"/>
                  </a:lnTo>
                  <a:lnTo>
                    <a:pt x="22" y="0"/>
                  </a:lnTo>
                  <a:lnTo>
                    <a:pt x="87" y="1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5" name="Freeform 1201"/>
            <p:cNvSpPr>
              <a:spLocks/>
            </p:cNvSpPr>
            <p:nvPr/>
          </p:nvSpPr>
          <p:spPr bwMode="auto">
            <a:xfrm>
              <a:off x="3722163" y="3013545"/>
              <a:ext cx="37267" cy="30568"/>
            </a:xfrm>
            <a:custGeom>
              <a:avLst/>
              <a:gdLst>
                <a:gd name="T0" fmla="*/ 2147483647 w 78"/>
                <a:gd name="T1" fmla="*/ 0 h 76"/>
                <a:gd name="T2" fmla="*/ 2147483647 w 78"/>
                <a:gd name="T3" fmla="*/ 2147483647 h 76"/>
                <a:gd name="T4" fmla="*/ 0 w 78"/>
                <a:gd name="T5" fmla="*/ 2147483647 h 76"/>
                <a:gd name="T6" fmla="*/ 2147483647 w 78"/>
                <a:gd name="T7" fmla="*/ 2147483647 h 76"/>
                <a:gd name="T8" fmla="*/ 2147483647 w 78"/>
                <a:gd name="T9" fmla="*/ 2147483647 h 76"/>
                <a:gd name="T10" fmla="*/ 2147483647 w 78"/>
                <a:gd name="T11" fmla="*/ 2147483647 h 76"/>
                <a:gd name="T12" fmla="*/ 2147483647 w 78"/>
                <a:gd name="T13" fmla="*/ 2147483647 h 76"/>
                <a:gd name="T14" fmla="*/ 2147483647 w 78"/>
                <a:gd name="T15" fmla="*/ 2147483647 h 76"/>
                <a:gd name="T16" fmla="*/ 2147483647 w 78"/>
                <a:gd name="T17" fmla="*/ 0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76"/>
                <a:gd name="T29" fmla="*/ 78 w 78"/>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76">
                  <a:moveTo>
                    <a:pt x="56" y="0"/>
                  </a:moveTo>
                  <a:lnTo>
                    <a:pt x="23" y="18"/>
                  </a:lnTo>
                  <a:lnTo>
                    <a:pt x="0" y="76"/>
                  </a:lnTo>
                  <a:lnTo>
                    <a:pt x="27" y="70"/>
                  </a:lnTo>
                  <a:lnTo>
                    <a:pt x="44" y="58"/>
                  </a:lnTo>
                  <a:lnTo>
                    <a:pt x="48" y="40"/>
                  </a:lnTo>
                  <a:lnTo>
                    <a:pt x="73" y="22"/>
                  </a:lnTo>
                  <a:lnTo>
                    <a:pt x="78" y="3"/>
                  </a:lnTo>
                  <a:lnTo>
                    <a:pt x="56"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6" name="Freeform 1202"/>
            <p:cNvSpPr>
              <a:spLocks/>
            </p:cNvSpPr>
            <p:nvPr/>
          </p:nvSpPr>
          <p:spPr bwMode="auto">
            <a:xfrm>
              <a:off x="3792397" y="3035196"/>
              <a:ext cx="20066" cy="31842"/>
            </a:xfrm>
            <a:custGeom>
              <a:avLst/>
              <a:gdLst>
                <a:gd name="T0" fmla="*/ 2147483647 w 42"/>
                <a:gd name="T1" fmla="*/ 0 h 75"/>
                <a:gd name="T2" fmla="*/ 2147483647 w 42"/>
                <a:gd name="T3" fmla="*/ 2147483647 h 75"/>
                <a:gd name="T4" fmla="*/ 0 w 42"/>
                <a:gd name="T5" fmla="*/ 2147483647 h 75"/>
                <a:gd name="T6" fmla="*/ 2147483647 w 42"/>
                <a:gd name="T7" fmla="*/ 2147483647 h 75"/>
                <a:gd name="T8" fmla="*/ 2147483647 w 42"/>
                <a:gd name="T9" fmla="*/ 2147483647 h 75"/>
                <a:gd name="T10" fmla="*/ 2147483647 w 42"/>
                <a:gd name="T11" fmla="*/ 0 h 75"/>
                <a:gd name="T12" fmla="*/ 0 60000 65536"/>
                <a:gd name="T13" fmla="*/ 0 60000 65536"/>
                <a:gd name="T14" fmla="*/ 0 60000 65536"/>
                <a:gd name="T15" fmla="*/ 0 60000 65536"/>
                <a:gd name="T16" fmla="*/ 0 60000 65536"/>
                <a:gd name="T17" fmla="*/ 0 60000 65536"/>
                <a:gd name="T18" fmla="*/ 0 w 42"/>
                <a:gd name="T19" fmla="*/ 0 h 75"/>
                <a:gd name="T20" fmla="*/ 42 w 42"/>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42" h="75">
                  <a:moveTo>
                    <a:pt x="13" y="0"/>
                  </a:moveTo>
                  <a:lnTo>
                    <a:pt x="4" y="10"/>
                  </a:lnTo>
                  <a:lnTo>
                    <a:pt x="0" y="54"/>
                  </a:lnTo>
                  <a:lnTo>
                    <a:pt x="21" y="75"/>
                  </a:lnTo>
                  <a:lnTo>
                    <a:pt x="42" y="8"/>
                  </a:lnTo>
                  <a:lnTo>
                    <a:pt x="13"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7" name="Freeform 1203"/>
            <p:cNvSpPr>
              <a:spLocks/>
            </p:cNvSpPr>
            <p:nvPr/>
          </p:nvSpPr>
          <p:spPr bwMode="auto">
            <a:xfrm>
              <a:off x="4037498" y="3101426"/>
              <a:ext cx="10034" cy="11463"/>
            </a:xfrm>
            <a:custGeom>
              <a:avLst/>
              <a:gdLst>
                <a:gd name="T0" fmla="*/ 2147483647 w 20"/>
                <a:gd name="T1" fmla="*/ 2147483647 h 27"/>
                <a:gd name="T2" fmla="*/ 0 w 20"/>
                <a:gd name="T3" fmla="*/ 2147483647 h 27"/>
                <a:gd name="T4" fmla="*/ 2147483647 w 20"/>
                <a:gd name="T5" fmla="*/ 2147483647 h 27"/>
                <a:gd name="T6" fmla="*/ 2147483647 w 20"/>
                <a:gd name="T7" fmla="*/ 0 h 27"/>
                <a:gd name="T8" fmla="*/ 2147483647 w 20"/>
                <a:gd name="T9" fmla="*/ 2147483647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2" y="10"/>
                  </a:moveTo>
                  <a:lnTo>
                    <a:pt x="0" y="27"/>
                  </a:lnTo>
                  <a:lnTo>
                    <a:pt x="20" y="11"/>
                  </a:lnTo>
                  <a:lnTo>
                    <a:pt x="18" y="0"/>
                  </a:lnTo>
                  <a:lnTo>
                    <a:pt x="2" y="1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8" name="Freeform 1204"/>
            <p:cNvSpPr>
              <a:spLocks/>
            </p:cNvSpPr>
            <p:nvPr/>
          </p:nvSpPr>
          <p:spPr bwMode="auto">
            <a:xfrm>
              <a:off x="4093399" y="3060669"/>
              <a:ext cx="17201" cy="12737"/>
            </a:xfrm>
            <a:custGeom>
              <a:avLst/>
              <a:gdLst>
                <a:gd name="T0" fmla="*/ 2147483647 w 35"/>
                <a:gd name="T1" fmla="*/ 0 h 29"/>
                <a:gd name="T2" fmla="*/ 2147483647 w 35"/>
                <a:gd name="T3" fmla="*/ 2147483647 h 29"/>
                <a:gd name="T4" fmla="*/ 2147483647 w 35"/>
                <a:gd name="T5" fmla="*/ 2147483647 h 29"/>
                <a:gd name="T6" fmla="*/ 0 w 35"/>
                <a:gd name="T7" fmla="*/ 2147483647 h 29"/>
                <a:gd name="T8" fmla="*/ 2147483647 w 35"/>
                <a:gd name="T9" fmla="*/ 2147483647 h 29"/>
                <a:gd name="T10" fmla="*/ 2147483647 w 35"/>
                <a:gd name="T11" fmla="*/ 0 h 29"/>
                <a:gd name="T12" fmla="*/ 0 60000 65536"/>
                <a:gd name="T13" fmla="*/ 0 60000 65536"/>
                <a:gd name="T14" fmla="*/ 0 60000 65536"/>
                <a:gd name="T15" fmla="*/ 0 60000 65536"/>
                <a:gd name="T16" fmla="*/ 0 60000 65536"/>
                <a:gd name="T17" fmla="*/ 0 60000 65536"/>
                <a:gd name="T18" fmla="*/ 0 w 35"/>
                <a:gd name="T19" fmla="*/ 0 h 29"/>
                <a:gd name="T20" fmla="*/ 35 w 3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5" h="29">
                  <a:moveTo>
                    <a:pt x="19" y="0"/>
                  </a:moveTo>
                  <a:lnTo>
                    <a:pt x="35" y="10"/>
                  </a:lnTo>
                  <a:lnTo>
                    <a:pt x="33" y="29"/>
                  </a:lnTo>
                  <a:lnTo>
                    <a:pt x="0" y="14"/>
                  </a:lnTo>
                  <a:lnTo>
                    <a:pt x="1" y="6"/>
                  </a:lnTo>
                  <a:lnTo>
                    <a:pt x="19"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19" name="Freeform 1205"/>
            <p:cNvSpPr>
              <a:spLocks/>
            </p:cNvSpPr>
            <p:nvPr/>
          </p:nvSpPr>
          <p:spPr bwMode="auto">
            <a:xfrm>
              <a:off x="3594596" y="2472243"/>
              <a:ext cx="581935" cy="582060"/>
            </a:xfrm>
            <a:custGeom>
              <a:avLst/>
              <a:gdLst>
                <a:gd name="T0" fmla="*/ 2147483647 w 1241"/>
                <a:gd name="T1" fmla="*/ 2147483647 h 1394"/>
                <a:gd name="T2" fmla="*/ 2147483647 w 1241"/>
                <a:gd name="T3" fmla="*/ 2147483647 h 1394"/>
                <a:gd name="T4" fmla="*/ 2147483647 w 1241"/>
                <a:gd name="T5" fmla="*/ 2147483647 h 1394"/>
                <a:gd name="T6" fmla="*/ 2147483647 w 1241"/>
                <a:gd name="T7" fmla="*/ 2147483647 h 1394"/>
                <a:gd name="T8" fmla="*/ 2147483647 w 1241"/>
                <a:gd name="T9" fmla="*/ 2147483647 h 1394"/>
                <a:gd name="T10" fmla="*/ 2147483647 w 1241"/>
                <a:gd name="T11" fmla="*/ 2147483647 h 1394"/>
                <a:gd name="T12" fmla="*/ 2147483647 w 1241"/>
                <a:gd name="T13" fmla="*/ 2147483647 h 1394"/>
                <a:gd name="T14" fmla="*/ 2147483647 w 1241"/>
                <a:gd name="T15" fmla="*/ 2147483647 h 1394"/>
                <a:gd name="T16" fmla="*/ 2147483647 w 1241"/>
                <a:gd name="T17" fmla="*/ 2147483647 h 1394"/>
                <a:gd name="T18" fmla="*/ 2147483647 w 1241"/>
                <a:gd name="T19" fmla="*/ 2147483647 h 1394"/>
                <a:gd name="T20" fmla="*/ 2147483647 w 1241"/>
                <a:gd name="T21" fmla="*/ 2147483647 h 1394"/>
                <a:gd name="T22" fmla="*/ 2147483647 w 1241"/>
                <a:gd name="T23" fmla="*/ 2147483647 h 1394"/>
                <a:gd name="T24" fmla="*/ 2147483647 w 1241"/>
                <a:gd name="T25" fmla="*/ 2147483647 h 1394"/>
                <a:gd name="T26" fmla="*/ 2147483647 w 1241"/>
                <a:gd name="T27" fmla="*/ 2147483647 h 1394"/>
                <a:gd name="T28" fmla="*/ 2147483647 w 1241"/>
                <a:gd name="T29" fmla="*/ 2147483647 h 1394"/>
                <a:gd name="T30" fmla="*/ 2147483647 w 1241"/>
                <a:gd name="T31" fmla="*/ 2147483647 h 1394"/>
                <a:gd name="T32" fmla="*/ 2147483647 w 1241"/>
                <a:gd name="T33" fmla="*/ 2147483647 h 1394"/>
                <a:gd name="T34" fmla="*/ 2147483647 w 1241"/>
                <a:gd name="T35" fmla="*/ 2147483647 h 1394"/>
                <a:gd name="T36" fmla="*/ 2147483647 w 1241"/>
                <a:gd name="T37" fmla="*/ 2147483647 h 1394"/>
                <a:gd name="T38" fmla="*/ 2147483647 w 1241"/>
                <a:gd name="T39" fmla="*/ 2147483647 h 1394"/>
                <a:gd name="T40" fmla="*/ 2147483647 w 1241"/>
                <a:gd name="T41" fmla="*/ 2147483647 h 1394"/>
                <a:gd name="T42" fmla="*/ 2147483647 w 1241"/>
                <a:gd name="T43" fmla="*/ 2147483647 h 1394"/>
                <a:gd name="T44" fmla="*/ 2147483647 w 1241"/>
                <a:gd name="T45" fmla="*/ 2147483647 h 1394"/>
                <a:gd name="T46" fmla="*/ 2147483647 w 1241"/>
                <a:gd name="T47" fmla="*/ 2147483647 h 1394"/>
                <a:gd name="T48" fmla="*/ 2147483647 w 1241"/>
                <a:gd name="T49" fmla="*/ 2147483647 h 1394"/>
                <a:gd name="T50" fmla="*/ 2147483647 w 1241"/>
                <a:gd name="T51" fmla="*/ 2147483647 h 1394"/>
                <a:gd name="T52" fmla="*/ 2147483647 w 1241"/>
                <a:gd name="T53" fmla="*/ 2147483647 h 1394"/>
                <a:gd name="T54" fmla="*/ 2147483647 w 1241"/>
                <a:gd name="T55" fmla="*/ 2147483647 h 1394"/>
                <a:gd name="T56" fmla="*/ 2147483647 w 1241"/>
                <a:gd name="T57" fmla="*/ 2147483647 h 1394"/>
                <a:gd name="T58" fmla="*/ 2147483647 w 1241"/>
                <a:gd name="T59" fmla="*/ 2147483647 h 1394"/>
                <a:gd name="T60" fmla="*/ 2147483647 w 1241"/>
                <a:gd name="T61" fmla="*/ 2147483647 h 1394"/>
                <a:gd name="T62" fmla="*/ 2147483647 w 1241"/>
                <a:gd name="T63" fmla="*/ 2147483647 h 1394"/>
                <a:gd name="T64" fmla="*/ 2147483647 w 1241"/>
                <a:gd name="T65" fmla="*/ 2147483647 h 1394"/>
                <a:gd name="T66" fmla="*/ 2147483647 w 1241"/>
                <a:gd name="T67" fmla="*/ 2147483647 h 1394"/>
                <a:gd name="T68" fmla="*/ 2147483647 w 1241"/>
                <a:gd name="T69" fmla="*/ 2147483647 h 1394"/>
                <a:gd name="T70" fmla="*/ 2147483647 w 1241"/>
                <a:gd name="T71" fmla="*/ 2147483647 h 1394"/>
                <a:gd name="T72" fmla="*/ 2147483647 w 1241"/>
                <a:gd name="T73" fmla="*/ 2147483647 h 1394"/>
                <a:gd name="T74" fmla="*/ 2147483647 w 1241"/>
                <a:gd name="T75" fmla="*/ 2147483647 h 1394"/>
                <a:gd name="T76" fmla="*/ 2147483647 w 1241"/>
                <a:gd name="T77" fmla="*/ 2147483647 h 1394"/>
                <a:gd name="T78" fmla="*/ 2147483647 w 1241"/>
                <a:gd name="T79" fmla="*/ 2147483647 h 1394"/>
                <a:gd name="T80" fmla="*/ 2147483647 w 1241"/>
                <a:gd name="T81" fmla="*/ 2147483647 h 1394"/>
                <a:gd name="T82" fmla="*/ 2147483647 w 1241"/>
                <a:gd name="T83" fmla="*/ 2147483647 h 1394"/>
                <a:gd name="T84" fmla="*/ 2147483647 w 1241"/>
                <a:gd name="T85" fmla="*/ 2147483647 h 1394"/>
                <a:gd name="T86" fmla="*/ 2147483647 w 1241"/>
                <a:gd name="T87" fmla="*/ 2147483647 h 1394"/>
                <a:gd name="T88" fmla="*/ 2147483647 w 1241"/>
                <a:gd name="T89" fmla="*/ 2147483647 h 1394"/>
                <a:gd name="T90" fmla="*/ 2147483647 w 1241"/>
                <a:gd name="T91" fmla="*/ 2147483647 h 1394"/>
                <a:gd name="T92" fmla="*/ 2147483647 w 1241"/>
                <a:gd name="T93" fmla="*/ 2147483647 h 1394"/>
                <a:gd name="T94" fmla="*/ 2147483647 w 1241"/>
                <a:gd name="T95" fmla="*/ 2147483647 h 1394"/>
                <a:gd name="T96" fmla="*/ 2147483647 w 1241"/>
                <a:gd name="T97" fmla="*/ 2147483647 h 1394"/>
                <a:gd name="T98" fmla="*/ 2147483647 w 1241"/>
                <a:gd name="T99" fmla="*/ 2147483647 h 1394"/>
                <a:gd name="T100" fmla="*/ 2147483647 w 1241"/>
                <a:gd name="T101" fmla="*/ 2147483647 h 1394"/>
                <a:gd name="T102" fmla="*/ 2147483647 w 1241"/>
                <a:gd name="T103" fmla="*/ 2147483647 h 1394"/>
                <a:gd name="T104" fmla="*/ 2147483647 w 1241"/>
                <a:gd name="T105" fmla="*/ 2147483647 h 1394"/>
                <a:gd name="T106" fmla="*/ 2147483647 w 1241"/>
                <a:gd name="T107" fmla="*/ 2147483647 h 1394"/>
                <a:gd name="T108" fmla="*/ 2147483647 w 1241"/>
                <a:gd name="T109" fmla="*/ 2147483647 h 1394"/>
                <a:gd name="T110" fmla="*/ 2147483647 w 1241"/>
                <a:gd name="T111" fmla="*/ 2147483647 h 1394"/>
                <a:gd name="T112" fmla="*/ 2147483647 w 1241"/>
                <a:gd name="T113" fmla="*/ 2147483647 h 1394"/>
                <a:gd name="T114" fmla="*/ 2147483647 w 1241"/>
                <a:gd name="T115" fmla="*/ 2147483647 h 1394"/>
                <a:gd name="T116" fmla="*/ 2147483647 w 1241"/>
                <a:gd name="T117" fmla="*/ 2147483647 h 1394"/>
                <a:gd name="T118" fmla="*/ 2147483647 w 1241"/>
                <a:gd name="T119" fmla="*/ 2147483647 h 1394"/>
                <a:gd name="T120" fmla="*/ 2147483647 w 1241"/>
                <a:gd name="T121" fmla="*/ 2147483647 h 1394"/>
                <a:gd name="T122" fmla="*/ 2147483647 w 1241"/>
                <a:gd name="T123" fmla="*/ 2147483647 h 1394"/>
                <a:gd name="T124" fmla="*/ 2147483647 w 1241"/>
                <a:gd name="T125" fmla="*/ 2147483647 h 139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41"/>
                <a:gd name="T190" fmla="*/ 0 h 1394"/>
                <a:gd name="T191" fmla="*/ 1241 w 1241"/>
                <a:gd name="T192" fmla="*/ 1394 h 139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41" h="1394">
                  <a:moveTo>
                    <a:pt x="218" y="12"/>
                  </a:moveTo>
                  <a:lnTo>
                    <a:pt x="161" y="0"/>
                  </a:lnTo>
                  <a:lnTo>
                    <a:pt x="114" y="15"/>
                  </a:lnTo>
                  <a:lnTo>
                    <a:pt x="63" y="59"/>
                  </a:lnTo>
                  <a:lnTo>
                    <a:pt x="38" y="104"/>
                  </a:lnTo>
                  <a:lnTo>
                    <a:pt x="34" y="115"/>
                  </a:lnTo>
                  <a:lnTo>
                    <a:pt x="39" y="127"/>
                  </a:lnTo>
                  <a:lnTo>
                    <a:pt x="30" y="133"/>
                  </a:lnTo>
                  <a:lnTo>
                    <a:pt x="29" y="155"/>
                  </a:lnTo>
                  <a:lnTo>
                    <a:pt x="22" y="159"/>
                  </a:lnTo>
                  <a:lnTo>
                    <a:pt x="6" y="214"/>
                  </a:lnTo>
                  <a:lnTo>
                    <a:pt x="9" y="241"/>
                  </a:lnTo>
                  <a:lnTo>
                    <a:pt x="21" y="242"/>
                  </a:lnTo>
                  <a:lnTo>
                    <a:pt x="0" y="270"/>
                  </a:lnTo>
                  <a:lnTo>
                    <a:pt x="10" y="298"/>
                  </a:lnTo>
                  <a:lnTo>
                    <a:pt x="2" y="314"/>
                  </a:lnTo>
                  <a:lnTo>
                    <a:pt x="2" y="346"/>
                  </a:lnTo>
                  <a:lnTo>
                    <a:pt x="9" y="360"/>
                  </a:lnTo>
                  <a:lnTo>
                    <a:pt x="89" y="373"/>
                  </a:lnTo>
                  <a:lnTo>
                    <a:pt x="127" y="404"/>
                  </a:lnTo>
                  <a:lnTo>
                    <a:pt x="83" y="414"/>
                  </a:lnTo>
                  <a:lnTo>
                    <a:pt x="28" y="394"/>
                  </a:lnTo>
                  <a:lnTo>
                    <a:pt x="29" y="417"/>
                  </a:lnTo>
                  <a:lnTo>
                    <a:pt x="65" y="471"/>
                  </a:lnTo>
                  <a:lnTo>
                    <a:pt x="82" y="491"/>
                  </a:lnTo>
                  <a:lnTo>
                    <a:pt x="131" y="495"/>
                  </a:lnTo>
                  <a:lnTo>
                    <a:pt x="146" y="491"/>
                  </a:lnTo>
                  <a:lnTo>
                    <a:pt x="151" y="474"/>
                  </a:lnTo>
                  <a:lnTo>
                    <a:pt x="154" y="498"/>
                  </a:lnTo>
                  <a:lnTo>
                    <a:pt x="177" y="528"/>
                  </a:lnTo>
                  <a:lnTo>
                    <a:pt x="207" y="533"/>
                  </a:lnTo>
                  <a:lnTo>
                    <a:pt x="207" y="524"/>
                  </a:lnTo>
                  <a:lnTo>
                    <a:pt x="280" y="544"/>
                  </a:lnTo>
                  <a:lnTo>
                    <a:pt x="300" y="531"/>
                  </a:lnTo>
                  <a:lnTo>
                    <a:pt x="351" y="555"/>
                  </a:lnTo>
                  <a:lnTo>
                    <a:pt x="367" y="537"/>
                  </a:lnTo>
                  <a:lnTo>
                    <a:pt x="389" y="562"/>
                  </a:lnTo>
                  <a:lnTo>
                    <a:pt x="397" y="563"/>
                  </a:lnTo>
                  <a:lnTo>
                    <a:pt x="393" y="551"/>
                  </a:lnTo>
                  <a:lnTo>
                    <a:pt x="362" y="526"/>
                  </a:lnTo>
                  <a:lnTo>
                    <a:pt x="364" y="516"/>
                  </a:lnTo>
                  <a:lnTo>
                    <a:pt x="436" y="533"/>
                  </a:lnTo>
                  <a:lnTo>
                    <a:pt x="446" y="553"/>
                  </a:lnTo>
                  <a:lnTo>
                    <a:pt x="485" y="545"/>
                  </a:lnTo>
                  <a:lnTo>
                    <a:pt x="490" y="536"/>
                  </a:lnTo>
                  <a:lnTo>
                    <a:pt x="475" y="489"/>
                  </a:lnTo>
                  <a:lnTo>
                    <a:pt x="486" y="480"/>
                  </a:lnTo>
                  <a:lnTo>
                    <a:pt x="513" y="508"/>
                  </a:lnTo>
                  <a:lnTo>
                    <a:pt x="536" y="504"/>
                  </a:lnTo>
                  <a:lnTo>
                    <a:pt x="538" y="553"/>
                  </a:lnTo>
                  <a:lnTo>
                    <a:pt x="567" y="553"/>
                  </a:lnTo>
                  <a:lnTo>
                    <a:pt x="571" y="569"/>
                  </a:lnTo>
                  <a:lnTo>
                    <a:pt x="560" y="576"/>
                  </a:lnTo>
                  <a:lnTo>
                    <a:pt x="617" y="621"/>
                  </a:lnTo>
                  <a:lnTo>
                    <a:pt x="621" y="639"/>
                  </a:lnTo>
                  <a:lnTo>
                    <a:pt x="606" y="653"/>
                  </a:lnTo>
                  <a:lnTo>
                    <a:pt x="579" y="649"/>
                  </a:lnTo>
                  <a:lnTo>
                    <a:pt x="583" y="668"/>
                  </a:lnTo>
                  <a:lnTo>
                    <a:pt x="582" y="693"/>
                  </a:lnTo>
                  <a:lnTo>
                    <a:pt x="626" y="660"/>
                  </a:lnTo>
                  <a:lnTo>
                    <a:pt x="657" y="660"/>
                  </a:lnTo>
                  <a:lnTo>
                    <a:pt x="661" y="664"/>
                  </a:lnTo>
                  <a:lnTo>
                    <a:pt x="656" y="675"/>
                  </a:lnTo>
                  <a:lnTo>
                    <a:pt x="684" y="710"/>
                  </a:lnTo>
                  <a:lnTo>
                    <a:pt x="688" y="705"/>
                  </a:lnTo>
                  <a:lnTo>
                    <a:pt x="684" y="686"/>
                  </a:lnTo>
                  <a:lnTo>
                    <a:pt x="700" y="691"/>
                  </a:lnTo>
                  <a:lnTo>
                    <a:pt x="699" y="720"/>
                  </a:lnTo>
                  <a:lnTo>
                    <a:pt x="703" y="732"/>
                  </a:lnTo>
                  <a:lnTo>
                    <a:pt x="726" y="736"/>
                  </a:lnTo>
                  <a:lnTo>
                    <a:pt x="737" y="754"/>
                  </a:lnTo>
                  <a:lnTo>
                    <a:pt x="761" y="851"/>
                  </a:lnTo>
                  <a:lnTo>
                    <a:pt x="767" y="854"/>
                  </a:lnTo>
                  <a:lnTo>
                    <a:pt x="739" y="885"/>
                  </a:lnTo>
                  <a:lnTo>
                    <a:pt x="738" y="914"/>
                  </a:lnTo>
                  <a:lnTo>
                    <a:pt x="724" y="920"/>
                  </a:lnTo>
                  <a:lnTo>
                    <a:pt x="676" y="973"/>
                  </a:lnTo>
                  <a:lnTo>
                    <a:pt x="712" y="1029"/>
                  </a:lnTo>
                  <a:lnTo>
                    <a:pt x="712" y="1047"/>
                  </a:lnTo>
                  <a:lnTo>
                    <a:pt x="686" y="1039"/>
                  </a:lnTo>
                  <a:lnTo>
                    <a:pt x="665" y="1056"/>
                  </a:lnTo>
                  <a:lnTo>
                    <a:pt x="645" y="1055"/>
                  </a:lnTo>
                  <a:lnTo>
                    <a:pt x="644" y="1066"/>
                  </a:lnTo>
                  <a:lnTo>
                    <a:pt x="637" y="1069"/>
                  </a:lnTo>
                  <a:lnTo>
                    <a:pt x="549" y="1050"/>
                  </a:lnTo>
                  <a:lnTo>
                    <a:pt x="555" y="1058"/>
                  </a:lnTo>
                  <a:lnTo>
                    <a:pt x="547" y="1058"/>
                  </a:lnTo>
                  <a:lnTo>
                    <a:pt x="549" y="1076"/>
                  </a:lnTo>
                  <a:lnTo>
                    <a:pt x="525" y="1091"/>
                  </a:lnTo>
                  <a:lnTo>
                    <a:pt x="518" y="1103"/>
                  </a:lnTo>
                  <a:lnTo>
                    <a:pt x="517" y="1129"/>
                  </a:lnTo>
                  <a:lnTo>
                    <a:pt x="534" y="1154"/>
                  </a:lnTo>
                  <a:lnTo>
                    <a:pt x="578" y="1172"/>
                  </a:lnTo>
                  <a:lnTo>
                    <a:pt x="614" y="1154"/>
                  </a:lnTo>
                  <a:lnTo>
                    <a:pt x="612" y="1138"/>
                  </a:lnTo>
                  <a:lnTo>
                    <a:pt x="621" y="1134"/>
                  </a:lnTo>
                  <a:lnTo>
                    <a:pt x="632" y="1134"/>
                  </a:lnTo>
                  <a:lnTo>
                    <a:pt x="640" y="1149"/>
                  </a:lnTo>
                  <a:lnTo>
                    <a:pt x="666" y="1153"/>
                  </a:lnTo>
                  <a:lnTo>
                    <a:pt x="665" y="1145"/>
                  </a:lnTo>
                  <a:lnTo>
                    <a:pt x="672" y="1143"/>
                  </a:lnTo>
                  <a:lnTo>
                    <a:pt x="655" y="1126"/>
                  </a:lnTo>
                  <a:lnTo>
                    <a:pt x="655" y="1114"/>
                  </a:lnTo>
                  <a:lnTo>
                    <a:pt x="668" y="1107"/>
                  </a:lnTo>
                  <a:lnTo>
                    <a:pt x="669" y="1125"/>
                  </a:lnTo>
                  <a:lnTo>
                    <a:pt x="675" y="1117"/>
                  </a:lnTo>
                  <a:lnTo>
                    <a:pt x="683" y="1131"/>
                  </a:lnTo>
                  <a:lnTo>
                    <a:pt x="694" y="1125"/>
                  </a:lnTo>
                  <a:lnTo>
                    <a:pt x="705" y="1136"/>
                  </a:lnTo>
                  <a:lnTo>
                    <a:pt x="717" y="1133"/>
                  </a:lnTo>
                  <a:lnTo>
                    <a:pt x="722" y="1163"/>
                  </a:lnTo>
                  <a:lnTo>
                    <a:pt x="736" y="1173"/>
                  </a:lnTo>
                  <a:lnTo>
                    <a:pt x="740" y="1197"/>
                  </a:lnTo>
                  <a:lnTo>
                    <a:pt x="770" y="1209"/>
                  </a:lnTo>
                  <a:lnTo>
                    <a:pt x="780" y="1225"/>
                  </a:lnTo>
                  <a:lnTo>
                    <a:pt x="785" y="1208"/>
                  </a:lnTo>
                  <a:lnTo>
                    <a:pt x="801" y="1231"/>
                  </a:lnTo>
                  <a:lnTo>
                    <a:pt x="810" y="1231"/>
                  </a:lnTo>
                  <a:lnTo>
                    <a:pt x="788" y="1247"/>
                  </a:lnTo>
                  <a:lnTo>
                    <a:pt x="779" y="1237"/>
                  </a:lnTo>
                  <a:lnTo>
                    <a:pt x="796" y="1275"/>
                  </a:lnTo>
                  <a:lnTo>
                    <a:pt x="813" y="1289"/>
                  </a:lnTo>
                  <a:lnTo>
                    <a:pt x="856" y="1311"/>
                  </a:lnTo>
                  <a:lnTo>
                    <a:pt x="870" y="1296"/>
                  </a:lnTo>
                  <a:lnTo>
                    <a:pt x="870" y="1310"/>
                  </a:lnTo>
                  <a:lnTo>
                    <a:pt x="877" y="1313"/>
                  </a:lnTo>
                  <a:lnTo>
                    <a:pt x="892" y="1306"/>
                  </a:lnTo>
                  <a:lnTo>
                    <a:pt x="892" y="1322"/>
                  </a:lnTo>
                  <a:lnTo>
                    <a:pt x="903" y="1325"/>
                  </a:lnTo>
                  <a:lnTo>
                    <a:pt x="910" y="1344"/>
                  </a:lnTo>
                  <a:lnTo>
                    <a:pt x="919" y="1347"/>
                  </a:lnTo>
                  <a:lnTo>
                    <a:pt x="923" y="1338"/>
                  </a:lnTo>
                  <a:lnTo>
                    <a:pt x="923" y="1348"/>
                  </a:lnTo>
                  <a:lnTo>
                    <a:pt x="931" y="1356"/>
                  </a:lnTo>
                  <a:lnTo>
                    <a:pt x="970" y="1364"/>
                  </a:lnTo>
                  <a:lnTo>
                    <a:pt x="985" y="1379"/>
                  </a:lnTo>
                  <a:lnTo>
                    <a:pt x="1005" y="1372"/>
                  </a:lnTo>
                  <a:lnTo>
                    <a:pt x="1026" y="1394"/>
                  </a:lnTo>
                  <a:lnTo>
                    <a:pt x="1040" y="1392"/>
                  </a:lnTo>
                  <a:lnTo>
                    <a:pt x="1034" y="1379"/>
                  </a:lnTo>
                  <a:lnTo>
                    <a:pt x="1036" y="1353"/>
                  </a:lnTo>
                  <a:lnTo>
                    <a:pt x="970" y="1288"/>
                  </a:lnTo>
                  <a:lnTo>
                    <a:pt x="970" y="1279"/>
                  </a:lnTo>
                  <a:lnTo>
                    <a:pt x="962" y="1281"/>
                  </a:lnTo>
                  <a:lnTo>
                    <a:pt x="925" y="1236"/>
                  </a:lnTo>
                  <a:lnTo>
                    <a:pt x="917" y="1219"/>
                  </a:lnTo>
                  <a:lnTo>
                    <a:pt x="927" y="1216"/>
                  </a:lnTo>
                  <a:lnTo>
                    <a:pt x="955" y="1244"/>
                  </a:lnTo>
                  <a:lnTo>
                    <a:pt x="966" y="1245"/>
                  </a:lnTo>
                  <a:lnTo>
                    <a:pt x="964" y="1237"/>
                  </a:lnTo>
                  <a:lnTo>
                    <a:pt x="970" y="1234"/>
                  </a:lnTo>
                  <a:lnTo>
                    <a:pt x="988" y="1263"/>
                  </a:lnTo>
                  <a:lnTo>
                    <a:pt x="1005" y="1268"/>
                  </a:lnTo>
                  <a:lnTo>
                    <a:pt x="1010" y="1285"/>
                  </a:lnTo>
                  <a:lnTo>
                    <a:pt x="1035" y="1286"/>
                  </a:lnTo>
                  <a:lnTo>
                    <a:pt x="1045" y="1299"/>
                  </a:lnTo>
                  <a:lnTo>
                    <a:pt x="1064" y="1291"/>
                  </a:lnTo>
                  <a:lnTo>
                    <a:pt x="1072" y="1307"/>
                  </a:lnTo>
                  <a:lnTo>
                    <a:pt x="1079" y="1303"/>
                  </a:lnTo>
                  <a:lnTo>
                    <a:pt x="1076" y="1319"/>
                  </a:lnTo>
                  <a:lnTo>
                    <a:pt x="1089" y="1332"/>
                  </a:lnTo>
                  <a:lnTo>
                    <a:pt x="1095" y="1329"/>
                  </a:lnTo>
                  <a:lnTo>
                    <a:pt x="1083" y="1300"/>
                  </a:lnTo>
                  <a:lnTo>
                    <a:pt x="1107" y="1304"/>
                  </a:lnTo>
                  <a:lnTo>
                    <a:pt x="1108" y="1293"/>
                  </a:lnTo>
                  <a:lnTo>
                    <a:pt x="1101" y="1287"/>
                  </a:lnTo>
                  <a:lnTo>
                    <a:pt x="1093" y="1288"/>
                  </a:lnTo>
                  <a:lnTo>
                    <a:pt x="1084" y="1265"/>
                  </a:lnTo>
                  <a:lnTo>
                    <a:pt x="1085" y="1245"/>
                  </a:lnTo>
                  <a:lnTo>
                    <a:pt x="1105" y="1263"/>
                  </a:lnTo>
                  <a:lnTo>
                    <a:pt x="1103" y="1247"/>
                  </a:lnTo>
                  <a:lnTo>
                    <a:pt x="1108" y="1222"/>
                  </a:lnTo>
                  <a:lnTo>
                    <a:pt x="1100" y="1191"/>
                  </a:lnTo>
                  <a:lnTo>
                    <a:pt x="1074" y="1178"/>
                  </a:lnTo>
                  <a:lnTo>
                    <a:pt x="1073" y="1164"/>
                  </a:lnTo>
                  <a:lnTo>
                    <a:pt x="1082" y="1161"/>
                  </a:lnTo>
                  <a:lnTo>
                    <a:pt x="1085" y="1147"/>
                  </a:lnTo>
                  <a:lnTo>
                    <a:pt x="1083" y="1136"/>
                  </a:lnTo>
                  <a:lnTo>
                    <a:pt x="1073" y="1138"/>
                  </a:lnTo>
                  <a:lnTo>
                    <a:pt x="1069" y="1123"/>
                  </a:lnTo>
                  <a:lnTo>
                    <a:pt x="1057" y="1134"/>
                  </a:lnTo>
                  <a:lnTo>
                    <a:pt x="1055" y="1107"/>
                  </a:lnTo>
                  <a:lnTo>
                    <a:pt x="1027" y="1113"/>
                  </a:lnTo>
                  <a:lnTo>
                    <a:pt x="1036" y="1100"/>
                  </a:lnTo>
                  <a:lnTo>
                    <a:pt x="1014" y="1100"/>
                  </a:lnTo>
                  <a:lnTo>
                    <a:pt x="1011" y="1113"/>
                  </a:lnTo>
                  <a:lnTo>
                    <a:pt x="998" y="1075"/>
                  </a:lnTo>
                  <a:lnTo>
                    <a:pt x="987" y="1071"/>
                  </a:lnTo>
                  <a:lnTo>
                    <a:pt x="991" y="1062"/>
                  </a:lnTo>
                  <a:lnTo>
                    <a:pt x="986" y="1056"/>
                  </a:lnTo>
                  <a:lnTo>
                    <a:pt x="991" y="1053"/>
                  </a:lnTo>
                  <a:lnTo>
                    <a:pt x="984" y="1045"/>
                  </a:lnTo>
                  <a:lnTo>
                    <a:pt x="986" y="1031"/>
                  </a:lnTo>
                  <a:lnTo>
                    <a:pt x="958" y="1030"/>
                  </a:lnTo>
                  <a:lnTo>
                    <a:pt x="959" y="1003"/>
                  </a:lnTo>
                  <a:lnTo>
                    <a:pt x="992" y="996"/>
                  </a:lnTo>
                  <a:lnTo>
                    <a:pt x="975" y="971"/>
                  </a:lnTo>
                  <a:lnTo>
                    <a:pt x="953" y="963"/>
                  </a:lnTo>
                  <a:lnTo>
                    <a:pt x="948" y="949"/>
                  </a:lnTo>
                  <a:lnTo>
                    <a:pt x="963" y="950"/>
                  </a:lnTo>
                  <a:lnTo>
                    <a:pt x="959" y="942"/>
                  </a:lnTo>
                  <a:lnTo>
                    <a:pt x="966" y="941"/>
                  </a:lnTo>
                  <a:lnTo>
                    <a:pt x="989" y="958"/>
                  </a:lnTo>
                  <a:lnTo>
                    <a:pt x="983" y="943"/>
                  </a:lnTo>
                  <a:lnTo>
                    <a:pt x="990" y="944"/>
                  </a:lnTo>
                  <a:lnTo>
                    <a:pt x="979" y="934"/>
                  </a:lnTo>
                  <a:lnTo>
                    <a:pt x="984" y="927"/>
                  </a:lnTo>
                  <a:lnTo>
                    <a:pt x="1002" y="935"/>
                  </a:lnTo>
                  <a:lnTo>
                    <a:pt x="999" y="956"/>
                  </a:lnTo>
                  <a:lnTo>
                    <a:pt x="1043" y="980"/>
                  </a:lnTo>
                  <a:lnTo>
                    <a:pt x="1046" y="996"/>
                  </a:lnTo>
                  <a:lnTo>
                    <a:pt x="1069" y="992"/>
                  </a:lnTo>
                  <a:lnTo>
                    <a:pt x="1066" y="1005"/>
                  </a:lnTo>
                  <a:lnTo>
                    <a:pt x="1069" y="1023"/>
                  </a:lnTo>
                  <a:lnTo>
                    <a:pt x="1086" y="1051"/>
                  </a:lnTo>
                  <a:lnTo>
                    <a:pt x="1099" y="1043"/>
                  </a:lnTo>
                  <a:lnTo>
                    <a:pt x="1101" y="1052"/>
                  </a:lnTo>
                  <a:lnTo>
                    <a:pt x="1095" y="1064"/>
                  </a:lnTo>
                  <a:lnTo>
                    <a:pt x="1104" y="1077"/>
                  </a:lnTo>
                  <a:lnTo>
                    <a:pt x="1117" y="1070"/>
                  </a:lnTo>
                  <a:lnTo>
                    <a:pt x="1122" y="1088"/>
                  </a:lnTo>
                  <a:lnTo>
                    <a:pt x="1132" y="1081"/>
                  </a:lnTo>
                  <a:lnTo>
                    <a:pt x="1145" y="1104"/>
                  </a:lnTo>
                  <a:lnTo>
                    <a:pt x="1154" y="1065"/>
                  </a:lnTo>
                  <a:lnTo>
                    <a:pt x="1161" y="1064"/>
                  </a:lnTo>
                  <a:lnTo>
                    <a:pt x="1151" y="1017"/>
                  </a:lnTo>
                  <a:lnTo>
                    <a:pt x="1182" y="1035"/>
                  </a:lnTo>
                  <a:lnTo>
                    <a:pt x="1187" y="1017"/>
                  </a:lnTo>
                  <a:lnTo>
                    <a:pt x="1196" y="1014"/>
                  </a:lnTo>
                  <a:lnTo>
                    <a:pt x="1196" y="995"/>
                  </a:lnTo>
                  <a:lnTo>
                    <a:pt x="1209" y="990"/>
                  </a:lnTo>
                  <a:lnTo>
                    <a:pt x="1203" y="981"/>
                  </a:lnTo>
                  <a:lnTo>
                    <a:pt x="1187" y="983"/>
                  </a:lnTo>
                  <a:lnTo>
                    <a:pt x="1200" y="962"/>
                  </a:lnTo>
                  <a:lnTo>
                    <a:pt x="1227" y="965"/>
                  </a:lnTo>
                  <a:lnTo>
                    <a:pt x="1231" y="958"/>
                  </a:lnTo>
                  <a:lnTo>
                    <a:pt x="1223" y="949"/>
                  </a:lnTo>
                  <a:lnTo>
                    <a:pt x="1241" y="926"/>
                  </a:lnTo>
                  <a:lnTo>
                    <a:pt x="1205" y="886"/>
                  </a:lnTo>
                  <a:lnTo>
                    <a:pt x="1157" y="896"/>
                  </a:lnTo>
                  <a:lnTo>
                    <a:pt x="1169" y="854"/>
                  </a:lnTo>
                  <a:lnTo>
                    <a:pt x="1119" y="861"/>
                  </a:lnTo>
                  <a:lnTo>
                    <a:pt x="1117" y="853"/>
                  </a:lnTo>
                  <a:lnTo>
                    <a:pt x="1130" y="839"/>
                  </a:lnTo>
                  <a:lnTo>
                    <a:pt x="1108" y="796"/>
                  </a:lnTo>
                  <a:lnTo>
                    <a:pt x="1079" y="790"/>
                  </a:lnTo>
                  <a:lnTo>
                    <a:pt x="1085" y="765"/>
                  </a:lnTo>
                  <a:lnTo>
                    <a:pt x="1043" y="783"/>
                  </a:lnTo>
                  <a:lnTo>
                    <a:pt x="1030" y="771"/>
                  </a:lnTo>
                  <a:lnTo>
                    <a:pt x="1039" y="757"/>
                  </a:lnTo>
                  <a:lnTo>
                    <a:pt x="1033" y="745"/>
                  </a:lnTo>
                  <a:lnTo>
                    <a:pt x="1003" y="744"/>
                  </a:lnTo>
                  <a:lnTo>
                    <a:pt x="1011" y="727"/>
                  </a:lnTo>
                  <a:lnTo>
                    <a:pt x="941" y="700"/>
                  </a:lnTo>
                  <a:lnTo>
                    <a:pt x="969" y="691"/>
                  </a:lnTo>
                  <a:lnTo>
                    <a:pt x="948" y="667"/>
                  </a:lnTo>
                  <a:lnTo>
                    <a:pt x="966" y="655"/>
                  </a:lnTo>
                  <a:lnTo>
                    <a:pt x="932" y="632"/>
                  </a:lnTo>
                  <a:lnTo>
                    <a:pt x="954" y="630"/>
                  </a:lnTo>
                  <a:lnTo>
                    <a:pt x="953" y="619"/>
                  </a:lnTo>
                  <a:lnTo>
                    <a:pt x="980" y="636"/>
                  </a:lnTo>
                  <a:lnTo>
                    <a:pt x="1016" y="635"/>
                  </a:lnTo>
                  <a:lnTo>
                    <a:pt x="1020" y="620"/>
                  </a:lnTo>
                  <a:lnTo>
                    <a:pt x="996" y="601"/>
                  </a:lnTo>
                  <a:lnTo>
                    <a:pt x="950" y="593"/>
                  </a:lnTo>
                  <a:lnTo>
                    <a:pt x="947" y="603"/>
                  </a:lnTo>
                  <a:lnTo>
                    <a:pt x="925" y="583"/>
                  </a:lnTo>
                  <a:lnTo>
                    <a:pt x="919" y="588"/>
                  </a:lnTo>
                  <a:lnTo>
                    <a:pt x="960" y="562"/>
                  </a:lnTo>
                  <a:lnTo>
                    <a:pt x="988" y="566"/>
                  </a:lnTo>
                  <a:lnTo>
                    <a:pt x="995" y="552"/>
                  </a:lnTo>
                  <a:lnTo>
                    <a:pt x="990" y="541"/>
                  </a:lnTo>
                  <a:lnTo>
                    <a:pt x="963" y="502"/>
                  </a:lnTo>
                  <a:lnTo>
                    <a:pt x="947" y="495"/>
                  </a:lnTo>
                  <a:lnTo>
                    <a:pt x="942" y="507"/>
                  </a:lnTo>
                  <a:lnTo>
                    <a:pt x="943" y="518"/>
                  </a:lnTo>
                  <a:lnTo>
                    <a:pt x="925" y="538"/>
                  </a:lnTo>
                  <a:lnTo>
                    <a:pt x="911" y="537"/>
                  </a:lnTo>
                  <a:lnTo>
                    <a:pt x="925" y="509"/>
                  </a:lnTo>
                  <a:lnTo>
                    <a:pt x="882" y="511"/>
                  </a:lnTo>
                  <a:lnTo>
                    <a:pt x="919" y="492"/>
                  </a:lnTo>
                  <a:lnTo>
                    <a:pt x="925" y="474"/>
                  </a:lnTo>
                  <a:lnTo>
                    <a:pt x="933" y="484"/>
                  </a:lnTo>
                  <a:lnTo>
                    <a:pt x="934" y="458"/>
                  </a:lnTo>
                  <a:lnTo>
                    <a:pt x="887" y="436"/>
                  </a:lnTo>
                  <a:lnTo>
                    <a:pt x="849" y="467"/>
                  </a:lnTo>
                  <a:lnTo>
                    <a:pt x="871" y="425"/>
                  </a:lnTo>
                  <a:lnTo>
                    <a:pt x="830" y="450"/>
                  </a:lnTo>
                  <a:lnTo>
                    <a:pt x="843" y="413"/>
                  </a:lnTo>
                  <a:lnTo>
                    <a:pt x="841" y="398"/>
                  </a:lnTo>
                  <a:lnTo>
                    <a:pt x="807" y="410"/>
                  </a:lnTo>
                  <a:lnTo>
                    <a:pt x="777" y="397"/>
                  </a:lnTo>
                  <a:lnTo>
                    <a:pt x="817" y="383"/>
                  </a:lnTo>
                  <a:lnTo>
                    <a:pt x="821" y="374"/>
                  </a:lnTo>
                  <a:lnTo>
                    <a:pt x="806" y="338"/>
                  </a:lnTo>
                  <a:lnTo>
                    <a:pt x="757" y="308"/>
                  </a:lnTo>
                  <a:lnTo>
                    <a:pt x="744" y="333"/>
                  </a:lnTo>
                  <a:lnTo>
                    <a:pt x="724" y="331"/>
                  </a:lnTo>
                  <a:lnTo>
                    <a:pt x="727" y="363"/>
                  </a:lnTo>
                  <a:lnTo>
                    <a:pt x="710" y="347"/>
                  </a:lnTo>
                  <a:lnTo>
                    <a:pt x="712" y="328"/>
                  </a:lnTo>
                  <a:lnTo>
                    <a:pt x="692" y="342"/>
                  </a:lnTo>
                  <a:lnTo>
                    <a:pt x="714" y="295"/>
                  </a:lnTo>
                  <a:lnTo>
                    <a:pt x="680" y="300"/>
                  </a:lnTo>
                  <a:lnTo>
                    <a:pt x="662" y="321"/>
                  </a:lnTo>
                  <a:lnTo>
                    <a:pt x="663" y="306"/>
                  </a:lnTo>
                  <a:lnTo>
                    <a:pt x="678" y="289"/>
                  </a:lnTo>
                  <a:lnTo>
                    <a:pt x="683" y="279"/>
                  </a:lnTo>
                  <a:lnTo>
                    <a:pt x="680" y="261"/>
                  </a:lnTo>
                  <a:lnTo>
                    <a:pt x="643" y="251"/>
                  </a:lnTo>
                  <a:lnTo>
                    <a:pt x="652" y="238"/>
                  </a:lnTo>
                  <a:lnTo>
                    <a:pt x="650" y="225"/>
                  </a:lnTo>
                  <a:lnTo>
                    <a:pt x="635" y="201"/>
                  </a:lnTo>
                  <a:lnTo>
                    <a:pt x="638" y="194"/>
                  </a:lnTo>
                  <a:lnTo>
                    <a:pt x="620" y="186"/>
                  </a:lnTo>
                  <a:lnTo>
                    <a:pt x="537" y="162"/>
                  </a:lnTo>
                  <a:lnTo>
                    <a:pt x="495" y="190"/>
                  </a:lnTo>
                  <a:lnTo>
                    <a:pt x="494" y="207"/>
                  </a:lnTo>
                  <a:lnTo>
                    <a:pt x="508" y="219"/>
                  </a:lnTo>
                  <a:lnTo>
                    <a:pt x="476" y="234"/>
                  </a:lnTo>
                  <a:lnTo>
                    <a:pt x="462" y="214"/>
                  </a:lnTo>
                  <a:lnTo>
                    <a:pt x="444" y="221"/>
                  </a:lnTo>
                  <a:lnTo>
                    <a:pt x="442" y="195"/>
                  </a:lnTo>
                  <a:lnTo>
                    <a:pt x="428" y="239"/>
                  </a:lnTo>
                  <a:lnTo>
                    <a:pt x="421" y="237"/>
                  </a:lnTo>
                  <a:lnTo>
                    <a:pt x="395" y="279"/>
                  </a:lnTo>
                  <a:lnTo>
                    <a:pt x="392" y="261"/>
                  </a:lnTo>
                  <a:lnTo>
                    <a:pt x="408" y="252"/>
                  </a:lnTo>
                  <a:lnTo>
                    <a:pt x="397" y="244"/>
                  </a:lnTo>
                  <a:lnTo>
                    <a:pt x="419" y="164"/>
                  </a:lnTo>
                  <a:lnTo>
                    <a:pt x="400" y="137"/>
                  </a:lnTo>
                  <a:lnTo>
                    <a:pt x="408" y="114"/>
                  </a:lnTo>
                  <a:lnTo>
                    <a:pt x="372" y="89"/>
                  </a:lnTo>
                  <a:lnTo>
                    <a:pt x="384" y="77"/>
                  </a:lnTo>
                  <a:lnTo>
                    <a:pt x="380" y="36"/>
                  </a:lnTo>
                  <a:lnTo>
                    <a:pt x="369" y="16"/>
                  </a:lnTo>
                  <a:lnTo>
                    <a:pt x="315" y="18"/>
                  </a:lnTo>
                  <a:lnTo>
                    <a:pt x="280" y="38"/>
                  </a:lnTo>
                  <a:lnTo>
                    <a:pt x="266" y="52"/>
                  </a:lnTo>
                  <a:lnTo>
                    <a:pt x="278" y="65"/>
                  </a:lnTo>
                  <a:lnTo>
                    <a:pt x="275" y="80"/>
                  </a:lnTo>
                  <a:lnTo>
                    <a:pt x="266" y="61"/>
                  </a:lnTo>
                  <a:lnTo>
                    <a:pt x="240" y="62"/>
                  </a:lnTo>
                  <a:lnTo>
                    <a:pt x="238" y="72"/>
                  </a:lnTo>
                  <a:lnTo>
                    <a:pt x="246" y="92"/>
                  </a:lnTo>
                  <a:lnTo>
                    <a:pt x="217" y="76"/>
                  </a:lnTo>
                  <a:lnTo>
                    <a:pt x="213" y="89"/>
                  </a:lnTo>
                  <a:lnTo>
                    <a:pt x="222" y="101"/>
                  </a:lnTo>
                  <a:lnTo>
                    <a:pt x="196" y="115"/>
                  </a:lnTo>
                  <a:lnTo>
                    <a:pt x="219" y="137"/>
                  </a:lnTo>
                  <a:lnTo>
                    <a:pt x="187" y="141"/>
                  </a:lnTo>
                  <a:lnTo>
                    <a:pt x="194" y="184"/>
                  </a:lnTo>
                  <a:lnTo>
                    <a:pt x="191" y="192"/>
                  </a:lnTo>
                  <a:lnTo>
                    <a:pt x="196" y="204"/>
                  </a:lnTo>
                  <a:lnTo>
                    <a:pt x="225" y="213"/>
                  </a:lnTo>
                  <a:lnTo>
                    <a:pt x="176" y="268"/>
                  </a:lnTo>
                  <a:lnTo>
                    <a:pt x="203" y="311"/>
                  </a:lnTo>
                  <a:lnTo>
                    <a:pt x="230" y="317"/>
                  </a:lnTo>
                  <a:lnTo>
                    <a:pt x="233" y="328"/>
                  </a:lnTo>
                  <a:lnTo>
                    <a:pt x="226" y="356"/>
                  </a:lnTo>
                  <a:lnTo>
                    <a:pt x="226" y="394"/>
                  </a:lnTo>
                  <a:lnTo>
                    <a:pt x="220" y="411"/>
                  </a:lnTo>
                  <a:lnTo>
                    <a:pt x="215" y="406"/>
                  </a:lnTo>
                  <a:lnTo>
                    <a:pt x="220" y="384"/>
                  </a:lnTo>
                  <a:lnTo>
                    <a:pt x="217" y="380"/>
                  </a:lnTo>
                  <a:lnTo>
                    <a:pt x="149" y="401"/>
                  </a:lnTo>
                  <a:lnTo>
                    <a:pt x="177" y="377"/>
                  </a:lnTo>
                  <a:lnTo>
                    <a:pt x="220" y="366"/>
                  </a:lnTo>
                  <a:lnTo>
                    <a:pt x="214" y="342"/>
                  </a:lnTo>
                  <a:lnTo>
                    <a:pt x="200" y="339"/>
                  </a:lnTo>
                  <a:lnTo>
                    <a:pt x="160" y="282"/>
                  </a:lnTo>
                  <a:lnTo>
                    <a:pt x="153" y="260"/>
                  </a:lnTo>
                  <a:lnTo>
                    <a:pt x="161" y="215"/>
                  </a:lnTo>
                  <a:lnTo>
                    <a:pt x="145" y="178"/>
                  </a:lnTo>
                  <a:lnTo>
                    <a:pt x="146" y="154"/>
                  </a:lnTo>
                  <a:lnTo>
                    <a:pt x="162" y="120"/>
                  </a:lnTo>
                  <a:lnTo>
                    <a:pt x="165" y="97"/>
                  </a:lnTo>
                  <a:lnTo>
                    <a:pt x="222" y="18"/>
                  </a:lnTo>
                  <a:lnTo>
                    <a:pt x="218" y="1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0" name="Freeform 1206"/>
            <p:cNvSpPr>
              <a:spLocks/>
            </p:cNvSpPr>
            <p:nvPr/>
          </p:nvSpPr>
          <p:spPr bwMode="auto">
            <a:xfrm>
              <a:off x="3981598" y="3018640"/>
              <a:ext cx="12899" cy="7642"/>
            </a:xfrm>
            <a:custGeom>
              <a:avLst/>
              <a:gdLst>
                <a:gd name="T0" fmla="*/ 0 w 27"/>
                <a:gd name="T1" fmla="*/ 0 h 20"/>
                <a:gd name="T2" fmla="*/ 2147483647 w 27"/>
                <a:gd name="T3" fmla="*/ 2147483647 h 20"/>
                <a:gd name="T4" fmla="*/ 2147483647 w 27"/>
                <a:gd name="T5" fmla="*/ 2147483647 h 20"/>
                <a:gd name="T6" fmla="*/ 0 w 27"/>
                <a:gd name="T7" fmla="*/ 0 h 20"/>
                <a:gd name="T8" fmla="*/ 0 60000 65536"/>
                <a:gd name="T9" fmla="*/ 0 60000 65536"/>
                <a:gd name="T10" fmla="*/ 0 60000 65536"/>
                <a:gd name="T11" fmla="*/ 0 60000 65536"/>
                <a:gd name="T12" fmla="*/ 0 w 27"/>
                <a:gd name="T13" fmla="*/ 0 h 20"/>
                <a:gd name="T14" fmla="*/ 27 w 27"/>
                <a:gd name="T15" fmla="*/ 20 h 20"/>
              </a:gdLst>
              <a:ahLst/>
              <a:cxnLst>
                <a:cxn ang="T8">
                  <a:pos x="T0" y="T1"/>
                </a:cxn>
                <a:cxn ang="T9">
                  <a:pos x="T2" y="T3"/>
                </a:cxn>
                <a:cxn ang="T10">
                  <a:pos x="T4" y="T5"/>
                </a:cxn>
                <a:cxn ang="T11">
                  <a:pos x="T6" y="T7"/>
                </a:cxn>
              </a:cxnLst>
              <a:rect l="T12" t="T13" r="T14" b="T15"/>
              <a:pathLst>
                <a:path w="27" h="20">
                  <a:moveTo>
                    <a:pt x="0" y="0"/>
                  </a:moveTo>
                  <a:lnTo>
                    <a:pt x="27" y="13"/>
                  </a:lnTo>
                  <a:lnTo>
                    <a:pt x="17" y="20"/>
                  </a:lnTo>
                  <a:lnTo>
                    <a:pt x="0"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1" name="Freeform 1268"/>
            <p:cNvSpPr>
              <a:spLocks/>
            </p:cNvSpPr>
            <p:nvPr/>
          </p:nvSpPr>
          <p:spPr bwMode="auto">
            <a:xfrm>
              <a:off x="2688725" y="2701500"/>
              <a:ext cx="30100" cy="36936"/>
            </a:xfrm>
            <a:custGeom>
              <a:avLst/>
              <a:gdLst>
                <a:gd name="T0" fmla="*/ 2147483647 w 64"/>
                <a:gd name="T1" fmla="*/ 2147483647 h 86"/>
                <a:gd name="T2" fmla="*/ 2147483647 w 64"/>
                <a:gd name="T3" fmla="*/ 2147483647 h 86"/>
                <a:gd name="T4" fmla="*/ 2147483647 w 64"/>
                <a:gd name="T5" fmla="*/ 2147483647 h 86"/>
                <a:gd name="T6" fmla="*/ 2147483647 w 64"/>
                <a:gd name="T7" fmla="*/ 2147483647 h 86"/>
                <a:gd name="T8" fmla="*/ 2147483647 w 64"/>
                <a:gd name="T9" fmla="*/ 2147483647 h 86"/>
                <a:gd name="T10" fmla="*/ 2147483647 w 64"/>
                <a:gd name="T11" fmla="*/ 2147483647 h 86"/>
                <a:gd name="T12" fmla="*/ 2147483647 w 64"/>
                <a:gd name="T13" fmla="*/ 2147483647 h 86"/>
                <a:gd name="T14" fmla="*/ 2147483647 w 64"/>
                <a:gd name="T15" fmla="*/ 0 h 86"/>
                <a:gd name="T16" fmla="*/ 2147483647 w 64"/>
                <a:gd name="T17" fmla="*/ 2147483647 h 86"/>
                <a:gd name="T18" fmla="*/ 2147483647 w 64"/>
                <a:gd name="T19" fmla="*/ 2147483647 h 86"/>
                <a:gd name="T20" fmla="*/ 2147483647 w 64"/>
                <a:gd name="T21" fmla="*/ 2147483647 h 86"/>
                <a:gd name="T22" fmla="*/ 2147483647 w 64"/>
                <a:gd name="T23" fmla="*/ 2147483647 h 86"/>
                <a:gd name="T24" fmla="*/ 2147483647 w 64"/>
                <a:gd name="T25" fmla="*/ 2147483647 h 86"/>
                <a:gd name="T26" fmla="*/ 2147483647 w 64"/>
                <a:gd name="T27" fmla="*/ 2147483647 h 86"/>
                <a:gd name="T28" fmla="*/ 2147483647 w 64"/>
                <a:gd name="T29" fmla="*/ 2147483647 h 86"/>
                <a:gd name="T30" fmla="*/ 0 w 64"/>
                <a:gd name="T31" fmla="*/ 2147483647 h 86"/>
                <a:gd name="T32" fmla="*/ 2147483647 w 64"/>
                <a:gd name="T33" fmla="*/ 2147483647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6"/>
                <a:gd name="T53" fmla="*/ 64 w 64"/>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6">
                  <a:moveTo>
                    <a:pt x="13" y="45"/>
                  </a:moveTo>
                  <a:lnTo>
                    <a:pt x="19" y="43"/>
                  </a:lnTo>
                  <a:lnTo>
                    <a:pt x="14" y="35"/>
                  </a:lnTo>
                  <a:lnTo>
                    <a:pt x="35" y="35"/>
                  </a:lnTo>
                  <a:lnTo>
                    <a:pt x="30" y="29"/>
                  </a:lnTo>
                  <a:lnTo>
                    <a:pt x="38" y="14"/>
                  </a:lnTo>
                  <a:lnTo>
                    <a:pt x="33" y="2"/>
                  </a:lnTo>
                  <a:lnTo>
                    <a:pt x="37" y="0"/>
                  </a:lnTo>
                  <a:lnTo>
                    <a:pt x="47" y="24"/>
                  </a:lnTo>
                  <a:lnTo>
                    <a:pt x="64" y="23"/>
                  </a:lnTo>
                  <a:lnTo>
                    <a:pt x="61" y="38"/>
                  </a:lnTo>
                  <a:lnTo>
                    <a:pt x="27" y="86"/>
                  </a:lnTo>
                  <a:lnTo>
                    <a:pt x="13" y="83"/>
                  </a:lnTo>
                  <a:lnTo>
                    <a:pt x="20" y="75"/>
                  </a:lnTo>
                  <a:lnTo>
                    <a:pt x="10" y="68"/>
                  </a:lnTo>
                  <a:lnTo>
                    <a:pt x="0" y="40"/>
                  </a:lnTo>
                  <a:lnTo>
                    <a:pt x="13" y="4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2" name="Freeform 1269"/>
            <p:cNvSpPr>
              <a:spLocks/>
            </p:cNvSpPr>
            <p:nvPr/>
          </p:nvSpPr>
          <p:spPr bwMode="auto">
            <a:xfrm>
              <a:off x="2677259" y="2725700"/>
              <a:ext cx="20066" cy="16557"/>
            </a:xfrm>
            <a:custGeom>
              <a:avLst/>
              <a:gdLst>
                <a:gd name="T0" fmla="*/ 2147483647 w 42"/>
                <a:gd name="T1" fmla="*/ 2147483647 h 41"/>
                <a:gd name="T2" fmla="*/ 0 w 42"/>
                <a:gd name="T3" fmla="*/ 2147483647 h 41"/>
                <a:gd name="T4" fmla="*/ 2147483647 w 42"/>
                <a:gd name="T5" fmla="*/ 2147483647 h 41"/>
                <a:gd name="T6" fmla="*/ 2147483647 w 42"/>
                <a:gd name="T7" fmla="*/ 2147483647 h 41"/>
                <a:gd name="T8" fmla="*/ 2147483647 w 42"/>
                <a:gd name="T9" fmla="*/ 0 h 41"/>
                <a:gd name="T10" fmla="*/ 2147483647 w 42"/>
                <a:gd name="T11" fmla="*/ 2147483647 h 41"/>
                <a:gd name="T12" fmla="*/ 0 60000 65536"/>
                <a:gd name="T13" fmla="*/ 0 60000 65536"/>
                <a:gd name="T14" fmla="*/ 0 60000 65536"/>
                <a:gd name="T15" fmla="*/ 0 60000 65536"/>
                <a:gd name="T16" fmla="*/ 0 60000 65536"/>
                <a:gd name="T17" fmla="*/ 0 60000 65536"/>
                <a:gd name="T18" fmla="*/ 0 w 42"/>
                <a:gd name="T19" fmla="*/ 0 h 41"/>
                <a:gd name="T20" fmla="*/ 42 w 4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2" h="41">
                  <a:moveTo>
                    <a:pt x="1" y="3"/>
                  </a:moveTo>
                  <a:lnTo>
                    <a:pt x="0" y="18"/>
                  </a:lnTo>
                  <a:lnTo>
                    <a:pt x="9" y="30"/>
                  </a:lnTo>
                  <a:lnTo>
                    <a:pt x="42" y="41"/>
                  </a:lnTo>
                  <a:lnTo>
                    <a:pt x="8" y="0"/>
                  </a:lnTo>
                  <a:lnTo>
                    <a:pt x="1" y="3"/>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3" name="Freeform 1286"/>
            <p:cNvSpPr>
              <a:spLocks/>
            </p:cNvSpPr>
            <p:nvPr/>
          </p:nvSpPr>
          <p:spPr bwMode="auto">
            <a:xfrm>
              <a:off x="2668658" y="3176573"/>
              <a:ext cx="28667" cy="30568"/>
            </a:xfrm>
            <a:custGeom>
              <a:avLst/>
              <a:gdLst>
                <a:gd name="T0" fmla="*/ 2147483647 w 60"/>
                <a:gd name="T1" fmla="*/ 2147483647 h 73"/>
                <a:gd name="T2" fmla="*/ 2147483647 w 60"/>
                <a:gd name="T3" fmla="*/ 2147483647 h 73"/>
                <a:gd name="T4" fmla="*/ 2147483647 w 60"/>
                <a:gd name="T5" fmla="*/ 2147483647 h 73"/>
                <a:gd name="T6" fmla="*/ 2147483647 w 60"/>
                <a:gd name="T7" fmla="*/ 2147483647 h 73"/>
                <a:gd name="T8" fmla="*/ 2147483647 w 60"/>
                <a:gd name="T9" fmla="*/ 2147483647 h 73"/>
                <a:gd name="T10" fmla="*/ 2147483647 w 60"/>
                <a:gd name="T11" fmla="*/ 2147483647 h 73"/>
                <a:gd name="T12" fmla="*/ 2147483647 w 60"/>
                <a:gd name="T13" fmla="*/ 2147483647 h 73"/>
                <a:gd name="T14" fmla="*/ 2147483647 w 60"/>
                <a:gd name="T15" fmla="*/ 2147483647 h 73"/>
                <a:gd name="T16" fmla="*/ 2147483647 w 60"/>
                <a:gd name="T17" fmla="*/ 2147483647 h 73"/>
                <a:gd name="T18" fmla="*/ 2147483647 w 60"/>
                <a:gd name="T19" fmla="*/ 2147483647 h 73"/>
                <a:gd name="T20" fmla="*/ 2147483647 w 60"/>
                <a:gd name="T21" fmla="*/ 2147483647 h 73"/>
                <a:gd name="T22" fmla="*/ 2147483647 w 60"/>
                <a:gd name="T23" fmla="*/ 2147483647 h 73"/>
                <a:gd name="T24" fmla="*/ 2147483647 w 60"/>
                <a:gd name="T25" fmla="*/ 2147483647 h 73"/>
                <a:gd name="T26" fmla="*/ 2147483647 w 60"/>
                <a:gd name="T27" fmla="*/ 2147483647 h 73"/>
                <a:gd name="T28" fmla="*/ 0 w 60"/>
                <a:gd name="T29" fmla="*/ 2147483647 h 73"/>
                <a:gd name="T30" fmla="*/ 2147483647 w 60"/>
                <a:gd name="T31" fmla="*/ 2147483647 h 73"/>
                <a:gd name="T32" fmla="*/ 2147483647 w 60"/>
                <a:gd name="T33" fmla="*/ 2147483647 h 73"/>
                <a:gd name="T34" fmla="*/ 2147483647 w 60"/>
                <a:gd name="T35" fmla="*/ 0 h 73"/>
                <a:gd name="T36" fmla="*/ 2147483647 w 60"/>
                <a:gd name="T37" fmla="*/ 2147483647 h 73"/>
                <a:gd name="T38" fmla="*/ 2147483647 w 60"/>
                <a:gd name="T39" fmla="*/ 2147483647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3"/>
                <a:gd name="T62" fmla="*/ 60 w 60"/>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3">
                  <a:moveTo>
                    <a:pt x="55" y="19"/>
                  </a:moveTo>
                  <a:lnTo>
                    <a:pt x="59" y="30"/>
                  </a:lnTo>
                  <a:lnTo>
                    <a:pt x="50" y="28"/>
                  </a:lnTo>
                  <a:lnTo>
                    <a:pt x="56" y="40"/>
                  </a:lnTo>
                  <a:lnTo>
                    <a:pt x="59" y="46"/>
                  </a:lnTo>
                  <a:lnTo>
                    <a:pt x="60" y="68"/>
                  </a:lnTo>
                  <a:lnTo>
                    <a:pt x="26" y="42"/>
                  </a:lnTo>
                  <a:lnTo>
                    <a:pt x="30" y="66"/>
                  </a:lnTo>
                  <a:lnTo>
                    <a:pt x="25" y="73"/>
                  </a:lnTo>
                  <a:lnTo>
                    <a:pt x="16" y="67"/>
                  </a:lnTo>
                  <a:lnTo>
                    <a:pt x="19" y="64"/>
                  </a:lnTo>
                  <a:lnTo>
                    <a:pt x="2" y="39"/>
                  </a:lnTo>
                  <a:lnTo>
                    <a:pt x="1" y="28"/>
                  </a:lnTo>
                  <a:lnTo>
                    <a:pt x="7" y="28"/>
                  </a:lnTo>
                  <a:lnTo>
                    <a:pt x="0" y="13"/>
                  </a:lnTo>
                  <a:lnTo>
                    <a:pt x="1" y="8"/>
                  </a:lnTo>
                  <a:lnTo>
                    <a:pt x="4" y="16"/>
                  </a:lnTo>
                  <a:lnTo>
                    <a:pt x="19" y="0"/>
                  </a:lnTo>
                  <a:lnTo>
                    <a:pt x="34" y="14"/>
                  </a:lnTo>
                  <a:lnTo>
                    <a:pt x="55" y="19"/>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4" name="Freeform 1089"/>
            <p:cNvSpPr>
              <a:spLocks/>
            </p:cNvSpPr>
            <p:nvPr/>
          </p:nvSpPr>
          <p:spPr bwMode="auto">
            <a:xfrm>
              <a:off x="2989728" y="3123079"/>
              <a:ext cx="200668" cy="341339"/>
            </a:xfrm>
            <a:custGeom>
              <a:avLst/>
              <a:gdLst>
                <a:gd name="T0" fmla="*/ 2147483647 w 429"/>
                <a:gd name="T1" fmla="*/ 0 h 820"/>
                <a:gd name="T2" fmla="*/ 2147483647 w 429"/>
                <a:gd name="T3" fmla="*/ 0 h 820"/>
                <a:gd name="T4" fmla="*/ 2147483647 w 429"/>
                <a:gd name="T5" fmla="*/ 0 h 820"/>
                <a:gd name="T6" fmla="*/ 2147483647 w 429"/>
                <a:gd name="T7" fmla="*/ 0 h 820"/>
                <a:gd name="T8" fmla="*/ 2147483647 w 429"/>
                <a:gd name="T9" fmla="*/ 0 h 820"/>
                <a:gd name="T10" fmla="*/ 0 w 429"/>
                <a:gd name="T11" fmla="*/ 0 h 820"/>
                <a:gd name="T12" fmla="*/ 0 w 429"/>
                <a:gd name="T13" fmla="*/ 2147483647 h 820"/>
                <a:gd name="T14" fmla="*/ 0 w 429"/>
                <a:gd name="T15" fmla="*/ 2147483647 h 820"/>
                <a:gd name="T16" fmla="*/ 0 w 429"/>
                <a:gd name="T17" fmla="*/ 2147483647 h 820"/>
                <a:gd name="T18" fmla="*/ 2147483647 w 429"/>
                <a:gd name="T19" fmla="*/ 2147483647 h 820"/>
                <a:gd name="T20" fmla="*/ 2147483647 w 429"/>
                <a:gd name="T21" fmla="*/ 2147483647 h 820"/>
                <a:gd name="T22" fmla="*/ 2147483647 w 429"/>
                <a:gd name="T23" fmla="*/ 2147483647 h 820"/>
                <a:gd name="T24" fmla="*/ 2147483647 w 429"/>
                <a:gd name="T25" fmla="*/ 2147483647 h 820"/>
                <a:gd name="T26" fmla="*/ 2147483647 w 429"/>
                <a:gd name="T27" fmla="*/ 2147483647 h 820"/>
                <a:gd name="T28" fmla="*/ 2147483647 w 429"/>
                <a:gd name="T29" fmla="*/ 2147483647 h 820"/>
                <a:gd name="T30" fmla="*/ 2147483647 w 429"/>
                <a:gd name="T31" fmla="*/ 2147483647 h 820"/>
                <a:gd name="T32" fmla="*/ 2147483647 w 429"/>
                <a:gd name="T33" fmla="*/ 2147483647 h 820"/>
                <a:gd name="T34" fmla="*/ 2147483647 w 429"/>
                <a:gd name="T35" fmla="*/ 2147483647 h 820"/>
                <a:gd name="T36" fmla="*/ 2147483647 w 429"/>
                <a:gd name="T37" fmla="*/ 2147483647 h 820"/>
                <a:gd name="T38" fmla="*/ 2147483647 w 429"/>
                <a:gd name="T39" fmla="*/ 2147483647 h 820"/>
                <a:gd name="T40" fmla="*/ 2147483647 w 429"/>
                <a:gd name="T41" fmla="*/ 2147483647 h 820"/>
                <a:gd name="T42" fmla="*/ 2147483647 w 429"/>
                <a:gd name="T43" fmla="*/ 2147483647 h 820"/>
                <a:gd name="T44" fmla="*/ 2147483647 w 429"/>
                <a:gd name="T45" fmla="*/ 2147483647 h 820"/>
                <a:gd name="T46" fmla="*/ 2147483647 w 429"/>
                <a:gd name="T47" fmla="*/ 2147483647 h 820"/>
                <a:gd name="T48" fmla="*/ 2147483647 w 429"/>
                <a:gd name="T49" fmla="*/ 2147483647 h 820"/>
                <a:gd name="T50" fmla="*/ 2147483647 w 429"/>
                <a:gd name="T51" fmla="*/ 2147483647 h 820"/>
                <a:gd name="T52" fmla="*/ 2147483647 w 429"/>
                <a:gd name="T53" fmla="*/ 2147483647 h 820"/>
                <a:gd name="T54" fmla="*/ 2147483647 w 429"/>
                <a:gd name="T55" fmla="*/ 2147483647 h 820"/>
                <a:gd name="T56" fmla="*/ 2147483647 w 429"/>
                <a:gd name="T57" fmla="*/ 2147483647 h 820"/>
                <a:gd name="T58" fmla="*/ 2147483647 w 429"/>
                <a:gd name="T59" fmla="*/ 2147483647 h 820"/>
                <a:gd name="T60" fmla="*/ 2147483647 w 429"/>
                <a:gd name="T61" fmla="*/ 2147483647 h 820"/>
                <a:gd name="T62" fmla="*/ 2147483647 w 429"/>
                <a:gd name="T63" fmla="*/ 2147483647 h 820"/>
                <a:gd name="T64" fmla="*/ 2147483647 w 429"/>
                <a:gd name="T65" fmla="*/ 0 h 8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9"/>
                <a:gd name="T100" fmla="*/ 0 h 820"/>
                <a:gd name="T101" fmla="*/ 429 w 429"/>
                <a:gd name="T102" fmla="*/ 820 h 8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9" h="820">
                  <a:moveTo>
                    <a:pt x="428" y="0"/>
                  </a:moveTo>
                  <a:lnTo>
                    <a:pt x="390" y="0"/>
                  </a:lnTo>
                  <a:lnTo>
                    <a:pt x="354" y="0"/>
                  </a:lnTo>
                  <a:lnTo>
                    <a:pt x="317" y="0"/>
                  </a:lnTo>
                  <a:lnTo>
                    <a:pt x="275" y="0"/>
                  </a:lnTo>
                  <a:lnTo>
                    <a:pt x="236" y="0"/>
                  </a:lnTo>
                  <a:lnTo>
                    <a:pt x="194" y="0"/>
                  </a:lnTo>
                  <a:lnTo>
                    <a:pt x="154" y="0"/>
                  </a:lnTo>
                  <a:lnTo>
                    <a:pt x="119" y="0"/>
                  </a:lnTo>
                  <a:lnTo>
                    <a:pt x="80" y="0"/>
                  </a:lnTo>
                  <a:lnTo>
                    <a:pt x="38" y="0"/>
                  </a:lnTo>
                  <a:lnTo>
                    <a:pt x="0" y="0"/>
                  </a:lnTo>
                  <a:lnTo>
                    <a:pt x="0" y="89"/>
                  </a:lnTo>
                  <a:lnTo>
                    <a:pt x="0" y="167"/>
                  </a:lnTo>
                  <a:lnTo>
                    <a:pt x="0" y="243"/>
                  </a:lnTo>
                  <a:lnTo>
                    <a:pt x="0" y="318"/>
                  </a:lnTo>
                  <a:lnTo>
                    <a:pt x="0" y="398"/>
                  </a:lnTo>
                  <a:lnTo>
                    <a:pt x="0" y="489"/>
                  </a:lnTo>
                  <a:lnTo>
                    <a:pt x="11" y="501"/>
                  </a:lnTo>
                  <a:lnTo>
                    <a:pt x="3" y="503"/>
                  </a:lnTo>
                  <a:lnTo>
                    <a:pt x="4" y="509"/>
                  </a:lnTo>
                  <a:lnTo>
                    <a:pt x="15" y="521"/>
                  </a:lnTo>
                  <a:lnTo>
                    <a:pt x="26" y="520"/>
                  </a:lnTo>
                  <a:lnTo>
                    <a:pt x="31" y="533"/>
                  </a:lnTo>
                  <a:lnTo>
                    <a:pt x="42" y="536"/>
                  </a:lnTo>
                  <a:lnTo>
                    <a:pt x="44" y="529"/>
                  </a:lnTo>
                  <a:lnTo>
                    <a:pt x="53" y="537"/>
                  </a:lnTo>
                  <a:lnTo>
                    <a:pt x="59" y="555"/>
                  </a:lnTo>
                  <a:lnTo>
                    <a:pt x="64" y="554"/>
                  </a:lnTo>
                  <a:lnTo>
                    <a:pt x="71" y="565"/>
                  </a:lnTo>
                  <a:lnTo>
                    <a:pt x="76" y="591"/>
                  </a:lnTo>
                  <a:lnTo>
                    <a:pt x="86" y="583"/>
                  </a:lnTo>
                  <a:lnTo>
                    <a:pt x="96" y="589"/>
                  </a:lnTo>
                  <a:lnTo>
                    <a:pt x="92" y="597"/>
                  </a:lnTo>
                  <a:lnTo>
                    <a:pt x="96" y="603"/>
                  </a:lnTo>
                  <a:lnTo>
                    <a:pt x="103" y="607"/>
                  </a:lnTo>
                  <a:lnTo>
                    <a:pt x="115" y="604"/>
                  </a:lnTo>
                  <a:lnTo>
                    <a:pt x="131" y="636"/>
                  </a:lnTo>
                  <a:lnTo>
                    <a:pt x="143" y="631"/>
                  </a:lnTo>
                  <a:lnTo>
                    <a:pt x="158" y="655"/>
                  </a:lnTo>
                  <a:lnTo>
                    <a:pt x="160" y="664"/>
                  </a:lnTo>
                  <a:lnTo>
                    <a:pt x="188" y="688"/>
                  </a:lnTo>
                  <a:lnTo>
                    <a:pt x="187" y="696"/>
                  </a:lnTo>
                  <a:lnTo>
                    <a:pt x="200" y="704"/>
                  </a:lnTo>
                  <a:lnTo>
                    <a:pt x="205" y="716"/>
                  </a:lnTo>
                  <a:lnTo>
                    <a:pt x="214" y="715"/>
                  </a:lnTo>
                  <a:lnTo>
                    <a:pt x="224" y="729"/>
                  </a:lnTo>
                  <a:lnTo>
                    <a:pt x="229" y="748"/>
                  </a:lnTo>
                  <a:lnTo>
                    <a:pt x="230" y="771"/>
                  </a:lnTo>
                  <a:lnTo>
                    <a:pt x="225" y="781"/>
                  </a:lnTo>
                  <a:lnTo>
                    <a:pt x="232" y="783"/>
                  </a:lnTo>
                  <a:lnTo>
                    <a:pt x="232" y="793"/>
                  </a:lnTo>
                  <a:lnTo>
                    <a:pt x="255" y="820"/>
                  </a:lnTo>
                  <a:lnTo>
                    <a:pt x="310" y="820"/>
                  </a:lnTo>
                  <a:lnTo>
                    <a:pt x="375" y="820"/>
                  </a:lnTo>
                  <a:lnTo>
                    <a:pt x="428" y="820"/>
                  </a:lnTo>
                  <a:lnTo>
                    <a:pt x="428" y="760"/>
                  </a:lnTo>
                  <a:lnTo>
                    <a:pt x="428" y="703"/>
                  </a:lnTo>
                  <a:lnTo>
                    <a:pt x="428" y="620"/>
                  </a:lnTo>
                  <a:lnTo>
                    <a:pt x="429" y="518"/>
                  </a:lnTo>
                  <a:lnTo>
                    <a:pt x="429" y="422"/>
                  </a:lnTo>
                  <a:lnTo>
                    <a:pt x="429" y="301"/>
                  </a:lnTo>
                  <a:lnTo>
                    <a:pt x="429" y="188"/>
                  </a:lnTo>
                  <a:lnTo>
                    <a:pt x="429" y="89"/>
                  </a:lnTo>
                  <a:lnTo>
                    <a:pt x="429" y="0"/>
                  </a:lnTo>
                  <a:lnTo>
                    <a:pt x="428"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5" name="Freeform 1090"/>
            <p:cNvSpPr>
              <a:spLocks/>
            </p:cNvSpPr>
            <p:nvPr/>
          </p:nvSpPr>
          <p:spPr bwMode="auto">
            <a:xfrm>
              <a:off x="3191828" y="3123079"/>
              <a:ext cx="174867" cy="341339"/>
            </a:xfrm>
            <a:custGeom>
              <a:avLst/>
              <a:gdLst>
                <a:gd name="T0" fmla="*/ 2147483647 w 373"/>
                <a:gd name="T1" fmla="*/ 2147483647 h 821"/>
                <a:gd name="T2" fmla="*/ 2147483647 w 373"/>
                <a:gd name="T3" fmla="*/ 2147483647 h 821"/>
                <a:gd name="T4" fmla="*/ 2147483647 w 373"/>
                <a:gd name="T5" fmla="*/ 2147483647 h 821"/>
                <a:gd name="T6" fmla="*/ 2147483647 w 373"/>
                <a:gd name="T7" fmla="*/ 2147483647 h 821"/>
                <a:gd name="T8" fmla="*/ 2147483647 w 373"/>
                <a:gd name="T9" fmla="*/ 2147483647 h 821"/>
                <a:gd name="T10" fmla="*/ 2147483647 w 373"/>
                <a:gd name="T11" fmla="*/ 2147483647 h 821"/>
                <a:gd name="T12" fmla="*/ 2147483647 w 373"/>
                <a:gd name="T13" fmla="*/ 2147483647 h 821"/>
                <a:gd name="T14" fmla="*/ 2147483647 w 373"/>
                <a:gd name="T15" fmla="*/ 2147483647 h 821"/>
                <a:gd name="T16" fmla="*/ 2147483647 w 373"/>
                <a:gd name="T17" fmla="*/ 2147483647 h 821"/>
                <a:gd name="T18" fmla="*/ 2147483647 w 373"/>
                <a:gd name="T19" fmla="*/ 2147483647 h 821"/>
                <a:gd name="T20" fmla="*/ 2147483647 w 373"/>
                <a:gd name="T21" fmla="*/ 2147483647 h 821"/>
                <a:gd name="T22" fmla="*/ 2147483647 w 373"/>
                <a:gd name="T23" fmla="*/ 2147483647 h 821"/>
                <a:gd name="T24" fmla="*/ 2147483647 w 373"/>
                <a:gd name="T25" fmla="*/ 2147483647 h 821"/>
                <a:gd name="T26" fmla="*/ 2147483647 w 373"/>
                <a:gd name="T27" fmla="*/ 0 h 821"/>
                <a:gd name="T28" fmla="*/ 2147483647 w 373"/>
                <a:gd name="T29" fmla="*/ 0 h 821"/>
                <a:gd name="T30" fmla="*/ 2147483647 w 373"/>
                <a:gd name="T31" fmla="*/ 0 h 821"/>
                <a:gd name="T32" fmla="*/ 2147483647 w 373"/>
                <a:gd name="T33" fmla="*/ 0 h 821"/>
                <a:gd name="T34" fmla="*/ 2147483647 w 373"/>
                <a:gd name="T35" fmla="*/ 0 h 821"/>
                <a:gd name="T36" fmla="*/ 2147483647 w 373"/>
                <a:gd name="T37" fmla="*/ 0 h 821"/>
                <a:gd name="T38" fmla="*/ 2147483647 w 373"/>
                <a:gd name="T39" fmla="*/ 0 h 821"/>
                <a:gd name="T40" fmla="*/ 2147483647 w 373"/>
                <a:gd name="T41" fmla="*/ 0 h 821"/>
                <a:gd name="T42" fmla="*/ 2147483647 w 373"/>
                <a:gd name="T43" fmla="*/ 0 h 821"/>
                <a:gd name="T44" fmla="*/ 0 w 373"/>
                <a:gd name="T45" fmla="*/ 0 h 821"/>
                <a:gd name="T46" fmla="*/ 2147483647 w 373"/>
                <a:gd name="T47" fmla="*/ 0 h 821"/>
                <a:gd name="T48" fmla="*/ 2147483647 w 373"/>
                <a:gd name="T49" fmla="*/ 2147483647 h 821"/>
                <a:gd name="T50" fmla="*/ 2147483647 w 373"/>
                <a:gd name="T51" fmla="*/ 2147483647 h 821"/>
                <a:gd name="T52" fmla="*/ 2147483647 w 373"/>
                <a:gd name="T53" fmla="*/ 2147483647 h 821"/>
                <a:gd name="T54" fmla="*/ 2147483647 w 373"/>
                <a:gd name="T55" fmla="*/ 2147483647 h 821"/>
                <a:gd name="T56" fmla="*/ 2147483647 w 373"/>
                <a:gd name="T57" fmla="*/ 2147483647 h 821"/>
                <a:gd name="T58" fmla="*/ 0 w 373"/>
                <a:gd name="T59" fmla="*/ 2147483647 h 821"/>
                <a:gd name="T60" fmla="*/ 0 w 373"/>
                <a:gd name="T61" fmla="*/ 2147483647 h 821"/>
                <a:gd name="T62" fmla="*/ 0 w 373"/>
                <a:gd name="T63" fmla="*/ 2147483647 h 821"/>
                <a:gd name="T64" fmla="*/ 0 w 373"/>
                <a:gd name="T65" fmla="*/ 2147483647 h 821"/>
                <a:gd name="T66" fmla="*/ 2147483647 w 373"/>
                <a:gd name="T67" fmla="*/ 2147483647 h 821"/>
                <a:gd name="T68" fmla="*/ 2147483647 w 373"/>
                <a:gd name="T69" fmla="*/ 2147483647 h 821"/>
                <a:gd name="T70" fmla="*/ 2147483647 w 373"/>
                <a:gd name="T71" fmla="*/ 2147483647 h 821"/>
                <a:gd name="T72" fmla="*/ 2147483647 w 373"/>
                <a:gd name="T73" fmla="*/ 2147483647 h 821"/>
                <a:gd name="T74" fmla="*/ 2147483647 w 373"/>
                <a:gd name="T75" fmla="*/ 2147483647 h 821"/>
                <a:gd name="T76" fmla="*/ 2147483647 w 373"/>
                <a:gd name="T77" fmla="*/ 2147483647 h 8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3"/>
                <a:gd name="T118" fmla="*/ 0 h 821"/>
                <a:gd name="T119" fmla="*/ 373 w 373"/>
                <a:gd name="T120" fmla="*/ 821 h 8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3" h="821">
                  <a:moveTo>
                    <a:pt x="373" y="821"/>
                  </a:moveTo>
                  <a:lnTo>
                    <a:pt x="371" y="776"/>
                  </a:lnTo>
                  <a:lnTo>
                    <a:pt x="367" y="718"/>
                  </a:lnTo>
                  <a:lnTo>
                    <a:pt x="363" y="652"/>
                  </a:lnTo>
                  <a:lnTo>
                    <a:pt x="360" y="588"/>
                  </a:lnTo>
                  <a:lnTo>
                    <a:pt x="357" y="542"/>
                  </a:lnTo>
                  <a:lnTo>
                    <a:pt x="354" y="479"/>
                  </a:lnTo>
                  <a:lnTo>
                    <a:pt x="350" y="408"/>
                  </a:lnTo>
                  <a:lnTo>
                    <a:pt x="346" y="339"/>
                  </a:lnTo>
                  <a:lnTo>
                    <a:pt x="346" y="294"/>
                  </a:lnTo>
                  <a:lnTo>
                    <a:pt x="346" y="228"/>
                  </a:lnTo>
                  <a:lnTo>
                    <a:pt x="346" y="157"/>
                  </a:lnTo>
                  <a:lnTo>
                    <a:pt x="346" y="78"/>
                  </a:lnTo>
                  <a:lnTo>
                    <a:pt x="346" y="0"/>
                  </a:lnTo>
                  <a:lnTo>
                    <a:pt x="319" y="0"/>
                  </a:lnTo>
                  <a:lnTo>
                    <a:pt x="278" y="0"/>
                  </a:lnTo>
                  <a:lnTo>
                    <a:pt x="238" y="0"/>
                  </a:lnTo>
                  <a:lnTo>
                    <a:pt x="197" y="0"/>
                  </a:lnTo>
                  <a:lnTo>
                    <a:pt x="157" y="0"/>
                  </a:lnTo>
                  <a:lnTo>
                    <a:pt x="121" y="0"/>
                  </a:lnTo>
                  <a:lnTo>
                    <a:pt x="82" y="0"/>
                  </a:lnTo>
                  <a:lnTo>
                    <a:pt x="40" y="0"/>
                  </a:lnTo>
                  <a:lnTo>
                    <a:pt x="0" y="0"/>
                  </a:lnTo>
                  <a:lnTo>
                    <a:pt x="1" y="0"/>
                  </a:lnTo>
                  <a:lnTo>
                    <a:pt x="1" y="89"/>
                  </a:lnTo>
                  <a:lnTo>
                    <a:pt x="1" y="188"/>
                  </a:lnTo>
                  <a:lnTo>
                    <a:pt x="1" y="301"/>
                  </a:lnTo>
                  <a:lnTo>
                    <a:pt x="1" y="422"/>
                  </a:lnTo>
                  <a:lnTo>
                    <a:pt x="1" y="518"/>
                  </a:lnTo>
                  <a:lnTo>
                    <a:pt x="0" y="620"/>
                  </a:lnTo>
                  <a:lnTo>
                    <a:pt x="0" y="703"/>
                  </a:lnTo>
                  <a:lnTo>
                    <a:pt x="0" y="760"/>
                  </a:lnTo>
                  <a:lnTo>
                    <a:pt x="0" y="820"/>
                  </a:lnTo>
                  <a:lnTo>
                    <a:pt x="63" y="820"/>
                  </a:lnTo>
                  <a:lnTo>
                    <a:pt x="134" y="820"/>
                  </a:lnTo>
                  <a:lnTo>
                    <a:pt x="210" y="820"/>
                  </a:lnTo>
                  <a:lnTo>
                    <a:pt x="259" y="821"/>
                  </a:lnTo>
                  <a:lnTo>
                    <a:pt x="314" y="821"/>
                  </a:lnTo>
                  <a:lnTo>
                    <a:pt x="373" y="821"/>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6" name="Freeform 1091"/>
            <p:cNvSpPr>
              <a:spLocks/>
            </p:cNvSpPr>
            <p:nvPr/>
          </p:nvSpPr>
          <p:spPr bwMode="auto">
            <a:xfrm>
              <a:off x="2602725" y="3123079"/>
              <a:ext cx="507402" cy="341339"/>
            </a:xfrm>
            <a:custGeom>
              <a:avLst/>
              <a:gdLst>
                <a:gd name="T0" fmla="*/ 2147483647 w 1079"/>
                <a:gd name="T1" fmla="*/ 0 h 820"/>
                <a:gd name="T2" fmla="*/ 2147483647 w 1079"/>
                <a:gd name="T3" fmla="*/ 2147483647 h 820"/>
                <a:gd name="T4" fmla="*/ 2147483647 w 1079"/>
                <a:gd name="T5" fmla="*/ 2147483647 h 820"/>
                <a:gd name="T6" fmla="*/ 2147483647 w 1079"/>
                <a:gd name="T7" fmla="*/ 2147483647 h 820"/>
                <a:gd name="T8" fmla="*/ 2147483647 w 1079"/>
                <a:gd name="T9" fmla="*/ 2147483647 h 820"/>
                <a:gd name="T10" fmla="*/ 2147483647 w 1079"/>
                <a:gd name="T11" fmla="*/ 2147483647 h 820"/>
                <a:gd name="T12" fmla="*/ 2147483647 w 1079"/>
                <a:gd name="T13" fmla="*/ 2147483647 h 820"/>
                <a:gd name="T14" fmla="*/ 2147483647 w 1079"/>
                <a:gd name="T15" fmla="*/ 2147483647 h 820"/>
                <a:gd name="T16" fmla="*/ 2147483647 w 1079"/>
                <a:gd name="T17" fmla="*/ 2147483647 h 820"/>
                <a:gd name="T18" fmla="*/ 2147483647 w 1079"/>
                <a:gd name="T19" fmla="*/ 2147483647 h 820"/>
                <a:gd name="T20" fmla="*/ 2147483647 w 1079"/>
                <a:gd name="T21" fmla="*/ 2147483647 h 820"/>
                <a:gd name="T22" fmla="*/ 2147483647 w 1079"/>
                <a:gd name="T23" fmla="*/ 2147483647 h 820"/>
                <a:gd name="T24" fmla="*/ 2147483647 w 1079"/>
                <a:gd name="T25" fmla="*/ 2147483647 h 820"/>
                <a:gd name="T26" fmla="*/ 2147483647 w 1079"/>
                <a:gd name="T27" fmla="*/ 2147483647 h 820"/>
                <a:gd name="T28" fmla="*/ 2147483647 w 1079"/>
                <a:gd name="T29" fmla="*/ 2147483647 h 820"/>
                <a:gd name="T30" fmla="*/ 2147483647 w 1079"/>
                <a:gd name="T31" fmla="*/ 2147483647 h 820"/>
                <a:gd name="T32" fmla="*/ 2147483647 w 1079"/>
                <a:gd name="T33" fmla="*/ 2147483647 h 820"/>
                <a:gd name="T34" fmla="*/ 2147483647 w 1079"/>
                <a:gd name="T35" fmla="*/ 2147483647 h 820"/>
                <a:gd name="T36" fmla="*/ 2147483647 w 1079"/>
                <a:gd name="T37" fmla="*/ 2147483647 h 820"/>
                <a:gd name="T38" fmla="*/ 2147483647 w 1079"/>
                <a:gd name="T39" fmla="*/ 2147483647 h 820"/>
                <a:gd name="T40" fmla="*/ 2147483647 w 1079"/>
                <a:gd name="T41" fmla="*/ 2147483647 h 820"/>
                <a:gd name="T42" fmla="*/ 2147483647 w 1079"/>
                <a:gd name="T43" fmla="*/ 2147483647 h 820"/>
                <a:gd name="T44" fmla="*/ 2147483647 w 1079"/>
                <a:gd name="T45" fmla="*/ 2147483647 h 820"/>
                <a:gd name="T46" fmla="*/ 2147483647 w 1079"/>
                <a:gd name="T47" fmla="*/ 2147483647 h 820"/>
                <a:gd name="T48" fmla="*/ 2147483647 w 1079"/>
                <a:gd name="T49" fmla="*/ 2147483647 h 820"/>
                <a:gd name="T50" fmla="*/ 2147483647 w 1079"/>
                <a:gd name="T51" fmla="*/ 2147483647 h 820"/>
                <a:gd name="T52" fmla="*/ 2147483647 w 1079"/>
                <a:gd name="T53" fmla="*/ 2147483647 h 820"/>
                <a:gd name="T54" fmla="*/ 2147483647 w 1079"/>
                <a:gd name="T55" fmla="*/ 2147483647 h 820"/>
                <a:gd name="T56" fmla="*/ 2147483647 w 1079"/>
                <a:gd name="T57" fmla="*/ 2147483647 h 820"/>
                <a:gd name="T58" fmla="*/ 2147483647 w 1079"/>
                <a:gd name="T59" fmla="*/ 2147483647 h 820"/>
                <a:gd name="T60" fmla="*/ 2147483647 w 1079"/>
                <a:gd name="T61" fmla="*/ 2147483647 h 820"/>
                <a:gd name="T62" fmla="*/ 2147483647 w 1079"/>
                <a:gd name="T63" fmla="*/ 2147483647 h 820"/>
                <a:gd name="T64" fmla="*/ 2147483647 w 1079"/>
                <a:gd name="T65" fmla="*/ 2147483647 h 820"/>
                <a:gd name="T66" fmla="*/ 2147483647 w 1079"/>
                <a:gd name="T67" fmla="*/ 2147483647 h 820"/>
                <a:gd name="T68" fmla="*/ 2147483647 w 1079"/>
                <a:gd name="T69" fmla="*/ 2147483647 h 820"/>
                <a:gd name="T70" fmla="*/ 2147483647 w 1079"/>
                <a:gd name="T71" fmla="*/ 2147483647 h 820"/>
                <a:gd name="T72" fmla="*/ 2147483647 w 1079"/>
                <a:gd name="T73" fmla="*/ 2147483647 h 820"/>
                <a:gd name="T74" fmla="*/ 2147483647 w 1079"/>
                <a:gd name="T75" fmla="*/ 2147483647 h 820"/>
                <a:gd name="T76" fmla="*/ 2147483647 w 1079"/>
                <a:gd name="T77" fmla="*/ 2147483647 h 820"/>
                <a:gd name="T78" fmla="*/ 2147483647 w 1079"/>
                <a:gd name="T79" fmla="*/ 2147483647 h 820"/>
                <a:gd name="T80" fmla="*/ 2147483647 w 1079"/>
                <a:gd name="T81" fmla="*/ 2147483647 h 820"/>
                <a:gd name="T82" fmla="*/ 2147483647 w 1079"/>
                <a:gd name="T83" fmla="*/ 2147483647 h 820"/>
                <a:gd name="T84" fmla="*/ 2147483647 w 1079"/>
                <a:gd name="T85" fmla="*/ 2147483647 h 820"/>
                <a:gd name="T86" fmla="*/ 2147483647 w 1079"/>
                <a:gd name="T87" fmla="*/ 2147483647 h 820"/>
                <a:gd name="T88" fmla="*/ 2147483647 w 1079"/>
                <a:gd name="T89" fmla="*/ 2147483647 h 820"/>
                <a:gd name="T90" fmla="*/ 2147483647 w 1079"/>
                <a:gd name="T91" fmla="*/ 2147483647 h 820"/>
                <a:gd name="T92" fmla="*/ 2147483647 w 1079"/>
                <a:gd name="T93" fmla="*/ 2147483647 h 820"/>
                <a:gd name="T94" fmla="*/ 2147483647 w 1079"/>
                <a:gd name="T95" fmla="*/ 2147483647 h 820"/>
                <a:gd name="T96" fmla="*/ 2147483647 w 1079"/>
                <a:gd name="T97" fmla="*/ 2147483647 h 820"/>
                <a:gd name="T98" fmla="*/ 2147483647 w 1079"/>
                <a:gd name="T99" fmla="*/ 2147483647 h 820"/>
                <a:gd name="T100" fmla="*/ 2147483647 w 1079"/>
                <a:gd name="T101" fmla="*/ 0 h 820"/>
                <a:gd name="T102" fmla="*/ 2147483647 w 1079"/>
                <a:gd name="T103" fmla="*/ 0 h 820"/>
                <a:gd name="T104" fmla="*/ 2147483647 w 1079"/>
                <a:gd name="T105" fmla="*/ 0 h 820"/>
                <a:gd name="T106" fmla="*/ 2147483647 w 1079"/>
                <a:gd name="T107" fmla="*/ 0 h 820"/>
                <a:gd name="T108" fmla="*/ 2147483647 w 1079"/>
                <a:gd name="T109" fmla="*/ 0 h 820"/>
                <a:gd name="T110" fmla="*/ 2147483647 w 1079"/>
                <a:gd name="T111" fmla="*/ 0 h 8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79"/>
                <a:gd name="T169" fmla="*/ 0 h 820"/>
                <a:gd name="T170" fmla="*/ 1079 w 1079"/>
                <a:gd name="T171" fmla="*/ 820 h 8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79" h="820">
                  <a:moveTo>
                    <a:pt x="700" y="0"/>
                  </a:moveTo>
                  <a:lnTo>
                    <a:pt x="737" y="0"/>
                  </a:lnTo>
                  <a:lnTo>
                    <a:pt x="775" y="0"/>
                  </a:lnTo>
                  <a:lnTo>
                    <a:pt x="824" y="0"/>
                  </a:lnTo>
                  <a:lnTo>
                    <a:pt x="824" y="89"/>
                  </a:lnTo>
                  <a:lnTo>
                    <a:pt x="824" y="167"/>
                  </a:lnTo>
                  <a:lnTo>
                    <a:pt x="824" y="243"/>
                  </a:lnTo>
                  <a:lnTo>
                    <a:pt x="824" y="318"/>
                  </a:lnTo>
                  <a:lnTo>
                    <a:pt x="824" y="398"/>
                  </a:lnTo>
                  <a:lnTo>
                    <a:pt x="824" y="489"/>
                  </a:lnTo>
                  <a:lnTo>
                    <a:pt x="835" y="501"/>
                  </a:lnTo>
                  <a:lnTo>
                    <a:pt x="827" y="503"/>
                  </a:lnTo>
                  <a:lnTo>
                    <a:pt x="828" y="509"/>
                  </a:lnTo>
                  <a:lnTo>
                    <a:pt x="839" y="521"/>
                  </a:lnTo>
                  <a:lnTo>
                    <a:pt x="850" y="520"/>
                  </a:lnTo>
                  <a:lnTo>
                    <a:pt x="855" y="533"/>
                  </a:lnTo>
                  <a:lnTo>
                    <a:pt x="866" y="536"/>
                  </a:lnTo>
                  <a:lnTo>
                    <a:pt x="868" y="529"/>
                  </a:lnTo>
                  <a:lnTo>
                    <a:pt x="877" y="537"/>
                  </a:lnTo>
                  <a:lnTo>
                    <a:pt x="883" y="555"/>
                  </a:lnTo>
                  <a:lnTo>
                    <a:pt x="888" y="554"/>
                  </a:lnTo>
                  <a:lnTo>
                    <a:pt x="895" y="565"/>
                  </a:lnTo>
                  <a:lnTo>
                    <a:pt x="900" y="591"/>
                  </a:lnTo>
                  <a:lnTo>
                    <a:pt x="910" y="583"/>
                  </a:lnTo>
                  <a:lnTo>
                    <a:pt x="920" y="589"/>
                  </a:lnTo>
                  <a:lnTo>
                    <a:pt x="916" y="597"/>
                  </a:lnTo>
                  <a:lnTo>
                    <a:pt x="920" y="603"/>
                  </a:lnTo>
                  <a:lnTo>
                    <a:pt x="927" y="607"/>
                  </a:lnTo>
                  <a:lnTo>
                    <a:pt x="939" y="604"/>
                  </a:lnTo>
                  <a:lnTo>
                    <a:pt x="955" y="636"/>
                  </a:lnTo>
                  <a:lnTo>
                    <a:pt x="967" y="631"/>
                  </a:lnTo>
                  <a:lnTo>
                    <a:pt x="982" y="655"/>
                  </a:lnTo>
                  <a:lnTo>
                    <a:pt x="984" y="664"/>
                  </a:lnTo>
                  <a:lnTo>
                    <a:pt x="1012" y="688"/>
                  </a:lnTo>
                  <a:lnTo>
                    <a:pt x="1011" y="696"/>
                  </a:lnTo>
                  <a:lnTo>
                    <a:pt x="1024" y="704"/>
                  </a:lnTo>
                  <a:lnTo>
                    <a:pt x="1029" y="716"/>
                  </a:lnTo>
                  <a:lnTo>
                    <a:pt x="1038" y="715"/>
                  </a:lnTo>
                  <a:lnTo>
                    <a:pt x="1048" y="729"/>
                  </a:lnTo>
                  <a:lnTo>
                    <a:pt x="1053" y="748"/>
                  </a:lnTo>
                  <a:lnTo>
                    <a:pt x="1054" y="771"/>
                  </a:lnTo>
                  <a:lnTo>
                    <a:pt x="1049" y="781"/>
                  </a:lnTo>
                  <a:lnTo>
                    <a:pt x="1056" y="783"/>
                  </a:lnTo>
                  <a:lnTo>
                    <a:pt x="1056" y="793"/>
                  </a:lnTo>
                  <a:lnTo>
                    <a:pt x="1079" y="820"/>
                  </a:lnTo>
                  <a:lnTo>
                    <a:pt x="1034" y="820"/>
                  </a:lnTo>
                  <a:lnTo>
                    <a:pt x="993" y="820"/>
                  </a:lnTo>
                  <a:lnTo>
                    <a:pt x="952" y="820"/>
                  </a:lnTo>
                  <a:lnTo>
                    <a:pt x="900" y="820"/>
                  </a:lnTo>
                  <a:lnTo>
                    <a:pt x="842" y="820"/>
                  </a:lnTo>
                  <a:lnTo>
                    <a:pt x="787" y="820"/>
                  </a:lnTo>
                  <a:lnTo>
                    <a:pt x="755" y="820"/>
                  </a:lnTo>
                  <a:lnTo>
                    <a:pt x="705" y="820"/>
                  </a:lnTo>
                  <a:lnTo>
                    <a:pt x="696" y="814"/>
                  </a:lnTo>
                  <a:lnTo>
                    <a:pt x="696" y="809"/>
                  </a:lnTo>
                  <a:lnTo>
                    <a:pt x="713" y="807"/>
                  </a:lnTo>
                  <a:lnTo>
                    <a:pt x="712" y="803"/>
                  </a:lnTo>
                  <a:lnTo>
                    <a:pt x="689" y="801"/>
                  </a:lnTo>
                  <a:lnTo>
                    <a:pt x="689" y="773"/>
                  </a:lnTo>
                  <a:lnTo>
                    <a:pt x="685" y="771"/>
                  </a:lnTo>
                  <a:lnTo>
                    <a:pt x="673" y="790"/>
                  </a:lnTo>
                  <a:lnTo>
                    <a:pt x="668" y="789"/>
                  </a:lnTo>
                  <a:lnTo>
                    <a:pt x="669" y="773"/>
                  </a:lnTo>
                  <a:lnTo>
                    <a:pt x="663" y="773"/>
                  </a:lnTo>
                  <a:lnTo>
                    <a:pt x="654" y="750"/>
                  </a:lnTo>
                  <a:lnTo>
                    <a:pt x="654" y="762"/>
                  </a:lnTo>
                  <a:lnTo>
                    <a:pt x="650" y="755"/>
                  </a:lnTo>
                  <a:lnTo>
                    <a:pt x="644" y="765"/>
                  </a:lnTo>
                  <a:lnTo>
                    <a:pt x="635" y="765"/>
                  </a:lnTo>
                  <a:lnTo>
                    <a:pt x="620" y="750"/>
                  </a:lnTo>
                  <a:lnTo>
                    <a:pt x="619" y="747"/>
                  </a:lnTo>
                  <a:lnTo>
                    <a:pt x="626" y="739"/>
                  </a:lnTo>
                  <a:lnTo>
                    <a:pt x="625" y="724"/>
                  </a:lnTo>
                  <a:lnTo>
                    <a:pt x="613" y="727"/>
                  </a:lnTo>
                  <a:lnTo>
                    <a:pt x="609" y="716"/>
                  </a:lnTo>
                  <a:lnTo>
                    <a:pt x="597" y="721"/>
                  </a:lnTo>
                  <a:lnTo>
                    <a:pt x="581" y="715"/>
                  </a:lnTo>
                  <a:lnTo>
                    <a:pt x="576" y="721"/>
                  </a:lnTo>
                  <a:lnTo>
                    <a:pt x="550" y="717"/>
                  </a:lnTo>
                  <a:lnTo>
                    <a:pt x="547" y="714"/>
                  </a:lnTo>
                  <a:lnTo>
                    <a:pt x="569" y="706"/>
                  </a:lnTo>
                  <a:lnTo>
                    <a:pt x="560" y="705"/>
                  </a:lnTo>
                  <a:lnTo>
                    <a:pt x="562" y="698"/>
                  </a:lnTo>
                  <a:lnTo>
                    <a:pt x="550" y="694"/>
                  </a:lnTo>
                  <a:lnTo>
                    <a:pt x="559" y="691"/>
                  </a:lnTo>
                  <a:lnTo>
                    <a:pt x="555" y="687"/>
                  </a:lnTo>
                  <a:lnTo>
                    <a:pt x="543" y="684"/>
                  </a:lnTo>
                  <a:lnTo>
                    <a:pt x="537" y="690"/>
                  </a:lnTo>
                  <a:lnTo>
                    <a:pt x="520" y="685"/>
                  </a:lnTo>
                  <a:lnTo>
                    <a:pt x="521" y="692"/>
                  </a:lnTo>
                  <a:lnTo>
                    <a:pt x="517" y="693"/>
                  </a:lnTo>
                  <a:lnTo>
                    <a:pt x="494" y="676"/>
                  </a:lnTo>
                  <a:lnTo>
                    <a:pt x="492" y="667"/>
                  </a:lnTo>
                  <a:lnTo>
                    <a:pt x="506" y="663"/>
                  </a:lnTo>
                  <a:lnTo>
                    <a:pt x="492" y="660"/>
                  </a:lnTo>
                  <a:lnTo>
                    <a:pt x="493" y="656"/>
                  </a:lnTo>
                  <a:lnTo>
                    <a:pt x="512" y="652"/>
                  </a:lnTo>
                  <a:lnTo>
                    <a:pt x="504" y="649"/>
                  </a:lnTo>
                  <a:lnTo>
                    <a:pt x="508" y="640"/>
                  </a:lnTo>
                  <a:lnTo>
                    <a:pt x="503" y="633"/>
                  </a:lnTo>
                  <a:lnTo>
                    <a:pt x="495" y="643"/>
                  </a:lnTo>
                  <a:lnTo>
                    <a:pt x="489" y="643"/>
                  </a:lnTo>
                  <a:lnTo>
                    <a:pt x="489" y="618"/>
                  </a:lnTo>
                  <a:lnTo>
                    <a:pt x="486" y="614"/>
                  </a:lnTo>
                  <a:lnTo>
                    <a:pt x="488" y="601"/>
                  </a:lnTo>
                  <a:lnTo>
                    <a:pt x="483" y="585"/>
                  </a:lnTo>
                  <a:lnTo>
                    <a:pt x="467" y="591"/>
                  </a:lnTo>
                  <a:lnTo>
                    <a:pt x="468" y="578"/>
                  </a:lnTo>
                  <a:lnTo>
                    <a:pt x="448" y="579"/>
                  </a:lnTo>
                  <a:lnTo>
                    <a:pt x="444" y="566"/>
                  </a:lnTo>
                  <a:lnTo>
                    <a:pt x="431" y="546"/>
                  </a:lnTo>
                  <a:lnTo>
                    <a:pt x="436" y="533"/>
                  </a:lnTo>
                  <a:lnTo>
                    <a:pt x="435" y="513"/>
                  </a:lnTo>
                  <a:lnTo>
                    <a:pt x="425" y="515"/>
                  </a:lnTo>
                  <a:lnTo>
                    <a:pt x="391" y="478"/>
                  </a:lnTo>
                  <a:lnTo>
                    <a:pt x="391" y="468"/>
                  </a:lnTo>
                  <a:lnTo>
                    <a:pt x="398" y="462"/>
                  </a:lnTo>
                  <a:lnTo>
                    <a:pt x="397" y="458"/>
                  </a:lnTo>
                  <a:lnTo>
                    <a:pt x="383" y="457"/>
                  </a:lnTo>
                  <a:lnTo>
                    <a:pt x="375" y="445"/>
                  </a:lnTo>
                  <a:lnTo>
                    <a:pt x="375" y="434"/>
                  </a:lnTo>
                  <a:lnTo>
                    <a:pt x="380" y="424"/>
                  </a:lnTo>
                  <a:lnTo>
                    <a:pt x="390" y="424"/>
                  </a:lnTo>
                  <a:lnTo>
                    <a:pt x="387" y="416"/>
                  </a:lnTo>
                  <a:lnTo>
                    <a:pt x="393" y="405"/>
                  </a:lnTo>
                  <a:lnTo>
                    <a:pt x="389" y="396"/>
                  </a:lnTo>
                  <a:lnTo>
                    <a:pt x="393" y="388"/>
                  </a:lnTo>
                  <a:lnTo>
                    <a:pt x="394" y="383"/>
                  </a:lnTo>
                  <a:lnTo>
                    <a:pt x="390" y="346"/>
                  </a:lnTo>
                  <a:lnTo>
                    <a:pt x="394" y="328"/>
                  </a:lnTo>
                  <a:lnTo>
                    <a:pt x="392" y="323"/>
                  </a:lnTo>
                  <a:lnTo>
                    <a:pt x="351" y="295"/>
                  </a:lnTo>
                  <a:lnTo>
                    <a:pt x="323" y="287"/>
                  </a:lnTo>
                  <a:lnTo>
                    <a:pt x="310" y="277"/>
                  </a:lnTo>
                  <a:lnTo>
                    <a:pt x="300" y="248"/>
                  </a:lnTo>
                  <a:lnTo>
                    <a:pt x="292" y="241"/>
                  </a:lnTo>
                  <a:lnTo>
                    <a:pt x="292" y="231"/>
                  </a:lnTo>
                  <a:lnTo>
                    <a:pt x="229" y="113"/>
                  </a:lnTo>
                  <a:lnTo>
                    <a:pt x="203" y="97"/>
                  </a:lnTo>
                  <a:lnTo>
                    <a:pt x="197" y="77"/>
                  </a:lnTo>
                  <a:lnTo>
                    <a:pt x="159" y="19"/>
                  </a:lnTo>
                  <a:lnTo>
                    <a:pt x="121" y="37"/>
                  </a:lnTo>
                  <a:lnTo>
                    <a:pt x="105" y="73"/>
                  </a:lnTo>
                  <a:lnTo>
                    <a:pt x="69" y="91"/>
                  </a:lnTo>
                  <a:lnTo>
                    <a:pt x="57" y="64"/>
                  </a:lnTo>
                  <a:lnTo>
                    <a:pt x="44" y="54"/>
                  </a:lnTo>
                  <a:lnTo>
                    <a:pt x="56" y="38"/>
                  </a:lnTo>
                  <a:lnTo>
                    <a:pt x="43" y="31"/>
                  </a:lnTo>
                  <a:lnTo>
                    <a:pt x="52" y="40"/>
                  </a:lnTo>
                  <a:lnTo>
                    <a:pt x="39" y="47"/>
                  </a:lnTo>
                  <a:lnTo>
                    <a:pt x="0" y="0"/>
                  </a:lnTo>
                  <a:lnTo>
                    <a:pt x="1" y="0"/>
                  </a:lnTo>
                  <a:lnTo>
                    <a:pt x="41" y="0"/>
                  </a:lnTo>
                  <a:lnTo>
                    <a:pt x="82" y="0"/>
                  </a:lnTo>
                  <a:lnTo>
                    <a:pt x="120" y="0"/>
                  </a:lnTo>
                  <a:lnTo>
                    <a:pt x="157" y="0"/>
                  </a:lnTo>
                  <a:lnTo>
                    <a:pt x="195" y="0"/>
                  </a:lnTo>
                  <a:lnTo>
                    <a:pt x="237" y="0"/>
                  </a:lnTo>
                  <a:lnTo>
                    <a:pt x="277" y="0"/>
                  </a:lnTo>
                  <a:lnTo>
                    <a:pt x="319" y="0"/>
                  </a:lnTo>
                  <a:lnTo>
                    <a:pt x="358" y="0"/>
                  </a:lnTo>
                  <a:lnTo>
                    <a:pt x="393" y="0"/>
                  </a:lnTo>
                  <a:lnTo>
                    <a:pt x="433" y="0"/>
                  </a:lnTo>
                  <a:lnTo>
                    <a:pt x="476" y="0"/>
                  </a:lnTo>
                  <a:lnTo>
                    <a:pt x="515" y="0"/>
                  </a:lnTo>
                  <a:lnTo>
                    <a:pt x="557" y="0"/>
                  </a:lnTo>
                  <a:lnTo>
                    <a:pt x="595" y="0"/>
                  </a:lnTo>
                  <a:lnTo>
                    <a:pt x="631" y="0"/>
                  </a:lnTo>
                  <a:lnTo>
                    <a:pt x="658" y="0"/>
                  </a:lnTo>
                  <a:lnTo>
                    <a:pt x="700"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7" name="Freeform 1109"/>
            <p:cNvSpPr>
              <a:spLocks/>
            </p:cNvSpPr>
            <p:nvPr/>
          </p:nvSpPr>
          <p:spPr bwMode="auto">
            <a:xfrm>
              <a:off x="3353795" y="3123079"/>
              <a:ext cx="260867" cy="341339"/>
            </a:xfrm>
            <a:custGeom>
              <a:avLst/>
              <a:gdLst>
                <a:gd name="T0" fmla="*/ 2147483647 w 556"/>
                <a:gd name="T1" fmla="*/ 2147483647 h 821"/>
                <a:gd name="T2" fmla="*/ 2147483647 w 556"/>
                <a:gd name="T3" fmla="*/ 2147483647 h 821"/>
                <a:gd name="T4" fmla="*/ 2147483647 w 556"/>
                <a:gd name="T5" fmla="*/ 2147483647 h 821"/>
                <a:gd name="T6" fmla="*/ 2147483647 w 556"/>
                <a:gd name="T7" fmla="*/ 2147483647 h 821"/>
                <a:gd name="T8" fmla="*/ 2147483647 w 556"/>
                <a:gd name="T9" fmla="*/ 2147483647 h 821"/>
                <a:gd name="T10" fmla="*/ 2147483647 w 556"/>
                <a:gd name="T11" fmla="*/ 2147483647 h 821"/>
                <a:gd name="T12" fmla="*/ 2147483647 w 556"/>
                <a:gd name="T13" fmla="*/ 2147483647 h 821"/>
                <a:gd name="T14" fmla="*/ 2147483647 w 556"/>
                <a:gd name="T15" fmla="*/ 2147483647 h 821"/>
                <a:gd name="T16" fmla="*/ 2147483647 w 556"/>
                <a:gd name="T17" fmla="*/ 2147483647 h 821"/>
                <a:gd name="T18" fmla="*/ 2147483647 w 556"/>
                <a:gd name="T19" fmla="*/ 2147483647 h 821"/>
                <a:gd name="T20" fmla="*/ 2147483647 w 556"/>
                <a:gd name="T21" fmla="*/ 2147483647 h 821"/>
                <a:gd name="T22" fmla="*/ 2147483647 w 556"/>
                <a:gd name="T23" fmla="*/ 2147483647 h 821"/>
                <a:gd name="T24" fmla="*/ 2147483647 w 556"/>
                <a:gd name="T25" fmla="*/ 2147483647 h 821"/>
                <a:gd name="T26" fmla="*/ 2147483647 w 556"/>
                <a:gd name="T27" fmla="*/ 2147483647 h 821"/>
                <a:gd name="T28" fmla="*/ 2147483647 w 556"/>
                <a:gd name="T29" fmla="*/ 2147483647 h 821"/>
                <a:gd name="T30" fmla="*/ 2147483647 w 556"/>
                <a:gd name="T31" fmla="*/ 2147483647 h 821"/>
                <a:gd name="T32" fmla="*/ 2147483647 w 556"/>
                <a:gd name="T33" fmla="*/ 2147483647 h 821"/>
                <a:gd name="T34" fmla="*/ 2147483647 w 556"/>
                <a:gd name="T35" fmla="*/ 2147483647 h 821"/>
                <a:gd name="T36" fmla="*/ 2147483647 w 556"/>
                <a:gd name="T37" fmla="*/ 2147483647 h 821"/>
                <a:gd name="T38" fmla="*/ 2147483647 w 556"/>
                <a:gd name="T39" fmla="*/ 2147483647 h 821"/>
                <a:gd name="T40" fmla="*/ 2147483647 w 556"/>
                <a:gd name="T41" fmla="*/ 2147483647 h 821"/>
                <a:gd name="T42" fmla="*/ 2147483647 w 556"/>
                <a:gd name="T43" fmla="*/ 2147483647 h 821"/>
                <a:gd name="T44" fmla="*/ 2147483647 w 556"/>
                <a:gd name="T45" fmla="*/ 2147483647 h 821"/>
                <a:gd name="T46" fmla="*/ 2147483647 w 556"/>
                <a:gd name="T47" fmla="*/ 2147483647 h 821"/>
                <a:gd name="T48" fmla="*/ 2147483647 w 556"/>
                <a:gd name="T49" fmla="*/ 2147483647 h 821"/>
                <a:gd name="T50" fmla="*/ 2147483647 w 556"/>
                <a:gd name="T51" fmla="*/ 2147483647 h 821"/>
                <a:gd name="T52" fmla="*/ 2147483647 w 556"/>
                <a:gd name="T53" fmla="*/ 2147483647 h 821"/>
                <a:gd name="T54" fmla="*/ 2147483647 w 556"/>
                <a:gd name="T55" fmla="*/ 2147483647 h 821"/>
                <a:gd name="T56" fmla="*/ 2147483647 w 556"/>
                <a:gd name="T57" fmla="*/ 2147483647 h 821"/>
                <a:gd name="T58" fmla="*/ 2147483647 w 556"/>
                <a:gd name="T59" fmla="*/ 2147483647 h 821"/>
                <a:gd name="T60" fmla="*/ 2147483647 w 556"/>
                <a:gd name="T61" fmla="*/ 2147483647 h 821"/>
                <a:gd name="T62" fmla="*/ 2147483647 w 556"/>
                <a:gd name="T63" fmla="*/ 2147483647 h 821"/>
                <a:gd name="T64" fmla="*/ 2147483647 w 556"/>
                <a:gd name="T65" fmla="*/ 2147483647 h 821"/>
                <a:gd name="T66" fmla="*/ 2147483647 w 556"/>
                <a:gd name="T67" fmla="*/ 2147483647 h 821"/>
                <a:gd name="T68" fmla="*/ 2147483647 w 556"/>
                <a:gd name="T69" fmla="*/ 0 h 821"/>
                <a:gd name="T70" fmla="*/ 2147483647 w 556"/>
                <a:gd name="T71" fmla="*/ 0 h 821"/>
                <a:gd name="T72" fmla="*/ 2147483647 w 556"/>
                <a:gd name="T73" fmla="*/ 0 h 821"/>
                <a:gd name="T74" fmla="*/ 2147483647 w 556"/>
                <a:gd name="T75" fmla="*/ 0 h 821"/>
                <a:gd name="T76" fmla="*/ 2147483647 w 556"/>
                <a:gd name="T77" fmla="*/ 0 h 821"/>
                <a:gd name="T78" fmla="*/ 2147483647 w 556"/>
                <a:gd name="T79" fmla="*/ 0 h 821"/>
                <a:gd name="T80" fmla="*/ 2147483647 w 556"/>
                <a:gd name="T81" fmla="*/ 0 h 821"/>
                <a:gd name="T82" fmla="*/ 2147483647 w 556"/>
                <a:gd name="T83" fmla="*/ 0 h 821"/>
                <a:gd name="T84" fmla="*/ 0 w 556"/>
                <a:gd name="T85" fmla="*/ 0 h 821"/>
                <a:gd name="T86" fmla="*/ 0 w 556"/>
                <a:gd name="T87" fmla="*/ 2147483647 h 821"/>
                <a:gd name="T88" fmla="*/ 0 w 556"/>
                <a:gd name="T89" fmla="*/ 2147483647 h 821"/>
                <a:gd name="T90" fmla="*/ 0 w 556"/>
                <a:gd name="T91" fmla="*/ 2147483647 h 821"/>
                <a:gd name="T92" fmla="*/ 0 w 556"/>
                <a:gd name="T93" fmla="*/ 2147483647 h 821"/>
                <a:gd name="T94" fmla="*/ 0 w 556"/>
                <a:gd name="T95" fmla="*/ 2147483647 h 821"/>
                <a:gd name="T96" fmla="*/ 2147483647 w 556"/>
                <a:gd name="T97" fmla="*/ 2147483647 h 821"/>
                <a:gd name="T98" fmla="*/ 2147483647 w 556"/>
                <a:gd name="T99" fmla="*/ 2147483647 h 821"/>
                <a:gd name="T100" fmla="*/ 2147483647 w 556"/>
                <a:gd name="T101" fmla="*/ 2147483647 h 821"/>
                <a:gd name="T102" fmla="*/ 2147483647 w 556"/>
                <a:gd name="T103" fmla="*/ 2147483647 h 821"/>
                <a:gd name="T104" fmla="*/ 2147483647 w 556"/>
                <a:gd name="T105" fmla="*/ 2147483647 h 821"/>
                <a:gd name="T106" fmla="*/ 2147483647 w 556"/>
                <a:gd name="T107" fmla="*/ 2147483647 h 821"/>
                <a:gd name="T108" fmla="*/ 2147483647 w 556"/>
                <a:gd name="T109" fmla="*/ 2147483647 h 821"/>
                <a:gd name="T110" fmla="*/ 2147483647 w 556"/>
                <a:gd name="T111" fmla="*/ 2147483647 h 821"/>
                <a:gd name="T112" fmla="*/ 2147483647 w 556"/>
                <a:gd name="T113" fmla="*/ 2147483647 h 821"/>
                <a:gd name="T114" fmla="*/ 2147483647 w 556"/>
                <a:gd name="T115" fmla="*/ 2147483647 h 821"/>
                <a:gd name="T116" fmla="*/ 2147483647 w 556"/>
                <a:gd name="T117" fmla="*/ 2147483647 h 821"/>
                <a:gd name="T118" fmla="*/ 2147483647 w 556"/>
                <a:gd name="T119" fmla="*/ 2147483647 h 821"/>
                <a:gd name="T120" fmla="*/ 2147483647 w 556"/>
                <a:gd name="T121" fmla="*/ 2147483647 h 8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56"/>
                <a:gd name="T184" fmla="*/ 0 h 821"/>
                <a:gd name="T185" fmla="*/ 556 w 556"/>
                <a:gd name="T186" fmla="*/ 821 h 8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56" h="821">
                  <a:moveTo>
                    <a:pt x="295" y="793"/>
                  </a:moveTo>
                  <a:lnTo>
                    <a:pt x="295" y="749"/>
                  </a:lnTo>
                  <a:lnTo>
                    <a:pt x="295" y="690"/>
                  </a:lnTo>
                  <a:lnTo>
                    <a:pt x="295" y="623"/>
                  </a:lnTo>
                  <a:lnTo>
                    <a:pt x="295" y="559"/>
                  </a:lnTo>
                  <a:lnTo>
                    <a:pt x="320" y="533"/>
                  </a:lnTo>
                  <a:lnTo>
                    <a:pt x="351" y="499"/>
                  </a:lnTo>
                  <a:lnTo>
                    <a:pt x="387" y="460"/>
                  </a:lnTo>
                  <a:lnTo>
                    <a:pt x="419" y="424"/>
                  </a:lnTo>
                  <a:lnTo>
                    <a:pt x="444" y="397"/>
                  </a:lnTo>
                  <a:lnTo>
                    <a:pt x="475" y="361"/>
                  </a:lnTo>
                  <a:lnTo>
                    <a:pt x="510" y="321"/>
                  </a:lnTo>
                  <a:lnTo>
                    <a:pt x="543" y="282"/>
                  </a:lnTo>
                  <a:lnTo>
                    <a:pt x="556" y="266"/>
                  </a:lnTo>
                  <a:lnTo>
                    <a:pt x="536" y="262"/>
                  </a:lnTo>
                  <a:lnTo>
                    <a:pt x="504" y="247"/>
                  </a:lnTo>
                  <a:lnTo>
                    <a:pt x="485" y="230"/>
                  </a:lnTo>
                  <a:lnTo>
                    <a:pt x="468" y="226"/>
                  </a:lnTo>
                  <a:lnTo>
                    <a:pt x="418" y="252"/>
                  </a:lnTo>
                  <a:lnTo>
                    <a:pt x="414" y="245"/>
                  </a:lnTo>
                  <a:lnTo>
                    <a:pt x="399" y="255"/>
                  </a:lnTo>
                  <a:lnTo>
                    <a:pt x="411" y="237"/>
                  </a:lnTo>
                  <a:lnTo>
                    <a:pt x="410" y="210"/>
                  </a:lnTo>
                  <a:lnTo>
                    <a:pt x="400" y="196"/>
                  </a:lnTo>
                  <a:lnTo>
                    <a:pt x="399" y="167"/>
                  </a:lnTo>
                  <a:lnTo>
                    <a:pt x="385" y="133"/>
                  </a:lnTo>
                  <a:lnTo>
                    <a:pt x="380" y="107"/>
                  </a:lnTo>
                  <a:lnTo>
                    <a:pt x="338" y="102"/>
                  </a:lnTo>
                  <a:lnTo>
                    <a:pt x="333" y="126"/>
                  </a:lnTo>
                  <a:lnTo>
                    <a:pt x="330" y="102"/>
                  </a:lnTo>
                  <a:lnTo>
                    <a:pt x="325" y="105"/>
                  </a:lnTo>
                  <a:lnTo>
                    <a:pt x="312" y="84"/>
                  </a:lnTo>
                  <a:lnTo>
                    <a:pt x="305" y="82"/>
                  </a:lnTo>
                  <a:lnTo>
                    <a:pt x="312" y="68"/>
                  </a:lnTo>
                  <a:lnTo>
                    <a:pt x="314" y="0"/>
                  </a:lnTo>
                  <a:lnTo>
                    <a:pt x="276" y="0"/>
                  </a:lnTo>
                  <a:lnTo>
                    <a:pt x="236" y="0"/>
                  </a:lnTo>
                  <a:lnTo>
                    <a:pt x="195" y="0"/>
                  </a:lnTo>
                  <a:lnTo>
                    <a:pt x="155" y="0"/>
                  </a:lnTo>
                  <a:lnTo>
                    <a:pt x="120" y="0"/>
                  </a:lnTo>
                  <a:lnTo>
                    <a:pt x="81" y="0"/>
                  </a:lnTo>
                  <a:lnTo>
                    <a:pt x="39" y="0"/>
                  </a:lnTo>
                  <a:lnTo>
                    <a:pt x="0" y="0"/>
                  </a:lnTo>
                  <a:lnTo>
                    <a:pt x="0" y="78"/>
                  </a:lnTo>
                  <a:lnTo>
                    <a:pt x="0" y="157"/>
                  </a:lnTo>
                  <a:lnTo>
                    <a:pt x="0" y="228"/>
                  </a:lnTo>
                  <a:lnTo>
                    <a:pt x="0" y="294"/>
                  </a:lnTo>
                  <a:lnTo>
                    <a:pt x="0" y="339"/>
                  </a:lnTo>
                  <a:lnTo>
                    <a:pt x="4" y="408"/>
                  </a:lnTo>
                  <a:lnTo>
                    <a:pt x="8" y="479"/>
                  </a:lnTo>
                  <a:lnTo>
                    <a:pt x="11" y="542"/>
                  </a:lnTo>
                  <a:lnTo>
                    <a:pt x="14" y="588"/>
                  </a:lnTo>
                  <a:lnTo>
                    <a:pt x="17" y="652"/>
                  </a:lnTo>
                  <a:lnTo>
                    <a:pt x="21" y="718"/>
                  </a:lnTo>
                  <a:lnTo>
                    <a:pt x="25" y="776"/>
                  </a:lnTo>
                  <a:lnTo>
                    <a:pt x="27" y="821"/>
                  </a:lnTo>
                  <a:lnTo>
                    <a:pt x="85" y="821"/>
                  </a:lnTo>
                  <a:lnTo>
                    <a:pt x="150" y="821"/>
                  </a:lnTo>
                  <a:lnTo>
                    <a:pt x="205" y="821"/>
                  </a:lnTo>
                  <a:lnTo>
                    <a:pt x="295" y="821"/>
                  </a:lnTo>
                  <a:lnTo>
                    <a:pt x="295" y="793"/>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8" name="Freeform 1127"/>
            <p:cNvSpPr>
              <a:spLocks/>
            </p:cNvSpPr>
            <p:nvPr/>
          </p:nvSpPr>
          <p:spPr bwMode="auto">
            <a:xfrm>
              <a:off x="3803863" y="3025009"/>
              <a:ext cx="458668" cy="545124"/>
            </a:xfrm>
            <a:custGeom>
              <a:avLst/>
              <a:gdLst>
                <a:gd name="T0" fmla="*/ 2147483647 w 973"/>
                <a:gd name="T1" fmla="*/ 2147483647 h 1305"/>
                <a:gd name="T2" fmla="*/ 2147483647 w 973"/>
                <a:gd name="T3" fmla="*/ 2147483647 h 1305"/>
                <a:gd name="T4" fmla="*/ 2147483647 w 973"/>
                <a:gd name="T5" fmla="*/ 2147483647 h 1305"/>
                <a:gd name="T6" fmla="*/ 2147483647 w 973"/>
                <a:gd name="T7" fmla="*/ 2147483647 h 1305"/>
                <a:gd name="T8" fmla="*/ 2147483647 w 973"/>
                <a:gd name="T9" fmla="*/ 2147483647 h 1305"/>
                <a:gd name="T10" fmla="*/ 2147483647 w 973"/>
                <a:gd name="T11" fmla="*/ 2147483647 h 1305"/>
                <a:gd name="T12" fmla="*/ 2147483647 w 973"/>
                <a:gd name="T13" fmla="*/ 2147483647 h 1305"/>
                <a:gd name="T14" fmla="*/ 2147483647 w 973"/>
                <a:gd name="T15" fmla="*/ 2147483647 h 1305"/>
                <a:gd name="T16" fmla="*/ 2147483647 w 973"/>
                <a:gd name="T17" fmla="*/ 2147483647 h 1305"/>
                <a:gd name="T18" fmla="*/ 2147483647 w 973"/>
                <a:gd name="T19" fmla="*/ 2147483647 h 1305"/>
                <a:gd name="T20" fmla="*/ 2147483647 w 973"/>
                <a:gd name="T21" fmla="*/ 2147483647 h 1305"/>
                <a:gd name="T22" fmla="*/ 2147483647 w 973"/>
                <a:gd name="T23" fmla="*/ 2147483647 h 1305"/>
                <a:gd name="T24" fmla="*/ 2147483647 w 973"/>
                <a:gd name="T25" fmla="*/ 2147483647 h 1305"/>
                <a:gd name="T26" fmla="*/ 2147483647 w 973"/>
                <a:gd name="T27" fmla="*/ 2147483647 h 1305"/>
                <a:gd name="T28" fmla="*/ 2147483647 w 973"/>
                <a:gd name="T29" fmla="*/ 2147483647 h 1305"/>
                <a:gd name="T30" fmla="*/ 2147483647 w 973"/>
                <a:gd name="T31" fmla="*/ 2147483647 h 1305"/>
                <a:gd name="T32" fmla="*/ 2147483647 w 973"/>
                <a:gd name="T33" fmla="*/ 2147483647 h 1305"/>
                <a:gd name="T34" fmla="*/ 2147483647 w 973"/>
                <a:gd name="T35" fmla="*/ 2147483647 h 1305"/>
                <a:gd name="T36" fmla="*/ 2147483647 w 973"/>
                <a:gd name="T37" fmla="*/ 2147483647 h 1305"/>
                <a:gd name="T38" fmla="*/ 2147483647 w 973"/>
                <a:gd name="T39" fmla="*/ 2147483647 h 1305"/>
                <a:gd name="T40" fmla="*/ 2147483647 w 973"/>
                <a:gd name="T41" fmla="*/ 2147483647 h 1305"/>
                <a:gd name="T42" fmla="*/ 2147483647 w 973"/>
                <a:gd name="T43" fmla="*/ 2147483647 h 1305"/>
                <a:gd name="T44" fmla="*/ 2147483647 w 973"/>
                <a:gd name="T45" fmla="*/ 2147483647 h 1305"/>
                <a:gd name="T46" fmla="*/ 2147483647 w 973"/>
                <a:gd name="T47" fmla="*/ 2147483647 h 1305"/>
                <a:gd name="T48" fmla="*/ 2147483647 w 973"/>
                <a:gd name="T49" fmla="*/ 2147483647 h 1305"/>
                <a:gd name="T50" fmla="*/ 2147483647 w 973"/>
                <a:gd name="T51" fmla="*/ 2147483647 h 1305"/>
                <a:gd name="T52" fmla="*/ 2147483647 w 973"/>
                <a:gd name="T53" fmla="*/ 2147483647 h 1305"/>
                <a:gd name="T54" fmla="*/ 2147483647 w 973"/>
                <a:gd name="T55" fmla="*/ 2147483647 h 1305"/>
                <a:gd name="T56" fmla="*/ 2147483647 w 973"/>
                <a:gd name="T57" fmla="*/ 2147483647 h 1305"/>
                <a:gd name="T58" fmla="*/ 2147483647 w 973"/>
                <a:gd name="T59" fmla="*/ 2147483647 h 1305"/>
                <a:gd name="T60" fmla="*/ 2147483647 w 973"/>
                <a:gd name="T61" fmla="*/ 2147483647 h 1305"/>
                <a:gd name="T62" fmla="*/ 2147483647 w 973"/>
                <a:gd name="T63" fmla="*/ 2147483647 h 1305"/>
                <a:gd name="T64" fmla="*/ 2147483647 w 973"/>
                <a:gd name="T65" fmla="*/ 2147483647 h 1305"/>
                <a:gd name="T66" fmla="*/ 2147483647 w 973"/>
                <a:gd name="T67" fmla="*/ 2147483647 h 1305"/>
                <a:gd name="T68" fmla="*/ 2147483647 w 973"/>
                <a:gd name="T69" fmla="*/ 2147483647 h 1305"/>
                <a:gd name="T70" fmla="*/ 2147483647 w 973"/>
                <a:gd name="T71" fmla="*/ 2147483647 h 1305"/>
                <a:gd name="T72" fmla="*/ 2147483647 w 973"/>
                <a:gd name="T73" fmla="*/ 2147483647 h 1305"/>
                <a:gd name="T74" fmla="*/ 2147483647 w 973"/>
                <a:gd name="T75" fmla="*/ 2147483647 h 1305"/>
                <a:gd name="T76" fmla="*/ 2147483647 w 973"/>
                <a:gd name="T77" fmla="*/ 2147483647 h 1305"/>
                <a:gd name="T78" fmla="*/ 2147483647 w 973"/>
                <a:gd name="T79" fmla="*/ 2147483647 h 1305"/>
                <a:gd name="T80" fmla="*/ 2147483647 w 973"/>
                <a:gd name="T81" fmla="*/ 2147483647 h 1305"/>
                <a:gd name="T82" fmla="*/ 2147483647 w 973"/>
                <a:gd name="T83" fmla="*/ 2147483647 h 1305"/>
                <a:gd name="T84" fmla="*/ 2147483647 w 973"/>
                <a:gd name="T85" fmla="*/ 2147483647 h 1305"/>
                <a:gd name="T86" fmla="*/ 2147483647 w 973"/>
                <a:gd name="T87" fmla="*/ 2147483647 h 1305"/>
                <a:gd name="T88" fmla="*/ 2147483647 w 973"/>
                <a:gd name="T89" fmla="*/ 2147483647 h 1305"/>
                <a:gd name="T90" fmla="*/ 2147483647 w 973"/>
                <a:gd name="T91" fmla="*/ 2147483647 h 1305"/>
                <a:gd name="T92" fmla="*/ 2147483647 w 973"/>
                <a:gd name="T93" fmla="*/ 2147483647 h 1305"/>
                <a:gd name="T94" fmla="*/ 2147483647 w 973"/>
                <a:gd name="T95" fmla="*/ 2147483647 h 1305"/>
                <a:gd name="T96" fmla="*/ 2147483647 w 973"/>
                <a:gd name="T97" fmla="*/ 2147483647 h 1305"/>
                <a:gd name="T98" fmla="*/ 2147483647 w 973"/>
                <a:gd name="T99" fmla="*/ 2147483647 h 1305"/>
                <a:gd name="T100" fmla="*/ 2147483647 w 973"/>
                <a:gd name="T101" fmla="*/ 2147483647 h 1305"/>
                <a:gd name="T102" fmla="*/ 2147483647 w 973"/>
                <a:gd name="T103" fmla="*/ 2147483647 h 1305"/>
                <a:gd name="T104" fmla="*/ 2147483647 w 973"/>
                <a:gd name="T105" fmla="*/ 2147483647 h 1305"/>
                <a:gd name="T106" fmla="*/ 2147483647 w 973"/>
                <a:gd name="T107" fmla="*/ 2147483647 h 1305"/>
                <a:gd name="T108" fmla="*/ 2147483647 w 973"/>
                <a:gd name="T109" fmla="*/ 2147483647 h 1305"/>
                <a:gd name="T110" fmla="*/ 2147483647 w 973"/>
                <a:gd name="T111" fmla="*/ 2147483647 h 1305"/>
                <a:gd name="T112" fmla="*/ 2147483647 w 973"/>
                <a:gd name="T113" fmla="*/ 2147483647 h 1305"/>
                <a:gd name="T114" fmla="*/ 2147483647 w 973"/>
                <a:gd name="T115" fmla="*/ 2147483647 h 1305"/>
                <a:gd name="T116" fmla="*/ 2147483647 w 973"/>
                <a:gd name="T117" fmla="*/ 2147483647 h 1305"/>
                <a:gd name="T118" fmla="*/ 2147483647 w 973"/>
                <a:gd name="T119" fmla="*/ 2147483647 h 1305"/>
                <a:gd name="T120" fmla="*/ 2147483647 w 973"/>
                <a:gd name="T121" fmla="*/ 2147483647 h 1305"/>
                <a:gd name="T122" fmla="*/ 2147483647 w 973"/>
                <a:gd name="T123" fmla="*/ 2147483647 h 1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3"/>
                <a:gd name="T187" fmla="*/ 0 h 1305"/>
                <a:gd name="T188" fmla="*/ 973 w 973"/>
                <a:gd name="T189" fmla="*/ 1305 h 1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3" h="1305">
                  <a:moveTo>
                    <a:pt x="962" y="849"/>
                  </a:moveTo>
                  <a:lnTo>
                    <a:pt x="922" y="849"/>
                  </a:lnTo>
                  <a:lnTo>
                    <a:pt x="880" y="849"/>
                  </a:lnTo>
                  <a:lnTo>
                    <a:pt x="842" y="849"/>
                  </a:lnTo>
                  <a:lnTo>
                    <a:pt x="805" y="849"/>
                  </a:lnTo>
                  <a:lnTo>
                    <a:pt x="768" y="849"/>
                  </a:lnTo>
                  <a:lnTo>
                    <a:pt x="726" y="849"/>
                  </a:lnTo>
                  <a:lnTo>
                    <a:pt x="686" y="849"/>
                  </a:lnTo>
                  <a:lnTo>
                    <a:pt x="683" y="843"/>
                  </a:lnTo>
                  <a:lnTo>
                    <a:pt x="691" y="846"/>
                  </a:lnTo>
                  <a:lnTo>
                    <a:pt x="686" y="826"/>
                  </a:lnTo>
                  <a:lnTo>
                    <a:pt x="672" y="816"/>
                  </a:lnTo>
                  <a:lnTo>
                    <a:pt x="682" y="806"/>
                  </a:lnTo>
                  <a:lnTo>
                    <a:pt x="703" y="804"/>
                  </a:lnTo>
                  <a:lnTo>
                    <a:pt x="693" y="795"/>
                  </a:lnTo>
                  <a:lnTo>
                    <a:pt x="695" y="781"/>
                  </a:lnTo>
                  <a:lnTo>
                    <a:pt x="685" y="770"/>
                  </a:lnTo>
                  <a:lnTo>
                    <a:pt x="679" y="773"/>
                  </a:lnTo>
                  <a:lnTo>
                    <a:pt x="677" y="789"/>
                  </a:lnTo>
                  <a:lnTo>
                    <a:pt x="668" y="790"/>
                  </a:lnTo>
                  <a:lnTo>
                    <a:pt x="667" y="811"/>
                  </a:lnTo>
                  <a:lnTo>
                    <a:pt x="672" y="823"/>
                  </a:lnTo>
                  <a:lnTo>
                    <a:pt x="671" y="838"/>
                  </a:lnTo>
                  <a:lnTo>
                    <a:pt x="665" y="839"/>
                  </a:lnTo>
                  <a:lnTo>
                    <a:pt x="662" y="852"/>
                  </a:lnTo>
                  <a:lnTo>
                    <a:pt x="660" y="860"/>
                  </a:lnTo>
                  <a:lnTo>
                    <a:pt x="664" y="867"/>
                  </a:lnTo>
                  <a:lnTo>
                    <a:pt x="651" y="879"/>
                  </a:lnTo>
                  <a:lnTo>
                    <a:pt x="645" y="866"/>
                  </a:lnTo>
                  <a:lnTo>
                    <a:pt x="651" y="861"/>
                  </a:lnTo>
                  <a:lnTo>
                    <a:pt x="628" y="837"/>
                  </a:lnTo>
                  <a:lnTo>
                    <a:pt x="613" y="834"/>
                  </a:lnTo>
                  <a:lnTo>
                    <a:pt x="608" y="845"/>
                  </a:lnTo>
                  <a:lnTo>
                    <a:pt x="600" y="841"/>
                  </a:lnTo>
                  <a:lnTo>
                    <a:pt x="598" y="845"/>
                  </a:lnTo>
                  <a:lnTo>
                    <a:pt x="587" y="840"/>
                  </a:lnTo>
                  <a:lnTo>
                    <a:pt x="587" y="834"/>
                  </a:lnTo>
                  <a:lnTo>
                    <a:pt x="578" y="827"/>
                  </a:lnTo>
                  <a:lnTo>
                    <a:pt x="576" y="839"/>
                  </a:lnTo>
                  <a:lnTo>
                    <a:pt x="570" y="835"/>
                  </a:lnTo>
                  <a:lnTo>
                    <a:pt x="568" y="827"/>
                  </a:lnTo>
                  <a:lnTo>
                    <a:pt x="575" y="820"/>
                  </a:lnTo>
                  <a:lnTo>
                    <a:pt x="571" y="800"/>
                  </a:lnTo>
                  <a:lnTo>
                    <a:pt x="576" y="799"/>
                  </a:lnTo>
                  <a:lnTo>
                    <a:pt x="574" y="791"/>
                  </a:lnTo>
                  <a:lnTo>
                    <a:pt x="578" y="788"/>
                  </a:lnTo>
                  <a:lnTo>
                    <a:pt x="575" y="781"/>
                  </a:lnTo>
                  <a:lnTo>
                    <a:pt x="569" y="776"/>
                  </a:lnTo>
                  <a:lnTo>
                    <a:pt x="567" y="783"/>
                  </a:lnTo>
                  <a:lnTo>
                    <a:pt x="561" y="784"/>
                  </a:lnTo>
                  <a:lnTo>
                    <a:pt x="560" y="799"/>
                  </a:lnTo>
                  <a:lnTo>
                    <a:pt x="554" y="803"/>
                  </a:lnTo>
                  <a:lnTo>
                    <a:pt x="552" y="797"/>
                  </a:lnTo>
                  <a:lnTo>
                    <a:pt x="551" y="802"/>
                  </a:lnTo>
                  <a:lnTo>
                    <a:pt x="543" y="800"/>
                  </a:lnTo>
                  <a:lnTo>
                    <a:pt x="543" y="783"/>
                  </a:lnTo>
                  <a:lnTo>
                    <a:pt x="551" y="756"/>
                  </a:lnTo>
                  <a:lnTo>
                    <a:pt x="544" y="752"/>
                  </a:lnTo>
                  <a:lnTo>
                    <a:pt x="541" y="740"/>
                  </a:lnTo>
                  <a:lnTo>
                    <a:pt x="526" y="736"/>
                  </a:lnTo>
                  <a:lnTo>
                    <a:pt x="528" y="724"/>
                  </a:lnTo>
                  <a:lnTo>
                    <a:pt x="514" y="703"/>
                  </a:lnTo>
                  <a:lnTo>
                    <a:pt x="526" y="690"/>
                  </a:lnTo>
                  <a:lnTo>
                    <a:pt x="521" y="681"/>
                  </a:lnTo>
                  <a:lnTo>
                    <a:pt x="521" y="667"/>
                  </a:lnTo>
                  <a:lnTo>
                    <a:pt x="534" y="671"/>
                  </a:lnTo>
                  <a:lnTo>
                    <a:pt x="545" y="661"/>
                  </a:lnTo>
                  <a:lnTo>
                    <a:pt x="538" y="659"/>
                  </a:lnTo>
                  <a:lnTo>
                    <a:pt x="528" y="628"/>
                  </a:lnTo>
                  <a:lnTo>
                    <a:pt x="535" y="629"/>
                  </a:lnTo>
                  <a:lnTo>
                    <a:pt x="534" y="633"/>
                  </a:lnTo>
                  <a:lnTo>
                    <a:pt x="549" y="649"/>
                  </a:lnTo>
                  <a:lnTo>
                    <a:pt x="559" y="654"/>
                  </a:lnTo>
                  <a:lnTo>
                    <a:pt x="563" y="649"/>
                  </a:lnTo>
                  <a:lnTo>
                    <a:pt x="558" y="639"/>
                  </a:lnTo>
                  <a:lnTo>
                    <a:pt x="561" y="635"/>
                  </a:lnTo>
                  <a:lnTo>
                    <a:pt x="556" y="626"/>
                  </a:lnTo>
                  <a:lnTo>
                    <a:pt x="560" y="619"/>
                  </a:lnTo>
                  <a:lnTo>
                    <a:pt x="553" y="610"/>
                  </a:lnTo>
                  <a:lnTo>
                    <a:pt x="556" y="609"/>
                  </a:lnTo>
                  <a:lnTo>
                    <a:pt x="580" y="634"/>
                  </a:lnTo>
                  <a:lnTo>
                    <a:pt x="596" y="642"/>
                  </a:lnTo>
                  <a:lnTo>
                    <a:pt x="603" y="656"/>
                  </a:lnTo>
                  <a:lnTo>
                    <a:pt x="661" y="653"/>
                  </a:lnTo>
                  <a:lnTo>
                    <a:pt x="688" y="664"/>
                  </a:lnTo>
                  <a:lnTo>
                    <a:pt x="699" y="637"/>
                  </a:lnTo>
                  <a:lnTo>
                    <a:pt x="694" y="629"/>
                  </a:lnTo>
                  <a:lnTo>
                    <a:pt x="696" y="620"/>
                  </a:lnTo>
                  <a:lnTo>
                    <a:pt x="715" y="609"/>
                  </a:lnTo>
                  <a:lnTo>
                    <a:pt x="711" y="604"/>
                  </a:lnTo>
                  <a:lnTo>
                    <a:pt x="713" y="595"/>
                  </a:lnTo>
                  <a:lnTo>
                    <a:pt x="699" y="590"/>
                  </a:lnTo>
                  <a:lnTo>
                    <a:pt x="688" y="570"/>
                  </a:lnTo>
                  <a:lnTo>
                    <a:pt x="688" y="563"/>
                  </a:lnTo>
                  <a:lnTo>
                    <a:pt x="699" y="557"/>
                  </a:lnTo>
                  <a:lnTo>
                    <a:pt x="683" y="556"/>
                  </a:lnTo>
                  <a:lnTo>
                    <a:pt x="682" y="550"/>
                  </a:lnTo>
                  <a:lnTo>
                    <a:pt x="675" y="553"/>
                  </a:lnTo>
                  <a:lnTo>
                    <a:pt x="681" y="541"/>
                  </a:lnTo>
                  <a:lnTo>
                    <a:pt x="672" y="538"/>
                  </a:lnTo>
                  <a:lnTo>
                    <a:pt x="668" y="526"/>
                  </a:lnTo>
                  <a:lnTo>
                    <a:pt x="681" y="525"/>
                  </a:lnTo>
                  <a:lnTo>
                    <a:pt x="670" y="504"/>
                  </a:lnTo>
                  <a:lnTo>
                    <a:pt x="681" y="490"/>
                  </a:lnTo>
                  <a:lnTo>
                    <a:pt x="681" y="476"/>
                  </a:lnTo>
                  <a:lnTo>
                    <a:pt x="687" y="463"/>
                  </a:lnTo>
                  <a:lnTo>
                    <a:pt x="681" y="462"/>
                  </a:lnTo>
                  <a:lnTo>
                    <a:pt x="688" y="452"/>
                  </a:lnTo>
                  <a:lnTo>
                    <a:pt x="685" y="436"/>
                  </a:lnTo>
                  <a:lnTo>
                    <a:pt x="693" y="423"/>
                  </a:lnTo>
                  <a:lnTo>
                    <a:pt x="688" y="429"/>
                  </a:lnTo>
                  <a:lnTo>
                    <a:pt x="679" y="418"/>
                  </a:lnTo>
                  <a:lnTo>
                    <a:pt x="673" y="420"/>
                  </a:lnTo>
                  <a:lnTo>
                    <a:pt x="667" y="399"/>
                  </a:lnTo>
                  <a:lnTo>
                    <a:pt x="657" y="395"/>
                  </a:lnTo>
                  <a:lnTo>
                    <a:pt x="669" y="374"/>
                  </a:lnTo>
                  <a:lnTo>
                    <a:pt x="683" y="364"/>
                  </a:lnTo>
                  <a:lnTo>
                    <a:pt x="680" y="357"/>
                  </a:lnTo>
                  <a:lnTo>
                    <a:pt x="672" y="358"/>
                  </a:lnTo>
                  <a:lnTo>
                    <a:pt x="673" y="347"/>
                  </a:lnTo>
                  <a:lnTo>
                    <a:pt x="698" y="340"/>
                  </a:lnTo>
                  <a:lnTo>
                    <a:pt x="688" y="330"/>
                  </a:lnTo>
                  <a:lnTo>
                    <a:pt x="669" y="341"/>
                  </a:lnTo>
                  <a:lnTo>
                    <a:pt x="663" y="330"/>
                  </a:lnTo>
                  <a:lnTo>
                    <a:pt x="638" y="326"/>
                  </a:lnTo>
                  <a:lnTo>
                    <a:pt x="645" y="315"/>
                  </a:lnTo>
                  <a:lnTo>
                    <a:pt x="663" y="320"/>
                  </a:lnTo>
                  <a:lnTo>
                    <a:pt x="653" y="304"/>
                  </a:lnTo>
                  <a:lnTo>
                    <a:pt x="654" y="286"/>
                  </a:lnTo>
                  <a:lnTo>
                    <a:pt x="661" y="278"/>
                  </a:lnTo>
                  <a:lnTo>
                    <a:pt x="646" y="283"/>
                  </a:lnTo>
                  <a:lnTo>
                    <a:pt x="640" y="275"/>
                  </a:lnTo>
                  <a:lnTo>
                    <a:pt x="641" y="252"/>
                  </a:lnTo>
                  <a:lnTo>
                    <a:pt x="648" y="243"/>
                  </a:lnTo>
                  <a:lnTo>
                    <a:pt x="636" y="233"/>
                  </a:lnTo>
                  <a:lnTo>
                    <a:pt x="650" y="227"/>
                  </a:lnTo>
                  <a:lnTo>
                    <a:pt x="640" y="213"/>
                  </a:lnTo>
                  <a:lnTo>
                    <a:pt x="655" y="206"/>
                  </a:lnTo>
                  <a:lnTo>
                    <a:pt x="641" y="205"/>
                  </a:lnTo>
                  <a:lnTo>
                    <a:pt x="609" y="254"/>
                  </a:lnTo>
                  <a:lnTo>
                    <a:pt x="625" y="276"/>
                  </a:lnTo>
                  <a:lnTo>
                    <a:pt x="608" y="298"/>
                  </a:lnTo>
                  <a:lnTo>
                    <a:pt x="604" y="293"/>
                  </a:lnTo>
                  <a:lnTo>
                    <a:pt x="608" y="303"/>
                  </a:lnTo>
                  <a:lnTo>
                    <a:pt x="606" y="314"/>
                  </a:lnTo>
                  <a:lnTo>
                    <a:pt x="599" y="314"/>
                  </a:lnTo>
                  <a:lnTo>
                    <a:pt x="598" y="321"/>
                  </a:lnTo>
                  <a:lnTo>
                    <a:pt x="601" y="323"/>
                  </a:lnTo>
                  <a:lnTo>
                    <a:pt x="593" y="329"/>
                  </a:lnTo>
                  <a:lnTo>
                    <a:pt x="585" y="323"/>
                  </a:lnTo>
                  <a:lnTo>
                    <a:pt x="598" y="341"/>
                  </a:lnTo>
                  <a:lnTo>
                    <a:pt x="589" y="364"/>
                  </a:lnTo>
                  <a:lnTo>
                    <a:pt x="592" y="348"/>
                  </a:lnTo>
                  <a:lnTo>
                    <a:pt x="589" y="340"/>
                  </a:lnTo>
                  <a:lnTo>
                    <a:pt x="573" y="329"/>
                  </a:lnTo>
                  <a:lnTo>
                    <a:pt x="562" y="358"/>
                  </a:lnTo>
                  <a:lnTo>
                    <a:pt x="522" y="377"/>
                  </a:lnTo>
                  <a:lnTo>
                    <a:pt x="517" y="390"/>
                  </a:lnTo>
                  <a:lnTo>
                    <a:pt x="514" y="362"/>
                  </a:lnTo>
                  <a:lnTo>
                    <a:pt x="506" y="371"/>
                  </a:lnTo>
                  <a:lnTo>
                    <a:pt x="508" y="348"/>
                  </a:lnTo>
                  <a:lnTo>
                    <a:pt x="491" y="390"/>
                  </a:lnTo>
                  <a:lnTo>
                    <a:pt x="491" y="386"/>
                  </a:lnTo>
                  <a:lnTo>
                    <a:pt x="495" y="363"/>
                  </a:lnTo>
                  <a:lnTo>
                    <a:pt x="485" y="327"/>
                  </a:lnTo>
                  <a:lnTo>
                    <a:pt x="448" y="328"/>
                  </a:lnTo>
                  <a:lnTo>
                    <a:pt x="427" y="345"/>
                  </a:lnTo>
                  <a:lnTo>
                    <a:pt x="407" y="336"/>
                  </a:lnTo>
                  <a:lnTo>
                    <a:pt x="422" y="332"/>
                  </a:lnTo>
                  <a:lnTo>
                    <a:pt x="417" y="317"/>
                  </a:lnTo>
                  <a:lnTo>
                    <a:pt x="425" y="316"/>
                  </a:lnTo>
                  <a:lnTo>
                    <a:pt x="431" y="329"/>
                  </a:lnTo>
                  <a:lnTo>
                    <a:pt x="453" y="315"/>
                  </a:lnTo>
                  <a:lnTo>
                    <a:pt x="450" y="306"/>
                  </a:lnTo>
                  <a:lnTo>
                    <a:pt x="440" y="302"/>
                  </a:lnTo>
                  <a:lnTo>
                    <a:pt x="453" y="291"/>
                  </a:lnTo>
                  <a:lnTo>
                    <a:pt x="432" y="288"/>
                  </a:lnTo>
                  <a:lnTo>
                    <a:pt x="444" y="264"/>
                  </a:lnTo>
                  <a:lnTo>
                    <a:pt x="441" y="250"/>
                  </a:lnTo>
                  <a:lnTo>
                    <a:pt x="422" y="238"/>
                  </a:lnTo>
                  <a:lnTo>
                    <a:pt x="428" y="232"/>
                  </a:lnTo>
                  <a:lnTo>
                    <a:pt x="444" y="225"/>
                  </a:lnTo>
                  <a:lnTo>
                    <a:pt x="430" y="198"/>
                  </a:lnTo>
                  <a:lnTo>
                    <a:pt x="431" y="173"/>
                  </a:lnTo>
                  <a:lnTo>
                    <a:pt x="442" y="159"/>
                  </a:lnTo>
                  <a:lnTo>
                    <a:pt x="433" y="139"/>
                  </a:lnTo>
                  <a:lnTo>
                    <a:pt x="428" y="143"/>
                  </a:lnTo>
                  <a:lnTo>
                    <a:pt x="429" y="149"/>
                  </a:lnTo>
                  <a:lnTo>
                    <a:pt x="413" y="157"/>
                  </a:lnTo>
                  <a:lnTo>
                    <a:pt x="404" y="138"/>
                  </a:lnTo>
                  <a:lnTo>
                    <a:pt x="377" y="146"/>
                  </a:lnTo>
                  <a:lnTo>
                    <a:pt x="370" y="130"/>
                  </a:lnTo>
                  <a:lnTo>
                    <a:pt x="348" y="132"/>
                  </a:lnTo>
                  <a:lnTo>
                    <a:pt x="350" y="123"/>
                  </a:lnTo>
                  <a:lnTo>
                    <a:pt x="339" y="116"/>
                  </a:lnTo>
                  <a:lnTo>
                    <a:pt x="337" y="105"/>
                  </a:lnTo>
                  <a:lnTo>
                    <a:pt x="349" y="93"/>
                  </a:lnTo>
                  <a:lnTo>
                    <a:pt x="338" y="87"/>
                  </a:lnTo>
                  <a:lnTo>
                    <a:pt x="322" y="97"/>
                  </a:lnTo>
                  <a:lnTo>
                    <a:pt x="321" y="90"/>
                  </a:lnTo>
                  <a:lnTo>
                    <a:pt x="327" y="86"/>
                  </a:lnTo>
                  <a:lnTo>
                    <a:pt x="320" y="75"/>
                  </a:lnTo>
                  <a:lnTo>
                    <a:pt x="320" y="62"/>
                  </a:lnTo>
                  <a:lnTo>
                    <a:pt x="307" y="60"/>
                  </a:lnTo>
                  <a:lnTo>
                    <a:pt x="305" y="71"/>
                  </a:lnTo>
                  <a:lnTo>
                    <a:pt x="296" y="72"/>
                  </a:lnTo>
                  <a:lnTo>
                    <a:pt x="306" y="52"/>
                  </a:lnTo>
                  <a:lnTo>
                    <a:pt x="303" y="41"/>
                  </a:lnTo>
                  <a:lnTo>
                    <a:pt x="252" y="11"/>
                  </a:lnTo>
                  <a:lnTo>
                    <a:pt x="216" y="31"/>
                  </a:lnTo>
                  <a:lnTo>
                    <a:pt x="213" y="39"/>
                  </a:lnTo>
                  <a:lnTo>
                    <a:pt x="198" y="40"/>
                  </a:lnTo>
                  <a:lnTo>
                    <a:pt x="200" y="34"/>
                  </a:lnTo>
                  <a:lnTo>
                    <a:pt x="197" y="29"/>
                  </a:lnTo>
                  <a:lnTo>
                    <a:pt x="175" y="35"/>
                  </a:lnTo>
                  <a:lnTo>
                    <a:pt x="176" y="27"/>
                  </a:lnTo>
                  <a:lnTo>
                    <a:pt x="146" y="13"/>
                  </a:lnTo>
                  <a:lnTo>
                    <a:pt x="94" y="7"/>
                  </a:lnTo>
                  <a:lnTo>
                    <a:pt x="93" y="0"/>
                  </a:lnTo>
                  <a:lnTo>
                    <a:pt x="63" y="36"/>
                  </a:lnTo>
                  <a:lnTo>
                    <a:pt x="64" y="57"/>
                  </a:lnTo>
                  <a:lnTo>
                    <a:pt x="69" y="75"/>
                  </a:lnTo>
                  <a:lnTo>
                    <a:pt x="87" y="88"/>
                  </a:lnTo>
                  <a:lnTo>
                    <a:pt x="97" y="80"/>
                  </a:lnTo>
                  <a:lnTo>
                    <a:pt x="96" y="94"/>
                  </a:lnTo>
                  <a:lnTo>
                    <a:pt x="83" y="110"/>
                  </a:lnTo>
                  <a:lnTo>
                    <a:pt x="83" y="120"/>
                  </a:lnTo>
                  <a:lnTo>
                    <a:pt x="66" y="152"/>
                  </a:lnTo>
                  <a:lnTo>
                    <a:pt x="66" y="161"/>
                  </a:lnTo>
                  <a:lnTo>
                    <a:pt x="72" y="167"/>
                  </a:lnTo>
                  <a:lnTo>
                    <a:pt x="95" y="169"/>
                  </a:lnTo>
                  <a:lnTo>
                    <a:pt x="81" y="174"/>
                  </a:lnTo>
                  <a:lnTo>
                    <a:pt x="86" y="182"/>
                  </a:lnTo>
                  <a:lnTo>
                    <a:pt x="83" y="197"/>
                  </a:lnTo>
                  <a:lnTo>
                    <a:pt x="96" y="219"/>
                  </a:lnTo>
                  <a:lnTo>
                    <a:pt x="94" y="226"/>
                  </a:lnTo>
                  <a:lnTo>
                    <a:pt x="85" y="227"/>
                  </a:lnTo>
                  <a:lnTo>
                    <a:pt x="85" y="234"/>
                  </a:lnTo>
                  <a:lnTo>
                    <a:pt x="108" y="234"/>
                  </a:lnTo>
                  <a:lnTo>
                    <a:pt x="100" y="245"/>
                  </a:lnTo>
                  <a:lnTo>
                    <a:pt x="98" y="258"/>
                  </a:lnTo>
                  <a:lnTo>
                    <a:pt x="114" y="267"/>
                  </a:lnTo>
                  <a:lnTo>
                    <a:pt x="98" y="270"/>
                  </a:lnTo>
                  <a:lnTo>
                    <a:pt x="85" y="264"/>
                  </a:lnTo>
                  <a:lnTo>
                    <a:pt x="81" y="273"/>
                  </a:lnTo>
                  <a:lnTo>
                    <a:pt x="85" y="295"/>
                  </a:lnTo>
                  <a:lnTo>
                    <a:pt x="40" y="310"/>
                  </a:lnTo>
                  <a:lnTo>
                    <a:pt x="41" y="330"/>
                  </a:lnTo>
                  <a:lnTo>
                    <a:pt x="39" y="333"/>
                  </a:lnTo>
                  <a:lnTo>
                    <a:pt x="72" y="368"/>
                  </a:lnTo>
                  <a:lnTo>
                    <a:pt x="94" y="376"/>
                  </a:lnTo>
                  <a:lnTo>
                    <a:pt x="123" y="481"/>
                  </a:lnTo>
                  <a:lnTo>
                    <a:pt x="128" y="533"/>
                  </a:lnTo>
                  <a:lnTo>
                    <a:pt x="140" y="513"/>
                  </a:lnTo>
                  <a:lnTo>
                    <a:pt x="147" y="536"/>
                  </a:lnTo>
                  <a:lnTo>
                    <a:pt x="151" y="537"/>
                  </a:lnTo>
                  <a:lnTo>
                    <a:pt x="141" y="548"/>
                  </a:lnTo>
                  <a:lnTo>
                    <a:pt x="124" y="546"/>
                  </a:lnTo>
                  <a:lnTo>
                    <a:pt x="90" y="602"/>
                  </a:lnTo>
                  <a:lnTo>
                    <a:pt x="78" y="617"/>
                  </a:lnTo>
                  <a:lnTo>
                    <a:pt x="0" y="666"/>
                  </a:lnTo>
                  <a:lnTo>
                    <a:pt x="14" y="675"/>
                  </a:lnTo>
                  <a:lnTo>
                    <a:pt x="32" y="711"/>
                  </a:lnTo>
                  <a:lnTo>
                    <a:pt x="39" y="790"/>
                  </a:lnTo>
                  <a:lnTo>
                    <a:pt x="42" y="793"/>
                  </a:lnTo>
                  <a:lnTo>
                    <a:pt x="39" y="800"/>
                  </a:lnTo>
                  <a:lnTo>
                    <a:pt x="43" y="814"/>
                  </a:lnTo>
                  <a:lnTo>
                    <a:pt x="59" y="831"/>
                  </a:lnTo>
                  <a:lnTo>
                    <a:pt x="77" y="830"/>
                  </a:lnTo>
                  <a:lnTo>
                    <a:pt x="72" y="835"/>
                  </a:lnTo>
                  <a:lnTo>
                    <a:pt x="58" y="834"/>
                  </a:lnTo>
                  <a:lnTo>
                    <a:pt x="39" y="860"/>
                  </a:lnTo>
                  <a:lnTo>
                    <a:pt x="29" y="861"/>
                  </a:lnTo>
                  <a:lnTo>
                    <a:pt x="46" y="882"/>
                  </a:lnTo>
                  <a:lnTo>
                    <a:pt x="42" y="895"/>
                  </a:lnTo>
                  <a:lnTo>
                    <a:pt x="36" y="899"/>
                  </a:lnTo>
                  <a:lnTo>
                    <a:pt x="32" y="901"/>
                  </a:lnTo>
                  <a:lnTo>
                    <a:pt x="29" y="886"/>
                  </a:lnTo>
                  <a:lnTo>
                    <a:pt x="19" y="875"/>
                  </a:lnTo>
                  <a:lnTo>
                    <a:pt x="8" y="877"/>
                  </a:lnTo>
                  <a:lnTo>
                    <a:pt x="6" y="886"/>
                  </a:lnTo>
                  <a:lnTo>
                    <a:pt x="6" y="895"/>
                  </a:lnTo>
                  <a:lnTo>
                    <a:pt x="6" y="927"/>
                  </a:lnTo>
                  <a:lnTo>
                    <a:pt x="6" y="989"/>
                  </a:lnTo>
                  <a:lnTo>
                    <a:pt x="6" y="1052"/>
                  </a:lnTo>
                  <a:lnTo>
                    <a:pt x="6" y="1110"/>
                  </a:lnTo>
                  <a:lnTo>
                    <a:pt x="6" y="1152"/>
                  </a:lnTo>
                  <a:lnTo>
                    <a:pt x="11" y="1163"/>
                  </a:lnTo>
                  <a:lnTo>
                    <a:pt x="11" y="1173"/>
                  </a:lnTo>
                  <a:lnTo>
                    <a:pt x="23" y="1191"/>
                  </a:lnTo>
                  <a:lnTo>
                    <a:pt x="32" y="1211"/>
                  </a:lnTo>
                  <a:lnTo>
                    <a:pt x="42" y="1221"/>
                  </a:lnTo>
                  <a:lnTo>
                    <a:pt x="92" y="1232"/>
                  </a:lnTo>
                  <a:lnTo>
                    <a:pt x="105" y="1246"/>
                  </a:lnTo>
                  <a:lnTo>
                    <a:pt x="125" y="1249"/>
                  </a:lnTo>
                  <a:lnTo>
                    <a:pt x="132" y="1268"/>
                  </a:lnTo>
                  <a:lnTo>
                    <a:pt x="144" y="1275"/>
                  </a:lnTo>
                  <a:lnTo>
                    <a:pt x="155" y="1272"/>
                  </a:lnTo>
                  <a:lnTo>
                    <a:pt x="166" y="1280"/>
                  </a:lnTo>
                  <a:lnTo>
                    <a:pt x="191" y="1267"/>
                  </a:lnTo>
                  <a:lnTo>
                    <a:pt x="217" y="1263"/>
                  </a:lnTo>
                  <a:lnTo>
                    <a:pt x="227" y="1270"/>
                  </a:lnTo>
                  <a:lnTo>
                    <a:pt x="224" y="1284"/>
                  </a:lnTo>
                  <a:lnTo>
                    <a:pt x="231" y="1291"/>
                  </a:lnTo>
                  <a:lnTo>
                    <a:pt x="214" y="1305"/>
                  </a:lnTo>
                  <a:lnTo>
                    <a:pt x="308" y="1305"/>
                  </a:lnTo>
                  <a:lnTo>
                    <a:pt x="351" y="1305"/>
                  </a:lnTo>
                  <a:lnTo>
                    <a:pt x="358" y="1289"/>
                  </a:lnTo>
                  <a:lnTo>
                    <a:pt x="370" y="1287"/>
                  </a:lnTo>
                  <a:lnTo>
                    <a:pt x="392" y="1285"/>
                  </a:lnTo>
                  <a:lnTo>
                    <a:pt x="392" y="1274"/>
                  </a:lnTo>
                  <a:lnTo>
                    <a:pt x="401" y="1264"/>
                  </a:lnTo>
                  <a:lnTo>
                    <a:pt x="403" y="1237"/>
                  </a:lnTo>
                  <a:lnTo>
                    <a:pt x="415" y="1210"/>
                  </a:lnTo>
                  <a:lnTo>
                    <a:pt x="418" y="1191"/>
                  </a:lnTo>
                  <a:lnTo>
                    <a:pt x="439" y="1156"/>
                  </a:lnTo>
                  <a:lnTo>
                    <a:pt x="449" y="1153"/>
                  </a:lnTo>
                  <a:lnTo>
                    <a:pt x="458" y="1163"/>
                  </a:lnTo>
                  <a:lnTo>
                    <a:pt x="479" y="1153"/>
                  </a:lnTo>
                  <a:lnTo>
                    <a:pt x="487" y="1145"/>
                  </a:lnTo>
                  <a:lnTo>
                    <a:pt x="488" y="1121"/>
                  </a:lnTo>
                  <a:lnTo>
                    <a:pt x="498" y="1121"/>
                  </a:lnTo>
                  <a:lnTo>
                    <a:pt x="498" y="1116"/>
                  </a:lnTo>
                  <a:lnTo>
                    <a:pt x="521" y="1116"/>
                  </a:lnTo>
                  <a:lnTo>
                    <a:pt x="531" y="1126"/>
                  </a:lnTo>
                  <a:lnTo>
                    <a:pt x="549" y="1123"/>
                  </a:lnTo>
                  <a:lnTo>
                    <a:pt x="553" y="1116"/>
                  </a:lnTo>
                  <a:lnTo>
                    <a:pt x="580" y="1113"/>
                  </a:lnTo>
                  <a:lnTo>
                    <a:pt x="601" y="1120"/>
                  </a:lnTo>
                  <a:lnTo>
                    <a:pt x="600" y="1104"/>
                  </a:lnTo>
                  <a:lnTo>
                    <a:pt x="626" y="1111"/>
                  </a:lnTo>
                  <a:lnTo>
                    <a:pt x="667" y="1081"/>
                  </a:lnTo>
                  <a:lnTo>
                    <a:pt x="667" y="1069"/>
                  </a:lnTo>
                  <a:lnTo>
                    <a:pt x="663" y="1062"/>
                  </a:lnTo>
                  <a:lnTo>
                    <a:pt x="669" y="1064"/>
                  </a:lnTo>
                  <a:lnTo>
                    <a:pt x="664" y="1050"/>
                  </a:lnTo>
                  <a:lnTo>
                    <a:pt x="633" y="1034"/>
                  </a:lnTo>
                  <a:lnTo>
                    <a:pt x="610" y="1031"/>
                  </a:lnTo>
                  <a:lnTo>
                    <a:pt x="567" y="1038"/>
                  </a:lnTo>
                  <a:lnTo>
                    <a:pt x="469" y="1090"/>
                  </a:lnTo>
                  <a:lnTo>
                    <a:pt x="438" y="1117"/>
                  </a:lnTo>
                  <a:lnTo>
                    <a:pt x="428" y="1137"/>
                  </a:lnTo>
                  <a:lnTo>
                    <a:pt x="390" y="1181"/>
                  </a:lnTo>
                  <a:lnTo>
                    <a:pt x="370" y="1188"/>
                  </a:lnTo>
                  <a:lnTo>
                    <a:pt x="412" y="1149"/>
                  </a:lnTo>
                  <a:lnTo>
                    <a:pt x="429" y="1116"/>
                  </a:lnTo>
                  <a:lnTo>
                    <a:pt x="428" y="1104"/>
                  </a:lnTo>
                  <a:lnTo>
                    <a:pt x="446" y="1096"/>
                  </a:lnTo>
                  <a:lnTo>
                    <a:pt x="469" y="1061"/>
                  </a:lnTo>
                  <a:lnTo>
                    <a:pt x="491" y="1038"/>
                  </a:lnTo>
                  <a:lnTo>
                    <a:pt x="504" y="1030"/>
                  </a:lnTo>
                  <a:lnTo>
                    <a:pt x="537" y="1026"/>
                  </a:lnTo>
                  <a:lnTo>
                    <a:pt x="547" y="997"/>
                  </a:lnTo>
                  <a:lnTo>
                    <a:pt x="559" y="980"/>
                  </a:lnTo>
                  <a:lnTo>
                    <a:pt x="565" y="978"/>
                  </a:lnTo>
                  <a:lnTo>
                    <a:pt x="575" y="976"/>
                  </a:lnTo>
                  <a:lnTo>
                    <a:pt x="580" y="968"/>
                  </a:lnTo>
                  <a:lnTo>
                    <a:pt x="659" y="962"/>
                  </a:lnTo>
                  <a:lnTo>
                    <a:pt x="770" y="967"/>
                  </a:lnTo>
                  <a:lnTo>
                    <a:pt x="783" y="977"/>
                  </a:lnTo>
                  <a:lnTo>
                    <a:pt x="835" y="966"/>
                  </a:lnTo>
                  <a:lnTo>
                    <a:pt x="845" y="955"/>
                  </a:lnTo>
                  <a:lnTo>
                    <a:pt x="841" y="964"/>
                  </a:lnTo>
                  <a:lnTo>
                    <a:pt x="850" y="968"/>
                  </a:lnTo>
                  <a:lnTo>
                    <a:pt x="867" y="953"/>
                  </a:lnTo>
                  <a:lnTo>
                    <a:pt x="875" y="948"/>
                  </a:lnTo>
                  <a:lnTo>
                    <a:pt x="898" y="913"/>
                  </a:lnTo>
                  <a:lnTo>
                    <a:pt x="902" y="914"/>
                  </a:lnTo>
                  <a:lnTo>
                    <a:pt x="920" y="895"/>
                  </a:lnTo>
                  <a:lnTo>
                    <a:pt x="973" y="886"/>
                  </a:lnTo>
                  <a:lnTo>
                    <a:pt x="973" y="849"/>
                  </a:lnTo>
                  <a:lnTo>
                    <a:pt x="962" y="849"/>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29" name="Freeform 1146"/>
            <p:cNvSpPr>
              <a:spLocks/>
            </p:cNvSpPr>
            <p:nvPr/>
          </p:nvSpPr>
          <p:spPr bwMode="auto">
            <a:xfrm>
              <a:off x="2619926" y="3130722"/>
              <a:ext cx="169135" cy="165576"/>
            </a:xfrm>
            <a:custGeom>
              <a:avLst/>
              <a:gdLst>
                <a:gd name="T0" fmla="*/ 2147483647 w 356"/>
                <a:gd name="T1" fmla="*/ 2147483647 h 397"/>
                <a:gd name="T2" fmla="*/ 2147483647 w 356"/>
                <a:gd name="T3" fmla="*/ 2147483647 h 397"/>
                <a:gd name="T4" fmla="*/ 2147483647 w 356"/>
                <a:gd name="T5" fmla="*/ 2147483647 h 397"/>
                <a:gd name="T6" fmla="*/ 2147483647 w 356"/>
                <a:gd name="T7" fmla="*/ 2147483647 h 397"/>
                <a:gd name="T8" fmla="*/ 2147483647 w 356"/>
                <a:gd name="T9" fmla="*/ 2147483647 h 397"/>
                <a:gd name="T10" fmla="*/ 2147483647 w 356"/>
                <a:gd name="T11" fmla="*/ 2147483647 h 397"/>
                <a:gd name="T12" fmla="*/ 2147483647 w 356"/>
                <a:gd name="T13" fmla="*/ 2147483647 h 397"/>
                <a:gd name="T14" fmla="*/ 2147483647 w 356"/>
                <a:gd name="T15" fmla="*/ 2147483647 h 397"/>
                <a:gd name="T16" fmla="*/ 2147483647 w 356"/>
                <a:gd name="T17" fmla="*/ 2147483647 h 397"/>
                <a:gd name="T18" fmla="*/ 2147483647 w 356"/>
                <a:gd name="T19" fmla="*/ 2147483647 h 397"/>
                <a:gd name="T20" fmla="*/ 2147483647 w 356"/>
                <a:gd name="T21" fmla="*/ 2147483647 h 397"/>
                <a:gd name="T22" fmla="*/ 2147483647 w 356"/>
                <a:gd name="T23" fmla="*/ 2147483647 h 397"/>
                <a:gd name="T24" fmla="*/ 2147483647 w 356"/>
                <a:gd name="T25" fmla="*/ 2147483647 h 397"/>
                <a:gd name="T26" fmla="*/ 2147483647 w 356"/>
                <a:gd name="T27" fmla="*/ 2147483647 h 397"/>
                <a:gd name="T28" fmla="*/ 2147483647 w 356"/>
                <a:gd name="T29" fmla="*/ 2147483647 h 397"/>
                <a:gd name="T30" fmla="*/ 2147483647 w 356"/>
                <a:gd name="T31" fmla="*/ 2147483647 h 397"/>
                <a:gd name="T32" fmla="*/ 2147483647 w 356"/>
                <a:gd name="T33" fmla="*/ 2147483647 h 397"/>
                <a:gd name="T34" fmla="*/ 2147483647 w 356"/>
                <a:gd name="T35" fmla="*/ 2147483647 h 397"/>
                <a:gd name="T36" fmla="*/ 2147483647 w 356"/>
                <a:gd name="T37" fmla="*/ 2147483647 h 397"/>
                <a:gd name="T38" fmla="*/ 2147483647 w 356"/>
                <a:gd name="T39" fmla="*/ 2147483647 h 397"/>
                <a:gd name="T40" fmla="*/ 2147483647 w 356"/>
                <a:gd name="T41" fmla="*/ 2147483647 h 397"/>
                <a:gd name="T42" fmla="*/ 2147483647 w 356"/>
                <a:gd name="T43" fmla="*/ 2147483647 h 397"/>
                <a:gd name="T44" fmla="*/ 2147483647 w 356"/>
                <a:gd name="T45" fmla="*/ 2147483647 h 397"/>
                <a:gd name="T46" fmla="*/ 2147483647 w 356"/>
                <a:gd name="T47" fmla="*/ 2147483647 h 397"/>
                <a:gd name="T48" fmla="*/ 2147483647 w 356"/>
                <a:gd name="T49" fmla="*/ 2147483647 h 397"/>
                <a:gd name="T50" fmla="*/ 2147483647 w 356"/>
                <a:gd name="T51" fmla="*/ 2147483647 h 397"/>
                <a:gd name="T52" fmla="*/ 2147483647 w 356"/>
                <a:gd name="T53" fmla="*/ 2147483647 h 397"/>
                <a:gd name="T54" fmla="*/ 2147483647 w 356"/>
                <a:gd name="T55" fmla="*/ 2147483647 h 397"/>
                <a:gd name="T56" fmla="*/ 2147483647 w 356"/>
                <a:gd name="T57" fmla="*/ 2147483647 h 397"/>
                <a:gd name="T58" fmla="*/ 2147483647 w 356"/>
                <a:gd name="T59" fmla="*/ 2147483647 h 397"/>
                <a:gd name="T60" fmla="*/ 2147483647 w 356"/>
                <a:gd name="T61" fmla="*/ 2147483647 h 397"/>
                <a:gd name="T62" fmla="*/ 2147483647 w 356"/>
                <a:gd name="T63" fmla="*/ 2147483647 h 397"/>
                <a:gd name="T64" fmla="*/ 2147483647 w 356"/>
                <a:gd name="T65" fmla="*/ 2147483647 h 397"/>
                <a:gd name="T66" fmla="*/ 2147483647 w 356"/>
                <a:gd name="T67" fmla="*/ 2147483647 h 397"/>
                <a:gd name="T68" fmla="*/ 2147483647 w 356"/>
                <a:gd name="T69" fmla="*/ 2147483647 h 397"/>
                <a:gd name="T70" fmla="*/ 2147483647 w 356"/>
                <a:gd name="T71" fmla="*/ 2147483647 h 397"/>
                <a:gd name="T72" fmla="*/ 2147483647 w 356"/>
                <a:gd name="T73" fmla="*/ 2147483647 h 397"/>
                <a:gd name="T74" fmla="*/ 2147483647 w 356"/>
                <a:gd name="T75" fmla="*/ 2147483647 h 397"/>
                <a:gd name="T76" fmla="*/ 2147483647 w 356"/>
                <a:gd name="T77" fmla="*/ 2147483647 h 397"/>
                <a:gd name="T78" fmla="*/ 2147483647 w 356"/>
                <a:gd name="T79" fmla="*/ 2147483647 h 397"/>
                <a:gd name="T80" fmla="*/ 2147483647 w 356"/>
                <a:gd name="T81" fmla="*/ 2147483647 h 397"/>
                <a:gd name="T82" fmla="*/ 2147483647 w 356"/>
                <a:gd name="T83" fmla="*/ 2147483647 h 397"/>
                <a:gd name="T84" fmla="*/ 2147483647 w 356"/>
                <a:gd name="T85" fmla="*/ 2147483647 h 397"/>
                <a:gd name="T86" fmla="*/ 2147483647 w 356"/>
                <a:gd name="T87" fmla="*/ 2147483647 h 397"/>
                <a:gd name="T88" fmla="*/ 2147483647 w 356"/>
                <a:gd name="T89" fmla="*/ 2147483647 h 397"/>
                <a:gd name="T90" fmla="*/ 2147483647 w 356"/>
                <a:gd name="T91" fmla="*/ 2147483647 h 397"/>
                <a:gd name="T92" fmla="*/ 2147483647 w 356"/>
                <a:gd name="T93" fmla="*/ 2147483647 h 397"/>
                <a:gd name="T94" fmla="*/ 2147483647 w 356"/>
                <a:gd name="T95" fmla="*/ 2147483647 h 3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6"/>
                <a:gd name="T145" fmla="*/ 0 h 397"/>
                <a:gd name="T146" fmla="*/ 356 w 356"/>
                <a:gd name="T147" fmla="*/ 397 h 3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6" h="397">
                  <a:moveTo>
                    <a:pt x="6" y="35"/>
                  </a:moveTo>
                  <a:lnTo>
                    <a:pt x="2" y="38"/>
                  </a:lnTo>
                  <a:lnTo>
                    <a:pt x="0" y="64"/>
                  </a:lnTo>
                  <a:lnTo>
                    <a:pt x="20" y="91"/>
                  </a:lnTo>
                  <a:lnTo>
                    <a:pt x="28" y="89"/>
                  </a:lnTo>
                  <a:lnTo>
                    <a:pt x="24" y="99"/>
                  </a:lnTo>
                  <a:lnTo>
                    <a:pt x="66" y="127"/>
                  </a:lnTo>
                  <a:lnTo>
                    <a:pt x="74" y="124"/>
                  </a:lnTo>
                  <a:lnTo>
                    <a:pt x="73" y="116"/>
                  </a:lnTo>
                  <a:lnTo>
                    <a:pt x="88" y="116"/>
                  </a:lnTo>
                  <a:lnTo>
                    <a:pt x="89" y="106"/>
                  </a:lnTo>
                  <a:lnTo>
                    <a:pt x="66" y="79"/>
                  </a:lnTo>
                  <a:lnTo>
                    <a:pt x="51" y="74"/>
                  </a:lnTo>
                  <a:lnTo>
                    <a:pt x="57" y="68"/>
                  </a:lnTo>
                  <a:lnTo>
                    <a:pt x="55" y="64"/>
                  </a:lnTo>
                  <a:lnTo>
                    <a:pt x="65" y="72"/>
                  </a:lnTo>
                  <a:lnTo>
                    <a:pt x="69" y="67"/>
                  </a:lnTo>
                  <a:lnTo>
                    <a:pt x="81" y="83"/>
                  </a:lnTo>
                  <a:lnTo>
                    <a:pt x="89" y="71"/>
                  </a:lnTo>
                  <a:lnTo>
                    <a:pt x="102" y="99"/>
                  </a:lnTo>
                  <a:lnTo>
                    <a:pt x="99" y="114"/>
                  </a:lnTo>
                  <a:lnTo>
                    <a:pt x="113" y="115"/>
                  </a:lnTo>
                  <a:lnTo>
                    <a:pt x="113" y="107"/>
                  </a:lnTo>
                  <a:lnTo>
                    <a:pt x="122" y="128"/>
                  </a:lnTo>
                  <a:lnTo>
                    <a:pt x="130" y="126"/>
                  </a:lnTo>
                  <a:lnTo>
                    <a:pt x="133" y="111"/>
                  </a:lnTo>
                  <a:lnTo>
                    <a:pt x="116" y="50"/>
                  </a:lnTo>
                  <a:lnTo>
                    <a:pt x="119" y="53"/>
                  </a:lnTo>
                  <a:lnTo>
                    <a:pt x="116" y="39"/>
                  </a:lnTo>
                  <a:lnTo>
                    <a:pt x="119" y="31"/>
                  </a:lnTo>
                  <a:lnTo>
                    <a:pt x="147" y="114"/>
                  </a:lnTo>
                  <a:lnTo>
                    <a:pt x="175" y="126"/>
                  </a:lnTo>
                  <a:lnTo>
                    <a:pt x="186" y="145"/>
                  </a:lnTo>
                  <a:lnTo>
                    <a:pt x="199" y="132"/>
                  </a:lnTo>
                  <a:lnTo>
                    <a:pt x="195" y="143"/>
                  </a:lnTo>
                  <a:lnTo>
                    <a:pt x="190" y="149"/>
                  </a:lnTo>
                  <a:lnTo>
                    <a:pt x="194" y="162"/>
                  </a:lnTo>
                  <a:lnTo>
                    <a:pt x="198" y="153"/>
                  </a:lnTo>
                  <a:lnTo>
                    <a:pt x="204" y="158"/>
                  </a:lnTo>
                  <a:lnTo>
                    <a:pt x="226" y="188"/>
                  </a:lnTo>
                  <a:lnTo>
                    <a:pt x="199" y="171"/>
                  </a:lnTo>
                  <a:lnTo>
                    <a:pt x="199" y="182"/>
                  </a:lnTo>
                  <a:lnTo>
                    <a:pt x="204" y="185"/>
                  </a:lnTo>
                  <a:lnTo>
                    <a:pt x="207" y="198"/>
                  </a:lnTo>
                  <a:lnTo>
                    <a:pt x="220" y="199"/>
                  </a:lnTo>
                  <a:lnTo>
                    <a:pt x="206" y="205"/>
                  </a:lnTo>
                  <a:lnTo>
                    <a:pt x="206" y="212"/>
                  </a:lnTo>
                  <a:lnTo>
                    <a:pt x="224" y="221"/>
                  </a:lnTo>
                  <a:lnTo>
                    <a:pt x="234" y="218"/>
                  </a:lnTo>
                  <a:lnTo>
                    <a:pt x="237" y="234"/>
                  </a:lnTo>
                  <a:lnTo>
                    <a:pt x="225" y="222"/>
                  </a:lnTo>
                  <a:lnTo>
                    <a:pt x="232" y="235"/>
                  </a:lnTo>
                  <a:lnTo>
                    <a:pt x="257" y="251"/>
                  </a:lnTo>
                  <a:lnTo>
                    <a:pt x="262" y="273"/>
                  </a:lnTo>
                  <a:lnTo>
                    <a:pt x="288" y="286"/>
                  </a:lnTo>
                  <a:lnTo>
                    <a:pt x="271" y="294"/>
                  </a:lnTo>
                  <a:lnTo>
                    <a:pt x="267" y="319"/>
                  </a:lnTo>
                  <a:lnTo>
                    <a:pt x="258" y="327"/>
                  </a:lnTo>
                  <a:lnTo>
                    <a:pt x="264" y="338"/>
                  </a:lnTo>
                  <a:lnTo>
                    <a:pt x="267" y="341"/>
                  </a:lnTo>
                  <a:lnTo>
                    <a:pt x="276" y="329"/>
                  </a:lnTo>
                  <a:lnTo>
                    <a:pt x="278" y="313"/>
                  </a:lnTo>
                  <a:lnTo>
                    <a:pt x="292" y="310"/>
                  </a:lnTo>
                  <a:lnTo>
                    <a:pt x="307" y="296"/>
                  </a:lnTo>
                  <a:lnTo>
                    <a:pt x="306" y="310"/>
                  </a:lnTo>
                  <a:lnTo>
                    <a:pt x="317" y="327"/>
                  </a:lnTo>
                  <a:lnTo>
                    <a:pt x="319" y="356"/>
                  </a:lnTo>
                  <a:lnTo>
                    <a:pt x="329" y="356"/>
                  </a:lnTo>
                  <a:lnTo>
                    <a:pt x="333" y="371"/>
                  </a:lnTo>
                  <a:lnTo>
                    <a:pt x="315" y="379"/>
                  </a:lnTo>
                  <a:lnTo>
                    <a:pt x="317" y="397"/>
                  </a:lnTo>
                  <a:lnTo>
                    <a:pt x="321" y="389"/>
                  </a:lnTo>
                  <a:lnTo>
                    <a:pt x="325" y="396"/>
                  </a:lnTo>
                  <a:lnTo>
                    <a:pt x="335" y="390"/>
                  </a:lnTo>
                  <a:lnTo>
                    <a:pt x="346" y="375"/>
                  </a:lnTo>
                  <a:lnTo>
                    <a:pt x="351" y="377"/>
                  </a:lnTo>
                  <a:lnTo>
                    <a:pt x="355" y="369"/>
                  </a:lnTo>
                  <a:lnTo>
                    <a:pt x="356" y="364"/>
                  </a:lnTo>
                  <a:lnTo>
                    <a:pt x="352" y="327"/>
                  </a:lnTo>
                  <a:lnTo>
                    <a:pt x="356" y="309"/>
                  </a:lnTo>
                  <a:lnTo>
                    <a:pt x="354" y="304"/>
                  </a:lnTo>
                  <a:lnTo>
                    <a:pt x="313" y="276"/>
                  </a:lnTo>
                  <a:lnTo>
                    <a:pt x="285" y="268"/>
                  </a:lnTo>
                  <a:lnTo>
                    <a:pt x="272" y="258"/>
                  </a:lnTo>
                  <a:lnTo>
                    <a:pt x="262" y="229"/>
                  </a:lnTo>
                  <a:lnTo>
                    <a:pt x="254" y="222"/>
                  </a:lnTo>
                  <a:lnTo>
                    <a:pt x="254" y="212"/>
                  </a:lnTo>
                  <a:lnTo>
                    <a:pt x="191" y="94"/>
                  </a:lnTo>
                  <a:lnTo>
                    <a:pt x="165" y="78"/>
                  </a:lnTo>
                  <a:lnTo>
                    <a:pt x="159" y="58"/>
                  </a:lnTo>
                  <a:lnTo>
                    <a:pt x="121" y="0"/>
                  </a:lnTo>
                  <a:lnTo>
                    <a:pt x="83" y="18"/>
                  </a:lnTo>
                  <a:lnTo>
                    <a:pt x="67" y="54"/>
                  </a:lnTo>
                  <a:lnTo>
                    <a:pt x="31" y="72"/>
                  </a:lnTo>
                  <a:lnTo>
                    <a:pt x="19" y="45"/>
                  </a:lnTo>
                  <a:lnTo>
                    <a:pt x="6" y="3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0" name="Freeform 1147"/>
            <p:cNvSpPr>
              <a:spLocks/>
            </p:cNvSpPr>
            <p:nvPr/>
          </p:nvSpPr>
          <p:spPr bwMode="auto">
            <a:xfrm>
              <a:off x="2565459" y="2707869"/>
              <a:ext cx="346868" cy="415211"/>
            </a:xfrm>
            <a:custGeom>
              <a:avLst/>
              <a:gdLst>
                <a:gd name="T0" fmla="*/ 2147483647 w 738"/>
                <a:gd name="T1" fmla="*/ 2147483647 h 995"/>
                <a:gd name="T2" fmla="*/ 2147483647 w 738"/>
                <a:gd name="T3" fmla="*/ 2147483647 h 995"/>
                <a:gd name="T4" fmla="*/ 2147483647 w 738"/>
                <a:gd name="T5" fmla="*/ 2147483647 h 995"/>
                <a:gd name="T6" fmla="*/ 2147483647 w 738"/>
                <a:gd name="T7" fmla="*/ 2147483647 h 995"/>
                <a:gd name="T8" fmla="*/ 2147483647 w 738"/>
                <a:gd name="T9" fmla="*/ 2147483647 h 995"/>
                <a:gd name="T10" fmla="*/ 2147483647 w 738"/>
                <a:gd name="T11" fmla="*/ 2147483647 h 995"/>
                <a:gd name="T12" fmla="*/ 2147483647 w 738"/>
                <a:gd name="T13" fmla="*/ 2147483647 h 995"/>
                <a:gd name="T14" fmla="*/ 2147483647 w 738"/>
                <a:gd name="T15" fmla="*/ 2147483647 h 995"/>
                <a:gd name="T16" fmla="*/ 2147483647 w 738"/>
                <a:gd name="T17" fmla="*/ 2147483647 h 995"/>
                <a:gd name="T18" fmla="*/ 2147483647 w 738"/>
                <a:gd name="T19" fmla="*/ 2147483647 h 995"/>
                <a:gd name="T20" fmla="*/ 2147483647 w 738"/>
                <a:gd name="T21" fmla="*/ 2147483647 h 995"/>
                <a:gd name="T22" fmla="*/ 2147483647 w 738"/>
                <a:gd name="T23" fmla="*/ 2147483647 h 995"/>
                <a:gd name="T24" fmla="*/ 2147483647 w 738"/>
                <a:gd name="T25" fmla="*/ 2147483647 h 995"/>
                <a:gd name="T26" fmla="*/ 2147483647 w 738"/>
                <a:gd name="T27" fmla="*/ 2147483647 h 995"/>
                <a:gd name="T28" fmla="*/ 2147483647 w 738"/>
                <a:gd name="T29" fmla="*/ 2147483647 h 995"/>
                <a:gd name="T30" fmla="*/ 2147483647 w 738"/>
                <a:gd name="T31" fmla="*/ 2147483647 h 995"/>
                <a:gd name="T32" fmla="*/ 2147483647 w 738"/>
                <a:gd name="T33" fmla="*/ 2147483647 h 995"/>
                <a:gd name="T34" fmla="*/ 2147483647 w 738"/>
                <a:gd name="T35" fmla="*/ 2147483647 h 995"/>
                <a:gd name="T36" fmla="*/ 2147483647 w 738"/>
                <a:gd name="T37" fmla="*/ 2147483647 h 995"/>
                <a:gd name="T38" fmla="*/ 2147483647 w 738"/>
                <a:gd name="T39" fmla="*/ 2147483647 h 995"/>
                <a:gd name="T40" fmla="*/ 2147483647 w 738"/>
                <a:gd name="T41" fmla="*/ 2147483647 h 995"/>
                <a:gd name="T42" fmla="*/ 2147483647 w 738"/>
                <a:gd name="T43" fmla="*/ 2147483647 h 995"/>
                <a:gd name="T44" fmla="*/ 2147483647 w 738"/>
                <a:gd name="T45" fmla="*/ 2147483647 h 995"/>
                <a:gd name="T46" fmla="*/ 2147483647 w 738"/>
                <a:gd name="T47" fmla="*/ 2147483647 h 995"/>
                <a:gd name="T48" fmla="*/ 2147483647 w 738"/>
                <a:gd name="T49" fmla="*/ 2147483647 h 995"/>
                <a:gd name="T50" fmla="*/ 2147483647 w 738"/>
                <a:gd name="T51" fmla="*/ 2147483647 h 995"/>
                <a:gd name="T52" fmla="*/ 2147483647 w 738"/>
                <a:gd name="T53" fmla="*/ 2147483647 h 995"/>
                <a:gd name="T54" fmla="*/ 2147483647 w 738"/>
                <a:gd name="T55" fmla="*/ 2147483647 h 995"/>
                <a:gd name="T56" fmla="*/ 2147483647 w 738"/>
                <a:gd name="T57" fmla="*/ 2147483647 h 995"/>
                <a:gd name="T58" fmla="*/ 2147483647 w 738"/>
                <a:gd name="T59" fmla="*/ 2147483647 h 995"/>
                <a:gd name="T60" fmla="*/ 2147483647 w 738"/>
                <a:gd name="T61" fmla="*/ 2147483647 h 995"/>
                <a:gd name="T62" fmla="*/ 2147483647 w 738"/>
                <a:gd name="T63" fmla="*/ 2147483647 h 995"/>
                <a:gd name="T64" fmla="*/ 2147483647 w 738"/>
                <a:gd name="T65" fmla="*/ 2147483647 h 995"/>
                <a:gd name="T66" fmla="*/ 2147483647 w 738"/>
                <a:gd name="T67" fmla="*/ 2147483647 h 995"/>
                <a:gd name="T68" fmla="*/ 0 w 738"/>
                <a:gd name="T69" fmla="*/ 2147483647 h 995"/>
                <a:gd name="T70" fmla="*/ 0 w 738"/>
                <a:gd name="T71" fmla="*/ 2147483647 h 995"/>
                <a:gd name="T72" fmla="*/ 0 w 738"/>
                <a:gd name="T73" fmla="*/ 2147483647 h 995"/>
                <a:gd name="T74" fmla="*/ 0 w 738"/>
                <a:gd name="T75" fmla="*/ 2147483647 h 995"/>
                <a:gd name="T76" fmla="*/ 0 w 738"/>
                <a:gd name="T77" fmla="*/ 2147483647 h 995"/>
                <a:gd name="T78" fmla="*/ 0 w 738"/>
                <a:gd name="T79" fmla="*/ 2147483647 h 995"/>
                <a:gd name="T80" fmla="*/ 2147483647 w 738"/>
                <a:gd name="T81" fmla="*/ 2147483647 h 995"/>
                <a:gd name="T82" fmla="*/ 2147483647 w 738"/>
                <a:gd name="T83" fmla="*/ 2147483647 h 9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995"/>
                <a:gd name="T128" fmla="*/ 738 w 738"/>
                <a:gd name="T129" fmla="*/ 995 h 9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995">
                  <a:moveTo>
                    <a:pt x="81" y="995"/>
                  </a:moveTo>
                  <a:lnTo>
                    <a:pt x="121" y="995"/>
                  </a:lnTo>
                  <a:lnTo>
                    <a:pt x="162" y="995"/>
                  </a:lnTo>
                  <a:lnTo>
                    <a:pt x="200" y="995"/>
                  </a:lnTo>
                  <a:lnTo>
                    <a:pt x="237" y="995"/>
                  </a:lnTo>
                  <a:lnTo>
                    <a:pt x="275" y="995"/>
                  </a:lnTo>
                  <a:lnTo>
                    <a:pt x="317" y="995"/>
                  </a:lnTo>
                  <a:lnTo>
                    <a:pt x="357" y="995"/>
                  </a:lnTo>
                  <a:lnTo>
                    <a:pt x="399" y="995"/>
                  </a:lnTo>
                  <a:lnTo>
                    <a:pt x="438" y="995"/>
                  </a:lnTo>
                  <a:lnTo>
                    <a:pt x="473" y="995"/>
                  </a:lnTo>
                  <a:lnTo>
                    <a:pt x="513" y="995"/>
                  </a:lnTo>
                  <a:lnTo>
                    <a:pt x="556" y="995"/>
                  </a:lnTo>
                  <a:lnTo>
                    <a:pt x="595" y="995"/>
                  </a:lnTo>
                  <a:lnTo>
                    <a:pt x="637" y="995"/>
                  </a:lnTo>
                  <a:lnTo>
                    <a:pt x="675" y="995"/>
                  </a:lnTo>
                  <a:lnTo>
                    <a:pt x="711" y="995"/>
                  </a:lnTo>
                  <a:lnTo>
                    <a:pt x="738" y="995"/>
                  </a:lnTo>
                  <a:lnTo>
                    <a:pt x="731" y="987"/>
                  </a:lnTo>
                  <a:lnTo>
                    <a:pt x="722" y="966"/>
                  </a:lnTo>
                  <a:lnTo>
                    <a:pt x="722" y="955"/>
                  </a:lnTo>
                  <a:lnTo>
                    <a:pt x="713" y="954"/>
                  </a:lnTo>
                  <a:lnTo>
                    <a:pt x="704" y="937"/>
                  </a:lnTo>
                  <a:lnTo>
                    <a:pt x="710" y="927"/>
                  </a:lnTo>
                  <a:lnTo>
                    <a:pt x="705" y="912"/>
                  </a:lnTo>
                  <a:lnTo>
                    <a:pt x="696" y="911"/>
                  </a:lnTo>
                  <a:lnTo>
                    <a:pt x="693" y="921"/>
                  </a:lnTo>
                  <a:lnTo>
                    <a:pt x="672" y="927"/>
                  </a:lnTo>
                  <a:lnTo>
                    <a:pt x="650" y="918"/>
                  </a:lnTo>
                  <a:lnTo>
                    <a:pt x="644" y="926"/>
                  </a:lnTo>
                  <a:lnTo>
                    <a:pt x="638" y="920"/>
                  </a:lnTo>
                  <a:lnTo>
                    <a:pt x="633" y="927"/>
                  </a:lnTo>
                  <a:lnTo>
                    <a:pt x="608" y="930"/>
                  </a:lnTo>
                  <a:lnTo>
                    <a:pt x="604" y="902"/>
                  </a:lnTo>
                  <a:lnTo>
                    <a:pt x="597" y="901"/>
                  </a:lnTo>
                  <a:lnTo>
                    <a:pt x="601" y="891"/>
                  </a:lnTo>
                  <a:lnTo>
                    <a:pt x="595" y="867"/>
                  </a:lnTo>
                  <a:lnTo>
                    <a:pt x="579" y="863"/>
                  </a:lnTo>
                  <a:lnTo>
                    <a:pt x="560" y="846"/>
                  </a:lnTo>
                  <a:lnTo>
                    <a:pt x="555" y="831"/>
                  </a:lnTo>
                  <a:lnTo>
                    <a:pt x="550" y="832"/>
                  </a:lnTo>
                  <a:lnTo>
                    <a:pt x="535" y="807"/>
                  </a:lnTo>
                  <a:lnTo>
                    <a:pt x="526" y="813"/>
                  </a:lnTo>
                  <a:lnTo>
                    <a:pt x="503" y="804"/>
                  </a:lnTo>
                  <a:lnTo>
                    <a:pt x="507" y="798"/>
                  </a:lnTo>
                  <a:lnTo>
                    <a:pt x="503" y="789"/>
                  </a:lnTo>
                  <a:lnTo>
                    <a:pt x="507" y="783"/>
                  </a:lnTo>
                  <a:lnTo>
                    <a:pt x="503" y="779"/>
                  </a:lnTo>
                  <a:lnTo>
                    <a:pt x="508" y="773"/>
                  </a:lnTo>
                  <a:lnTo>
                    <a:pt x="491" y="764"/>
                  </a:lnTo>
                  <a:lnTo>
                    <a:pt x="494" y="755"/>
                  </a:lnTo>
                  <a:lnTo>
                    <a:pt x="482" y="737"/>
                  </a:lnTo>
                  <a:lnTo>
                    <a:pt x="489" y="720"/>
                  </a:lnTo>
                  <a:lnTo>
                    <a:pt x="479" y="716"/>
                  </a:lnTo>
                  <a:lnTo>
                    <a:pt x="477" y="706"/>
                  </a:lnTo>
                  <a:lnTo>
                    <a:pt x="466" y="699"/>
                  </a:lnTo>
                  <a:lnTo>
                    <a:pt x="480" y="679"/>
                  </a:lnTo>
                  <a:lnTo>
                    <a:pt x="468" y="657"/>
                  </a:lnTo>
                  <a:lnTo>
                    <a:pt x="459" y="658"/>
                  </a:lnTo>
                  <a:lnTo>
                    <a:pt x="468" y="648"/>
                  </a:lnTo>
                  <a:lnTo>
                    <a:pt x="436" y="623"/>
                  </a:lnTo>
                  <a:lnTo>
                    <a:pt x="432" y="614"/>
                  </a:lnTo>
                  <a:lnTo>
                    <a:pt x="436" y="609"/>
                  </a:lnTo>
                  <a:lnTo>
                    <a:pt x="428" y="601"/>
                  </a:lnTo>
                  <a:lnTo>
                    <a:pt x="430" y="596"/>
                  </a:lnTo>
                  <a:lnTo>
                    <a:pt x="423" y="586"/>
                  </a:lnTo>
                  <a:lnTo>
                    <a:pt x="413" y="582"/>
                  </a:lnTo>
                  <a:lnTo>
                    <a:pt x="395" y="591"/>
                  </a:lnTo>
                  <a:lnTo>
                    <a:pt x="399" y="575"/>
                  </a:lnTo>
                  <a:lnTo>
                    <a:pt x="359" y="545"/>
                  </a:lnTo>
                  <a:lnTo>
                    <a:pt x="372" y="522"/>
                  </a:lnTo>
                  <a:lnTo>
                    <a:pt x="353" y="505"/>
                  </a:lnTo>
                  <a:lnTo>
                    <a:pt x="363" y="500"/>
                  </a:lnTo>
                  <a:lnTo>
                    <a:pt x="379" y="467"/>
                  </a:lnTo>
                  <a:lnTo>
                    <a:pt x="361" y="441"/>
                  </a:lnTo>
                  <a:lnTo>
                    <a:pt x="372" y="427"/>
                  </a:lnTo>
                  <a:lnTo>
                    <a:pt x="360" y="422"/>
                  </a:lnTo>
                  <a:lnTo>
                    <a:pt x="348" y="435"/>
                  </a:lnTo>
                  <a:lnTo>
                    <a:pt x="344" y="433"/>
                  </a:lnTo>
                  <a:lnTo>
                    <a:pt x="346" y="422"/>
                  </a:lnTo>
                  <a:lnTo>
                    <a:pt x="316" y="428"/>
                  </a:lnTo>
                  <a:lnTo>
                    <a:pt x="317" y="420"/>
                  </a:lnTo>
                  <a:lnTo>
                    <a:pt x="313" y="418"/>
                  </a:lnTo>
                  <a:lnTo>
                    <a:pt x="320" y="408"/>
                  </a:lnTo>
                  <a:lnTo>
                    <a:pt x="319" y="395"/>
                  </a:lnTo>
                  <a:lnTo>
                    <a:pt x="308" y="391"/>
                  </a:lnTo>
                  <a:lnTo>
                    <a:pt x="319" y="365"/>
                  </a:lnTo>
                  <a:lnTo>
                    <a:pt x="307" y="347"/>
                  </a:lnTo>
                  <a:lnTo>
                    <a:pt x="310" y="338"/>
                  </a:lnTo>
                  <a:lnTo>
                    <a:pt x="295" y="322"/>
                  </a:lnTo>
                  <a:lnTo>
                    <a:pt x="307" y="317"/>
                  </a:lnTo>
                  <a:lnTo>
                    <a:pt x="207" y="317"/>
                  </a:lnTo>
                  <a:lnTo>
                    <a:pt x="204" y="298"/>
                  </a:lnTo>
                  <a:lnTo>
                    <a:pt x="210" y="284"/>
                  </a:lnTo>
                  <a:lnTo>
                    <a:pt x="205" y="272"/>
                  </a:lnTo>
                  <a:lnTo>
                    <a:pt x="207" y="260"/>
                  </a:lnTo>
                  <a:lnTo>
                    <a:pt x="195" y="237"/>
                  </a:lnTo>
                  <a:lnTo>
                    <a:pt x="195" y="102"/>
                  </a:lnTo>
                  <a:lnTo>
                    <a:pt x="199" y="97"/>
                  </a:lnTo>
                  <a:lnTo>
                    <a:pt x="149" y="93"/>
                  </a:lnTo>
                  <a:lnTo>
                    <a:pt x="114" y="55"/>
                  </a:lnTo>
                  <a:lnTo>
                    <a:pt x="102" y="57"/>
                  </a:lnTo>
                  <a:lnTo>
                    <a:pt x="71" y="16"/>
                  </a:lnTo>
                  <a:lnTo>
                    <a:pt x="0" y="0"/>
                  </a:lnTo>
                  <a:lnTo>
                    <a:pt x="0" y="72"/>
                  </a:lnTo>
                  <a:lnTo>
                    <a:pt x="0" y="142"/>
                  </a:lnTo>
                  <a:lnTo>
                    <a:pt x="0" y="210"/>
                  </a:lnTo>
                  <a:lnTo>
                    <a:pt x="0" y="277"/>
                  </a:lnTo>
                  <a:lnTo>
                    <a:pt x="0" y="341"/>
                  </a:lnTo>
                  <a:lnTo>
                    <a:pt x="0" y="405"/>
                  </a:lnTo>
                  <a:lnTo>
                    <a:pt x="0" y="467"/>
                  </a:lnTo>
                  <a:lnTo>
                    <a:pt x="0" y="527"/>
                  </a:lnTo>
                  <a:lnTo>
                    <a:pt x="0" y="587"/>
                  </a:lnTo>
                  <a:lnTo>
                    <a:pt x="0" y="645"/>
                  </a:lnTo>
                  <a:lnTo>
                    <a:pt x="0" y="702"/>
                  </a:lnTo>
                  <a:lnTo>
                    <a:pt x="0" y="756"/>
                  </a:lnTo>
                  <a:lnTo>
                    <a:pt x="0" y="812"/>
                  </a:lnTo>
                  <a:lnTo>
                    <a:pt x="0" y="866"/>
                  </a:lnTo>
                  <a:lnTo>
                    <a:pt x="0" y="918"/>
                  </a:lnTo>
                  <a:lnTo>
                    <a:pt x="0" y="969"/>
                  </a:lnTo>
                  <a:lnTo>
                    <a:pt x="15" y="980"/>
                  </a:lnTo>
                  <a:lnTo>
                    <a:pt x="26" y="970"/>
                  </a:lnTo>
                  <a:lnTo>
                    <a:pt x="43" y="981"/>
                  </a:lnTo>
                  <a:lnTo>
                    <a:pt x="52" y="968"/>
                  </a:lnTo>
                  <a:lnTo>
                    <a:pt x="79" y="968"/>
                  </a:lnTo>
                  <a:lnTo>
                    <a:pt x="76" y="991"/>
                  </a:lnTo>
                  <a:lnTo>
                    <a:pt x="80" y="995"/>
                  </a:lnTo>
                  <a:lnTo>
                    <a:pt x="81" y="99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1" name="Freeform 1148"/>
            <p:cNvSpPr>
              <a:spLocks/>
            </p:cNvSpPr>
            <p:nvPr/>
          </p:nvSpPr>
          <p:spPr bwMode="auto">
            <a:xfrm>
              <a:off x="2658625" y="2586872"/>
              <a:ext cx="1116572" cy="536209"/>
            </a:xfrm>
            <a:custGeom>
              <a:avLst/>
              <a:gdLst>
                <a:gd name="T0" fmla="*/ 2147483647 w 2377"/>
                <a:gd name="T1" fmla="*/ 2147483647 h 1287"/>
                <a:gd name="T2" fmla="*/ 2147483647 w 2377"/>
                <a:gd name="T3" fmla="*/ 2147483647 h 1287"/>
                <a:gd name="T4" fmla="*/ 2147483647 w 2377"/>
                <a:gd name="T5" fmla="*/ 2147483647 h 1287"/>
                <a:gd name="T6" fmla="*/ 2147483647 w 2377"/>
                <a:gd name="T7" fmla="*/ 2147483647 h 1287"/>
                <a:gd name="T8" fmla="*/ 2147483647 w 2377"/>
                <a:gd name="T9" fmla="*/ 2147483647 h 1287"/>
                <a:gd name="T10" fmla="*/ 2147483647 w 2377"/>
                <a:gd name="T11" fmla="*/ 2147483647 h 1287"/>
                <a:gd name="T12" fmla="*/ 2147483647 w 2377"/>
                <a:gd name="T13" fmla="*/ 2147483647 h 1287"/>
                <a:gd name="T14" fmla="*/ 2147483647 w 2377"/>
                <a:gd name="T15" fmla="*/ 2147483647 h 1287"/>
                <a:gd name="T16" fmla="*/ 2147483647 w 2377"/>
                <a:gd name="T17" fmla="*/ 2147483647 h 1287"/>
                <a:gd name="T18" fmla="*/ 2147483647 w 2377"/>
                <a:gd name="T19" fmla="*/ 2147483647 h 1287"/>
                <a:gd name="T20" fmla="*/ 2147483647 w 2377"/>
                <a:gd name="T21" fmla="*/ 2147483647 h 1287"/>
                <a:gd name="T22" fmla="*/ 2147483647 w 2377"/>
                <a:gd name="T23" fmla="*/ 2147483647 h 1287"/>
                <a:gd name="T24" fmla="*/ 2147483647 w 2377"/>
                <a:gd name="T25" fmla="*/ 2147483647 h 1287"/>
                <a:gd name="T26" fmla="*/ 2147483647 w 2377"/>
                <a:gd name="T27" fmla="*/ 2147483647 h 1287"/>
                <a:gd name="T28" fmla="*/ 2147483647 w 2377"/>
                <a:gd name="T29" fmla="*/ 2147483647 h 1287"/>
                <a:gd name="T30" fmla="*/ 2147483647 w 2377"/>
                <a:gd name="T31" fmla="*/ 2147483647 h 1287"/>
                <a:gd name="T32" fmla="*/ 2147483647 w 2377"/>
                <a:gd name="T33" fmla="*/ 2147483647 h 1287"/>
                <a:gd name="T34" fmla="*/ 2147483647 w 2377"/>
                <a:gd name="T35" fmla="*/ 2147483647 h 1287"/>
                <a:gd name="T36" fmla="*/ 2147483647 w 2377"/>
                <a:gd name="T37" fmla="*/ 2147483647 h 1287"/>
                <a:gd name="T38" fmla="*/ 2147483647 w 2377"/>
                <a:gd name="T39" fmla="*/ 2147483647 h 1287"/>
                <a:gd name="T40" fmla="*/ 2147483647 w 2377"/>
                <a:gd name="T41" fmla="*/ 2147483647 h 1287"/>
                <a:gd name="T42" fmla="*/ 2147483647 w 2377"/>
                <a:gd name="T43" fmla="*/ 2147483647 h 1287"/>
                <a:gd name="T44" fmla="*/ 2147483647 w 2377"/>
                <a:gd name="T45" fmla="*/ 2147483647 h 1287"/>
                <a:gd name="T46" fmla="*/ 2147483647 w 2377"/>
                <a:gd name="T47" fmla="*/ 2147483647 h 1287"/>
                <a:gd name="T48" fmla="*/ 2147483647 w 2377"/>
                <a:gd name="T49" fmla="*/ 2147483647 h 1287"/>
                <a:gd name="T50" fmla="*/ 2147483647 w 2377"/>
                <a:gd name="T51" fmla="*/ 2147483647 h 1287"/>
                <a:gd name="T52" fmla="*/ 2147483647 w 2377"/>
                <a:gd name="T53" fmla="*/ 2147483647 h 1287"/>
                <a:gd name="T54" fmla="*/ 2147483647 w 2377"/>
                <a:gd name="T55" fmla="*/ 2147483647 h 1287"/>
                <a:gd name="T56" fmla="*/ 2147483647 w 2377"/>
                <a:gd name="T57" fmla="*/ 2147483647 h 1287"/>
                <a:gd name="T58" fmla="*/ 2147483647 w 2377"/>
                <a:gd name="T59" fmla="*/ 2147483647 h 1287"/>
                <a:gd name="T60" fmla="*/ 2147483647 w 2377"/>
                <a:gd name="T61" fmla="*/ 2147483647 h 1287"/>
                <a:gd name="T62" fmla="*/ 2147483647 w 2377"/>
                <a:gd name="T63" fmla="*/ 2147483647 h 1287"/>
                <a:gd name="T64" fmla="*/ 2147483647 w 2377"/>
                <a:gd name="T65" fmla="*/ 2147483647 h 1287"/>
                <a:gd name="T66" fmla="*/ 2147483647 w 2377"/>
                <a:gd name="T67" fmla="*/ 2147483647 h 1287"/>
                <a:gd name="T68" fmla="*/ 2147483647 w 2377"/>
                <a:gd name="T69" fmla="*/ 2147483647 h 1287"/>
                <a:gd name="T70" fmla="*/ 2147483647 w 2377"/>
                <a:gd name="T71" fmla="*/ 2147483647 h 1287"/>
                <a:gd name="T72" fmla="*/ 2147483647 w 2377"/>
                <a:gd name="T73" fmla="*/ 2147483647 h 1287"/>
                <a:gd name="T74" fmla="*/ 2147483647 w 2377"/>
                <a:gd name="T75" fmla="*/ 2147483647 h 1287"/>
                <a:gd name="T76" fmla="*/ 2147483647 w 2377"/>
                <a:gd name="T77" fmla="*/ 2147483647 h 1287"/>
                <a:gd name="T78" fmla="*/ 2147483647 w 2377"/>
                <a:gd name="T79" fmla="*/ 2147483647 h 1287"/>
                <a:gd name="T80" fmla="*/ 2147483647 w 2377"/>
                <a:gd name="T81" fmla="*/ 2147483647 h 1287"/>
                <a:gd name="T82" fmla="*/ 2147483647 w 2377"/>
                <a:gd name="T83" fmla="*/ 2147483647 h 1287"/>
                <a:gd name="T84" fmla="*/ 2147483647 w 2377"/>
                <a:gd name="T85" fmla="*/ 2147483647 h 1287"/>
                <a:gd name="T86" fmla="*/ 2147483647 w 2377"/>
                <a:gd name="T87" fmla="*/ 2147483647 h 1287"/>
                <a:gd name="T88" fmla="*/ 2147483647 w 2377"/>
                <a:gd name="T89" fmla="*/ 2147483647 h 1287"/>
                <a:gd name="T90" fmla="*/ 2147483647 w 2377"/>
                <a:gd name="T91" fmla="*/ 2147483647 h 1287"/>
                <a:gd name="T92" fmla="*/ 2147483647 w 2377"/>
                <a:gd name="T93" fmla="*/ 2147483647 h 1287"/>
                <a:gd name="T94" fmla="*/ 2147483647 w 2377"/>
                <a:gd name="T95" fmla="*/ 2147483647 h 1287"/>
                <a:gd name="T96" fmla="*/ 2147483647 w 2377"/>
                <a:gd name="T97" fmla="*/ 2147483647 h 1287"/>
                <a:gd name="T98" fmla="*/ 2147483647 w 2377"/>
                <a:gd name="T99" fmla="*/ 2147483647 h 1287"/>
                <a:gd name="T100" fmla="*/ 2147483647 w 2377"/>
                <a:gd name="T101" fmla="*/ 2147483647 h 1287"/>
                <a:gd name="T102" fmla="*/ 0 w 2377"/>
                <a:gd name="T103" fmla="*/ 2147483647 h 1287"/>
                <a:gd name="T104" fmla="*/ 2147483647 w 2377"/>
                <a:gd name="T105" fmla="*/ 2147483647 h 1287"/>
                <a:gd name="T106" fmla="*/ 2147483647 w 2377"/>
                <a:gd name="T107" fmla="*/ 2147483647 h 1287"/>
                <a:gd name="T108" fmla="*/ 2147483647 w 2377"/>
                <a:gd name="T109" fmla="*/ 2147483647 h 1287"/>
                <a:gd name="T110" fmla="*/ 2147483647 w 2377"/>
                <a:gd name="T111" fmla="*/ 2147483647 h 1287"/>
                <a:gd name="T112" fmla="*/ 2147483647 w 2377"/>
                <a:gd name="T113" fmla="*/ 2147483647 h 1287"/>
                <a:gd name="T114" fmla="*/ 2147483647 w 2377"/>
                <a:gd name="T115" fmla="*/ 2147483647 h 1287"/>
                <a:gd name="T116" fmla="*/ 2147483647 w 2377"/>
                <a:gd name="T117" fmla="*/ 2147483647 h 1287"/>
                <a:gd name="T118" fmla="*/ 2147483647 w 2377"/>
                <a:gd name="T119" fmla="*/ 2147483647 h 1287"/>
                <a:gd name="T120" fmla="*/ 2147483647 w 2377"/>
                <a:gd name="T121" fmla="*/ 2147483647 h 1287"/>
                <a:gd name="T122" fmla="*/ 2147483647 w 2377"/>
                <a:gd name="T123" fmla="*/ 2147483647 h 1287"/>
                <a:gd name="T124" fmla="*/ 2147483647 w 2377"/>
                <a:gd name="T125" fmla="*/ 2147483647 h 12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77"/>
                <a:gd name="T190" fmla="*/ 0 h 1287"/>
                <a:gd name="T191" fmla="*/ 2377 w 2377"/>
                <a:gd name="T192" fmla="*/ 1287 h 12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77" h="1287">
                  <a:moveTo>
                    <a:pt x="1483" y="1287"/>
                  </a:moveTo>
                  <a:lnTo>
                    <a:pt x="1522" y="1287"/>
                  </a:lnTo>
                  <a:lnTo>
                    <a:pt x="1564" y="1287"/>
                  </a:lnTo>
                  <a:lnTo>
                    <a:pt x="1603" y="1287"/>
                  </a:lnTo>
                  <a:lnTo>
                    <a:pt x="1638" y="1287"/>
                  </a:lnTo>
                  <a:lnTo>
                    <a:pt x="1678" y="1287"/>
                  </a:lnTo>
                  <a:lnTo>
                    <a:pt x="1719" y="1287"/>
                  </a:lnTo>
                  <a:lnTo>
                    <a:pt x="1759" y="1287"/>
                  </a:lnTo>
                  <a:lnTo>
                    <a:pt x="1797" y="1287"/>
                  </a:lnTo>
                  <a:lnTo>
                    <a:pt x="1797" y="1246"/>
                  </a:lnTo>
                  <a:lnTo>
                    <a:pt x="1805" y="1241"/>
                  </a:lnTo>
                  <a:lnTo>
                    <a:pt x="1807" y="1214"/>
                  </a:lnTo>
                  <a:lnTo>
                    <a:pt x="1815" y="1211"/>
                  </a:lnTo>
                  <a:lnTo>
                    <a:pt x="1821" y="1185"/>
                  </a:lnTo>
                  <a:lnTo>
                    <a:pt x="1804" y="1167"/>
                  </a:lnTo>
                  <a:lnTo>
                    <a:pt x="1827" y="1163"/>
                  </a:lnTo>
                  <a:lnTo>
                    <a:pt x="1848" y="1145"/>
                  </a:lnTo>
                  <a:lnTo>
                    <a:pt x="1857" y="1130"/>
                  </a:lnTo>
                  <a:lnTo>
                    <a:pt x="1850" y="1118"/>
                  </a:lnTo>
                  <a:lnTo>
                    <a:pt x="1863" y="1118"/>
                  </a:lnTo>
                  <a:lnTo>
                    <a:pt x="1872" y="1092"/>
                  </a:lnTo>
                  <a:lnTo>
                    <a:pt x="1877" y="1090"/>
                  </a:lnTo>
                  <a:lnTo>
                    <a:pt x="1890" y="1105"/>
                  </a:lnTo>
                  <a:lnTo>
                    <a:pt x="1886" y="1082"/>
                  </a:lnTo>
                  <a:lnTo>
                    <a:pt x="1889" y="1056"/>
                  </a:lnTo>
                  <a:lnTo>
                    <a:pt x="1916" y="1055"/>
                  </a:lnTo>
                  <a:lnTo>
                    <a:pt x="1901" y="1051"/>
                  </a:lnTo>
                  <a:lnTo>
                    <a:pt x="1894" y="1039"/>
                  </a:lnTo>
                  <a:lnTo>
                    <a:pt x="1897" y="1033"/>
                  </a:lnTo>
                  <a:lnTo>
                    <a:pt x="1940" y="1035"/>
                  </a:lnTo>
                  <a:lnTo>
                    <a:pt x="1968" y="1026"/>
                  </a:lnTo>
                  <a:lnTo>
                    <a:pt x="1974" y="1017"/>
                  </a:lnTo>
                  <a:lnTo>
                    <a:pt x="1971" y="991"/>
                  </a:lnTo>
                  <a:lnTo>
                    <a:pt x="1962" y="970"/>
                  </a:lnTo>
                  <a:lnTo>
                    <a:pt x="1955" y="972"/>
                  </a:lnTo>
                  <a:lnTo>
                    <a:pt x="1925" y="949"/>
                  </a:lnTo>
                  <a:lnTo>
                    <a:pt x="1903" y="961"/>
                  </a:lnTo>
                  <a:lnTo>
                    <a:pt x="1910" y="947"/>
                  </a:lnTo>
                  <a:lnTo>
                    <a:pt x="1895" y="942"/>
                  </a:lnTo>
                  <a:lnTo>
                    <a:pt x="1890" y="948"/>
                  </a:lnTo>
                  <a:lnTo>
                    <a:pt x="1888" y="940"/>
                  </a:lnTo>
                  <a:lnTo>
                    <a:pt x="1860" y="925"/>
                  </a:lnTo>
                  <a:lnTo>
                    <a:pt x="1861" y="933"/>
                  </a:lnTo>
                  <a:lnTo>
                    <a:pt x="1855" y="936"/>
                  </a:lnTo>
                  <a:lnTo>
                    <a:pt x="1846" y="926"/>
                  </a:lnTo>
                  <a:lnTo>
                    <a:pt x="1853" y="916"/>
                  </a:lnTo>
                  <a:lnTo>
                    <a:pt x="1908" y="943"/>
                  </a:lnTo>
                  <a:lnTo>
                    <a:pt x="1936" y="936"/>
                  </a:lnTo>
                  <a:lnTo>
                    <a:pt x="1938" y="947"/>
                  </a:lnTo>
                  <a:lnTo>
                    <a:pt x="1974" y="969"/>
                  </a:lnTo>
                  <a:lnTo>
                    <a:pt x="1997" y="951"/>
                  </a:lnTo>
                  <a:lnTo>
                    <a:pt x="2003" y="937"/>
                  </a:lnTo>
                  <a:lnTo>
                    <a:pt x="1999" y="932"/>
                  </a:lnTo>
                  <a:lnTo>
                    <a:pt x="2000" y="923"/>
                  </a:lnTo>
                  <a:lnTo>
                    <a:pt x="2010" y="926"/>
                  </a:lnTo>
                  <a:lnTo>
                    <a:pt x="2007" y="904"/>
                  </a:lnTo>
                  <a:lnTo>
                    <a:pt x="2039" y="922"/>
                  </a:lnTo>
                  <a:lnTo>
                    <a:pt x="2042" y="915"/>
                  </a:lnTo>
                  <a:lnTo>
                    <a:pt x="2059" y="920"/>
                  </a:lnTo>
                  <a:lnTo>
                    <a:pt x="2083" y="903"/>
                  </a:lnTo>
                  <a:lnTo>
                    <a:pt x="2095" y="881"/>
                  </a:lnTo>
                  <a:lnTo>
                    <a:pt x="2095" y="870"/>
                  </a:lnTo>
                  <a:lnTo>
                    <a:pt x="2105" y="865"/>
                  </a:lnTo>
                  <a:lnTo>
                    <a:pt x="2129" y="822"/>
                  </a:lnTo>
                  <a:lnTo>
                    <a:pt x="2135" y="799"/>
                  </a:lnTo>
                  <a:lnTo>
                    <a:pt x="2042" y="785"/>
                  </a:lnTo>
                  <a:lnTo>
                    <a:pt x="2009" y="745"/>
                  </a:lnTo>
                  <a:lnTo>
                    <a:pt x="1994" y="736"/>
                  </a:lnTo>
                  <a:lnTo>
                    <a:pt x="1998" y="727"/>
                  </a:lnTo>
                  <a:lnTo>
                    <a:pt x="2023" y="729"/>
                  </a:lnTo>
                  <a:lnTo>
                    <a:pt x="2057" y="748"/>
                  </a:lnTo>
                  <a:lnTo>
                    <a:pt x="2088" y="785"/>
                  </a:lnTo>
                  <a:lnTo>
                    <a:pt x="2125" y="781"/>
                  </a:lnTo>
                  <a:lnTo>
                    <a:pt x="2171" y="710"/>
                  </a:lnTo>
                  <a:lnTo>
                    <a:pt x="2173" y="694"/>
                  </a:lnTo>
                  <a:lnTo>
                    <a:pt x="2169" y="687"/>
                  </a:lnTo>
                  <a:lnTo>
                    <a:pt x="2144" y="677"/>
                  </a:lnTo>
                  <a:lnTo>
                    <a:pt x="2142" y="670"/>
                  </a:lnTo>
                  <a:lnTo>
                    <a:pt x="2152" y="656"/>
                  </a:lnTo>
                  <a:lnTo>
                    <a:pt x="2181" y="665"/>
                  </a:lnTo>
                  <a:lnTo>
                    <a:pt x="2202" y="656"/>
                  </a:lnTo>
                  <a:lnTo>
                    <a:pt x="2209" y="688"/>
                  </a:lnTo>
                  <a:lnTo>
                    <a:pt x="2237" y="694"/>
                  </a:lnTo>
                  <a:lnTo>
                    <a:pt x="2237" y="676"/>
                  </a:lnTo>
                  <a:lnTo>
                    <a:pt x="2242" y="676"/>
                  </a:lnTo>
                  <a:lnTo>
                    <a:pt x="2270" y="698"/>
                  </a:lnTo>
                  <a:lnTo>
                    <a:pt x="2264" y="669"/>
                  </a:lnTo>
                  <a:lnTo>
                    <a:pt x="2254" y="656"/>
                  </a:lnTo>
                  <a:lnTo>
                    <a:pt x="2253" y="648"/>
                  </a:lnTo>
                  <a:lnTo>
                    <a:pt x="2259" y="642"/>
                  </a:lnTo>
                  <a:lnTo>
                    <a:pt x="2292" y="676"/>
                  </a:lnTo>
                  <a:lnTo>
                    <a:pt x="2303" y="658"/>
                  </a:lnTo>
                  <a:lnTo>
                    <a:pt x="2318" y="655"/>
                  </a:lnTo>
                  <a:lnTo>
                    <a:pt x="2355" y="608"/>
                  </a:lnTo>
                  <a:lnTo>
                    <a:pt x="2372" y="598"/>
                  </a:lnTo>
                  <a:lnTo>
                    <a:pt x="2376" y="586"/>
                  </a:lnTo>
                  <a:lnTo>
                    <a:pt x="2373" y="567"/>
                  </a:lnTo>
                  <a:lnTo>
                    <a:pt x="2377" y="555"/>
                  </a:lnTo>
                  <a:lnTo>
                    <a:pt x="2342" y="509"/>
                  </a:lnTo>
                  <a:lnTo>
                    <a:pt x="2347" y="472"/>
                  </a:lnTo>
                  <a:lnTo>
                    <a:pt x="2332" y="479"/>
                  </a:lnTo>
                  <a:lnTo>
                    <a:pt x="2333" y="466"/>
                  </a:lnTo>
                  <a:lnTo>
                    <a:pt x="2328" y="466"/>
                  </a:lnTo>
                  <a:lnTo>
                    <a:pt x="2332" y="460"/>
                  </a:lnTo>
                  <a:lnTo>
                    <a:pt x="2322" y="445"/>
                  </a:lnTo>
                  <a:lnTo>
                    <a:pt x="2323" y="437"/>
                  </a:lnTo>
                  <a:lnTo>
                    <a:pt x="2343" y="436"/>
                  </a:lnTo>
                  <a:lnTo>
                    <a:pt x="2351" y="451"/>
                  </a:lnTo>
                  <a:lnTo>
                    <a:pt x="2377" y="422"/>
                  </a:lnTo>
                  <a:lnTo>
                    <a:pt x="2374" y="401"/>
                  </a:lnTo>
                  <a:lnTo>
                    <a:pt x="2348" y="397"/>
                  </a:lnTo>
                  <a:lnTo>
                    <a:pt x="2374" y="368"/>
                  </a:lnTo>
                  <a:lnTo>
                    <a:pt x="2357" y="352"/>
                  </a:lnTo>
                  <a:lnTo>
                    <a:pt x="2332" y="352"/>
                  </a:lnTo>
                  <a:lnTo>
                    <a:pt x="2335" y="347"/>
                  </a:lnTo>
                  <a:lnTo>
                    <a:pt x="2329" y="337"/>
                  </a:lnTo>
                  <a:lnTo>
                    <a:pt x="2315" y="324"/>
                  </a:lnTo>
                  <a:lnTo>
                    <a:pt x="2322" y="321"/>
                  </a:lnTo>
                  <a:lnTo>
                    <a:pt x="2317" y="295"/>
                  </a:lnTo>
                  <a:lnTo>
                    <a:pt x="2277" y="300"/>
                  </a:lnTo>
                  <a:lnTo>
                    <a:pt x="2235" y="277"/>
                  </a:lnTo>
                  <a:lnTo>
                    <a:pt x="2197" y="281"/>
                  </a:lnTo>
                  <a:lnTo>
                    <a:pt x="2194" y="302"/>
                  </a:lnTo>
                  <a:lnTo>
                    <a:pt x="2199" y="333"/>
                  </a:lnTo>
                  <a:lnTo>
                    <a:pt x="2197" y="345"/>
                  </a:lnTo>
                  <a:lnTo>
                    <a:pt x="2206" y="364"/>
                  </a:lnTo>
                  <a:lnTo>
                    <a:pt x="2228" y="375"/>
                  </a:lnTo>
                  <a:lnTo>
                    <a:pt x="2230" y="382"/>
                  </a:lnTo>
                  <a:lnTo>
                    <a:pt x="2217" y="382"/>
                  </a:lnTo>
                  <a:lnTo>
                    <a:pt x="2210" y="397"/>
                  </a:lnTo>
                  <a:lnTo>
                    <a:pt x="2228" y="407"/>
                  </a:lnTo>
                  <a:lnTo>
                    <a:pt x="2199" y="408"/>
                  </a:lnTo>
                  <a:lnTo>
                    <a:pt x="2183" y="420"/>
                  </a:lnTo>
                  <a:lnTo>
                    <a:pt x="2181" y="458"/>
                  </a:lnTo>
                  <a:lnTo>
                    <a:pt x="2166" y="500"/>
                  </a:lnTo>
                  <a:lnTo>
                    <a:pt x="2150" y="526"/>
                  </a:lnTo>
                  <a:lnTo>
                    <a:pt x="2146" y="564"/>
                  </a:lnTo>
                  <a:lnTo>
                    <a:pt x="2127" y="564"/>
                  </a:lnTo>
                  <a:lnTo>
                    <a:pt x="2124" y="580"/>
                  </a:lnTo>
                  <a:lnTo>
                    <a:pt x="2116" y="585"/>
                  </a:lnTo>
                  <a:lnTo>
                    <a:pt x="2069" y="502"/>
                  </a:lnTo>
                  <a:lnTo>
                    <a:pt x="2071" y="481"/>
                  </a:lnTo>
                  <a:lnTo>
                    <a:pt x="2069" y="467"/>
                  </a:lnTo>
                  <a:lnTo>
                    <a:pt x="2076" y="449"/>
                  </a:lnTo>
                  <a:lnTo>
                    <a:pt x="2079" y="466"/>
                  </a:lnTo>
                  <a:lnTo>
                    <a:pt x="2093" y="463"/>
                  </a:lnTo>
                  <a:lnTo>
                    <a:pt x="2078" y="395"/>
                  </a:lnTo>
                  <a:lnTo>
                    <a:pt x="2056" y="375"/>
                  </a:lnTo>
                  <a:lnTo>
                    <a:pt x="2042" y="346"/>
                  </a:lnTo>
                  <a:lnTo>
                    <a:pt x="2023" y="349"/>
                  </a:lnTo>
                  <a:lnTo>
                    <a:pt x="2008" y="375"/>
                  </a:lnTo>
                  <a:lnTo>
                    <a:pt x="2008" y="415"/>
                  </a:lnTo>
                  <a:lnTo>
                    <a:pt x="2003" y="415"/>
                  </a:lnTo>
                  <a:lnTo>
                    <a:pt x="2001" y="437"/>
                  </a:lnTo>
                  <a:lnTo>
                    <a:pt x="1994" y="455"/>
                  </a:lnTo>
                  <a:lnTo>
                    <a:pt x="1987" y="461"/>
                  </a:lnTo>
                  <a:lnTo>
                    <a:pt x="1976" y="436"/>
                  </a:lnTo>
                  <a:lnTo>
                    <a:pt x="1982" y="402"/>
                  </a:lnTo>
                  <a:lnTo>
                    <a:pt x="1967" y="367"/>
                  </a:lnTo>
                  <a:lnTo>
                    <a:pt x="1941" y="337"/>
                  </a:lnTo>
                  <a:lnTo>
                    <a:pt x="1959" y="343"/>
                  </a:lnTo>
                  <a:lnTo>
                    <a:pt x="1964" y="329"/>
                  </a:lnTo>
                  <a:lnTo>
                    <a:pt x="1962" y="317"/>
                  </a:lnTo>
                  <a:lnTo>
                    <a:pt x="1959" y="324"/>
                  </a:lnTo>
                  <a:lnTo>
                    <a:pt x="1939" y="316"/>
                  </a:lnTo>
                  <a:lnTo>
                    <a:pt x="1943" y="304"/>
                  </a:lnTo>
                  <a:lnTo>
                    <a:pt x="1919" y="319"/>
                  </a:lnTo>
                  <a:lnTo>
                    <a:pt x="1899" y="297"/>
                  </a:lnTo>
                  <a:lnTo>
                    <a:pt x="1884" y="298"/>
                  </a:lnTo>
                  <a:lnTo>
                    <a:pt x="1883" y="290"/>
                  </a:lnTo>
                  <a:lnTo>
                    <a:pt x="1891" y="279"/>
                  </a:lnTo>
                  <a:lnTo>
                    <a:pt x="1916" y="261"/>
                  </a:lnTo>
                  <a:lnTo>
                    <a:pt x="1894" y="248"/>
                  </a:lnTo>
                  <a:lnTo>
                    <a:pt x="1896" y="236"/>
                  </a:lnTo>
                  <a:lnTo>
                    <a:pt x="1935" y="240"/>
                  </a:lnTo>
                  <a:lnTo>
                    <a:pt x="1920" y="213"/>
                  </a:lnTo>
                  <a:lnTo>
                    <a:pt x="1912" y="222"/>
                  </a:lnTo>
                  <a:lnTo>
                    <a:pt x="1901" y="179"/>
                  </a:lnTo>
                  <a:lnTo>
                    <a:pt x="1884" y="173"/>
                  </a:lnTo>
                  <a:lnTo>
                    <a:pt x="1882" y="157"/>
                  </a:lnTo>
                  <a:lnTo>
                    <a:pt x="1873" y="155"/>
                  </a:lnTo>
                  <a:lnTo>
                    <a:pt x="1875" y="114"/>
                  </a:lnTo>
                  <a:lnTo>
                    <a:pt x="1871" y="90"/>
                  </a:lnTo>
                  <a:lnTo>
                    <a:pt x="1842" y="57"/>
                  </a:lnTo>
                  <a:lnTo>
                    <a:pt x="1838" y="48"/>
                  </a:lnTo>
                  <a:lnTo>
                    <a:pt x="1841" y="27"/>
                  </a:lnTo>
                  <a:lnTo>
                    <a:pt x="1828" y="33"/>
                  </a:lnTo>
                  <a:lnTo>
                    <a:pt x="1820" y="23"/>
                  </a:lnTo>
                  <a:lnTo>
                    <a:pt x="1811" y="37"/>
                  </a:lnTo>
                  <a:lnTo>
                    <a:pt x="1811" y="23"/>
                  </a:lnTo>
                  <a:lnTo>
                    <a:pt x="1803" y="23"/>
                  </a:lnTo>
                  <a:lnTo>
                    <a:pt x="1808" y="7"/>
                  </a:lnTo>
                  <a:lnTo>
                    <a:pt x="1777" y="0"/>
                  </a:lnTo>
                  <a:lnTo>
                    <a:pt x="1750" y="52"/>
                  </a:lnTo>
                  <a:lnTo>
                    <a:pt x="1761" y="66"/>
                  </a:lnTo>
                  <a:lnTo>
                    <a:pt x="1760" y="96"/>
                  </a:lnTo>
                  <a:lnTo>
                    <a:pt x="1743" y="78"/>
                  </a:lnTo>
                  <a:lnTo>
                    <a:pt x="1729" y="95"/>
                  </a:lnTo>
                  <a:lnTo>
                    <a:pt x="1729" y="121"/>
                  </a:lnTo>
                  <a:lnTo>
                    <a:pt x="1723" y="151"/>
                  </a:lnTo>
                  <a:lnTo>
                    <a:pt x="1737" y="177"/>
                  </a:lnTo>
                  <a:lnTo>
                    <a:pt x="1740" y="173"/>
                  </a:lnTo>
                  <a:lnTo>
                    <a:pt x="1736" y="188"/>
                  </a:lnTo>
                  <a:lnTo>
                    <a:pt x="1732" y="184"/>
                  </a:lnTo>
                  <a:lnTo>
                    <a:pt x="1716" y="207"/>
                  </a:lnTo>
                  <a:lnTo>
                    <a:pt x="1716" y="248"/>
                  </a:lnTo>
                  <a:lnTo>
                    <a:pt x="1740" y="269"/>
                  </a:lnTo>
                  <a:lnTo>
                    <a:pt x="1737" y="275"/>
                  </a:lnTo>
                  <a:lnTo>
                    <a:pt x="1740" y="280"/>
                  </a:lnTo>
                  <a:lnTo>
                    <a:pt x="1771" y="287"/>
                  </a:lnTo>
                  <a:lnTo>
                    <a:pt x="1773" y="297"/>
                  </a:lnTo>
                  <a:lnTo>
                    <a:pt x="1793" y="312"/>
                  </a:lnTo>
                  <a:lnTo>
                    <a:pt x="1797" y="301"/>
                  </a:lnTo>
                  <a:lnTo>
                    <a:pt x="1811" y="326"/>
                  </a:lnTo>
                  <a:lnTo>
                    <a:pt x="1841" y="318"/>
                  </a:lnTo>
                  <a:lnTo>
                    <a:pt x="1845" y="334"/>
                  </a:lnTo>
                  <a:lnTo>
                    <a:pt x="1842" y="347"/>
                  </a:lnTo>
                  <a:lnTo>
                    <a:pt x="1832" y="352"/>
                  </a:lnTo>
                  <a:lnTo>
                    <a:pt x="1837" y="329"/>
                  </a:lnTo>
                  <a:lnTo>
                    <a:pt x="1820" y="338"/>
                  </a:lnTo>
                  <a:lnTo>
                    <a:pt x="1812" y="362"/>
                  </a:lnTo>
                  <a:lnTo>
                    <a:pt x="1817" y="368"/>
                  </a:lnTo>
                  <a:lnTo>
                    <a:pt x="1811" y="385"/>
                  </a:lnTo>
                  <a:lnTo>
                    <a:pt x="1802" y="386"/>
                  </a:lnTo>
                  <a:lnTo>
                    <a:pt x="1798" y="410"/>
                  </a:lnTo>
                  <a:lnTo>
                    <a:pt x="1823" y="408"/>
                  </a:lnTo>
                  <a:lnTo>
                    <a:pt x="1833" y="389"/>
                  </a:lnTo>
                  <a:lnTo>
                    <a:pt x="1824" y="397"/>
                  </a:lnTo>
                  <a:lnTo>
                    <a:pt x="1827" y="378"/>
                  </a:lnTo>
                  <a:lnTo>
                    <a:pt x="1837" y="384"/>
                  </a:lnTo>
                  <a:lnTo>
                    <a:pt x="1839" y="422"/>
                  </a:lnTo>
                  <a:lnTo>
                    <a:pt x="1847" y="426"/>
                  </a:lnTo>
                  <a:lnTo>
                    <a:pt x="1822" y="449"/>
                  </a:lnTo>
                  <a:lnTo>
                    <a:pt x="1817" y="468"/>
                  </a:lnTo>
                  <a:lnTo>
                    <a:pt x="1799" y="488"/>
                  </a:lnTo>
                  <a:lnTo>
                    <a:pt x="1758" y="484"/>
                  </a:lnTo>
                  <a:lnTo>
                    <a:pt x="1763" y="497"/>
                  </a:lnTo>
                  <a:lnTo>
                    <a:pt x="1757" y="526"/>
                  </a:lnTo>
                  <a:lnTo>
                    <a:pt x="1771" y="543"/>
                  </a:lnTo>
                  <a:lnTo>
                    <a:pt x="1774" y="570"/>
                  </a:lnTo>
                  <a:lnTo>
                    <a:pt x="1770" y="583"/>
                  </a:lnTo>
                  <a:lnTo>
                    <a:pt x="1758" y="575"/>
                  </a:lnTo>
                  <a:lnTo>
                    <a:pt x="1763" y="562"/>
                  </a:lnTo>
                  <a:lnTo>
                    <a:pt x="1740" y="576"/>
                  </a:lnTo>
                  <a:lnTo>
                    <a:pt x="1740" y="555"/>
                  </a:lnTo>
                  <a:lnTo>
                    <a:pt x="1729" y="556"/>
                  </a:lnTo>
                  <a:lnTo>
                    <a:pt x="1725" y="543"/>
                  </a:lnTo>
                  <a:lnTo>
                    <a:pt x="1740" y="534"/>
                  </a:lnTo>
                  <a:lnTo>
                    <a:pt x="1734" y="522"/>
                  </a:lnTo>
                  <a:lnTo>
                    <a:pt x="1740" y="497"/>
                  </a:lnTo>
                  <a:lnTo>
                    <a:pt x="1742" y="467"/>
                  </a:lnTo>
                  <a:lnTo>
                    <a:pt x="1723" y="478"/>
                  </a:lnTo>
                  <a:lnTo>
                    <a:pt x="1723" y="493"/>
                  </a:lnTo>
                  <a:lnTo>
                    <a:pt x="1712" y="491"/>
                  </a:lnTo>
                  <a:lnTo>
                    <a:pt x="1709" y="486"/>
                  </a:lnTo>
                  <a:lnTo>
                    <a:pt x="1718" y="458"/>
                  </a:lnTo>
                  <a:lnTo>
                    <a:pt x="1699" y="461"/>
                  </a:lnTo>
                  <a:lnTo>
                    <a:pt x="1704" y="455"/>
                  </a:lnTo>
                  <a:lnTo>
                    <a:pt x="1687" y="438"/>
                  </a:lnTo>
                  <a:lnTo>
                    <a:pt x="1677" y="437"/>
                  </a:lnTo>
                  <a:lnTo>
                    <a:pt x="1680" y="449"/>
                  </a:lnTo>
                  <a:lnTo>
                    <a:pt x="1661" y="431"/>
                  </a:lnTo>
                  <a:lnTo>
                    <a:pt x="1655" y="434"/>
                  </a:lnTo>
                  <a:lnTo>
                    <a:pt x="1669" y="451"/>
                  </a:lnTo>
                  <a:lnTo>
                    <a:pt x="1640" y="449"/>
                  </a:lnTo>
                  <a:lnTo>
                    <a:pt x="1637" y="456"/>
                  </a:lnTo>
                  <a:lnTo>
                    <a:pt x="1626" y="449"/>
                  </a:lnTo>
                  <a:lnTo>
                    <a:pt x="1643" y="472"/>
                  </a:lnTo>
                  <a:lnTo>
                    <a:pt x="1643" y="483"/>
                  </a:lnTo>
                  <a:lnTo>
                    <a:pt x="1637" y="480"/>
                  </a:lnTo>
                  <a:lnTo>
                    <a:pt x="1652" y="513"/>
                  </a:lnTo>
                  <a:lnTo>
                    <a:pt x="1659" y="515"/>
                  </a:lnTo>
                  <a:lnTo>
                    <a:pt x="1656" y="506"/>
                  </a:lnTo>
                  <a:lnTo>
                    <a:pt x="1660" y="499"/>
                  </a:lnTo>
                  <a:lnTo>
                    <a:pt x="1677" y="497"/>
                  </a:lnTo>
                  <a:lnTo>
                    <a:pt x="1680" y="508"/>
                  </a:lnTo>
                  <a:lnTo>
                    <a:pt x="1691" y="502"/>
                  </a:lnTo>
                  <a:lnTo>
                    <a:pt x="1692" y="529"/>
                  </a:lnTo>
                  <a:lnTo>
                    <a:pt x="1685" y="537"/>
                  </a:lnTo>
                  <a:lnTo>
                    <a:pt x="1649" y="521"/>
                  </a:lnTo>
                  <a:lnTo>
                    <a:pt x="1632" y="486"/>
                  </a:lnTo>
                  <a:lnTo>
                    <a:pt x="1624" y="492"/>
                  </a:lnTo>
                  <a:lnTo>
                    <a:pt x="1639" y="521"/>
                  </a:lnTo>
                  <a:lnTo>
                    <a:pt x="1611" y="526"/>
                  </a:lnTo>
                  <a:lnTo>
                    <a:pt x="1591" y="514"/>
                  </a:lnTo>
                  <a:lnTo>
                    <a:pt x="1555" y="512"/>
                  </a:lnTo>
                  <a:lnTo>
                    <a:pt x="1535" y="526"/>
                  </a:lnTo>
                  <a:lnTo>
                    <a:pt x="1518" y="521"/>
                  </a:lnTo>
                  <a:lnTo>
                    <a:pt x="1503" y="529"/>
                  </a:lnTo>
                  <a:lnTo>
                    <a:pt x="1485" y="521"/>
                  </a:lnTo>
                  <a:lnTo>
                    <a:pt x="1470" y="530"/>
                  </a:lnTo>
                  <a:lnTo>
                    <a:pt x="1452" y="521"/>
                  </a:lnTo>
                  <a:lnTo>
                    <a:pt x="1428" y="492"/>
                  </a:lnTo>
                  <a:lnTo>
                    <a:pt x="1428" y="479"/>
                  </a:lnTo>
                  <a:lnTo>
                    <a:pt x="1415" y="472"/>
                  </a:lnTo>
                  <a:lnTo>
                    <a:pt x="1415" y="481"/>
                  </a:lnTo>
                  <a:lnTo>
                    <a:pt x="1405" y="483"/>
                  </a:lnTo>
                  <a:lnTo>
                    <a:pt x="1405" y="491"/>
                  </a:lnTo>
                  <a:lnTo>
                    <a:pt x="1400" y="488"/>
                  </a:lnTo>
                  <a:lnTo>
                    <a:pt x="1367" y="482"/>
                  </a:lnTo>
                  <a:lnTo>
                    <a:pt x="1367" y="467"/>
                  </a:lnTo>
                  <a:lnTo>
                    <a:pt x="1327" y="442"/>
                  </a:lnTo>
                  <a:lnTo>
                    <a:pt x="1339" y="436"/>
                  </a:lnTo>
                  <a:lnTo>
                    <a:pt x="1324" y="412"/>
                  </a:lnTo>
                  <a:lnTo>
                    <a:pt x="1330" y="408"/>
                  </a:lnTo>
                  <a:lnTo>
                    <a:pt x="1302" y="380"/>
                  </a:lnTo>
                  <a:lnTo>
                    <a:pt x="1236" y="416"/>
                  </a:lnTo>
                  <a:lnTo>
                    <a:pt x="1210" y="419"/>
                  </a:lnTo>
                  <a:lnTo>
                    <a:pt x="1189" y="452"/>
                  </a:lnTo>
                  <a:lnTo>
                    <a:pt x="1190" y="465"/>
                  </a:lnTo>
                  <a:lnTo>
                    <a:pt x="1198" y="467"/>
                  </a:lnTo>
                  <a:lnTo>
                    <a:pt x="1204" y="472"/>
                  </a:lnTo>
                  <a:lnTo>
                    <a:pt x="1224" y="478"/>
                  </a:lnTo>
                  <a:lnTo>
                    <a:pt x="1239" y="471"/>
                  </a:lnTo>
                  <a:lnTo>
                    <a:pt x="1226" y="458"/>
                  </a:lnTo>
                  <a:lnTo>
                    <a:pt x="1243" y="450"/>
                  </a:lnTo>
                  <a:lnTo>
                    <a:pt x="1258" y="460"/>
                  </a:lnTo>
                  <a:lnTo>
                    <a:pt x="1276" y="449"/>
                  </a:lnTo>
                  <a:lnTo>
                    <a:pt x="1282" y="461"/>
                  </a:lnTo>
                  <a:lnTo>
                    <a:pt x="1283" y="449"/>
                  </a:lnTo>
                  <a:lnTo>
                    <a:pt x="1277" y="436"/>
                  </a:lnTo>
                  <a:lnTo>
                    <a:pt x="1290" y="435"/>
                  </a:lnTo>
                  <a:lnTo>
                    <a:pt x="1284" y="427"/>
                  </a:lnTo>
                  <a:lnTo>
                    <a:pt x="1316" y="416"/>
                  </a:lnTo>
                  <a:lnTo>
                    <a:pt x="1310" y="430"/>
                  </a:lnTo>
                  <a:lnTo>
                    <a:pt x="1315" y="432"/>
                  </a:lnTo>
                  <a:lnTo>
                    <a:pt x="1304" y="437"/>
                  </a:lnTo>
                  <a:lnTo>
                    <a:pt x="1305" y="444"/>
                  </a:lnTo>
                  <a:lnTo>
                    <a:pt x="1297" y="462"/>
                  </a:lnTo>
                  <a:lnTo>
                    <a:pt x="1291" y="455"/>
                  </a:lnTo>
                  <a:lnTo>
                    <a:pt x="1292" y="468"/>
                  </a:lnTo>
                  <a:lnTo>
                    <a:pt x="1238" y="486"/>
                  </a:lnTo>
                  <a:lnTo>
                    <a:pt x="1234" y="499"/>
                  </a:lnTo>
                  <a:lnTo>
                    <a:pt x="1239" y="501"/>
                  </a:lnTo>
                  <a:lnTo>
                    <a:pt x="1221" y="521"/>
                  </a:lnTo>
                  <a:lnTo>
                    <a:pt x="1236" y="534"/>
                  </a:lnTo>
                  <a:lnTo>
                    <a:pt x="1239" y="543"/>
                  </a:lnTo>
                  <a:lnTo>
                    <a:pt x="1236" y="561"/>
                  </a:lnTo>
                  <a:lnTo>
                    <a:pt x="1250" y="591"/>
                  </a:lnTo>
                  <a:lnTo>
                    <a:pt x="1257" y="594"/>
                  </a:lnTo>
                  <a:lnTo>
                    <a:pt x="1250" y="600"/>
                  </a:lnTo>
                  <a:lnTo>
                    <a:pt x="1258" y="614"/>
                  </a:lnTo>
                  <a:lnTo>
                    <a:pt x="1235" y="618"/>
                  </a:lnTo>
                  <a:lnTo>
                    <a:pt x="1234" y="633"/>
                  </a:lnTo>
                  <a:lnTo>
                    <a:pt x="1220" y="620"/>
                  </a:lnTo>
                  <a:lnTo>
                    <a:pt x="1208" y="599"/>
                  </a:lnTo>
                  <a:lnTo>
                    <a:pt x="1230" y="591"/>
                  </a:lnTo>
                  <a:lnTo>
                    <a:pt x="1222" y="570"/>
                  </a:lnTo>
                  <a:lnTo>
                    <a:pt x="1215" y="570"/>
                  </a:lnTo>
                  <a:lnTo>
                    <a:pt x="1209" y="555"/>
                  </a:lnTo>
                  <a:lnTo>
                    <a:pt x="1198" y="560"/>
                  </a:lnTo>
                  <a:lnTo>
                    <a:pt x="1201" y="543"/>
                  </a:lnTo>
                  <a:lnTo>
                    <a:pt x="1194" y="534"/>
                  </a:lnTo>
                  <a:lnTo>
                    <a:pt x="1188" y="560"/>
                  </a:lnTo>
                  <a:lnTo>
                    <a:pt x="1183" y="553"/>
                  </a:lnTo>
                  <a:lnTo>
                    <a:pt x="1185" y="543"/>
                  </a:lnTo>
                  <a:lnTo>
                    <a:pt x="1182" y="536"/>
                  </a:lnTo>
                  <a:lnTo>
                    <a:pt x="1183" y="521"/>
                  </a:lnTo>
                  <a:lnTo>
                    <a:pt x="1149" y="521"/>
                  </a:lnTo>
                  <a:lnTo>
                    <a:pt x="1151" y="515"/>
                  </a:lnTo>
                  <a:lnTo>
                    <a:pt x="1146" y="504"/>
                  </a:lnTo>
                  <a:lnTo>
                    <a:pt x="1138" y="506"/>
                  </a:lnTo>
                  <a:lnTo>
                    <a:pt x="1142" y="500"/>
                  </a:lnTo>
                  <a:lnTo>
                    <a:pt x="1135" y="489"/>
                  </a:lnTo>
                  <a:lnTo>
                    <a:pt x="1098" y="521"/>
                  </a:lnTo>
                  <a:lnTo>
                    <a:pt x="1090" y="521"/>
                  </a:lnTo>
                  <a:lnTo>
                    <a:pt x="1091" y="507"/>
                  </a:lnTo>
                  <a:lnTo>
                    <a:pt x="1083" y="509"/>
                  </a:lnTo>
                  <a:lnTo>
                    <a:pt x="1079" y="522"/>
                  </a:lnTo>
                  <a:lnTo>
                    <a:pt x="1060" y="518"/>
                  </a:lnTo>
                  <a:lnTo>
                    <a:pt x="1059" y="527"/>
                  </a:lnTo>
                  <a:lnTo>
                    <a:pt x="935" y="521"/>
                  </a:lnTo>
                  <a:lnTo>
                    <a:pt x="921" y="513"/>
                  </a:lnTo>
                  <a:lnTo>
                    <a:pt x="899" y="500"/>
                  </a:lnTo>
                  <a:lnTo>
                    <a:pt x="911" y="492"/>
                  </a:lnTo>
                  <a:lnTo>
                    <a:pt x="911" y="471"/>
                  </a:lnTo>
                  <a:lnTo>
                    <a:pt x="922" y="462"/>
                  </a:lnTo>
                  <a:lnTo>
                    <a:pt x="966" y="462"/>
                  </a:lnTo>
                  <a:lnTo>
                    <a:pt x="965" y="441"/>
                  </a:lnTo>
                  <a:lnTo>
                    <a:pt x="959" y="449"/>
                  </a:lnTo>
                  <a:lnTo>
                    <a:pt x="959" y="432"/>
                  </a:lnTo>
                  <a:lnTo>
                    <a:pt x="930" y="397"/>
                  </a:lnTo>
                  <a:lnTo>
                    <a:pt x="922" y="401"/>
                  </a:lnTo>
                  <a:lnTo>
                    <a:pt x="914" y="384"/>
                  </a:lnTo>
                  <a:lnTo>
                    <a:pt x="869" y="382"/>
                  </a:lnTo>
                  <a:lnTo>
                    <a:pt x="883" y="394"/>
                  </a:lnTo>
                  <a:lnTo>
                    <a:pt x="881" y="401"/>
                  </a:lnTo>
                  <a:lnTo>
                    <a:pt x="872" y="391"/>
                  </a:lnTo>
                  <a:lnTo>
                    <a:pt x="811" y="384"/>
                  </a:lnTo>
                  <a:lnTo>
                    <a:pt x="766" y="351"/>
                  </a:lnTo>
                  <a:lnTo>
                    <a:pt x="690" y="327"/>
                  </a:lnTo>
                  <a:lnTo>
                    <a:pt x="673" y="306"/>
                  </a:lnTo>
                  <a:lnTo>
                    <a:pt x="632" y="281"/>
                  </a:lnTo>
                  <a:lnTo>
                    <a:pt x="576" y="281"/>
                  </a:lnTo>
                  <a:lnTo>
                    <a:pt x="569" y="317"/>
                  </a:lnTo>
                  <a:lnTo>
                    <a:pt x="560" y="331"/>
                  </a:lnTo>
                  <a:lnTo>
                    <a:pt x="542" y="336"/>
                  </a:lnTo>
                  <a:lnTo>
                    <a:pt x="514" y="335"/>
                  </a:lnTo>
                  <a:lnTo>
                    <a:pt x="515" y="323"/>
                  </a:lnTo>
                  <a:lnTo>
                    <a:pt x="534" y="293"/>
                  </a:lnTo>
                  <a:lnTo>
                    <a:pt x="516" y="292"/>
                  </a:lnTo>
                  <a:lnTo>
                    <a:pt x="520" y="250"/>
                  </a:lnTo>
                  <a:lnTo>
                    <a:pt x="517" y="241"/>
                  </a:lnTo>
                  <a:lnTo>
                    <a:pt x="506" y="242"/>
                  </a:lnTo>
                  <a:lnTo>
                    <a:pt x="516" y="253"/>
                  </a:lnTo>
                  <a:lnTo>
                    <a:pt x="507" y="261"/>
                  </a:lnTo>
                  <a:lnTo>
                    <a:pt x="501" y="251"/>
                  </a:lnTo>
                  <a:lnTo>
                    <a:pt x="485" y="256"/>
                  </a:lnTo>
                  <a:lnTo>
                    <a:pt x="489" y="266"/>
                  </a:lnTo>
                  <a:lnTo>
                    <a:pt x="484" y="283"/>
                  </a:lnTo>
                  <a:lnTo>
                    <a:pt x="488" y="294"/>
                  </a:lnTo>
                  <a:lnTo>
                    <a:pt x="473" y="303"/>
                  </a:lnTo>
                  <a:lnTo>
                    <a:pt x="485" y="315"/>
                  </a:lnTo>
                  <a:lnTo>
                    <a:pt x="464" y="328"/>
                  </a:lnTo>
                  <a:lnTo>
                    <a:pt x="457" y="335"/>
                  </a:lnTo>
                  <a:lnTo>
                    <a:pt x="422" y="304"/>
                  </a:lnTo>
                  <a:lnTo>
                    <a:pt x="394" y="220"/>
                  </a:lnTo>
                  <a:lnTo>
                    <a:pt x="361" y="188"/>
                  </a:lnTo>
                  <a:lnTo>
                    <a:pt x="353" y="206"/>
                  </a:lnTo>
                  <a:lnTo>
                    <a:pt x="361" y="220"/>
                  </a:lnTo>
                  <a:lnTo>
                    <a:pt x="378" y="228"/>
                  </a:lnTo>
                  <a:lnTo>
                    <a:pt x="352" y="242"/>
                  </a:lnTo>
                  <a:lnTo>
                    <a:pt x="347" y="263"/>
                  </a:lnTo>
                  <a:lnTo>
                    <a:pt x="314" y="294"/>
                  </a:lnTo>
                  <a:lnTo>
                    <a:pt x="323" y="275"/>
                  </a:lnTo>
                  <a:lnTo>
                    <a:pt x="325" y="261"/>
                  </a:lnTo>
                  <a:lnTo>
                    <a:pt x="262" y="296"/>
                  </a:lnTo>
                  <a:lnTo>
                    <a:pt x="233" y="356"/>
                  </a:lnTo>
                  <a:lnTo>
                    <a:pt x="236" y="326"/>
                  </a:lnTo>
                  <a:lnTo>
                    <a:pt x="231" y="321"/>
                  </a:lnTo>
                  <a:lnTo>
                    <a:pt x="217" y="337"/>
                  </a:lnTo>
                  <a:lnTo>
                    <a:pt x="216" y="329"/>
                  </a:lnTo>
                  <a:lnTo>
                    <a:pt x="210" y="339"/>
                  </a:lnTo>
                  <a:lnTo>
                    <a:pt x="211" y="328"/>
                  </a:lnTo>
                  <a:lnTo>
                    <a:pt x="201" y="330"/>
                  </a:lnTo>
                  <a:lnTo>
                    <a:pt x="200" y="339"/>
                  </a:lnTo>
                  <a:lnTo>
                    <a:pt x="185" y="358"/>
                  </a:lnTo>
                  <a:lnTo>
                    <a:pt x="157" y="372"/>
                  </a:lnTo>
                  <a:lnTo>
                    <a:pt x="151" y="373"/>
                  </a:lnTo>
                  <a:lnTo>
                    <a:pt x="151" y="366"/>
                  </a:lnTo>
                  <a:lnTo>
                    <a:pt x="161" y="351"/>
                  </a:lnTo>
                  <a:lnTo>
                    <a:pt x="165" y="360"/>
                  </a:lnTo>
                  <a:lnTo>
                    <a:pt x="197" y="316"/>
                  </a:lnTo>
                  <a:lnTo>
                    <a:pt x="235" y="311"/>
                  </a:lnTo>
                  <a:lnTo>
                    <a:pt x="292" y="259"/>
                  </a:lnTo>
                  <a:lnTo>
                    <a:pt x="302" y="248"/>
                  </a:lnTo>
                  <a:lnTo>
                    <a:pt x="291" y="227"/>
                  </a:lnTo>
                  <a:lnTo>
                    <a:pt x="273" y="248"/>
                  </a:lnTo>
                  <a:lnTo>
                    <a:pt x="256" y="237"/>
                  </a:lnTo>
                  <a:lnTo>
                    <a:pt x="241" y="246"/>
                  </a:lnTo>
                  <a:lnTo>
                    <a:pt x="229" y="268"/>
                  </a:lnTo>
                  <a:lnTo>
                    <a:pt x="215" y="263"/>
                  </a:lnTo>
                  <a:lnTo>
                    <a:pt x="185" y="294"/>
                  </a:lnTo>
                  <a:lnTo>
                    <a:pt x="169" y="290"/>
                  </a:lnTo>
                  <a:lnTo>
                    <a:pt x="150" y="305"/>
                  </a:lnTo>
                  <a:lnTo>
                    <a:pt x="149" y="322"/>
                  </a:lnTo>
                  <a:lnTo>
                    <a:pt x="143" y="328"/>
                  </a:lnTo>
                  <a:lnTo>
                    <a:pt x="111" y="339"/>
                  </a:lnTo>
                  <a:lnTo>
                    <a:pt x="78" y="372"/>
                  </a:lnTo>
                  <a:lnTo>
                    <a:pt x="98" y="412"/>
                  </a:lnTo>
                  <a:lnTo>
                    <a:pt x="101" y="424"/>
                  </a:lnTo>
                  <a:lnTo>
                    <a:pt x="96" y="432"/>
                  </a:lnTo>
                  <a:lnTo>
                    <a:pt x="71" y="394"/>
                  </a:lnTo>
                  <a:lnTo>
                    <a:pt x="40" y="392"/>
                  </a:lnTo>
                  <a:lnTo>
                    <a:pt x="57" y="419"/>
                  </a:lnTo>
                  <a:lnTo>
                    <a:pt x="47" y="419"/>
                  </a:lnTo>
                  <a:lnTo>
                    <a:pt x="21" y="396"/>
                  </a:lnTo>
                  <a:lnTo>
                    <a:pt x="0" y="394"/>
                  </a:lnTo>
                  <a:lnTo>
                    <a:pt x="0" y="529"/>
                  </a:lnTo>
                  <a:lnTo>
                    <a:pt x="12" y="552"/>
                  </a:lnTo>
                  <a:lnTo>
                    <a:pt x="10" y="564"/>
                  </a:lnTo>
                  <a:lnTo>
                    <a:pt x="15" y="576"/>
                  </a:lnTo>
                  <a:lnTo>
                    <a:pt x="9" y="590"/>
                  </a:lnTo>
                  <a:lnTo>
                    <a:pt x="12" y="609"/>
                  </a:lnTo>
                  <a:lnTo>
                    <a:pt x="112" y="609"/>
                  </a:lnTo>
                  <a:lnTo>
                    <a:pt x="100" y="614"/>
                  </a:lnTo>
                  <a:lnTo>
                    <a:pt x="115" y="630"/>
                  </a:lnTo>
                  <a:lnTo>
                    <a:pt x="112" y="639"/>
                  </a:lnTo>
                  <a:lnTo>
                    <a:pt x="124" y="657"/>
                  </a:lnTo>
                  <a:lnTo>
                    <a:pt x="113" y="683"/>
                  </a:lnTo>
                  <a:lnTo>
                    <a:pt x="124" y="687"/>
                  </a:lnTo>
                  <a:lnTo>
                    <a:pt x="125" y="700"/>
                  </a:lnTo>
                  <a:lnTo>
                    <a:pt x="118" y="710"/>
                  </a:lnTo>
                  <a:lnTo>
                    <a:pt x="122" y="712"/>
                  </a:lnTo>
                  <a:lnTo>
                    <a:pt x="121" y="720"/>
                  </a:lnTo>
                  <a:lnTo>
                    <a:pt x="151" y="714"/>
                  </a:lnTo>
                  <a:lnTo>
                    <a:pt x="149" y="725"/>
                  </a:lnTo>
                  <a:lnTo>
                    <a:pt x="153" y="727"/>
                  </a:lnTo>
                  <a:lnTo>
                    <a:pt x="165" y="714"/>
                  </a:lnTo>
                  <a:lnTo>
                    <a:pt x="177" y="719"/>
                  </a:lnTo>
                  <a:lnTo>
                    <a:pt x="166" y="733"/>
                  </a:lnTo>
                  <a:lnTo>
                    <a:pt x="184" y="759"/>
                  </a:lnTo>
                  <a:lnTo>
                    <a:pt x="168" y="792"/>
                  </a:lnTo>
                  <a:lnTo>
                    <a:pt x="158" y="797"/>
                  </a:lnTo>
                  <a:lnTo>
                    <a:pt x="177" y="814"/>
                  </a:lnTo>
                  <a:lnTo>
                    <a:pt x="164" y="837"/>
                  </a:lnTo>
                  <a:lnTo>
                    <a:pt x="204" y="867"/>
                  </a:lnTo>
                  <a:lnTo>
                    <a:pt x="200" y="883"/>
                  </a:lnTo>
                  <a:lnTo>
                    <a:pt x="218" y="874"/>
                  </a:lnTo>
                  <a:lnTo>
                    <a:pt x="228" y="878"/>
                  </a:lnTo>
                  <a:lnTo>
                    <a:pt x="235" y="888"/>
                  </a:lnTo>
                  <a:lnTo>
                    <a:pt x="233" y="893"/>
                  </a:lnTo>
                  <a:lnTo>
                    <a:pt x="241" y="901"/>
                  </a:lnTo>
                  <a:lnTo>
                    <a:pt x="237" y="906"/>
                  </a:lnTo>
                  <a:lnTo>
                    <a:pt x="241" y="915"/>
                  </a:lnTo>
                  <a:lnTo>
                    <a:pt x="273" y="940"/>
                  </a:lnTo>
                  <a:lnTo>
                    <a:pt x="264" y="950"/>
                  </a:lnTo>
                  <a:lnTo>
                    <a:pt x="273" y="949"/>
                  </a:lnTo>
                  <a:lnTo>
                    <a:pt x="285" y="971"/>
                  </a:lnTo>
                  <a:lnTo>
                    <a:pt x="271" y="991"/>
                  </a:lnTo>
                  <a:lnTo>
                    <a:pt x="282" y="998"/>
                  </a:lnTo>
                  <a:lnTo>
                    <a:pt x="284" y="1008"/>
                  </a:lnTo>
                  <a:lnTo>
                    <a:pt x="294" y="1012"/>
                  </a:lnTo>
                  <a:lnTo>
                    <a:pt x="287" y="1029"/>
                  </a:lnTo>
                  <a:lnTo>
                    <a:pt x="299" y="1047"/>
                  </a:lnTo>
                  <a:lnTo>
                    <a:pt x="296" y="1056"/>
                  </a:lnTo>
                  <a:lnTo>
                    <a:pt x="313" y="1065"/>
                  </a:lnTo>
                  <a:lnTo>
                    <a:pt x="308" y="1071"/>
                  </a:lnTo>
                  <a:lnTo>
                    <a:pt x="312" y="1075"/>
                  </a:lnTo>
                  <a:lnTo>
                    <a:pt x="308" y="1081"/>
                  </a:lnTo>
                  <a:lnTo>
                    <a:pt x="312" y="1090"/>
                  </a:lnTo>
                  <a:lnTo>
                    <a:pt x="308" y="1096"/>
                  </a:lnTo>
                  <a:lnTo>
                    <a:pt x="331" y="1105"/>
                  </a:lnTo>
                  <a:lnTo>
                    <a:pt x="340" y="1099"/>
                  </a:lnTo>
                  <a:lnTo>
                    <a:pt x="355" y="1124"/>
                  </a:lnTo>
                  <a:lnTo>
                    <a:pt x="360" y="1123"/>
                  </a:lnTo>
                  <a:lnTo>
                    <a:pt x="365" y="1138"/>
                  </a:lnTo>
                  <a:lnTo>
                    <a:pt x="384" y="1155"/>
                  </a:lnTo>
                  <a:lnTo>
                    <a:pt x="400" y="1159"/>
                  </a:lnTo>
                  <a:lnTo>
                    <a:pt x="406" y="1183"/>
                  </a:lnTo>
                  <a:lnTo>
                    <a:pt x="402" y="1193"/>
                  </a:lnTo>
                  <a:lnTo>
                    <a:pt x="409" y="1194"/>
                  </a:lnTo>
                  <a:lnTo>
                    <a:pt x="413" y="1222"/>
                  </a:lnTo>
                  <a:lnTo>
                    <a:pt x="438" y="1219"/>
                  </a:lnTo>
                  <a:lnTo>
                    <a:pt x="443" y="1212"/>
                  </a:lnTo>
                  <a:lnTo>
                    <a:pt x="449" y="1218"/>
                  </a:lnTo>
                  <a:lnTo>
                    <a:pt x="455" y="1210"/>
                  </a:lnTo>
                  <a:lnTo>
                    <a:pt x="477" y="1219"/>
                  </a:lnTo>
                  <a:lnTo>
                    <a:pt x="498" y="1213"/>
                  </a:lnTo>
                  <a:lnTo>
                    <a:pt x="501" y="1203"/>
                  </a:lnTo>
                  <a:lnTo>
                    <a:pt x="510" y="1204"/>
                  </a:lnTo>
                  <a:lnTo>
                    <a:pt x="515" y="1219"/>
                  </a:lnTo>
                  <a:lnTo>
                    <a:pt x="509" y="1229"/>
                  </a:lnTo>
                  <a:lnTo>
                    <a:pt x="518" y="1246"/>
                  </a:lnTo>
                  <a:lnTo>
                    <a:pt x="527" y="1247"/>
                  </a:lnTo>
                  <a:lnTo>
                    <a:pt x="527" y="1258"/>
                  </a:lnTo>
                  <a:lnTo>
                    <a:pt x="536" y="1279"/>
                  </a:lnTo>
                  <a:lnTo>
                    <a:pt x="543" y="1287"/>
                  </a:lnTo>
                  <a:lnTo>
                    <a:pt x="585" y="1287"/>
                  </a:lnTo>
                  <a:lnTo>
                    <a:pt x="622" y="1287"/>
                  </a:lnTo>
                  <a:lnTo>
                    <a:pt x="660" y="1287"/>
                  </a:lnTo>
                  <a:lnTo>
                    <a:pt x="709" y="1287"/>
                  </a:lnTo>
                  <a:lnTo>
                    <a:pt x="747" y="1287"/>
                  </a:lnTo>
                  <a:lnTo>
                    <a:pt x="789" y="1287"/>
                  </a:lnTo>
                  <a:lnTo>
                    <a:pt x="828" y="1287"/>
                  </a:lnTo>
                  <a:lnTo>
                    <a:pt x="863" y="1287"/>
                  </a:lnTo>
                  <a:lnTo>
                    <a:pt x="903" y="1287"/>
                  </a:lnTo>
                  <a:lnTo>
                    <a:pt x="945" y="1287"/>
                  </a:lnTo>
                  <a:lnTo>
                    <a:pt x="984" y="1287"/>
                  </a:lnTo>
                  <a:lnTo>
                    <a:pt x="1026" y="1287"/>
                  </a:lnTo>
                  <a:lnTo>
                    <a:pt x="1063" y="1287"/>
                  </a:lnTo>
                  <a:lnTo>
                    <a:pt x="1099" y="1287"/>
                  </a:lnTo>
                  <a:lnTo>
                    <a:pt x="1137" y="1287"/>
                  </a:lnTo>
                  <a:lnTo>
                    <a:pt x="1138" y="1287"/>
                  </a:lnTo>
                  <a:lnTo>
                    <a:pt x="1137" y="1287"/>
                  </a:lnTo>
                  <a:lnTo>
                    <a:pt x="1177" y="1287"/>
                  </a:lnTo>
                  <a:lnTo>
                    <a:pt x="1219" y="1287"/>
                  </a:lnTo>
                  <a:lnTo>
                    <a:pt x="1258" y="1287"/>
                  </a:lnTo>
                  <a:lnTo>
                    <a:pt x="1294" y="1287"/>
                  </a:lnTo>
                  <a:lnTo>
                    <a:pt x="1334" y="1287"/>
                  </a:lnTo>
                  <a:lnTo>
                    <a:pt x="1375" y="1287"/>
                  </a:lnTo>
                  <a:lnTo>
                    <a:pt x="1415" y="1287"/>
                  </a:lnTo>
                  <a:lnTo>
                    <a:pt x="1456" y="1287"/>
                  </a:lnTo>
                  <a:lnTo>
                    <a:pt x="1483" y="1287"/>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2" name="Freeform 1149"/>
            <p:cNvSpPr>
              <a:spLocks/>
            </p:cNvSpPr>
            <p:nvPr/>
          </p:nvSpPr>
          <p:spPr bwMode="auto">
            <a:xfrm>
              <a:off x="3492829" y="3233887"/>
              <a:ext cx="421401" cy="411391"/>
            </a:xfrm>
            <a:custGeom>
              <a:avLst/>
              <a:gdLst>
                <a:gd name="T0" fmla="*/ 2147483647 w 897"/>
                <a:gd name="T1" fmla="*/ 2147483647 h 985"/>
                <a:gd name="T2" fmla="*/ 2147483647 w 897"/>
                <a:gd name="T3" fmla="*/ 2147483647 h 985"/>
                <a:gd name="T4" fmla="*/ 2147483647 w 897"/>
                <a:gd name="T5" fmla="*/ 2147483647 h 985"/>
                <a:gd name="T6" fmla="*/ 2147483647 w 897"/>
                <a:gd name="T7" fmla="*/ 2147483647 h 985"/>
                <a:gd name="T8" fmla="*/ 2147483647 w 897"/>
                <a:gd name="T9" fmla="*/ 2147483647 h 985"/>
                <a:gd name="T10" fmla="*/ 2147483647 w 897"/>
                <a:gd name="T11" fmla="*/ 2147483647 h 985"/>
                <a:gd name="T12" fmla="*/ 2147483647 w 897"/>
                <a:gd name="T13" fmla="*/ 2147483647 h 985"/>
                <a:gd name="T14" fmla="*/ 2147483647 w 897"/>
                <a:gd name="T15" fmla="*/ 2147483647 h 985"/>
                <a:gd name="T16" fmla="*/ 2147483647 w 897"/>
                <a:gd name="T17" fmla="*/ 2147483647 h 985"/>
                <a:gd name="T18" fmla="*/ 2147483647 w 897"/>
                <a:gd name="T19" fmla="*/ 2147483647 h 985"/>
                <a:gd name="T20" fmla="*/ 2147483647 w 897"/>
                <a:gd name="T21" fmla="*/ 2147483647 h 985"/>
                <a:gd name="T22" fmla="*/ 2147483647 w 897"/>
                <a:gd name="T23" fmla="*/ 2147483647 h 985"/>
                <a:gd name="T24" fmla="*/ 2147483647 w 897"/>
                <a:gd name="T25" fmla="*/ 2147483647 h 985"/>
                <a:gd name="T26" fmla="*/ 2147483647 w 897"/>
                <a:gd name="T27" fmla="*/ 2147483647 h 985"/>
                <a:gd name="T28" fmla="*/ 2147483647 w 897"/>
                <a:gd name="T29" fmla="*/ 2147483647 h 985"/>
                <a:gd name="T30" fmla="*/ 2147483647 w 897"/>
                <a:gd name="T31" fmla="*/ 2147483647 h 985"/>
                <a:gd name="T32" fmla="*/ 2147483647 w 897"/>
                <a:gd name="T33" fmla="*/ 2147483647 h 985"/>
                <a:gd name="T34" fmla="*/ 2147483647 w 897"/>
                <a:gd name="T35" fmla="*/ 2147483647 h 985"/>
                <a:gd name="T36" fmla="*/ 2147483647 w 897"/>
                <a:gd name="T37" fmla="*/ 2147483647 h 985"/>
                <a:gd name="T38" fmla="*/ 2147483647 w 897"/>
                <a:gd name="T39" fmla="*/ 2147483647 h 985"/>
                <a:gd name="T40" fmla="*/ 2147483647 w 897"/>
                <a:gd name="T41" fmla="*/ 2147483647 h 985"/>
                <a:gd name="T42" fmla="*/ 2147483647 w 897"/>
                <a:gd name="T43" fmla="*/ 2147483647 h 985"/>
                <a:gd name="T44" fmla="*/ 2147483647 w 897"/>
                <a:gd name="T45" fmla="*/ 2147483647 h 985"/>
                <a:gd name="T46" fmla="*/ 2147483647 w 897"/>
                <a:gd name="T47" fmla="*/ 2147483647 h 985"/>
                <a:gd name="T48" fmla="*/ 2147483647 w 897"/>
                <a:gd name="T49" fmla="*/ 2147483647 h 985"/>
                <a:gd name="T50" fmla="*/ 2147483647 w 897"/>
                <a:gd name="T51" fmla="*/ 2147483647 h 985"/>
                <a:gd name="T52" fmla="*/ 2147483647 w 897"/>
                <a:gd name="T53" fmla="*/ 2147483647 h 985"/>
                <a:gd name="T54" fmla="*/ 2147483647 w 897"/>
                <a:gd name="T55" fmla="*/ 2147483647 h 985"/>
                <a:gd name="T56" fmla="*/ 2147483647 w 897"/>
                <a:gd name="T57" fmla="*/ 2147483647 h 985"/>
                <a:gd name="T58" fmla="*/ 2147483647 w 897"/>
                <a:gd name="T59" fmla="*/ 2147483647 h 985"/>
                <a:gd name="T60" fmla="*/ 2147483647 w 897"/>
                <a:gd name="T61" fmla="*/ 2147483647 h 985"/>
                <a:gd name="T62" fmla="*/ 2147483647 w 897"/>
                <a:gd name="T63" fmla="*/ 2147483647 h 985"/>
                <a:gd name="T64" fmla="*/ 2147483647 w 897"/>
                <a:gd name="T65" fmla="*/ 2147483647 h 985"/>
                <a:gd name="T66" fmla="*/ 2147483647 w 897"/>
                <a:gd name="T67" fmla="*/ 2147483647 h 985"/>
                <a:gd name="T68" fmla="*/ 2147483647 w 897"/>
                <a:gd name="T69" fmla="*/ 2147483647 h 985"/>
                <a:gd name="T70" fmla="*/ 2147483647 w 897"/>
                <a:gd name="T71" fmla="*/ 2147483647 h 985"/>
                <a:gd name="T72" fmla="*/ 2147483647 w 897"/>
                <a:gd name="T73" fmla="*/ 2147483647 h 985"/>
                <a:gd name="T74" fmla="*/ 2147483647 w 897"/>
                <a:gd name="T75" fmla="*/ 2147483647 h 985"/>
                <a:gd name="T76" fmla="*/ 2147483647 w 897"/>
                <a:gd name="T77" fmla="*/ 2147483647 h 985"/>
                <a:gd name="T78" fmla="*/ 2147483647 w 897"/>
                <a:gd name="T79" fmla="*/ 2147483647 h 985"/>
                <a:gd name="T80" fmla="*/ 2147483647 w 897"/>
                <a:gd name="T81" fmla="*/ 2147483647 h 985"/>
                <a:gd name="T82" fmla="*/ 0 w 897"/>
                <a:gd name="T83" fmla="*/ 2147483647 h 985"/>
                <a:gd name="T84" fmla="*/ 2147483647 w 897"/>
                <a:gd name="T85" fmla="*/ 2147483647 h 985"/>
                <a:gd name="T86" fmla="*/ 2147483647 w 897"/>
                <a:gd name="T87" fmla="*/ 2147483647 h 985"/>
                <a:gd name="T88" fmla="*/ 2147483647 w 897"/>
                <a:gd name="T89" fmla="*/ 2147483647 h 985"/>
                <a:gd name="T90" fmla="*/ 2147483647 w 897"/>
                <a:gd name="T91" fmla="*/ 2147483647 h 985"/>
                <a:gd name="T92" fmla="*/ 2147483647 w 897"/>
                <a:gd name="T93" fmla="*/ 2147483647 h 985"/>
                <a:gd name="T94" fmla="*/ 2147483647 w 897"/>
                <a:gd name="T95" fmla="*/ 2147483647 h 985"/>
                <a:gd name="T96" fmla="*/ 2147483647 w 897"/>
                <a:gd name="T97" fmla="*/ 2147483647 h 985"/>
                <a:gd name="T98" fmla="*/ 2147483647 w 897"/>
                <a:gd name="T99" fmla="*/ 2147483647 h 985"/>
                <a:gd name="T100" fmla="*/ 2147483647 w 897"/>
                <a:gd name="T101" fmla="*/ 2147483647 h 985"/>
                <a:gd name="T102" fmla="*/ 2147483647 w 897"/>
                <a:gd name="T103" fmla="*/ 2147483647 h 985"/>
                <a:gd name="T104" fmla="*/ 2147483647 w 897"/>
                <a:gd name="T105" fmla="*/ 2147483647 h 985"/>
                <a:gd name="T106" fmla="*/ 2147483647 w 897"/>
                <a:gd name="T107" fmla="*/ 2147483647 h 985"/>
                <a:gd name="T108" fmla="*/ 2147483647 w 897"/>
                <a:gd name="T109" fmla="*/ 2147483647 h 9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97"/>
                <a:gd name="T166" fmla="*/ 0 h 985"/>
                <a:gd name="T167" fmla="*/ 897 w 897"/>
                <a:gd name="T168" fmla="*/ 985 h 9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97" h="985">
                  <a:moveTo>
                    <a:pt x="672" y="397"/>
                  </a:moveTo>
                  <a:lnTo>
                    <a:pt x="672" y="429"/>
                  </a:lnTo>
                  <a:lnTo>
                    <a:pt x="672" y="491"/>
                  </a:lnTo>
                  <a:lnTo>
                    <a:pt x="672" y="554"/>
                  </a:lnTo>
                  <a:lnTo>
                    <a:pt x="672" y="612"/>
                  </a:lnTo>
                  <a:lnTo>
                    <a:pt x="672" y="654"/>
                  </a:lnTo>
                  <a:lnTo>
                    <a:pt x="677" y="665"/>
                  </a:lnTo>
                  <a:lnTo>
                    <a:pt x="677" y="675"/>
                  </a:lnTo>
                  <a:lnTo>
                    <a:pt x="689" y="693"/>
                  </a:lnTo>
                  <a:lnTo>
                    <a:pt x="698" y="713"/>
                  </a:lnTo>
                  <a:lnTo>
                    <a:pt x="708" y="723"/>
                  </a:lnTo>
                  <a:lnTo>
                    <a:pt x="758" y="734"/>
                  </a:lnTo>
                  <a:lnTo>
                    <a:pt x="771" y="748"/>
                  </a:lnTo>
                  <a:lnTo>
                    <a:pt x="791" y="751"/>
                  </a:lnTo>
                  <a:lnTo>
                    <a:pt x="798" y="770"/>
                  </a:lnTo>
                  <a:lnTo>
                    <a:pt x="810" y="777"/>
                  </a:lnTo>
                  <a:lnTo>
                    <a:pt x="821" y="774"/>
                  </a:lnTo>
                  <a:lnTo>
                    <a:pt x="832" y="782"/>
                  </a:lnTo>
                  <a:lnTo>
                    <a:pt x="857" y="769"/>
                  </a:lnTo>
                  <a:lnTo>
                    <a:pt x="883" y="765"/>
                  </a:lnTo>
                  <a:lnTo>
                    <a:pt x="893" y="772"/>
                  </a:lnTo>
                  <a:lnTo>
                    <a:pt x="890" y="786"/>
                  </a:lnTo>
                  <a:lnTo>
                    <a:pt x="897" y="793"/>
                  </a:lnTo>
                  <a:lnTo>
                    <a:pt x="880" y="807"/>
                  </a:lnTo>
                  <a:lnTo>
                    <a:pt x="868" y="807"/>
                  </a:lnTo>
                  <a:lnTo>
                    <a:pt x="840" y="826"/>
                  </a:lnTo>
                  <a:lnTo>
                    <a:pt x="827" y="844"/>
                  </a:lnTo>
                  <a:lnTo>
                    <a:pt x="786" y="861"/>
                  </a:lnTo>
                  <a:lnTo>
                    <a:pt x="783" y="855"/>
                  </a:lnTo>
                  <a:lnTo>
                    <a:pt x="774" y="856"/>
                  </a:lnTo>
                  <a:lnTo>
                    <a:pt x="782" y="871"/>
                  </a:lnTo>
                  <a:lnTo>
                    <a:pt x="760" y="867"/>
                  </a:lnTo>
                  <a:lnTo>
                    <a:pt x="735" y="866"/>
                  </a:lnTo>
                  <a:lnTo>
                    <a:pt x="690" y="880"/>
                  </a:lnTo>
                  <a:lnTo>
                    <a:pt x="663" y="907"/>
                  </a:lnTo>
                  <a:lnTo>
                    <a:pt x="681" y="914"/>
                  </a:lnTo>
                  <a:lnTo>
                    <a:pt x="689" y="913"/>
                  </a:lnTo>
                  <a:lnTo>
                    <a:pt x="695" y="910"/>
                  </a:lnTo>
                  <a:lnTo>
                    <a:pt x="703" y="935"/>
                  </a:lnTo>
                  <a:lnTo>
                    <a:pt x="686" y="932"/>
                  </a:lnTo>
                  <a:lnTo>
                    <a:pt x="667" y="932"/>
                  </a:lnTo>
                  <a:lnTo>
                    <a:pt x="643" y="938"/>
                  </a:lnTo>
                  <a:lnTo>
                    <a:pt x="631" y="949"/>
                  </a:lnTo>
                  <a:lnTo>
                    <a:pt x="606" y="944"/>
                  </a:lnTo>
                  <a:lnTo>
                    <a:pt x="587" y="951"/>
                  </a:lnTo>
                  <a:lnTo>
                    <a:pt x="577" y="965"/>
                  </a:lnTo>
                  <a:lnTo>
                    <a:pt x="566" y="967"/>
                  </a:lnTo>
                  <a:lnTo>
                    <a:pt x="548" y="985"/>
                  </a:lnTo>
                  <a:lnTo>
                    <a:pt x="518" y="983"/>
                  </a:lnTo>
                  <a:lnTo>
                    <a:pt x="519" y="973"/>
                  </a:lnTo>
                  <a:lnTo>
                    <a:pt x="528" y="960"/>
                  </a:lnTo>
                  <a:lnTo>
                    <a:pt x="537" y="965"/>
                  </a:lnTo>
                  <a:lnTo>
                    <a:pt x="547" y="963"/>
                  </a:lnTo>
                  <a:lnTo>
                    <a:pt x="549" y="957"/>
                  </a:lnTo>
                  <a:lnTo>
                    <a:pt x="543" y="946"/>
                  </a:lnTo>
                  <a:lnTo>
                    <a:pt x="549" y="920"/>
                  </a:lnTo>
                  <a:lnTo>
                    <a:pt x="556" y="920"/>
                  </a:lnTo>
                  <a:lnTo>
                    <a:pt x="576" y="903"/>
                  </a:lnTo>
                  <a:lnTo>
                    <a:pt x="579" y="890"/>
                  </a:lnTo>
                  <a:lnTo>
                    <a:pt x="577" y="856"/>
                  </a:lnTo>
                  <a:lnTo>
                    <a:pt x="595" y="821"/>
                  </a:lnTo>
                  <a:lnTo>
                    <a:pt x="592" y="806"/>
                  </a:lnTo>
                  <a:lnTo>
                    <a:pt x="582" y="790"/>
                  </a:lnTo>
                  <a:lnTo>
                    <a:pt x="597" y="791"/>
                  </a:lnTo>
                  <a:lnTo>
                    <a:pt x="603" y="811"/>
                  </a:lnTo>
                  <a:lnTo>
                    <a:pt x="610" y="806"/>
                  </a:lnTo>
                  <a:lnTo>
                    <a:pt x="609" y="818"/>
                  </a:lnTo>
                  <a:lnTo>
                    <a:pt x="612" y="818"/>
                  </a:lnTo>
                  <a:lnTo>
                    <a:pt x="614" y="828"/>
                  </a:lnTo>
                  <a:lnTo>
                    <a:pt x="621" y="821"/>
                  </a:lnTo>
                  <a:lnTo>
                    <a:pt x="629" y="830"/>
                  </a:lnTo>
                  <a:lnTo>
                    <a:pt x="650" y="833"/>
                  </a:lnTo>
                  <a:lnTo>
                    <a:pt x="653" y="828"/>
                  </a:lnTo>
                  <a:lnTo>
                    <a:pt x="650" y="814"/>
                  </a:lnTo>
                  <a:lnTo>
                    <a:pt x="667" y="816"/>
                  </a:lnTo>
                  <a:lnTo>
                    <a:pt x="667" y="813"/>
                  </a:lnTo>
                  <a:lnTo>
                    <a:pt x="651" y="798"/>
                  </a:lnTo>
                  <a:lnTo>
                    <a:pt x="651" y="783"/>
                  </a:lnTo>
                  <a:lnTo>
                    <a:pt x="642" y="780"/>
                  </a:lnTo>
                  <a:lnTo>
                    <a:pt x="630" y="768"/>
                  </a:lnTo>
                  <a:lnTo>
                    <a:pt x="626" y="753"/>
                  </a:lnTo>
                  <a:lnTo>
                    <a:pt x="619" y="749"/>
                  </a:lnTo>
                  <a:lnTo>
                    <a:pt x="586" y="747"/>
                  </a:lnTo>
                  <a:lnTo>
                    <a:pt x="585" y="739"/>
                  </a:lnTo>
                  <a:lnTo>
                    <a:pt x="534" y="731"/>
                  </a:lnTo>
                  <a:lnTo>
                    <a:pt x="520" y="735"/>
                  </a:lnTo>
                  <a:lnTo>
                    <a:pt x="490" y="724"/>
                  </a:lnTo>
                  <a:lnTo>
                    <a:pt x="476" y="727"/>
                  </a:lnTo>
                  <a:lnTo>
                    <a:pt x="467" y="707"/>
                  </a:lnTo>
                  <a:lnTo>
                    <a:pt x="465" y="715"/>
                  </a:lnTo>
                  <a:lnTo>
                    <a:pt x="458" y="715"/>
                  </a:lnTo>
                  <a:lnTo>
                    <a:pt x="460" y="699"/>
                  </a:lnTo>
                  <a:lnTo>
                    <a:pt x="457" y="696"/>
                  </a:lnTo>
                  <a:lnTo>
                    <a:pt x="462" y="690"/>
                  </a:lnTo>
                  <a:lnTo>
                    <a:pt x="451" y="684"/>
                  </a:lnTo>
                  <a:lnTo>
                    <a:pt x="448" y="674"/>
                  </a:lnTo>
                  <a:lnTo>
                    <a:pt x="452" y="661"/>
                  </a:lnTo>
                  <a:lnTo>
                    <a:pt x="438" y="642"/>
                  </a:lnTo>
                  <a:lnTo>
                    <a:pt x="442" y="619"/>
                  </a:lnTo>
                  <a:lnTo>
                    <a:pt x="406" y="623"/>
                  </a:lnTo>
                  <a:lnTo>
                    <a:pt x="398" y="616"/>
                  </a:lnTo>
                  <a:lnTo>
                    <a:pt x="377" y="572"/>
                  </a:lnTo>
                  <a:lnTo>
                    <a:pt x="349" y="568"/>
                  </a:lnTo>
                  <a:lnTo>
                    <a:pt x="349" y="599"/>
                  </a:lnTo>
                  <a:lnTo>
                    <a:pt x="334" y="563"/>
                  </a:lnTo>
                  <a:lnTo>
                    <a:pt x="306" y="553"/>
                  </a:lnTo>
                  <a:lnTo>
                    <a:pt x="301" y="558"/>
                  </a:lnTo>
                  <a:lnTo>
                    <a:pt x="302" y="575"/>
                  </a:lnTo>
                  <a:lnTo>
                    <a:pt x="290" y="589"/>
                  </a:lnTo>
                  <a:lnTo>
                    <a:pt x="286" y="585"/>
                  </a:lnTo>
                  <a:lnTo>
                    <a:pt x="291" y="567"/>
                  </a:lnTo>
                  <a:lnTo>
                    <a:pt x="278" y="595"/>
                  </a:lnTo>
                  <a:lnTo>
                    <a:pt x="273" y="597"/>
                  </a:lnTo>
                  <a:lnTo>
                    <a:pt x="272" y="582"/>
                  </a:lnTo>
                  <a:lnTo>
                    <a:pt x="251" y="612"/>
                  </a:lnTo>
                  <a:lnTo>
                    <a:pt x="234" y="620"/>
                  </a:lnTo>
                  <a:lnTo>
                    <a:pt x="186" y="609"/>
                  </a:lnTo>
                  <a:lnTo>
                    <a:pt x="163" y="615"/>
                  </a:lnTo>
                  <a:lnTo>
                    <a:pt x="102" y="579"/>
                  </a:lnTo>
                  <a:lnTo>
                    <a:pt x="67" y="582"/>
                  </a:lnTo>
                  <a:lnTo>
                    <a:pt x="46" y="572"/>
                  </a:lnTo>
                  <a:lnTo>
                    <a:pt x="28" y="573"/>
                  </a:lnTo>
                  <a:lnTo>
                    <a:pt x="11" y="528"/>
                  </a:lnTo>
                  <a:lnTo>
                    <a:pt x="0" y="527"/>
                  </a:lnTo>
                  <a:lnTo>
                    <a:pt x="0" y="483"/>
                  </a:lnTo>
                  <a:lnTo>
                    <a:pt x="0" y="424"/>
                  </a:lnTo>
                  <a:lnTo>
                    <a:pt x="0" y="357"/>
                  </a:lnTo>
                  <a:lnTo>
                    <a:pt x="0" y="293"/>
                  </a:lnTo>
                  <a:lnTo>
                    <a:pt x="25" y="267"/>
                  </a:lnTo>
                  <a:lnTo>
                    <a:pt x="56" y="233"/>
                  </a:lnTo>
                  <a:lnTo>
                    <a:pt x="92" y="194"/>
                  </a:lnTo>
                  <a:lnTo>
                    <a:pt x="124" y="158"/>
                  </a:lnTo>
                  <a:lnTo>
                    <a:pt x="149" y="131"/>
                  </a:lnTo>
                  <a:lnTo>
                    <a:pt x="180" y="95"/>
                  </a:lnTo>
                  <a:lnTo>
                    <a:pt x="215" y="55"/>
                  </a:lnTo>
                  <a:lnTo>
                    <a:pt x="248" y="16"/>
                  </a:lnTo>
                  <a:lnTo>
                    <a:pt x="261" y="0"/>
                  </a:lnTo>
                  <a:lnTo>
                    <a:pt x="302" y="24"/>
                  </a:lnTo>
                  <a:lnTo>
                    <a:pt x="323" y="60"/>
                  </a:lnTo>
                  <a:lnTo>
                    <a:pt x="325" y="63"/>
                  </a:lnTo>
                  <a:lnTo>
                    <a:pt x="355" y="67"/>
                  </a:lnTo>
                  <a:lnTo>
                    <a:pt x="398" y="86"/>
                  </a:lnTo>
                  <a:lnTo>
                    <a:pt x="422" y="106"/>
                  </a:lnTo>
                  <a:lnTo>
                    <a:pt x="408" y="148"/>
                  </a:lnTo>
                  <a:lnTo>
                    <a:pt x="425" y="115"/>
                  </a:lnTo>
                  <a:lnTo>
                    <a:pt x="516" y="115"/>
                  </a:lnTo>
                  <a:lnTo>
                    <a:pt x="546" y="129"/>
                  </a:lnTo>
                  <a:lnTo>
                    <a:pt x="551" y="125"/>
                  </a:lnTo>
                  <a:lnTo>
                    <a:pt x="555" y="145"/>
                  </a:lnTo>
                  <a:lnTo>
                    <a:pt x="549" y="200"/>
                  </a:lnTo>
                  <a:lnTo>
                    <a:pt x="556" y="218"/>
                  </a:lnTo>
                  <a:lnTo>
                    <a:pt x="558" y="261"/>
                  </a:lnTo>
                  <a:lnTo>
                    <a:pt x="554" y="268"/>
                  </a:lnTo>
                  <a:lnTo>
                    <a:pt x="553" y="284"/>
                  </a:lnTo>
                  <a:lnTo>
                    <a:pt x="593" y="331"/>
                  </a:lnTo>
                  <a:lnTo>
                    <a:pt x="561" y="347"/>
                  </a:lnTo>
                  <a:lnTo>
                    <a:pt x="596" y="342"/>
                  </a:lnTo>
                  <a:lnTo>
                    <a:pt x="624" y="368"/>
                  </a:lnTo>
                  <a:lnTo>
                    <a:pt x="631" y="390"/>
                  </a:lnTo>
                  <a:lnTo>
                    <a:pt x="610" y="417"/>
                  </a:lnTo>
                  <a:lnTo>
                    <a:pt x="636" y="398"/>
                  </a:lnTo>
                  <a:lnTo>
                    <a:pt x="665" y="416"/>
                  </a:lnTo>
                  <a:lnTo>
                    <a:pt x="667" y="414"/>
                  </a:lnTo>
                  <a:lnTo>
                    <a:pt x="665" y="393"/>
                  </a:lnTo>
                  <a:lnTo>
                    <a:pt x="672" y="388"/>
                  </a:lnTo>
                  <a:lnTo>
                    <a:pt x="672" y="397"/>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3" name="Freeform 1150"/>
            <p:cNvSpPr>
              <a:spLocks/>
            </p:cNvSpPr>
            <p:nvPr/>
          </p:nvSpPr>
          <p:spPr bwMode="auto">
            <a:xfrm>
              <a:off x="4048964" y="3111618"/>
              <a:ext cx="245101" cy="284025"/>
            </a:xfrm>
            <a:custGeom>
              <a:avLst/>
              <a:gdLst>
                <a:gd name="T0" fmla="*/ 2147483647 w 526"/>
                <a:gd name="T1" fmla="*/ 2147483647 h 680"/>
                <a:gd name="T2" fmla="*/ 2147483647 w 526"/>
                <a:gd name="T3" fmla="*/ 2147483647 h 680"/>
                <a:gd name="T4" fmla="*/ 2147483647 w 526"/>
                <a:gd name="T5" fmla="*/ 2147483647 h 680"/>
                <a:gd name="T6" fmla="*/ 2147483647 w 526"/>
                <a:gd name="T7" fmla="*/ 2147483647 h 680"/>
                <a:gd name="T8" fmla="*/ 2147483647 w 526"/>
                <a:gd name="T9" fmla="*/ 2147483647 h 680"/>
                <a:gd name="T10" fmla="*/ 2147483647 w 526"/>
                <a:gd name="T11" fmla="*/ 2147483647 h 680"/>
                <a:gd name="T12" fmla="*/ 2147483647 w 526"/>
                <a:gd name="T13" fmla="*/ 2147483647 h 680"/>
                <a:gd name="T14" fmla="*/ 2147483647 w 526"/>
                <a:gd name="T15" fmla="*/ 2147483647 h 680"/>
                <a:gd name="T16" fmla="*/ 2147483647 w 526"/>
                <a:gd name="T17" fmla="*/ 2147483647 h 680"/>
                <a:gd name="T18" fmla="*/ 2147483647 w 526"/>
                <a:gd name="T19" fmla="*/ 2147483647 h 680"/>
                <a:gd name="T20" fmla="*/ 2147483647 w 526"/>
                <a:gd name="T21" fmla="*/ 2147483647 h 680"/>
                <a:gd name="T22" fmla="*/ 2147483647 w 526"/>
                <a:gd name="T23" fmla="*/ 2147483647 h 680"/>
                <a:gd name="T24" fmla="*/ 2147483647 w 526"/>
                <a:gd name="T25" fmla="*/ 2147483647 h 680"/>
                <a:gd name="T26" fmla="*/ 2147483647 w 526"/>
                <a:gd name="T27" fmla="*/ 2147483647 h 680"/>
                <a:gd name="T28" fmla="*/ 2147483647 w 526"/>
                <a:gd name="T29" fmla="*/ 2147483647 h 680"/>
                <a:gd name="T30" fmla="*/ 2147483647 w 526"/>
                <a:gd name="T31" fmla="*/ 2147483647 h 680"/>
                <a:gd name="T32" fmla="*/ 2147483647 w 526"/>
                <a:gd name="T33" fmla="*/ 2147483647 h 680"/>
                <a:gd name="T34" fmla="*/ 2147483647 w 526"/>
                <a:gd name="T35" fmla="*/ 2147483647 h 680"/>
                <a:gd name="T36" fmla="*/ 2147483647 w 526"/>
                <a:gd name="T37" fmla="*/ 2147483647 h 680"/>
                <a:gd name="T38" fmla="*/ 2147483647 w 526"/>
                <a:gd name="T39" fmla="*/ 2147483647 h 680"/>
                <a:gd name="T40" fmla="*/ 2147483647 w 526"/>
                <a:gd name="T41" fmla="*/ 2147483647 h 680"/>
                <a:gd name="T42" fmla="*/ 2147483647 w 526"/>
                <a:gd name="T43" fmla="*/ 2147483647 h 680"/>
                <a:gd name="T44" fmla="*/ 2147483647 w 526"/>
                <a:gd name="T45" fmla="*/ 2147483647 h 680"/>
                <a:gd name="T46" fmla="*/ 2147483647 w 526"/>
                <a:gd name="T47" fmla="*/ 2147483647 h 680"/>
                <a:gd name="T48" fmla="*/ 2147483647 w 526"/>
                <a:gd name="T49" fmla="*/ 2147483647 h 680"/>
                <a:gd name="T50" fmla="*/ 2147483647 w 526"/>
                <a:gd name="T51" fmla="*/ 2147483647 h 680"/>
                <a:gd name="T52" fmla="*/ 2147483647 w 526"/>
                <a:gd name="T53" fmla="*/ 2147483647 h 680"/>
                <a:gd name="T54" fmla="*/ 2147483647 w 526"/>
                <a:gd name="T55" fmla="*/ 2147483647 h 680"/>
                <a:gd name="T56" fmla="*/ 2147483647 w 526"/>
                <a:gd name="T57" fmla="*/ 2147483647 h 680"/>
                <a:gd name="T58" fmla="*/ 2147483647 w 526"/>
                <a:gd name="T59" fmla="*/ 2147483647 h 680"/>
                <a:gd name="T60" fmla="*/ 2147483647 w 526"/>
                <a:gd name="T61" fmla="*/ 2147483647 h 680"/>
                <a:gd name="T62" fmla="*/ 2147483647 w 526"/>
                <a:gd name="T63" fmla="*/ 2147483647 h 680"/>
                <a:gd name="T64" fmla="*/ 2147483647 w 526"/>
                <a:gd name="T65" fmla="*/ 2147483647 h 680"/>
                <a:gd name="T66" fmla="*/ 2147483647 w 526"/>
                <a:gd name="T67" fmla="*/ 2147483647 h 680"/>
                <a:gd name="T68" fmla="*/ 2147483647 w 526"/>
                <a:gd name="T69" fmla="*/ 2147483647 h 680"/>
                <a:gd name="T70" fmla="*/ 2147483647 w 526"/>
                <a:gd name="T71" fmla="*/ 2147483647 h 680"/>
                <a:gd name="T72" fmla="*/ 2147483647 w 526"/>
                <a:gd name="T73" fmla="*/ 2147483647 h 680"/>
                <a:gd name="T74" fmla="*/ 2147483647 w 526"/>
                <a:gd name="T75" fmla="*/ 2147483647 h 680"/>
                <a:gd name="T76" fmla="*/ 2147483647 w 526"/>
                <a:gd name="T77" fmla="*/ 2147483647 h 680"/>
                <a:gd name="T78" fmla="*/ 2147483647 w 526"/>
                <a:gd name="T79" fmla="*/ 2147483647 h 680"/>
                <a:gd name="T80" fmla="*/ 2147483647 w 526"/>
                <a:gd name="T81" fmla="*/ 2147483647 h 680"/>
                <a:gd name="T82" fmla="*/ 2147483647 w 526"/>
                <a:gd name="T83" fmla="*/ 2147483647 h 680"/>
                <a:gd name="T84" fmla="*/ 2147483647 w 526"/>
                <a:gd name="T85" fmla="*/ 2147483647 h 680"/>
                <a:gd name="T86" fmla="*/ 2147483647 w 526"/>
                <a:gd name="T87" fmla="*/ 2147483647 h 680"/>
                <a:gd name="T88" fmla="*/ 2147483647 w 526"/>
                <a:gd name="T89" fmla="*/ 2147483647 h 680"/>
                <a:gd name="T90" fmla="*/ 2147483647 w 526"/>
                <a:gd name="T91" fmla="*/ 2147483647 h 680"/>
                <a:gd name="T92" fmla="*/ 2147483647 w 526"/>
                <a:gd name="T93" fmla="*/ 2147483647 h 680"/>
                <a:gd name="T94" fmla="*/ 2147483647 w 526"/>
                <a:gd name="T95" fmla="*/ 2147483647 h 680"/>
                <a:gd name="T96" fmla="*/ 2147483647 w 526"/>
                <a:gd name="T97" fmla="*/ 2147483647 h 680"/>
                <a:gd name="T98" fmla="*/ 2147483647 w 526"/>
                <a:gd name="T99" fmla="*/ 2147483647 h 680"/>
                <a:gd name="T100" fmla="*/ 2147483647 w 526"/>
                <a:gd name="T101" fmla="*/ 2147483647 h 68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6"/>
                <a:gd name="T154" fmla="*/ 0 h 680"/>
                <a:gd name="T155" fmla="*/ 526 w 526"/>
                <a:gd name="T156" fmla="*/ 680 h 68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6" h="680">
                  <a:moveTo>
                    <a:pt x="448" y="643"/>
                  </a:moveTo>
                  <a:lnTo>
                    <a:pt x="408" y="643"/>
                  </a:lnTo>
                  <a:lnTo>
                    <a:pt x="366" y="643"/>
                  </a:lnTo>
                  <a:lnTo>
                    <a:pt x="328" y="643"/>
                  </a:lnTo>
                  <a:lnTo>
                    <a:pt x="291" y="643"/>
                  </a:lnTo>
                  <a:lnTo>
                    <a:pt x="254" y="643"/>
                  </a:lnTo>
                  <a:lnTo>
                    <a:pt x="212" y="643"/>
                  </a:lnTo>
                  <a:lnTo>
                    <a:pt x="172" y="643"/>
                  </a:lnTo>
                  <a:lnTo>
                    <a:pt x="169" y="637"/>
                  </a:lnTo>
                  <a:lnTo>
                    <a:pt x="177" y="640"/>
                  </a:lnTo>
                  <a:lnTo>
                    <a:pt x="172" y="620"/>
                  </a:lnTo>
                  <a:lnTo>
                    <a:pt x="158" y="610"/>
                  </a:lnTo>
                  <a:lnTo>
                    <a:pt x="168" y="600"/>
                  </a:lnTo>
                  <a:lnTo>
                    <a:pt x="189" y="598"/>
                  </a:lnTo>
                  <a:lnTo>
                    <a:pt x="179" y="589"/>
                  </a:lnTo>
                  <a:lnTo>
                    <a:pt x="181" y="575"/>
                  </a:lnTo>
                  <a:lnTo>
                    <a:pt x="171" y="564"/>
                  </a:lnTo>
                  <a:lnTo>
                    <a:pt x="165" y="567"/>
                  </a:lnTo>
                  <a:lnTo>
                    <a:pt x="163" y="583"/>
                  </a:lnTo>
                  <a:lnTo>
                    <a:pt x="154" y="584"/>
                  </a:lnTo>
                  <a:lnTo>
                    <a:pt x="153" y="605"/>
                  </a:lnTo>
                  <a:lnTo>
                    <a:pt x="158" y="617"/>
                  </a:lnTo>
                  <a:lnTo>
                    <a:pt x="157" y="632"/>
                  </a:lnTo>
                  <a:lnTo>
                    <a:pt x="151" y="633"/>
                  </a:lnTo>
                  <a:lnTo>
                    <a:pt x="148" y="646"/>
                  </a:lnTo>
                  <a:lnTo>
                    <a:pt x="146" y="654"/>
                  </a:lnTo>
                  <a:lnTo>
                    <a:pt x="150" y="661"/>
                  </a:lnTo>
                  <a:lnTo>
                    <a:pt x="137" y="673"/>
                  </a:lnTo>
                  <a:lnTo>
                    <a:pt x="131" y="660"/>
                  </a:lnTo>
                  <a:lnTo>
                    <a:pt x="137" y="655"/>
                  </a:lnTo>
                  <a:lnTo>
                    <a:pt x="114" y="631"/>
                  </a:lnTo>
                  <a:lnTo>
                    <a:pt x="99" y="628"/>
                  </a:lnTo>
                  <a:lnTo>
                    <a:pt x="94" y="639"/>
                  </a:lnTo>
                  <a:lnTo>
                    <a:pt x="86" y="635"/>
                  </a:lnTo>
                  <a:lnTo>
                    <a:pt x="84" y="639"/>
                  </a:lnTo>
                  <a:lnTo>
                    <a:pt x="73" y="634"/>
                  </a:lnTo>
                  <a:lnTo>
                    <a:pt x="73" y="628"/>
                  </a:lnTo>
                  <a:lnTo>
                    <a:pt x="64" y="621"/>
                  </a:lnTo>
                  <a:lnTo>
                    <a:pt x="62" y="633"/>
                  </a:lnTo>
                  <a:lnTo>
                    <a:pt x="56" y="629"/>
                  </a:lnTo>
                  <a:lnTo>
                    <a:pt x="54" y="621"/>
                  </a:lnTo>
                  <a:lnTo>
                    <a:pt x="61" y="614"/>
                  </a:lnTo>
                  <a:lnTo>
                    <a:pt x="57" y="594"/>
                  </a:lnTo>
                  <a:lnTo>
                    <a:pt x="62" y="593"/>
                  </a:lnTo>
                  <a:lnTo>
                    <a:pt x="60" y="585"/>
                  </a:lnTo>
                  <a:lnTo>
                    <a:pt x="64" y="582"/>
                  </a:lnTo>
                  <a:lnTo>
                    <a:pt x="61" y="575"/>
                  </a:lnTo>
                  <a:lnTo>
                    <a:pt x="55" y="570"/>
                  </a:lnTo>
                  <a:lnTo>
                    <a:pt x="53" y="577"/>
                  </a:lnTo>
                  <a:lnTo>
                    <a:pt x="47" y="578"/>
                  </a:lnTo>
                  <a:lnTo>
                    <a:pt x="46" y="593"/>
                  </a:lnTo>
                  <a:lnTo>
                    <a:pt x="40" y="597"/>
                  </a:lnTo>
                  <a:lnTo>
                    <a:pt x="38" y="591"/>
                  </a:lnTo>
                  <a:lnTo>
                    <a:pt x="37" y="596"/>
                  </a:lnTo>
                  <a:lnTo>
                    <a:pt x="29" y="594"/>
                  </a:lnTo>
                  <a:lnTo>
                    <a:pt x="29" y="577"/>
                  </a:lnTo>
                  <a:lnTo>
                    <a:pt x="37" y="550"/>
                  </a:lnTo>
                  <a:lnTo>
                    <a:pt x="30" y="546"/>
                  </a:lnTo>
                  <a:lnTo>
                    <a:pt x="27" y="534"/>
                  </a:lnTo>
                  <a:lnTo>
                    <a:pt x="12" y="530"/>
                  </a:lnTo>
                  <a:lnTo>
                    <a:pt x="14" y="518"/>
                  </a:lnTo>
                  <a:lnTo>
                    <a:pt x="0" y="497"/>
                  </a:lnTo>
                  <a:lnTo>
                    <a:pt x="12" y="484"/>
                  </a:lnTo>
                  <a:lnTo>
                    <a:pt x="7" y="475"/>
                  </a:lnTo>
                  <a:lnTo>
                    <a:pt x="7" y="461"/>
                  </a:lnTo>
                  <a:lnTo>
                    <a:pt x="20" y="465"/>
                  </a:lnTo>
                  <a:lnTo>
                    <a:pt x="31" y="455"/>
                  </a:lnTo>
                  <a:lnTo>
                    <a:pt x="24" y="453"/>
                  </a:lnTo>
                  <a:lnTo>
                    <a:pt x="14" y="422"/>
                  </a:lnTo>
                  <a:lnTo>
                    <a:pt x="21" y="423"/>
                  </a:lnTo>
                  <a:lnTo>
                    <a:pt x="20" y="427"/>
                  </a:lnTo>
                  <a:lnTo>
                    <a:pt x="35" y="443"/>
                  </a:lnTo>
                  <a:lnTo>
                    <a:pt x="45" y="448"/>
                  </a:lnTo>
                  <a:lnTo>
                    <a:pt x="49" y="443"/>
                  </a:lnTo>
                  <a:lnTo>
                    <a:pt x="44" y="433"/>
                  </a:lnTo>
                  <a:lnTo>
                    <a:pt x="47" y="429"/>
                  </a:lnTo>
                  <a:lnTo>
                    <a:pt x="42" y="420"/>
                  </a:lnTo>
                  <a:lnTo>
                    <a:pt x="46" y="413"/>
                  </a:lnTo>
                  <a:lnTo>
                    <a:pt x="39" y="404"/>
                  </a:lnTo>
                  <a:lnTo>
                    <a:pt x="42" y="403"/>
                  </a:lnTo>
                  <a:lnTo>
                    <a:pt x="66" y="428"/>
                  </a:lnTo>
                  <a:lnTo>
                    <a:pt x="82" y="436"/>
                  </a:lnTo>
                  <a:lnTo>
                    <a:pt x="89" y="450"/>
                  </a:lnTo>
                  <a:lnTo>
                    <a:pt x="147" y="447"/>
                  </a:lnTo>
                  <a:lnTo>
                    <a:pt x="174" y="458"/>
                  </a:lnTo>
                  <a:lnTo>
                    <a:pt x="185" y="431"/>
                  </a:lnTo>
                  <a:lnTo>
                    <a:pt x="180" y="423"/>
                  </a:lnTo>
                  <a:lnTo>
                    <a:pt x="182" y="414"/>
                  </a:lnTo>
                  <a:lnTo>
                    <a:pt x="201" y="403"/>
                  </a:lnTo>
                  <a:lnTo>
                    <a:pt x="197" y="398"/>
                  </a:lnTo>
                  <a:lnTo>
                    <a:pt x="199" y="389"/>
                  </a:lnTo>
                  <a:lnTo>
                    <a:pt x="185" y="384"/>
                  </a:lnTo>
                  <a:lnTo>
                    <a:pt x="174" y="364"/>
                  </a:lnTo>
                  <a:lnTo>
                    <a:pt x="174" y="357"/>
                  </a:lnTo>
                  <a:lnTo>
                    <a:pt x="185" y="351"/>
                  </a:lnTo>
                  <a:lnTo>
                    <a:pt x="169" y="350"/>
                  </a:lnTo>
                  <a:lnTo>
                    <a:pt x="168" y="344"/>
                  </a:lnTo>
                  <a:lnTo>
                    <a:pt x="161" y="347"/>
                  </a:lnTo>
                  <a:lnTo>
                    <a:pt x="167" y="335"/>
                  </a:lnTo>
                  <a:lnTo>
                    <a:pt x="158" y="332"/>
                  </a:lnTo>
                  <a:lnTo>
                    <a:pt x="154" y="320"/>
                  </a:lnTo>
                  <a:lnTo>
                    <a:pt x="167" y="319"/>
                  </a:lnTo>
                  <a:lnTo>
                    <a:pt x="156" y="298"/>
                  </a:lnTo>
                  <a:lnTo>
                    <a:pt x="167" y="284"/>
                  </a:lnTo>
                  <a:lnTo>
                    <a:pt x="167" y="270"/>
                  </a:lnTo>
                  <a:lnTo>
                    <a:pt x="173" y="257"/>
                  </a:lnTo>
                  <a:lnTo>
                    <a:pt x="167" y="256"/>
                  </a:lnTo>
                  <a:lnTo>
                    <a:pt x="174" y="246"/>
                  </a:lnTo>
                  <a:lnTo>
                    <a:pt x="171" y="230"/>
                  </a:lnTo>
                  <a:lnTo>
                    <a:pt x="179" y="217"/>
                  </a:lnTo>
                  <a:lnTo>
                    <a:pt x="174" y="223"/>
                  </a:lnTo>
                  <a:lnTo>
                    <a:pt x="165" y="212"/>
                  </a:lnTo>
                  <a:lnTo>
                    <a:pt x="159" y="214"/>
                  </a:lnTo>
                  <a:lnTo>
                    <a:pt x="153" y="193"/>
                  </a:lnTo>
                  <a:lnTo>
                    <a:pt x="143" y="189"/>
                  </a:lnTo>
                  <a:lnTo>
                    <a:pt x="155" y="168"/>
                  </a:lnTo>
                  <a:lnTo>
                    <a:pt x="169" y="158"/>
                  </a:lnTo>
                  <a:lnTo>
                    <a:pt x="166" y="151"/>
                  </a:lnTo>
                  <a:lnTo>
                    <a:pt x="158" y="152"/>
                  </a:lnTo>
                  <a:lnTo>
                    <a:pt x="159" y="141"/>
                  </a:lnTo>
                  <a:lnTo>
                    <a:pt x="184" y="134"/>
                  </a:lnTo>
                  <a:lnTo>
                    <a:pt x="174" y="124"/>
                  </a:lnTo>
                  <a:lnTo>
                    <a:pt x="155" y="135"/>
                  </a:lnTo>
                  <a:lnTo>
                    <a:pt x="149" y="124"/>
                  </a:lnTo>
                  <a:lnTo>
                    <a:pt x="124" y="120"/>
                  </a:lnTo>
                  <a:lnTo>
                    <a:pt x="131" y="109"/>
                  </a:lnTo>
                  <a:lnTo>
                    <a:pt x="149" y="114"/>
                  </a:lnTo>
                  <a:lnTo>
                    <a:pt x="139" y="98"/>
                  </a:lnTo>
                  <a:lnTo>
                    <a:pt x="140" y="80"/>
                  </a:lnTo>
                  <a:lnTo>
                    <a:pt x="147" y="72"/>
                  </a:lnTo>
                  <a:lnTo>
                    <a:pt x="132" y="77"/>
                  </a:lnTo>
                  <a:lnTo>
                    <a:pt x="126" y="69"/>
                  </a:lnTo>
                  <a:lnTo>
                    <a:pt x="127" y="46"/>
                  </a:lnTo>
                  <a:lnTo>
                    <a:pt x="134" y="37"/>
                  </a:lnTo>
                  <a:lnTo>
                    <a:pt x="122" y="27"/>
                  </a:lnTo>
                  <a:lnTo>
                    <a:pt x="136" y="21"/>
                  </a:lnTo>
                  <a:lnTo>
                    <a:pt x="126" y="7"/>
                  </a:lnTo>
                  <a:lnTo>
                    <a:pt x="141" y="0"/>
                  </a:lnTo>
                  <a:lnTo>
                    <a:pt x="143" y="5"/>
                  </a:lnTo>
                  <a:lnTo>
                    <a:pt x="140" y="10"/>
                  </a:lnTo>
                  <a:lnTo>
                    <a:pt x="146" y="11"/>
                  </a:lnTo>
                  <a:lnTo>
                    <a:pt x="147" y="23"/>
                  </a:lnTo>
                  <a:lnTo>
                    <a:pt x="143" y="37"/>
                  </a:lnTo>
                  <a:lnTo>
                    <a:pt x="154" y="37"/>
                  </a:lnTo>
                  <a:lnTo>
                    <a:pt x="153" y="55"/>
                  </a:lnTo>
                  <a:lnTo>
                    <a:pt x="162" y="56"/>
                  </a:lnTo>
                  <a:lnTo>
                    <a:pt x="159" y="64"/>
                  </a:lnTo>
                  <a:lnTo>
                    <a:pt x="174" y="66"/>
                  </a:lnTo>
                  <a:lnTo>
                    <a:pt x="164" y="78"/>
                  </a:lnTo>
                  <a:lnTo>
                    <a:pt x="175" y="87"/>
                  </a:lnTo>
                  <a:lnTo>
                    <a:pt x="182" y="81"/>
                  </a:lnTo>
                  <a:lnTo>
                    <a:pt x="182" y="91"/>
                  </a:lnTo>
                  <a:lnTo>
                    <a:pt x="191" y="91"/>
                  </a:lnTo>
                  <a:lnTo>
                    <a:pt x="191" y="99"/>
                  </a:lnTo>
                  <a:lnTo>
                    <a:pt x="181" y="104"/>
                  </a:lnTo>
                  <a:lnTo>
                    <a:pt x="165" y="103"/>
                  </a:lnTo>
                  <a:lnTo>
                    <a:pt x="153" y="113"/>
                  </a:lnTo>
                  <a:lnTo>
                    <a:pt x="198" y="105"/>
                  </a:lnTo>
                  <a:lnTo>
                    <a:pt x="196" y="127"/>
                  </a:lnTo>
                  <a:lnTo>
                    <a:pt x="209" y="126"/>
                  </a:lnTo>
                  <a:lnTo>
                    <a:pt x="207" y="134"/>
                  </a:lnTo>
                  <a:lnTo>
                    <a:pt x="214" y="139"/>
                  </a:lnTo>
                  <a:lnTo>
                    <a:pt x="184" y="152"/>
                  </a:lnTo>
                  <a:lnTo>
                    <a:pt x="224" y="153"/>
                  </a:lnTo>
                  <a:lnTo>
                    <a:pt x="226" y="162"/>
                  </a:lnTo>
                  <a:lnTo>
                    <a:pt x="218" y="170"/>
                  </a:lnTo>
                  <a:lnTo>
                    <a:pt x="222" y="171"/>
                  </a:lnTo>
                  <a:lnTo>
                    <a:pt x="198" y="189"/>
                  </a:lnTo>
                  <a:lnTo>
                    <a:pt x="226" y="179"/>
                  </a:lnTo>
                  <a:lnTo>
                    <a:pt x="234" y="190"/>
                  </a:lnTo>
                  <a:lnTo>
                    <a:pt x="225" y="201"/>
                  </a:lnTo>
                  <a:lnTo>
                    <a:pt x="240" y="200"/>
                  </a:lnTo>
                  <a:lnTo>
                    <a:pt x="256" y="223"/>
                  </a:lnTo>
                  <a:lnTo>
                    <a:pt x="232" y="239"/>
                  </a:lnTo>
                  <a:lnTo>
                    <a:pt x="254" y="239"/>
                  </a:lnTo>
                  <a:lnTo>
                    <a:pt x="259" y="246"/>
                  </a:lnTo>
                  <a:lnTo>
                    <a:pt x="256" y="253"/>
                  </a:lnTo>
                  <a:lnTo>
                    <a:pt x="273" y="259"/>
                  </a:lnTo>
                  <a:lnTo>
                    <a:pt x="276" y="270"/>
                  </a:lnTo>
                  <a:lnTo>
                    <a:pt x="260" y="286"/>
                  </a:lnTo>
                  <a:lnTo>
                    <a:pt x="262" y="297"/>
                  </a:lnTo>
                  <a:lnTo>
                    <a:pt x="234" y="285"/>
                  </a:lnTo>
                  <a:lnTo>
                    <a:pt x="232" y="291"/>
                  </a:lnTo>
                  <a:lnTo>
                    <a:pt x="243" y="296"/>
                  </a:lnTo>
                  <a:lnTo>
                    <a:pt x="260" y="305"/>
                  </a:lnTo>
                  <a:lnTo>
                    <a:pt x="262" y="308"/>
                  </a:lnTo>
                  <a:lnTo>
                    <a:pt x="249" y="314"/>
                  </a:lnTo>
                  <a:lnTo>
                    <a:pt x="263" y="329"/>
                  </a:lnTo>
                  <a:lnTo>
                    <a:pt x="256" y="327"/>
                  </a:lnTo>
                  <a:lnTo>
                    <a:pt x="253" y="335"/>
                  </a:lnTo>
                  <a:lnTo>
                    <a:pt x="278" y="333"/>
                  </a:lnTo>
                  <a:lnTo>
                    <a:pt x="284" y="354"/>
                  </a:lnTo>
                  <a:lnTo>
                    <a:pt x="280" y="358"/>
                  </a:lnTo>
                  <a:lnTo>
                    <a:pt x="304" y="361"/>
                  </a:lnTo>
                  <a:lnTo>
                    <a:pt x="310" y="374"/>
                  </a:lnTo>
                  <a:lnTo>
                    <a:pt x="323" y="370"/>
                  </a:lnTo>
                  <a:lnTo>
                    <a:pt x="320" y="383"/>
                  </a:lnTo>
                  <a:lnTo>
                    <a:pt x="326" y="394"/>
                  </a:lnTo>
                  <a:lnTo>
                    <a:pt x="318" y="406"/>
                  </a:lnTo>
                  <a:lnTo>
                    <a:pt x="327" y="401"/>
                  </a:lnTo>
                  <a:lnTo>
                    <a:pt x="338" y="409"/>
                  </a:lnTo>
                  <a:lnTo>
                    <a:pt x="349" y="402"/>
                  </a:lnTo>
                  <a:lnTo>
                    <a:pt x="350" y="408"/>
                  </a:lnTo>
                  <a:lnTo>
                    <a:pt x="358" y="411"/>
                  </a:lnTo>
                  <a:lnTo>
                    <a:pt x="349" y="435"/>
                  </a:lnTo>
                  <a:lnTo>
                    <a:pt x="372" y="410"/>
                  </a:lnTo>
                  <a:lnTo>
                    <a:pt x="371" y="420"/>
                  </a:lnTo>
                  <a:lnTo>
                    <a:pt x="378" y="415"/>
                  </a:lnTo>
                  <a:lnTo>
                    <a:pt x="383" y="432"/>
                  </a:lnTo>
                  <a:lnTo>
                    <a:pt x="388" y="436"/>
                  </a:lnTo>
                  <a:lnTo>
                    <a:pt x="408" y="444"/>
                  </a:lnTo>
                  <a:lnTo>
                    <a:pt x="420" y="429"/>
                  </a:lnTo>
                  <a:lnTo>
                    <a:pt x="426" y="438"/>
                  </a:lnTo>
                  <a:lnTo>
                    <a:pt x="424" y="444"/>
                  </a:lnTo>
                  <a:lnTo>
                    <a:pt x="443" y="451"/>
                  </a:lnTo>
                  <a:lnTo>
                    <a:pt x="448" y="458"/>
                  </a:lnTo>
                  <a:lnTo>
                    <a:pt x="442" y="469"/>
                  </a:lnTo>
                  <a:lnTo>
                    <a:pt x="424" y="470"/>
                  </a:lnTo>
                  <a:lnTo>
                    <a:pt x="398" y="485"/>
                  </a:lnTo>
                  <a:lnTo>
                    <a:pt x="362" y="494"/>
                  </a:lnTo>
                  <a:lnTo>
                    <a:pt x="355" y="500"/>
                  </a:lnTo>
                  <a:lnTo>
                    <a:pt x="342" y="509"/>
                  </a:lnTo>
                  <a:lnTo>
                    <a:pt x="330" y="527"/>
                  </a:lnTo>
                  <a:lnTo>
                    <a:pt x="301" y="515"/>
                  </a:lnTo>
                  <a:lnTo>
                    <a:pt x="290" y="515"/>
                  </a:lnTo>
                  <a:lnTo>
                    <a:pt x="291" y="522"/>
                  </a:lnTo>
                  <a:lnTo>
                    <a:pt x="325" y="534"/>
                  </a:lnTo>
                  <a:lnTo>
                    <a:pt x="322" y="553"/>
                  </a:lnTo>
                  <a:lnTo>
                    <a:pt x="394" y="498"/>
                  </a:lnTo>
                  <a:lnTo>
                    <a:pt x="403" y="491"/>
                  </a:lnTo>
                  <a:lnTo>
                    <a:pt x="423" y="484"/>
                  </a:lnTo>
                  <a:lnTo>
                    <a:pt x="453" y="485"/>
                  </a:lnTo>
                  <a:lnTo>
                    <a:pt x="457" y="515"/>
                  </a:lnTo>
                  <a:lnTo>
                    <a:pt x="451" y="523"/>
                  </a:lnTo>
                  <a:lnTo>
                    <a:pt x="453" y="543"/>
                  </a:lnTo>
                  <a:lnTo>
                    <a:pt x="470" y="517"/>
                  </a:lnTo>
                  <a:lnTo>
                    <a:pt x="486" y="518"/>
                  </a:lnTo>
                  <a:lnTo>
                    <a:pt x="484" y="522"/>
                  </a:lnTo>
                  <a:lnTo>
                    <a:pt x="514" y="532"/>
                  </a:lnTo>
                  <a:lnTo>
                    <a:pt x="507" y="538"/>
                  </a:lnTo>
                  <a:lnTo>
                    <a:pt x="522" y="554"/>
                  </a:lnTo>
                  <a:lnTo>
                    <a:pt x="522" y="560"/>
                  </a:lnTo>
                  <a:lnTo>
                    <a:pt x="514" y="566"/>
                  </a:lnTo>
                  <a:lnTo>
                    <a:pt x="496" y="559"/>
                  </a:lnTo>
                  <a:lnTo>
                    <a:pt x="502" y="568"/>
                  </a:lnTo>
                  <a:lnTo>
                    <a:pt x="513" y="570"/>
                  </a:lnTo>
                  <a:lnTo>
                    <a:pt x="516" y="581"/>
                  </a:lnTo>
                  <a:lnTo>
                    <a:pt x="513" y="587"/>
                  </a:lnTo>
                  <a:lnTo>
                    <a:pt x="520" y="600"/>
                  </a:lnTo>
                  <a:lnTo>
                    <a:pt x="509" y="603"/>
                  </a:lnTo>
                  <a:lnTo>
                    <a:pt x="522" y="608"/>
                  </a:lnTo>
                  <a:lnTo>
                    <a:pt x="526" y="617"/>
                  </a:lnTo>
                  <a:lnTo>
                    <a:pt x="508" y="614"/>
                  </a:lnTo>
                  <a:lnTo>
                    <a:pt x="525" y="630"/>
                  </a:lnTo>
                  <a:lnTo>
                    <a:pt x="482" y="675"/>
                  </a:lnTo>
                  <a:lnTo>
                    <a:pt x="470" y="680"/>
                  </a:lnTo>
                  <a:lnTo>
                    <a:pt x="459" y="680"/>
                  </a:lnTo>
                  <a:lnTo>
                    <a:pt x="459" y="643"/>
                  </a:lnTo>
                  <a:lnTo>
                    <a:pt x="448" y="643"/>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4" name="Freeform 1251"/>
            <p:cNvSpPr>
              <a:spLocks/>
            </p:cNvSpPr>
            <p:nvPr/>
          </p:nvSpPr>
          <p:spPr bwMode="auto">
            <a:xfrm>
              <a:off x="3766596" y="3340876"/>
              <a:ext cx="25800" cy="14011"/>
            </a:xfrm>
            <a:custGeom>
              <a:avLst/>
              <a:gdLst>
                <a:gd name="T0" fmla="*/ 2147483647 w 59"/>
                <a:gd name="T1" fmla="*/ 2147483647 h 35"/>
                <a:gd name="T2" fmla="*/ 2147483647 w 59"/>
                <a:gd name="T3" fmla="*/ 0 h 35"/>
                <a:gd name="T4" fmla="*/ 2147483647 w 59"/>
                <a:gd name="T5" fmla="*/ 2147483647 h 35"/>
                <a:gd name="T6" fmla="*/ 2147483647 w 59"/>
                <a:gd name="T7" fmla="*/ 2147483647 h 35"/>
                <a:gd name="T8" fmla="*/ 2147483647 w 59"/>
                <a:gd name="T9" fmla="*/ 2147483647 h 35"/>
                <a:gd name="T10" fmla="*/ 2147483647 w 59"/>
                <a:gd name="T11" fmla="*/ 2147483647 h 35"/>
                <a:gd name="T12" fmla="*/ 0 w 59"/>
                <a:gd name="T13" fmla="*/ 2147483647 h 35"/>
                <a:gd name="T14" fmla="*/ 2147483647 w 59"/>
                <a:gd name="T15" fmla="*/ 2147483647 h 35"/>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5"/>
                <a:gd name="T26" fmla="*/ 59 w 5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5">
                  <a:moveTo>
                    <a:pt x="5" y="5"/>
                  </a:moveTo>
                  <a:lnTo>
                    <a:pt x="26" y="0"/>
                  </a:lnTo>
                  <a:lnTo>
                    <a:pt x="45" y="5"/>
                  </a:lnTo>
                  <a:lnTo>
                    <a:pt x="59" y="35"/>
                  </a:lnTo>
                  <a:lnTo>
                    <a:pt x="44" y="33"/>
                  </a:lnTo>
                  <a:lnTo>
                    <a:pt x="26" y="21"/>
                  </a:lnTo>
                  <a:lnTo>
                    <a:pt x="0" y="14"/>
                  </a:lnTo>
                  <a:lnTo>
                    <a:pt x="5" y="5"/>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5" name="Freeform 1252"/>
            <p:cNvSpPr>
              <a:spLocks/>
            </p:cNvSpPr>
            <p:nvPr/>
          </p:nvSpPr>
          <p:spPr bwMode="auto">
            <a:xfrm>
              <a:off x="4123499" y="3432580"/>
              <a:ext cx="55901" cy="22926"/>
            </a:xfrm>
            <a:custGeom>
              <a:avLst/>
              <a:gdLst>
                <a:gd name="T0" fmla="*/ 2147483647 w 117"/>
                <a:gd name="T1" fmla="*/ 0 h 57"/>
                <a:gd name="T2" fmla="*/ 2147483647 w 117"/>
                <a:gd name="T3" fmla="*/ 2147483647 h 57"/>
                <a:gd name="T4" fmla="*/ 2147483647 w 117"/>
                <a:gd name="T5" fmla="*/ 2147483647 h 57"/>
                <a:gd name="T6" fmla="*/ 2147483647 w 117"/>
                <a:gd name="T7" fmla="*/ 2147483647 h 57"/>
                <a:gd name="T8" fmla="*/ 2147483647 w 117"/>
                <a:gd name="T9" fmla="*/ 2147483647 h 57"/>
                <a:gd name="T10" fmla="*/ 2147483647 w 117"/>
                <a:gd name="T11" fmla="*/ 2147483647 h 57"/>
                <a:gd name="T12" fmla="*/ 2147483647 w 117"/>
                <a:gd name="T13" fmla="*/ 2147483647 h 57"/>
                <a:gd name="T14" fmla="*/ 2147483647 w 117"/>
                <a:gd name="T15" fmla="*/ 2147483647 h 57"/>
                <a:gd name="T16" fmla="*/ 0 w 117"/>
                <a:gd name="T17" fmla="*/ 2147483647 h 57"/>
                <a:gd name="T18" fmla="*/ 0 w 117"/>
                <a:gd name="T19" fmla="*/ 2147483647 h 57"/>
                <a:gd name="T20" fmla="*/ 2147483647 w 117"/>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7"/>
                <a:gd name="T34" fmla="*/ 0 h 57"/>
                <a:gd name="T35" fmla="*/ 117 w 117"/>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7" h="57">
                  <a:moveTo>
                    <a:pt x="19" y="0"/>
                  </a:moveTo>
                  <a:lnTo>
                    <a:pt x="80" y="23"/>
                  </a:lnTo>
                  <a:lnTo>
                    <a:pt x="94" y="35"/>
                  </a:lnTo>
                  <a:lnTo>
                    <a:pt x="110" y="38"/>
                  </a:lnTo>
                  <a:lnTo>
                    <a:pt x="117" y="53"/>
                  </a:lnTo>
                  <a:lnTo>
                    <a:pt x="92" y="57"/>
                  </a:lnTo>
                  <a:lnTo>
                    <a:pt x="45" y="41"/>
                  </a:lnTo>
                  <a:lnTo>
                    <a:pt x="34" y="25"/>
                  </a:lnTo>
                  <a:lnTo>
                    <a:pt x="0" y="7"/>
                  </a:lnTo>
                  <a:lnTo>
                    <a:pt x="0" y="2"/>
                  </a:lnTo>
                  <a:lnTo>
                    <a:pt x="19"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6" name="Freeform 1255"/>
            <p:cNvSpPr>
              <a:spLocks/>
            </p:cNvSpPr>
            <p:nvPr/>
          </p:nvSpPr>
          <p:spPr bwMode="auto">
            <a:xfrm>
              <a:off x="4226699" y="3385454"/>
              <a:ext cx="134734" cy="137555"/>
            </a:xfrm>
            <a:custGeom>
              <a:avLst/>
              <a:gdLst>
                <a:gd name="T0" fmla="*/ 2147483647 w 286"/>
                <a:gd name="T1" fmla="*/ 2147483647 h 331"/>
                <a:gd name="T2" fmla="*/ 2147483647 w 286"/>
                <a:gd name="T3" fmla="*/ 2147483647 h 331"/>
                <a:gd name="T4" fmla="*/ 2147483647 w 286"/>
                <a:gd name="T5" fmla="*/ 2147483647 h 331"/>
                <a:gd name="T6" fmla="*/ 2147483647 w 286"/>
                <a:gd name="T7" fmla="*/ 2147483647 h 331"/>
                <a:gd name="T8" fmla="*/ 2147483647 w 286"/>
                <a:gd name="T9" fmla="*/ 2147483647 h 331"/>
                <a:gd name="T10" fmla="*/ 2147483647 w 286"/>
                <a:gd name="T11" fmla="*/ 2147483647 h 331"/>
                <a:gd name="T12" fmla="*/ 2147483647 w 286"/>
                <a:gd name="T13" fmla="*/ 2147483647 h 331"/>
                <a:gd name="T14" fmla="*/ 2147483647 w 286"/>
                <a:gd name="T15" fmla="*/ 2147483647 h 331"/>
                <a:gd name="T16" fmla="*/ 2147483647 w 286"/>
                <a:gd name="T17" fmla="*/ 2147483647 h 331"/>
                <a:gd name="T18" fmla="*/ 2147483647 w 286"/>
                <a:gd name="T19" fmla="*/ 2147483647 h 331"/>
                <a:gd name="T20" fmla="*/ 2147483647 w 286"/>
                <a:gd name="T21" fmla="*/ 2147483647 h 331"/>
                <a:gd name="T22" fmla="*/ 2147483647 w 286"/>
                <a:gd name="T23" fmla="*/ 2147483647 h 331"/>
                <a:gd name="T24" fmla="*/ 2147483647 w 286"/>
                <a:gd name="T25" fmla="*/ 2147483647 h 331"/>
                <a:gd name="T26" fmla="*/ 2147483647 w 286"/>
                <a:gd name="T27" fmla="*/ 0 h 331"/>
                <a:gd name="T28" fmla="*/ 2147483647 w 286"/>
                <a:gd name="T29" fmla="*/ 2147483647 h 331"/>
                <a:gd name="T30" fmla="*/ 2147483647 w 286"/>
                <a:gd name="T31" fmla="*/ 2147483647 h 331"/>
                <a:gd name="T32" fmla="*/ 2147483647 w 286"/>
                <a:gd name="T33" fmla="*/ 2147483647 h 331"/>
                <a:gd name="T34" fmla="*/ 2147483647 w 286"/>
                <a:gd name="T35" fmla="*/ 2147483647 h 331"/>
                <a:gd name="T36" fmla="*/ 2147483647 w 286"/>
                <a:gd name="T37" fmla="*/ 2147483647 h 331"/>
                <a:gd name="T38" fmla="*/ 2147483647 w 286"/>
                <a:gd name="T39" fmla="*/ 2147483647 h 331"/>
                <a:gd name="T40" fmla="*/ 2147483647 w 286"/>
                <a:gd name="T41" fmla="*/ 2147483647 h 331"/>
                <a:gd name="T42" fmla="*/ 2147483647 w 286"/>
                <a:gd name="T43" fmla="*/ 2147483647 h 331"/>
                <a:gd name="T44" fmla="*/ 2147483647 w 286"/>
                <a:gd name="T45" fmla="*/ 2147483647 h 331"/>
                <a:gd name="T46" fmla="*/ 2147483647 w 286"/>
                <a:gd name="T47" fmla="*/ 2147483647 h 331"/>
                <a:gd name="T48" fmla="*/ 2147483647 w 286"/>
                <a:gd name="T49" fmla="*/ 2147483647 h 331"/>
                <a:gd name="T50" fmla="*/ 2147483647 w 286"/>
                <a:gd name="T51" fmla="*/ 2147483647 h 331"/>
                <a:gd name="T52" fmla="*/ 2147483647 w 286"/>
                <a:gd name="T53" fmla="*/ 2147483647 h 331"/>
                <a:gd name="T54" fmla="*/ 2147483647 w 286"/>
                <a:gd name="T55" fmla="*/ 2147483647 h 331"/>
                <a:gd name="T56" fmla="*/ 2147483647 w 286"/>
                <a:gd name="T57" fmla="*/ 2147483647 h 331"/>
                <a:gd name="T58" fmla="*/ 2147483647 w 286"/>
                <a:gd name="T59" fmla="*/ 2147483647 h 331"/>
                <a:gd name="T60" fmla="*/ 2147483647 w 286"/>
                <a:gd name="T61" fmla="*/ 2147483647 h 331"/>
                <a:gd name="T62" fmla="*/ 2147483647 w 286"/>
                <a:gd name="T63" fmla="*/ 2147483647 h 331"/>
                <a:gd name="T64" fmla="*/ 2147483647 w 286"/>
                <a:gd name="T65" fmla="*/ 2147483647 h 331"/>
                <a:gd name="T66" fmla="*/ 2147483647 w 286"/>
                <a:gd name="T67" fmla="*/ 2147483647 h 331"/>
                <a:gd name="T68" fmla="*/ 2147483647 w 286"/>
                <a:gd name="T69" fmla="*/ 2147483647 h 331"/>
                <a:gd name="T70" fmla="*/ 2147483647 w 286"/>
                <a:gd name="T71" fmla="*/ 2147483647 h 331"/>
                <a:gd name="T72" fmla="*/ 2147483647 w 286"/>
                <a:gd name="T73" fmla="*/ 2147483647 h 331"/>
                <a:gd name="T74" fmla="*/ 2147483647 w 286"/>
                <a:gd name="T75" fmla="*/ 2147483647 h 331"/>
                <a:gd name="T76" fmla="*/ 2147483647 w 286"/>
                <a:gd name="T77" fmla="*/ 2147483647 h 331"/>
                <a:gd name="T78" fmla="*/ 2147483647 w 286"/>
                <a:gd name="T79" fmla="*/ 2147483647 h 331"/>
                <a:gd name="T80" fmla="*/ 2147483647 w 286"/>
                <a:gd name="T81" fmla="*/ 2147483647 h 331"/>
                <a:gd name="T82" fmla="*/ 2147483647 w 286"/>
                <a:gd name="T83" fmla="*/ 2147483647 h 331"/>
                <a:gd name="T84" fmla="*/ 2147483647 w 286"/>
                <a:gd name="T85" fmla="*/ 2147483647 h 331"/>
                <a:gd name="T86" fmla="*/ 2147483647 w 286"/>
                <a:gd name="T87" fmla="*/ 2147483647 h 331"/>
                <a:gd name="T88" fmla="*/ 2147483647 w 286"/>
                <a:gd name="T89" fmla="*/ 2147483647 h 331"/>
                <a:gd name="T90" fmla="*/ 2147483647 w 286"/>
                <a:gd name="T91" fmla="*/ 2147483647 h 331"/>
                <a:gd name="T92" fmla="*/ 2147483647 w 286"/>
                <a:gd name="T93" fmla="*/ 2147483647 h 331"/>
                <a:gd name="T94" fmla="*/ 2147483647 w 286"/>
                <a:gd name="T95" fmla="*/ 2147483647 h 331"/>
                <a:gd name="T96" fmla="*/ 2147483647 w 286"/>
                <a:gd name="T97" fmla="*/ 2147483647 h 331"/>
                <a:gd name="T98" fmla="*/ 2147483647 w 286"/>
                <a:gd name="T99" fmla="*/ 2147483647 h 331"/>
                <a:gd name="T100" fmla="*/ 2147483647 w 286"/>
                <a:gd name="T101" fmla="*/ 2147483647 h 3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86"/>
                <a:gd name="T154" fmla="*/ 0 h 331"/>
                <a:gd name="T155" fmla="*/ 286 w 286"/>
                <a:gd name="T156" fmla="*/ 331 h 3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86" h="331">
                  <a:moveTo>
                    <a:pt x="254" y="159"/>
                  </a:moveTo>
                  <a:lnTo>
                    <a:pt x="251" y="154"/>
                  </a:lnTo>
                  <a:lnTo>
                    <a:pt x="231" y="149"/>
                  </a:lnTo>
                  <a:lnTo>
                    <a:pt x="217" y="150"/>
                  </a:lnTo>
                  <a:lnTo>
                    <a:pt x="210" y="144"/>
                  </a:lnTo>
                  <a:lnTo>
                    <a:pt x="173" y="159"/>
                  </a:lnTo>
                  <a:lnTo>
                    <a:pt x="181" y="140"/>
                  </a:lnTo>
                  <a:lnTo>
                    <a:pt x="171" y="149"/>
                  </a:lnTo>
                  <a:lnTo>
                    <a:pt x="150" y="144"/>
                  </a:lnTo>
                  <a:lnTo>
                    <a:pt x="151" y="135"/>
                  </a:lnTo>
                  <a:lnTo>
                    <a:pt x="142" y="132"/>
                  </a:lnTo>
                  <a:lnTo>
                    <a:pt x="166" y="117"/>
                  </a:lnTo>
                  <a:lnTo>
                    <a:pt x="140" y="112"/>
                  </a:lnTo>
                  <a:lnTo>
                    <a:pt x="142" y="103"/>
                  </a:lnTo>
                  <a:lnTo>
                    <a:pt x="136" y="102"/>
                  </a:lnTo>
                  <a:lnTo>
                    <a:pt x="112" y="136"/>
                  </a:lnTo>
                  <a:lnTo>
                    <a:pt x="109" y="126"/>
                  </a:lnTo>
                  <a:lnTo>
                    <a:pt x="112" y="107"/>
                  </a:lnTo>
                  <a:lnTo>
                    <a:pt x="135" y="71"/>
                  </a:lnTo>
                  <a:lnTo>
                    <a:pt x="136" y="50"/>
                  </a:lnTo>
                  <a:lnTo>
                    <a:pt x="139" y="56"/>
                  </a:lnTo>
                  <a:lnTo>
                    <a:pt x="149" y="51"/>
                  </a:lnTo>
                  <a:lnTo>
                    <a:pt x="155" y="32"/>
                  </a:lnTo>
                  <a:lnTo>
                    <a:pt x="148" y="26"/>
                  </a:lnTo>
                  <a:lnTo>
                    <a:pt x="148" y="20"/>
                  </a:lnTo>
                  <a:lnTo>
                    <a:pt x="158" y="19"/>
                  </a:lnTo>
                  <a:lnTo>
                    <a:pt x="165" y="6"/>
                  </a:lnTo>
                  <a:lnTo>
                    <a:pt x="164" y="0"/>
                  </a:lnTo>
                  <a:lnTo>
                    <a:pt x="135" y="9"/>
                  </a:lnTo>
                  <a:lnTo>
                    <a:pt x="116" y="19"/>
                  </a:lnTo>
                  <a:lnTo>
                    <a:pt x="109" y="34"/>
                  </a:lnTo>
                  <a:lnTo>
                    <a:pt x="101" y="40"/>
                  </a:lnTo>
                  <a:lnTo>
                    <a:pt x="99" y="53"/>
                  </a:lnTo>
                  <a:lnTo>
                    <a:pt x="85" y="64"/>
                  </a:lnTo>
                  <a:lnTo>
                    <a:pt x="91" y="69"/>
                  </a:lnTo>
                  <a:lnTo>
                    <a:pt x="81" y="93"/>
                  </a:lnTo>
                  <a:lnTo>
                    <a:pt x="88" y="100"/>
                  </a:lnTo>
                  <a:lnTo>
                    <a:pt x="73" y="104"/>
                  </a:lnTo>
                  <a:lnTo>
                    <a:pt x="63" y="128"/>
                  </a:lnTo>
                  <a:lnTo>
                    <a:pt x="64" y="143"/>
                  </a:lnTo>
                  <a:lnTo>
                    <a:pt x="51" y="151"/>
                  </a:lnTo>
                  <a:lnTo>
                    <a:pt x="48" y="158"/>
                  </a:lnTo>
                  <a:lnTo>
                    <a:pt x="56" y="162"/>
                  </a:lnTo>
                  <a:lnTo>
                    <a:pt x="56" y="173"/>
                  </a:lnTo>
                  <a:lnTo>
                    <a:pt x="42" y="171"/>
                  </a:lnTo>
                  <a:lnTo>
                    <a:pt x="31" y="200"/>
                  </a:lnTo>
                  <a:lnTo>
                    <a:pt x="26" y="204"/>
                  </a:lnTo>
                  <a:lnTo>
                    <a:pt x="22" y="199"/>
                  </a:lnTo>
                  <a:lnTo>
                    <a:pt x="8" y="207"/>
                  </a:lnTo>
                  <a:lnTo>
                    <a:pt x="35" y="210"/>
                  </a:lnTo>
                  <a:lnTo>
                    <a:pt x="38" y="215"/>
                  </a:lnTo>
                  <a:lnTo>
                    <a:pt x="1" y="249"/>
                  </a:lnTo>
                  <a:lnTo>
                    <a:pt x="0" y="262"/>
                  </a:lnTo>
                  <a:lnTo>
                    <a:pt x="4" y="269"/>
                  </a:lnTo>
                  <a:lnTo>
                    <a:pt x="14" y="271"/>
                  </a:lnTo>
                  <a:lnTo>
                    <a:pt x="54" y="263"/>
                  </a:lnTo>
                  <a:lnTo>
                    <a:pt x="111" y="270"/>
                  </a:lnTo>
                  <a:lnTo>
                    <a:pt x="137" y="265"/>
                  </a:lnTo>
                  <a:lnTo>
                    <a:pt x="155" y="252"/>
                  </a:lnTo>
                  <a:lnTo>
                    <a:pt x="154" y="267"/>
                  </a:lnTo>
                  <a:lnTo>
                    <a:pt x="139" y="275"/>
                  </a:lnTo>
                  <a:lnTo>
                    <a:pt x="167" y="276"/>
                  </a:lnTo>
                  <a:lnTo>
                    <a:pt x="175" y="264"/>
                  </a:lnTo>
                  <a:lnTo>
                    <a:pt x="196" y="270"/>
                  </a:lnTo>
                  <a:lnTo>
                    <a:pt x="178" y="284"/>
                  </a:lnTo>
                  <a:lnTo>
                    <a:pt x="168" y="298"/>
                  </a:lnTo>
                  <a:lnTo>
                    <a:pt x="152" y="304"/>
                  </a:lnTo>
                  <a:lnTo>
                    <a:pt x="150" y="311"/>
                  </a:lnTo>
                  <a:lnTo>
                    <a:pt x="159" y="313"/>
                  </a:lnTo>
                  <a:lnTo>
                    <a:pt x="177" y="308"/>
                  </a:lnTo>
                  <a:lnTo>
                    <a:pt x="196" y="283"/>
                  </a:lnTo>
                  <a:lnTo>
                    <a:pt x="210" y="280"/>
                  </a:lnTo>
                  <a:lnTo>
                    <a:pt x="222" y="247"/>
                  </a:lnTo>
                  <a:lnTo>
                    <a:pt x="229" y="247"/>
                  </a:lnTo>
                  <a:lnTo>
                    <a:pt x="235" y="284"/>
                  </a:lnTo>
                  <a:lnTo>
                    <a:pt x="226" y="314"/>
                  </a:lnTo>
                  <a:lnTo>
                    <a:pt x="232" y="316"/>
                  </a:lnTo>
                  <a:lnTo>
                    <a:pt x="247" y="295"/>
                  </a:lnTo>
                  <a:lnTo>
                    <a:pt x="251" y="298"/>
                  </a:lnTo>
                  <a:lnTo>
                    <a:pt x="248" y="323"/>
                  </a:lnTo>
                  <a:lnTo>
                    <a:pt x="252" y="331"/>
                  </a:lnTo>
                  <a:lnTo>
                    <a:pt x="260" y="323"/>
                  </a:lnTo>
                  <a:lnTo>
                    <a:pt x="270" y="326"/>
                  </a:lnTo>
                  <a:lnTo>
                    <a:pt x="286" y="278"/>
                  </a:lnTo>
                  <a:lnTo>
                    <a:pt x="286" y="262"/>
                  </a:lnTo>
                  <a:lnTo>
                    <a:pt x="282" y="259"/>
                  </a:lnTo>
                  <a:lnTo>
                    <a:pt x="271" y="277"/>
                  </a:lnTo>
                  <a:lnTo>
                    <a:pt x="267" y="273"/>
                  </a:lnTo>
                  <a:lnTo>
                    <a:pt x="267" y="261"/>
                  </a:lnTo>
                  <a:lnTo>
                    <a:pt x="279" y="230"/>
                  </a:lnTo>
                  <a:lnTo>
                    <a:pt x="262" y="241"/>
                  </a:lnTo>
                  <a:lnTo>
                    <a:pt x="251" y="265"/>
                  </a:lnTo>
                  <a:lnTo>
                    <a:pt x="246" y="265"/>
                  </a:lnTo>
                  <a:lnTo>
                    <a:pt x="240" y="257"/>
                  </a:lnTo>
                  <a:lnTo>
                    <a:pt x="245" y="240"/>
                  </a:lnTo>
                  <a:lnTo>
                    <a:pt x="236" y="229"/>
                  </a:lnTo>
                  <a:lnTo>
                    <a:pt x="265" y="213"/>
                  </a:lnTo>
                  <a:lnTo>
                    <a:pt x="268" y="200"/>
                  </a:lnTo>
                  <a:lnTo>
                    <a:pt x="247" y="210"/>
                  </a:lnTo>
                  <a:lnTo>
                    <a:pt x="230" y="211"/>
                  </a:lnTo>
                  <a:lnTo>
                    <a:pt x="240" y="195"/>
                  </a:lnTo>
                  <a:lnTo>
                    <a:pt x="232" y="190"/>
                  </a:lnTo>
                  <a:lnTo>
                    <a:pt x="254" y="159"/>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7" name="Freeform 1273"/>
            <p:cNvSpPr>
              <a:spLocks/>
            </p:cNvSpPr>
            <p:nvPr/>
          </p:nvSpPr>
          <p:spPr bwMode="auto">
            <a:xfrm>
              <a:off x="2783327" y="3311583"/>
              <a:ext cx="8600" cy="7642"/>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8" name="Freeform 1274"/>
            <p:cNvSpPr>
              <a:spLocks/>
            </p:cNvSpPr>
            <p:nvPr/>
          </p:nvSpPr>
          <p:spPr bwMode="auto">
            <a:xfrm>
              <a:off x="2786193" y="3325593"/>
              <a:ext cx="14334" cy="14011"/>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39" name="Freeform 1275"/>
            <p:cNvSpPr>
              <a:spLocks/>
            </p:cNvSpPr>
            <p:nvPr/>
          </p:nvSpPr>
          <p:spPr bwMode="auto">
            <a:xfrm>
              <a:off x="2791927" y="3317950"/>
              <a:ext cx="17201" cy="21653"/>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0" name="Freeform 1276"/>
            <p:cNvSpPr>
              <a:spLocks/>
            </p:cNvSpPr>
            <p:nvPr/>
          </p:nvSpPr>
          <p:spPr bwMode="auto">
            <a:xfrm>
              <a:off x="2813426" y="3349793"/>
              <a:ext cx="4300" cy="8915"/>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1" name="Freeform 1277"/>
            <p:cNvSpPr>
              <a:spLocks/>
            </p:cNvSpPr>
            <p:nvPr/>
          </p:nvSpPr>
          <p:spPr bwMode="auto">
            <a:xfrm>
              <a:off x="2832060" y="3407105"/>
              <a:ext cx="100334" cy="70051"/>
            </a:xfrm>
            <a:custGeom>
              <a:avLst/>
              <a:gdLst>
                <a:gd name="T0" fmla="*/ 2147483647 w 216"/>
                <a:gd name="T1" fmla="*/ 2147483647 h 167"/>
                <a:gd name="T2" fmla="*/ 2147483647 w 216"/>
                <a:gd name="T3" fmla="*/ 2147483647 h 167"/>
                <a:gd name="T4" fmla="*/ 2147483647 w 216"/>
                <a:gd name="T5" fmla="*/ 2147483647 h 167"/>
                <a:gd name="T6" fmla="*/ 2147483647 w 216"/>
                <a:gd name="T7" fmla="*/ 2147483647 h 167"/>
                <a:gd name="T8" fmla="*/ 0 w 216"/>
                <a:gd name="T9" fmla="*/ 2147483647 h 167"/>
                <a:gd name="T10" fmla="*/ 2147483647 w 216"/>
                <a:gd name="T11" fmla="*/ 2147483647 h 167"/>
                <a:gd name="T12" fmla="*/ 2147483647 w 216"/>
                <a:gd name="T13" fmla="*/ 0 h 167"/>
                <a:gd name="T14" fmla="*/ 2147483647 w 216"/>
                <a:gd name="T15" fmla="*/ 2147483647 h 167"/>
                <a:gd name="T16" fmla="*/ 2147483647 w 216"/>
                <a:gd name="T17" fmla="*/ 2147483647 h 167"/>
                <a:gd name="T18" fmla="*/ 2147483647 w 216"/>
                <a:gd name="T19" fmla="*/ 2147483647 h 167"/>
                <a:gd name="T20" fmla="*/ 2147483647 w 216"/>
                <a:gd name="T21" fmla="*/ 2147483647 h 167"/>
                <a:gd name="T22" fmla="*/ 2147483647 w 216"/>
                <a:gd name="T23" fmla="*/ 2147483647 h 167"/>
                <a:gd name="T24" fmla="*/ 2147483647 w 216"/>
                <a:gd name="T25" fmla="*/ 2147483647 h 167"/>
                <a:gd name="T26" fmla="*/ 2147483647 w 216"/>
                <a:gd name="T27" fmla="*/ 2147483647 h 167"/>
                <a:gd name="T28" fmla="*/ 2147483647 w 216"/>
                <a:gd name="T29" fmla="*/ 2147483647 h 167"/>
                <a:gd name="T30" fmla="*/ 2147483647 w 216"/>
                <a:gd name="T31" fmla="*/ 2147483647 h 167"/>
                <a:gd name="T32" fmla="*/ 2147483647 w 216"/>
                <a:gd name="T33" fmla="*/ 2147483647 h 167"/>
                <a:gd name="T34" fmla="*/ 2147483647 w 216"/>
                <a:gd name="T35" fmla="*/ 2147483647 h 167"/>
                <a:gd name="T36" fmla="*/ 2147483647 w 216"/>
                <a:gd name="T37" fmla="*/ 2147483647 h 167"/>
                <a:gd name="T38" fmla="*/ 2147483647 w 216"/>
                <a:gd name="T39" fmla="*/ 2147483647 h 167"/>
                <a:gd name="T40" fmla="*/ 2147483647 w 216"/>
                <a:gd name="T41" fmla="*/ 2147483647 h 167"/>
                <a:gd name="T42" fmla="*/ 2147483647 w 216"/>
                <a:gd name="T43" fmla="*/ 2147483647 h 167"/>
                <a:gd name="T44" fmla="*/ 2147483647 w 216"/>
                <a:gd name="T45" fmla="*/ 2147483647 h 167"/>
                <a:gd name="T46" fmla="*/ 2147483647 w 216"/>
                <a:gd name="T47" fmla="*/ 2147483647 h 167"/>
                <a:gd name="T48" fmla="*/ 2147483647 w 216"/>
                <a:gd name="T49" fmla="*/ 2147483647 h 167"/>
                <a:gd name="T50" fmla="*/ 2147483647 w 216"/>
                <a:gd name="T51" fmla="*/ 2147483647 h 167"/>
                <a:gd name="T52" fmla="*/ 2147483647 w 216"/>
                <a:gd name="T53" fmla="*/ 2147483647 h 167"/>
                <a:gd name="T54" fmla="*/ 2147483647 w 216"/>
                <a:gd name="T55" fmla="*/ 2147483647 h 167"/>
                <a:gd name="T56" fmla="*/ 2147483647 w 216"/>
                <a:gd name="T57" fmla="*/ 2147483647 h 167"/>
                <a:gd name="T58" fmla="*/ 2147483647 w 216"/>
                <a:gd name="T59" fmla="*/ 2147483647 h 167"/>
                <a:gd name="T60" fmla="*/ 2147483647 w 216"/>
                <a:gd name="T61" fmla="*/ 2147483647 h 167"/>
                <a:gd name="T62" fmla="*/ 2147483647 w 216"/>
                <a:gd name="T63" fmla="*/ 2147483647 h 167"/>
                <a:gd name="T64" fmla="*/ 2147483647 w 216"/>
                <a:gd name="T65" fmla="*/ 2147483647 h 167"/>
                <a:gd name="T66" fmla="*/ 2147483647 w 216"/>
                <a:gd name="T67" fmla="*/ 2147483647 h 167"/>
                <a:gd name="T68" fmla="*/ 2147483647 w 216"/>
                <a:gd name="T69" fmla="*/ 2147483647 h 167"/>
                <a:gd name="T70" fmla="*/ 2147483647 w 216"/>
                <a:gd name="T71" fmla="*/ 2147483647 h 167"/>
                <a:gd name="T72" fmla="*/ 2147483647 w 216"/>
                <a:gd name="T73" fmla="*/ 2147483647 h 167"/>
                <a:gd name="T74" fmla="*/ 2147483647 w 216"/>
                <a:gd name="T75" fmla="*/ 2147483647 h 167"/>
                <a:gd name="T76" fmla="*/ 2147483647 w 216"/>
                <a:gd name="T77" fmla="*/ 2147483647 h 167"/>
                <a:gd name="T78" fmla="*/ 2147483647 w 216"/>
                <a:gd name="T79" fmla="*/ 2147483647 h 167"/>
                <a:gd name="T80" fmla="*/ 2147483647 w 216"/>
                <a:gd name="T81" fmla="*/ 2147483647 h 1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
                <a:gd name="T124" fmla="*/ 0 h 167"/>
                <a:gd name="T125" fmla="*/ 216 w 216"/>
                <a:gd name="T126" fmla="*/ 167 h 16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 h="167">
                  <a:moveTo>
                    <a:pt x="36" y="31"/>
                  </a:moveTo>
                  <a:lnTo>
                    <a:pt x="36" y="16"/>
                  </a:lnTo>
                  <a:lnTo>
                    <a:pt x="15" y="10"/>
                  </a:lnTo>
                  <a:lnTo>
                    <a:pt x="10" y="20"/>
                  </a:lnTo>
                  <a:lnTo>
                    <a:pt x="0" y="13"/>
                  </a:lnTo>
                  <a:lnTo>
                    <a:pt x="1" y="4"/>
                  </a:lnTo>
                  <a:lnTo>
                    <a:pt x="14" y="0"/>
                  </a:lnTo>
                  <a:lnTo>
                    <a:pt x="116" y="35"/>
                  </a:lnTo>
                  <a:lnTo>
                    <a:pt x="148" y="76"/>
                  </a:lnTo>
                  <a:lnTo>
                    <a:pt x="152" y="89"/>
                  </a:lnTo>
                  <a:lnTo>
                    <a:pt x="195" y="117"/>
                  </a:lnTo>
                  <a:lnTo>
                    <a:pt x="207" y="148"/>
                  </a:lnTo>
                  <a:lnTo>
                    <a:pt x="211" y="147"/>
                  </a:lnTo>
                  <a:lnTo>
                    <a:pt x="216" y="157"/>
                  </a:lnTo>
                  <a:lnTo>
                    <a:pt x="201" y="167"/>
                  </a:lnTo>
                  <a:lnTo>
                    <a:pt x="154" y="148"/>
                  </a:lnTo>
                  <a:lnTo>
                    <a:pt x="159" y="136"/>
                  </a:lnTo>
                  <a:lnTo>
                    <a:pt x="150" y="144"/>
                  </a:lnTo>
                  <a:lnTo>
                    <a:pt x="141" y="134"/>
                  </a:lnTo>
                  <a:lnTo>
                    <a:pt x="149" y="123"/>
                  </a:lnTo>
                  <a:lnTo>
                    <a:pt x="120" y="125"/>
                  </a:lnTo>
                  <a:lnTo>
                    <a:pt x="112" y="119"/>
                  </a:lnTo>
                  <a:lnTo>
                    <a:pt x="123" y="118"/>
                  </a:lnTo>
                  <a:lnTo>
                    <a:pt x="112" y="105"/>
                  </a:lnTo>
                  <a:lnTo>
                    <a:pt x="82" y="96"/>
                  </a:lnTo>
                  <a:lnTo>
                    <a:pt x="79" y="87"/>
                  </a:lnTo>
                  <a:lnTo>
                    <a:pt x="101" y="81"/>
                  </a:lnTo>
                  <a:lnTo>
                    <a:pt x="86" y="79"/>
                  </a:lnTo>
                  <a:lnTo>
                    <a:pt x="83" y="72"/>
                  </a:lnTo>
                  <a:lnTo>
                    <a:pt x="78" y="76"/>
                  </a:lnTo>
                  <a:lnTo>
                    <a:pt x="62" y="61"/>
                  </a:lnTo>
                  <a:lnTo>
                    <a:pt x="56" y="66"/>
                  </a:lnTo>
                  <a:lnTo>
                    <a:pt x="51" y="61"/>
                  </a:lnTo>
                  <a:lnTo>
                    <a:pt x="54" y="49"/>
                  </a:lnTo>
                  <a:lnTo>
                    <a:pt x="46" y="46"/>
                  </a:lnTo>
                  <a:lnTo>
                    <a:pt x="44" y="54"/>
                  </a:lnTo>
                  <a:lnTo>
                    <a:pt x="38" y="45"/>
                  </a:lnTo>
                  <a:lnTo>
                    <a:pt x="23" y="49"/>
                  </a:lnTo>
                  <a:lnTo>
                    <a:pt x="24" y="36"/>
                  </a:lnTo>
                  <a:lnTo>
                    <a:pt x="19" y="28"/>
                  </a:lnTo>
                  <a:lnTo>
                    <a:pt x="36" y="31"/>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2" name="Freeform 1280"/>
            <p:cNvSpPr>
              <a:spLocks/>
            </p:cNvSpPr>
            <p:nvPr/>
          </p:nvSpPr>
          <p:spPr bwMode="auto">
            <a:xfrm>
              <a:off x="2682994" y="3203320"/>
              <a:ext cx="20066" cy="42031"/>
            </a:xfrm>
            <a:custGeom>
              <a:avLst/>
              <a:gdLst>
                <a:gd name="T0" fmla="*/ 2147483647 w 41"/>
                <a:gd name="T1" fmla="*/ 2147483647 h 103"/>
                <a:gd name="T2" fmla="*/ 2147483647 w 41"/>
                <a:gd name="T3" fmla="*/ 2147483647 h 103"/>
                <a:gd name="T4" fmla="*/ 2147483647 w 41"/>
                <a:gd name="T5" fmla="*/ 2147483647 h 103"/>
                <a:gd name="T6" fmla="*/ 2147483647 w 41"/>
                <a:gd name="T7" fmla="*/ 2147483647 h 103"/>
                <a:gd name="T8" fmla="*/ 2147483647 w 41"/>
                <a:gd name="T9" fmla="*/ 2147483647 h 103"/>
                <a:gd name="T10" fmla="*/ 2147483647 w 41"/>
                <a:gd name="T11" fmla="*/ 2147483647 h 103"/>
                <a:gd name="T12" fmla="*/ 2147483647 w 41"/>
                <a:gd name="T13" fmla="*/ 2147483647 h 103"/>
                <a:gd name="T14" fmla="*/ 2147483647 w 41"/>
                <a:gd name="T15" fmla="*/ 2147483647 h 103"/>
                <a:gd name="T16" fmla="*/ 2147483647 w 41"/>
                <a:gd name="T17" fmla="*/ 2147483647 h 103"/>
                <a:gd name="T18" fmla="*/ 0 w 41"/>
                <a:gd name="T19" fmla="*/ 2147483647 h 103"/>
                <a:gd name="T20" fmla="*/ 2147483647 w 41"/>
                <a:gd name="T21" fmla="*/ 0 h 103"/>
                <a:gd name="T22" fmla="*/ 2147483647 w 41"/>
                <a:gd name="T23" fmla="*/ 2147483647 h 10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103"/>
                <a:gd name="T38" fmla="*/ 41 w 41"/>
                <a:gd name="T39" fmla="*/ 103 h 10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103">
                  <a:moveTo>
                    <a:pt x="31" y="20"/>
                  </a:moveTo>
                  <a:lnTo>
                    <a:pt x="41" y="74"/>
                  </a:lnTo>
                  <a:lnTo>
                    <a:pt x="38" y="103"/>
                  </a:lnTo>
                  <a:lnTo>
                    <a:pt x="34" y="103"/>
                  </a:lnTo>
                  <a:lnTo>
                    <a:pt x="26" y="75"/>
                  </a:lnTo>
                  <a:lnTo>
                    <a:pt x="32" y="54"/>
                  </a:lnTo>
                  <a:lnTo>
                    <a:pt x="24" y="65"/>
                  </a:lnTo>
                  <a:lnTo>
                    <a:pt x="12" y="50"/>
                  </a:lnTo>
                  <a:lnTo>
                    <a:pt x="17" y="35"/>
                  </a:lnTo>
                  <a:lnTo>
                    <a:pt x="0" y="14"/>
                  </a:lnTo>
                  <a:lnTo>
                    <a:pt x="7" y="0"/>
                  </a:lnTo>
                  <a:lnTo>
                    <a:pt x="31" y="2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3" name="Freeform 1281"/>
            <p:cNvSpPr>
              <a:spLocks/>
            </p:cNvSpPr>
            <p:nvPr/>
          </p:nvSpPr>
          <p:spPr bwMode="auto">
            <a:xfrm>
              <a:off x="2700192" y="3180397"/>
              <a:ext cx="18633" cy="38210"/>
            </a:xfrm>
            <a:custGeom>
              <a:avLst/>
              <a:gdLst>
                <a:gd name="T0" fmla="*/ 2147483647 w 42"/>
                <a:gd name="T1" fmla="*/ 2147483647 h 88"/>
                <a:gd name="T2" fmla="*/ 0 w 42"/>
                <a:gd name="T3" fmla="*/ 2147483647 h 88"/>
                <a:gd name="T4" fmla="*/ 2147483647 w 42"/>
                <a:gd name="T5" fmla="*/ 2147483647 h 88"/>
                <a:gd name="T6" fmla="*/ 2147483647 w 42"/>
                <a:gd name="T7" fmla="*/ 0 h 88"/>
                <a:gd name="T8" fmla="*/ 2147483647 w 42"/>
                <a:gd name="T9" fmla="*/ 2147483647 h 88"/>
                <a:gd name="T10" fmla="*/ 2147483647 w 42"/>
                <a:gd name="T11" fmla="*/ 2147483647 h 88"/>
                <a:gd name="T12" fmla="*/ 2147483647 w 42"/>
                <a:gd name="T13" fmla="*/ 2147483647 h 88"/>
                <a:gd name="T14" fmla="*/ 2147483647 w 42"/>
                <a:gd name="T15" fmla="*/ 2147483647 h 88"/>
                <a:gd name="T16" fmla="*/ 2147483647 w 42"/>
                <a:gd name="T17" fmla="*/ 2147483647 h 88"/>
                <a:gd name="T18" fmla="*/ 2147483647 w 42"/>
                <a:gd name="T19" fmla="*/ 2147483647 h 88"/>
                <a:gd name="T20" fmla="*/ 2147483647 w 42"/>
                <a:gd name="T21" fmla="*/ 2147483647 h 88"/>
                <a:gd name="T22" fmla="*/ 2147483647 w 42"/>
                <a:gd name="T23" fmla="*/ 2147483647 h 88"/>
                <a:gd name="T24" fmla="*/ 2147483647 w 42"/>
                <a:gd name="T25" fmla="*/ 2147483647 h 88"/>
                <a:gd name="T26" fmla="*/ 2147483647 w 42"/>
                <a:gd name="T27" fmla="*/ 2147483647 h 88"/>
                <a:gd name="T28" fmla="*/ 2147483647 w 42"/>
                <a:gd name="T29" fmla="*/ 2147483647 h 88"/>
                <a:gd name="T30" fmla="*/ 2147483647 w 42"/>
                <a:gd name="T31" fmla="*/ 2147483647 h 88"/>
                <a:gd name="T32" fmla="*/ 2147483647 w 42"/>
                <a:gd name="T33" fmla="*/ 2147483647 h 88"/>
                <a:gd name="T34" fmla="*/ 2147483647 w 42"/>
                <a:gd name="T35" fmla="*/ 2147483647 h 88"/>
                <a:gd name="T36" fmla="*/ 2147483647 w 42"/>
                <a:gd name="T37" fmla="*/ 2147483647 h 88"/>
                <a:gd name="T38" fmla="*/ 2147483647 w 42"/>
                <a:gd name="T39" fmla="*/ 2147483647 h 88"/>
                <a:gd name="T40" fmla="*/ 2147483647 w 42"/>
                <a:gd name="T41" fmla="*/ 2147483647 h 88"/>
                <a:gd name="T42" fmla="*/ 2147483647 w 42"/>
                <a:gd name="T43" fmla="*/ 2147483647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88"/>
                <a:gd name="T68" fmla="*/ 42 w 42"/>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88">
                  <a:moveTo>
                    <a:pt x="8" y="46"/>
                  </a:moveTo>
                  <a:lnTo>
                    <a:pt x="0" y="10"/>
                  </a:lnTo>
                  <a:lnTo>
                    <a:pt x="3" y="1"/>
                  </a:lnTo>
                  <a:lnTo>
                    <a:pt x="17" y="0"/>
                  </a:lnTo>
                  <a:lnTo>
                    <a:pt x="23" y="2"/>
                  </a:lnTo>
                  <a:lnTo>
                    <a:pt x="36" y="23"/>
                  </a:lnTo>
                  <a:lnTo>
                    <a:pt x="42" y="48"/>
                  </a:lnTo>
                  <a:lnTo>
                    <a:pt x="22" y="9"/>
                  </a:lnTo>
                  <a:lnTo>
                    <a:pt x="22" y="26"/>
                  </a:lnTo>
                  <a:lnTo>
                    <a:pt x="38" y="53"/>
                  </a:lnTo>
                  <a:lnTo>
                    <a:pt x="31" y="56"/>
                  </a:lnTo>
                  <a:lnTo>
                    <a:pt x="37" y="66"/>
                  </a:lnTo>
                  <a:lnTo>
                    <a:pt x="27" y="63"/>
                  </a:lnTo>
                  <a:lnTo>
                    <a:pt x="26" y="77"/>
                  </a:lnTo>
                  <a:lnTo>
                    <a:pt x="22" y="72"/>
                  </a:lnTo>
                  <a:lnTo>
                    <a:pt x="11" y="88"/>
                  </a:lnTo>
                  <a:lnTo>
                    <a:pt x="7" y="84"/>
                  </a:lnTo>
                  <a:lnTo>
                    <a:pt x="9" y="66"/>
                  </a:lnTo>
                  <a:lnTo>
                    <a:pt x="18" y="62"/>
                  </a:lnTo>
                  <a:lnTo>
                    <a:pt x="11" y="55"/>
                  </a:lnTo>
                  <a:lnTo>
                    <a:pt x="19" y="48"/>
                  </a:lnTo>
                  <a:lnTo>
                    <a:pt x="8" y="46"/>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4" name="Freeform 1282"/>
            <p:cNvSpPr>
              <a:spLocks/>
            </p:cNvSpPr>
            <p:nvPr/>
          </p:nvSpPr>
          <p:spPr bwMode="auto">
            <a:xfrm>
              <a:off x="2707359" y="3223701"/>
              <a:ext cx="14334" cy="24200"/>
            </a:xfrm>
            <a:custGeom>
              <a:avLst/>
              <a:gdLst>
                <a:gd name="T0" fmla="*/ 2147483647 w 27"/>
                <a:gd name="T1" fmla="*/ 2147483647 h 62"/>
                <a:gd name="T2" fmla="*/ 0 w 27"/>
                <a:gd name="T3" fmla="*/ 2147483647 h 62"/>
                <a:gd name="T4" fmla="*/ 2147483647 w 27"/>
                <a:gd name="T5" fmla="*/ 2147483647 h 62"/>
                <a:gd name="T6" fmla="*/ 2147483647 w 27"/>
                <a:gd name="T7" fmla="*/ 0 h 62"/>
                <a:gd name="T8" fmla="*/ 2147483647 w 27"/>
                <a:gd name="T9" fmla="*/ 2147483647 h 62"/>
                <a:gd name="T10" fmla="*/ 2147483647 w 27"/>
                <a:gd name="T11" fmla="*/ 2147483647 h 62"/>
                <a:gd name="T12" fmla="*/ 2147483647 w 27"/>
                <a:gd name="T13" fmla="*/ 2147483647 h 62"/>
                <a:gd name="T14" fmla="*/ 2147483647 w 27"/>
                <a:gd name="T15" fmla="*/ 2147483647 h 62"/>
                <a:gd name="T16" fmla="*/ 2147483647 w 27"/>
                <a:gd name="T17" fmla="*/ 2147483647 h 62"/>
                <a:gd name="T18" fmla="*/ 2147483647 w 27"/>
                <a:gd name="T19" fmla="*/ 2147483647 h 62"/>
                <a:gd name="T20" fmla="*/ 2147483647 w 27"/>
                <a:gd name="T21" fmla="*/ 2147483647 h 62"/>
                <a:gd name="T22" fmla="*/ 2147483647 w 27"/>
                <a:gd name="T23" fmla="*/ 2147483647 h 62"/>
                <a:gd name="T24" fmla="*/ 2147483647 w 27"/>
                <a:gd name="T25" fmla="*/ 2147483647 h 62"/>
                <a:gd name="T26" fmla="*/ 2147483647 w 27"/>
                <a:gd name="T27" fmla="*/ 2147483647 h 62"/>
                <a:gd name="T28" fmla="*/ 2147483647 w 27"/>
                <a:gd name="T29" fmla="*/ 2147483647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62"/>
                <a:gd name="T47" fmla="*/ 27 w 27"/>
                <a:gd name="T48" fmla="*/ 62 h 6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62">
                  <a:moveTo>
                    <a:pt x="10" y="22"/>
                  </a:moveTo>
                  <a:lnTo>
                    <a:pt x="0" y="14"/>
                  </a:lnTo>
                  <a:lnTo>
                    <a:pt x="1" y="4"/>
                  </a:lnTo>
                  <a:lnTo>
                    <a:pt x="9" y="0"/>
                  </a:lnTo>
                  <a:lnTo>
                    <a:pt x="18" y="11"/>
                  </a:lnTo>
                  <a:lnTo>
                    <a:pt x="25" y="9"/>
                  </a:lnTo>
                  <a:lnTo>
                    <a:pt x="27" y="22"/>
                  </a:lnTo>
                  <a:lnTo>
                    <a:pt x="19" y="22"/>
                  </a:lnTo>
                  <a:lnTo>
                    <a:pt x="20" y="62"/>
                  </a:lnTo>
                  <a:lnTo>
                    <a:pt x="17" y="51"/>
                  </a:lnTo>
                  <a:lnTo>
                    <a:pt x="9" y="50"/>
                  </a:lnTo>
                  <a:lnTo>
                    <a:pt x="7" y="37"/>
                  </a:lnTo>
                  <a:lnTo>
                    <a:pt x="17" y="30"/>
                  </a:lnTo>
                  <a:lnTo>
                    <a:pt x="7" y="25"/>
                  </a:lnTo>
                  <a:lnTo>
                    <a:pt x="10" y="2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5" name="Freeform 1283"/>
            <p:cNvSpPr>
              <a:spLocks/>
            </p:cNvSpPr>
            <p:nvPr/>
          </p:nvSpPr>
          <p:spPr bwMode="auto">
            <a:xfrm>
              <a:off x="2715959" y="3217334"/>
              <a:ext cx="20066" cy="20378"/>
            </a:xfrm>
            <a:custGeom>
              <a:avLst/>
              <a:gdLst>
                <a:gd name="T0" fmla="*/ 0 w 42"/>
                <a:gd name="T1" fmla="*/ 2147483647 h 51"/>
                <a:gd name="T2" fmla="*/ 2147483647 w 42"/>
                <a:gd name="T3" fmla="*/ 0 h 51"/>
                <a:gd name="T4" fmla="*/ 2147483647 w 42"/>
                <a:gd name="T5" fmla="*/ 2147483647 h 51"/>
                <a:gd name="T6" fmla="*/ 2147483647 w 42"/>
                <a:gd name="T7" fmla="*/ 2147483647 h 51"/>
                <a:gd name="T8" fmla="*/ 2147483647 w 42"/>
                <a:gd name="T9" fmla="*/ 2147483647 h 51"/>
                <a:gd name="T10" fmla="*/ 2147483647 w 42"/>
                <a:gd name="T11" fmla="*/ 2147483647 h 51"/>
                <a:gd name="T12" fmla="*/ 2147483647 w 42"/>
                <a:gd name="T13" fmla="*/ 2147483647 h 51"/>
                <a:gd name="T14" fmla="*/ 2147483647 w 42"/>
                <a:gd name="T15" fmla="*/ 2147483647 h 51"/>
                <a:gd name="T16" fmla="*/ 2147483647 w 42"/>
                <a:gd name="T17" fmla="*/ 2147483647 h 51"/>
                <a:gd name="T18" fmla="*/ 0 w 42"/>
                <a:gd name="T19" fmla="*/ 2147483647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51"/>
                <a:gd name="T32" fmla="*/ 42 w 42"/>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51">
                  <a:moveTo>
                    <a:pt x="0" y="4"/>
                  </a:moveTo>
                  <a:lnTo>
                    <a:pt x="3" y="0"/>
                  </a:lnTo>
                  <a:lnTo>
                    <a:pt x="38" y="9"/>
                  </a:lnTo>
                  <a:lnTo>
                    <a:pt x="42" y="36"/>
                  </a:lnTo>
                  <a:lnTo>
                    <a:pt x="28" y="21"/>
                  </a:lnTo>
                  <a:lnTo>
                    <a:pt x="36" y="49"/>
                  </a:lnTo>
                  <a:lnTo>
                    <a:pt x="19" y="51"/>
                  </a:lnTo>
                  <a:lnTo>
                    <a:pt x="13" y="18"/>
                  </a:lnTo>
                  <a:lnTo>
                    <a:pt x="6" y="16"/>
                  </a:lnTo>
                  <a:lnTo>
                    <a:pt x="0" y="4"/>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6" name="Freeform 1284"/>
            <p:cNvSpPr>
              <a:spLocks/>
            </p:cNvSpPr>
            <p:nvPr/>
          </p:nvSpPr>
          <p:spPr bwMode="auto">
            <a:xfrm>
              <a:off x="2737459" y="3226248"/>
              <a:ext cx="5734" cy="8916"/>
            </a:xfrm>
            <a:custGeom>
              <a:avLst/>
              <a:gdLst>
                <a:gd name="T0" fmla="*/ 2147483647 w 12"/>
                <a:gd name="T1" fmla="*/ 2147483647 h 20"/>
                <a:gd name="T2" fmla="*/ 2147483647 w 12"/>
                <a:gd name="T3" fmla="*/ 2147483647 h 20"/>
                <a:gd name="T4" fmla="*/ 2147483647 w 12"/>
                <a:gd name="T5" fmla="*/ 2147483647 h 20"/>
                <a:gd name="T6" fmla="*/ 0 w 12"/>
                <a:gd name="T7" fmla="*/ 0 h 20"/>
                <a:gd name="T8" fmla="*/ 2147483647 w 12"/>
                <a:gd name="T9" fmla="*/ 2147483647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3" y="2"/>
                  </a:moveTo>
                  <a:lnTo>
                    <a:pt x="12" y="20"/>
                  </a:lnTo>
                  <a:lnTo>
                    <a:pt x="1" y="19"/>
                  </a:lnTo>
                  <a:lnTo>
                    <a:pt x="0" y="0"/>
                  </a:lnTo>
                  <a:lnTo>
                    <a:pt x="3" y="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7" name="Freeform 1285"/>
            <p:cNvSpPr>
              <a:spLocks/>
            </p:cNvSpPr>
            <p:nvPr/>
          </p:nvSpPr>
          <p:spPr bwMode="auto">
            <a:xfrm>
              <a:off x="2734593" y="3238986"/>
              <a:ext cx="8600" cy="3821"/>
            </a:xfrm>
            <a:custGeom>
              <a:avLst/>
              <a:gdLst>
                <a:gd name="T0" fmla="*/ 2147483647 w 15"/>
                <a:gd name="T1" fmla="*/ 0 h 11"/>
                <a:gd name="T2" fmla="*/ 2147483647 w 15"/>
                <a:gd name="T3" fmla="*/ 2147483647 h 11"/>
                <a:gd name="T4" fmla="*/ 2147483647 w 15"/>
                <a:gd name="T5" fmla="*/ 2147483647 h 11"/>
                <a:gd name="T6" fmla="*/ 0 w 15"/>
                <a:gd name="T7" fmla="*/ 2147483647 h 11"/>
                <a:gd name="T8" fmla="*/ 2147483647 w 15"/>
                <a:gd name="T9" fmla="*/ 0 h 11"/>
                <a:gd name="T10" fmla="*/ 0 60000 65536"/>
                <a:gd name="T11" fmla="*/ 0 60000 65536"/>
                <a:gd name="T12" fmla="*/ 0 60000 65536"/>
                <a:gd name="T13" fmla="*/ 0 60000 65536"/>
                <a:gd name="T14" fmla="*/ 0 60000 65536"/>
                <a:gd name="T15" fmla="*/ 0 w 15"/>
                <a:gd name="T16" fmla="*/ 0 h 11"/>
                <a:gd name="T17" fmla="*/ 15 w 15"/>
                <a:gd name="T18" fmla="*/ 11 h 11"/>
              </a:gdLst>
              <a:ahLst/>
              <a:cxnLst>
                <a:cxn ang="T10">
                  <a:pos x="T0" y="T1"/>
                </a:cxn>
                <a:cxn ang="T11">
                  <a:pos x="T2" y="T3"/>
                </a:cxn>
                <a:cxn ang="T12">
                  <a:pos x="T4" y="T5"/>
                </a:cxn>
                <a:cxn ang="T13">
                  <a:pos x="T6" y="T7"/>
                </a:cxn>
                <a:cxn ang="T14">
                  <a:pos x="T8" y="T9"/>
                </a:cxn>
              </a:cxnLst>
              <a:rect l="T15" t="T16" r="T17" b="T18"/>
              <a:pathLst>
                <a:path w="15" h="11">
                  <a:moveTo>
                    <a:pt x="13" y="0"/>
                  </a:moveTo>
                  <a:lnTo>
                    <a:pt x="15" y="9"/>
                  </a:lnTo>
                  <a:lnTo>
                    <a:pt x="12" y="11"/>
                  </a:lnTo>
                  <a:lnTo>
                    <a:pt x="0" y="3"/>
                  </a:lnTo>
                  <a:lnTo>
                    <a:pt x="13"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8" name="Freeform 1287"/>
            <p:cNvSpPr>
              <a:spLocks/>
            </p:cNvSpPr>
            <p:nvPr/>
          </p:nvSpPr>
          <p:spPr bwMode="auto">
            <a:xfrm>
              <a:off x="2720259" y="3240261"/>
              <a:ext cx="37267" cy="53493"/>
            </a:xfrm>
            <a:custGeom>
              <a:avLst/>
              <a:gdLst>
                <a:gd name="T0" fmla="*/ 2147483647 w 76"/>
                <a:gd name="T1" fmla="*/ 2147483647 h 125"/>
                <a:gd name="T2" fmla="*/ 2147483647 w 76"/>
                <a:gd name="T3" fmla="*/ 2147483647 h 125"/>
                <a:gd name="T4" fmla="*/ 2147483647 w 76"/>
                <a:gd name="T5" fmla="*/ 2147483647 h 125"/>
                <a:gd name="T6" fmla="*/ 2147483647 w 76"/>
                <a:gd name="T7" fmla="*/ 2147483647 h 125"/>
                <a:gd name="T8" fmla="*/ 2147483647 w 76"/>
                <a:gd name="T9" fmla="*/ 2147483647 h 125"/>
                <a:gd name="T10" fmla="*/ 2147483647 w 76"/>
                <a:gd name="T11" fmla="*/ 2147483647 h 125"/>
                <a:gd name="T12" fmla="*/ 2147483647 w 76"/>
                <a:gd name="T13" fmla="*/ 2147483647 h 125"/>
                <a:gd name="T14" fmla="*/ 2147483647 w 76"/>
                <a:gd name="T15" fmla="*/ 2147483647 h 125"/>
                <a:gd name="T16" fmla="*/ 2147483647 w 76"/>
                <a:gd name="T17" fmla="*/ 2147483647 h 125"/>
                <a:gd name="T18" fmla="*/ 2147483647 w 76"/>
                <a:gd name="T19" fmla="*/ 2147483647 h 125"/>
                <a:gd name="T20" fmla="*/ 2147483647 w 76"/>
                <a:gd name="T21" fmla="*/ 2147483647 h 125"/>
                <a:gd name="T22" fmla="*/ 2147483647 w 76"/>
                <a:gd name="T23" fmla="*/ 2147483647 h 125"/>
                <a:gd name="T24" fmla="*/ 2147483647 w 76"/>
                <a:gd name="T25" fmla="*/ 2147483647 h 125"/>
                <a:gd name="T26" fmla="*/ 2147483647 w 76"/>
                <a:gd name="T27" fmla="*/ 2147483647 h 125"/>
                <a:gd name="T28" fmla="*/ 2147483647 w 76"/>
                <a:gd name="T29" fmla="*/ 2147483647 h 125"/>
                <a:gd name="T30" fmla="*/ 2147483647 w 76"/>
                <a:gd name="T31" fmla="*/ 2147483647 h 125"/>
                <a:gd name="T32" fmla="*/ 2147483647 w 76"/>
                <a:gd name="T33" fmla="*/ 2147483647 h 125"/>
                <a:gd name="T34" fmla="*/ 2147483647 w 76"/>
                <a:gd name="T35" fmla="*/ 2147483647 h 125"/>
                <a:gd name="T36" fmla="*/ 2147483647 w 76"/>
                <a:gd name="T37" fmla="*/ 2147483647 h 125"/>
                <a:gd name="T38" fmla="*/ 2147483647 w 76"/>
                <a:gd name="T39" fmla="*/ 2147483647 h 125"/>
                <a:gd name="T40" fmla="*/ 2147483647 w 76"/>
                <a:gd name="T41" fmla="*/ 2147483647 h 125"/>
                <a:gd name="T42" fmla="*/ 0 w 76"/>
                <a:gd name="T43" fmla="*/ 2147483647 h 125"/>
                <a:gd name="T44" fmla="*/ 2147483647 w 76"/>
                <a:gd name="T45" fmla="*/ 2147483647 h 125"/>
                <a:gd name="T46" fmla="*/ 2147483647 w 76"/>
                <a:gd name="T47" fmla="*/ 0 h 125"/>
                <a:gd name="T48" fmla="*/ 2147483647 w 76"/>
                <a:gd name="T49" fmla="*/ 2147483647 h 125"/>
                <a:gd name="T50" fmla="*/ 2147483647 w 76"/>
                <a:gd name="T51" fmla="*/ 2147483647 h 125"/>
                <a:gd name="T52" fmla="*/ 2147483647 w 76"/>
                <a:gd name="T53" fmla="*/ 2147483647 h 125"/>
                <a:gd name="T54" fmla="*/ 2147483647 w 76"/>
                <a:gd name="T55" fmla="*/ 2147483647 h 1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6"/>
                <a:gd name="T85" fmla="*/ 0 h 125"/>
                <a:gd name="T86" fmla="*/ 76 w 76"/>
                <a:gd name="T87" fmla="*/ 125 h 1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6" h="125">
                  <a:moveTo>
                    <a:pt x="42" y="26"/>
                  </a:moveTo>
                  <a:lnTo>
                    <a:pt x="56" y="45"/>
                  </a:lnTo>
                  <a:lnTo>
                    <a:pt x="53" y="53"/>
                  </a:lnTo>
                  <a:lnTo>
                    <a:pt x="68" y="69"/>
                  </a:lnTo>
                  <a:lnTo>
                    <a:pt x="54" y="59"/>
                  </a:lnTo>
                  <a:lnTo>
                    <a:pt x="59" y="74"/>
                  </a:lnTo>
                  <a:lnTo>
                    <a:pt x="76" y="88"/>
                  </a:lnTo>
                  <a:lnTo>
                    <a:pt x="70" y="105"/>
                  </a:lnTo>
                  <a:lnTo>
                    <a:pt x="76" y="105"/>
                  </a:lnTo>
                  <a:lnTo>
                    <a:pt x="75" y="124"/>
                  </a:lnTo>
                  <a:lnTo>
                    <a:pt x="65" y="125"/>
                  </a:lnTo>
                  <a:lnTo>
                    <a:pt x="61" y="103"/>
                  </a:lnTo>
                  <a:lnTo>
                    <a:pt x="55" y="104"/>
                  </a:lnTo>
                  <a:lnTo>
                    <a:pt x="48" y="89"/>
                  </a:lnTo>
                  <a:lnTo>
                    <a:pt x="24" y="77"/>
                  </a:lnTo>
                  <a:lnTo>
                    <a:pt x="34" y="74"/>
                  </a:lnTo>
                  <a:lnTo>
                    <a:pt x="32" y="64"/>
                  </a:lnTo>
                  <a:lnTo>
                    <a:pt x="35" y="61"/>
                  </a:lnTo>
                  <a:lnTo>
                    <a:pt x="17" y="54"/>
                  </a:lnTo>
                  <a:lnTo>
                    <a:pt x="23" y="42"/>
                  </a:lnTo>
                  <a:lnTo>
                    <a:pt x="23" y="17"/>
                  </a:lnTo>
                  <a:lnTo>
                    <a:pt x="0" y="32"/>
                  </a:lnTo>
                  <a:lnTo>
                    <a:pt x="11" y="11"/>
                  </a:lnTo>
                  <a:lnTo>
                    <a:pt x="6" y="0"/>
                  </a:lnTo>
                  <a:lnTo>
                    <a:pt x="24" y="2"/>
                  </a:lnTo>
                  <a:lnTo>
                    <a:pt x="30" y="7"/>
                  </a:lnTo>
                  <a:lnTo>
                    <a:pt x="29" y="22"/>
                  </a:lnTo>
                  <a:lnTo>
                    <a:pt x="42" y="26"/>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49" name="Freeform 1288"/>
            <p:cNvSpPr>
              <a:spLocks/>
            </p:cNvSpPr>
            <p:nvPr/>
          </p:nvSpPr>
          <p:spPr bwMode="auto">
            <a:xfrm>
              <a:off x="2760394" y="3254276"/>
              <a:ext cx="17201" cy="25473"/>
            </a:xfrm>
            <a:custGeom>
              <a:avLst/>
              <a:gdLst>
                <a:gd name="T0" fmla="*/ 2147483647 w 37"/>
                <a:gd name="T1" fmla="*/ 2147483647 h 58"/>
                <a:gd name="T2" fmla="*/ 2147483647 w 37"/>
                <a:gd name="T3" fmla="*/ 2147483647 h 58"/>
                <a:gd name="T4" fmla="*/ 2147483647 w 37"/>
                <a:gd name="T5" fmla="*/ 2147483647 h 58"/>
                <a:gd name="T6" fmla="*/ 2147483647 w 37"/>
                <a:gd name="T7" fmla="*/ 2147483647 h 58"/>
                <a:gd name="T8" fmla="*/ 2147483647 w 37"/>
                <a:gd name="T9" fmla="*/ 2147483647 h 58"/>
                <a:gd name="T10" fmla="*/ 2147483647 w 37"/>
                <a:gd name="T11" fmla="*/ 2147483647 h 58"/>
                <a:gd name="T12" fmla="*/ 2147483647 w 37"/>
                <a:gd name="T13" fmla="*/ 0 h 58"/>
                <a:gd name="T14" fmla="*/ 2147483647 w 37"/>
                <a:gd name="T15" fmla="*/ 2147483647 h 58"/>
                <a:gd name="T16" fmla="*/ 2147483647 w 37"/>
                <a:gd name="T17" fmla="*/ 2147483647 h 58"/>
                <a:gd name="T18" fmla="*/ 0 w 37"/>
                <a:gd name="T19" fmla="*/ 2147483647 h 58"/>
                <a:gd name="T20" fmla="*/ 2147483647 w 37"/>
                <a:gd name="T21" fmla="*/ 2147483647 h 58"/>
                <a:gd name="T22" fmla="*/ 2147483647 w 37"/>
                <a:gd name="T23" fmla="*/ 2147483647 h 58"/>
                <a:gd name="T24" fmla="*/ 2147483647 w 37"/>
                <a:gd name="T25" fmla="*/ 2147483647 h 58"/>
                <a:gd name="T26" fmla="*/ 2147483647 w 37"/>
                <a:gd name="T27" fmla="*/ 2147483647 h 58"/>
                <a:gd name="T28" fmla="*/ 2147483647 w 37"/>
                <a:gd name="T29" fmla="*/ 2147483647 h 58"/>
                <a:gd name="T30" fmla="*/ 2147483647 w 37"/>
                <a:gd name="T31" fmla="*/ 2147483647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58"/>
                <a:gd name="T50" fmla="*/ 37 w 37"/>
                <a:gd name="T51" fmla="*/ 58 h 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58">
                  <a:moveTo>
                    <a:pt x="16" y="48"/>
                  </a:moveTo>
                  <a:lnTo>
                    <a:pt x="21" y="42"/>
                  </a:lnTo>
                  <a:lnTo>
                    <a:pt x="25" y="55"/>
                  </a:lnTo>
                  <a:lnTo>
                    <a:pt x="37" y="58"/>
                  </a:lnTo>
                  <a:lnTo>
                    <a:pt x="33" y="42"/>
                  </a:lnTo>
                  <a:lnTo>
                    <a:pt x="35" y="25"/>
                  </a:lnTo>
                  <a:lnTo>
                    <a:pt x="25" y="0"/>
                  </a:lnTo>
                  <a:lnTo>
                    <a:pt x="5" y="9"/>
                  </a:lnTo>
                  <a:lnTo>
                    <a:pt x="8" y="16"/>
                  </a:lnTo>
                  <a:lnTo>
                    <a:pt x="0" y="37"/>
                  </a:lnTo>
                  <a:lnTo>
                    <a:pt x="8" y="46"/>
                  </a:lnTo>
                  <a:lnTo>
                    <a:pt x="11" y="33"/>
                  </a:lnTo>
                  <a:lnTo>
                    <a:pt x="17" y="37"/>
                  </a:lnTo>
                  <a:lnTo>
                    <a:pt x="18" y="24"/>
                  </a:lnTo>
                  <a:lnTo>
                    <a:pt x="20" y="37"/>
                  </a:lnTo>
                  <a:lnTo>
                    <a:pt x="16" y="48"/>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0" name="Freeform 1289"/>
            <p:cNvSpPr>
              <a:spLocks/>
            </p:cNvSpPr>
            <p:nvPr/>
          </p:nvSpPr>
          <p:spPr bwMode="auto">
            <a:xfrm>
              <a:off x="2731726" y="3277202"/>
              <a:ext cx="8600" cy="15284"/>
            </a:xfrm>
            <a:custGeom>
              <a:avLst/>
              <a:gdLst>
                <a:gd name="T0" fmla="*/ 2147483647 w 19"/>
                <a:gd name="T1" fmla="*/ 2147483647 h 37"/>
                <a:gd name="T2" fmla="*/ 2147483647 w 19"/>
                <a:gd name="T3" fmla="*/ 2147483647 h 37"/>
                <a:gd name="T4" fmla="*/ 2147483647 w 19"/>
                <a:gd name="T5" fmla="*/ 2147483647 h 37"/>
                <a:gd name="T6" fmla="*/ 2147483647 w 19"/>
                <a:gd name="T7" fmla="*/ 2147483647 h 37"/>
                <a:gd name="T8" fmla="*/ 0 w 19"/>
                <a:gd name="T9" fmla="*/ 0 h 37"/>
                <a:gd name="T10" fmla="*/ 2147483647 w 19"/>
                <a:gd name="T11" fmla="*/ 2147483647 h 37"/>
                <a:gd name="T12" fmla="*/ 0 60000 65536"/>
                <a:gd name="T13" fmla="*/ 0 60000 65536"/>
                <a:gd name="T14" fmla="*/ 0 60000 65536"/>
                <a:gd name="T15" fmla="*/ 0 60000 65536"/>
                <a:gd name="T16" fmla="*/ 0 60000 65536"/>
                <a:gd name="T17" fmla="*/ 0 60000 65536"/>
                <a:gd name="T18" fmla="*/ 0 w 19"/>
                <a:gd name="T19" fmla="*/ 0 h 37"/>
                <a:gd name="T20" fmla="*/ 19 w 19"/>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9" h="37">
                  <a:moveTo>
                    <a:pt x="8" y="17"/>
                  </a:moveTo>
                  <a:lnTo>
                    <a:pt x="19" y="37"/>
                  </a:lnTo>
                  <a:lnTo>
                    <a:pt x="11" y="35"/>
                  </a:lnTo>
                  <a:lnTo>
                    <a:pt x="1" y="18"/>
                  </a:lnTo>
                  <a:lnTo>
                    <a:pt x="0" y="0"/>
                  </a:lnTo>
                  <a:lnTo>
                    <a:pt x="8" y="17"/>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1" name="Freeform 1290"/>
            <p:cNvSpPr>
              <a:spLocks/>
            </p:cNvSpPr>
            <p:nvPr/>
          </p:nvSpPr>
          <p:spPr bwMode="auto">
            <a:xfrm>
              <a:off x="2764693" y="3274657"/>
              <a:ext cx="4300" cy="8916"/>
            </a:xfrm>
            <a:custGeom>
              <a:avLst/>
              <a:gdLst>
                <a:gd name="T0" fmla="*/ 0 w 10"/>
                <a:gd name="T1" fmla="*/ 0 h 19"/>
                <a:gd name="T2" fmla="*/ 2147483647 w 10"/>
                <a:gd name="T3" fmla="*/ 2147483647 h 19"/>
                <a:gd name="T4" fmla="*/ 2147483647 w 10"/>
                <a:gd name="T5" fmla="*/ 2147483647 h 19"/>
                <a:gd name="T6" fmla="*/ 0 w 10"/>
                <a:gd name="T7" fmla="*/ 0 h 19"/>
                <a:gd name="T8" fmla="*/ 0 60000 65536"/>
                <a:gd name="T9" fmla="*/ 0 60000 65536"/>
                <a:gd name="T10" fmla="*/ 0 60000 65536"/>
                <a:gd name="T11" fmla="*/ 0 60000 65536"/>
                <a:gd name="T12" fmla="*/ 0 w 10"/>
                <a:gd name="T13" fmla="*/ 0 h 19"/>
                <a:gd name="T14" fmla="*/ 10 w 10"/>
                <a:gd name="T15" fmla="*/ 19 h 19"/>
              </a:gdLst>
              <a:ahLst/>
              <a:cxnLst>
                <a:cxn ang="T8">
                  <a:pos x="T0" y="T1"/>
                </a:cxn>
                <a:cxn ang="T9">
                  <a:pos x="T2" y="T3"/>
                </a:cxn>
                <a:cxn ang="T10">
                  <a:pos x="T4" y="T5"/>
                </a:cxn>
                <a:cxn ang="T11">
                  <a:pos x="T6" y="T7"/>
                </a:cxn>
              </a:cxnLst>
              <a:rect l="T12" t="T13" r="T14" b="T15"/>
              <a:pathLst>
                <a:path w="10" h="19">
                  <a:moveTo>
                    <a:pt x="0" y="0"/>
                  </a:moveTo>
                  <a:lnTo>
                    <a:pt x="10" y="19"/>
                  </a:lnTo>
                  <a:lnTo>
                    <a:pt x="2" y="12"/>
                  </a:lnTo>
                  <a:lnTo>
                    <a:pt x="0"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2" name="Freeform 1291"/>
            <p:cNvSpPr>
              <a:spLocks/>
            </p:cNvSpPr>
            <p:nvPr/>
          </p:nvSpPr>
          <p:spPr bwMode="auto">
            <a:xfrm>
              <a:off x="2734593" y="3309043"/>
              <a:ext cx="28667" cy="31842"/>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0 w 60"/>
                <a:gd name="T23" fmla="*/ 2147483647 h 74"/>
                <a:gd name="T24" fmla="*/ 2147483647 w 60"/>
                <a:gd name="T25" fmla="*/ 0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74"/>
                <a:gd name="T62" fmla="*/ 60 w 60"/>
                <a:gd name="T63" fmla="*/ 74 h 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74">
                  <a:moveTo>
                    <a:pt x="46" y="9"/>
                  </a:moveTo>
                  <a:lnTo>
                    <a:pt x="56" y="2"/>
                  </a:lnTo>
                  <a:lnTo>
                    <a:pt x="60" y="13"/>
                  </a:lnTo>
                  <a:lnTo>
                    <a:pt x="51" y="58"/>
                  </a:lnTo>
                  <a:lnTo>
                    <a:pt x="46" y="69"/>
                  </a:lnTo>
                  <a:lnTo>
                    <a:pt x="37" y="64"/>
                  </a:lnTo>
                  <a:lnTo>
                    <a:pt x="32" y="74"/>
                  </a:lnTo>
                  <a:lnTo>
                    <a:pt x="25" y="57"/>
                  </a:lnTo>
                  <a:lnTo>
                    <a:pt x="31" y="56"/>
                  </a:lnTo>
                  <a:lnTo>
                    <a:pt x="30" y="50"/>
                  </a:lnTo>
                  <a:lnTo>
                    <a:pt x="11" y="41"/>
                  </a:lnTo>
                  <a:lnTo>
                    <a:pt x="0" y="16"/>
                  </a:lnTo>
                  <a:lnTo>
                    <a:pt x="1" y="0"/>
                  </a:lnTo>
                  <a:lnTo>
                    <a:pt x="21" y="2"/>
                  </a:lnTo>
                  <a:lnTo>
                    <a:pt x="19" y="16"/>
                  </a:lnTo>
                  <a:lnTo>
                    <a:pt x="33" y="3"/>
                  </a:lnTo>
                  <a:lnTo>
                    <a:pt x="38" y="25"/>
                  </a:lnTo>
                  <a:lnTo>
                    <a:pt x="20" y="36"/>
                  </a:lnTo>
                  <a:lnTo>
                    <a:pt x="33" y="41"/>
                  </a:lnTo>
                  <a:lnTo>
                    <a:pt x="46" y="9"/>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3" name="Freeform 1292"/>
            <p:cNvSpPr>
              <a:spLocks/>
            </p:cNvSpPr>
            <p:nvPr/>
          </p:nvSpPr>
          <p:spPr bwMode="auto">
            <a:xfrm>
              <a:off x="2748926" y="3337063"/>
              <a:ext cx="22933" cy="33115"/>
            </a:xfrm>
            <a:custGeom>
              <a:avLst/>
              <a:gdLst>
                <a:gd name="T0" fmla="*/ 2147483647 w 49"/>
                <a:gd name="T1" fmla="*/ 2147483647 h 78"/>
                <a:gd name="T2" fmla="*/ 2147483647 w 49"/>
                <a:gd name="T3" fmla="*/ 2147483647 h 78"/>
                <a:gd name="T4" fmla="*/ 2147483647 w 49"/>
                <a:gd name="T5" fmla="*/ 2147483647 h 78"/>
                <a:gd name="T6" fmla="*/ 2147483647 w 49"/>
                <a:gd name="T7" fmla="*/ 2147483647 h 78"/>
                <a:gd name="T8" fmla="*/ 2147483647 w 49"/>
                <a:gd name="T9" fmla="*/ 2147483647 h 78"/>
                <a:gd name="T10" fmla="*/ 0 w 49"/>
                <a:gd name="T11" fmla="*/ 2147483647 h 78"/>
                <a:gd name="T12" fmla="*/ 2147483647 w 49"/>
                <a:gd name="T13" fmla="*/ 0 h 78"/>
                <a:gd name="T14" fmla="*/ 2147483647 w 49"/>
                <a:gd name="T15" fmla="*/ 2147483647 h 78"/>
                <a:gd name="T16" fmla="*/ 2147483647 w 49"/>
                <a:gd name="T17" fmla="*/ 2147483647 h 78"/>
                <a:gd name="T18" fmla="*/ 2147483647 w 49"/>
                <a:gd name="T19" fmla="*/ 2147483647 h 78"/>
                <a:gd name="T20" fmla="*/ 2147483647 w 49"/>
                <a:gd name="T21" fmla="*/ 2147483647 h 78"/>
                <a:gd name="T22" fmla="*/ 2147483647 w 49"/>
                <a:gd name="T23" fmla="*/ 2147483647 h 78"/>
                <a:gd name="T24" fmla="*/ 2147483647 w 49"/>
                <a:gd name="T25" fmla="*/ 2147483647 h 78"/>
                <a:gd name="T26" fmla="*/ 2147483647 w 49"/>
                <a:gd name="T27" fmla="*/ 2147483647 h 78"/>
                <a:gd name="T28" fmla="*/ 2147483647 w 49"/>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78"/>
                <a:gd name="T47" fmla="*/ 49 w 49"/>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78">
                  <a:moveTo>
                    <a:pt x="11" y="38"/>
                  </a:moveTo>
                  <a:lnTo>
                    <a:pt x="11" y="22"/>
                  </a:lnTo>
                  <a:lnTo>
                    <a:pt x="7" y="27"/>
                  </a:lnTo>
                  <a:lnTo>
                    <a:pt x="4" y="25"/>
                  </a:lnTo>
                  <a:lnTo>
                    <a:pt x="8" y="15"/>
                  </a:lnTo>
                  <a:lnTo>
                    <a:pt x="0" y="13"/>
                  </a:lnTo>
                  <a:lnTo>
                    <a:pt x="24" y="0"/>
                  </a:lnTo>
                  <a:lnTo>
                    <a:pt x="30" y="11"/>
                  </a:lnTo>
                  <a:lnTo>
                    <a:pt x="20" y="14"/>
                  </a:lnTo>
                  <a:lnTo>
                    <a:pt x="31" y="23"/>
                  </a:lnTo>
                  <a:lnTo>
                    <a:pt x="21" y="27"/>
                  </a:lnTo>
                  <a:lnTo>
                    <a:pt x="20" y="40"/>
                  </a:lnTo>
                  <a:lnTo>
                    <a:pt x="39" y="56"/>
                  </a:lnTo>
                  <a:lnTo>
                    <a:pt x="49" y="78"/>
                  </a:lnTo>
                  <a:lnTo>
                    <a:pt x="11" y="38"/>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4" name="Freeform 1293"/>
            <p:cNvSpPr>
              <a:spLocks/>
            </p:cNvSpPr>
            <p:nvPr/>
          </p:nvSpPr>
          <p:spPr bwMode="auto">
            <a:xfrm>
              <a:off x="2783327" y="3311586"/>
              <a:ext cx="8600" cy="7642"/>
            </a:xfrm>
            <a:custGeom>
              <a:avLst/>
              <a:gdLst>
                <a:gd name="T0" fmla="*/ 0 w 16"/>
                <a:gd name="T1" fmla="*/ 2147483647 h 18"/>
                <a:gd name="T2" fmla="*/ 2147483647 w 16"/>
                <a:gd name="T3" fmla="*/ 0 h 18"/>
                <a:gd name="T4" fmla="*/ 2147483647 w 16"/>
                <a:gd name="T5" fmla="*/ 2147483647 h 18"/>
                <a:gd name="T6" fmla="*/ 2147483647 w 16"/>
                <a:gd name="T7" fmla="*/ 2147483647 h 18"/>
                <a:gd name="T8" fmla="*/ 0 w 16"/>
                <a:gd name="T9" fmla="*/ 2147483647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0"/>
                  </a:moveTo>
                  <a:lnTo>
                    <a:pt x="9" y="0"/>
                  </a:lnTo>
                  <a:lnTo>
                    <a:pt x="16" y="12"/>
                  </a:lnTo>
                  <a:lnTo>
                    <a:pt x="12" y="18"/>
                  </a:lnTo>
                  <a:lnTo>
                    <a:pt x="0" y="1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5" name="Freeform 1294"/>
            <p:cNvSpPr>
              <a:spLocks/>
            </p:cNvSpPr>
            <p:nvPr/>
          </p:nvSpPr>
          <p:spPr bwMode="auto">
            <a:xfrm>
              <a:off x="2786193" y="3325596"/>
              <a:ext cx="14334" cy="14011"/>
            </a:xfrm>
            <a:custGeom>
              <a:avLst/>
              <a:gdLst>
                <a:gd name="T0" fmla="*/ 0 w 30"/>
                <a:gd name="T1" fmla="*/ 0 h 33"/>
                <a:gd name="T2" fmla="*/ 2147483647 w 30"/>
                <a:gd name="T3" fmla="*/ 2147483647 h 33"/>
                <a:gd name="T4" fmla="*/ 2147483647 w 30"/>
                <a:gd name="T5" fmla="*/ 2147483647 h 33"/>
                <a:gd name="T6" fmla="*/ 0 w 30"/>
                <a:gd name="T7" fmla="*/ 0 h 33"/>
                <a:gd name="T8" fmla="*/ 0 60000 65536"/>
                <a:gd name="T9" fmla="*/ 0 60000 65536"/>
                <a:gd name="T10" fmla="*/ 0 60000 65536"/>
                <a:gd name="T11" fmla="*/ 0 60000 65536"/>
                <a:gd name="T12" fmla="*/ 0 w 30"/>
                <a:gd name="T13" fmla="*/ 0 h 33"/>
                <a:gd name="T14" fmla="*/ 30 w 30"/>
                <a:gd name="T15" fmla="*/ 33 h 33"/>
              </a:gdLst>
              <a:ahLst/>
              <a:cxnLst>
                <a:cxn ang="T8">
                  <a:pos x="T0" y="T1"/>
                </a:cxn>
                <a:cxn ang="T9">
                  <a:pos x="T2" y="T3"/>
                </a:cxn>
                <a:cxn ang="T10">
                  <a:pos x="T4" y="T5"/>
                </a:cxn>
                <a:cxn ang="T11">
                  <a:pos x="T6" y="T7"/>
                </a:cxn>
              </a:cxnLst>
              <a:rect l="T12" t="T13" r="T14" b="T15"/>
              <a:pathLst>
                <a:path w="30" h="33">
                  <a:moveTo>
                    <a:pt x="0" y="0"/>
                  </a:moveTo>
                  <a:lnTo>
                    <a:pt x="21" y="11"/>
                  </a:lnTo>
                  <a:lnTo>
                    <a:pt x="30" y="33"/>
                  </a:lnTo>
                  <a:lnTo>
                    <a:pt x="0"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6" name="Freeform 1295"/>
            <p:cNvSpPr>
              <a:spLocks/>
            </p:cNvSpPr>
            <p:nvPr/>
          </p:nvSpPr>
          <p:spPr bwMode="auto">
            <a:xfrm>
              <a:off x="2791927" y="3317954"/>
              <a:ext cx="17201" cy="21653"/>
            </a:xfrm>
            <a:custGeom>
              <a:avLst/>
              <a:gdLst>
                <a:gd name="T0" fmla="*/ 2147483647 w 32"/>
                <a:gd name="T1" fmla="*/ 2147483647 h 49"/>
                <a:gd name="T2" fmla="*/ 2147483647 w 32"/>
                <a:gd name="T3" fmla="*/ 2147483647 h 49"/>
                <a:gd name="T4" fmla="*/ 2147483647 w 32"/>
                <a:gd name="T5" fmla="*/ 2147483647 h 49"/>
                <a:gd name="T6" fmla="*/ 2147483647 w 32"/>
                <a:gd name="T7" fmla="*/ 2147483647 h 49"/>
                <a:gd name="T8" fmla="*/ 0 w 32"/>
                <a:gd name="T9" fmla="*/ 2147483647 h 49"/>
                <a:gd name="T10" fmla="*/ 2147483647 w 32"/>
                <a:gd name="T11" fmla="*/ 0 h 49"/>
                <a:gd name="T12" fmla="*/ 2147483647 w 32"/>
                <a:gd name="T13" fmla="*/ 2147483647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18" y="17"/>
                  </a:moveTo>
                  <a:lnTo>
                    <a:pt x="32" y="32"/>
                  </a:lnTo>
                  <a:lnTo>
                    <a:pt x="29" y="49"/>
                  </a:lnTo>
                  <a:lnTo>
                    <a:pt x="8" y="9"/>
                  </a:lnTo>
                  <a:lnTo>
                    <a:pt x="0" y="3"/>
                  </a:lnTo>
                  <a:lnTo>
                    <a:pt x="4" y="0"/>
                  </a:lnTo>
                  <a:lnTo>
                    <a:pt x="18" y="17"/>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7" name="Freeform 1296"/>
            <p:cNvSpPr>
              <a:spLocks/>
            </p:cNvSpPr>
            <p:nvPr/>
          </p:nvSpPr>
          <p:spPr bwMode="auto">
            <a:xfrm>
              <a:off x="2813425" y="3349796"/>
              <a:ext cx="4300" cy="8915"/>
            </a:xfrm>
            <a:custGeom>
              <a:avLst/>
              <a:gdLst>
                <a:gd name="T0" fmla="*/ 2147483647 w 10"/>
                <a:gd name="T1" fmla="*/ 0 h 22"/>
                <a:gd name="T2" fmla="*/ 2147483647 w 10"/>
                <a:gd name="T3" fmla="*/ 2147483647 h 22"/>
                <a:gd name="T4" fmla="*/ 0 w 10"/>
                <a:gd name="T5" fmla="*/ 2147483647 h 22"/>
                <a:gd name="T6" fmla="*/ 2147483647 w 10"/>
                <a:gd name="T7" fmla="*/ 0 h 22"/>
                <a:gd name="T8" fmla="*/ 0 60000 65536"/>
                <a:gd name="T9" fmla="*/ 0 60000 65536"/>
                <a:gd name="T10" fmla="*/ 0 60000 65536"/>
                <a:gd name="T11" fmla="*/ 0 60000 65536"/>
                <a:gd name="T12" fmla="*/ 0 w 10"/>
                <a:gd name="T13" fmla="*/ 0 h 22"/>
                <a:gd name="T14" fmla="*/ 10 w 10"/>
                <a:gd name="T15" fmla="*/ 22 h 22"/>
              </a:gdLst>
              <a:ahLst/>
              <a:cxnLst>
                <a:cxn ang="T8">
                  <a:pos x="T0" y="T1"/>
                </a:cxn>
                <a:cxn ang="T9">
                  <a:pos x="T2" y="T3"/>
                </a:cxn>
                <a:cxn ang="T10">
                  <a:pos x="T4" y="T5"/>
                </a:cxn>
                <a:cxn ang="T11">
                  <a:pos x="T6" y="T7"/>
                </a:cxn>
              </a:cxnLst>
              <a:rect l="T12" t="T13" r="T14" b="T15"/>
              <a:pathLst>
                <a:path w="10" h="22">
                  <a:moveTo>
                    <a:pt x="1" y="0"/>
                  </a:moveTo>
                  <a:lnTo>
                    <a:pt x="10" y="22"/>
                  </a:lnTo>
                  <a:lnTo>
                    <a:pt x="0" y="7"/>
                  </a:lnTo>
                  <a:lnTo>
                    <a:pt x="1" y="0"/>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8" name="Freeform 1316"/>
            <p:cNvSpPr>
              <a:spLocks/>
            </p:cNvSpPr>
            <p:nvPr/>
          </p:nvSpPr>
          <p:spPr bwMode="auto">
            <a:xfrm>
              <a:off x="4031765" y="3386731"/>
              <a:ext cx="14334" cy="12737"/>
            </a:xfrm>
            <a:custGeom>
              <a:avLst/>
              <a:gdLst>
                <a:gd name="T0" fmla="*/ 2147483647 w 31"/>
                <a:gd name="T1" fmla="*/ 2147483647 h 32"/>
                <a:gd name="T2" fmla="*/ 2147483647 w 31"/>
                <a:gd name="T3" fmla="*/ 2147483647 h 32"/>
                <a:gd name="T4" fmla="*/ 2147483647 w 31"/>
                <a:gd name="T5" fmla="*/ 2147483647 h 32"/>
                <a:gd name="T6" fmla="*/ 2147483647 w 31"/>
                <a:gd name="T7" fmla="*/ 2147483647 h 32"/>
                <a:gd name="T8" fmla="*/ 2147483647 w 31"/>
                <a:gd name="T9" fmla="*/ 2147483647 h 32"/>
                <a:gd name="T10" fmla="*/ 2147483647 w 31"/>
                <a:gd name="T11" fmla="*/ 2147483647 h 32"/>
                <a:gd name="T12" fmla="*/ 2147483647 w 31"/>
                <a:gd name="T13" fmla="*/ 2147483647 h 32"/>
                <a:gd name="T14" fmla="*/ 2147483647 w 31"/>
                <a:gd name="T15" fmla="*/ 2147483647 h 32"/>
                <a:gd name="T16" fmla="*/ 2147483647 w 31"/>
                <a:gd name="T17" fmla="*/ 0 h 32"/>
                <a:gd name="T18" fmla="*/ 2147483647 w 31"/>
                <a:gd name="T19" fmla="*/ 2147483647 h 32"/>
                <a:gd name="T20" fmla="*/ 0 w 31"/>
                <a:gd name="T21" fmla="*/ 2147483647 h 32"/>
                <a:gd name="T22" fmla="*/ 2147483647 w 31"/>
                <a:gd name="T23" fmla="*/ 2147483647 h 32"/>
                <a:gd name="T24" fmla="*/ 2147483647 w 31"/>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32"/>
                <a:gd name="T41" fmla="*/ 31 w 31"/>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32">
                  <a:moveTo>
                    <a:pt x="20" y="32"/>
                  </a:moveTo>
                  <a:lnTo>
                    <a:pt x="31" y="22"/>
                  </a:lnTo>
                  <a:lnTo>
                    <a:pt x="25" y="19"/>
                  </a:lnTo>
                  <a:lnTo>
                    <a:pt x="23" y="9"/>
                  </a:lnTo>
                  <a:lnTo>
                    <a:pt x="29" y="12"/>
                  </a:lnTo>
                  <a:lnTo>
                    <a:pt x="28" y="18"/>
                  </a:lnTo>
                  <a:lnTo>
                    <a:pt x="31" y="17"/>
                  </a:lnTo>
                  <a:lnTo>
                    <a:pt x="30" y="6"/>
                  </a:lnTo>
                  <a:lnTo>
                    <a:pt x="23" y="0"/>
                  </a:lnTo>
                  <a:lnTo>
                    <a:pt x="7" y="3"/>
                  </a:lnTo>
                  <a:lnTo>
                    <a:pt x="0" y="15"/>
                  </a:lnTo>
                  <a:lnTo>
                    <a:pt x="3" y="24"/>
                  </a:lnTo>
                  <a:lnTo>
                    <a:pt x="20" y="32"/>
                  </a:lnTo>
                  <a:close/>
                </a:path>
              </a:pathLst>
            </a:custGeom>
            <a:grpFill/>
            <a:ln w="6350">
              <a:solidFill>
                <a:schemeClr val="accent5"/>
              </a:solidFill>
              <a:round/>
              <a:headEnd/>
              <a:tailEnd/>
            </a:ln>
          </p:spPr>
          <p:txBody>
            <a:bodyPr/>
            <a:lstStyle/>
            <a:p>
              <a:endParaRPr lang="en-US">
                <a:latin typeface="Arial" panose="020B0604020202020204" pitchFamily="34" charset="0"/>
                <a:cs typeface="Arial" panose="020B0604020202020204" pitchFamily="34" charset="0"/>
              </a:endParaRPr>
            </a:p>
          </p:txBody>
        </p:sp>
        <p:sp>
          <p:nvSpPr>
            <p:cNvPr id="259" name="Line 347"/>
            <p:cNvSpPr>
              <a:spLocks noChangeShapeType="1"/>
            </p:cNvSpPr>
            <p:nvPr/>
          </p:nvSpPr>
          <p:spPr bwMode="auto">
            <a:xfrm flipV="1">
              <a:off x="3887000" y="3367627"/>
              <a:ext cx="143334" cy="170670"/>
            </a:xfrm>
            <a:prstGeom prst="line">
              <a:avLst/>
            </a:prstGeom>
            <a:grpFill/>
            <a:ln w="12700">
              <a:solidFill>
                <a:schemeClr val="accent5"/>
              </a:solidFill>
              <a:round/>
              <a:headEnd type="none" w="sm" len="sm"/>
              <a:tailEnd type="none" w="sm" len="sm"/>
            </a:ln>
          </p:spPr>
          <p:txBody>
            <a:bodyPr>
              <a:spAutoFit/>
            </a:bodyPr>
            <a:lstStyle/>
            <a:p>
              <a:endParaRPr lang="en-US">
                <a:latin typeface="Arial" panose="020B0604020202020204" pitchFamily="34" charset="0"/>
                <a:cs typeface="Arial" panose="020B0604020202020204" pitchFamily="34" charset="0"/>
              </a:endParaRPr>
            </a:p>
          </p:txBody>
        </p:sp>
        <p:sp>
          <p:nvSpPr>
            <p:cNvPr id="260" name="Line 386"/>
            <p:cNvSpPr>
              <a:spLocks noChangeShapeType="1"/>
            </p:cNvSpPr>
            <p:nvPr/>
          </p:nvSpPr>
          <p:spPr bwMode="auto">
            <a:xfrm flipH="1" flipV="1">
              <a:off x="3714994" y="3343431"/>
              <a:ext cx="60200" cy="226711"/>
            </a:xfrm>
            <a:prstGeom prst="line">
              <a:avLst/>
            </a:prstGeom>
            <a:grpFill/>
            <a:ln w="12700">
              <a:solidFill>
                <a:schemeClr val="accent5"/>
              </a:solidFill>
              <a:round/>
              <a:headEnd type="none" w="sm" len="sm"/>
              <a:tailEnd type="none" w="sm" len="sm"/>
            </a:ln>
          </p:spPr>
          <p:txBody>
            <a:bodyPr>
              <a:spAutoFit/>
            </a:bodyPr>
            <a:lstStyle/>
            <a:p>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82279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1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2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2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2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2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2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32" grpId="0"/>
      <p:bldP spid="36" grpId="0"/>
      <p:bldP spid="37" grpId="0"/>
      <p:bldP spid="105" grpId="0" animBg="1"/>
      <p:bldP spid="107" grpId="0"/>
      <p:bldP spid="108" grpId="0"/>
      <p:bldP spid="109" grpId="0"/>
      <p:bldP spid="110" grpId="0" animBg="1"/>
      <p:bldP spid="112" grpId="0"/>
      <p:bldP spid="113" grpId="0"/>
      <p:bldP spid="114" grpId="0"/>
      <p:bldP spid="115" grpId="0" animBg="1"/>
      <p:bldP spid="40" grpId="0"/>
      <p:bldP spid="118" grpId="0"/>
      <p:bldP spid="119" grpId="0"/>
      <p:bldP spid="121" grpId="0"/>
      <p:bldP spid="123" grpId="0"/>
      <p:bldP spid="125" grpId="0"/>
      <p:bldP spid="126" grpId="0" animBg="1"/>
      <p:bldP spid="127" grpId="0" animBg="1"/>
      <p:bldP spid="1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C2144585-284C-0845-9FB5-FA8E1E7FE893}"/>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59CFFFE3-E9FC-0846-BB5E-4E7876D82757}"/>
              </a:ext>
            </a:extLst>
          </p:cNvPr>
          <p:cNvSpPr>
            <a:spLocks noGrp="1"/>
          </p:cNvSpPr>
          <p:nvPr>
            <p:ph type="body" sz="quarter" idx="15"/>
          </p:nvPr>
        </p:nvSpPr>
        <p:spPr/>
        <p:txBody>
          <a:bodyPr/>
          <a:lstStyle/>
          <a:p>
            <a:endParaRPr lang="da-DK"/>
          </a:p>
        </p:txBody>
      </p:sp>
      <p:sp>
        <p:nvSpPr>
          <p:cNvPr id="4" name="Titel 3">
            <a:extLst>
              <a:ext uri="{FF2B5EF4-FFF2-40B4-BE49-F238E27FC236}">
                <a16:creationId xmlns:a16="http://schemas.microsoft.com/office/drawing/2014/main" id="{CFF103FF-197A-8B4F-A1E6-F805B33A3D49}"/>
              </a:ext>
            </a:extLst>
          </p:cNvPr>
          <p:cNvSpPr>
            <a:spLocks noGrp="1"/>
          </p:cNvSpPr>
          <p:nvPr>
            <p:ph type="title"/>
          </p:nvPr>
        </p:nvSpPr>
        <p:spPr/>
        <p:txBody>
          <a:bodyPr/>
          <a:lstStyle/>
          <a:p>
            <a:r>
              <a:rPr lang="da-DK" dirty="0"/>
              <a:t>Data </a:t>
            </a:r>
            <a:r>
              <a:rPr lang="da-DK" dirty="0" err="1"/>
              <a:t>analysis</a:t>
            </a:r>
            <a:endParaRPr lang="da-DK" dirty="0"/>
          </a:p>
        </p:txBody>
      </p:sp>
    </p:spTree>
    <p:extLst>
      <p:ext uri="{BB962C8B-B14F-4D97-AF65-F5344CB8AC3E}">
        <p14:creationId xmlns:p14="http://schemas.microsoft.com/office/powerpoint/2010/main" val="15008225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294968" y="1120877"/>
            <a:ext cx="12816349" cy="461624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felt 5"/>
          <p:cNvSpPr txBox="1"/>
          <p:nvPr/>
        </p:nvSpPr>
        <p:spPr>
          <a:xfrm>
            <a:off x="1993692" y="2896523"/>
            <a:ext cx="4750018" cy="1200329"/>
          </a:xfrm>
          <a:prstGeom prst="rect">
            <a:avLst/>
          </a:prstGeom>
          <a:noFill/>
        </p:spPr>
        <p:txBody>
          <a:bodyPr wrap="none" rtlCol="0">
            <a:spAutoFit/>
          </a:bodyPr>
          <a:lstStyle/>
          <a:p>
            <a:r>
              <a:rPr lang="da-DK" sz="7200" dirty="0" err="1">
                <a:solidFill>
                  <a:schemeClr val="bg1"/>
                </a:solidFill>
              </a:rPr>
              <a:t>Risk</a:t>
            </a:r>
            <a:r>
              <a:rPr lang="da-DK" sz="7200" dirty="0">
                <a:solidFill>
                  <a:schemeClr val="bg1"/>
                </a:solidFill>
              </a:rPr>
              <a:t> Slides</a:t>
            </a:r>
          </a:p>
        </p:txBody>
      </p:sp>
    </p:spTree>
    <p:extLst>
      <p:ext uri="{BB962C8B-B14F-4D97-AF65-F5344CB8AC3E}">
        <p14:creationId xmlns:p14="http://schemas.microsoft.com/office/powerpoint/2010/main" val="40029118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baseline="30000" dirty="0"/>
              <a:t>1</a:t>
            </a:r>
            <a:r>
              <a:rPr lang="en-US" dirty="0"/>
              <a:t>) Impact is measured as how much the risk affects the outcome</a:t>
            </a:r>
          </a:p>
        </p:txBody>
      </p:sp>
      <p:sp>
        <p:nvSpPr>
          <p:cNvPr id="4" name="Text Placeholder 3"/>
          <p:cNvSpPr>
            <a:spLocks noGrp="1"/>
          </p:cNvSpPr>
          <p:nvPr>
            <p:ph type="body" sz="quarter" idx="15"/>
          </p:nvPr>
        </p:nvSpPr>
        <p:spPr/>
        <p:txBody>
          <a:bodyPr/>
          <a:lstStyle/>
          <a:p>
            <a:r>
              <a:rPr lang="en-US" dirty="0"/>
              <a:t>Team Analysis</a:t>
            </a:r>
          </a:p>
        </p:txBody>
      </p:sp>
      <p:sp>
        <p:nvSpPr>
          <p:cNvPr id="2" name="Title 1"/>
          <p:cNvSpPr>
            <a:spLocks noGrp="1"/>
          </p:cNvSpPr>
          <p:nvPr>
            <p:ph type="title"/>
          </p:nvPr>
        </p:nvSpPr>
        <p:spPr/>
        <p:txBody>
          <a:bodyPr/>
          <a:lstStyle/>
          <a:p>
            <a:r>
              <a:rPr lang="en-US" dirty="0"/>
              <a:t>Several risks and challenges have been identified and potential mitigation strategies suggested </a:t>
            </a:r>
          </a:p>
        </p:txBody>
      </p:sp>
      <p:grpSp>
        <p:nvGrpSpPr>
          <p:cNvPr id="12" name="Group 11"/>
          <p:cNvGrpSpPr/>
          <p:nvPr/>
        </p:nvGrpSpPr>
        <p:grpSpPr>
          <a:xfrm>
            <a:off x="4435823" y="1285043"/>
            <a:ext cx="1692531" cy="217240"/>
            <a:chOff x="481593" y="975341"/>
            <a:chExt cx="1833576" cy="235343"/>
          </a:xfrm>
        </p:grpSpPr>
        <p:cxnSp>
          <p:nvCxnSpPr>
            <p:cNvPr id="13" name="Lige forbindelse 17"/>
            <p:cNvCxnSpPr/>
            <p:nvPr>
              <p:custDataLst>
                <p:tags r:id="rId5"/>
              </p:custDataLst>
            </p:nvPr>
          </p:nvCxnSpPr>
          <p:spPr bwMode="auto">
            <a:xfrm flipV="1">
              <a:off x="482168" y="1208888"/>
              <a:ext cx="1833001" cy="1796"/>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14" name="Rectangle 3"/>
            <p:cNvSpPr txBox="1">
              <a:spLocks noChangeArrowheads="1"/>
            </p:cNvSpPr>
            <p:nvPr>
              <p:custDataLst>
                <p:tags r:id="rId6"/>
              </p:custDataLst>
            </p:nvPr>
          </p:nvSpPr>
          <p:spPr bwMode="auto">
            <a:xfrm>
              <a:off x="481593" y="975341"/>
              <a:ext cx="1740770" cy="1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lgn="l" eaLnBrk="0" hangingPunct="0">
                <a:spcBef>
                  <a:spcPct val="50000"/>
                </a:spcBef>
                <a:buFont typeface="Verdana" pitchFamily="34" charset="0"/>
                <a:defRPr sz="1600">
                  <a:solidFill>
                    <a:schemeClr val="tx1"/>
                  </a:solidFill>
                  <a:latin typeface="Verdana" pitchFamily="34" charset="0"/>
                </a:defRPr>
              </a:lvl1pPr>
              <a:lvl2pPr marL="136525" indent="-134938" algn="l" eaLnBrk="0" hangingPunct="0">
                <a:spcBef>
                  <a:spcPct val="50000"/>
                </a:spcBef>
                <a:buFont typeface="Verdana" pitchFamily="34" charset="0"/>
                <a:buChar char="•"/>
                <a:defRPr sz="1600">
                  <a:solidFill>
                    <a:schemeClr val="tx1"/>
                  </a:solidFill>
                  <a:latin typeface="Verdana" pitchFamily="34" charset="0"/>
                </a:defRPr>
              </a:lvl2pPr>
              <a:lvl3pPr marL="285750" indent="-147638" algn="l" eaLnBrk="0" hangingPunct="0">
                <a:spcBef>
                  <a:spcPct val="50000"/>
                </a:spcBef>
                <a:buFont typeface="Verdana" pitchFamily="34" charset="0"/>
                <a:buChar char="•"/>
                <a:defRPr sz="1600">
                  <a:solidFill>
                    <a:schemeClr val="tx1"/>
                  </a:solidFill>
                  <a:latin typeface="Verdana" pitchFamily="34" charset="0"/>
                </a:defRPr>
              </a:lvl3pPr>
              <a:lvl4pPr marL="422275" indent="-134938" algn="l" eaLnBrk="0" hangingPunct="0">
                <a:spcBef>
                  <a:spcPct val="50000"/>
                </a:spcBef>
                <a:buFont typeface="Verdana" pitchFamily="34" charset="0"/>
                <a:buChar char="•"/>
                <a:defRPr sz="1600">
                  <a:solidFill>
                    <a:schemeClr val="tx1"/>
                  </a:solidFill>
                  <a:latin typeface="Verdana" pitchFamily="34" charset="0"/>
                </a:defRPr>
              </a:lvl4pPr>
              <a:lvl5pPr marL="571500" indent="-147638" algn="l" eaLnBrk="0" hangingPunct="0">
                <a:spcBef>
                  <a:spcPct val="50000"/>
                </a:spcBef>
                <a:buFont typeface="Verdana" pitchFamily="34" charset="0"/>
                <a:buChar char="•"/>
                <a:defRPr sz="1600">
                  <a:solidFill>
                    <a:schemeClr val="tx1"/>
                  </a:solidFill>
                  <a:latin typeface="Verdana" pitchFamily="34" charset="0"/>
                </a:defRPr>
              </a:lvl5pPr>
              <a:lvl6pPr marL="10287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6pPr>
              <a:lvl7pPr marL="14859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7pPr>
              <a:lvl8pPr marL="19431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8pPr>
              <a:lvl9pPr marL="24003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9pPr>
            </a:lstStyle>
            <a:p>
              <a:pPr algn="ctr" defTabSz="844083" eaLnBrk="1" hangingPunct="1">
                <a:spcBef>
                  <a:spcPct val="0"/>
                </a:spcBef>
                <a:defRPr/>
              </a:pPr>
              <a:r>
                <a:rPr lang="en-US" altLang="en-US" sz="1108" b="1" kern="0" dirty="0">
                  <a:latin typeface="+mn-lt"/>
                </a:rPr>
                <a:t>Risk</a:t>
              </a:r>
              <a:endParaRPr lang="en-US" altLang="en-US" sz="1108" kern="0" dirty="0">
                <a:latin typeface="+mn-lt"/>
              </a:endParaRPr>
            </a:p>
          </p:txBody>
        </p:sp>
      </p:grpSp>
      <p:sp>
        <p:nvSpPr>
          <p:cNvPr id="15" name="Rectangle 14"/>
          <p:cNvSpPr/>
          <p:nvPr/>
        </p:nvSpPr>
        <p:spPr>
          <a:xfrm>
            <a:off x="4519942" y="1668986"/>
            <a:ext cx="1524293" cy="691109"/>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vert="horz" lIns="58896" tIns="58896" rIns="58896" bIns="88342" spcCol="0" rtlCol="0" anchor="ctr" anchorCtr="0">
            <a:noAutofit/>
          </a:bodyPr>
          <a:lstStyle/>
          <a:p>
            <a:pPr algn="ctr">
              <a:lnSpc>
                <a:spcPct val="90000"/>
              </a:lnSpc>
              <a:spcBef>
                <a:spcPts val="328"/>
              </a:spcBef>
            </a:pPr>
            <a:r>
              <a:rPr lang="da-DK" sz="1000" b="1" dirty="0" err="1">
                <a:solidFill>
                  <a:srgbClr val="FFFFFF"/>
                </a:solidFill>
              </a:rPr>
              <a:t>Partnership</a:t>
            </a:r>
            <a:r>
              <a:rPr lang="da-DK" sz="1000" b="1" dirty="0">
                <a:solidFill>
                  <a:srgbClr val="FFFFFF"/>
                </a:solidFill>
              </a:rPr>
              <a:t> </a:t>
            </a:r>
            <a:r>
              <a:rPr lang="da-DK" sz="1000" b="1" dirty="0" err="1">
                <a:solidFill>
                  <a:srgbClr val="FFFFFF"/>
                </a:solidFill>
              </a:rPr>
              <a:t>fails</a:t>
            </a:r>
            <a:endParaRPr lang="en-US" sz="1000" b="1" dirty="0">
              <a:solidFill>
                <a:srgbClr val="FFFFFF"/>
              </a:solidFill>
            </a:endParaRPr>
          </a:p>
        </p:txBody>
      </p:sp>
      <p:sp>
        <p:nvSpPr>
          <p:cNvPr id="16" name="Oval 15"/>
          <p:cNvSpPr/>
          <p:nvPr/>
        </p:nvSpPr>
        <p:spPr bwMode="auto">
          <a:xfrm>
            <a:off x="4435968" y="1581945"/>
            <a:ext cx="288000" cy="288000"/>
          </a:xfrm>
          <a:prstGeom prst="ellipse">
            <a:avLst/>
          </a:prstGeom>
          <a:solidFill>
            <a:schemeClr val="tx1">
              <a:lumMod val="75000"/>
              <a:lumOff val="25000"/>
            </a:schemeClr>
          </a:solidFill>
          <a:ln w="38100" cmpd="sng">
            <a:solidFill>
              <a:schemeClr val="bg1"/>
            </a:solid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lgn="l"/>
            <a:r>
              <a:rPr lang="en-US" sz="1100" b="1" dirty="0">
                <a:solidFill>
                  <a:srgbClr val="FFFFFF"/>
                </a:solidFill>
              </a:rPr>
              <a:t>1</a:t>
            </a:r>
          </a:p>
        </p:txBody>
      </p:sp>
      <p:sp>
        <p:nvSpPr>
          <p:cNvPr id="17" name="Rectangle 15"/>
          <p:cNvSpPr/>
          <p:nvPr/>
        </p:nvSpPr>
        <p:spPr>
          <a:xfrm>
            <a:off x="4525577" y="2559693"/>
            <a:ext cx="1513020" cy="691109"/>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vert="horz" lIns="58896" tIns="58896" rIns="58896" bIns="88342" spcCol="0" rtlCol="0" anchor="ctr" anchorCtr="0">
            <a:noAutofit/>
          </a:bodyPr>
          <a:lstStyle/>
          <a:p>
            <a:pPr algn="ctr">
              <a:lnSpc>
                <a:spcPct val="90000"/>
              </a:lnSpc>
              <a:spcBef>
                <a:spcPts val="328"/>
              </a:spcBef>
            </a:pPr>
            <a:r>
              <a:rPr lang="da-DK" sz="1000" b="1" dirty="0">
                <a:solidFill>
                  <a:srgbClr val="FFFFFF"/>
                </a:solidFill>
              </a:rPr>
              <a:t>Support </a:t>
            </a:r>
            <a:r>
              <a:rPr lang="da-DK" sz="1000" b="1" dirty="0" err="1">
                <a:solidFill>
                  <a:srgbClr val="FFFFFF"/>
                </a:solidFill>
              </a:rPr>
              <a:t>confusion</a:t>
            </a:r>
            <a:endParaRPr lang="en-US" sz="1000" b="1" dirty="0">
              <a:solidFill>
                <a:srgbClr val="FFFFFF"/>
              </a:solidFill>
            </a:endParaRPr>
          </a:p>
        </p:txBody>
      </p:sp>
      <p:sp>
        <p:nvSpPr>
          <p:cNvPr id="18" name="Oval 17"/>
          <p:cNvSpPr/>
          <p:nvPr/>
        </p:nvSpPr>
        <p:spPr bwMode="auto">
          <a:xfrm>
            <a:off x="4435968" y="2472652"/>
            <a:ext cx="288000" cy="288000"/>
          </a:xfrm>
          <a:prstGeom prst="ellipse">
            <a:avLst/>
          </a:prstGeom>
          <a:solidFill>
            <a:schemeClr val="tx1">
              <a:lumMod val="75000"/>
              <a:lumOff val="25000"/>
            </a:schemeClr>
          </a:solidFill>
          <a:ln w="38100" cmpd="sng">
            <a:solidFill>
              <a:schemeClr val="bg1"/>
            </a:solid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lgn="l"/>
            <a:r>
              <a:rPr lang="da-DK" sz="1100" b="1" dirty="0">
                <a:solidFill>
                  <a:srgbClr val="FFFFFF"/>
                </a:solidFill>
              </a:rPr>
              <a:t>2</a:t>
            </a:r>
            <a:endParaRPr lang="en-US" sz="1100" b="1" dirty="0">
              <a:solidFill>
                <a:srgbClr val="FFFFFF"/>
              </a:solidFill>
            </a:endParaRPr>
          </a:p>
        </p:txBody>
      </p:sp>
      <p:sp>
        <p:nvSpPr>
          <p:cNvPr id="19" name="Rectangle 15"/>
          <p:cNvSpPr/>
          <p:nvPr/>
        </p:nvSpPr>
        <p:spPr>
          <a:xfrm>
            <a:off x="4525579" y="3450402"/>
            <a:ext cx="1513019" cy="691110"/>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vert="horz" lIns="58896" tIns="58896" rIns="58896" bIns="88342" spcCol="0" rtlCol="0" anchor="ctr" anchorCtr="0">
            <a:noAutofit/>
          </a:bodyPr>
          <a:lstStyle/>
          <a:p>
            <a:pPr algn="ctr">
              <a:lnSpc>
                <a:spcPct val="90000"/>
              </a:lnSpc>
              <a:spcBef>
                <a:spcPts val="328"/>
              </a:spcBef>
            </a:pPr>
            <a:r>
              <a:rPr lang="da-DK" sz="1000" b="1" dirty="0">
                <a:solidFill>
                  <a:srgbClr val="FFFFFF"/>
                </a:solidFill>
              </a:rPr>
              <a:t>Word of </a:t>
            </a:r>
            <a:r>
              <a:rPr lang="da-DK" sz="1000" b="1" dirty="0" err="1">
                <a:solidFill>
                  <a:srgbClr val="FFFFFF"/>
                </a:solidFill>
              </a:rPr>
              <a:t>mouth</a:t>
            </a:r>
            <a:r>
              <a:rPr lang="da-DK" sz="1000" b="1" dirty="0">
                <a:solidFill>
                  <a:srgbClr val="FFFFFF"/>
                </a:solidFill>
              </a:rPr>
              <a:t> not sufficient</a:t>
            </a:r>
            <a:endParaRPr lang="en-US" sz="1000" b="1" dirty="0">
              <a:solidFill>
                <a:srgbClr val="FFFFFF"/>
              </a:solidFill>
            </a:endParaRPr>
          </a:p>
        </p:txBody>
      </p:sp>
      <p:sp>
        <p:nvSpPr>
          <p:cNvPr id="20" name="Oval 19"/>
          <p:cNvSpPr/>
          <p:nvPr/>
        </p:nvSpPr>
        <p:spPr bwMode="auto">
          <a:xfrm>
            <a:off x="4369293" y="3323171"/>
            <a:ext cx="288000" cy="288000"/>
          </a:xfrm>
          <a:prstGeom prst="ellipse">
            <a:avLst/>
          </a:prstGeom>
          <a:solidFill>
            <a:schemeClr val="tx1">
              <a:lumMod val="75000"/>
              <a:lumOff val="25000"/>
            </a:schemeClr>
          </a:solidFill>
          <a:ln w="38100" cmpd="sng">
            <a:solidFill>
              <a:schemeClr val="bg1"/>
            </a:solid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lgn="l"/>
            <a:r>
              <a:rPr lang="da-DK" sz="1100" b="1" dirty="0">
                <a:solidFill>
                  <a:srgbClr val="FFFFFF"/>
                </a:solidFill>
              </a:rPr>
              <a:t>6</a:t>
            </a:r>
            <a:endParaRPr lang="en-US" sz="1100" b="1" dirty="0">
              <a:solidFill>
                <a:srgbClr val="FFFFFF"/>
              </a:solidFill>
            </a:endParaRPr>
          </a:p>
        </p:txBody>
      </p:sp>
      <p:sp>
        <p:nvSpPr>
          <p:cNvPr id="21" name="Rectangle 20"/>
          <p:cNvSpPr/>
          <p:nvPr/>
        </p:nvSpPr>
        <p:spPr>
          <a:xfrm>
            <a:off x="4519942" y="4341108"/>
            <a:ext cx="1524293" cy="691109"/>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vert="horz" lIns="58896" tIns="58896" rIns="58896" bIns="88342" spcCol="0" rtlCol="0" anchor="ctr" anchorCtr="0">
            <a:noAutofit/>
          </a:bodyPr>
          <a:lstStyle/>
          <a:p>
            <a:pPr algn="ctr">
              <a:lnSpc>
                <a:spcPct val="90000"/>
              </a:lnSpc>
              <a:spcBef>
                <a:spcPts val="328"/>
              </a:spcBef>
            </a:pPr>
            <a:r>
              <a:rPr lang="da-DK" sz="1000" b="1" dirty="0">
                <a:solidFill>
                  <a:srgbClr val="FFFFFF"/>
                </a:solidFill>
              </a:rPr>
              <a:t>OTT </a:t>
            </a:r>
            <a:r>
              <a:rPr lang="da-DK" sz="1000" b="1" dirty="0" err="1">
                <a:solidFill>
                  <a:srgbClr val="FFFFFF"/>
                </a:solidFill>
              </a:rPr>
              <a:t>threatens</a:t>
            </a:r>
            <a:r>
              <a:rPr lang="da-DK" sz="1000" b="1" dirty="0">
                <a:solidFill>
                  <a:srgbClr val="FFFFFF"/>
                </a:solidFill>
              </a:rPr>
              <a:t> One-Stop-Shop</a:t>
            </a:r>
            <a:endParaRPr lang="en-US" sz="1000" b="1" dirty="0">
              <a:solidFill>
                <a:srgbClr val="FFFFFF"/>
              </a:solidFill>
            </a:endParaRPr>
          </a:p>
        </p:txBody>
      </p:sp>
      <p:sp>
        <p:nvSpPr>
          <p:cNvPr id="22" name="Oval 21"/>
          <p:cNvSpPr/>
          <p:nvPr/>
        </p:nvSpPr>
        <p:spPr bwMode="auto">
          <a:xfrm>
            <a:off x="4435968" y="4254067"/>
            <a:ext cx="288000" cy="288000"/>
          </a:xfrm>
          <a:prstGeom prst="ellipse">
            <a:avLst/>
          </a:prstGeom>
          <a:solidFill>
            <a:schemeClr val="tx1">
              <a:lumMod val="75000"/>
              <a:lumOff val="25000"/>
            </a:schemeClr>
          </a:solidFill>
          <a:ln w="38100" cmpd="sng">
            <a:solidFill>
              <a:schemeClr val="bg1"/>
            </a:solid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lgn="l"/>
            <a:r>
              <a:rPr lang="da-DK" sz="1100" b="1" dirty="0">
                <a:solidFill>
                  <a:srgbClr val="FFFFFF"/>
                </a:solidFill>
              </a:rPr>
              <a:t>14</a:t>
            </a:r>
            <a:endParaRPr lang="en-US" sz="1100" b="1" dirty="0">
              <a:solidFill>
                <a:srgbClr val="FFFFFF"/>
              </a:solidFill>
            </a:endParaRPr>
          </a:p>
        </p:txBody>
      </p:sp>
      <p:sp>
        <p:nvSpPr>
          <p:cNvPr id="23" name="Rectangle 15"/>
          <p:cNvSpPr/>
          <p:nvPr/>
        </p:nvSpPr>
        <p:spPr>
          <a:xfrm>
            <a:off x="4519942" y="5238165"/>
            <a:ext cx="1524293" cy="691109"/>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vert="horz" lIns="58896" tIns="58896" rIns="58896" bIns="88342" spcCol="0" rtlCol="0" anchor="ctr" anchorCtr="0">
            <a:noAutofit/>
          </a:bodyPr>
          <a:lstStyle/>
          <a:p>
            <a:pPr algn="ctr">
              <a:lnSpc>
                <a:spcPct val="90000"/>
              </a:lnSpc>
            </a:pPr>
            <a:r>
              <a:rPr lang="da-DK" sz="1000" b="1" dirty="0" err="1">
                <a:solidFill>
                  <a:srgbClr val="FFFFFF"/>
                </a:solidFill>
              </a:rPr>
              <a:t>Impact</a:t>
            </a:r>
            <a:r>
              <a:rPr lang="da-DK" sz="1000" b="1" dirty="0">
                <a:solidFill>
                  <a:srgbClr val="FFFFFF"/>
                </a:solidFill>
              </a:rPr>
              <a:t> </a:t>
            </a:r>
            <a:r>
              <a:rPr lang="da-DK" sz="1000" b="1" dirty="0" err="1">
                <a:solidFill>
                  <a:srgbClr val="FFFFFF"/>
                </a:solidFill>
              </a:rPr>
              <a:t>too</a:t>
            </a:r>
            <a:r>
              <a:rPr lang="da-DK" sz="1000" b="1" dirty="0">
                <a:solidFill>
                  <a:srgbClr val="FFFFFF"/>
                </a:solidFill>
              </a:rPr>
              <a:t> </a:t>
            </a:r>
            <a:r>
              <a:rPr lang="da-DK" sz="1000" b="1" dirty="0" err="1">
                <a:solidFill>
                  <a:srgbClr val="FFFFFF"/>
                </a:solidFill>
              </a:rPr>
              <a:t>low</a:t>
            </a:r>
            <a:endParaRPr lang="en-US" sz="1000" b="1" dirty="0">
              <a:solidFill>
                <a:srgbClr val="FFFFFF"/>
              </a:solidFill>
            </a:endParaRPr>
          </a:p>
        </p:txBody>
      </p:sp>
      <p:sp>
        <p:nvSpPr>
          <p:cNvPr id="24" name="Oval 23"/>
          <p:cNvSpPr/>
          <p:nvPr/>
        </p:nvSpPr>
        <p:spPr bwMode="auto">
          <a:xfrm>
            <a:off x="4423268" y="5151124"/>
            <a:ext cx="288000" cy="288000"/>
          </a:xfrm>
          <a:prstGeom prst="ellipse">
            <a:avLst/>
          </a:prstGeom>
          <a:solidFill>
            <a:schemeClr val="tx1">
              <a:lumMod val="75000"/>
              <a:lumOff val="25000"/>
            </a:schemeClr>
          </a:solidFill>
          <a:ln w="38100" cmpd="sng">
            <a:solidFill>
              <a:schemeClr val="bg1"/>
            </a:solid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lgn="l"/>
            <a:r>
              <a:rPr lang="da-DK" sz="1100" b="1" dirty="0">
                <a:solidFill>
                  <a:srgbClr val="FFFFFF"/>
                </a:solidFill>
              </a:rPr>
              <a:t>16</a:t>
            </a:r>
            <a:endParaRPr lang="en-US" sz="1100" b="1" dirty="0">
              <a:solidFill>
                <a:srgbClr val="FFFFFF"/>
              </a:solidFill>
            </a:endParaRPr>
          </a:p>
        </p:txBody>
      </p:sp>
      <p:sp>
        <p:nvSpPr>
          <p:cNvPr id="25" name="Flowchart: Manual Operation 8"/>
          <p:cNvSpPr/>
          <p:nvPr/>
        </p:nvSpPr>
        <p:spPr bwMode="auto">
          <a:xfrm rot="5400000">
            <a:off x="1612450" y="3363642"/>
            <a:ext cx="4282754" cy="79551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1342"/>
              <a:gd name="connsiteY0" fmla="*/ 0 h 10000"/>
              <a:gd name="connsiteX1" fmla="*/ 11342 w 11342"/>
              <a:gd name="connsiteY1" fmla="*/ 0 h 10000"/>
              <a:gd name="connsiteX2" fmla="*/ 9342 w 11342"/>
              <a:gd name="connsiteY2" fmla="*/ 10000 h 10000"/>
              <a:gd name="connsiteX3" fmla="*/ 3342 w 11342"/>
              <a:gd name="connsiteY3" fmla="*/ 10000 h 10000"/>
              <a:gd name="connsiteX4" fmla="*/ 0 w 11342"/>
              <a:gd name="connsiteY4" fmla="*/ 0 h 10000"/>
              <a:gd name="connsiteX0" fmla="*/ 0 w 12593"/>
              <a:gd name="connsiteY0" fmla="*/ 0 h 10000"/>
              <a:gd name="connsiteX1" fmla="*/ 12593 w 12593"/>
              <a:gd name="connsiteY1" fmla="*/ 0 h 10000"/>
              <a:gd name="connsiteX2" fmla="*/ 9342 w 12593"/>
              <a:gd name="connsiteY2" fmla="*/ 10000 h 10000"/>
              <a:gd name="connsiteX3" fmla="*/ 3342 w 12593"/>
              <a:gd name="connsiteY3" fmla="*/ 10000 h 10000"/>
              <a:gd name="connsiteX4" fmla="*/ 0 w 12593"/>
              <a:gd name="connsiteY4" fmla="*/ 0 h 10000"/>
              <a:gd name="connsiteX0" fmla="*/ 0 w 12593"/>
              <a:gd name="connsiteY0" fmla="*/ 0 h 10000"/>
              <a:gd name="connsiteX1" fmla="*/ 12593 w 12593"/>
              <a:gd name="connsiteY1" fmla="*/ 0 h 10000"/>
              <a:gd name="connsiteX2" fmla="*/ 9342 w 12593"/>
              <a:gd name="connsiteY2" fmla="*/ 10000 h 10000"/>
              <a:gd name="connsiteX3" fmla="*/ 3739 w 12593"/>
              <a:gd name="connsiteY3" fmla="*/ 10000 h 10000"/>
              <a:gd name="connsiteX4" fmla="*/ 0 w 12593"/>
              <a:gd name="connsiteY4" fmla="*/ 0 h 10000"/>
              <a:gd name="connsiteX0" fmla="*/ 0 w 12593"/>
              <a:gd name="connsiteY0" fmla="*/ 0 h 10000"/>
              <a:gd name="connsiteX1" fmla="*/ 12593 w 12593"/>
              <a:gd name="connsiteY1" fmla="*/ 0 h 10000"/>
              <a:gd name="connsiteX2" fmla="*/ 8854 w 12593"/>
              <a:gd name="connsiteY2" fmla="*/ 10000 h 10000"/>
              <a:gd name="connsiteX3" fmla="*/ 3739 w 12593"/>
              <a:gd name="connsiteY3" fmla="*/ 10000 h 10000"/>
              <a:gd name="connsiteX4" fmla="*/ 0 w 12593"/>
              <a:gd name="connsiteY4" fmla="*/ 0 h 10000"/>
              <a:gd name="connsiteX0" fmla="*/ 0 w 12593"/>
              <a:gd name="connsiteY0" fmla="*/ 0 h 10000"/>
              <a:gd name="connsiteX1" fmla="*/ 12593 w 12593"/>
              <a:gd name="connsiteY1" fmla="*/ 0 h 10000"/>
              <a:gd name="connsiteX2" fmla="*/ 7393 w 12593"/>
              <a:gd name="connsiteY2" fmla="*/ 10000 h 10000"/>
              <a:gd name="connsiteX3" fmla="*/ 3739 w 12593"/>
              <a:gd name="connsiteY3" fmla="*/ 10000 h 10000"/>
              <a:gd name="connsiteX4" fmla="*/ 0 w 12593"/>
              <a:gd name="connsiteY4" fmla="*/ 0 h 10000"/>
              <a:gd name="connsiteX0" fmla="*/ 0 w 12593"/>
              <a:gd name="connsiteY0" fmla="*/ 0 h 10000"/>
              <a:gd name="connsiteX1" fmla="*/ 12593 w 12593"/>
              <a:gd name="connsiteY1" fmla="*/ 0 h 10000"/>
              <a:gd name="connsiteX2" fmla="*/ 7393 w 12593"/>
              <a:gd name="connsiteY2" fmla="*/ 10000 h 10000"/>
              <a:gd name="connsiteX3" fmla="*/ 4541 w 12593"/>
              <a:gd name="connsiteY3" fmla="*/ 10000 h 10000"/>
              <a:gd name="connsiteX4" fmla="*/ 0 w 12593"/>
              <a:gd name="connsiteY4" fmla="*/ 0 h 10000"/>
              <a:gd name="connsiteX0" fmla="*/ 0 w 12593"/>
              <a:gd name="connsiteY0" fmla="*/ 0 h 10356"/>
              <a:gd name="connsiteX1" fmla="*/ 12593 w 12593"/>
              <a:gd name="connsiteY1" fmla="*/ 0 h 10356"/>
              <a:gd name="connsiteX2" fmla="*/ 7393 w 12593"/>
              <a:gd name="connsiteY2" fmla="*/ 10000 h 10356"/>
              <a:gd name="connsiteX3" fmla="*/ 4941 w 12593"/>
              <a:gd name="connsiteY3" fmla="*/ 10356 h 10356"/>
              <a:gd name="connsiteX4" fmla="*/ 0 w 12593"/>
              <a:gd name="connsiteY4" fmla="*/ 0 h 10356"/>
              <a:gd name="connsiteX0" fmla="*/ 0 w 12593"/>
              <a:gd name="connsiteY0" fmla="*/ 0 h 10889"/>
              <a:gd name="connsiteX1" fmla="*/ 12593 w 12593"/>
              <a:gd name="connsiteY1" fmla="*/ 0 h 10889"/>
              <a:gd name="connsiteX2" fmla="*/ 6775 w 12593"/>
              <a:gd name="connsiteY2" fmla="*/ 10889 h 10889"/>
              <a:gd name="connsiteX3" fmla="*/ 4941 w 12593"/>
              <a:gd name="connsiteY3" fmla="*/ 10356 h 10889"/>
              <a:gd name="connsiteX4" fmla="*/ 0 w 12593"/>
              <a:gd name="connsiteY4" fmla="*/ 0 h 10889"/>
              <a:gd name="connsiteX0" fmla="*/ 0 w 12593"/>
              <a:gd name="connsiteY0" fmla="*/ 0 h 10356"/>
              <a:gd name="connsiteX1" fmla="*/ 12593 w 12593"/>
              <a:gd name="connsiteY1" fmla="*/ 0 h 10356"/>
              <a:gd name="connsiteX2" fmla="*/ 6775 w 12593"/>
              <a:gd name="connsiteY2" fmla="*/ 10178 h 10356"/>
              <a:gd name="connsiteX3" fmla="*/ 4941 w 12593"/>
              <a:gd name="connsiteY3" fmla="*/ 10356 h 10356"/>
              <a:gd name="connsiteX4" fmla="*/ 0 w 12593"/>
              <a:gd name="connsiteY4" fmla="*/ 0 h 10356"/>
              <a:gd name="connsiteX0" fmla="*/ 0 w 12593"/>
              <a:gd name="connsiteY0" fmla="*/ 0 h 10534"/>
              <a:gd name="connsiteX1" fmla="*/ 12593 w 12593"/>
              <a:gd name="connsiteY1" fmla="*/ 0 h 10534"/>
              <a:gd name="connsiteX2" fmla="*/ 6739 w 12593"/>
              <a:gd name="connsiteY2" fmla="*/ 10534 h 10534"/>
              <a:gd name="connsiteX3" fmla="*/ 4941 w 12593"/>
              <a:gd name="connsiteY3" fmla="*/ 10356 h 10534"/>
              <a:gd name="connsiteX4" fmla="*/ 0 w 12593"/>
              <a:gd name="connsiteY4" fmla="*/ 0 h 10534"/>
              <a:gd name="connsiteX0" fmla="*/ 0 w 12593"/>
              <a:gd name="connsiteY0" fmla="*/ 0 h 11245"/>
              <a:gd name="connsiteX1" fmla="*/ 12593 w 12593"/>
              <a:gd name="connsiteY1" fmla="*/ 0 h 11245"/>
              <a:gd name="connsiteX2" fmla="*/ 6739 w 12593"/>
              <a:gd name="connsiteY2" fmla="*/ 10534 h 11245"/>
              <a:gd name="connsiteX3" fmla="*/ 1646 w 12593"/>
              <a:gd name="connsiteY3" fmla="*/ 11245 h 11245"/>
              <a:gd name="connsiteX4" fmla="*/ 0 w 12593"/>
              <a:gd name="connsiteY4" fmla="*/ 0 h 11245"/>
              <a:gd name="connsiteX0" fmla="*/ 0 w 12593"/>
              <a:gd name="connsiteY0" fmla="*/ 0 h 10534"/>
              <a:gd name="connsiteX1" fmla="*/ 12593 w 12593"/>
              <a:gd name="connsiteY1" fmla="*/ 0 h 10534"/>
              <a:gd name="connsiteX2" fmla="*/ 6739 w 12593"/>
              <a:gd name="connsiteY2" fmla="*/ 10534 h 10534"/>
              <a:gd name="connsiteX3" fmla="*/ 1646 w 12593"/>
              <a:gd name="connsiteY3" fmla="*/ 10060 h 10534"/>
              <a:gd name="connsiteX4" fmla="*/ 0 w 12593"/>
              <a:gd name="connsiteY4" fmla="*/ 0 h 10534"/>
              <a:gd name="connsiteX0" fmla="*/ 0 w 12593"/>
              <a:gd name="connsiteY0" fmla="*/ 0 h 10801"/>
              <a:gd name="connsiteX1" fmla="*/ 12593 w 12593"/>
              <a:gd name="connsiteY1" fmla="*/ 0 h 10801"/>
              <a:gd name="connsiteX2" fmla="*/ 6739 w 12593"/>
              <a:gd name="connsiteY2" fmla="*/ 10534 h 10801"/>
              <a:gd name="connsiteX3" fmla="*/ 1646 w 12593"/>
              <a:gd name="connsiteY3" fmla="*/ 10801 h 10801"/>
              <a:gd name="connsiteX4" fmla="*/ 0 w 12593"/>
              <a:gd name="connsiteY4" fmla="*/ 0 h 10801"/>
              <a:gd name="connsiteX0" fmla="*/ 0 w 12593"/>
              <a:gd name="connsiteY0" fmla="*/ 0 h 10801"/>
              <a:gd name="connsiteX1" fmla="*/ 12593 w 12593"/>
              <a:gd name="connsiteY1" fmla="*/ 0 h 10801"/>
              <a:gd name="connsiteX2" fmla="*/ 6739 w 12593"/>
              <a:gd name="connsiteY2" fmla="*/ 10534 h 10801"/>
              <a:gd name="connsiteX3" fmla="*/ 1007 w 12593"/>
              <a:gd name="connsiteY3" fmla="*/ 10801 h 10801"/>
              <a:gd name="connsiteX4" fmla="*/ 0 w 12593"/>
              <a:gd name="connsiteY4" fmla="*/ 0 h 10801"/>
              <a:gd name="connsiteX0" fmla="*/ 0 w 12593"/>
              <a:gd name="connsiteY0" fmla="*/ 0 h 10801"/>
              <a:gd name="connsiteX1" fmla="*/ 12593 w 12593"/>
              <a:gd name="connsiteY1" fmla="*/ 0 h 10801"/>
              <a:gd name="connsiteX2" fmla="*/ 6739 w 12593"/>
              <a:gd name="connsiteY2" fmla="*/ 10534 h 10801"/>
              <a:gd name="connsiteX3" fmla="*/ 1007 w 12593"/>
              <a:gd name="connsiteY3" fmla="*/ 10801 h 10801"/>
              <a:gd name="connsiteX4" fmla="*/ 0 w 12593"/>
              <a:gd name="connsiteY4" fmla="*/ 0 h 10801"/>
              <a:gd name="connsiteX0" fmla="*/ 0 w 12593"/>
              <a:gd name="connsiteY0" fmla="*/ 0 h 10801"/>
              <a:gd name="connsiteX1" fmla="*/ 12593 w 12593"/>
              <a:gd name="connsiteY1" fmla="*/ 0 h 10801"/>
              <a:gd name="connsiteX2" fmla="*/ 6175 w 12593"/>
              <a:gd name="connsiteY2" fmla="*/ 10789 h 10801"/>
              <a:gd name="connsiteX3" fmla="*/ 1007 w 12593"/>
              <a:gd name="connsiteY3" fmla="*/ 10801 h 10801"/>
              <a:gd name="connsiteX4" fmla="*/ 0 w 12593"/>
              <a:gd name="connsiteY4" fmla="*/ 0 h 10801"/>
              <a:gd name="connsiteX0" fmla="*/ 0 w 12781"/>
              <a:gd name="connsiteY0" fmla="*/ 0 h 10801"/>
              <a:gd name="connsiteX1" fmla="*/ 12781 w 12781"/>
              <a:gd name="connsiteY1" fmla="*/ 0 h 10801"/>
              <a:gd name="connsiteX2" fmla="*/ 6175 w 12781"/>
              <a:gd name="connsiteY2" fmla="*/ 10789 h 10801"/>
              <a:gd name="connsiteX3" fmla="*/ 1007 w 12781"/>
              <a:gd name="connsiteY3" fmla="*/ 10801 h 10801"/>
              <a:gd name="connsiteX4" fmla="*/ 0 w 12781"/>
              <a:gd name="connsiteY4" fmla="*/ 0 h 10801"/>
              <a:gd name="connsiteX0" fmla="*/ 0 w 12405"/>
              <a:gd name="connsiteY0" fmla="*/ 255 h 10801"/>
              <a:gd name="connsiteX1" fmla="*/ 12405 w 12405"/>
              <a:gd name="connsiteY1" fmla="*/ 0 h 10801"/>
              <a:gd name="connsiteX2" fmla="*/ 5799 w 12405"/>
              <a:gd name="connsiteY2" fmla="*/ 10789 h 10801"/>
              <a:gd name="connsiteX3" fmla="*/ 631 w 12405"/>
              <a:gd name="connsiteY3" fmla="*/ 10801 h 10801"/>
              <a:gd name="connsiteX4" fmla="*/ 0 w 12405"/>
              <a:gd name="connsiteY4" fmla="*/ 255 h 10801"/>
              <a:gd name="connsiteX0" fmla="*/ 0 w 12443"/>
              <a:gd name="connsiteY0" fmla="*/ 0 h 10546"/>
              <a:gd name="connsiteX1" fmla="*/ 12443 w 12443"/>
              <a:gd name="connsiteY1" fmla="*/ 510 h 10546"/>
              <a:gd name="connsiteX2" fmla="*/ 5799 w 12443"/>
              <a:gd name="connsiteY2" fmla="*/ 10534 h 10546"/>
              <a:gd name="connsiteX3" fmla="*/ 631 w 12443"/>
              <a:gd name="connsiteY3" fmla="*/ 10546 h 10546"/>
              <a:gd name="connsiteX4" fmla="*/ 0 w 12443"/>
              <a:gd name="connsiteY4" fmla="*/ 0 h 10546"/>
              <a:gd name="connsiteX0" fmla="*/ 0 w 12481"/>
              <a:gd name="connsiteY0" fmla="*/ 0 h 10546"/>
              <a:gd name="connsiteX1" fmla="*/ 12481 w 12481"/>
              <a:gd name="connsiteY1" fmla="*/ 0 h 10546"/>
              <a:gd name="connsiteX2" fmla="*/ 5799 w 12481"/>
              <a:gd name="connsiteY2" fmla="*/ 10534 h 10546"/>
              <a:gd name="connsiteX3" fmla="*/ 631 w 12481"/>
              <a:gd name="connsiteY3" fmla="*/ 10546 h 10546"/>
              <a:gd name="connsiteX4" fmla="*/ 0 w 12481"/>
              <a:gd name="connsiteY4" fmla="*/ 0 h 10546"/>
              <a:gd name="connsiteX0" fmla="*/ 0 w 12481"/>
              <a:gd name="connsiteY0" fmla="*/ 0 h 10546"/>
              <a:gd name="connsiteX1" fmla="*/ 12481 w 12481"/>
              <a:gd name="connsiteY1" fmla="*/ 0 h 10546"/>
              <a:gd name="connsiteX2" fmla="*/ 5799 w 12481"/>
              <a:gd name="connsiteY2" fmla="*/ 10534 h 10546"/>
              <a:gd name="connsiteX3" fmla="*/ 669 w 12481"/>
              <a:gd name="connsiteY3" fmla="*/ 10546 h 10546"/>
              <a:gd name="connsiteX4" fmla="*/ 0 w 12481"/>
              <a:gd name="connsiteY4" fmla="*/ 0 h 10546"/>
              <a:gd name="connsiteX0" fmla="*/ 0 w 12481"/>
              <a:gd name="connsiteY0" fmla="*/ 0 h 10546"/>
              <a:gd name="connsiteX1" fmla="*/ 12481 w 12481"/>
              <a:gd name="connsiteY1" fmla="*/ 0 h 10546"/>
              <a:gd name="connsiteX2" fmla="*/ 5799 w 12481"/>
              <a:gd name="connsiteY2" fmla="*/ 10534 h 10546"/>
              <a:gd name="connsiteX3" fmla="*/ 669 w 12481"/>
              <a:gd name="connsiteY3" fmla="*/ 10546 h 10546"/>
              <a:gd name="connsiteX4" fmla="*/ 0 w 12481"/>
              <a:gd name="connsiteY4" fmla="*/ 0 h 10546"/>
              <a:gd name="connsiteX0" fmla="*/ 0 w 12481"/>
              <a:gd name="connsiteY0" fmla="*/ 0 h 10546"/>
              <a:gd name="connsiteX1" fmla="*/ 12481 w 12481"/>
              <a:gd name="connsiteY1" fmla="*/ 0 h 10546"/>
              <a:gd name="connsiteX2" fmla="*/ 5799 w 12481"/>
              <a:gd name="connsiteY2" fmla="*/ 10534 h 10546"/>
              <a:gd name="connsiteX3" fmla="*/ 669 w 12481"/>
              <a:gd name="connsiteY3" fmla="*/ 10546 h 10546"/>
              <a:gd name="connsiteX4" fmla="*/ 0 w 12481"/>
              <a:gd name="connsiteY4" fmla="*/ 0 h 10546"/>
              <a:gd name="connsiteX0" fmla="*/ 0 w 12481"/>
              <a:gd name="connsiteY0" fmla="*/ 0 h 10546"/>
              <a:gd name="connsiteX1" fmla="*/ 12481 w 12481"/>
              <a:gd name="connsiteY1" fmla="*/ 0 h 10546"/>
              <a:gd name="connsiteX2" fmla="*/ 5799 w 12481"/>
              <a:gd name="connsiteY2" fmla="*/ 10534 h 10546"/>
              <a:gd name="connsiteX3" fmla="*/ 669 w 12481"/>
              <a:gd name="connsiteY3" fmla="*/ 10546 h 10546"/>
              <a:gd name="connsiteX4" fmla="*/ 0 w 12481"/>
              <a:gd name="connsiteY4" fmla="*/ 0 h 10546"/>
              <a:gd name="connsiteX0" fmla="*/ 0 w 12481"/>
              <a:gd name="connsiteY0" fmla="*/ 0 h 10546"/>
              <a:gd name="connsiteX1" fmla="*/ 12481 w 12481"/>
              <a:gd name="connsiteY1" fmla="*/ 0 h 10546"/>
              <a:gd name="connsiteX2" fmla="*/ 5799 w 12481"/>
              <a:gd name="connsiteY2" fmla="*/ 10534 h 10546"/>
              <a:gd name="connsiteX3" fmla="*/ 669 w 12481"/>
              <a:gd name="connsiteY3" fmla="*/ 10546 h 10546"/>
              <a:gd name="connsiteX4" fmla="*/ 0 w 12481"/>
              <a:gd name="connsiteY4" fmla="*/ 0 h 10546"/>
              <a:gd name="connsiteX0" fmla="*/ 0 w 12481"/>
              <a:gd name="connsiteY0" fmla="*/ 0 h 10546"/>
              <a:gd name="connsiteX1" fmla="*/ 12481 w 12481"/>
              <a:gd name="connsiteY1" fmla="*/ 0 h 10546"/>
              <a:gd name="connsiteX2" fmla="*/ 5799 w 12481"/>
              <a:gd name="connsiteY2" fmla="*/ 10534 h 10546"/>
              <a:gd name="connsiteX3" fmla="*/ 669 w 12481"/>
              <a:gd name="connsiteY3" fmla="*/ 10546 h 10546"/>
              <a:gd name="connsiteX4" fmla="*/ 0 w 12481"/>
              <a:gd name="connsiteY4" fmla="*/ 0 h 10546"/>
              <a:gd name="connsiteX0" fmla="*/ 0 w 12481"/>
              <a:gd name="connsiteY0" fmla="*/ 0 h 10546"/>
              <a:gd name="connsiteX1" fmla="*/ 12481 w 12481"/>
              <a:gd name="connsiteY1" fmla="*/ 0 h 10546"/>
              <a:gd name="connsiteX2" fmla="*/ 5799 w 12481"/>
              <a:gd name="connsiteY2" fmla="*/ 10534 h 10546"/>
              <a:gd name="connsiteX3" fmla="*/ 669 w 12481"/>
              <a:gd name="connsiteY3" fmla="*/ 10546 h 10546"/>
              <a:gd name="connsiteX4" fmla="*/ 0 w 12481"/>
              <a:gd name="connsiteY4" fmla="*/ 0 h 10546"/>
              <a:gd name="connsiteX0" fmla="*/ 0 w 12502"/>
              <a:gd name="connsiteY0" fmla="*/ 107 h 10546"/>
              <a:gd name="connsiteX1" fmla="*/ 12502 w 12502"/>
              <a:gd name="connsiteY1" fmla="*/ 0 h 10546"/>
              <a:gd name="connsiteX2" fmla="*/ 5820 w 12502"/>
              <a:gd name="connsiteY2" fmla="*/ 10534 h 10546"/>
              <a:gd name="connsiteX3" fmla="*/ 690 w 12502"/>
              <a:gd name="connsiteY3" fmla="*/ 10546 h 10546"/>
              <a:gd name="connsiteX4" fmla="*/ 0 w 12502"/>
              <a:gd name="connsiteY4" fmla="*/ 107 h 10546"/>
              <a:gd name="connsiteX0" fmla="*/ 0 w 12502"/>
              <a:gd name="connsiteY0" fmla="*/ 107 h 10546"/>
              <a:gd name="connsiteX1" fmla="*/ 12502 w 12502"/>
              <a:gd name="connsiteY1" fmla="*/ 0 h 10546"/>
              <a:gd name="connsiteX2" fmla="*/ 5820 w 12502"/>
              <a:gd name="connsiteY2" fmla="*/ 10534 h 10546"/>
              <a:gd name="connsiteX3" fmla="*/ 690 w 12502"/>
              <a:gd name="connsiteY3" fmla="*/ 10546 h 10546"/>
              <a:gd name="connsiteX4" fmla="*/ 0 w 12502"/>
              <a:gd name="connsiteY4" fmla="*/ 107 h 10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2" h="10546">
                <a:moveTo>
                  <a:pt x="0" y="107"/>
                </a:moveTo>
                <a:lnTo>
                  <a:pt x="12502" y="0"/>
                </a:lnTo>
                <a:lnTo>
                  <a:pt x="5820" y="10534"/>
                </a:lnTo>
                <a:lnTo>
                  <a:pt x="690" y="10546"/>
                </a:lnTo>
                <a:cubicBezTo>
                  <a:pt x="691" y="10427"/>
                  <a:pt x="672" y="10636"/>
                  <a:pt x="0" y="107"/>
                </a:cubicBezTo>
                <a:close/>
              </a:path>
            </a:pathLst>
          </a:custGeom>
          <a:solidFill>
            <a:schemeClr val="accent5">
              <a:alpha val="41176"/>
            </a:schemeClr>
          </a:solidFill>
          <a:ln w="9525">
            <a:noFill/>
            <a:miter lim="800000"/>
            <a:headEnd/>
            <a:tailEnd/>
          </a:ln>
          <a:effectLst/>
        </p:spPr>
        <p:txBody>
          <a:bodyPr rot="0" spcFirstLastPara="0" vertOverflow="overflow" horzOverflow="overflow" vert="horz" wrap="square" lIns="83077" tIns="43200" rIns="83077" bIns="43200" numCol="1" spcCol="0" rtlCol="0" fromWordArt="0" anchor="ctr" anchorCtr="0" forceAA="0" compatLnSpc="1">
            <a:prstTxWarp prst="textNoShape">
              <a:avLst/>
            </a:prstTxWarp>
            <a:noAutofit/>
          </a:bodyPr>
          <a:lstStyle/>
          <a:p>
            <a:pPr algn="l"/>
            <a:endParaRPr lang="en-US" sz="1662" dirty="0">
              <a:solidFill>
                <a:schemeClr val="tx1">
                  <a:lumMod val="85000"/>
                  <a:lumOff val="15000"/>
                </a:schemeClr>
              </a:solidFill>
            </a:endParaRPr>
          </a:p>
        </p:txBody>
      </p:sp>
      <p:grpSp>
        <p:nvGrpSpPr>
          <p:cNvPr id="26" name="Group 25"/>
          <p:cNvGrpSpPr/>
          <p:nvPr/>
        </p:nvGrpSpPr>
        <p:grpSpPr>
          <a:xfrm>
            <a:off x="6536192" y="1285043"/>
            <a:ext cx="4032000" cy="217240"/>
            <a:chOff x="481593" y="975341"/>
            <a:chExt cx="1752981" cy="235343"/>
          </a:xfrm>
        </p:grpSpPr>
        <p:cxnSp>
          <p:nvCxnSpPr>
            <p:cNvPr id="27" name="Lige forbindelse 17"/>
            <p:cNvCxnSpPr/>
            <p:nvPr>
              <p:custDataLst>
                <p:tags r:id="rId3"/>
              </p:custDataLst>
            </p:nvPr>
          </p:nvCxnSpPr>
          <p:spPr bwMode="auto">
            <a:xfrm flipV="1">
              <a:off x="482169" y="1208888"/>
              <a:ext cx="1752405" cy="1796"/>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28" name="Rectangle 3"/>
            <p:cNvSpPr txBox="1">
              <a:spLocks noChangeArrowheads="1"/>
            </p:cNvSpPr>
            <p:nvPr>
              <p:custDataLst>
                <p:tags r:id="rId4"/>
              </p:custDataLst>
            </p:nvPr>
          </p:nvSpPr>
          <p:spPr bwMode="auto">
            <a:xfrm>
              <a:off x="481593" y="975341"/>
              <a:ext cx="1740770" cy="1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lgn="l" eaLnBrk="0" hangingPunct="0">
                <a:spcBef>
                  <a:spcPct val="50000"/>
                </a:spcBef>
                <a:buFont typeface="Verdana" pitchFamily="34" charset="0"/>
                <a:defRPr sz="1600">
                  <a:solidFill>
                    <a:schemeClr val="tx1"/>
                  </a:solidFill>
                  <a:latin typeface="Verdana" pitchFamily="34" charset="0"/>
                </a:defRPr>
              </a:lvl1pPr>
              <a:lvl2pPr marL="136525" indent="-134938" algn="l" eaLnBrk="0" hangingPunct="0">
                <a:spcBef>
                  <a:spcPct val="50000"/>
                </a:spcBef>
                <a:buFont typeface="Verdana" pitchFamily="34" charset="0"/>
                <a:buChar char="•"/>
                <a:defRPr sz="1600">
                  <a:solidFill>
                    <a:schemeClr val="tx1"/>
                  </a:solidFill>
                  <a:latin typeface="Verdana" pitchFamily="34" charset="0"/>
                </a:defRPr>
              </a:lvl2pPr>
              <a:lvl3pPr marL="285750" indent="-147638" algn="l" eaLnBrk="0" hangingPunct="0">
                <a:spcBef>
                  <a:spcPct val="50000"/>
                </a:spcBef>
                <a:buFont typeface="Verdana" pitchFamily="34" charset="0"/>
                <a:buChar char="•"/>
                <a:defRPr sz="1600">
                  <a:solidFill>
                    <a:schemeClr val="tx1"/>
                  </a:solidFill>
                  <a:latin typeface="Verdana" pitchFamily="34" charset="0"/>
                </a:defRPr>
              </a:lvl3pPr>
              <a:lvl4pPr marL="422275" indent="-134938" algn="l" eaLnBrk="0" hangingPunct="0">
                <a:spcBef>
                  <a:spcPct val="50000"/>
                </a:spcBef>
                <a:buFont typeface="Verdana" pitchFamily="34" charset="0"/>
                <a:buChar char="•"/>
                <a:defRPr sz="1600">
                  <a:solidFill>
                    <a:schemeClr val="tx1"/>
                  </a:solidFill>
                  <a:latin typeface="Verdana" pitchFamily="34" charset="0"/>
                </a:defRPr>
              </a:lvl4pPr>
              <a:lvl5pPr marL="571500" indent="-147638" algn="l" eaLnBrk="0" hangingPunct="0">
                <a:spcBef>
                  <a:spcPct val="50000"/>
                </a:spcBef>
                <a:buFont typeface="Verdana" pitchFamily="34" charset="0"/>
                <a:buChar char="•"/>
                <a:defRPr sz="1600">
                  <a:solidFill>
                    <a:schemeClr val="tx1"/>
                  </a:solidFill>
                  <a:latin typeface="Verdana" pitchFamily="34" charset="0"/>
                </a:defRPr>
              </a:lvl5pPr>
              <a:lvl6pPr marL="10287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6pPr>
              <a:lvl7pPr marL="14859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7pPr>
              <a:lvl8pPr marL="19431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8pPr>
              <a:lvl9pPr marL="24003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9pPr>
            </a:lstStyle>
            <a:p>
              <a:pPr algn="ctr" defTabSz="844083" eaLnBrk="1" hangingPunct="1">
                <a:spcBef>
                  <a:spcPct val="0"/>
                </a:spcBef>
                <a:defRPr/>
              </a:pPr>
              <a:r>
                <a:rPr lang="en-US" altLang="en-US" sz="1108" b="1" kern="0" dirty="0">
                  <a:latin typeface="+mn-lt"/>
                </a:rPr>
                <a:t>Mitigation Initiatives</a:t>
              </a:r>
              <a:endParaRPr lang="en-US" altLang="en-US" sz="1108" kern="0" dirty="0">
                <a:latin typeface="+mn-lt"/>
              </a:endParaRPr>
            </a:p>
          </p:txBody>
        </p:sp>
      </p:grpSp>
      <p:grpSp>
        <p:nvGrpSpPr>
          <p:cNvPr id="29" name="Group 28"/>
          <p:cNvGrpSpPr/>
          <p:nvPr/>
        </p:nvGrpSpPr>
        <p:grpSpPr>
          <a:xfrm>
            <a:off x="1238357" y="1283383"/>
            <a:ext cx="1908000" cy="217242"/>
            <a:chOff x="481593" y="975339"/>
            <a:chExt cx="1752981" cy="235345"/>
          </a:xfrm>
        </p:grpSpPr>
        <p:cxnSp>
          <p:nvCxnSpPr>
            <p:cNvPr id="30" name="Lige forbindelse 17"/>
            <p:cNvCxnSpPr/>
            <p:nvPr>
              <p:custDataLst>
                <p:tags r:id="rId1"/>
              </p:custDataLst>
            </p:nvPr>
          </p:nvCxnSpPr>
          <p:spPr bwMode="auto">
            <a:xfrm flipV="1">
              <a:off x="482169" y="1208888"/>
              <a:ext cx="1752405" cy="1796"/>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31" name="Rectangle 3"/>
            <p:cNvSpPr txBox="1">
              <a:spLocks noChangeArrowheads="1"/>
            </p:cNvSpPr>
            <p:nvPr>
              <p:custDataLst>
                <p:tags r:id="rId2"/>
              </p:custDataLst>
            </p:nvPr>
          </p:nvSpPr>
          <p:spPr bwMode="auto">
            <a:xfrm>
              <a:off x="481593" y="975339"/>
              <a:ext cx="1740770" cy="1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lgn="l" eaLnBrk="0" hangingPunct="0">
                <a:spcBef>
                  <a:spcPct val="50000"/>
                </a:spcBef>
                <a:buFont typeface="Verdana" pitchFamily="34" charset="0"/>
                <a:defRPr sz="1600">
                  <a:solidFill>
                    <a:schemeClr val="tx1"/>
                  </a:solidFill>
                  <a:latin typeface="Verdana" pitchFamily="34" charset="0"/>
                </a:defRPr>
              </a:lvl1pPr>
              <a:lvl2pPr marL="136525" indent="-134938" algn="l" eaLnBrk="0" hangingPunct="0">
                <a:spcBef>
                  <a:spcPct val="50000"/>
                </a:spcBef>
                <a:buFont typeface="Verdana" pitchFamily="34" charset="0"/>
                <a:buChar char="•"/>
                <a:defRPr sz="1600">
                  <a:solidFill>
                    <a:schemeClr val="tx1"/>
                  </a:solidFill>
                  <a:latin typeface="Verdana" pitchFamily="34" charset="0"/>
                </a:defRPr>
              </a:lvl2pPr>
              <a:lvl3pPr marL="285750" indent="-147638" algn="l" eaLnBrk="0" hangingPunct="0">
                <a:spcBef>
                  <a:spcPct val="50000"/>
                </a:spcBef>
                <a:buFont typeface="Verdana" pitchFamily="34" charset="0"/>
                <a:buChar char="•"/>
                <a:defRPr sz="1600">
                  <a:solidFill>
                    <a:schemeClr val="tx1"/>
                  </a:solidFill>
                  <a:latin typeface="Verdana" pitchFamily="34" charset="0"/>
                </a:defRPr>
              </a:lvl3pPr>
              <a:lvl4pPr marL="422275" indent="-134938" algn="l" eaLnBrk="0" hangingPunct="0">
                <a:spcBef>
                  <a:spcPct val="50000"/>
                </a:spcBef>
                <a:buFont typeface="Verdana" pitchFamily="34" charset="0"/>
                <a:buChar char="•"/>
                <a:defRPr sz="1600">
                  <a:solidFill>
                    <a:schemeClr val="tx1"/>
                  </a:solidFill>
                  <a:latin typeface="Verdana" pitchFamily="34" charset="0"/>
                </a:defRPr>
              </a:lvl4pPr>
              <a:lvl5pPr marL="571500" indent="-147638" algn="l" eaLnBrk="0" hangingPunct="0">
                <a:spcBef>
                  <a:spcPct val="50000"/>
                </a:spcBef>
                <a:buFont typeface="Verdana" pitchFamily="34" charset="0"/>
                <a:buChar char="•"/>
                <a:defRPr sz="1600">
                  <a:solidFill>
                    <a:schemeClr val="tx1"/>
                  </a:solidFill>
                  <a:latin typeface="Verdana" pitchFamily="34" charset="0"/>
                </a:defRPr>
              </a:lvl5pPr>
              <a:lvl6pPr marL="10287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6pPr>
              <a:lvl7pPr marL="14859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7pPr>
              <a:lvl8pPr marL="19431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8pPr>
              <a:lvl9pPr marL="2400300" indent="-147638" eaLnBrk="0" fontAlgn="base" hangingPunct="0">
                <a:spcBef>
                  <a:spcPct val="50000"/>
                </a:spcBef>
                <a:spcAft>
                  <a:spcPct val="0"/>
                </a:spcAft>
                <a:buFont typeface="Verdana" pitchFamily="34" charset="0"/>
                <a:buChar char="•"/>
                <a:defRPr sz="1600">
                  <a:solidFill>
                    <a:schemeClr val="tx1"/>
                  </a:solidFill>
                  <a:latin typeface="Verdana" pitchFamily="34" charset="0"/>
                </a:defRPr>
              </a:lvl9pPr>
            </a:lstStyle>
            <a:p>
              <a:pPr algn="ctr" defTabSz="844083" eaLnBrk="1" hangingPunct="1">
                <a:spcBef>
                  <a:spcPct val="0"/>
                </a:spcBef>
                <a:defRPr/>
              </a:pPr>
              <a:r>
                <a:rPr lang="en-US" altLang="en-US" sz="1108" b="1" kern="0" dirty="0">
                  <a:latin typeface="+mn-lt"/>
                </a:rPr>
                <a:t>Heat Map</a:t>
              </a:r>
            </a:p>
          </p:txBody>
        </p:sp>
      </p:grpSp>
      <p:sp>
        <p:nvSpPr>
          <p:cNvPr id="54" name="TextBox 53"/>
          <p:cNvSpPr txBox="1"/>
          <p:nvPr/>
        </p:nvSpPr>
        <p:spPr>
          <a:xfrm>
            <a:off x="6522650" y="1646759"/>
            <a:ext cx="4041468" cy="584775"/>
          </a:xfrm>
          <a:prstGeom prst="rect">
            <a:avLst/>
          </a:prstGeom>
          <a:noFill/>
          <a:ln w="6350">
            <a:noFill/>
          </a:ln>
        </p:spPr>
        <p:txBody>
          <a:bodyPr wrap="square" lIns="0" tIns="0" rIns="0" bIns="0" rtlCol="0" anchor="t">
            <a:spAutoFit/>
          </a:bodyPr>
          <a:lstStyle/>
          <a:p>
            <a:pPr marL="171450" indent="-171450">
              <a:spcBef>
                <a:spcPts val="550"/>
              </a:spcBef>
              <a:buClr>
                <a:schemeClr val="tx1"/>
              </a:buClr>
              <a:buFont typeface="Wingdings" panose="05000000000000000000" pitchFamily="2" charset="2"/>
              <a:buChar char="§"/>
            </a:pPr>
            <a:r>
              <a:rPr lang="da-DK" sz="1100" dirty="0" err="1"/>
              <a:t>We</a:t>
            </a:r>
            <a:r>
              <a:rPr lang="da-DK" sz="1100" dirty="0"/>
              <a:t> have </a:t>
            </a:r>
            <a:r>
              <a:rPr lang="da-DK" sz="1100" dirty="0" err="1"/>
              <a:t>several</a:t>
            </a:r>
            <a:r>
              <a:rPr lang="da-DK" sz="1100" dirty="0"/>
              <a:t> </a:t>
            </a:r>
            <a:r>
              <a:rPr lang="da-DK" sz="1100" dirty="0" err="1"/>
              <a:t>partnership</a:t>
            </a:r>
            <a:r>
              <a:rPr lang="da-DK" sz="1100" dirty="0"/>
              <a:t> </a:t>
            </a:r>
            <a:r>
              <a:rPr lang="da-DK" sz="1100" dirty="0" err="1"/>
              <a:t>opportunites</a:t>
            </a:r>
            <a:endParaRPr lang="da-DK" sz="1100" dirty="0"/>
          </a:p>
          <a:p>
            <a:pPr marL="171450" indent="-171450">
              <a:spcBef>
                <a:spcPts val="550"/>
              </a:spcBef>
              <a:buClr>
                <a:schemeClr val="tx1"/>
              </a:buClr>
              <a:buFont typeface="Wingdings" panose="05000000000000000000" pitchFamily="2" charset="2"/>
              <a:buChar char="§"/>
            </a:pPr>
            <a:r>
              <a:rPr lang="da-DK" sz="1100" dirty="0" err="1"/>
              <a:t>Our</a:t>
            </a:r>
            <a:r>
              <a:rPr lang="da-DK" sz="1100" dirty="0"/>
              <a:t> </a:t>
            </a:r>
            <a:r>
              <a:rPr lang="da-DK" sz="1100" dirty="0" err="1"/>
              <a:t>revenue</a:t>
            </a:r>
            <a:r>
              <a:rPr lang="da-DK" sz="1100" dirty="0"/>
              <a:t> stems from the </a:t>
            </a:r>
            <a:r>
              <a:rPr lang="da-DK" sz="1100" dirty="0" err="1"/>
              <a:t>added</a:t>
            </a:r>
            <a:r>
              <a:rPr lang="da-DK" sz="1100" dirty="0"/>
              <a:t> </a:t>
            </a:r>
            <a:r>
              <a:rPr lang="da-DK" sz="1100" dirty="0" err="1"/>
              <a:t>value</a:t>
            </a:r>
            <a:r>
              <a:rPr lang="da-DK" sz="1100" dirty="0"/>
              <a:t> of a </a:t>
            </a:r>
            <a:r>
              <a:rPr lang="da-DK" sz="1100" dirty="0" err="1"/>
              <a:t>partnership</a:t>
            </a:r>
            <a:r>
              <a:rPr lang="da-DK" sz="1100" dirty="0"/>
              <a:t>, not the </a:t>
            </a:r>
            <a:r>
              <a:rPr lang="da-DK" sz="1100" dirty="0" err="1"/>
              <a:t>specific</a:t>
            </a:r>
            <a:r>
              <a:rPr lang="da-DK" sz="1100" dirty="0"/>
              <a:t> terms of the deal</a:t>
            </a:r>
            <a:endParaRPr lang="en-US" sz="1100" dirty="0"/>
          </a:p>
        </p:txBody>
      </p:sp>
      <p:sp>
        <p:nvSpPr>
          <p:cNvPr id="56" name="TextBox 55"/>
          <p:cNvSpPr txBox="1"/>
          <p:nvPr/>
        </p:nvSpPr>
        <p:spPr>
          <a:xfrm>
            <a:off x="6522650" y="2578855"/>
            <a:ext cx="4041468" cy="415498"/>
          </a:xfrm>
          <a:prstGeom prst="rect">
            <a:avLst/>
          </a:prstGeom>
          <a:noFill/>
          <a:ln w="6350">
            <a:noFill/>
          </a:ln>
        </p:spPr>
        <p:txBody>
          <a:bodyPr wrap="square" lIns="0" tIns="0" rIns="0" bIns="0" rtlCol="0" anchor="t">
            <a:spAutoFit/>
          </a:bodyPr>
          <a:lstStyle/>
          <a:p>
            <a:pPr marL="171450" indent="-171450">
              <a:spcBef>
                <a:spcPts val="550"/>
              </a:spcBef>
              <a:buClr>
                <a:schemeClr val="tx1"/>
              </a:buClr>
              <a:buFont typeface="Wingdings" panose="05000000000000000000" pitchFamily="2" charset="2"/>
              <a:buChar char="§"/>
            </a:pPr>
            <a:r>
              <a:rPr lang="en-US" sz="1100" dirty="0"/>
              <a:t>We need to communicate clearly who is in charge of support</a:t>
            </a:r>
          </a:p>
          <a:p>
            <a:pPr marL="171450" indent="-171450">
              <a:spcBef>
                <a:spcPts val="550"/>
              </a:spcBef>
              <a:buClr>
                <a:schemeClr val="tx1"/>
              </a:buClr>
              <a:buFont typeface="Wingdings" panose="05000000000000000000" pitchFamily="2" charset="2"/>
              <a:buChar char="§"/>
            </a:pPr>
            <a:r>
              <a:rPr lang="da-DK" sz="1100" dirty="0" err="1"/>
              <a:t>Utilize</a:t>
            </a:r>
            <a:r>
              <a:rPr lang="da-DK" sz="1100" dirty="0"/>
              <a:t> </a:t>
            </a:r>
            <a:r>
              <a:rPr lang="da-DK" sz="1100" dirty="0" err="1"/>
              <a:t>current</a:t>
            </a:r>
            <a:r>
              <a:rPr lang="da-DK" sz="1100" dirty="0"/>
              <a:t> </a:t>
            </a:r>
            <a:r>
              <a:rPr lang="da-DK" sz="1100" dirty="0" err="1"/>
              <a:t>consultant</a:t>
            </a:r>
            <a:r>
              <a:rPr lang="da-DK" sz="1100" dirty="0"/>
              <a:t> services</a:t>
            </a:r>
            <a:endParaRPr lang="en-US" sz="1100" dirty="0"/>
          </a:p>
        </p:txBody>
      </p:sp>
      <p:sp>
        <p:nvSpPr>
          <p:cNvPr id="57" name="TextBox 56"/>
          <p:cNvSpPr txBox="1"/>
          <p:nvPr/>
        </p:nvSpPr>
        <p:spPr>
          <a:xfrm>
            <a:off x="6522650" y="3501200"/>
            <a:ext cx="4137034" cy="584775"/>
          </a:xfrm>
          <a:prstGeom prst="rect">
            <a:avLst/>
          </a:prstGeom>
          <a:noFill/>
          <a:ln w="6350">
            <a:noFill/>
          </a:ln>
        </p:spPr>
        <p:txBody>
          <a:bodyPr wrap="square" lIns="0" tIns="0" rIns="0" bIns="0" rtlCol="0" anchor="t">
            <a:spAutoFit/>
          </a:bodyPr>
          <a:lstStyle/>
          <a:p>
            <a:pPr marL="171450" indent="-171450">
              <a:spcBef>
                <a:spcPts val="550"/>
              </a:spcBef>
              <a:buClr>
                <a:schemeClr val="tx1"/>
              </a:buClr>
              <a:buFont typeface="Wingdings" panose="05000000000000000000" pitchFamily="2" charset="2"/>
              <a:buChar char="§"/>
            </a:pPr>
            <a:r>
              <a:rPr lang="da-DK" sz="1100" dirty="0"/>
              <a:t>It is more of an </a:t>
            </a:r>
            <a:r>
              <a:rPr lang="da-DK" sz="1100" dirty="0" err="1"/>
              <a:t>added</a:t>
            </a:r>
            <a:r>
              <a:rPr lang="da-DK" sz="1100" dirty="0"/>
              <a:t> bonus, </a:t>
            </a:r>
            <a:r>
              <a:rPr lang="da-DK" sz="1100" dirty="0" err="1"/>
              <a:t>we</a:t>
            </a:r>
            <a:r>
              <a:rPr lang="da-DK" sz="1100" dirty="0"/>
              <a:t> still </a:t>
            </a:r>
            <a:r>
              <a:rPr lang="da-DK" sz="1100" dirty="0" err="1"/>
              <a:t>control</a:t>
            </a:r>
            <a:r>
              <a:rPr lang="da-DK" sz="1100" dirty="0"/>
              <a:t> marketing </a:t>
            </a:r>
            <a:r>
              <a:rPr lang="da-DK" sz="1100" dirty="0" err="1"/>
              <a:t>towards</a:t>
            </a:r>
            <a:r>
              <a:rPr lang="da-DK" sz="1100" dirty="0"/>
              <a:t> new potential </a:t>
            </a:r>
            <a:r>
              <a:rPr lang="da-DK" sz="1100" dirty="0" err="1"/>
              <a:t>customers</a:t>
            </a:r>
            <a:endParaRPr lang="en-US" sz="1100" dirty="0"/>
          </a:p>
          <a:p>
            <a:pPr marL="171450" indent="-171450">
              <a:spcBef>
                <a:spcPts val="550"/>
              </a:spcBef>
              <a:buClr>
                <a:schemeClr val="tx1"/>
              </a:buClr>
              <a:buFont typeface="Wingdings" panose="05000000000000000000" pitchFamily="2" charset="2"/>
              <a:buChar char="§"/>
            </a:pPr>
            <a:r>
              <a:rPr lang="en-US" sz="1100" dirty="0"/>
              <a:t>Works well for customer retention</a:t>
            </a:r>
          </a:p>
        </p:txBody>
      </p:sp>
      <p:sp>
        <p:nvSpPr>
          <p:cNvPr id="58" name="TextBox 57"/>
          <p:cNvSpPr txBox="1"/>
          <p:nvPr/>
        </p:nvSpPr>
        <p:spPr>
          <a:xfrm>
            <a:off x="6522651" y="4328915"/>
            <a:ext cx="4064605" cy="661720"/>
          </a:xfrm>
          <a:prstGeom prst="rect">
            <a:avLst/>
          </a:prstGeom>
          <a:noFill/>
          <a:ln w="6350">
            <a:noFill/>
          </a:ln>
        </p:spPr>
        <p:txBody>
          <a:bodyPr wrap="square" lIns="0" tIns="0" rIns="0" bIns="0" rtlCol="0" anchor="t">
            <a:spAutoFit/>
          </a:bodyPr>
          <a:lstStyle/>
          <a:p>
            <a:pPr marL="171450" indent="-171450">
              <a:spcBef>
                <a:spcPts val="550"/>
              </a:spcBef>
              <a:buClr>
                <a:schemeClr val="tx1"/>
              </a:buClr>
              <a:buFont typeface="Wingdings" panose="05000000000000000000" pitchFamily="2" charset="2"/>
              <a:buChar char="§"/>
            </a:pPr>
            <a:r>
              <a:rPr lang="en-US" sz="1100" dirty="0"/>
              <a:t>We are targeting a market where OTT’s have little power</a:t>
            </a:r>
          </a:p>
          <a:p>
            <a:pPr marL="171450" indent="-171450">
              <a:spcBef>
                <a:spcPts val="550"/>
              </a:spcBef>
              <a:buClr>
                <a:schemeClr val="tx1"/>
              </a:buClr>
              <a:buFont typeface="Wingdings" panose="05000000000000000000" pitchFamily="2" charset="2"/>
              <a:buChar char="§"/>
            </a:pPr>
            <a:r>
              <a:rPr lang="en-US" sz="1100" dirty="0"/>
              <a:t>Companies prefer stable, reliable solutions</a:t>
            </a:r>
          </a:p>
          <a:p>
            <a:pPr>
              <a:spcBef>
                <a:spcPts val="550"/>
              </a:spcBef>
              <a:buClr>
                <a:schemeClr val="tx1"/>
              </a:buClr>
            </a:pPr>
            <a:endParaRPr lang="en-US" sz="1100" dirty="0"/>
          </a:p>
        </p:txBody>
      </p:sp>
      <p:sp>
        <p:nvSpPr>
          <p:cNvPr id="59" name="TextBox 58"/>
          <p:cNvSpPr txBox="1"/>
          <p:nvPr/>
        </p:nvSpPr>
        <p:spPr>
          <a:xfrm>
            <a:off x="6522650" y="5305063"/>
            <a:ext cx="4069554" cy="415498"/>
          </a:xfrm>
          <a:prstGeom prst="rect">
            <a:avLst/>
          </a:prstGeom>
          <a:noFill/>
          <a:ln w="6350">
            <a:noFill/>
          </a:ln>
        </p:spPr>
        <p:txBody>
          <a:bodyPr wrap="square" lIns="0" tIns="0" rIns="0" bIns="0" rtlCol="0" anchor="t">
            <a:spAutoFit/>
          </a:bodyPr>
          <a:lstStyle/>
          <a:p>
            <a:pPr marL="171450" indent="-171450">
              <a:spcBef>
                <a:spcPts val="550"/>
              </a:spcBef>
              <a:buClr>
                <a:schemeClr val="tx1"/>
              </a:buClr>
              <a:buFont typeface="Wingdings" panose="05000000000000000000" pitchFamily="2" charset="2"/>
              <a:buChar char="§"/>
            </a:pPr>
            <a:r>
              <a:rPr lang="da-DK" sz="1100" dirty="0"/>
              <a:t>Telstra </a:t>
            </a:r>
            <a:r>
              <a:rPr lang="da-DK" sz="1100" dirty="0" err="1"/>
              <a:t>gains</a:t>
            </a:r>
            <a:r>
              <a:rPr lang="da-DK" sz="1100" dirty="0"/>
              <a:t> more </a:t>
            </a:r>
            <a:r>
              <a:rPr lang="da-DK" sz="1100" dirty="0" err="1"/>
              <a:t>than</a:t>
            </a:r>
            <a:r>
              <a:rPr lang="da-DK" sz="1100" dirty="0"/>
              <a:t> </a:t>
            </a:r>
            <a:r>
              <a:rPr lang="da-DK" sz="1100" dirty="0" err="1"/>
              <a:t>simply</a:t>
            </a:r>
            <a:r>
              <a:rPr lang="da-DK" sz="1100" dirty="0"/>
              <a:t> </a:t>
            </a:r>
            <a:r>
              <a:rPr lang="da-DK" sz="1100" dirty="0" err="1"/>
              <a:t>increased</a:t>
            </a:r>
            <a:r>
              <a:rPr lang="da-DK" sz="1100" dirty="0"/>
              <a:t> </a:t>
            </a:r>
            <a:r>
              <a:rPr lang="da-DK" sz="1100" dirty="0" err="1"/>
              <a:t>revenue</a:t>
            </a:r>
            <a:r>
              <a:rPr lang="da-DK" sz="1100" dirty="0"/>
              <a:t> </a:t>
            </a:r>
            <a:endParaRPr lang="en-US" sz="1100" dirty="0"/>
          </a:p>
          <a:p>
            <a:pPr marL="171450" indent="-171450">
              <a:spcBef>
                <a:spcPts val="550"/>
              </a:spcBef>
              <a:buClr>
                <a:schemeClr val="tx1"/>
              </a:buClr>
              <a:buFont typeface="Wingdings" panose="05000000000000000000" pitchFamily="2" charset="2"/>
              <a:buChar char="§"/>
            </a:pPr>
            <a:r>
              <a:rPr lang="en-US" sz="1100" dirty="0"/>
              <a:t>Huge indirect impact</a:t>
            </a:r>
            <a:r>
              <a:rPr lang="da-DK" sz="1100" dirty="0"/>
              <a:t>! Focus on </a:t>
            </a:r>
            <a:r>
              <a:rPr lang="da-DK" sz="1100" dirty="0" err="1"/>
              <a:t>growth</a:t>
            </a:r>
            <a:endParaRPr lang="en-US" sz="1100" dirty="0"/>
          </a:p>
        </p:txBody>
      </p:sp>
      <p:cxnSp>
        <p:nvCxnSpPr>
          <p:cNvPr id="60" name="Lige forbindelse 17"/>
          <p:cNvCxnSpPr/>
          <p:nvPr/>
        </p:nvCxnSpPr>
        <p:spPr bwMode="auto">
          <a:xfrm>
            <a:off x="4441549" y="2448402"/>
            <a:ext cx="5832000" cy="0"/>
          </a:xfrm>
          <a:prstGeom prst="line">
            <a:avLst/>
          </a:prstGeom>
          <a:solidFill>
            <a:schemeClr val="accent1"/>
          </a:solidFill>
          <a:ln w="12700" cap="flat" cmpd="sng" algn="ctr">
            <a:solidFill>
              <a:schemeClr val="accent6"/>
            </a:solidFill>
            <a:prstDash val="dash"/>
            <a:round/>
            <a:headEnd type="none" w="med" len="med"/>
            <a:tailEnd type="none" w="med" len="med"/>
          </a:ln>
          <a:effectLst/>
        </p:spPr>
      </p:cxnSp>
      <p:cxnSp>
        <p:nvCxnSpPr>
          <p:cNvPr id="61" name="Lige forbindelse 17"/>
          <p:cNvCxnSpPr/>
          <p:nvPr/>
        </p:nvCxnSpPr>
        <p:spPr bwMode="auto">
          <a:xfrm>
            <a:off x="4508224" y="3345857"/>
            <a:ext cx="5832000" cy="0"/>
          </a:xfrm>
          <a:prstGeom prst="line">
            <a:avLst/>
          </a:prstGeom>
          <a:solidFill>
            <a:schemeClr val="accent1"/>
          </a:solidFill>
          <a:ln w="12700" cap="flat" cmpd="sng" algn="ctr">
            <a:solidFill>
              <a:schemeClr val="accent6"/>
            </a:solidFill>
            <a:prstDash val="dash"/>
            <a:round/>
            <a:headEnd type="none" w="med" len="med"/>
            <a:tailEnd type="none" w="med" len="med"/>
          </a:ln>
          <a:effectLst/>
        </p:spPr>
      </p:cxnSp>
      <p:cxnSp>
        <p:nvCxnSpPr>
          <p:cNvPr id="62" name="Lige forbindelse 17"/>
          <p:cNvCxnSpPr/>
          <p:nvPr/>
        </p:nvCxnSpPr>
        <p:spPr bwMode="auto">
          <a:xfrm>
            <a:off x="4441549" y="4244543"/>
            <a:ext cx="5832000" cy="0"/>
          </a:xfrm>
          <a:prstGeom prst="line">
            <a:avLst/>
          </a:prstGeom>
          <a:solidFill>
            <a:schemeClr val="accent1"/>
          </a:solidFill>
          <a:ln w="12700" cap="flat" cmpd="sng" algn="ctr">
            <a:solidFill>
              <a:schemeClr val="accent6"/>
            </a:solidFill>
            <a:prstDash val="dash"/>
            <a:round/>
            <a:headEnd type="none" w="med" len="med"/>
            <a:tailEnd type="none" w="med" len="med"/>
          </a:ln>
          <a:effectLst/>
        </p:spPr>
      </p:cxnSp>
      <p:cxnSp>
        <p:nvCxnSpPr>
          <p:cNvPr id="63" name="Lige forbindelse 17"/>
          <p:cNvCxnSpPr/>
          <p:nvPr/>
        </p:nvCxnSpPr>
        <p:spPr bwMode="auto">
          <a:xfrm>
            <a:off x="4441549" y="5128468"/>
            <a:ext cx="5832000" cy="0"/>
          </a:xfrm>
          <a:prstGeom prst="line">
            <a:avLst/>
          </a:prstGeom>
          <a:solidFill>
            <a:schemeClr val="accent1"/>
          </a:solidFill>
          <a:ln w="12700" cap="flat" cmpd="sng" algn="ctr">
            <a:solidFill>
              <a:schemeClr val="accent6"/>
            </a:solidFill>
            <a:prstDash val="dash"/>
            <a:round/>
            <a:headEnd type="none" w="med" len="med"/>
            <a:tailEnd type="none" w="med" len="med"/>
          </a:ln>
          <a:effectLst/>
        </p:spPr>
      </p:cxnSp>
      <p:cxnSp>
        <p:nvCxnSpPr>
          <p:cNvPr id="64" name="Lige forbindelse 17"/>
          <p:cNvCxnSpPr/>
          <p:nvPr/>
        </p:nvCxnSpPr>
        <p:spPr bwMode="auto">
          <a:xfrm>
            <a:off x="4441549" y="6014293"/>
            <a:ext cx="5832000" cy="0"/>
          </a:xfrm>
          <a:prstGeom prst="line">
            <a:avLst/>
          </a:prstGeom>
          <a:solidFill>
            <a:schemeClr val="accent1"/>
          </a:solidFill>
          <a:ln w="12700" cap="flat" cmpd="sng" algn="ctr">
            <a:solidFill>
              <a:schemeClr val="accent6"/>
            </a:solidFill>
            <a:prstDash val="dash"/>
            <a:round/>
            <a:headEnd type="none" w="med" len="med"/>
            <a:tailEnd type="none" w="med" len="med"/>
          </a:ln>
          <a:effectLst/>
        </p:spPr>
      </p:cxnSp>
      <p:sp>
        <p:nvSpPr>
          <p:cNvPr id="65" name="Flowchart: Manual Operation 8"/>
          <p:cNvSpPr/>
          <p:nvPr/>
        </p:nvSpPr>
        <p:spPr bwMode="auto">
          <a:xfrm rot="10800000">
            <a:off x="1507232" y="4543696"/>
            <a:ext cx="1268313" cy="17181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1342"/>
              <a:gd name="connsiteY0" fmla="*/ 0 h 10000"/>
              <a:gd name="connsiteX1" fmla="*/ 11342 w 11342"/>
              <a:gd name="connsiteY1" fmla="*/ 0 h 10000"/>
              <a:gd name="connsiteX2" fmla="*/ 9342 w 11342"/>
              <a:gd name="connsiteY2" fmla="*/ 10000 h 10000"/>
              <a:gd name="connsiteX3" fmla="*/ 3342 w 11342"/>
              <a:gd name="connsiteY3" fmla="*/ 10000 h 10000"/>
              <a:gd name="connsiteX4" fmla="*/ 0 w 11342"/>
              <a:gd name="connsiteY4" fmla="*/ 0 h 10000"/>
              <a:gd name="connsiteX0" fmla="*/ 0 w 12593"/>
              <a:gd name="connsiteY0" fmla="*/ 0 h 10000"/>
              <a:gd name="connsiteX1" fmla="*/ 12593 w 12593"/>
              <a:gd name="connsiteY1" fmla="*/ 0 h 10000"/>
              <a:gd name="connsiteX2" fmla="*/ 9342 w 12593"/>
              <a:gd name="connsiteY2" fmla="*/ 10000 h 10000"/>
              <a:gd name="connsiteX3" fmla="*/ 3342 w 12593"/>
              <a:gd name="connsiteY3" fmla="*/ 10000 h 10000"/>
              <a:gd name="connsiteX4" fmla="*/ 0 w 12593"/>
              <a:gd name="connsiteY4" fmla="*/ 0 h 10000"/>
              <a:gd name="connsiteX0" fmla="*/ 0 w 12593"/>
              <a:gd name="connsiteY0" fmla="*/ 0 h 10000"/>
              <a:gd name="connsiteX1" fmla="*/ 12593 w 12593"/>
              <a:gd name="connsiteY1" fmla="*/ 0 h 10000"/>
              <a:gd name="connsiteX2" fmla="*/ 9342 w 12593"/>
              <a:gd name="connsiteY2" fmla="*/ 10000 h 10000"/>
              <a:gd name="connsiteX3" fmla="*/ 3739 w 12593"/>
              <a:gd name="connsiteY3" fmla="*/ 10000 h 10000"/>
              <a:gd name="connsiteX4" fmla="*/ 0 w 12593"/>
              <a:gd name="connsiteY4" fmla="*/ 0 h 10000"/>
              <a:gd name="connsiteX0" fmla="*/ 0 w 12593"/>
              <a:gd name="connsiteY0" fmla="*/ 0 h 10000"/>
              <a:gd name="connsiteX1" fmla="*/ 12593 w 12593"/>
              <a:gd name="connsiteY1" fmla="*/ 0 h 10000"/>
              <a:gd name="connsiteX2" fmla="*/ 8854 w 12593"/>
              <a:gd name="connsiteY2" fmla="*/ 10000 h 10000"/>
              <a:gd name="connsiteX3" fmla="*/ 3739 w 12593"/>
              <a:gd name="connsiteY3" fmla="*/ 10000 h 10000"/>
              <a:gd name="connsiteX4" fmla="*/ 0 w 12593"/>
              <a:gd name="connsiteY4" fmla="*/ 0 h 10000"/>
              <a:gd name="connsiteX0" fmla="*/ 0 w 12593"/>
              <a:gd name="connsiteY0" fmla="*/ 0 h 10000"/>
              <a:gd name="connsiteX1" fmla="*/ 12593 w 12593"/>
              <a:gd name="connsiteY1" fmla="*/ 0 h 10000"/>
              <a:gd name="connsiteX2" fmla="*/ 7393 w 12593"/>
              <a:gd name="connsiteY2" fmla="*/ 10000 h 10000"/>
              <a:gd name="connsiteX3" fmla="*/ 3739 w 12593"/>
              <a:gd name="connsiteY3" fmla="*/ 10000 h 10000"/>
              <a:gd name="connsiteX4" fmla="*/ 0 w 12593"/>
              <a:gd name="connsiteY4" fmla="*/ 0 h 10000"/>
              <a:gd name="connsiteX0" fmla="*/ 0 w 12593"/>
              <a:gd name="connsiteY0" fmla="*/ 0 h 10000"/>
              <a:gd name="connsiteX1" fmla="*/ 12593 w 12593"/>
              <a:gd name="connsiteY1" fmla="*/ 0 h 10000"/>
              <a:gd name="connsiteX2" fmla="*/ 7393 w 12593"/>
              <a:gd name="connsiteY2" fmla="*/ 10000 h 10000"/>
              <a:gd name="connsiteX3" fmla="*/ 4541 w 12593"/>
              <a:gd name="connsiteY3" fmla="*/ 10000 h 10000"/>
              <a:gd name="connsiteX4" fmla="*/ 0 w 12593"/>
              <a:gd name="connsiteY4" fmla="*/ 0 h 10000"/>
              <a:gd name="connsiteX0" fmla="*/ 0 w 12593"/>
              <a:gd name="connsiteY0" fmla="*/ 0 h 10356"/>
              <a:gd name="connsiteX1" fmla="*/ 12593 w 12593"/>
              <a:gd name="connsiteY1" fmla="*/ 0 h 10356"/>
              <a:gd name="connsiteX2" fmla="*/ 7393 w 12593"/>
              <a:gd name="connsiteY2" fmla="*/ 10000 h 10356"/>
              <a:gd name="connsiteX3" fmla="*/ 4941 w 12593"/>
              <a:gd name="connsiteY3" fmla="*/ 10356 h 10356"/>
              <a:gd name="connsiteX4" fmla="*/ 0 w 12593"/>
              <a:gd name="connsiteY4" fmla="*/ 0 h 10356"/>
              <a:gd name="connsiteX0" fmla="*/ 0 w 12593"/>
              <a:gd name="connsiteY0" fmla="*/ 0 h 10889"/>
              <a:gd name="connsiteX1" fmla="*/ 12593 w 12593"/>
              <a:gd name="connsiteY1" fmla="*/ 0 h 10889"/>
              <a:gd name="connsiteX2" fmla="*/ 6775 w 12593"/>
              <a:gd name="connsiteY2" fmla="*/ 10889 h 10889"/>
              <a:gd name="connsiteX3" fmla="*/ 4941 w 12593"/>
              <a:gd name="connsiteY3" fmla="*/ 10356 h 10889"/>
              <a:gd name="connsiteX4" fmla="*/ 0 w 12593"/>
              <a:gd name="connsiteY4" fmla="*/ 0 h 10889"/>
              <a:gd name="connsiteX0" fmla="*/ 0 w 12593"/>
              <a:gd name="connsiteY0" fmla="*/ 0 h 10356"/>
              <a:gd name="connsiteX1" fmla="*/ 12593 w 12593"/>
              <a:gd name="connsiteY1" fmla="*/ 0 h 10356"/>
              <a:gd name="connsiteX2" fmla="*/ 6775 w 12593"/>
              <a:gd name="connsiteY2" fmla="*/ 10178 h 10356"/>
              <a:gd name="connsiteX3" fmla="*/ 4941 w 12593"/>
              <a:gd name="connsiteY3" fmla="*/ 10356 h 10356"/>
              <a:gd name="connsiteX4" fmla="*/ 0 w 12593"/>
              <a:gd name="connsiteY4" fmla="*/ 0 h 10356"/>
              <a:gd name="connsiteX0" fmla="*/ 0 w 12593"/>
              <a:gd name="connsiteY0" fmla="*/ 0 h 10534"/>
              <a:gd name="connsiteX1" fmla="*/ 12593 w 12593"/>
              <a:gd name="connsiteY1" fmla="*/ 0 h 10534"/>
              <a:gd name="connsiteX2" fmla="*/ 6739 w 12593"/>
              <a:gd name="connsiteY2" fmla="*/ 10534 h 10534"/>
              <a:gd name="connsiteX3" fmla="*/ 4941 w 12593"/>
              <a:gd name="connsiteY3" fmla="*/ 10356 h 10534"/>
              <a:gd name="connsiteX4" fmla="*/ 0 w 12593"/>
              <a:gd name="connsiteY4" fmla="*/ 0 h 10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3" h="10534">
                <a:moveTo>
                  <a:pt x="0" y="0"/>
                </a:moveTo>
                <a:lnTo>
                  <a:pt x="12593" y="0"/>
                </a:lnTo>
                <a:lnTo>
                  <a:pt x="6739" y="10534"/>
                </a:lnTo>
                <a:lnTo>
                  <a:pt x="4941" y="10356"/>
                </a:lnTo>
                <a:lnTo>
                  <a:pt x="0" y="0"/>
                </a:lnTo>
                <a:close/>
              </a:path>
            </a:pathLst>
          </a:custGeom>
          <a:solidFill>
            <a:schemeClr val="accent5"/>
          </a:solidFill>
          <a:ln w="9525">
            <a:solidFill>
              <a:schemeClr val="tx2">
                <a:lumMod val="20000"/>
                <a:lumOff val="80000"/>
              </a:schemeClr>
            </a:solidFill>
            <a:miter lim="800000"/>
            <a:headEnd/>
            <a:tailEnd/>
          </a:ln>
          <a:effectLst/>
        </p:spPr>
        <p:txBody>
          <a:bodyPr rot="0" spcFirstLastPara="0" vertOverflow="overflow" horzOverflow="overflow" vert="horz" wrap="square" lIns="83077" tIns="43200" rIns="83077" bIns="43200" numCol="1" spcCol="0" rtlCol="0" fromWordArt="0" anchor="ctr" anchorCtr="0" forceAA="0" compatLnSpc="1">
            <a:prstTxWarp prst="textNoShape">
              <a:avLst/>
            </a:prstTxWarp>
            <a:noAutofit/>
          </a:bodyPr>
          <a:lstStyle/>
          <a:p>
            <a:pPr algn="l"/>
            <a:endParaRPr lang="en-US" sz="1662" dirty="0">
              <a:solidFill>
                <a:schemeClr val="tx1">
                  <a:lumMod val="85000"/>
                  <a:lumOff val="15000"/>
                </a:schemeClr>
              </a:solidFill>
            </a:endParaRPr>
          </a:p>
        </p:txBody>
      </p:sp>
      <p:sp>
        <p:nvSpPr>
          <p:cNvPr id="66" name="Rectangle 65"/>
          <p:cNvSpPr/>
          <p:nvPr/>
        </p:nvSpPr>
        <p:spPr>
          <a:xfrm>
            <a:off x="1078698" y="3934039"/>
            <a:ext cx="2218998" cy="646331"/>
          </a:xfrm>
          <a:prstGeom prst="rect">
            <a:avLst/>
          </a:prstGeom>
        </p:spPr>
        <p:txBody>
          <a:bodyPr wrap="square">
            <a:spAutoFit/>
          </a:bodyPr>
          <a:lstStyle/>
          <a:p>
            <a:pPr algn="ctr"/>
            <a:r>
              <a:rPr lang="en-US" sz="1200" dirty="0"/>
              <a:t>Based on </a:t>
            </a:r>
            <a:br>
              <a:rPr lang="en-US" sz="1200" dirty="0"/>
            </a:br>
            <a:r>
              <a:rPr lang="en-US" sz="1200" dirty="0"/>
              <a:t>Extensive Risk List</a:t>
            </a:r>
          </a:p>
          <a:p>
            <a:pPr algn="ctr"/>
            <a:r>
              <a:rPr lang="en-US" sz="1200" dirty="0"/>
              <a:t>In Back-Up</a:t>
            </a:r>
          </a:p>
        </p:txBody>
      </p:sp>
      <p:sp>
        <p:nvSpPr>
          <p:cNvPr id="111" name="TextBox 110"/>
          <p:cNvSpPr txBox="1"/>
          <p:nvPr/>
        </p:nvSpPr>
        <p:spPr>
          <a:xfrm rot="16200000">
            <a:off x="1051896" y="1754190"/>
            <a:ext cx="467399" cy="123111"/>
          </a:xfrm>
          <a:prstGeom prst="rect">
            <a:avLst/>
          </a:prstGeom>
          <a:noFill/>
          <a:ln w="6350">
            <a:noFill/>
          </a:ln>
        </p:spPr>
        <p:txBody>
          <a:bodyPr wrap="square" lIns="0" tIns="0" rIns="0" bIns="0" rtlCol="0" anchor="t">
            <a:spAutoFit/>
          </a:bodyPr>
          <a:lstStyle/>
          <a:p>
            <a:pPr>
              <a:spcBef>
                <a:spcPts val="550"/>
              </a:spcBef>
              <a:buClr>
                <a:srgbClr val="279D4E"/>
              </a:buClr>
              <a:defRPr/>
            </a:pPr>
            <a:r>
              <a:rPr lang="en-US" sz="800" kern="0" dirty="0">
                <a:solidFill>
                  <a:srgbClr val="000000"/>
                </a:solidFill>
              </a:rPr>
              <a:t>High</a:t>
            </a:r>
          </a:p>
        </p:txBody>
      </p:sp>
      <p:grpSp>
        <p:nvGrpSpPr>
          <p:cNvPr id="112" name="Group 111"/>
          <p:cNvGrpSpPr/>
          <p:nvPr/>
        </p:nvGrpSpPr>
        <p:grpSpPr>
          <a:xfrm>
            <a:off x="1147947" y="1854929"/>
            <a:ext cx="2238932" cy="1997092"/>
            <a:chOff x="262399" y="2137232"/>
            <a:chExt cx="2238932" cy="1997092"/>
          </a:xfrm>
        </p:grpSpPr>
        <p:grpSp>
          <p:nvGrpSpPr>
            <p:cNvPr id="113" name="Group 112"/>
            <p:cNvGrpSpPr/>
            <p:nvPr/>
          </p:nvGrpSpPr>
          <p:grpSpPr>
            <a:xfrm>
              <a:off x="484144" y="2137232"/>
              <a:ext cx="1745385" cy="1745734"/>
              <a:chOff x="2585116" y="1557338"/>
              <a:chExt cx="1105311" cy="1105532"/>
            </a:xfrm>
          </p:grpSpPr>
          <p:sp>
            <p:nvSpPr>
              <p:cNvPr id="119" name="Rectangle 118"/>
              <p:cNvSpPr/>
              <p:nvPr/>
            </p:nvSpPr>
            <p:spPr bwMode="auto">
              <a:xfrm>
                <a:off x="2585116" y="2294510"/>
                <a:ext cx="368360" cy="368360"/>
              </a:xfrm>
              <a:prstGeom prst="rect">
                <a:avLst/>
              </a:prstGeom>
              <a:solidFill>
                <a:srgbClr val="1D4819"/>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0" name="Rectangle 119"/>
              <p:cNvSpPr/>
              <p:nvPr/>
            </p:nvSpPr>
            <p:spPr bwMode="auto">
              <a:xfrm>
                <a:off x="2585116" y="1925924"/>
                <a:ext cx="368360" cy="368360"/>
              </a:xfrm>
              <a:prstGeom prst="rect">
                <a:avLst/>
              </a:prstGeom>
              <a:solidFill>
                <a:srgbClr val="459117"/>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1" name="Rectangle 120"/>
              <p:cNvSpPr/>
              <p:nvPr/>
            </p:nvSpPr>
            <p:spPr bwMode="auto">
              <a:xfrm>
                <a:off x="2585116" y="1557338"/>
                <a:ext cx="368360" cy="368360"/>
              </a:xfrm>
              <a:prstGeom prst="rect">
                <a:avLst/>
              </a:prstGeom>
              <a:solidFill>
                <a:srgbClr val="FFC000"/>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2" name="Rectangle 121"/>
              <p:cNvSpPr/>
              <p:nvPr/>
            </p:nvSpPr>
            <p:spPr bwMode="auto">
              <a:xfrm>
                <a:off x="2952983" y="2294510"/>
                <a:ext cx="368360" cy="368360"/>
              </a:xfrm>
              <a:prstGeom prst="rect">
                <a:avLst/>
              </a:prstGeom>
              <a:solidFill>
                <a:srgbClr val="459117"/>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3" name="Rectangle 122"/>
              <p:cNvSpPr/>
              <p:nvPr/>
            </p:nvSpPr>
            <p:spPr bwMode="auto">
              <a:xfrm>
                <a:off x="2952983" y="1925924"/>
                <a:ext cx="368360" cy="368360"/>
              </a:xfrm>
              <a:prstGeom prst="rect">
                <a:avLst/>
              </a:prstGeom>
              <a:solidFill>
                <a:srgbClr val="FFC000"/>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4" name="Rectangle 123"/>
              <p:cNvSpPr/>
              <p:nvPr/>
            </p:nvSpPr>
            <p:spPr bwMode="auto">
              <a:xfrm>
                <a:off x="2952983" y="1557338"/>
                <a:ext cx="368360" cy="368360"/>
              </a:xfrm>
              <a:prstGeom prst="rect">
                <a:avLst/>
              </a:prstGeom>
              <a:solidFill>
                <a:srgbClr val="D74730">
                  <a:lumMod val="60000"/>
                  <a:lumOff val="40000"/>
                </a:srgbClr>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5" name="Rectangle 124"/>
              <p:cNvSpPr/>
              <p:nvPr/>
            </p:nvSpPr>
            <p:spPr bwMode="auto">
              <a:xfrm>
                <a:off x="3322067" y="2294510"/>
                <a:ext cx="368360" cy="368360"/>
              </a:xfrm>
              <a:prstGeom prst="rect">
                <a:avLst/>
              </a:prstGeom>
              <a:solidFill>
                <a:srgbClr val="FFC000"/>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6" name="Rectangle 125"/>
              <p:cNvSpPr/>
              <p:nvPr/>
            </p:nvSpPr>
            <p:spPr bwMode="auto">
              <a:xfrm>
                <a:off x="3322067" y="1925924"/>
                <a:ext cx="368360" cy="368360"/>
              </a:xfrm>
              <a:prstGeom prst="rect">
                <a:avLst/>
              </a:prstGeom>
              <a:solidFill>
                <a:srgbClr val="D74730">
                  <a:lumMod val="60000"/>
                  <a:lumOff val="40000"/>
                </a:srgbClr>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127" name="Rectangle 126"/>
              <p:cNvSpPr/>
              <p:nvPr/>
            </p:nvSpPr>
            <p:spPr bwMode="auto">
              <a:xfrm>
                <a:off x="3322067" y="1557338"/>
                <a:ext cx="368360" cy="368360"/>
              </a:xfrm>
              <a:prstGeom prst="rect">
                <a:avLst/>
              </a:prstGeom>
              <a:solidFill>
                <a:srgbClr val="D74730">
                  <a:lumMod val="75000"/>
                </a:srgbClr>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grpSp>
        <p:sp>
          <p:nvSpPr>
            <p:cNvPr id="114" name="TextBox 113"/>
            <p:cNvSpPr txBox="1"/>
            <p:nvPr/>
          </p:nvSpPr>
          <p:spPr>
            <a:xfrm>
              <a:off x="1100418" y="3949658"/>
              <a:ext cx="728382" cy="184666"/>
            </a:xfrm>
            <a:prstGeom prst="rect">
              <a:avLst/>
            </a:prstGeom>
            <a:noFill/>
            <a:ln w="6350">
              <a:noFill/>
            </a:ln>
          </p:spPr>
          <p:txBody>
            <a:bodyPr wrap="square" lIns="0" tIns="0" rIns="0" bIns="0" rtlCol="0" anchor="t">
              <a:spAutoFit/>
            </a:bodyPr>
            <a:lstStyle/>
            <a:p>
              <a:pPr>
                <a:spcBef>
                  <a:spcPts val="550"/>
                </a:spcBef>
                <a:buClr>
                  <a:srgbClr val="279D4E"/>
                </a:buClr>
                <a:defRPr/>
              </a:pPr>
              <a:r>
                <a:rPr lang="en-US" sz="1200" kern="0" dirty="0">
                  <a:solidFill>
                    <a:srgbClr val="000000"/>
                  </a:solidFill>
                </a:rPr>
                <a:t>Impact</a:t>
              </a:r>
              <a:r>
                <a:rPr lang="en-US" sz="1200" kern="0" baseline="30000" dirty="0">
                  <a:solidFill>
                    <a:srgbClr val="000000"/>
                  </a:solidFill>
                </a:rPr>
                <a:t>1</a:t>
              </a:r>
            </a:p>
          </p:txBody>
        </p:sp>
        <p:sp>
          <p:nvSpPr>
            <p:cNvPr id="115" name="TextBox 114"/>
            <p:cNvSpPr txBox="1"/>
            <p:nvPr/>
          </p:nvSpPr>
          <p:spPr>
            <a:xfrm>
              <a:off x="262399" y="2654567"/>
              <a:ext cx="184666" cy="714939"/>
            </a:xfrm>
            <a:prstGeom prst="rect">
              <a:avLst/>
            </a:prstGeom>
            <a:noFill/>
            <a:ln w="6350">
              <a:noFill/>
            </a:ln>
          </p:spPr>
          <p:txBody>
            <a:bodyPr vert="vert270" wrap="none" lIns="0" tIns="0" rIns="0" bIns="0" rtlCol="0" anchor="t">
              <a:spAutoFit/>
            </a:bodyPr>
            <a:lstStyle/>
            <a:p>
              <a:pPr>
                <a:spcBef>
                  <a:spcPts val="550"/>
                </a:spcBef>
                <a:buClr>
                  <a:srgbClr val="279D4E"/>
                </a:buClr>
                <a:defRPr/>
              </a:pPr>
              <a:r>
                <a:rPr lang="en-US" sz="1200" kern="0" dirty="0">
                  <a:solidFill>
                    <a:srgbClr val="000000"/>
                  </a:solidFill>
                </a:rPr>
                <a:t>Probability</a:t>
              </a:r>
            </a:p>
          </p:txBody>
        </p:sp>
        <p:sp>
          <p:nvSpPr>
            <p:cNvPr id="116" name="TextBox 115"/>
            <p:cNvSpPr txBox="1"/>
            <p:nvPr/>
          </p:nvSpPr>
          <p:spPr>
            <a:xfrm>
              <a:off x="2033932" y="3901326"/>
              <a:ext cx="467399" cy="123111"/>
            </a:xfrm>
            <a:prstGeom prst="rect">
              <a:avLst/>
            </a:prstGeom>
            <a:noFill/>
            <a:ln w="6350">
              <a:noFill/>
            </a:ln>
          </p:spPr>
          <p:txBody>
            <a:bodyPr wrap="square" lIns="0" tIns="0" rIns="0" bIns="0" rtlCol="0" anchor="t">
              <a:spAutoFit/>
            </a:bodyPr>
            <a:lstStyle/>
            <a:p>
              <a:pPr>
                <a:spcBef>
                  <a:spcPts val="550"/>
                </a:spcBef>
                <a:buClr>
                  <a:srgbClr val="279D4E"/>
                </a:buClr>
                <a:defRPr/>
              </a:pPr>
              <a:r>
                <a:rPr lang="en-US" sz="800" kern="0" dirty="0">
                  <a:solidFill>
                    <a:srgbClr val="000000"/>
                  </a:solidFill>
                </a:rPr>
                <a:t>High</a:t>
              </a:r>
            </a:p>
          </p:txBody>
        </p:sp>
        <p:sp>
          <p:nvSpPr>
            <p:cNvPr id="117" name="TextBox 116"/>
            <p:cNvSpPr txBox="1"/>
            <p:nvPr/>
          </p:nvSpPr>
          <p:spPr>
            <a:xfrm>
              <a:off x="484144" y="3901326"/>
              <a:ext cx="467399" cy="123111"/>
            </a:xfrm>
            <a:prstGeom prst="rect">
              <a:avLst/>
            </a:prstGeom>
            <a:noFill/>
            <a:ln w="6350">
              <a:noFill/>
            </a:ln>
          </p:spPr>
          <p:txBody>
            <a:bodyPr wrap="square" lIns="0" tIns="0" rIns="0" bIns="0" rtlCol="0" anchor="t">
              <a:spAutoFit/>
            </a:bodyPr>
            <a:lstStyle/>
            <a:p>
              <a:pPr>
                <a:spcBef>
                  <a:spcPts val="550"/>
                </a:spcBef>
                <a:buClr>
                  <a:srgbClr val="279D4E"/>
                </a:buClr>
                <a:defRPr/>
              </a:pPr>
              <a:r>
                <a:rPr lang="en-US" sz="800" kern="0" dirty="0">
                  <a:solidFill>
                    <a:srgbClr val="000000"/>
                  </a:solidFill>
                </a:rPr>
                <a:t>Low</a:t>
              </a:r>
            </a:p>
          </p:txBody>
        </p:sp>
        <p:sp>
          <p:nvSpPr>
            <p:cNvPr id="118" name="TextBox 117"/>
            <p:cNvSpPr txBox="1"/>
            <p:nvPr/>
          </p:nvSpPr>
          <p:spPr>
            <a:xfrm rot="16200000">
              <a:off x="166811" y="3572043"/>
              <a:ext cx="467399" cy="123111"/>
            </a:xfrm>
            <a:prstGeom prst="rect">
              <a:avLst/>
            </a:prstGeom>
            <a:noFill/>
            <a:ln w="6350">
              <a:noFill/>
            </a:ln>
          </p:spPr>
          <p:txBody>
            <a:bodyPr wrap="square" lIns="0" tIns="0" rIns="0" bIns="0" rtlCol="0" anchor="t">
              <a:spAutoFit/>
            </a:bodyPr>
            <a:lstStyle/>
            <a:p>
              <a:pPr>
                <a:spcBef>
                  <a:spcPts val="550"/>
                </a:spcBef>
                <a:buClr>
                  <a:srgbClr val="279D4E"/>
                </a:buClr>
                <a:defRPr/>
              </a:pPr>
              <a:r>
                <a:rPr lang="en-US" sz="800" kern="0" dirty="0">
                  <a:solidFill>
                    <a:srgbClr val="000000"/>
                  </a:solidFill>
                </a:rPr>
                <a:t>Low</a:t>
              </a:r>
            </a:p>
          </p:txBody>
        </p:sp>
      </p:grpSp>
      <p:sp>
        <p:nvSpPr>
          <p:cNvPr id="128" name="Oval 127"/>
          <p:cNvSpPr/>
          <p:nvPr/>
        </p:nvSpPr>
        <p:spPr bwMode="auto">
          <a:xfrm>
            <a:off x="2224783" y="3186894"/>
            <a:ext cx="288000" cy="288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da-DK" sz="1108" b="1" kern="0" dirty="0">
                <a:solidFill>
                  <a:srgbClr val="FFFFFF"/>
                </a:solidFill>
              </a:rPr>
              <a:t>16</a:t>
            </a:r>
            <a:endParaRPr lang="en-US" sz="1108" b="1" kern="0" dirty="0">
              <a:solidFill>
                <a:srgbClr val="FFFFFF"/>
              </a:solidFill>
            </a:endParaRPr>
          </a:p>
        </p:txBody>
      </p:sp>
      <p:sp>
        <p:nvSpPr>
          <p:cNvPr id="129" name="Oval 128"/>
          <p:cNvSpPr/>
          <p:nvPr/>
        </p:nvSpPr>
        <p:spPr bwMode="auto">
          <a:xfrm>
            <a:off x="2513371" y="2578855"/>
            <a:ext cx="288000" cy="383604"/>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da-DK" sz="1108" b="1" kern="0" dirty="0">
                <a:solidFill>
                  <a:srgbClr val="FFFFFF"/>
                </a:solidFill>
              </a:rPr>
              <a:t>2</a:t>
            </a:r>
            <a:endParaRPr lang="en-US" sz="1108" b="1" kern="0" dirty="0">
              <a:solidFill>
                <a:srgbClr val="FFFFFF"/>
              </a:solidFill>
            </a:endParaRPr>
          </a:p>
        </p:txBody>
      </p:sp>
      <p:sp>
        <p:nvSpPr>
          <p:cNvPr id="131" name="Oval 130"/>
          <p:cNvSpPr/>
          <p:nvPr/>
        </p:nvSpPr>
        <p:spPr bwMode="auto">
          <a:xfrm>
            <a:off x="2134911" y="2629409"/>
            <a:ext cx="288000" cy="288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da-DK" sz="1108" b="1" kern="0" dirty="0">
                <a:solidFill>
                  <a:srgbClr val="FFFFFF"/>
                </a:solidFill>
              </a:rPr>
              <a:t>14</a:t>
            </a:r>
            <a:endParaRPr lang="en-US" sz="1108" b="1" kern="0" dirty="0">
              <a:solidFill>
                <a:srgbClr val="FFFFFF"/>
              </a:solidFill>
            </a:endParaRPr>
          </a:p>
        </p:txBody>
      </p:sp>
      <p:sp>
        <p:nvSpPr>
          <p:cNvPr id="132" name="Oval 131"/>
          <p:cNvSpPr/>
          <p:nvPr/>
        </p:nvSpPr>
        <p:spPr bwMode="auto">
          <a:xfrm>
            <a:off x="2141388" y="2114803"/>
            <a:ext cx="288000" cy="288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b="1" kern="0" dirty="0">
                <a:solidFill>
                  <a:srgbClr val="FFFFFF"/>
                </a:solidFill>
              </a:rPr>
              <a:t>1</a:t>
            </a:r>
          </a:p>
        </p:txBody>
      </p:sp>
      <p:sp>
        <p:nvSpPr>
          <p:cNvPr id="138" name="Oval 137"/>
          <p:cNvSpPr/>
          <p:nvPr/>
        </p:nvSpPr>
        <p:spPr bwMode="auto">
          <a:xfrm>
            <a:off x="1806587" y="2046279"/>
            <a:ext cx="288000" cy="288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da-DK" sz="1108" b="1" kern="0" dirty="0">
                <a:solidFill>
                  <a:srgbClr val="FFFFFF"/>
                </a:solidFill>
              </a:rPr>
              <a:t>6</a:t>
            </a:r>
            <a:endParaRPr lang="en-US" sz="1108" b="1" kern="0" dirty="0">
              <a:solidFill>
                <a:srgbClr val="FFFFFF"/>
              </a:solidFill>
            </a:endParaRPr>
          </a:p>
        </p:txBody>
      </p:sp>
      <p:pic>
        <p:nvPicPr>
          <p:cNvPr id="6" name="Picture 5"/>
          <p:cNvPicPr>
            <a:picLocks noChangeAspect="1"/>
          </p:cNvPicPr>
          <p:nvPr/>
        </p:nvPicPr>
        <p:blipFill>
          <a:blip r:embed="rId8"/>
          <a:stretch>
            <a:fillRect/>
          </a:stretch>
        </p:blipFill>
        <p:spPr>
          <a:xfrm>
            <a:off x="1442139" y="4740033"/>
            <a:ext cx="1499285" cy="1124464"/>
          </a:xfrm>
          <a:prstGeom prst="rect">
            <a:avLst/>
          </a:prstGeom>
          <a:ln>
            <a:solidFill>
              <a:schemeClr val="accent1"/>
            </a:solidFill>
          </a:ln>
        </p:spPr>
      </p:pic>
      <p:sp>
        <p:nvSpPr>
          <p:cNvPr id="7" name="Tekstfelt 6"/>
          <p:cNvSpPr txBox="1"/>
          <p:nvPr/>
        </p:nvSpPr>
        <p:spPr>
          <a:xfrm>
            <a:off x="10892118" y="6535271"/>
            <a:ext cx="184731" cy="369332"/>
          </a:xfrm>
          <a:prstGeom prst="rect">
            <a:avLst/>
          </a:prstGeom>
          <a:noFill/>
        </p:spPr>
        <p:txBody>
          <a:bodyPr wrap="none" rtlCol="0">
            <a:spAutoFit/>
          </a:bodyPr>
          <a:lstStyle/>
          <a:p>
            <a:endParaRPr lang="da-DK" dirty="0"/>
          </a:p>
        </p:txBody>
      </p:sp>
    </p:spTree>
    <p:extLst>
      <p:ext uri="{BB962C8B-B14F-4D97-AF65-F5344CB8AC3E}">
        <p14:creationId xmlns:p14="http://schemas.microsoft.com/office/powerpoint/2010/main" val="3301300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Text Placeholder 128"/>
          <p:cNvSpPr>
            <a:spLocks noGrp="1"/>
          </p:cNvSpPr>
          <p:nvPr>
            <p:ph type="body" sz="quarter" idx="13"/>
          </p:nvPr>
        </p:nvSpPr>
        <p:spPr>
          <a:prstGeom prst="rect">
            <a:avLst/>
          </a:prstGeom>
        </p:spPr>
        <p:txBody>
          <a:bodyPr/>
          <a:lstStyle/>
          <a:p>
            <a:r>
              <a:rPr lang="en-GB" dirty="0"/>
              <a:t>Back-Up</a:t>
            </a:r>
            <a:endParaRPr lang="en-US" dirty="0"/>
          </a:p>
        </p:txBody>
      </p:sp>
      <p:sp>
        <p:nvSpPr>
          <p:cNvPr id="2" name="Pladsholder til tekst 1"/>
          <p:cNvSpPr>
            <a:spLocks noGrp="1"/>
          </p:cNvSpPr>
          <p:nvPr>
            <p:ph type="body" sz="quarter" idx="15"/>
          </p:nvPr>
        </p:nvSpPr>
        <p:spPr>
          <a:prstGeom prst="rect">
            <a:avLst/>
          </a:prstGeom>
        </p:spPr>
        <p:txBody>
          <a:bodyPr/>
          <a:lstStyle/>
          <a:p>
            <a:r>
              <a:rPr lang="da-DK" dirty="0"/>
              <a:t>Team Analysis</a:t>
            </a:r>
          </a:p>
        </p:txBody>
      </p:sp>
      <p:sp>
        <p:nvSpPr>
          <p:cNvPr id="127" name="Title 126"/>
          <p:cNvSpPr>
            <a:spLocks noGrp="1"/>
          </p:cNvSpPr>
          <p:nvPr>
            <p:ph type="title"/>
          </p:nvPr>
        </p:nvSpPr>
        <p:spPr>
          <a:prstGeom prst="rect">
            <a:avLst/>
          </a:prstGeom>
        </p:spPr>
        <p:txBody>
          <a:bodyPr/>
          <a:lstStyle/>
          <a:p>
            <a:r>
              <a:rPr lang="da-DK" sz="1800" dirty="0" err="1"/>
              <a:t>Extensive</a:t>
            </a:r>
            <a:r>
              <a:rPr lang="da-DK" sz="1800" dirty="0"/>
              <a:t> </a:t>
            </a:r>
            <a:r>
              <a:rPr lang="da-DK" sz="1800" dirty="0" err="1"/>
              <a:t>risk</a:t>
            </a:r>
            <a:r>
              <a:rPr lang="da-DK" sz="1800" dirty="0"/>
              <a:t> slide</a:t>
            </a:r>
            <a:endParaRPr lang="en-US" dirty="0"/>
          </a:p>
        </p:txBody>
      </p:sp>
      <p:grpSp>
        <p:nvGrpSpPr>
          <p:cNvPr id="257" name="Group 256"/>
          <p:cNvGrpSpPr/>
          <p:nvPr/>
        </p:nvGrpSpPr>
        <p:grpSpPr>
          <a:xfrm>
            <a:off x="7199854" y="1473433"/>
            <a:ext cx="3705963" cy="3791230"/>
            <a:chOff x="5432071" y="1650388"/>
            <a:chExt cx="3705963" cy="3791230"/>
          </a:xfrm>
        </p:grpSpPr>
        <p:grpSp>
          <p:nvGrpSpPr>
            <p:cNvPr id="258" name="Group 257"/>
            <p:cNvGrpSpPr/>
            <p:nvPr/>
          </p:nvGrpSpPr>
          <p:grpSpPr>
            <a:xfrm>
              <a:off x="5696828" y="2215170"/>
              <a:ext cx="2939039" cy="2998373"/>
              <a:chOff x="2585116" y="1557338"/>
              <a:chExt cx="1105311" cy="1105532"/>
            </a:xfrm>
          </p:grpSpPr>
          <p:sp>
            <p:nvSpPr>
              <p:cNvPr id="265" name="Rectangle 264"/>
              <p:cNvSpPr/>
              <p:nvPr/>
            </p:nvSpPr>
            <p:spPr bwMode="auto">
              <a:xfrm>
                <a:off x="2585116" y="2294510"/>
                <a:ext cx="368360" cy="368360"/>
              </a:xfrm>
              <a:prstGeom prst="rect">
                <a:avLst/>
              </a:prstGeom>
              <a:solidFill>
                <a:srgbClr val="1D4819"/>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66" name="Rectangle 265"/>
              <p:cNvSpPr/>
              <p:nvPr/>
            </p:nvSpPr>
            <p:spPr bwMode="auto">
              <a:xfrm>
                <a:off x="2585116" y="1925924"/>
                <a:ext cx="368360" cy="368360"/>
              </a:xfrm>
              <a:prstGeom prst="rect">
                <a:avLst/>
              </a:prstGeom>
              <a:solidFill>
                <a:srgbClr val="459117"/>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67" name="Rectangle 266"/>
              <p:cNvSpPr/>
              <p:nvPr/>
            </p:nvSpPr>
            <p:spPr bwMode="auto">
              <a:xfrm>
                <a:off x="2585116" y="1557338"/>
                <a:ext cx="368360" cy="368360"/>
              </a:xfrm>
              <a:prstGeom prst="rect">
                <a:avLst/>
              </a:prstGeom>
              <a:solidFill>
                <a:srgbClr val="FFC000"/>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68" name="Rectangle 267"/>
              <p:cNvSpPr/>
              <p:nvPr/>
            </p:nvSpPr>
            <p:spPr bwMode="auto">
              <a:xfrm>
                <a:off x="2952983" y="2294510"/>
                <a:ext cx="368360" cy="368360"/>
              </a:xfrm>
              <a:prstGeom prst="rect">
                <a:avLst/>
              </a:prstGeom>
              <a:solidFill>
                <a:srgbClr val="459117"/>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69" name="Rectangle 268"/>
              <p:cNvSpPr/>
              <p:nvPr/>
            </p:nvSpPr>
            <p:spPr bwMode="auto">
              <a:xfrm>
                <a:off x="2952983" y="1925924"/>
                <a:ext cx="368360" cy="368360"/>
              </a:xfrm>
              <a:prstGeom prst="rect">
                <a:avLst/>
              </a:prstGeom>
              <a:solidFill>
                <a:srgbClr val="FFC000"/>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70" name="Rectangle 269"/>
              <p:cNvSpPr/>
              <p:nvPr/>
            </p:nvSpPr>
            <p:spPr bwMode="auto">
              <a:xfrm>
                <a:off x="2952983" y="1557338"/>
                <a:ext cx="368360" cy="368360"/>
              </a:xfrm>
              <a:prstGeom prst="rect">
                <a:avLst/>
              </a:prstGeom>
              <a:solidFill>
                <a:srgbClr val="D74730">
                  <a:lumMod val="60000"/>
                  <a:lumOff val="40000"/>
                </a:srgbClr>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71" name="Rectangle 270"/>
              <p:cNvSpPr/>
              <p:nvPr/>
            </p:nvSpPr>
            <p:spPr bwMode="auto">
              <a:xfrm>
                <a:off x="3322067" y="2294510"/>
                <a:ext cx="368360" cy="368360"/>
              </a:xfrm>
              <a:prstGeom prst="rect">
                <a:avLst/>
              </a:prstGeom>
              <a:solidFill>
                <a:srgbClr val="FFC000"/>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72" name="Rectangle 271"/>
              <p:cNvSpPr/>
              <p:nvPr/>
            </p:nvSpPr>
            <p:spPr bwMode="auto">
              <a:xfrm>
                <a:off x="3322067" y="1925924"/>
                <a:ext cx="368360" cy="368360"/>
              </a:xfrm>
              <a:prstGeom prst="rect">
                <a:avLst/>
              </a:prstGeom>
              <a:solidFill>
                <a:srgbClr val="D74730">
                  <a:lumMod val="60000"/>
                  <a:lumOff val="40000"/>
                </a:srgbClr>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sp>
            <p:nvSpPr>
              <p:cNvPr id="273" name="Rectangle 272"/>
              <p:cNvSpPr/>
              <p:nvPr/>
            </p:nvSpPr>
            <p:spPr bwMode="auto">
              <a:xfrm>
                <a:off x="3322067" y="1557338"/>
                <a:ext cx="368360" cy="368360"/>
              </a:xfrm>
              <a:prstGeom prst="rect">
                <a:avLst/>
              </a:prstGeom>
              <a:solidFill>
                <a:srgbClr val="D74730">
                  <a:lumMod val="75000"/>
                </a:srgbClr>
              </a:solidFill>
              <a:ln w="9525">
                <a:solidFill>
                  <a:srgbClr val="000000"/>
                </a:solidFill>
                <a:miter lim="800000"/>
                <a:headEnd/>
                <a:tailEn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defRPr/>
                </a:pPr>
                <a:endParaRPr lang="en-US" kern="0" dirty="0">
                  <a:solidFill>
                    <a:srgbClr val="000000"/>
                  </a:solidFill>
                </a:endParaRPr>
              </a:p>
            </p:txBody>
          </p:sp>
        </p:grpSp>
        <p:sp>
          <p:nvSpPr>
            <p:cNvPr id="259" name="TextBox 258"/>
            <p:cNvSpPr txBox="1"/>
            <p:nvPr/>
          </p:nvSpPr>
          <p:spPr>
            <a:xfrm>
              <a:off x="6878306" y="5256952"/>
              <a:ext cx="1171639" cy="184666"/>
            </a:xfrm>
            <a:prstGeom prst="rect">
              <a:avLst/>
            </a:prstGeom>
            <a:noFill/>
            <a:ln w="6350">
              <a:noFill/>
            </a:ln>
          </p:spPr>
          <p:txBody>
            <a:bodyPr wrap="square" lIns="0" tIns="0" rIns="0" bIns="0" rtlCol="0" anchor="t">
              <a:spAutoFit/>
            </a:bodyPr>
            <a:lstStyle/>
            <a:p>
              <a:pPr>
                <a:spcBef>
                  <a:spcPts val="550"/>
                </a:spcBef>
                <a:buClr>
                  <a:srgbClr val="279D4E"/>
                </a:buClr>
                <a:defRPr/>
              </a:pPr>
              <a:r>
                <a:rPr lang="en-US" sz="1200" kern="0" dirty="0">
                  <a:solidFill>
                    <a:srgbClr val="000000"/>
                  </a:solidFill>
                </a:rPr>
                <a:t>Impact</a:t>
              </a:r>
              <a:endParaRPr lang="en-US" sz="1400" kern="0" dirty="0">
                <a:solidFill>
                  <a:srgbClr val="000000"/>
                </a:solidFill>
              </a:endParaRPr>
            </a:p>
          </p:txBody>
        </p:sp>
        <p:sp>
          <p:nvSpPr>
            <p:cNvPr id="260" name="TextBox 259"/>
            <p:cNvSpPr txBox="1"/>
            <p:nvPr/>
          </p:nvSpPr>
          <p:spPr>
            <a:xfrm>
              <a:off x="5432071" y="3442823"/>
              <a:ext cx="169277" cy="660437"/>
            </a:xfrm>
            <a:prstGeom prst="rect">
              <a:avLst/>
            </a:prstGeom>
            <a:noFill/>
            <a:ln w="6350">
              <a:noFill/>
            </a:ln>
          </p:spPr>
          <p:txBody>
            <a:bodyPr vert="vert270" wrap="none" lIns="0" tIns="0" rIns="0" bIns="0" rtlCol="0" anchor="t">
              <a:spAutoFit/>
            </a:bodyPr>
            <a:lstStyle/>
            <a:p>
              <a:pPr>
                <a:spcBef>
                  <a:spcPts val="550"/>
                </a:spcBef>
                <a:buClr>
                  <a:srgbClr val="279D4E"/>
                </a:buClr>
                <a:defRPr/>
              </a:pPr>
              <a:r>
                <a:rPr lang="en-US" sz="1100" kern="0" dirty="0">
                  <a:solidFill>
                    <a:srgbClr val="000000"/>
                  </a:solidFill>
                </a:rPr>
                <a:t>Probability</a:t>
              </a:r>
              <a:endParaRPr lang="en-US" sz="1200" kern="0" dirty="0">
                <a:solidFill>
                  <a:srgbClr val="000000"/>
                </a:solidFill>
              </a:endParaRPr>
            </a:p>
          </p:txBody>
        </p:sp>
        <p:sp>
          <p:nvSpPr>
            <p:cNvPr id="261" name="TextBox 260"/>
            <p:cNvSpPr txBox="1"/>
            <p:nvPr/>
          </p:nvSpPr>
          <p:spPr>
            <a:xfrm>
              <a:off x="8350985" y="5245077"/>
              <a:ext cx="787049" cy="153888"/>
            </a:xfrm>
            <a:prstGeom prst="rect">
              <a:avLst/>
            </a:prstGeom>
            <a:noFill/>
            <a:ln w="6350">
              <a:noFill/>
            </a:ln>
          </p:spPr>
          <p:txBody>
            <a:bodyPr wrap="square" lIns="0" tIns="0" rIns="0" bIns="0" rtlCol="0" anchor="t">
              <a:spAutoFit/>
            </a:bodyPr>
            <a:lstStyle/>
            <a:p>
              <a:pPr>
                <a:spcBef>
                  <a:spcPts val="550"/>
                </a:spcBef>
                <a:buClr>
                  <a:srgbClr val="279D4E"/>
                </a:buClr>
                <a:defRPr/>
              </a:pPr>
              <a:r>
                <a:rPr lang="en-US" sz="1000" kern="0" dirty="0">
                  <a:solidFill>
                    <a:srgbClr val="000000"/>
                  </a:solidFill>
                </a:rPr>
                <a:t>High</a:t>
              </a:r>
            </a:p>
          </p:txBody>
        </p:sp>
        <p:sp>
          <p:nvSpPr>
            <p:cNvPr id="262" name="TextBox 261"/>
            <p:cNvSpPr txBox="1"/>
            <p:nvPr/>
          </p:nvSpPr>
          <p:spPr>
            <a:xfrm>
              <a:off x="5696828" y="5245077"/>
              <a:ext cx="787049" cy="153888"/>
            </a:xfrm>
            <a:prstGeom prst="rect">
              <a:avLst/>
            </a:prstGeom>
            <a:noFill/>
            <a:ln w="6350">
              <a:noFill/>
            </a:ln>
          </p:spPr>
          <p:txBody>
            <a:bodyPr wrap="square" lIns="0" tIns="0" rIns="0" bIns="0" rtlCol="0" anchor="t">
              <a:spAutoFit/>
            </a:bodyPr>
            <a:lstStyle/>
            <a:p>
              <a:pPr>
                <a:spcBef>
                  <a:spcPts val="550"/>
                </a:spcBef>
                <a:buClr>
                  <a:srgbClr val="279D4E"/>
                </a:buClr>
                <a:defRPr/>
              </a:pPr>
              <a:r>
                <a:rPr lang="en-US" sz="1000" kern="0" dirty="0">
                  <a:solidFill>
                    <a:srgbClr val="000000"/>
                  </a:solidFill>
                </a:rPr>
                <a:t>Low</a:t>
              </a:r>
            </a:p>
          </p:txBody>
        </p:sp>
        <p:sp>
          <p:nvSpPr>
            <p:cNvPr id="263" name="TextBox 262"/>
            <p:cNvSpPr txBox="1"/>
            <p:nvPr/>
          </p:nvSpPr>
          <p:spPr>
            <a:xfrm rot="16200000">
              <a:off x="5135720" y="1974833"/>
              <a:ext cx="802778" cy="153888"/>
            </a:xfrm>
            <a:prstGeom prst="rect">
              <a:avLst/>
            </a:prstGeom>
            <a:noFill/>
            <a:ln w="6350">
              <a:noFill/>
            </a:ln>
          </p:spPr>
          <p:txBody>
            <a:bodyPr wrap="square" lIns="0" tIns="0" rIns="0" bIns="0" rtlCol="0" anchor="t">
              <a:spAutoFit/>
            </a:bodyPr>
            <a:lstStyle/>
            <a:p>
              <a:pPr>
                <a:spcBef>
                  <a:spcPts val="550"/>
                </a:spcBef>
                <a:buClr>
                  <a:srgbClr val="279D4E"/>
                </a:buClr>
                <a:defRPr/>
              </a:pPr>
              <a:r>
                <a:rPr lang="en-US" sz="1000" kern="0" dirty="0">
                  <a:solidFill>
                    <a:srgbClr val="000000"/>
                  </a:solidFill>
                </a:rPr>
                <a:t>High</a:t>
              </a:r>
            </a:p>
          </p:txBody>
        </p:sp>
        <p:sp>
          <p:nvSpPr>
            <p:cNvPr id="264" name="TextBox 263"/>
            <p:cNvSpPr txBox="1"/>
            <p:nvPr/>
          </p:nvSpPr>
          <p:spPr>
            <a:xfrm rot="16200000">
              <a:off x="5154609" y="4708298"/>
              <a:ext cx="802778" cy="153888"/>
            </a:xfrm>
            <a:prstGeom prst="rect">
              <a:avLst/>
            </a:prstGeom>
            <a:noFill/>
            <a:ln w="6350">
              <a:noFill/>
            </a:ln>
          </p:spPr>
          <p:txBody>
            <a:bodyPr wrap="square" lIns="0" tIns="0" rIns="0" bIns="0" rtlCol="0" anchor="t">
              <a:spAutoFit/>
            </a:bodyPr>
            <a:lstStyle/>
            <a:p>
              <a:pPr>
                <a:spcBef>
                  <a:spcPts val="550"/>
                </a:spcBef>
                <a:buClr>
                  <a:srgbClr val="279D4E"/>
                </a:buClr>
                <a:defRPr/>
              </a:pPr>
              <a:r>
                <a:rPr lang="en-US" sz="1000" kern="0" dirty="0">
                  <a:solidFill>
                    <a:srgbClr val="000000"/>
                  </a:solidFill>
                </a:rPr>
                <a:t>Low</a:t>
              </a:r>
            </a:p>
          </p:txBody>
        </p:sp>
      </p:grpSp>
      <p:sp>
        <p:nvSpPr>
          <p:cNvPr id="275" name="Oval 274"/>
          <p:cNvSpPr/>
          <p:nvPr/>
        </p:nvSpPr>
        <p:spPr bwMode="auto">
          <a:xfrm>
            <a:off x="10111710" y="3111466"/>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6</a:t>
            </a:r>
          </a:p>
        </p:txBody>
      </p:sp>
      <p:sp>
        <p:nvSpPr>
          <p:cNvPr id="276" name="Oval 275"/>
          <p:cNvSpPr/>
          <p:nvPr/>
        </p:nvSpPr>
        <p:spPr bwMode="auto">
          <a:xfrm>
            <a:off x="8172775" y="2130111"/>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3</a:t>
            </a:r>
          </a:p>
        </p:txBody>
      </p:sp>
      <p:sp>
        <p:nvSpPr>
          <p:cNvPr id="277" name="Oval 276"/>
          <p:cNvSpPr/>
          <p:nvPr/>
        </p:nvSpPr>
        <p:spPr bwMode="auto">
          <a:xfrm>
            <a:off x="8490752" y="3109957"/>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9</a:t>
            </a:r>
          </a:p>
        </p:txBody>
      </p:sp>
      <p:sp>
        <p:nvSpPr>
          <p:cNvPr id="278" name="Oval 277"/>
          <p:cNvSpPr/>
          <p:nvPr/>
        </p:nvSpPr>
        <p:spPr bwMode="auto">
          <a:xfrm>
            <a:off x="7513919" y="2110731"/>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2</a:t>
            </a:r>
          </a:p>
        </p:txBody>
      </p:sp>
      <p:sp>
        <p:nvSpPr>
          <p:cNvPr id="279" name="Oval 278"/>
          <p:cNvSpPr/>
          <p:nvPr/>
        </p:nvSpPr>
        <p:spPr bwMode="auto">
          <a:xfrm>
            <a:off x="1680723" y="1860710"/>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a:t>
            </a:r>
          </a:p>
        </p:txBody>
      </p:sp>
      <p:sp>
        <p:nvSpPr>
          <p:cNvPr id="280" name="Oval 279"/>
          <p:cNvSpPr/>
          <p:nvPr/>
        </p:nvSpPr>
        <p:spPr bwMode="auto">
          <a:xfrm>
            <a:off x="1680723" y="2270481"/>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2</a:t>
            </a:r>
          </a:p>
        </p:txBody>
      </p:sp>
      <p:sp>
        <p:nvSpPr>
          <p:cNvPr id="281" name="Oval 280"/>
          <p:cNvSpPr/>
          <p:nvPr/>
        </p:nvSpPr>
        <p:spPr bwMode="auto">
          <a:xfrm>
            <a:off x="1680723" y="2620862"/>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3</a:t>
            </a:r>
          </a:p>
        </p:txBody>
      </p:sp>
      <p:sp>
        <p:nvSpPr>
          <p:cNvPr id="282" name="Oval 281"/>
          <p:cNvSpPr/>
          <p:nvPr/>
        </p:nvSpPr>
        <p:spPr bwMode="auto">
          <a:xfrm>
            <a:off x="1680723" y="2986483"/>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4</a:t>
            </a:r>
          </a:p>
        </p:txBody>
      </p:sp>
      <p:sp>
        <p:nvSpPr>
          <p:cNvPr id="283" name="Oval 282"/>
          <p:cNvSpPr/>
          <p:nvPr/>
        </p:nvSpPr>
        <p:spPr bwMode="auto">
          <a:xfrm>
            <a:off x="1680723" y="3401634"/>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5</a:t>
            </a:r>
          </a:p>
        </p:txBody>
      </p:sp>
      <p:sp>
        <p:nvSpPr>
          <p:cNvPr id="284" name="Oval 283"/>
          <p:cNvSpPr/>
          <p:nvPr/>
        </p:nvSpPr>
        <p:spPr bwMode="auto">
          <a:xfrm>
            <a:off x="1680723" y="3734398"/>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6</a:t>
            </a:r>
          </a:p>
        </p:txBody>
      </p:sp>
      <p:sp>
        <p:nvSpPr>
          <p:cNvPr id="285" name="Oval 284"/>
          <p:cNvSpPr/>
          <p:nvPr/>
        </p:nvSpPr>
        <p:spPr bwMode="auto">
          <a:xfrm>
            <a:off x="1680723" y="4093832"/>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7</a:t>
            </a:r>
          </a:p>
        </p:txBody>
      </p:sp>
      <p:sp>
        <p:nvSpPr>
          <p:cNvPr id="286" name="Oval 285"/>
          <p:cNvSpPr/>
          <p:nvPr/>
        </p:nvSpPr>
        <p:spPr bwMode="auto">
          <a:xfrm>
            <a:off x="1680723" y="4435160"/>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8</a:t>
            </a:r>
          </a:p>
        </p:txBody>
      </p:sp>
      <p:sp>
        <p:nvSpPr>
          <p:cNvPr id="287" name="Oval 286"/>
          <p:cNvSpPr/>
          <p:nvPr/>
        </p:nvSpPr>
        <p:spPr bwMode="auto">
          <a:xfrm>
            <a:off x="1680723" y="4892048"/>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9</a:t>
            </a:r>
          </a:p>
        </p:txBody>
      </p:sp>
      <p:sp>
        <p:nvSpPr>
          <p:cNvPr id="288" name="Oval 287"/>
          <p:cNvSpPr/>
          <p:nvPr/>
        </p:nvSpPr>
        <p:spPr bwMode="auto">
          <a:xfrm>
            <a:off x="1680723" y="5295980"/>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0</a:t>
            </a:r>
          </a:p>
        </p:txBody>
      </p:sp>
      <p:sp>
        <p:nvSpPr>
          <p:cNvPr id="289" name="Oval 288"/>
          <p:cNvSpPr/>
          <p:nvPr/>
        </p:nvSpPr>
        <p:spPr bwMode="auto">
          <a:xfrm>
            <a:off x="4013031" y="1780371"/>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1</a:t>
            </a:r>
          </a:p>
        </p:txBody>
      </p:sp>
      <p:sp>
        <p:nvSpPr>
          <p:cNvPr id="290" name="Oval 289"/>
          <p:cNvSpPr/>
          <p:nvPr/>
        </p:nvSpPr>
        <p:spPr bwMode="auto">
          <a:xfrm>
            <a:off x="4013031" y="2180282"/>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2</a:t>
            </a:r>
          </a:p>
        </p:txBody>
      </p:sp>
      <p:sp>
        <p:nvSpPr>
          <p:cNvPr id="291" name="Oval 290"/>
          <p:cNvSpPr/>
          <p:nvPr/>
        </p:nvSpPr>
        <p:spPr bwMode="auto">
          <a:xfrm>
            <a:off x="4005766" y="2625913"/>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3</a:t>
            </a:r>
          </a:p>
        </p:txBody>
      </p:sp>
      <p:sp>
        <p:nvSpPr>
          <p:cNvPr id="292" name="Oval 291"/>
          <p:cNvSpPr/>
          <p:nvPr/>
        </p:nvSpPr>
        <p:spPr bwMode="auto">
          <a:xfrm>
            <a:off x="4001956" y="3033128"/>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4</a:t>
            </a:r>
          </a:p>
        </p:txBody>
      </p:sp>
      <p:sp>
        <p:nvSpPr>
          <p:cNvPr id="293" name="Oval 292"/>
          <p:cNvSpPr/>
          <p:nvPr/>
        </p:nvSpPr>
        <p:spPr bwMode="auto">
          <a:xfrm>
            <a:off x="4003546" y="3379704"/>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5</a:t>
            </a:r>
          </a:p>
        </p:txBody>
      </p:sp>
      <p:sp>
        <p:nvSpPr>
          <p:cNvPr id="294" name="Oval 293"/>
          <p:cNvSpPr/>
          <p:nvPr/>
        </p:nvSpPr>
        <p:spPr bwMode="auto">
          <a:xfrm>
            <a:off x="4003546" y="3801938"/>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6</a:t>
            </a:r>
          </a:p>
        </p:txBody>
      </p:sp>
      <p:sp>
        <p:nvSpPr>
          <p:cNvPr id="295" name="Oval 294"/>
          <p:cNvSpPr/>
          <p:nvPr/>
        </p:nvSpPr>
        <p:spPr bwMode="auto">
          <a:xfrm>
            <a:off x="4003546" y="4268733"/>
            <a:ext cx="216000" cy="216000"/>
          </a:xfrm>
          <a:prstGeom prst="ellipse">
            <a:avLst/>
          </a:prstGeom>
          <a:solidFill>
            <a:srgbClr val="000000">
              <a:lumMod val="65000"/>
              <a:lumOff val="35000"/>
            </a:srgbClr>
          </a:solidFill>
          <a:ln w="9525">
            <a:solidFill>
              <a:srgbClr val="000000">
                <a:lumMod val="65000"/>
                <a:lumOff val="35000"/>
              </a:srgbClr>
            </a:solidFill>
            <a:miter lim="800000"/>
            <a:headEnd/>
            <a:tailE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050" kern="0" dirty="0">
                <a:solidFill>
                  <a:srgbClr val="FFFFFF"/>
                </a:solidFill>
              </a:rPr>
              <a:t>17</a:t>
            </a:r>
          </a:p>
        </p:txBody>
      </p:sp>
      <p:sp>
        <p:nvSpPr>
          <p:cNvPr id="305" name="TextBox 304"/>
          <p:cNvSpPr txBox="1"/>
          <p:nvPr/>
        </p:nvSpPr>
        <p:spPr>
          <a:xfrm>
            <a:off x="4376615" y="2151634"/>
            <a:ext cx="1802675" cy="328300"/>
          </a:xfrm>
          <a:prstGeom prst="rect">
            <a:avLst/>
          </a:prstGeom>
          <a:noFill/>
          <a:ln w="6350">
            <a:noFill/>
          </a:ln>
        </p:spPr>
        <p:txBody>
          <a:bodyPr wrap="square" lIns="0" tIns="0" rIns="0" bIns="0" rtlCol="0" anchor="ctr">
            <a:noAutofit/>
          </a:bodyPr>
          <a:lstStyle/>
          <a:p>
            <a:pPr>
              <a:spcBef>
                <a:spcPts val="400"/>
              </a:spcBef>
              <a:buClr>
                <a:srgbClr val="279D4E"/>
              </a:buClr>
              <a:defRPr/>
            </a:pPr>
            <a:r>
              <a:rPr lang="en-US" sz="900" kern="0" dirty="0">
                <a:solidFill>
                  <a:srgbClr val="000000"/>
                </a:solidFill>
              </a:rPr>
              <a:t>Cost oriented customers</a:t>
            </a:r>
          </a:p>
        </p:txBody>
      </p:sp>
      <p:sp>
        <p:nvSpPr>
          <p:cNvPr id="306" name="TextBox 305"/>
          <p:cNvSpPr txBox="1"/>
          <p:nvPr/>
        </p:nvSpPr>
        <p:spPr>
          <a:xfrm>
            <a:off x="2039641" y="2218593"/>
            <a:ext cx="1802675" cy="319843"/>
          </a:xfrm>
          <a:prstGeom prst="rect">
            <a:avLst/>
          </a:prstGeom>
          <a:noFill/>
          <a:ln w="6350">
            <a:noFill/>
          </a:ln>
        </p:spPr>
        <p:txBody>
          <a:bodyPr wrap="square" lIns="0" tIns="0" rIns="0" bIns="0" rtlCol="0" anchor="ctr">
            <a:noAutofit/>
          </a:bodyPr>
          <a:lstStyle/>
          <a:p>
            <a:pPr>
              <a:spcBef>
                <a:spcPts val="400"/>
              </a:spcBef>
              <a:buClr>
                <a:srgbClr val="279D4E"/>
              </a:buClr>
              <a:defRPr/>
            </a:pPr>
            <a:r>
              <a:rPr lang="en-US" sz="900" b="1" kern="0" dirty="0">
                <a:solidFill>
                  <a:srgbClr val="000000"/>
                </a:solidFill>
              </a:rPr>
              <a:t>Support confusion</a:t>
            </a:r>
          </a:p>
        </p:txBody>
      </p:sp>
      <p:sp>
        <p:nvSpPr>
          <p:cNvPr id="307" name="TextBox 306"/>
          <p:cNvSpPr txBox="1"/>
          <p:nvPr/>
        </p:nvSpPr>
        <p:spPr>
          <a:xfrm>
            <a:off x="2039641" y="2568017"/>
            <a:ext cx="1802675" cy="328300"/>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a:solidFill>
                  <a:srgbClr val="000000"/>
                </a:solidFill>
              </a:rPr>
              <a:t>Market not sufficient</a:t>
            </a:r>
            <a:endParaRPr lang="en-US" sz="900" kern="0" dirty="0">
              <a:solidFill>
                <a:srgbClr val="000000"/>
              </a:solidFill>
            </a:endParaRPr>
          </a:p>
        </p:txBody>
      </p:sp>
      <p:sp>
        <p:nvSpPr>
          <p:cNvPr id="308" name="TextBox 307"/>
          <p:cNvSpPr txBox="1"/>
          <p:nvPr/>
        </p:nvSpPr>
        <p:spPr>
          <a:xfrm>
            <a:off x="2039641" y="2964000"/>
            <a:ext cx="1802675" cy="319843"/>
          </a:xfrm>
          <a:prstGeom prst="rect">
            <a:avLst/>
          </a:prstGeom>
          <a:noFill/>
          <a:ln w="6350">
            <a:noFill/>
          </a:ln>
        </p:spPr>
        <p:txBody>
          <a:bodyPr wrap="square" lIns="0" tIns="0" rIns="0" bIns="0" rtlCol="0" anchor="ctr">
            <a:noAutofit/>
          </a:bodyPr>
          <a:lstStyle/>
          <a:p>
            <a:pPr>
              <a:spcBef>
                <a:spcPts val="400"/>
              </a:spcBef>
              <a:buClr>
                <a:srgbClr val="279D4E"/>
              </a:buClr>
              <a:defRPr/>
            </a:pPr>
            <a:r>
              <a:rPr lang="en-US" sz="900" b="1" kern="0" dirty="0">
                <a:solidFill>
                  <a:srgbClr val="000000"/>
                </a:solidFill>
              </a:rPr>
              <a:t>No influence on patent </a:t>
            </a:r>
          </a:p>
          <a:p>
            <a:pPr>
              <a:spcBef>
                <a:spcPts val="400"/>
              </a:spcBef>
              <a:buClr>
                <a:srgbClr val="279D4E"/>
              </a:buClr>
              <a:defRPr/>
            </a:pPr>
            <a:r>
              <a:rPr lang="en-US" sz="900" b="1" kern="0" dirty="0">
                <a:solidFill>
                  <a:srgbClr val="000000"/>
                </a:solidFill>
              </a:rPr>
              <a:t>solutions</a:t>
            </a:r>
          </a:p>
        </p:txBody>
      </p:sp>
      <p:sp>
        <p:nvSpPr>
          <p:cNvPr id="309" name="TextBox 308"/>
          <p:cNvSpPr txBox="1"/>
          <p:nvPr/>
        </p:nvSpPr>
        <p:spPr>
          <a:xfrm>
            <a:off x="2039641" y="3343904"/>
            <a:ext cx="1802675" cy="328300"/>
          </a:xfrm>
          <a:prstGeom prst="rect">
            <a:avLst/>
          </a:prstGeom>
          <a:noFill/>
          <a:ln w="6350">
            <a:noFill/>
          </a:ln>
        </p:spPr>
        <p:txBody>
          <a:bodyPr wrap="square" lIns="0" tIns="0" rIns="0" bIns="0" rtlCol="0" anchor="ctr">
            <a:noAutofit/>
          </a:bodyPr>
          <a:lstStyle/>
          <a:p>
            <a:pPr>
              <a:spcBef>
                <a:spcPts val="400"/>
              </a:spcBef>
              <a:buClr>
                <a:srgbClr val="279D4E"/>
              </a:buClr>
              <a:defRPr/>
            </a:pPr>
            <a:r>
              <a:rPr lang="en-US" sz="900" kern="0" dirty="0">
                <a:solidFill>
                  <a:srgbClr val="000000"/>
                </a:solidFill>
              </a:rPr>
              <a:t>Unclear communication</a:t>
            </a:r>
          </a:p>
        </p:txBody>
      </p:sp>
      <p:sp>
        <p:nvSpPr>
          <p:cNvPr id="310" name="TextBox 309"/>
          <p:cNvSpPr txBox="1"/>
          <p:nvPr/>
        </p:nvSpPr>
        <p:spPr>
          <a:xfrm>
            <a:off x="2039641" y="3686547"/>
            <a:ext cx="1802675" cy="319843"/>
          </a:xfrm>
          <a:prstGeom prst="rect">
            <a:avLst/>
          </a:prstGeom>
          <a:noFill/>
          <a:ln w="6350">
            <a:noFill/>
          </a:ln>
        </p:spPr>
        <p:txBody>
          <a:bodyPr wrap="square" lIns="0" tIns="0" rIns="0" bIns="0" rtlCol="0" anchor="ctr">
            <a:noAutofit/>
          </a:bodyPr>
          <a:lstStyle/>
          <a:p>
            <a:pPr>
              <a:spcBef>
                <a:spcPts val="400"/>
              </a:spcBef>
              <a:buClr>
                <a:srgbClr val="279D4E"/>
              </a:buClr>
            </a:pPr>
            <a:r>
              <a:rPr lang="en-US" sz="900" b="1" kern="0" dirty="0">
                <a:solidFill>
                  <a:srgbClr val="000000"/>
                </a:solidFill>
              </a:rPr>
              <a:t>Word of mouth no effect</a:t>
            </a:r>
            <a:endParaRPr lang="en-US" sz="900" kern="0" dirty="0">
              <a:solidFill>
                <a:srgbClr val="000000"/>
              </a:solidFill>
            </a:endParaRPr>
          </a:p>
        </p:txBody>
      </p:sp>
      <p:sp>
        <p:nvSpPr>
          <p:cNvPr id="311" name="TextBox 310"/>
          <p:cNvSpPr txBox="1"/>
          <p:nvPr/>
        </p:nvSpPr>
        <p:spPr>
          <a:xfrm>
            <a:off x="2039641" y="4035971"/>
            <a:ext cx="1802675" cy="328300"/>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err="1">
                <a:solidFill>
                  <a:srgbClr val="000000"/>
                </a:solidFill>
              </a:rPr>
              <a:t>Cannot</a:t>
            </a:r>
            <a:r>
              <a:rPr lang="da-DK" sz="900" kern="0" dirty="0">
                <a:solidFill>
                  <a:srgbClr val="000000"/>
                </a:solidFill>
              </a:rPr>
              <a:t> </a:t>
            </a:r>
            <a:r>
              <a:rPr lang="da-DK" sz="900" kern="0" dirty="0" err="1">
                <a:solidFill>
                  <a:srgbClr val="000000"/>
                </a:solidFill>
              </a:rPr>
              <a:t>pass</a:t>
            </a:r>
            <a:r>
              <a:rPr lang="da-DK" sz="900" kern="0" dirty="0">
                <a:solidFill>
                  <a:srgbClr val="000000"/>
                </a:solidFill>
              </a:rPr>
              <a:t> gatekeeper (sale)</a:t>
            </a:r>
            <a:endParaRPr lang="en-US" sz="900" kern="0" dirty="0">
              <a:solidFill>
                <a:srgbClr val="000000"/>
              </a:solidFill>
            </a:endParaRPr>
          </a:p>
        </p:txBody>
      </p:sp>
      <p:sp>
        <p:nvSpPr>
          <p:cNvPr id="312" name="TextBox 311"/>
          <p:cNvSpPr txBox="1"/>
          <p:nvPr/>
        </p:nvSpPr>
        <p:spPr>
          <a:xfrm>
            <a:off x="2039641" y="4435764"/>
            <a:ext cx="1802675" cy="319843"/>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a:solidFill>
                  <a:srgbClr val="000000"/>
                </a:solidFill>
              </a:rPr>
              <a:t>Customers indifferent </a:t>
            </a:r>
            <a:r>
              <a:rPr lang="da-DK" sz="900" kern="0" dirty="0" err="1">
                <a:solidFill>
                  <a:srgbClr val="000000"/>
                </a:solidFill>
              </a:rPr>
              <a:t>between</a:t>
            </a:r>
            <a:r>
              <a:rPr lang="da-DK" sz="900" kern="0" dirty="0">
                <a:solidFill>
                  <a:srgbClr val="000000"/>
                </a:solidFill>
              </a:rPr>
              <a:t> brands</a:t>
            </a:r>
            <a:endParaRPr lang="en-US" sz="900" kern="0" dirty="0">
              <a:solidFill>
                <a:srgbClr val="000000"/>
              </a:solidFill>
            </a:endParaRPr>
          </a:p>
        </p:txBody>
      </p:sp>
      <p:sp>
        <p:nvSpPr>
          <p:cNvPr id="313" name="TextBox 312"/>
          <p:cNvSpPr txBox="1"/>
          <p:nvPr/>
        </p:nvSpPr>
        <p:spPr>
          <a:xfrm>
            <a:off x="2039641" y="4858460"/>
            <a:ext cx="1802675" cy="328300"/>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a:solidFill>
                  <a:srgbClr val="000000"/>
                </a:solidFill>
              </a:rPr>
              <a:t>No uniform </a:t>
            </a:r>
            <a:r>
              <a:rPr lang="da-DK" sz="900" kern="0" dirty="0" err="1">
                <a:solidFill>
                  <a:srgbClr val="000000"/>
                </a:solidFill>
              </a:rPr>
              <a:t>implementation</a:t>
            </a:r>
            <a:r>
              <a:rPr lang="da-DK" sz="900" kern="0" dirty="0">
                <a:solidFill>
                  <a:srgbClr val="000000"/>
                </a:solidFill>
              </a:rPr>
              <a:t> </a:t>
            </a:r>
            <a:r>
              <a:rPr lang="da-DK" sz="900" kern="0" dirty="0" err="1">
                <a:solidFill>
                  <a:srgbClr val="000000"/>
                </a:solidFill>
              </a:rPr>
              <a:t>phase</a:t>
            </a:r>
            <a:endParaRPr lang="en-US" sz="900" kern="0" dirty="0">
              <a:solidFill>
                <a:srgbClr val="000000"/>
              </a:solidFill>
            </a:endParaRPr>
          </a:p>
        </p:txBody>
      </p:sp>
      <p:sp>
        <p:nvSpPr>
          <p:cNvPr id="314" name="TextBox 313"/>
          <p:cNvSpPr txBox="1"/>
          <p:nvPr/>
        </p:nvSpPr>
        <p:spPr>
          <a:xfrm>
            <a:off x="2039641" y="5243895"/>
            <a:ext cx="1802675" cy="319843"/>
          </a:xfrm>
          <a:prstGeom prst="rect">
            <a:avLst/>
          </a:prstGeom>
          <a:noFill/>
          <a:ln w="6350">
            <a:noFill/>
          </a:ln>
        </p:spPr>
        <p:txBody>
          <a:bodyPr wrap="square" lIns="0" tIns="0" rIns="0" bIns="0" rtlCol="0" anchor="ctr">
            <a:noAutofit/>
          </a:bodyPr>
          <a:lstStyle/>
          <a:p>
            <a:pPr>
              <a:spcBef>
                <a:spcPts val="400"/>
              </a:spcBef>
              <a:buClr>
                <a:srgbClr val="279D4E"/>
              </a:buClr>
              <a:defRPr/>
            </a:pPr>
            <a:r>
              <a:rPr lang="en-US" sz="900" kern="0" dirty="0">
                <a:solidFill>
                  <a:srgbClr val="000000"/>
                </a:solidFill>
              </a:rPr>
              <a:t>Misunderstanding of </a:t>
            </a:r>
            <a:r>
              <a:rPr lang="en-US" sz="900" kern="0" dirty="0" err="1">
                <a:solidFill>
                  <a:srgbClr val="000000"/>
                </a:solidFill>
              </a:rPr>
              <a:t>comsumer</a:t>
            </a:r>
            <a:r>
              <a:rPr lang="en-US" sz="900" kern="0" dirty="0">
                <a:solidFill>
                  <a:srgbClr val="000000"/>
                </a:solidFill>
              </a:rPr>
              <a:t> preferences</a:t>
            </a:r>
            <a:endParaRPr lang="en-US" sz="900" b="1" kern="0" dirty="0">
              <a:solidFill>
                <a:srgbClr val="000000"/>
              </a:solidFill>
            </a:endParaRPr>
          </a:p>
        </p:txBody>
      </p:sp>
      <p:sp>
        <p:nvSpPr>
          <p:cNvPr id="315" name="TextBox 314"/>
          <p:cNvSpPr txBox="1"/>
          <p:nvPr/>
        </p:nvSpPr>
        <p:spPr>
          <a:xfrm>
            <a:off x="4371949" y="1720451"/>
            <a:ext cx="1802675" cy="328300"/>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a:solidFill>
                  <a:srgbClr val="000000"/>
                </a:solidFill>
              </a:rPr>
              <a:t>No differentiation from </a:t>
            </a:r>
            <a:r>
              <a:rPr lang="da-DK" sz="900" kern="0" dirty="0" err="1">
                <a:solidFill>
                  <a:srgbClr val="000000"/>
                </a:solidFill>
              </a:rPr>
              <a:t>competitors</a:t>
            </a:r>
            <a:endParaRPr lang="en-US" sz="900" b="1" kern="0" dirty="0">
              <a:solidFill>
                <a:srgbClr val="000000"/>
              </a:solidFill>
            </a:endParaRPr>
          </a:p>
        </p:txBody>
      </p:sp>
      <p:sp>
        <p:nvSpPr>
          <p:cNvPr id="316" name="TextBox 315"/>
          <p:cNvSpPr txBox="1"/>
          <p:nvPr/>
        </p:nvSpPr>
        <p:spPr>
          <a:xfrm>
            <a:off x="2039640" y="1808788"/>
            <a:ext cx="1802675" cy="319843"/>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b="1" kern="0" dirty="0" err="1">
                <a:solidFill>
                  <a:srgbClr val="000000"/>
                </a:solidFill>
              </a:rPr>
              <a:t>Partnership</a:t>
            </a:r>
            <a:r>
              <a:rPr lang="da-DK" sz="900" b="1" kern="0" dirty="0">
                <a:solidFill>
                  <a:srgbClr val="000000"/>
                </a:solidFill>
              </a:rPr>
              <a:t> </a:t>
            </a:r>
            <a:r>
              <a:rPr lang="da-DK" sz="900" b="1" kern="0" dirty="0" err="1">
                <a:solidFill>
                  <a:srgbClr val="000000"/>
                </a:solidFill>
              </a:rPr>
              <a:t>fails</a:t>
            </a:r>
            <a:endParaRPr lang="en-US" sz="900" b="1" kern="0" dirty="0">
              <a:solidFill>
                <a:srgbClr val="000000"/>
              </a:solidFill>
            </a:endParaRPr>
          </a:p>
        </p:txBody>
      </p:sp>
      <p:sp>
        <p:nvSpPr>
          <p:cNvPr id="317" name="TextBox 316"/>
          <p:cNvSpPr txBox="1"/>
          <p:nvPr/>
        </p:nvSpPr>
        <p:spPr>
          <a:xfrm>
            <a:off x="4371949" y="2590064"/>
            <a:ext cx="1802675" cy="328300"/>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err="1">
                <a:solidFill>
                  <a:srgbClr val="000000"/>
                </a:solidFill>
              </a:rPr>
              <a:t>Subsitution</a:t>
            </a:r>
            <a:r>
              <a:rPr lang="da-DK" sz="900" kern="0" dirty="0">
                <a:solidFill>
                  <a:srgbClr val="000000"/>
                </a:solidFill>
              </a:rPr>
              <a:t> for mobile/tablet</a:t>
            </a:r>
            <a:endParaRPr lang="en-US" sz="900" kern="0" dirty="0">
              <a:solidFill>
                <a:srgbClr val="000000"/>
              </a:solidFill>
            </a:endParaRPr>
          </a:p>
        </p:txBody>
      </p:sp>
      <p:sp>
        <p:nvSpPr>
          <p:cNvPr id="318" name="TextBox 317"/>
          <p:cNvSpPr txBox="1"/>
          <p:nvPr/>
        </p:nvSpPr>
        <p:spPr>
          <a:xfrm>
            <a:off x="4360874" y="2993355"/>
            <a:ext cx="1802675" cy="319843"/>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a:solidFill>
                  <a:srgbClr val="000000"/>
                </a:solidFill>
              </a:rPr>
              <a:t>OTT </a:t>
            </a:r>
            <a:r>
              <a:rPr lang="da-DK" sz="900" kern="0" dirty="0" err="1">
                <a:solidFill>
                  <a:srgbClr val="000000"/>
                </a:solidFill>
              </a:rPr>
              <a:t>threatens</a:t>
            </a:r>
            <a:r>
              <a:rPr lang="da-DK" sz="900" kern="0" dirty="0">
                <a:solidFill>
                  <a:srgbClr val="000000"/>
                </a:solidFill>
              </a:rPr>
              <a:t> </a:t>
            </a:r>
            <a:r>
              <a:rPr lang="da-DK" sz="900" kern="0" dirty="0" err="1">
                <a:solidFill>
                  <a:srgbClr val="000000"/>
                </a:solidFill>
              </a:rPr>
              <a:t>one</a:t>
            </a:r>
            <a:r>
              <a:rPr lang="da-DK" sz="900" kern="0" dirty="0">
                <a:solidFill>
                  <a:srgbClr val="000000"/>
                </a:solidFill>
              </a:rPr>
              <a:t>-stop shop</a:t>
            </a:r>
            <a:endParaRPr lang="en-US" sz="900" kern="0" dirty="0">
              <a:solidFill>
                <a:srgbClr val="000000"/>
              </a:solidFill>
            </a:endParaRPr>
          </a:p>
        </p:txBody>
      </p:sp>
      <p:sp>
        <p:nvSpPr>
          <p:cNvPr id="319" name="TextBox 318"/>
          <p:cNvSpPr txBox="1"/>
          <p:nvPr/>
        </p:nvSpPr>
        <p:spPr>
          <a:xfrm>
            <a:off x="4351390" y="3369187"/>
            <a:ext cx="1853126" cy="318016"/>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a:solidFill>
                  <a:srgbClr val="000000"/>
                </a:solidFill>
              </a:rPr>
              <a:t>PC </a:t>
            </a:r>
            <a:r>
              <a:rPr lang="da-DK" sz="900" kern="0" dirty="0" err="1">
                <a:solidFill>
                  <a:srgbClr val="000000"/>
                </a:solidFill>
              </a:rPr>
              <a:t>shipments</a:t>
            </a:r>
            <a:r>
              <a:rPr lang="da-DK" sz="900" kern="0" dirty="0">
                <a:solidFill>
                  <a:srgbClr val="000000"/>
                </a:solidFill>
              </a:rPr>
              <a:t> </a:t>
            </a:r>
            <a:r>
              <a:rPr lang="da-DK" sz="900" kern="0" dirty="0" err="1">
                <a:solidFill>
                  <a:srgbClr val="000000"/>
                </a:solidFill>
              </a:rPr>
              <a:t>declining</a:t>
            </a:r>
            <a:endParaRPr lang="en-US" sz="900" kern="0" dirty="0">
              <a:solidFill>
                <a:srgbClr val="000000"/>
              </a:solidFill>
            </a:endParaRPr>
          </a:p>
        </p:txBody>
      </p:sp>
      <p:sp>
        <p:nvSpPr>
          <p:cNvPr id="320" name="TextBox 319"/>
          <p:cNvSpPr txBox="1"/>
          <p:nvPr/>
        </p:nvSpPr>
        <p:spPr>
          <a:xfrm>
            <a:off x="4351391" y="3813623"/>
            <a:ext cx="1762985" cy="309824"/>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b="1" kern="0" dirty="0" err="1">
                <a:solidFill>
                  <a:srgbClr val="000000"/>
                </a:solidFill>
              </a:rPr>
              <a:t>Impact</a:t>
            </a:r>
            <a:r>
              <a:rPr lang="da-DK" sz="900" b="1" kern="0" dirty="0">
                <a:solidFill>
                  <a:srgbClr val="000000"/>
                </a:solidFill>
              </a:rPr>
              <a:t> </a:t>
            </a:r>
            <a:r>
              <a:rPr lang="da-DK" sz="900" b="1" kern="0" dirty="0" err="1">
                <a:solidFill>
                  <a:srgbClr val="000000"/>
                </a:solidFill>
              </a:rPr>
              <a:t>too</a:t>
            </a:r>
            <a:r>
              <a:rPr lang="da-DK" sz="900" b="1" kern="0" dirty="0">
                <a:solidFill>
                  <a:srgbClr val="000000"/>
                </a:solidFill>
              </a:rPr>
              <a:t> </a:t>
            </a:r>
            <a:r>
              <a:rPr lang="da-DK" sz="900" b="1" kern="0" dirty="0" err="1">
                <a:solidFill>
                  <a:srgbClr val="000000"/>
                </a:solidFill>
              </a:rPr>
              <a:t>low</a:t>
            </a:r>
            <a:endParaRPr lang="en-US" sz="900" b="1" kern="0" dirty="0">
              <a:solidFill>
                <a:srgbClr val="000000"/>
              </a:solidFill>
            </a:endParaRPr>
          </a:p>
        </p:txBody>
      </p:sp>
      <p:sp>
        <p:nvSpPr>
          <p:cNvPr id="321" name="TextBox 320"/>
          <p:cNvSpPr txBox="1"/>
          <p:nvPr/>
        </p:nvSpPr>
        <p:spPr>
          <a:xfrm>
            <a:off x="4351390" y="4258216"/>
            <a:ext cx="1853126" cy="318016"/>
          </a:xfrm>
          <a:prstGeom prst="rect">
            <a:avLst/>
          </a:prstGeom>
          <a:noFill/>
          <a:ln w="6350">
            <a:noFill/>
          </a:ln>
        </p:spPr>
        <p:txBody>
          <a:bodyPr wrap="square" lIns="0" tIns="0" rIns="0" bIns="0" rtlCol="0" anchor="ctr">
            <a:noAutofit/>
          </a:bodyPr>
          <a:lstStyle/>
          <a:p>
            <a:pPr>
              <a:spcBef>
                <a:spcPts val="400"/>
              </a:spcBef>
              <a:buClr>
                <a:srgbClr val="279D4E"/>
              </a:buClr>
              <a:defRPr/>
            </a:pPr>
            <a:r>
              <a:rPr lang="da-DK" sz="900" kern="0" dirty="0" err="1">
                <a:solidFill>
                  <a:srgbClr val="000000"/>
                </a:solidFill>
              </a:rPr>
              <a:t>Aussie</a:t>
            </a:r>
            <a:r>
              <a:rPr lang="da-DK" sz="900" kern="0" dirty="0">
                <a:solidFill>
                  <a:srgbClr val="000000"/>
                </a:solidFill>
              </a:rPr>
              <a:t>/</a:t>
            </a:r>
            <a:r>
              <a:rPr lang="da-DK" sz="900" kern="0" dirty="0" err="1">
                <a:solidFill>
                  <a:srgbClr val="000000"/>
                </a:solidFill>
              </a:rPr>
              <a:t>Asian</a:t>
            </a:r>
            <a:r>
              <a:rPr lang="da-DK" sz="900" kern="0" dirty="0">
                <a:solidFill>
                  <a:srgbClr val="000000"/>
                </a:solidFill>
              </a:rPr>
              <a:t> </a:t>
            </a:r>
            <a:r>
              <a:rPr lang="da-DK" sz="900" kern="0" dirty="0" err="1">
                <a:solidFill>
                  <a:srgbClr val="000000"/>
                </a:solidFill>
              </a:rPr>
              <a:t>barriers</a:t>
            </a:r>
            <a:endParaRPr lang="en-US" sz="900" kern="0" dirty="0">
              <a:solidFill>
                <a:srgbClr val="000000"/>
              </a:solidFill>
            </a:endParaRPr>
          </a:p>
        </p:txBody>
      </p:sp>
      <p:cxnSp>
        <p:nvCxnSpPr>
          <p:cNvPr id="331" name="Straight Connector 330"/>
          <p:cNvCxnSpPr/>
          <p:nvPr/>
        </p:nvCxnSpPr>
        <p:spPr bwMode="auto">
          <a:xfrm>
            <a:off x="4003547" y="3315030"/>
            <a:ext cx="2119896"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32" name="Straight Connector 331"/>
          <p:cNvCxnSpPr/>
          <p:nvPr/>
        </p:nvCxnSpPr>
        <p:spPr bwMode="auto">
          <a:xfrm>
            <a:off x="4003547" y="3741360"/>
            <a:ext cx="2119896"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33" name="Straight Connector 332"/>
          <p:cNvCxnSpPr/>
          <p:nvPr/>
        </p:nvCxnSpPr>
        <p:spPr bwMode="auto">
          <a:xfrm>
            <a:off x="4003547" y="4197598"/>
            <a:ext cx="2119896"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43" name="Straight Connector 342"/>
          <p:cNvCxnSpPr/>
          <p:nvPr/>
        </p:nvCxnSpPr>
        <p:spPr bwMode="auto">
          <a:xfrm>
            <a:off x="1691798" y="1727809"/>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44" name="Straight Connector 343"/>
          <p:cNvCxnSpPr/>
          <p:nvPr/>
        </p:nvCxnSpPr>
        <p:spPr bwMode="auto">
          <a:xfrm>
            <a:off x="1691798" y="2203801"/>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45" name="Straight Connector 344"/>
          <p:cNvCxnSpPr/>
          <p:nvPr/>
        </p:nvCxnSpPr>
        <p:spPr bwMode="auto">
          <a:xfrm>
            <a:off x="1691798" y="2553226"/>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46" name="Straight Connector 345"/>
          <p:cNvCxnSpPr/>
          <p:nvPr/>
        </p:nvCxnSpPr>
        <p:spPr bwMode="auto">
          <a:xfrm>
            <a:off x="1691798" y="2899678"/>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47" name="Straight Connector 346"/>
          <p:cNvCxnSpPr/>
          <p:nvPr/>
        </p:nvCxnSpPr>
        <p:spPr bwMode="auto">
          <a:xfrm>
            <a:off x="1691798" y="3348163"/>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48" name="Straight Connector 347"/>
          <p:cNvCxnSpPr/>
          <p:nvPr/>
        </p:nvCxnSpPr>
        <p:spPr bwMode="auto">
          <a:xfrm>
            <a:off x="1691798" y="3671755"/>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49" name="Straight Connector 348"/>
          <p:cNvCxnSpPr/>
          <p:nvPr/>
        </p:nvCxnSpPr>
        <p:spPr bwMode="auto">
          <a:xfrm>
            <a:off x="1691798" y="4021180"/>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50" name="Straight Connector 349"/>
          <p:cNvCxnSpPr/>
          <p:nvPr/>
        </p:nvCxnSpPr>
        <p:spPr bwMode="auto">
          <a:xfrm>
            <a:off x="1691798" y="4379062"/>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51" name="Straight Connector 350"/>
          <p:cNvCxnSpPr/>
          <p:nvPr/>
        </p:nvCxnSpPr>
        <p:spPr bwMode="auto">
          <a:xfrm>
            <a:off x="1691798" y="4813189"/>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52" name="Straight Connector 351"/>
          <p:cNvCxnSpPr/>
          <p:nvPr/>
        </p:nvCxnSpPr>
        <p:spPr bwMode="auto">
          <a:xfrm>
            <a:off x="1691798" y="5234963"/>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53" name="Straight Connector 352"/>
          <p:cNvCxnSpPr/>
          <p:nvPr/>
        </p:nvCxnSpPr>
        <p:spPr bwMode="auto">
          <a:xfrm>
            <a:off x="4024106" y="1726996"/>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54" name="Straight Connector 353"/>
          <p:cNvCxnSpPr/>
          <p:nvPr/>
        </p:nvCxnSpPr>
        <p:spPr bwMode="auto">
          <a:xfrm>
            <a:off x="4024106" y="2069638"/>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55" name="Straight Connector 354"/>
          <p:cNvCxnSpPr/>
          <p:nvPr/>
        </p:nvCxnSpPr>
        <p:spPr bwMode="auto">
          <a:xfrm>
            <a:off x="4024106" y="2525743"/>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cxnSp>
        <p:nvCxnSpPr>
          <p:cNvPr id="356" name="Straight Connector 355"/>
          <p:cNvCxnSpPr/>
          <p:nvPr/>
        </p:nvCxnSpPr>
        <p:spPr bwMode="auto">
          <a:xfrm>
            <a:off x="4013031" y="2978563"/>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sp>
        <p:nvSpPr>
          <p:cNvPr id="357" name="Rectangle 356"/>
          <p:cNvSpPr/>
          <p:nvPr/>
        </p:nvSpPr>
        <p:spPr>
          <a:xfrm>
            <a:off x="7486593" y="5436320"/>
            <a:ext cx="3002925" cy="273473"/>
          </a:xfrm>
          <a:prstGeom prst="rect">
            <a:avLst/>
          </a:prstGeom>
        </p:spPr>
        <p:txBody>
          <a:bodyPr wrap="square">
            <a:spAutoFit/>
          </a:bodyPr>
          <a:lstStyle/>
          <a:p>
            <a:pPr algn="ctr">
              <a:lnSpc>
                <a:spcPct val="107000"/>
              </a:lnSpc>
              <a:spcAft>
                <a:spcPts val="1200"/>
              </a:spcAft>
            </a:pPr>
            <a:r>
              <a:rPr lang="en-US" sz="1100"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How much does the risk affect the outcome)</a:t>
            </a:r>
          </a:p>
        </p:txBody>
      </p:sp>
      <p:sp>
        <p:nvSpPr>
          <p:cNvPr id="360" name="Oval 359"/>
          <p:cNvSpPr/>
          <p:nvPr/>
        </p:nvSpPr>
        <p:spPr bwMode="auto">
          <a:xfrm>
            <a:off x="8492301" y="2110731"/>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5</a:t>
            </a:r>
          </a:p>
        </p:txBody>
      </p:sp>
      <p:sp>
        <p:nvSpPr>
          <p:cNvPr id="361" name="Oval 360"/>
          <p:cNvSpPr/>
          <p:nvPr/>
        </p:nvSpPr>
        <p:spPr bwMode="auto">
          <a:xfrm>
            <a:off x="8803384" y="3109957"/>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4</a:t>
            </a:r>
          </a:p>
        </p:txBody>
      </p:sp>
      <p:sp>
        <p:nvSpPr>
          <p:cNvPr id="362" name="Oval 361"/>
          <p:cNvSpPr/>
          <p:nvPr/>
        </p:nvSpPr>
        <p:spPr bwMode="auto">
          <a:xfrm>
            <a:off x="8803384" y="4101573"/>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0</a:t>
            </a:r>
          </a:p>
        </p:txBody>
      </p:sp>
      <p:sp>
        <p:nvSpPr>
          <p:cNvPr id="363" name="Oval 362"/>
          <p:cNvSpPr/>
          <p:nvPr/>
        </p:nvSpPr>
        <p:spPr bwMode="auto">
          <a:xfrm>
            <a:off x="8490752" y="4101573"/>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7</a:t>
            </a:r>
          </a:p>
        </p:txBody>
      </p:sp>
      <p:sp>
        <p:nvSpPr>
          <p:cNvPr id="364" name="Oval 363"/>
          <p:cNvSpPr/>
          <p:nvPr/>
        </p:nvSpPr>
        <p:spPr bwMode="auto">
          <a:xfrm>
            <a:off x="7525838" y="3109957"/>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6</a:t>
            </a:r>
          </a:p>
        </p:txBody>
      </p:sp>
      <p:sp>
        <p:nvSpPr>
          <p:cNvPr id="365" name="Oval 364"/>
          <p:cNvSpPr/>
          <p:nvPr/>
        </p:nvSpPr>
        <p:spPr bwMode="auto">
          <a:xfrm>
            <a:off x="9124043" y="4101573"/>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2</a:t>
            </a:r>
          </a:p>
        </p:txBody>
      </p:sp>
      <p:sp>
        <p:nvSpPr>
          <p:cNvPr id="366" name="Oval 365"/>
          <p:cNvSpPr/>
          <p:nvPr/>
        </p:nvSpPr>
        <p:spPr bwMode="auto">
          <a:xfrm>
            <a:off x="7829467" y="3109957"/>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8</a:t>
            </a:r>
          </a:p>
        </p:txBody>
      </p:sp>
      <p:sp>
        <p:nvSpPr>
          <p:cNvPr id="367" name="Oval 366"/>
          <p:cNvSpPr/>
          <p:nvPr/>
        </p:nvSpPr>
        <p:spPr bwMode="auto">
          <a:xfrm>
            <a:off x="8490752" y="4406114"/>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8</a:t>
            </a:r>
          </a:p>
        </p:txBody>
      </p:sp>
      <p:sp>
        <p:nvSpPr>
          <p:cNvPr id="369" name="Oval 368"/>
          <p:cNvSpPr/>
          <p:nvPr/>
        </p:nvSpPr>
        <p:spPr bwMode="auto">
          <a:xfrm>
            <a:off x="8134201" y="3109957"/>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3</a:t>
            </a:r>
          </a:p>
        </p:txBody>
      </p:sp>
      <p:cxnSp>
        <p:nvCxnSpPr>
          <p:cNvPr id="370" name="Straight Connector 369"/>
          <p:cNvCxnSpPr/>
          <p:nvPr/>
        </p:nvCxnSpPr>
        <p:spPr bwMode="auto">
          <a:xfrm>
            <a:off x="4003547" y="4200339"/>
            <a:ext cx="2119896" cy="0"/>
          </a:xfrm>
          <a:prstGeom prst="line">
            <a:avLst/>
          </a:prstGeom>
          <a:solidFill>
            <a:srgbClr val="4682FD"/>
          </a:solidFill>
          <a:ln w="6350" cap="flat" cmpd="sng" algn="ctr">
            <a:solidFill>
              <a:srgbClr val="CFD4D8"/>
            </a:solidFill>
            <a:prstDash val="solid"/>
            <a:round/>
            <a:headEnd type="none" w="med" len="med"/>
            <a:tailEnd type="none" w="med" len="med"/>
          </a:ln>
          <a:effectLst/>
        </p:spPr>
      </p:cxnSp>
      <p:sp>
        <p:nvSpPr>
          <p:cNvPr id="371" name="Oval 370"/>
          <p:cNvSpPr/>
          <p:nvPr/>
        </p:nvSpPr>
        <p:spPr bwMode="auto">
          <a:xfrm>
            <a:off x="8803533" y="2110731"/>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1</a:t>
            </a:r>
          </a:p>
        </p:txBody>
      </p:sp>
      <p:sp>
        <p:nvSpPr>
          <p:cNvPr id="373" name="Oval 372"/>
          <p:cNvSpPr/>
          <p:nvPr/>
        </p:nvSpPr>
        <p:spPr bwMode="auto">
          <a:xfrm>
            <a:off x="9477450" y="3109957"/>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a:t>
            </a:r>
          </a:p>
        </p:txBody>
      </p:sp>
      <p:sp>
        <p:nvSpPr>
          <p:cNvPr id="376" name="Oval 375"/>
          <p:cNvSpPr/>
          <p:nvPr/>
        </p:nvSpPr>
        <p:spPr bwMode="auto">
          <a:xfrm>
            <a:off x="9124043" y="3096225"/>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5</a:t>
            </a:r>
          </a:p>
        </p:txBody>
      </p:sp>
      <p:sp>
        <p:nvSpPr>
          <p:cNvPr id="380" name="Oval 379"/>
          <p:cNvSpPr/>
          <p:nvPr/>
        </p:nvSpPr>
        <p:spPr bwMode="auto">
          <a:xfrm>
            <a:off x="9794832" y="3109957"/>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4</a:t>
            </a:r>
          </a:p>
        </p:txBody>
      </p:sp>
      <p:sp>
        <p:nvSpPr>
          <p:cNvPr id="381" name="Oval 380"/>
          <p:cNvSpPr/>
          <p:nvPr/>
        </p:nvSpPr>
        <p:spPr bwMode="auto">
          <a:xfrm>
            <a:off x="9477450" y="4112198"/>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9</a:t>
            </a:r>
          </a:p>
        </p:txBody>
      </p:sp>
      <p:cxnSp>
        <p:nvCxnSpPr>
          <p:cNvPr id="382" name="Straight Connector 381"/>
          <p:cNvCxnSpPr/>
          <p:nvPr/>
        </p:nvCxnSpPr>
        <p:spPr bwMode="auto">
          <a:xfrm>
            <a:off x="1691798" y="5592255"/>
            <a:ext cx="2062182" cy="0"/>
          </a:xfrm>
          <a:prstGeom prst="line">
            <a:avLst/>
          </a:prstGeom>
          <a:solidFill>
            <a:srgbClr val="4682FD"/>
          </a:solidFill>
          <a:ln w="6350" cap="flat" cmpd="sng" algn="ctr">
            <a:solidFill>
              <a:srgbClr val="CFD4D8"/>
            </a:solidFill>
            <a:prstDash val="solid"/>
            <a:round/>
            <a:headEnd type="none" w="med" len="med"/>
            <a:tailEnd type="none" w="med" len="med"/>
          </a:ln>
          <a:effectLst/>
        </p:spPr>
      </p:cxnSp>
      <p:sp>
        <p:nvSpPr>
          <p:cNvPr id="384" name="Oval 383"/>
          <p:cNvSpPr/>
          <p:nvPr/>
        </p:nvSpPr>
        <p:spPr bwMode="auto">
          <a:xfrm>
            <a:off x="8490752" y="3414758"/>
            <a:ext cx="270000" cy="270000"/>
          </a:xfrm>
          <a:prstGeom prst="ellipse">
            <a:avLst/>
          </a:prstGeom>
          <a:solidFill>
            <a:srgbClr val="000000">
              <a:lumMod val="75000"/>
              <a:lumOff val="25000"/>
            </a:srgbClr>
          </a:solidFill>
          <a:ln w="38100" cmpd="sng">
            <a:noFill/>
            <a:miter lim="800000"/>
            <a:headEnd/>
            <a:tailEnd/>
          </a:ln>
          <a:effectLst/>
        </p:spPr>
        <p:txBody>
          <a:bodyPr rot="0" spcFirstLastPara="0" vertOverflow="overflow" horzOverflow="overflow" vert="horz" wrap="square" lIns="33231" tIns="0" rIns="0" bIns="0" numCol="1" spcCol="0" rtlCol="0" fromWordArt="0" anchor="ctr" anchorCtr="0" forceAA="0" compatLnSpc="1">
            <a:prstTxWarp prst="textNoShape">
              <a:avLst/>
            </a:prstTxWarp>
            <a:noAutofit/>
          </a:bodyPr>
          <a:lstStyle/>
          <a:p>
            <a:pPr>
              <a:defRPr/>
            </a:pPr>
            <a:r>
              <a:rPr lang="en-US" sz="1108" kern="0" dirty="0">
                <a:solidFill>
                  <a:srgbClr val="FFFFFF"/>
                </a:solidFill>
              </a:rPr>
              <a:t>17</a:t>
            </a:r>
          </a:p>
        </p:txBody>
      </p:sp>
      <p:pic>
        <p:nvPicPr>
          <p:cNvPr id="388" name="Picture 387"/>
          <p:cNvPicPr>
            <a:picLocks noChangeAspect="1"/>
          </p:cNvPicPr>
          <p:nvPr/>
        </p:nvPicPr>
        <p:blipFill rotWithShape="1">
          <a:blip r:embed="rId2">
            <a:clrChange>
              <a:clrFrom>
                <a:srgbClr val="FFFFFF"/>
              </a:clrFrom>
              <a:clrTo>
                <a:srgbClr val="FFFFFF">
                  <a:alpha val="0"/>
                </a:srgbClr>
              </a:clrTo>
            </a:clrChange>
          </a:blip>
          <a:srcRect t="37174" b="36214"/>
          <a:stretch/>
        </p:blipFill>
        <p:spPr>
          <a:xfrm>
            <a:off x="8233002" y="1523831"/>
            <a:ext cx="1414056" cy="376307"/>
          </a:xfrm>
          <a:prstGeom prst="rect">
            <a:avLst/>
          </a:prstGeom>
        </p:spPr>
      </p:pic>
    </p:spTree>
    <p:extLst>
      <p:ext uri="{BB962C8B-B14F-4D97-AF65-F5344CB8AC3E}">
        <p14:creationId xmlns:p14="http://schemas.microsoft.com/office/powerpoint/2010/main" val="9355372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7467600" y="1767155"/>
            <a:ext cx="506744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Rectangle 35"/>
          <p:cNvSpPr/>
          <p:nvPr/>
        </p:nvSpPr>
        <p:spPr>
          <a:xfrm>
            <a:off x="7467600" y="2967252"/>
            <a:ext cx="506744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37" name="Rectangle 36"/>
          <p:cNvSpPr/>
          <p:nvPr/>
        </p:nvSpPr>
        <p:spPr>
          <a:xfrm>
            <a:off x="7467600" y="4167349"/>
            <a:ext cx="5067442" cy="93619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4" name="Content Placeholder 3"/>
          <p:cNvSpPr>
            <a:spLocks noGrp="1"/>
          </p:cNvSpPr>
          <p:nvPr>
            <p:ph type="body" sz="quarter" idx="13"/>
          </p:nvPr>
        </p:nvSpPr>
        <p:spPr/>
        <p:txBody>
          <a:bodyPr/>
          <a:lstStyle/>
          <a:p>
            <a:r>
              <a:rPr lang="en-GB" dirty="0"/>
              <a:t>Risk Assessment</a:t>
            </a:r>
          </a:p>
        </p:txBody>
      </p:sp>
      <p:sp>
        <p:nvSpPr>
          <p:cNvPr id="12" name="Text Placeholder 11">
            <a:extLst>
              <a:ext uri="{FF2B5EF4-FFF2-40B4-BE49-F238E27FC236}">
                <a16:creationId xmlns:a16="http://schemas.microsoft.com/office/drawing/2014/main" id="{020C8870-E25F-0D40-950B-D8A1B2E1E87E}"/>
              </a:ext>
            </a:extLst>
          </p:cNvPr>
          <p:cNvSpPr>
            <a:spLocks noGrp="1"/>
          </p:cNvSpPr>
          <p:nvPr>
            <p:ph type="body" sz="quarter" idx="15"/>
          </p:nvPr>
        </p:nvSpPr>
        <p:spPr/>
        <p:txBody>
          <a:bodyPr/>
          <a:lstStyle/>
          <a:p>
            <a:endParaRPr lang="en-GB"/>
          </a:p>
        </p:txBody>
      </p:sp>
      <p:sp>
        <p:nvSpPr>
          <p:cNvPr id="2" name="Title 1"/>
          <p:cNvSpPr>
            <a:spLocks noGrp="1"/>
          </p:cNvSpPr>
          <p:nvPr>
            <p:ph type="title"/>
          </p:nvPr>
        </p:nvSpPr>
        <p:spPr/>
        <p:txBody>
          <a:bodyPr/>
          <a:lstStyle/>
          <a:p>
            <a:r>
              <a:rPr lang="en-GB" dirty="0"/>
              <a:t>Appendix 5: Risks</a:t>
            </a:r>
          </a:p>
        </p:txBody>
      </p:sp>
      <p:sp>
        <p:nvSpPr>
          <p:cNvPr id="3" name="Slide Number Placeholder 2"/>
          <p:cNvSpPr>
            <a:spLocks noGrp="1"/>
          </p:cNvSpPr>
          <p:nvPr>
            <p:ph type="sldNum" sz="quarter" idx="10"/>
          </p:nvPr>
        </p:nvSpPr>
        <p:spPr/>
        <p:txBody>
          <a:bodyPr/>
          <a:lstStyle/>
          <a:p>
            <a:r>
              <a:rPr lang="en-US" sz="800" b="1" dirty="0">
                <a:solidFill>
                  <a:schemeClr val="bg1">
                    <a:lumMod val="50000"/>
                  </a:schemeClr>
                </a:solidFill>
                <a:latin typeface="Arial" charset="0"/>
                <a:ea typeface="Arial" charset="0"/>
                <a:cs typeface="Arial" charset="0"/>
              </a:rPr>
              <a:t> </a:t>
            </a:r>
            <a:endParaRPr lang="en-GB" dirty="0"/>
          </a:p>
        </p:txBody>
      </p:sp>
      <p:sp>
        <p:nvSpPr>
          <p:cNvPr id="6" name="Oval 5"/>
          <p:cNvSpPr/>
          <p:nvPr/>
        </p:nvSpPr>
        <p:spPr>
          <a:xfrm>
            <a:off x="4953348" y="4276135"/>
            <a:ext cx="432000" cy="432000"/>
          </a:xfrm>
          <a:prstGeom prst="ellipse">
            <a:avLst/>
          </a:prstGeom>
          <a:solidFill>
            <a:srgbClr val="00529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C</a:t>
            </a:r>
          </a:p>
        </p:txBody>
      </p:sp>
      <p:sp>
        <p:nvSpPr>
          <p:cNvPr id="7" name="Oval 6"/>
          <p:cNvSpPr/>
          <p:nvPr/>
        </p:nvSpPr>
        <p:spPr>
          <a:xfrm>
            <a:off x="3204852" y="2234371"/>
            <a:ext cx="432000" cy="432000"/>
          </a:xfrm>
          <a:prstGeom prst="ellipse">
            <a:avLst/>
          </a:prstGeom>
          <a:solidFill>
            <a:srgbClr val="00529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A</a:t>
            </a:r>
          </a:p>
        </p:txBody>
      </p:sp>
      <p:sp>
        <p:nvSpPr>
          <p:cNvPr id="8" name="Oval 7"/>
          <p:cNvSpPr/>
          <p:nvPr/>
        </p:nvSpPr>
        <p:spPr>
          <a:xfrm>
            <a:off x="3896818" y="3308622"/>
            <a:ext cx="432000" cy="432000"/>
          </a:xfrm>
          <a:prstGeom prst="ellipse">
            <a:avLst/>
          </a:prstGeom>
          <a:solidFill>
            <a:srgbClr val="00529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B</a:t>
            </a:r>
          </a:p>
        </p:txBody>
      </p:sp>
      <p:sp>
        <p:nvSpPr>
          <p:cNvPr id="9" name="Rectangle 8"/>
          <p:cNvSpPr/>
          <p:nvPr/>
        </p:nvSpPr>
        <p:spPr>
          <a:xfrm>
            <a:off x="3973213" y="3947730"/>
            <a:ext cx="2586667" cy="338554"/>
          </a:xfrm>
          <a:prstGeom prst="rect">
            <a:avLst/>
          </a:prstGeom>
        </p:spPr>
        <p:txBody>
          <a:bodyPr wrap="square">
            <a:spAutoFit/>
          </a:bodyPr>
          <a:lstStyle/>
          <a:p>
            <a:pPr algn="ctr"/>
            <a:r>
              <a:rPr lang="en-AU" sz="1600" dirty="0">
                <a:solidFill>
                  <a:schemeClr val="tx1">
                    <a:lumMod val="75000"/>
                    <a:lumOff val="25000"/>
                  </a:schemeClr>
                </a:solidFill>
                <a:latin typeface="Arial" panose="020B0604020202020204" pitchFamily="34" charset="0"/>
                <a:cs typeface="Arial" panose="020B0604020202020204" pitchFamily="34" charset="0"/>
              </a:rPr>
              <a:t>Too much transparency</a:t>
            </a:r>
          </a:p>
        </p:txBody>
      </p:sp>
      <p:sp>
        <p:nvSpPr>
          <p:cNvPr id="10" name="Rectangle 9"/>
          <p:cNvSpPr/>
          <p:nvPr/>
        </p:nvSpPr>
        <p:spPr>
          <a:xfrm>
            <a:off x="2356107" y="1678218"/>
            <a:ext cx="2990322" cy="584776"/>
          </a:xfrm>
          <a:prstGeom prst="rect">
            <a:avLst/>
          </a:prstGeom>
        </p:spPr>
        <p:txBody>
          <a:bodyPr wrap="none">
            <a:spAutoFit/>
          </a:bodyPr>
          <a:lstStyle/>
          <a:p>
            <a:pPr algn="ctr"/>
            <a:r>
              <a:rPr lang="en-AU" sz="1600" dirty="0">
                <a:solidFill>
                  <a:schemeClr val="tx1">
                    <a:lumMod val="75000"/>
                    <a:lumOff val="25000"/>
                  </a:schemeClr>
                </a:solidFill>
                <a:latin typeface="Arial" panose="020B0604020202020204" pitchFamily="34" charset="0"/>
                <a:cs typeface="Arial" panose="020B0604020202020204" pitchFamily="34" charset="0"/>
              </a:rPr>
              <a:t>Competitors respond quick </a:t>
            </a:r>
            <a:br>
              <a:rPr lang="en-AU" sz="1600" dirty="0">
                <a:solidFill>
                  <a:schemeClr val="tx1">
                    <a:lumMod val="75000"/>
                    <a:lumOff val="25000"/>
                  </a:schemeClr>
                </a:solidFill>
                <a:latin typeface="Arial" panose="020B0604020202020204" pitchFamily="34" charset="0"/>
                <a:cs typeface="Arial" panose="020B0604020202020204" pitchFamily="34" charset="0"/>
              </a:rPr>
            </a:br>
            <a:r>
              <a:rPr lang="en-AU" sz="1600" dirty="0">
                <a:solidFill>
                  <a:schemeClr val="tx1">
                    <a:lumMod val="75000"/>
                    <a:lumOff val="25000"/>
                  </a:schemeClr>
                </a:solidFill>
                <a:latin typeface="Arial" panose="020B0604020202020204" pitchFamily="34" charset="0"/>
                <a:cs typeface="Arial" panose="020B0604020202020204" pitchFamily="34" charset="0"/>
              </a:rPr>
              <a:t>(or launch innovative products)</a:t>
            </a:r>
          </a:p>
        </p:txBody>
      </p:sp>
      <p:sp>
        <p:nvSpPr>
          <p:cNvPr id="11" name="Rectangle 10"/>
          <p:cNvSpPr/>
          <p:nvPr/>
        </p:nvSpPr>
        <p:spPr>
          <a:xfrm>
            <a:off x="2727957" y="2951125"/>
            <a:ext cx="2796859" cy="338554"/>
          </a:xfrm>
          <a:prstGeom prst="rect">
            <a:avLst/>
          </a:prstGeom>
        </p:spPr>
        <p:txBody>
          <a:bodyPr wrap="none">
            <a:spAutoFit/>
          </a:bodyPr>
          <a:lstStyle/>
          <a:p>
            <a:pPr algn="ctr"/>
            <a:r>
              <a:rPr lang="en-AU" sz="1600" dirty="0">
                <a:solidFill>
                  <a:schemeClr val="tx1">
                    <a:lumMod val="75000"/>
                    <a:lumOff val="25000"/>
                  </a:schemeClr>
                </a:solidFill>
                <a:latin typeface="Arial" panose="020B0604020202020204" pitchFamily="34" charset="0"/>
                <a:cs typeface="Arial" panose="020B0604020202020204" pitchFamily="34" charset="0"/>
              </a:rPr>
              <a:t>Solution damages reputation</a:t>
            </a:r>
          </a:p>
        </p:txBody>
      </p:sp>
      <p:sp>
        <p:nvSpPr>
          <p:cNvPr id="14" name="Oval 13"/>
          <p:cNvSpPr/>
          <p:nvPr/>
        </p:nvSpPr>
        <p:spPr>
          <a:xfrm>
            <a:off x="7247507" y="2015121"/>
            <a:ext cx="432000" cy="432000"/>
          </a:xfrm>
          <a:prstGeom prst="ellipse">
            <a:avLst/>
          </a:prstGeom>
          <a:solidFill>
            <a:srgbClr val="00529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A</a:t>
            </a:r>
          </a:p>
        </p:txBody>
      </p:sp>
      <p:sp>
        <p:nvSpPr>
          <p:cNvPr id="15" name="TextBox 14"/>
          <p:cNvSpPr txBox="1"/>
          <p:nvPr/>
        </p:nvSpPr>
        <p:spPr>
          <a:xfrm>
            <a:off x="7703495" y="1944913"/>
            <a:ext cx="4412306" cy="738664"/>
          </a:xfrm>
          <a:prstGeom prst="rect">
            <a:avLst/>
          </a:prstGeom>
          <a:noFill/>
        </p:spPr>
        <p:txBody>
          <a:bodyPr wrap="square" rtlCol="0">
            <a:spAutoFit/>
          </a:bodyPr>
          <a:lstStyle/>
          <a:p>
            <a:r>
              <a:rPr lang="en-AU" sz="1400" dirty="0">
                <a:solidFill>
                  <a:schemeClr val="tx1">
                    <a:lumMod val="75000"/>
                    <a:lumOff val="25000"/>
                  </a:schemeClr>
                </a:solidFill>
                <a:latin typeface="Arial" panose="020B0604020202020204" pitchFamily="34" charset="0"/>
                <a:cs typeface="Arial" panose="020B0604020202020204" pitchFamily="34" charset="0"/>
              </a:rPr>
              <a:t>Danske Bank has a solid customer base they can continue to leverage as to create long-term relationships.</a:t>
            </a:r>
          </a:p>
        </p:txBody>
      </p:sp>
      <p:cxnSp>
        <p:nvCxnSpPr>
          <p:cNvPr id="16" name="Straight Arrow Connector 15"/>
          <p:cNvCxnSpPr/>
          <p:nvPr/>
        </p:nvCxnSpPr>
        <p:spPr>
          <a:xfrm>
            <a:off x="5890448" y="2250444"/>
            <a:ext cx="12285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rot="16200000">
            <a:off x="172586" y="1900581"/>
            <a:ext cx="498855"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High</a:t>
            </a:r>
          </a:p>
        </p:txBody>
      </p:sp>
      <p:sp>
        <p:nvSpPr>
          <p:cNvPr id="18" name="Rectangle 17"/>
          <p:cNvSpPr/>
          <p:nvPr/>
        </p:nvSpPr>
        <p:spPr>
          <a:xfrm>
            <a:off x="5426665" y="5566299"/>
            <a:ext cx="498855"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High</a:t>
            </a:r>
          </a:p>
        </p:txBody>
      </p:sp>
      <p:sp>
        <p:nvSpPr>
          <p:cNvPr id="19" name="Oval 18"/>
          <p:cNvSpPr/>
          <p:nvPr/>
        </p:nvSpPr>
        <p:spPr>
          <a:xfrm>
            <a:off x="7247507" y="3215218"/>
            <a:ext cx="432000" cy="432000"/>
          </a:xfrm>
          <a:prstGeom prst="ellipse">
            <a:avLst/>
          </a:prstGeom>
          <a:solidFill>
            <a:srgbClr val="00529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B</a:t>
            </a:r>
          </a:p>
        </p:txBody>
      </p:sp>
      <p:sp>
        <p:nvSpPr>
          <p:cNvPr id="20" name="TextBox 19"/>
          <p:cNvSpPr txBox="1"/>
          <p:nvPr/>
        </p:nvSpPr>
        <p:spPr>
          <a:xfrm>
            <a:off x="7703495" y="3145010"/>
            <a:ext cx="4412306" cy="523220"/>
          </a:xfrm>
          <a:prstGeom prst="rect">
            <a:avLst/>
          </a:prstGeom>
          <a:noFill/>
        </p:spPr>
        <p:txBody>
          <a:bodyPr wrap="square" rtlCol="0">
            <a:spAutoFit/>
          </a:bodyPr>
          <a:lstStyle/>
          <a:p>
            <a:r>
              <a:rPr lang="en-AU" sz="1400" dirty="0">
                <a:solidFill>
                  <a:schemeClr val="tx1">
                    <a:lumMod val="75000"/>
                    <a:lumOff val="25000"/>
                  </a:schemeClr>
                </a:solidFill>
                <a:latin typeface="Arial" panose="020B0604020202020204" pitchFamily="34" charset="0"/>
                <a:cs typeface="Arial" panose="020B0604020202020204" pitchFamily="34" charset="0"/>
              </a:rPr>
              <a:t>By rolling out in Denmark we pilot test our home-market. </a:t>
            </a:r>
          </a:p>
        </p:txBody>
      </p:sp>
      <p:cxnSp>
        <p:nvCxnSpPr>
          <p:cNvPr id="21" name="Straight Arrow Connector 20"/>
          <p:cNvCxnSpPr/>
          <p:nvPr/>
        </p:nvCxnSpPr>
        <p:spPr>
          <a:xfrm>
            <a:off x="5890448" y="3450541"/>
            <a:ext cx="12285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7247507" y="4415315"/>
            <a:ext cx="432000" cy="432000"/>
          </a:xfrm>
          <a:prstGeom prst="ellipse">
            <a:avLst/>
          </a:prstGeom>
          <a:solidFill>
            <a:srgbClr val="00529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C</a:t>
            </a:r>
          </a:p>
        </p:txBody>
      </p:sp>
      <p:sp>
        <p:nvSpPr>
          <p:cNvPr id="23" name="TextBox 22"/>
          <p:cNvSpPr txBox="1"/>
          <p:nvPr/>
        </p:nvSpPr>
        <p:spPr>
          <a:xfrm>
            <a:off x="7703495" y="4345107"/>
            <a:ext cx="4412306" cy="523220"/>
          </a:xfrm>
          <a:prstGeom prst="rect">
            <a:avLst/>
          </a:prstGeom>
          <a:noFill/>
        </p:spPr>
        <p:txBody>
          <a:bodyPr wrap="square" rtlCol="0">
            <a:spAutoFit/>
          </a:bodyPr>
          <a:lstStyle/>
          <a:p>
            <a:r>
              <a:rPr lang="en-AU" sz="1400" dirty="0">
                <a:solidFill>
                  <a:schemeClr val="tx1">
                    <a:lumMod val="75000"/>
                    <a:lumOff val="25000"/>
                  </a:schemeClr>
                </a:solidFill>
                <a:latin typeface="Arial" panose="020B0604020202020204" pitchFamily="34" charset="0"/>
                <a:cs typeface="Arial" panose="020B0604020202020204" pitchFamily="34" charset="0"/>
              </a:rPr>
              <a:t>Enforce consistency in organization so the stakeholders feel secure. </a:t>
            </a:r>
          </a:p>
        </p:txBody>
      </p:sp>
      <p:cxnSp>
        <p:nvCxnSpPr>
          <p:cNvPr id="24" name="Straight Arrow Connector 23"/>
          <p:cNvCxnSpPr/>
          <p:nvPr/>
        </p:nvCxnSpPr>
        <p:spPr>
          <a:xfrm>
            <a:off x="5890448" y="4650638"/>
            <a:ext cx="122855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80605" y="5535819"/>
            <a:ext cx="52834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flipV="1">
            <a:off x="579783" y="1834716"/>
            <a:ext cx="822" cy="370593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66098" y="5569177"/>
            <a:ext cx="465192"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Low</a:t>
            </a:r>
          </a:p>
        </p:txBody>
      </p:sp>
      <p:sp>
        <p:nvSpPr>
          <p:cNvPr id="28" name="Rectangle 27"/>
          <p:cNvSpPr/>
          <p:nvPr/>
        </p:nvSpPr>
        <p:spPr>
          <a:xfrm rot="16200000">
            <a:off x="189417" y="5193257"/>
            <a:ext cx="465192" cy="276999"/>
          </a:xfrm>
          <a:prstGeom prst="rect">
            <a:avLst/>
          </a:prstGeom>
        </p:spPr>
        <p:txBody>
          <a:bodyPr wrap="none">
            <a:spAutoFit/>
          </a:bodyPr>
          <a:lstStyle/>
          <a:p>
            <a:r>
              <a:rPr lang="da-DK" sz="1200" dirty="0">
                <a:solidFill>
                  <a:schemeClr val="tx1">
                    <a:lumMod val="75000"/>
                    <a:lumOff val="25000"/>
                  </a:schemeClr>
                </a:solidFill>
                <a:latin typeface="Arial" panose="020B0604020202020204" pitchFamily="34" charset="0"/>
                <a:cs typeface="Arial" panose="020B0604020202020204" pitchFamily="34" charset="0"/>
              </a:rPr>
              <a:t>Low</a:t>
            </a:r>
          </a:p>
        </p:txBody>
      </p:sp>
      <p:sp>
        <p:nvSpPr>
          <p:cNvPr id="29" name="Rectangle 28"/>
          <p:cNvSpPr/>
          <p:nvPr/>
        </p:nvSpPr>
        <p:spPr>
          <a:xfrm rot="16200000">
            <a:off x="-14162" y="3454867"/>
            <a:ext cx="872355" cy="276999"/>
          </a:xfrm>
          <a:prstGeom prst="rect">
            <a:avLst/>
          </a:prstGeom>
        </p:spPr>
        <p:txBody>
          <a:bodyPr wrap="none">
            <a:spAutoFit/>
          </a:bodyPr>
          <a:lstStyle/>
          <a:p>
            <a:r>
              <a:rPr lang="da-DK" sz="1200" b="1" dirty="0">
                <a:solidFill>
                  <a:schemeClr val="tx1">
                    <a:lumMod val="75000"/>
                    <a:lumOff val="25000"/>
                  </a:schemeClr>
                </a:solidFill>
                <a:latin typeface="Arial" panose="020B0604020202020204" pitchFamily="34" charset="0"/>
                <a:cs typeface="Arial" panose="020B0604020202020204" pitchFamily="34" charset="0"/>
              </a:rPr>
              <a:t>Liklihood</a:t>
            </a:r>
          </a:p>
        </p:txBody>
      </p:sp>
      <p:sp>
        <p:nvSpPr>
          <p:cNvPr id="30" name="Rectangle 29"/>
          <p:cNvSpPr/>
          <p:nvPr/>
        </p:nvSpPr>
        <p:spPr>
          <a:xfrm>
            <a:off x="2651628" y="5578846"/>
            <a:ext cx="679994" cy="276999"/>
          </a:xfrm>
          <a:prstGeom prst="rect">
            <a:avLst/>
          </a:prstGeom>
        </p:spPr>
        <p:txBody>
          <a:bodyPr wrap="none">
            <a:spAutoFit/>
          </a:bodyPr>
          <a:lstStyle/>
          <a:p>
            <a:r>
              <a:rPr lang="da-DK" sz="1200" b="1" dirty="0">
                <a:solidFill>
                  <a:schemeClr val="tx1">
                    <a:lumMod val="75000"/>
                    <a:lumOff val="25000"/>
                  </a:schemeClr>
                </a:solidFill>
                <a:latin typeface="Arial" panose="020B0604020202020204" pitchFamily="34" charset="0"/>
                <a:cs typeface="Arial" panose="020B0604020202020204" pitchFamily="34" charset="0"/>
              </a:rPr>
              <a:t>Impact</a:t>
            </a:r>
          </a:p>
        </p:txBody>
      </p:sp>
      <p:sp>
        <p:nvSpPr>
          <p:cNvPr id="31" name="Oval 30"/>
          <p:cNvSpPr/>
          <p:nvPr/>
        </p:nvSpPr>
        <p:spPr>
          <a:xfrm>
            <a:off x="1161128" y="3825279"/>
            <a:ext cx="432000" cy="432000"/>
          </a:xfrm>
          <a:prstGeom prst="ellipse">
            <a:avLst/>
          </a:prstGeom>
          <a:solidFill>
            <a:srgbClr val="D9D9D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D</a:t>
            </a:r>
          </a:p>
        </p:txBody>
      </p:sp>
      <p:sp>
        <p:nvSpPr>
          <p:cNvPr id="32" name="Oval 31"/>
          <p:cNvSpPr/>
          <p:nvPr/>
        </p:nvSpPr>
        <p:spPr>
          <a:xfrm>
            <a:off x="3144019" y="4685138"/>
            <a:ext cx="432000" cy="432000"/>
          </a:xfrm>
          <a:prstGeom prst="ellipse">
            <a:avLst/>
          </a:prstGeom>
          <a:solidFill>
            <a:srgbClr val="D9D9D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F</a:t>
            </a:r>
          </a:p>
        </p:txBody>
      </p:sp>
      <p:sp>
        <p:nvSpPr>
          <p:cNvPr id="33" name="Oval 32"/>
          <p:cNvSpPr/>
          <p:nvPr/>
        </p:nvSpPr>
        <p:spPr>
          <a:xfrm>
            <a:off x="1673987" y="4617448"/>
            <a:ext cx="432000" cy="432000"/>
          </a:xfrm>
          <a:prstGeom prst="ellipse">
            <a:avLst/>
          </a:prstGeom>
          <a:solidFill>
            <a:srgbClr val="D9D9D9"/>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da-DK" sz="1400" dirty="0">
                <a:solidFill>
                  <a:schemeClr val="bg1"/>
                </a:solidFill>
                <a:latin typeface="Arial" panose="020B0604020202020204" pitchFamily="34" charset="0"/>
                <a:cs typeface="Arial" panose="020B0604020202020204" pitchFamily="34" charset="0"/>
              </a:rPr>
              <a:t>E</a:t>
            </a:r>
          </a:p>
        </p:txBody>
      </p:sp>
      <p:sp>
        <p:nvSpPr>
          <p:cNvPr id="34" name="Content Placeholder 3"/>
          <p:cNvSpPr txBox="1">
            <a:spLocks/>
          </p:cNvSpPr>
          <p:nvPr/>
        </p:nvSpPr>
        <p:spPr>
          <a:xfrm>
            <a:off x="7486810" y="1371977"/>
            <a:ext cx="4405009" cy="312868"/>
          </a:xfrm>
          <a:prstGeom prst="rect">
            <a:avLst/>
          </a:prstGeom>
        </p:spPr>
        <p:txBody>
          <a:bodyPr/>
          <a:lstStyle>
            <a:lvl1pPr marL="0" indent="0" algn="l" defTabSz="914400" rtl="0" eaLnBrk="1" latinLnBrk="0" hangingPunct="1">
              <a:lnSpc>
                <a:spcPct val="90000"/>
              </a:lnSpc>
              <a:spcBef>
                <a:spcPts val="1000"/>
              </a:spcBef>
              <a:buFont typeface="Arial"/>
              <a:buNone/>
              <a:defRPr sz="1600" kern="1200">
                <a:solidFill>
                  <a:schemeClr val="tx1">
                    <a:lumMod val="75000"/>
                    <a:lumOff val="25000"/>
                  </a:schemeClr>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dirty="0"/>
              <a:t>Mitigation Actions</a:t>
            </a:r>
          </a:p>
        </p:txBody>
      </p:sp>
      <p:sp>
        <p:nvSpPr>
          <p:cNvPr id="38" name="Arc 37"/>
          <p:cNvSpPr/>
          <p:nvPr/>
        </p:nvSpPr>
        <p:spPr>
          <a:xfrm rot="420239" flipH="1" flipV="1">
            <a:off x="2158869" y="-2091193"/>
            <a:ext cx="8733605" cy="7255471"/>
          </a:xfrm>
          <a:prstGeom prst="arc">
            <a:avLst>
              <a:gd name="adj1" fmla="val 16381764"/>
              <a:gd name="adj2" fmla="val 20784485"/>
            </a:avLst>
          </a:prstGeom>
          <a:ln w="12700">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tx1">
                  <a:lumMod val="75000"/>
                  <a:lumOff val="25000"/>
                </a:schemeClr>
              </a:solidFill>
              <a:latin typeface="Arial" panose="020B0604020202020204" pitchFamily="34" charset="0"/>
              <a:cs typeface="Arial" panose="020B0604020202020204" pitchFamily="34" charset="0"/>
            </a:endParaRPr>
          </a:p>
        </p:txBody>
      </p:sp>
      <p:sp>
        <p:nvSpPr>
          <p:cNvPr id="40" name="Rectangle 39"/>
          <p:cNvSpPr/>
          <p:nvPr/>
        </p:nvSpPr>
        <p:spPr>
          <a:xfrm>
            <a:off x="1097455" y="4326868"/>
            <a:ext cx="1818527" cy="276999"/>
          </a:xfrm>
          <a:prstGeom prst="rect">
            <a:avLst/>
          </a:prstGeom>
        </p:spPr>
        <p:txBody>
          <a:bodyPr wrap="none">
            <a:spAutoFit/>
          </a:bodyPr>
          <a:lstStyle/>
          <a:p>
            <a:pPr algn="ctr"/>
            <a:r>
              <a:rPr lang="en-AU" sz="1200" dirty="0">
                <a:solidFill>
                  <a:schemeClr val="tx1">
                    <a:lumMod val="75000"/>
                    <a:lumOff val="25000"/>
                  </a:schemeClr>
                </a:solidFill>
                <a:latin typeface="Arial" panose="020B0604020202020204" pitchFamily="34" charset="0"/>
                <a:cs typeface="Arial" panose="020B0604020202020204" pitchFamily="34" charset="0"/>
              </a:rPr>
              <a:t>Not enough customers?</a:t>
            </a:r>
          </a:p>
        </p:txBody>
      </p:sp>
      <p:sp>
        <p:nvSpPr>
          <p:cNvPr id="41" name="Rectangle 40"/>
          <p:cNvSpPr/>
          <p:nvPr/>
        </p:nvSpPr>
        <p:spPr>
          <a:xfrm>
            <a:off x="669606" y="3547197"/>
            <a:ext cx="1627444" cy="276999"/>
          </a:xfrm>
          <a:prstGeom prst="rect">
            <a:avLst/>
          </a:prstGeom>
        </p:spPr>
        <p:txBody>
          <a:bodyPr wrap="none">
            <a:spAutoFit/>
          </a:bodyPr>
          <a:lstStyle/>
          <a:p>
            <a:pPr algn="ctr"/>
            <a:r>
              <a:rPr lang="en-AU" sz="1200" dirty="0">
                <a:solidFill>
                  <a:schemeClr val="tx1">
                    <a:lumMod val="75000"/>
                    <a:lumOff val="25000"/>
                  </a:schemeClr>
                </a:solidFill>
                <a:latin typeface="Arial" panose="020B0604020202020204" pitchFamily="34" charset="0"/>
                <a:cs typeface="Arial" panose="020B0604020202020204" pitchFamily="34" charset="0"/>
              </a:rPr>
              <a:t>Technical difficulties?</a:t>
            </a:r>
          </a:p>
        </p:txBody>
      </p:sp>
      <p:sp>
        <p:nvSpPr>
          <p:cNvPr id="42" name="Rectangle 41"/>
          <p:cNvSpPr/>
          <p:nvPr/>
        </p:nvSpPr>
        <p:spPr>
          <a:xfrm>
            <a:off x="1571619" y="5120066"/>
            <a:ext cx="3691786" cy="276999"/>
          </a:xfrm>
          <a:prstGeom prst="rect">
            <a:avLst/>
          </a:prstGeom>
        </p:spPr>
        <p:txBody>
          <a:bodyPr wrap="none">
            <a:spAutoFit/>
          </a:bodyPr>
          <a:lstStyle/>
          <a:p>
            <a:pPr algn="ctr"/>
            <a:r>
              <a:rPr lang="en-AU" sz="1200" dirty="0">
                <a:solidFill>
                  <a:schemeClr val="tx1">
                    <a:lumMod val="75000"/>
                    <a:lumOff val="25000"/>
                  </a:schemeClr>
                </a:solidFill>
                <a:latin typeface="Arial" panose="020B0604020202020204" pitchFamily="34" charset="0"/>
                <a:cs typeface="Arial" panose="020B0604020202020204" pitchFamily="34" charset="0"/>
              </a:rPr>
              <a:t>Customers aren’t looking for emotional connection?</a:t>
            </a:r>
          </a:p>
        </p:txBody>
      </p:sp>
    </p:spTree>
    <p:extLst>
      <p:ext uri="{BB962C8B-B14F-4D97-AF65-F5344CB8AC3E}">
        <p14:creationId xmlns:p14="http://schemas.microsoft.com/office/powerpoint/2010/main" val="18687843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94968" y="1120877"/>
            <a:ext cx="12816349" cy="4616246"/>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kstfelt 2"/>
          <p:cNvSpPr txBox="1"/>
          <p:nvPr/>
        </p:nvSpPr>
        <p:spPr>
          <a:xfrm>
            <a:off x="1993692" y="2896523"/>
            <a:ext cx="5006499" cy="1200329"/>
          </a:xfrm>
          <a:prstGeom prst="rect">
            <a:avLst/>
          </a:prstGeom>
          <a:noFill/>
        </p:spPr>
        <p:txBody>
          <a:bodyPr wrap="none" rtlCol="0">
            <a:spAutoFit/>
          </a:bodyPr>
          <a:lstStyle/>
          <a:p>
            <a:r>
              <a:rPr lang="da-DK" sz="7200" dirty="0" err="1">
                <a:solidFill>
                  <a:schemeClr val="bg1"/>
                </a:solidFill>
              </a:rPr>
              <a:t>Appendices</a:t>
            </a:r>
            <a:endParaRPr lang="da-DK" sz="7200" dirty="0">
              <a:solidFill>
                <a:schemeClr val="bg1"/>
              </a:solidFill>
            </a:endParaRPr>
          </a:p>
        </p:txBody>
      </p:sp>
    </p:spTree>
    <p:extLst>
      <p:ext uri="{BB962C8B-B14F-4D97-AF65-F5344CB8AC3E}">
        <p14:creationId xmlns:p14="http://schemas.microsoft.com/office/powerpoint/2010/main" val="29963653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D3C54F-36EA-454D-9DD5-2F65FBC4E39A}"/>
              </a:ext>
            </a:extLst>
          </p:cNvPr>
          <p:cNvSpPr>
            <a:spLocks noGrp="1"/>
          </p:cNvSpPr>
          <p:nvPr>
            <p:ph type="body" sz="quarter" idx="13"/>
          </p:nvPr>
        </p:nvSpPr>
        <p:spPr/>
        <p:txBody>
          <a:bodyPr/>
          <a:lstStyle/>
          <a:p>
            <a:endParaRPr lang="en-GB"/>
          </a:p>
        </p:txBody>
      </p:sp>
      <p:sp>
        <p:nvSpPr>
          <p:cNvPr id="3" name="Text Placeholder 2">
            <a:extLst>
              <a:ext uri="{FF2B5EF4-FFF2-40B4-BE49-F238E27FC236}">
                <a16:creationId xmlns:a16="http://schemas.microsoft.com/office/drawing/2014/main" id="{4851FD8F-A292-CC46-856C-8378B0C4ACE6}"/>
              </a:ext>
            </a:extLst>
          </p:cNvPr>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lstStyle/>
          <a:p>
            <a:r>
              <a:rPr lang="en-US" dirty="0"/>
              <a:t>There are many sources of competitive advantage</a:t>
            </a:r>
          </a:p>
        </p:txBody>
      </p:sp>
      <p:sp>
        <p:nvSpPr>
          <p:cNvPr id="5" name="Rectangle 4"/>
          <p:cNvSpPr/>
          <p:nvPr/>
        </p:nvSpPr>
        <p:spPr>
          <a:xfrm>
            <a:off x="618409" y="1269195"/>
            <a:ext cx="10951301" cy="140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618409" y="1269195"/>
            <a:ext cx="1595783" cy="523220"/>
          </a:xfrm>
          <a:prstGeom prst="rect">
            <a:avLst/>
          </a:prstGeom>
          <a:noFill/>
        </p:spPr>
        <p:txBody>
          <a:bodyPr wrap="square" rtlCol="0">
            <a:spAutoFit/>
          </a:bodyPr>
          <a:lstStyle/>
          <a:p>
            <a:r>
              <a:rPr lang="en-US" sz="1400" b="1" dirty="0">
                <a:solidFill>
                  <a:schemeClr val="bg1"/>
                </a:solidFill>
              </a:rPr>
              <a:t>Management Capabilities</a:t>
            </a:r>
          </a:p>
        </p:txBody>
      </p:sp>
      <p:sp>
        <p:nvSpPr>
          <p:cNvPr id="83" name="Rectangle 82"/>
          <p:cNvSpPr/>
          <p:nvPr/>
        </p:nvSpPr>
        <p:spPr>
          <a:xfrm>
            <a:off x="618409" y="2759215"/>
            <a:ext cx="10951301" cy="140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ectangle 83"/>
          <p:cNvSpPr/>
          <p:nvPr/>
        </p:nvSpPr>
        <p:spPr>
          <a:xfrm>
            <a:off x="618409" y="4249235"/>
            <a:ext cx="10951301" cy="14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p:cNvSpPr txBox="1"/>
          <p:nvPr/>
        </p:nvSpPr>
        <p:spPr>
          <a:xfrm>
            <a:off x="618410" y="2759600"/>
            <a:ext cx="1595783" cy="523220"/>
          </a:xfrm>
          <a:prstGeom prst="rect">
            <a:avLst/>
          </a:prstGeom>
          <a:noFill/>
        </p:spPr>
        <p:txBody>
          <a:bodyPr wrap="square" rtlCol="0">
            <a:spAutoFit/>
          </a:bodyPr>
          <a:lstStyle/>
          <a:p>
            <a:r>
              <a:rPr lang="en-US" sz="1400" b="1" dirty="0">
                <a:solidFill>
                  <a:schemeClr val="bg1"/>
                </a:solidFill>
              </a:rPr>
              <a:t>Operating Capabilities</a:t>
            </a:r>
          </a:p>
        </p:txBody>
      </p:sp>
      <p:sp>
        <p:nvSpPr>
          <p:cNvPr id="86" name="TextBox 85"/>
          <p:cNvSpPr txBox="1"/>
          <p:nvPr/>
        </p:nvSpPr>
        <p:spPr>
          <a:xfrm>
            <a:off x="621119" y="4249235"/>
            <a:ext cx="1595783" cy="523220"/>
          </a:xfrm>
          <a:prstGeom prst="rect">
            <a:avLst/>
          </a:prstGeom>
          <a:noFill/>
        </p:spPr>
        <p:txBody>
          <a:bodyPr wrap="square" rtlCol="0">
            <a:spAutoFit/>
          </a:bodyPr>
          <a:lstStyle/>
          <a:p>
            <a:r>
              <a:rPr lang="en-US" sz="1400" b="1" dirty="0">
                <a:solidFill>
                  <a:schemeClr val="bg1"/>
                </a:solidFill>
              </a:rPr>
              <a:t>Proprietary Assets</a:t>
            </a:r>
          </a:p>
        </p:txBody>
      </p:sp>
      <p:grpSp>
        <p:nvGrpSpPr>
          <p:cNvPr id="97" name="Group 96"/>
          <p:cNvGrpSpPr/>
          <p:nvPr/>
        </p:nvGrpSpPr>
        <p:grpSpPr>
          <a:xfrm>
            <a:off x="2214191" y="1340141"/>
            <a:ext cx="1692000" cy="1260000"/>
            <a:chOff x="2214192" y="1340141"/>
            <a:chExt cx="1550505" cy="1260000"/>
          </a:xfrm>
        </p:grpSpPr>
        <p:sp>
          <p:nvSpPr>
            <p:cNvPr id="95" name="Rectangle 94"/>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96" name="TextBox 95"/>
            <p:cNvSpPr txBox="1"/>
            <p:nvPr/>
          </p:nvSpPr>
          <p:spPr>
            <a:xfrm>
              <a:off x="2214192" y="1340142"/>
              <a:ext cx="1550505" cy="461665"/>
            </a:xfrm>
            <a:prstGeom prst="rect">
              <a:avLst/>
            </a:prstGeom>
            <a:noFill/>
          </p:spPr>
          <p:txBody>
            <a:bodyPr wrap="square" rtlCol="0">
              <a:spAutoFit/>
            </a:bodyPr>
            <a:lstStyle/>
            <a:p>
              <a:pPr algn="ctr"/>
              <a:r>
                <a:rPr lang="en-US" sz="1200" b="1" dirty="0"/>
                <a:t>Portfolio </a:t>
              </a:r>
              <a:r>
                <a:rPr lang="en-US" sz="1200" b="1" dirty="0" err="1"/>
                <a:t>mgmt</a:t>
              </a:r>
              <a:r>
                <a:rPr lang="en-US" sz="1200" b="1" dirty="0"/>
                <a:t> and Corp finance</a:t>
              </a:r>
            </a:p>
          </p:txBody>
        </p:sp>
      </p:grpSp>
      <p:grpSp>
        <p:nvGrpSpPr>
          <p:cNvPr id="98" name="Group 97"/>
          <p:cNvGrpSpPr/>
          <p:nvPr/>
        </p:nvGrpSpPr>
        <p:grpSpPr>
          <a:xfrm>
            <a:off x="4095672" y="1340141"/>
            <a:ext cx="1692000" cy="1260000"/>
            <a:chOff x="2214192" y="1340141"/>
            <a:chExt cx="1550505" cy="1260000"/>
          </a:xfrm>
        </p:grpSpPr>
        <p:sp>
          <p:nvSpPr>
            <p:cNvPr id="99" name="Rectangle 98"/>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00" name="TextBox 99"/>
            <p:cNvSpPr txBox="1"/>
            <p:nvPr/>
          </p:nvSpPr>
          <p:spPr>
            <a:xfrm>
              <a:off x="2214192" y="1340142"/>
              <a:ext cx="1550505" cy="461665"/>
            </a:xfrm>
            <a:prstGeom prst="rect">
              <a:avLst/>
            </a:prstGeom>
            <a:noFill/>
          </p:spPr>
          <p:txBody>
            <a:bodyPr wrap="square" rtlCol="0">
              <a:spAutoFit/>
            </a:bodyPr>
            <a:lstStyle/>
            <a:p>
              <a:pPr algn="ctr"/>
              <a:r>
                <a:rPr lang="en-US" sz="1200" b="1" dirty="0"/>
                <a:t>Regulatory management</a:t>
              </a:r>
            </a:p>
          </p:txBody>
        </p:sp>
      </p:grpSp>
      <p:grpSp>
        <p:nvGrpSpPr>
          <p:cNvPr id="101" name="Group 100"/>
          <p:cNvGrpSpPr/>
          <p:nvPr/>
        </p:nvGrpSpPr>
        <p:grpSpPr>
          <a:xfrm>
            <a:off x="5977153" y="1340141"/>
            <a:ext cx="1692000" cy="1260000"/>
            <a:chOff x="2214192" y="1340141"/>
            <a:chExt cx="1550505" cy="1260000"/>
          </a:xfrm>
        </p:grpSpPr>
        <p:sp>
          <p:nvSpPr>
            <p:cNvPr id="102" name="Rectangle 101"/>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03" name="TextBox 102"/>
            <p:cNvSpPr txBox="1"/>
            <p:nvPr/>
          </p:nvSpPr>
          <p:spPr>
            <a:xfrm>
              <a:off x="2214192" y="1340142"/>
              <a:ext cx="1550505" cy="461665"/>
            </a:xfrm>
            <a:prstGeom prst="rect">
              <a:avLst/>
            </a:prstGeom>
            <a:noFill/>
          </p:spPr>
          <p:txBody>
            <a:bodyPr wrap="square" rtlCol="0">
              <a:spAutoFit/>
            </a:bodyPr>
            <a:lstStyle/>
            <a:p>
              <a:pPr algn="ctr"/>
              <a:r>
                <a:rPr lang="en-US" sz="1200" b="1" dirty="0"/>
                <a:t>M&amp;A, JV’s and partnering</a:t>
              </a:r>
            </a:p>
          </p:txBody>
        </p:sp>
      </p:grpSp>
      <p:grpSp>
        <p:nvGrpSpPr>
          <p:cNvPr id="104" name="Group 103"/>
          <p:cNvGrpSpPr/>
          <p:nvPr/>
        </p:nvGrpSpPr>
        <p:grpSpPr>
          <a:xfrm>
            <a:off x="7858634" y="1340141"/>
            <a:ext cx="1692000" cy="1260000"/>
            <a:chOff x="2214192" y="1340141"/>
            <a:chExt cx="1550505" cy="1260000"/>
          </a:xfrm>
        </p:grpSpPr>
        <p:sp>
          <p:nvSpPr>
            <p:cNvPr id="105" name="Rectangle 104"/>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06" name="TextBox 105"/>
            <p:cNvSpPr txBox="1"/>
            <p:nvPr/>
          </p:nvSpPr>
          <p:spPr>
            <a:xfrm>
              <a:off x="2214192" y="1340142"/>
              <a:ext cx="1550505" cy="461665"/>
            </a:xfrm>
            <a:prstGeom prst="rect">
              <a:avLst/>
            </a:prstGeom>
            <a:noFill/>
          </p:spPr>
          <p:txBody>
            <a:bodyPr wrap="square" rtlCol="0">
              <a:spAutoFit/>
            </a:bodyPr>
            <a:lstStyle/>
            <a:p>
              <a:pPr algn="ctr"/>
              <a:r>
                <a:rPr lang="en-US" sz="1200" b="1" dirty="0"/>
                <a:t>BU strategy and value creation</a:t>
              </a:r>
            </a:p>
          </p:txBody>
        </p:sp>
      </p:grpSp>
      <p:grpSp>
        <p:nvGrpSpPr>
          <p:cNvPr id="107" name="Group 106"/>
          <p:cNvGrpSpPr/>
          <p:nvPr/>
        </p:nvGrpSpPr>
        <p:grpSpPr>
          <a:xfrm>
            <a:off x="9740114" y="1340141"/>
            <a:ext cx="1692000" cy="1260000"/>
            <a:chOff x="2214192" y="1340141"/>
            <a:chExt cx="1550505" cy="1260000"/>
          </a:xfrm>
        </p:grpSpPr>
        <p:sp>
          <p:nvSpPr>
            <p:cNvPr id="108" name="Rectangle 107"/>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09" name="TextBox 108"/>
            <p:cNvSpPr txBox="1"/>
            <p:nvPr/>
          </p:nvSpPr>
          <p:spPr>
            <a:xfrm>
              <a:off x="2214192" y="1340142"/>
              <a:ext cx="1550505" cy="276999"/>
            </a:xfrm>
            <a:prstGeom prst="rect">
              <a:avLst/>
            </a:prstGeom>
            <a:noFill/>
          </p:spPr>
          <p:txBody>
            <a:bodyPr wrap="square" rtlCol="0">
              <a:spAutoFit/>
            </a:bodyPr>
            <a:lstStyle/>
            <a:p>
              <a:pPr algn="ctr"/>
              <a:r>
                <a:rPr lang="en-US" sz="1200" b="1" dirty="0"/>
                <a:t>Talent Management</a:t>
              </a:r>
            </a:p>
          </p:txBody>
        </p:sp>
      </p:grpSp>
      <p:grpSp>
        <p:nvGrpSpPr>
          <p:cNvPr id="110" name="Group 109"/>
          <p:cNvGrpSpPr/>
          <p:nvPr/>
        </p:nvGrpSpPr>
        <p:grpSpPr>
          <a:xfrm>
            <a:off x="2214191" y="2825102"/>
            <a:ext cx="1692000" cy="1260000"/>
            <a:chOff x="2214192" y="1340141"/>
            <a:chExt cx="1550505" cy="1260000"/>
          </a:xfrm>
        </p:grpSpPr>
        <p:sp>
          <p:nvSpPr>
            <p:cNvPr id="111" name="Rectangle 110"/>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12" name="TextBox 111"/>
            <p:cNvSpPr txBox="1"/>
            <p:nvPr/>
          </p:nvSpPr>
          <p:spPr>
            <a:xfrm>
              <a:off x="2214192" y="1340142"/>
              <a:ext cx="1550505" cy="276999"/>
            </a:xfrm>
            <a:prstGeom prst="rect">
              <a:avLst/>
            </a:prstGeom>
            <a:noFill/>
          </p:spPr>
          <p:txBody>
            <a:bodyPr wrap="square" rtlCol="0">
              <a:spAutoFit/>
            </a:bodyPr>
            <a:lstStyle/>
            <a:p>
              <a:pPr algn="ctr"/>
              <a:r>
                <a:rPr lang="en-US" sz="1200" b="1" dirty="0"/>
                <a:t>Sourcing</a:t>
              </a:r>
            </a:p>
          </p:txBody>
        </p:sp>
      </p:grpSp>
      <p:grpSp>
        <p:nvGrpSpPr>
          <p:cNvPr id="113" name="Group 112"/>
          <p:cNvGrpSpPr/>
          <p:nvPr/>
        </p:nvGrpSpPr>
        <p:grpSpPr>
          <a:xfrm>
            <a:off x="4095672" y="2825102"/>
            <a:ext cx="1692000" cy="1260000"/>
            <a:chOff x="2214192" y="1340141"/>
            <a:chExt cx="1550505" cy="1260000"/>
          </a:xfrm>
        </p:grpSpPr>
        <p:sp>
          <p:nvSpPr>
            <p:cNvPr id="114" name="Rectangle 113"/>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15" name="TextBox 114"/>
            <p:cNvSpPr txBox="1"/>
            <p:nvPr/>
          </p:nvSpPr>
          <p:spPr>
            <a:xfrm>
              <a:off x="2214192" y="1340142"/>
              <a:ext cx="1550505" cy="461665"/>
            </a:xfrm>
            <a:prstGeom prst="rect">
              <a:avLst/>
            </a:prstGeom>
            <a:noFill/>
          </p:spPr>
          <p:txBody>
            <a:bodyPr wrap="square" rtlCol="0">
              <a:spAutoFit/>
            </a:bodyPr>
            <a:lstStyle/>
            <a:p>
              <a:pPr algn="ctr"/>
              <a:r>
                <a:rPr lang="en-US" sz="1200" b="1" dirty="0"/>
                <a:t>Supply Chain and operations</a:t>
              </a:r>
            </a:p>
          </p:txBody>
        </p:sp>
      </p:grpSp>
      <p:grpSp>
        <p:nvGrpSpPr>
          <p:cNvPr id="116" name="Group 115"/>
          <p:cNvGrpSpPr/>
          <p:nvPr/>
        </p:nvGrpSpPr>
        <p:grpSpPr>
          <a:xfrm>
            <a:off x="5977153" y="2825102"/>
            <a:ext cx="1692000" cy="1260000"/>
            <a:chOff x="2214192" y="1340141"/>
            <a:chExt cx="1550505" cy="1260000"/>
          </a:xfrm>
        </p:grpSpPr>
        <p:sp>
          <p:nvSpPr>
            <p:cNvPr id="117" name="Rectangle 116"/>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18" name="TextBox 117"/>
            <p:cNvSpPr txBox="1"/>
            <p:nvPr/>
          </p:nvSpPr>
          <p:spPr>
            <a:xfrm>
              <a:off x="2214192" y="1340142"/>
              <a:ext cx="1550505" cy="461665"/>
            </a:xfrm>
            <a:prstGeom prst="rect">
              <a:avLst/>
            </a:prstGeom>
            <a:noFill/>
          </p:spPr>
          <p:txBody>
            <a:bodyPr wrap="square" rtlCol="0">
              <a:spAutoFit/>
            </a:bodyPr>
            <a:lstStyle/>
            <a:p>
              <a:pPr algn="ctr"/>
              <a:r>
                <a:rPr lang="en-US" sz="1200" b="1" dirty="0"/>
                <a:t>Product </a:t>
              </a:r>
              <a:r>
                <a:rPr lang="en-US" sz="1200" b="1" dirty="0" err="1"/>
                <a:t>devt</a:t>
              </a:r>
              <a:r>
                <a:rPr lang="en-US" sz="1200" b="1" dirty="0"/>
                <a:t> and innovation</a:t>
              </a:r>
            </a:p>
          </p:txBody>
        </p:sp>
      </p:grpSp>
      <p:grpSp>
        <p:nvGrpSpPr>
          <p:cNvPr id="119" name="Group 118"/>
          <p:cNvGrpSpPr/>
          <p:nvPr/>
        </p:nvGrpSpPr>
        <p:grpSpPr>
          <a:xfrm>
            <a:off x="7858634" y="2825102"/>
            <a:ext cx="1692000" cy="1260000"/>
            <a:chOff x="2214192" y="1340141"/>
            <a:chExt cx="1550505" cy="1260000"/>
          </a:xfrm>
        </p:grpSpPr>
        <p:sp>
          <p:nvSpPr>
            <p:cNvPr id="120" name="Rectangle 119"/>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21" name="TextBox 120"/>
            <p:cNvSpPr txBox="1"/>
            <p:nvPr/>
          </p:nvSpPr>
          <p:spPr>
            <a:xfrm>
              <a:off x="2214192" y="1340142"/>
              <a:ext cx="1550505" cy="276999"/>
            </a:xfrm>
            <a:prstGeom prst="rect">
              <a:avLst/>
            </a:prstGeom>
            <a:noFill/>
          </p:spPr>
          <p:txBody>
            <a:bodyPr wrap="square" rtlCol="0">
              <a:spAutoFit/>
            </a:bodyPr>
            <a:lstStyle/>
            <a:p>
              <a:pPr algn="ctr"/>
              <a:r>
                <a:rPr lang="en-US" sz="1200" b="1" dirty="0"/>
                <a:t>Go-to-market</a:t>
              </a:r>
            </a:p>
          </p:txBody>
        </p:sp>
      </p:grpSp>
      <p:grpSp>
        <p:nvGrpSpPr>
          <p:cNvPr id="122" name="Group 121"/>
          <p:cNvGrpSpPr/>
          <p:nvPr/>
        </p:nvGrpSpPr>
        <p:grpSpPr>
          <a:xfrm>
            <a:off x="9740114" y="2825102"/>
            <a:ext cx="1692000" cy="1260000"/>
            <a:chOff x="2214192" y="1340141"/>
            <a:chExt cx="1550505" cy="1260000"/>
          </a:xfrm>
        </p:grpSpPr>
        <p:sp>
          <p:nvSpPr>
            <p:cNvPr id="123" name="Rectangle 122"/>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24" name="TextBox 123"/>
            <p:cNvSpPr txBox="1"/>
            <p:nvPr/>
          </p:nvSpPr>
          <p:spPr>
            <a:xfrm>
              <a:off x="2214192" y="1340142"/>
              <a:ext cx="1550505" cy="461665"/>
            </a:xfrm>
            <a:prstGeom prst="rect">
              <a:avLst/>
            </a:prstGeom>
            <a:noFill/>
          </p:spPr>
          <p:txBody>
            <a:bodyPr wrap="square" rtlCol="0">
              <a:spAutoFit/>
            </a:bodyPr>
            <a:lstStyle/>
            <a:p>
              <a:pPr algn="ctr"/>
              <a:r>
                <a:rPr lang="en-US" sz="1200" b="1" dirty="0"/>
                <a:t>Customer experience</a:t>
              </a:r>
            </a:p>
          </p:txBody>
        </p:sp>
      </p:grpSp>
      <p:grpSp>
        <p:nvGrpSpPr>
          <p:cNvPr id="125" name="Group 124"/>
          <p:cNvGrpSpPr/>
          <p:nvPr/>
        </p:nvGrpSpPr>
        <p:grpSpPr>
          <a:xfrm>
            <a:off x="2214191" y="4299399"/>
            <a:ext cx="1692000" cy="1260000"/>
            <a:chOff x="2214192" y="1340141"/>
            <a:chExt cx="1550505" cy="1260000"/>
          </a:xfrm>
        </p:grpSpPr>
        <p:sp>
          <p:nvSpPr>
            <p:cNvPr id="126" name="Rectangle 125"/>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27" name="TextBox 126"/>
            <p:cNvSpPr txBox="1"/>
            <p:nvPr/>
          </p:nvSpPr>
          <p:spPr>
            <a:xfrm>
              <a:off x="2214192" y="1340142"/>
              <a:ext cx="1550505" cy="276999"/>
            </a:xfrm>
            <a:prstGeom prst="rect">
              <a:avLst/>
            </a:prstGeom>
            <a:noFill/>
          </p:spPr>
          <p:txBody>
            <a:bodyPr wrap="square" rtlCol="0">
              <a:spAutoFit/>
            </a:bodyPr>
            <a:lstStyle/>
            <a:p>
              <a:pPr algn="ctr"/>
              <a:r>
                <a:rPr lang="en-US" sz="1200" b="1" dirty="0"/>
                <a:t>Tangible assets</a:t>
              </a:r>
            </a:p>
          </p:txBody>
        </p:sp>
      </p:grpSp>
      <p:grpSp>
        <p:nvGrpSpPr>
          <p:cNvPr id="128" name="Group 127"/>
          <p:cNvGrpSpPr/>
          <p:nvPr/>
        </p:nvGrpSpPr>
        <p:grpSpPr>
          <a:xfrm>
            <a:off x="4095672" y="4299399"/>
            <a:ext cx="1692000" cy="1260000"/>
            <a:chOff x="2214192" y="1340141"/>
            <a:chExt cx="1550505" cy="1260000"/>
          </a:xfrm>
        </p:grpSpPr>
        <p:sp>
          <p:nvSpPr>
            <p:cNvPr id="129" name="Rectangle 128"/>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30" name="TextBox 129"/>
            <p:cNvSpPr txBox="1"/>
            <p:nvPr/>
          </p:nvSpPr>
          <p:spPr>
            <a:xfrm>
              <a:off x="2214192" y="1340142"/>
              <a:ext cx="1550505" cy="461665"/>
            </a:xfrm>
            <a:prstGeom prst="rect">
              <a:avLst/>
            </a:prstGeom>
            <a:noFill/>
          </p:spPr>
          <p:txBody>
            <a:bodyPr wrap="square" rtlCol="0">
              <a:spAutoFit/>
            </a:bodyPr>
            <a:lstStyle/>
            <a:p>
              <a:pPr algn="ctr"/>
              <a:r>
                <a:rPr lang="en-US" sz="1200" b="1" dirty="0"/>
                <a:t>People, Talent and Culture</a:t>
              </a:r>
            </a:p>
          </p:txBody>
        </p:sp>
      </p:grpSp>
      <p:grpSp>
        <p:nvGrpSpPr>
          <p:cNvPr id="131" name="Group 130"/>
          <p:cNvGrpSpPr/>
          <p:nvPr/>
        </p:nvGrpSpPr>
        <p:grpSpPr>
          <a:xfrm>
            <a:off x="5977153" y="4299399"/>
            <a:ext cx="1692000" cy="1260000"/>
            <a:chOff x="2214192" y="1340141"/>
            <a:chExt cx="1550505" cy="1260000"/>
          </a:xfrm>
        </p:grpSpPr>
        <p:sp>
          <p:nvSpPr>
            <p:cNvPr id="132" name="Rectangle 131"/>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33" name="TextBox 132"/>
            <p:cNvSpPr txBox="1"/>
            <p:nvPr/>
          </p:nvSpPr>
          <p:spPr>
            <a:xfrm>
              <a:off x="2214192" y="1340142"/>
              <a:ext cx="1550505" cy="461665"/>
            </a:xfrm>
            <a:prstGeom prst="rect">
              <a:avLst/>
            </a:prstGeom>
            <a:noFill/>
          </p:spPr>
          <p:txBody>
            <a:bodyPr wrap="square" rtlCol="0">
              <a:spAutoFit/>
            </a:bodyPr>
            <a:lstStyle/>
            <a:p>
              <a:pPr algn="ctr"/>
              <a:r>
                <a:rPr lang="en-US" sz="1200" b="1" dirty="0"/>
                <a:t>Technology, IP &amp; Data</a:t>
              </a:r>
            </a:p>
          </p:txBody>
        </p:sp>
      </p:grpSp>
      <p:grpSp>
        <p:nvGrpSpPr>
          <p:cNvPr id="134" name="Group 133"/>
          <p:cNvGrpSpPr/>
          <p:nvPr/>
        </p:nvGrpSpPr>
        <p:grpSpPr>
          <a:xfrm>
            <a:off x="7858634" y="4299399"/>
            <a:ext cx="1692000" cy="1260000"/>
            <a:chOff x="2214192" y="1340141"/>
            <a:chExt cx="1550505" cy="1260000"/>
          </a:xfrm>
        </p:grpSpPr>
        <p:sp>
          <p:nvSpPr>
            <p:cNvPr id="135" name="Rectangle 134"/>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36" name="TextBox 135"/>
            <p:cNvSpPr txBox="1"/>
            <p:nvPr/>
          </p:nvSpPr>
          <p:spPr>
            <a:xfrm>
              <a:off x="2214192" y="1340142"/>
              <a:ext cx="1550505" cy="461665"/>
            </a:xfrm>
            <a:prstGeom prst="rect">
              <a:avLst/>
            </a:prstGeom>
            <a:noFill/>
          </p:spPr>
          <p:txBody>
            <a:bodyPr wrap="square" rtlCol="0">
              <a:spAutoFit/>
            </a:bodyPr>
            <a:lstStyle/>
            <a:p>
              <a:pPr algn="ctr"/>
              <a:r>
                <a:rPr lang="en-US" sz="1200" b="1" dirty="0"/>
                <a:t>Value Proposition and Brand</a:t>
              </a:r>
            </a:p>
          </p:txBody>
        </p:sp>
      </p:grpSp>
      <p:grpSp>
        <p:nvGrpSpPr>
          <p:cNvPr id="137" name="Group 136"/>
          <p:cNvGrpSpPr/>
          <p:nvPr/>
        </p:nvGrpSpPr>
        <p:grpSpPr>
          <a:xfrm>
            <a:off x="9740114" y="4299399"/>
            <a:ext cx="1692000" cy="1260000"/>
            <a:chOff x="2214192" y="1340141"/>
            <a:chExt cx="1550505" cy="1260000"/>
          </a:xfrm>
        </p:grpSpPr>
        <p:sp>
          <p:nvSpPr>
            <p:cNvPr id="138" name="Rectangle 137"/>
            <p:cNvSpPr/>
            <p:nvPr/>
          </p:nvSpPr>
          <p:spPr>
            <a:xfrm>
              <a:off x="2214192" y="1340141"/>
              <a:ext cx="1550505" cy="12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x</a:t>
              </a:r>
            </a:p>
          </p:txBody>
        </p:sp>
        <p:sp>
          <p:nvSpPr>
            <p:cNvPr id="139" name="TextBox 138"/>
            <p:cNvSpPr txBox="1"/>
            <p:nvPr/>
          </p:nvSpPr>
          <p:spPr>
            <a:xfrm>
              <a:off x="2214192" y="1340142"/>
              <a:ext cx="1550505" cy="461665"/>
            </a:xfrm>
            <a:prstGeom prst="rect">
              <a:avLst/>
            </a:prstGeom>
            <a:noFill/>
          </p:spPr>
          <p:txBody>
            <a:bodyPr wrap="square" rtlCol="0">
              <a:spAutoFit/>
            </a:bodyPr>
            <a:lstStyle/>
            <a:p>
              <a:pPr algn="ctr"/>
              <a:r>
                <a:rPr lang="en-US" sz="1200" b="1" dirty="0"/>
                <a:t>Customer relationship</a:t>
              </a:r>
            </a:p>
          </p:txBody>
        </p:sp>
      </p:grpSp>
      <p:sp>
        <p:nvSpPr>
          <p:cNvPr id="141" name="Rounded Rectangle 140"/>
          <p:cNvSpPr/>
          <p:nvPr/>
        </p:nvSpPr>
        <p:spPr>
          <a:xfrm>
            <a:off x="12581418" y="3117115"/>
            <a:ext cx="3711076" cy="14040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TextBox 141"/>
          <p:cNvSpPr txBox="1"/>
          <p:nvPr/>
        </p:nvSpPr>
        <p:spPr>
          <a:xfrm>
            <a:off x="12581418" y="2618485"/>
            <a:ext cx="2650040" cy="369332"/>
          </a:xfrm>
          <a:prstGeom prst="rect">
            <a:avLst/>
          </a:prstGeom>
          <a:noFill/>
        </p:spPr>
        <p:txBody>
          <a:bodyPr wrap="square" rtlCol="0">
            <a:spAutoFit/>
          </a:bodyPr>
          <a:lstStyle/>
          <a:p>
            <a:r>
              <a:rPr lang="en-US" dirty="0"/>
              <a:t>2 in a row</a:t>
            </a:r>
          </a:p>
        </p:txBody>
      </p:sp>
      <p:sp>
        <p:nvSpPr>
          <p:cNvPr id="143" name="Rounded Rectangle 142"/>
          <p:cNvSpPr/>
          <p:nvPr/>
        </p:nvSpPr>
        <p:spPr>
          <a:xfrm>
            <a:off x="12503957" y="1173083"/>
            <a:ext cx="1855539" cy="14040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TextBox 144"/>
          <p:cNvSpPr txBox="1"/>
          <p:nvPr/>
        </p:nvSpPr>
        <p:spPr>
          <a:xfrm>
            <a:off x="12476768" y="672183"/>
            <a:ext cx="2650040" cy="369332"/>
          </a:xfrm>
          <a:prstGeom prst="rect">
            <a:avLst/>
          </a:prstGeom>
          <a:noFill/>
        </p:spPr>
        <p:txBody>
          <a:bodyPr wrap="square" rtlCol="0">
            <a:spAutoFit/>
          </a:bodyPr>
          <a:lstStyle/>
          <a:p>
            <a:r>
              <a:rPr lang="en-US" dirty="0"/>
              <a:t>Single</a:t>
            </a:r>
          </a:p>
        </p:txBody>
      </p:sp>
      <p:sp>
        <p:nvSpPr>
          <p:cNvPr id="146" name="Rounded Rectangle 145"/>
          <p:cNvSpPr/>
          <p:nvPr/>
        </p:nvSpPr>
        <p:spPr>
          <a:xfrm>
            <a:off x="12581418" y="4988032"/>
            <a:ext cx="5627472" cy="14040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TextBox 146"/>
          <p:cNvSpPr txBox="1"/>
          <p:nvPr/>
        </p:nvSpPr>
        <p:spPr>
          <a:xfrm>
            <a:off x="12581418" y="4585489"/>
            <a:ext cx="2650040" cy="369332"/>
          </a:xfrm>
          <a:prstGeom prst="rect">
            <a:avLst/>
          </a:prstGeom>
          <a:noFill/>
        </p:spPr>
        <p:txBody>
          <a:bodyPr wrap="square" rtlCol="0">
            <a:spAutoFit/>
          </a:bodyPr>
          <a:lstStyle/>
          <a:p>
            <a:r>
              <a:rPr lang="en-US" dirty="0"/>
              <a:t>3 in a row</a:t>
            </a:r>
          </a:p>
        </p:txBody>
      </p:sp>
      <p:cxnSp>
        <p:nvCxnSpPr>
          <p:cNvPr id="8" name="Straight Arrow Connector 7"/>
          <p:cNvCxnSpPr/>
          <p:nvPr/>
        </p:nvCxnSpPr>
        <p:spPr>
          <a:xfrm>
            <a:off x="621119" y="5780868"/>
            <a:ext cx="10948591"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265007" y="5815874"/>
            <a:ext cx="1692000" cy="276999"/>
          </a:xfrm>
          <a:prstGeom prst="rect">
            <a:avLst/>
          </a:prstGeom>
          <a:noFill/>
        </p:spPr>
        <p:txBody>
          <a:bodyPr wrap="square" rtlCol="0">
            <a:spAutoFit/>
          </a:bodyPr>
          <a:lstStyle/>
          <a:p>
            <a:pPr algn="ctr"/>
            <a:r>
              <a:rPr lang="en-US" sz="1200" b="1" dirty="0"/>
              <a:t>Back-office</a:t>
            </a:r>
          </a:p>
        </p:txBody>
      </p:sp>
      <p:sp>
        <p:nvSpPr>
          <p:cNvPr id="65" name="TextBox 64"/>
          <p:cNvSpPr txBox="1"/>
          <p:nvPr/>
        </p:nvSpPr>
        <p:spPr>
          <a:xfrm>
            <a:off x="10057354" y="5813903"/>
            <a:ext cx="1692000" cy="276999"/>
          </a:xfrm>
          <a:prstGeom prst="rect">
            <a:avLst/>
          </a:prstGeom>
          <a:noFill/>
        </p:spPr>
        <p:txBody>
          <a:bodyPr wrap="square" rtlCol="0">
            <a:spAutoFit/>
          </a:bodyPr>
          <a:lstStyle/>
          <a:p>
            <a:pPr algn="ctr"/>
            <a:r>
              <a:rPr lang="en-US" sz="1200" b="1" dirty="0"/>
              <a:t>Customer facing</a:t>
            </a:r>
          </a:p>
        </p:txBody>
      </p:sp>
    </p:spTree>
    <p:extLst>
      <p:ext uri="{BB962C8B-B14F-4D97-AF65-F5344CB8AC3E}">
        <p14:creationId xmlns:p14="http://schemas.microsoft.com/office/powerpoint/2010/main" val="18883143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94968" y="1120877"/>
            <a:ext cx="12816349" cy="461624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kstfelt 2"/>
          <p:cNvSpPr txBox="1"/>
          <p:nvPr/>
        </p:nvSpPr>
        <p:spPr>
          <a:xfrm>
            <a:off x="1993692" y="2896523"/>
            <a:ext cx="4664547" cy="1200329"/>
          </a:xfrm>
          <a:prstGeom prst="rect">
            <a:avLst/>
          </a:prstGeom>
          <a:noFill/>
        </p:spPr>
        <p:txBody>
          <a:bodyPr wrap="none" rtlCol="0">
            <a:spAutoFit/>
          </a:bodyPr>
          <a:lstStyle/>
          <a:p>
            <a:r>
              <a:rPr lang="da-DK" sz="7200" dirty="0">
                <a:solidFill>
                  <a:schemeClr val="bg1"/>
                </a:solidFill>
              </a:rPr>
              <a:t>Transitions</a:t>
            </a:r>
          </a:p>
        </p:txBody>
      </p:sp>
    </p:spTree>
    <p:extLst>
      <p:ext uri="{BB962C8B-B14F-4D97-AF65-F5344CB8AC3E}">
        <p14:creationId xmlns:p14="http://schemas.microsoft.com/office/powerpoint/2010/main" val="39736136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2"/>
            <a:ext cx="12191999" cy="4091092"/>
          </a:xfrm>
          <a:prstGeom prst="rect">
            <a:avLst/>
          </a:prstGeom>
        </p:spPr>
      </p:pic>
      <p:sp>
        <p:nvSpPr>
          <p:cNvPr id="59" name="Title 1"/>
          <p:cNvSpPr txBox="1">
            <a:spLocks/>
          </p:cNvSpPr>
          <p:nvPr/>
        </p:nvSpPr>
        <p:spPr>
          <a:xfrm>
            <a:off x="420083" y="302210"/>
            <a:ext cx="10369063" cy="540199"/>
          </a:xfrm>
          <a:prstGeom prst="rect">
            <a:avLst/>
          </a:prstGeom>
        </p:spPr>
        <p:txBody>
          <a:bodyPr/>
          <a:lstStyle>
            <a:lvl1pPr algn="l" rtl="0" eaLnBrk="1" fontAlgn="base" hangingPunct="1">
              <a:spcBef>
                <a:spcPct val="0"/>
              </a:spcBef>
              <a:spcAft>
                <a:spcPct val="0"/>
              </a:spcAft>
              <a:defRPr lang="en-US" sz="1477" b="0" smtClean="0">
                <a:solidFill>
                  <a:schemeClr val="tx1"/>
                </a:solidFill>
                <a:latin typeface="+mj-lt"/>
                <a:ea typeface="+mj-ea"/>
                <a:cs typeface="+mj-cs"/>
              </a:defRPr>
            </a:lvl1pPr>
            <a:lvl2pPr algn="l" rtl="0" eaLnBrk="1" fontAlgn="base" hangingPunct="1">
              <a:spcBef>
                <a:spcPct val="0"/>
              </a:spcBef>
              <a:spcAft>
                <a:spcPct val="0"/>
              </a:spcAft>
              <a:defRPr sz="1477" b="1">
                <a:solidFill>
                  <a:schemeClr val="tx2"/>
                </a:solidFill>
                <a:latin typeface="Arial" charset="0"/>
              </a:defRPr>
            </a:lvl2pPr>
            <a:lvl3pPr algn="l" rtl="0" eaLnBrk="1" fontAlgn="base" hangingPunct="1">
              <a:spcBef>
                <a:spcPct val="0"/>
              </a:spcBef>
              <a:spcAft>
                <a:spcPct val="0"/>
              </a:spcAft>
              <a:defRPr sz="1477" b="1">
                <a:solidFill>
                  <a:schemeClr val="tx2"/>
                </a:solidFill>
                <a:latin typeface="Arial" charset="0"/>
              </a:defRPr>
            </a:lvl3pPr>
            <a:lvl4pPr algn="l" rtl="0" eaLnBrk="1" fontAlgn="base" hangingPunct="1">
              <a:spcBef>
                <a:spcPct val="0"/>
              </a:spcBef>
              <a:spcAft>
                <a:spcPct val="0"/>
              </a:spcAft>
              <a:defRPr sz="1477" b="1">
                <a:solidFill>
                  <a:schemeClr val="tx2"/>
                </a:solidFill>
                <a:latin typeface="Arial" charset="0"/>
              </a:defRPr>
            </a:lvl4pPr>
            <a:lvl5pPr algn="l" rtl="0" eaLnBrk="1" fontAlgn="base" hangingPunct="1">
              <a:spcBef>
                <a:spcPct val="0"/>
              </a:spcBef>
              <a:spcAft>
                <a:spcPct val="0"/>
              </a:spcAft>
              <a:defRPr sz="1477" b="1">
                <a:solidFill>
                  <a:schemeClr val="tx2"/>
                </a:solidFill>
                <a:latin typeface="Arial" charset="0"/>
              </a:defRPr>
            </a:lvl5pPr>
            <a:lvl6pPr marL="422041" algn="l" rtl="0" eaLnBrk="1" fontAlgn="base" hangingPunct="1">
              <a:spcBef>
                <a:spcPct val="0"/>
              </a:spcBef>
              <a:spcAft>
                <a:spcPct val="0"/>
              </a:spcAft>
              <a:defRPr sz="1477" b="1">
                <a:solidFill>
                  <a:schemeClr val="tx2"/>
                </a:solidFill>
                <a:latin typeface="Arial" charset="0"/>
              </a:defRPr>
            </a:lvl6pPr>
            <a:lvl7pPr marL="844083" algn="l" rtl="0" eaLnBrk="1" fontAlgn="base" hangingPunct="1">
              <a:spcBef>
                <a:spcPct val="0"/>
              </a:spcBef>
              <a:spcAft>
                <a:spcPct val="0"/>
              </a:spcAft>
              <a:defRPr sz="1477" b="1">
                <a:solidFill>
                  <a:schemeClr val="tx2"/>
                </a:solidFill>
                <a:latin typeface="Arial" charset="0"/>
              </a:defRPr>
            </a:lvl7pPr>
            <a:lvl8pPr marL="1266124" algn="l" rtl="0" eaLnBrk="1" fontAlgn="base" hangingPunct="1">
              <a:spcBef>
                <a:spcPct val="0"/>
              </a:spcBef>
              <a:spcAft>
                <a:spcPct val="0"/>
              </a:spcAft>
              <a:defRPr sz="1477" b="1">
                <a:solidFill>
                  <a:schemeClr val="tx2"/>
                </a:solidFill>
                <a:latin typeface="Arial" charset="0"/>
              </a:defRPr>
            </a:lvl8pPr>
            <a:lvl9pPr marL="1688165" algn="l" rtl="0" eaLnBrk="1" fontAlgn="base" hangingPunct="1">
              <a:spcBef>
                <a:spcPct val="0"/>
              </a:spcBef>
              <a:spcAft>
                <a:spcPct val="0"/>
              </a:spcAft>
              <a:defRPr sz="1477" b="1">
                <a:solidFill>
                  <a:schemeClr val="tx2"/>
                </a:solidFill>
                <a:latin typeface="Arial" charset="0"/>
              </a:defRPr>
            </a:lvl9pPr>
          </a:lstStyle>
          <a:p>
            <a:r>
              <a:rPr lang="en-US" sz="2667" dirty="0">
                <a:solidFill>
                  <a:schemeClr val="bg1"/>
                </a:solidFill>
                <a:latin typeface="Avenir Book"/>
                <a:cs typeface="Avenir Book"/>
              </a:rPr>
              <a:t>A G E N D A</a:t>
            </a:r>
          </a:p>
        </p:txBody>
      </p:sp>
      <p:sp>
        <p:nvSpPr>
          <p:cNvPr id="24" name="Rectangle 3"/>
          <p:cNvSpPr txBox="1">
            <a:spLocks noChangeArrowheads="1"/>
          </p:cNvSpPr>
          <p:nvPr/>
        </p:nvSpPr>
        <p:spPr bwMode="auto">
          <a:xfrm>
            <a:off x="11249100" y="234883"/>
            <a:ext cx="445473" cy="272047"/>
          </a:xfrm>
          <a:prstGeom prst="rect">
            <a:avLst/>
          </a:prstGeom>
          <a:noFill/>
          <a:ln w="9525">
            <a:noFill/>
            <a:miter lim="800000"/>
            <a:headEnd/>
            <a:tailEnd/>
          </a:ln>
          <a:effectLst/>
        </p:spPr>
        <p:txBody>
          <a:bodyPr vert="horz" wrap="square" lIns="0" tIns="44308" rIns="44308" bIns="0" numCol="1" anchor="b" anchorCtr="0" compatLnSpc="1">
            <a:prstTxWarp prst="textNoShape">
              <a:avLst/>
            </a:prstTxWarp>
            <a:spAutoFit/>
          </a:bodyPr>
          <a:lstStyle>
            <a:lvl1pPr algn="l" rtl="0" eaLnBrk="1" fontAlgn="base" hangingPunct="1">
              <a:spcBef>
                <a:spcPct val="50000"/>
              </a:spcBef>
              <a:spcAft>
                <a:spcPct val="0"/>
              </a:spcAft>
              <a:defRPr sz="1200">
                <a:solidFill>
                  <a:schemeClr val="tx1"/>
                </a:solidFill>
                <a:latin typeface="+mn-lt"/>
                <a:ea typeface="+mn-ea"/>
                <a:cs typeface="+mn-cs"/>
              </a:defRPr>
            </a:lvl1pPr>
            <a:lvl2pPr marL="136525" indent="-134938" algn="l" rtl="0" eaLnBrk="1" fontAlgn="base" hangingPunct="1">
              <a:spcBef>
                <a:spcPct val="50000"/>
              </a:spcBef>
              <a:spcAft>
                <a:spcPct val="0"/>
              </a:spcAft>
              <a:buChar char="•"/>
              <a:defRPr sz="1200">
                <a:solidFill>
                  <a:schemeClr val="tx1"/>
                </a:solidFill>
                <a:latin typeface="+mn-lt"/>
              </a:defRPr>
            </a:lvl2pPr>
            <a:lvl3pPr marL="285750" indent="-147638" algn="l" rtl="0" eaLnBrk="1" fontAlgn="base" hangingPunct="1">
              <a:spcBef>
                <a:spcPct val="50000"/>
              </a:spcBef>
              <a:spcAft>
                <a:spcPct val="0"/>
              </a:spcAft>
              <a:buChar char="–"/>
              <a:defRPr sz="1200">
                <a:solidFill>
                  <a:schemeClr val="tx1"/>
                </a:solidFill>
                <a:latin typeface="+mn-lt"/>
              </a:defRPr>
            </a:lvl3pPr>
            <a:lvl4pPr marL="422275" indent="-134938" algn="l" rtl="0" eaLnBrk="1" fontAlgn="base" hangingPunct="1">
              <a:spcBef>
                <a:spcPct val="50000"/>
              </a:spcBef>
              <a:spcAft>
                <a:spcPct val="0"/>
              </a:spcAft>
              <a:buChar char="·"/>
              <a:defRPr sz="1200">
                <a:solidFill>
                  <a:schemeClr val="tx1"/>
                </a:solidFill>
                <a:latin typeface="+mn-lt"/>
              </a:defRPr>
            </a:lvl4pPr>
            <a:lvl5pPr marL="571500" indent="-147638" algn="l" rtl="0" eaLnBrk="1" fontAlgn="base" hangingPunct="1">
              <a:spcBef>
                <a:spcPct val="50000"/>
              </a:spcBef>
              <a:spcAft>
                <a:spcPct val="0"/>
              </a:spcAft>
              <a:buChar char="»"/>
              <a:defRPr sz="1200">
                <a:solidFill>
                  <a:schemeClr val="tx1"/>
                </a:solidFill>
                <a:latin typeface="+mn-lt"/>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a:lstStyle>
          <a:p>
            <a:pPr indent="-166076" algn="r" defTabSz="550985">
              <a:spcBef>
                <a:spcPts val="0"/>
              </a:spcBef>
              <a:tabLst>
                <a:tab pos="478693" algn="r"/>
                <a:tab pos="550985" algn="l"/>
              </a:tabLst>
            </a:pPr>
            <a:fld id="{D39C7F9B-3CB1-44ED-804F-93D0D0C525F9}" type="slidenum">
              <a:rPr lang="en-US" sz="1477" b="1">
                <a:solidFill>
                  <a:schemeClr val="bg1"/>
                </a:solidFill>
                <a:latin typeface="Avenir Book"/>
                <a:cs typeface="Avenir Book"/>
              </a:rPr>
              <a:pPr indent="-166076" algn="r" defTabSz="550985">
                <a:spcBef>
                  <a:spcPts val="0"/>
                </a:spcBef>
                <a:tabLst>
                  <a:tab pos="478693" algn="r"/>
                  <a:tab pos="550985" algn="l"/>
                </a:tabLst>
              </a:pPr>
              <a:t>77</a:t>
            </a:fld>
            <a:endParaRPr lang="en-US" sz="1477" b="1" dirty="0">
              <a:solidFill>
                <a:schemeClr val="bg1"/>
              </a:solidFill>
              <a:latin typeface="Avenir Book"/>
              <a:cs typeface="Avenir Book"/>
            </a:endParaRPr>
          </a:p>
        </p:txBody>
      </p:sp>
      <p:sp>
        <p:nvSpPr>
          <p:cNvPr id="39" name="Tekstfelt 30"/>
          <p:cNvSpPr txBox="1"/>
          <p:nvPr/>
        </p:nvSpPr>
        <p:spPr>
          <a:xfrm>
            <a:off x="1995526" y="5081922"/>
            <a:ext cx="2045545" cy="246221"/>
          </a:xfrm>
          <a:prstGeom prst="rect">
            <a:avLst/>
          </a:prstGeom>
          <a:noFill/>
        </p:spPr>
        <p:txBody>
          <a:bodyPr wrap="square" lIns="0" tIns="0" rIns="0" bIns="0" rtlCol="0">
            <a:spAutoFit/>
          </a:bodyPr>
          <a:lstStyle>
            <a:defPPr>
              <a:defRPr lang="da-DK"/>
            </a:defPPr>
            <a:lvl1pPr defTabSz="457200" fontAlgn="base">
              <a:spcBef>
                <a:spcPts val="600"/>
              </a:spcBef>
              <a:spcAft>
                <a:spcPts val="600"/>
              </a:spcAft>
              <a:defRPr sz="1500" b="1">
                <a:solidFill>
                  <a:srgbClr val="5F606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da-DK" sz="1600" b="0" dirty="0">
                <a:solidFill>
                  <a:schemeClr val="tx1">
                    <a:lumMod val="75000"/>
                    <a:lumOff val="25000"/>
                  </a:schemeClr>
                </a:solidFill>
                <a:latin typeface="Avenir Book"/>
                <a:cs typeface="Avenir Book"/>
              </a:rPr>
              <a:t>INSIGHTS</a:t>
            </a:r>
          </a:p>
        </p:txBody>
      </p:sp>
      <p:sp>
        <p:nvSpPr>
          <p:cNvPr id="52" name="Ellipse 22"/>
          <p:cNvSpPr>
            <a:spLocks/>
          </p:cNvSpPr>
          <p:nvPr/>
        </p:nvSpPr>
        <p:spPr>
          <a:xfrm>
            <a:off x="2298299" y="3363544"/>
            <a:ext cx="1440000" cy="1440000"/>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defTabSz="1218615"/>
            <a:endParaRPr lang="da-DK" sz="1600" dirty="0">
              <a:solidFill>
                <a:srgbClr val="FFFFFF"/>
              </a:solidFill>
              <a:latin typeface="Avenir Book"/>
              <a:cs typeface="Avenir Book"/>
            </a:endParaRPr>
          </a:p>
        </p:txBody>
      </p:sp>
      <p:pic>
        <p:nvPicPr>
          <p:cNvPr id="53" name="Billede 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517619" y="3520103"/>
            <a:ext cx="1076184" cy="1076184"/>
          </a:xfrm>
          <a:prstGeom prst="rect">
            <a:avLst/>
          </a:prstGeom>
        </p:spPr>
      </p:pic>
      <p:sp>
        <p:nvSpPr>
          <p:cNvPr id="54" name="Ellipse 22"/>
          <p:cNvSpPr>
            <a:spLocks/>
          </p:cNvSpPr>
          <p:nvPr/>
        </p:nvSpPr>
        <p:spPr>
          <a:xfrm>
            <a:off x="6366933" y="3363544"/>
            <a:ext cx="1440000" cy="1440000"/>
          </a:xfrm>
          <a:prstGeom prst="ellipse">
            <a:avLst/>
          </a:prstGeom>
          <a:solidFill>
            <a:srgbClr val="31313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defTabSz="1218615"/>
            <a:endParaRPr lang="da-DK" sz="1600" dirty="0">
              <a:solidFill>
                <a:srgbClr val="FFFFFF"/>
              </a:solidFill>
              <a:latin typeface="Avenir Book"/>
              <a:cs typeface="Avenir Book"/>
            </a:endParaRPr>
          </a:p>
        </p:txBody>
      </p:sp>
      <p:pic>
        <p:nvPicPr>
          <p:cNvPr id="55" name="Billede 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20952" y="3541561"/>
            <a:ext cx="1025427" cy="1025427"/>
          </a:xfrm>
          <a:prstGeom prst="rect">
            <a:avLst/>
          </a:prstGeom>
        </p:spPr>
      </p:pic>
      <p:grpSp>
        <p:nvGrpSpPr>
          <p:cNvPr id="30" name="Group 29"/>
          <p:cNvGrpSpPr/>
          <p:nvPr/>
        </p:nvGrpSpPr>
        <p:grpSpPr>
          <a:xfrm>
            <a:off x="4324237" y="3363544"/>
            <a:ext cx="1440000" cy="1440000"/>
            <a:chOff x="3243178" y="4016581"/>
            <a:chExt cx="1080000" cy="1080000"/>
          </a:xfrm>
        </p:grpSpPr>
        <p:sp>
          <p:nvSpPr>
            <p:cNvPr id="56" name="Ellipse 32"/>
            <p:cNvSpPr>
              <a:spLocks/>
            </p:cNvSpPr>
            <p:nvPr/>
          </p:nvSpPr>
          <p:spPr>
            <a:xfrm>
              <a:off x="3243178" y="4016581"/>
              <a:ext cx="1080000" cy="1080000"/>
            </a:xfrm>
            <a:prstGeom prst="ellipse">
              <a:avLst/>
            </a:prstGeom>
            <a:solidFill>
              <a:srgbClr val="31313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defTabSz="1218615"/>
              <a:endParaRPr lang="da-DK" sz="1600" dirty="0">
                <a:solidFill>
                  <a:srgbClr val="FFFFFF"/>
                </a:solidFill>
                <a:latin typeface="Avenir Book"/>
                <a:cs typeface="Avenir Book"/>
              </a:endParaRPr>
            </a:p>
          </p:txBody>
        </p:sp>
        <p:pic>
          <p:nvPicPr>
            <p:cNvPr id="57" name="Billede 1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55144" y="4117488"/>
              <a:ext cx="857283" cy="857283"/>
            </a:xfrm>
            <a:prstGeom prst="rect">
              <a:avLst/>
            </a:prstGeom>
          </p:spPr>
        </p:pic>
      </p:grpSp>
      <p:cxnSp>
        <p:nvCxnSpPr>
          <p:cNvPr id="60" name="Lige forbindelse 25"/>
          <p:cNvCxnSpPr>
            <a:cxnSpLocks/>
          </p:cNvCxnSpPr>
          <p:nvPr/>
        </p:nvCxnSpPr>
        <p:spPr>
          <a:xfrm>
            <a:off x="2210255" y="4974739"/>
            <a:ext cx="1616088" cy="0"/>
          </a:xfrm>
          <a:prstGeom prst="line">
            <a:avLst/>
          </a:prstGeom>
          <a:noFill/>
          <a:ln w="38100" cap="flat" cmpd="sng" algn="ctr">
            <a:solidFill>
              <a:schemeClr val="accent5"/>
            </a:solidFill>
            <a:prstDash val="solid"/>
          </a:ln>
          <a:effectLst/>
        </p:spPr>
      </p:cxnSp>
      <p:cxnSp>
        <p:nvCxnSpPr>
          <p:cNvPr id="67" name="Lige forbindelse 25"/>
          <p:cNvCxnSpPr>
            <a:cxnSpLocks/>
          </p:cNvCxnSpPr>
          <p:nvPr/>
        </p:nvCxnSpPr>
        <p:spPr>
          <a:xfrm>
            <a:off x="4236957" y="4964304"/>
            <a:ext cx="1616088" cy="0"/>
          </a:xfrm>
          <a:prstGeom prst="line">
            <a:avLst/>
          </a:prstGeom>
          <a:noFill/>
          <a:ln w="38100" cap="flat" cmpd="sng" algn="ctr">
            <a:solidFill>
              <a:schemeClr val="accent5"/>
            </a:solidFill>
            <a:prstDash val="solid"/>
          </a:ln>
          <a:effectLst/>
        </p:spPr>
      </p:cxnSp>
      <p:cxnSp>
        <p:nvCxnSpPr>
          <p:cNvPr id="68" name="Lige forbindelse 25"/>
          <p:cNvCxnSpPr>
            <a:cxnSpLocks/>
          </p:cNvCxnSpPr>
          <p:nvPr/>
        </p:nvCxnSpPr>
        <p:spPr>
          <a:xfrm>
            <a:off x="6366933" y="4964304"/>
            <a:ext cx="1616088" cy="0"/>
          </a:xfrm>
          <a:prstGeom prst="line">
            <a:avLst/>
          </a:prstGeom>
          <a:noFill/>
          <a:ln w="38100" cap="flat" cmpd="sng" algn="ctr">
            <a:solidFill>
              <a:schemeClr val="accent5"/>
            </a:solidFill>
            <a:prstDash val="solid"/>
          </a:ln>
          <a:effectLst/>
        </p:spPr>
      </p:cxnSp>
      <p:sp>
        <p:nvSpPr>
          <p:cNvPr id="69" name="Tekstfelt 30"/>
          <p:cNvSpPr txBox="1"/>
          <p:nvPr/>
        </p:nvSpPr>
        <p:spPr>
          <a:xfrm>
            <a:off x="4049321" y="5081922"/>
            <a:ext cx="2045545" cy="246221"/>
          </a:xfrm>
          <a:prstGeom prst="rect">
            <a:avLst/>
          </a:prstGeom>
          <a:noFill/>
        </p:spPr>
        <p:txBody>
          <a:bodyPr wrap="square" lIns="0" tIns="0" rIns="0" bIns="0" rtlCol="0">
            <a:spAutoFit/>
          </a:bodyPr>
          <a:lstStyle>
            <a:defPPr>
              <a:defRPr lang="da-DK"/>
            </a:defPPr>
            <a:lvl1pPr defTabSz="457200" fontAlgn="base">
              <a:spcBef>
                <a:spcPts val="600"/>
              </a:spcBef>
              <a:spcAft>
                <a:spcPts val="600"/>
              </a:spcAft>
              <a:defRPr sz="1500" b="1">
                <a:solidFill>
                  <a:srgbClr val="5F606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AU" sz="1600" b="0" dirty="0">
                <a:solidFill>
                  <a:schemeClr val="tx1">
                    <a:lumMod val="75000"/>
                    <a:lumOff val="25000"/>
                  </a:schemeClr>
                </a:solidFill>
                <a:latin typeface="Avenir Book"/>
                <a:cs typeface="Avenir Book"/>
              </a:rPr>
              <a:t>SOLUTION</a:t>
            </a:r>
          </a:p>
        </p:txBody>
      </p:sp>
      <p:sp>
        <p:nvSpPr>
          <p:cNvPr id="70" name="Tekstfelt 30"/>
          <p:cNvSpPr txBox="1"/>
          <p:nvPr/>
        </p:nvSpPr>
        <p:spPr>
          <a:xfrm>
            <a:off x="6098901" y="5081922"/>
            <a:ext cx="2045545" cy="246221"/>
          </a:xfrm>
          <a:prstGeom prst="rect">
            <a:avLst/>
          </a:prstGeom>
          <a:noFill/>
        </p:spPr>
        <p:txBody>
          <a:bodyPr wrap="square" lIns="0" tIns="0" rIns="0" bIns="0" rtlCol="0">
            <a:spAutoFit/>
          </a:bodyPr>
          <a:lstStyle>
            <a:defPPr>
              <a:defRPr lang="da-DK"/>
            </a:defPPr>
            <a:lvl1pPr defTabSz="457200" fontAlgn="base">
              <a:spcBef>
                <a:spcPts val="600"/>
              </a:spcBef>
              <a:spcAft>
                <a:spcPts val="600"/>
              </a:spcAft>
              <a:defRPr sz="1500" b="1">
                <a:solidFill>
                  <a:srgbClr val="5F606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da-DK" sz="1600" b="0" dirty="0">
                <a:solidFill>
                  <a:schemeClr val="tx1">
                    <a:lumMod val="75000"/>
                    <a:lumOff val="25000"/>
                  </a:schemeClr>
                </a:solidFill>
                <a:latin typeface="Avenir Book"/>
                <a:cs typeface="Avenir Book"/>
              </a:rPr>
              <a:t>IMPACT</a:t>
            </a:r>
          </a:p>
        </p:txBody>
      </p:sp>
      <p:grpSp>
        <p:nvGrpSpPr>
          <p:cNvPr id="2" name="Group 1">
            <a:extLst>
              <a:ext uri="{FF2B5EF4-FFF2-40B4-BE49-F238E27FC236}">
                <a16:creationId xmlns:a16="http://schemas.microsoft.com/office/drawing/2014/main" id="{CC6364F4-1858-0444-898F-52EFFD8D1D26}"/>
              </a:ext>
            </a:extLst>
          </p:cNvPr>
          <p:cNvGrpSpPr/>
          <p:nvPr/>
        </p:nvGrpSpPr>
        <p:grpSpPr>
          <a:xfrm>
            <a:off x="8172425" y="3371093"/>
            <a:ext cx="2045545" cy="1957050"/>
            <a:chOff x="8172425" y="3371093"/>
            <a:chExt cx="2045545" cy="1957050"/>
          </a:xfrm>
        </p:grpSpPr>
        <p:sp>
          <p:nvSpPr>
            <p:cNvPr id="58" name="Ellipse 24"/>
            <p:cNvSpPr>
              <a:spLocks/>
            </p:cNvSpPr>
            <p:nvPr/>
          </p:nvSpPr>
          <p:spPr>
            <a:xfrm>
              <a:off x="8438552" y="3371093"/>
              <a:ext cx="1440000" cy="1440000"/>
            </a:xfrm>
            <a:prstGeom prst="ellipse">
              <a:avLst/>
            </a:prstGeom>
            <a:solidFill>
              <a:srgbClr val="31313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defTabSz="1218615"/>
              <a:endParaRPr lang="da-DK" sz="1600" dirty="0">
                <a:solidFill>
                  <a:srgbClr val="FFFFFF"/>
                </a:solidFill>
                <a:latin typeface="Avenir Book"/>
                <a:cs typeface="Avenir Book"/>
              </a:endParaRPr>
            </a:p>
          </p:txBody>
        </p:sp>
        <p:sp>
          <p:nvSpPr>
            <p:cNvPr id="71" name="Tekstfelt 30"/>
            <p:cNvSpPr txBox="1"/>
            <p:nvPr/>
          </p:nvSpPr>
          <p:spPr>
            <a:xfrm>
              <a:off x="8172425" y="5081922"/>
              <a:ext cx="2045545" cy="246221"/>
            </a:xfrm>
            <a:prstGeom prst="rect">
              <a:avLst/>
            </a:prstGeom>
            <a:noFill/>
          </p:spPr>
          <p:txBody>
            <a:bodyPr wrap="square" lIns="0" tIns="0" rIns="0" bIns="0" rtlCol="0">
              <a:spAutoFit/>
            </a:bodyPr>
            <a:lstStyle>
              <a:defPPr>
                <a:defRPr lang="da-DK"/>
              </a:defPPr>
              <a:lvl1pPr defTabSz="457200" fontAlgn="base">
                <a:spcBef>
                  <a:spcPts val="600"/>
                </a:spcBef>
                <a:spcAft>
                  <a:spcPts val="600"/>
                </a:spcAft>
                <a:defRPr sz="1500" b="1">
                  <a:solidFill>
                    <a:srgbClr val="5F606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da-DK" sz="1600" b="0" dirty="0">
                  <a:solidFill>
                    <a:schemeClr val="tx1">
                      <a:lumMod val="75000"/>
                      <a:lumOff val="25000"/>
                    </a:schemeClr>
                  </a:solidFill>
                  <a:latin typeface="Avenir Book"/>
                  <a:cs typeface="Avenir Book"/>
                </a:rPr>
                <a:t>IMPLEMENTATION</a:t>
              </a:r>
            </a:p>
          </p:txBody>
        </p:sp>
        <p:pic>
          <p:nvPicPr>
            <p:cNvPr id="23" name="Billede 25">
              <a:extLst>
                <a:ext uri="{FF2B5EF4-FFF2-40B4-BE49-F238E27FC236}">
                  <a16:creationId xmlns:a16="http://schemas.microsoft.com/office/drawing/2014/main" id="{23A20150-7EEE-0D43-9FFB-CEF54B930E1B}"/>
                </a:ext>
              </a:extLst>
            </p:cNvPr>
            <p:cNvPicPr>
              <a:picLocks noChangeAspect="1"/>
            </p:cNvPicPr>
            <p:nvPr/>
          </p:nvPicPr>
          <p:blipFill>
            <a:blip r:embed="rId8"/>
            <a:stretch>
              <a:fillRect/>
            </a:stretch>
          </p:blipFill>
          <p:spPr>
            <a:xfrm>
              <a:off x="8707390" y="3626604"/>
              <a:ext cx="991080" cy="991080"/>
            </a:xfrm>
            <a:prstGeom prst="rect">
              <a:avLst/>
            </a:prstGeom>
          </p:spPr>
        </p:pic>
        <p:cxnSp>
          <p:nvCxnSpPr>
            <p:cNvPr id="72" name="Lige forbindelse 25"/>
            <p:cNvCxnSpPr>
              <a:cxnSpLocks/>
            </p:cNvCxnSpPr>
            <p:nvPr/>
          </p:nvCxnSpPr>
          <p:spPr>
            <a:xfrm>
              <a:off x="8414491" y="4964304"/>
              <a:ext cx="1616088" cy="0"/>
            </a:xfrm>
            <a:prstGeom prst="line">
              <a:avLst/>
            </a:prstGeom>
            <a:noFill/>
            <a:ln w="38100" cap="flat" cmpd="sng" algn="ctr">
              <a:solidFill>
                <a:schemeClr val="accent5"/>
              </a:solidFill>
              <a:prstDash val="solid"/>
            </a:ln>
            <a:effectLst/>
          </p:spPr>
        </p:cxnSp>
      </p:grpSp>
    </p:spTree>
    <p:extLst>
      <p:ext uri="{BB962C8B-B14F-4D97-AF65-F5344CB8AC3E}">
        <p14:creationId xmlns:p14="http://schemas.microsoft.com/office/powerpoint/2010/main" val="22826456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3537" r="-3019"/>
          <a:stretch/>
        </p:blipFill>
        <p:spPr>
          <a:xfrm>
            <a:off x="-445918" y="-387085"/>
            <a:ext cx="13083835" cy="7760292"/>
          </a:xfrm>
          <a:prstGeom prst="rect">
            <a:avLst/>
          </a:prstGeom>
        </p:spPr>
      </p:pic>
      <p:pic>
        <p:nvPicPr>
          <p:cNvPr id="2" name="Picture 1"/>
          <p:cNvPicPr>
            <a:picLocks noChangeAspect="1"/>
          </p:cNvPicPr>
          <p:nvPr/>
        </p:nvPicPr>
        <p:blipFill rotWithShape="1">
          <a:blip r:embed="rId3"/>
          <a:srcRect l="33606" r="25785"/>
          <a:stretch/>
        </p:blipFill>
        <p:spPr>
          <a:xfrm>
            <a:off x="1270042" y="7850004"/>
            <a:ext cx="3921458" cy="6433765"/>
          </a:xfrm>
          <a:prstGeom prst="rect">
            <a:avLst/>
          </a:prstGeom>
        </p:spPr>
      </p:pic>
      <p:sp>
        <p:nvSpPr>
          <p:cNvPr id="13" name="Rectangle 12"/>
          <p:cNvSpPr/>
          <p:nvPr/>
        </p:nvSpPr>
        <p:spPr>
          <a:xfrm>
            <a:off x="-445918" y="-616812"/>
            <a:ext cx="4622216" cy="8040496"/>
          </a:xfrm>
          <a:prstGeom prst="rect">
            <a:avLst/>
          </a:prstGeom>
          <a:solidFill>
            <a:srgbClr val="386A2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9" name="Rectangle 28"/>
          <p:cNvSpPr/>
          <p:nvPr/>
        </p:nvSpPr>
        <p:spPr>
          <a:xfrm>
            <a:off x="4299140" y="-616812"/>
            <a:ext cx="3703920" cy="8040496"/>
          </a:xfrm>
          <a:prstGeom prst="rect">
            <a:avLst/>
          </a:prstGeom>
          <a:solidFill>
            <a:srgbClr val="549E3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5" name="Rectangle 24"/>
          <p:cNvSpPr/>
          <p:nvPr/>
        </p:nvSpPr>
        <p:spPr>
          <a:xfrm>
            <a:off x="4290278" y="9320524"/>
            <a:ext cx="3908110" cy="6415326"/>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7" name="Oval 6"/>
          <p:cNvSpPr/>
          <p:nvPr/>
        </p:nvSpPr>
        <p:spPr>
          <a:xfrm>
            <a:off x="5276435"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Arial" panose="020B0604020202020204" pitchFamily="34" charset="0"/>
              </a:rPr>
              <a:t>O</a:t>
            </a:r>
          </a:p>
        </p:txBody>
      </p:sp>
      <p:sp>
        <p:nvSpPr>
          <p:cNvPr id="4" name="Oval 3"/>
          <p:cNvSpPr/>
          <p:nvPr/>
        </p:nvSpPr>
        <p:spPr>
          <a:xfrm>
            <a:off x="1243987"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Arial" panose="020B0604020202020204" pitchFamily="34" charset="0"/>
              </a:rPr>
              <a:t>C</a:t>
            </a:r>
          </a:p>
        </p:txBody>
      </p:sp>
      <p:sp>
        <p:nvSpPr>
          <p:cNvPr id="15" name="TextBox 14"/>
          <p:cNvSpPr txBox="1"/>
          <p:nvPr/>
        </p:nvSpPr>
        <p:spPr>
          <a:xfrm>
            <a:off x="876257"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1: CAPTURE</a:t>
            </a:r>
          </a:p>
        </p:txBody>
      </p:sp>
      <p:sp>
        <p:nvSpPr>
          <p:cNvPr id="16" name="TextBox 15"/>
          <p:cNvSpPr txBox="1"/>
          <p:nvPr/>
        </p:nvSpPr>
        <p:spPr>
          <a:xfrm>
            <a:off x="4668674" y="2746813"/>
            <a:ext cx="2862515"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2</a:t>
            </a:r>
            <a:r>
              <a:rPr lang="en-US" sz="1600" b="1">
                <a:solidFill>
                  <a:schemeClr val="bg1"/>
                </a:solidFill>
                <a:latin typeface="Arial" panose="020B0604020202020204" pitchFamily="34" charset="0"/>
                <a:ea typeface="Gulim" charset="-127"/>
                <a:cs typeface="Arial" panose="020B0604020202020204" pitchFamily="34" charset="0"/>
              </a:rPr>
              <a:t>: OPPORTUNITIES</a:t>
            </a:r>
            <a:endParaRPr lang="en-US" sz="1600" b="1" dirty="0">
              <a:solidFill>
                <a:schemeClr val="bg1"/>
              </a:solidFill>
              <a:latin typeface="Arial" panose="020B0604020202020204" pitchFamily="34" charset="0"/>
              <a:ea typeface="Gulim" charset="-127"/>
              <a:cs typeface="Arial" panose="020B0604020202020204" pitchFamily="34" charset="0"/>
            </a:endParaRPr>
          </a:p>
        </p:txBody>
      </p:sp>
      <p:cxnSp>
        <p:nvCxnSpPr>
          <p:cNvPr id="22" name="Straight Connector 21"/>
          <p:cNvCxnSpPr/>
          <p:nvPr/>
        </p:nvCxnSpPr>
        <p:spPr>
          <a:xfrm>
            <a:off x="137779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462151"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8250593" y="-563380"/>
            <a:ext cx="4176933" cy="8040496"/>
          </a:xfrm>
          <a:prstGeom prst="rect">
            <a:avLst/>
          </a:prstGeom>
          <a:solidFill>
            <a:srgbClr val="549E3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38" name="TextBox 37"/>
          <p:cNvSpPr txBox="1"/>
          <p:nvPr/>
        </p:nvSpPr>
        <p:spPr>
          <a:xfrm>
            <a:off x="536005"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37" name="Rectangle 36"/>
          <p:cNvSpPr/>
          <p:nvPr/>
        </p:nvSpPr>
        <p:spPr>
          <a:xfrm>
            <a:off x="4103812" y="-672059"/>
            <a:ext cx="8323714" cy="8356836"/>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39" name="TextBox 38"/>
          <p:cNvSpPr txBox="1"/>
          <p:nvPr/>
        </p:nvSpPr>
        <p:spPr>
          <a:xfrm>
            <a:off x="4620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pic>
        <p:nvPicPr>
          <p:cNvPr id="18" name="Picture 17"/>
          <p:cNvPicPr>
            <a:picLocks noChangeAspect="1"/>
          </p:cNvPicPr>
          <p:nvPr/>
        </p:nvPicPr>
        <p:blipFill rotWithShape="1">
          <a:blip r:embed="rId4"/>
          <a:srcRect l="18790" t="-276" r="41072" b="276"/>
          <a:stretch/>
        </p:blipFill>
        <p:spPr>
          <a:xfrm>
            <a:off x="6990907" y="8073076"/>
            <a:ext cx="3889564" cy="6460254"/>
          </a:xfrm>
          <a:prstGeom prst="rect">
            <a:avLst/>
          </a:prstGeom>
        </p:spPr>
      </p:pic>
      <p:sp>
        <p:nvSpPr>
          <p:cNvPr id="12" name="Rectangle 11"/>
          <p:cNvSpPr/>
          <p:nvPr/>
        </p:nvSpPr>
        <p:spPr>
          <a:xfrm>
            <a:off x="8198388" y="8467884"/>
            <a:ext cx="3889564" cy="6453745"/>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8" name="Oval 7"/>
          <p:cNvSpPr/>
          <p:nvPr/>
        </p:nvSpPr>
        <p:spPr>
          <a:xfrm>
            <a:off x="9389624"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Arial" panose="020B0604020202020204" pitchFamily="34" charset="0"/>
              </a:rPr>
              <a:t>W</a:t>
            </a:r>
          </a:p>
        </p:txBody>
      </p:sp>
      <p:sp>
        <p:nvSpPr>
          <p:cNvPr id="17" name="TextBox 16"/>
          <p:cNvSpPr txBox="1"/>
          <p:nvPr/>
        </p:nvSpPr>
        <p:spPr>
          <a:xfrm>
            <a:off x="9013694"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3: WORLD</a:t>
            </a:r>
          </a:p>
        </p:txBody>
      </p:sp>
      <p:cxnSp>
        <p:nvCxnSpPr>
          <p:cNvPr id="32" name="Straight Connector 31"/>
          <p:cNvCxnSpPr/>
          <p:nvPr/>
        </p:nvCxnSpPr>
        <p:spPr>
          <a:xfrm>
            <a:off x="819838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684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19" name="Rectangle 18"/>
          <p:cNvSpPr/>
          <p:nvPr/>
        </p:nvSpPr>
        <p:spPr>
          <a:xfrm>
            <a:off x="4044404"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Arial" panose="020B0604020202020204" pitchFamily="34" charset="0"/>
            </a:endParaRPr>
          </a:p>
        </p:txBody>
      </p:sp>
      <p:sp>
        <p:nvSpPr>
          <p:cNvPr id="28" name="Rectangle 27"/>
          <p:cNvSpPr/>
          <p:nvPr/>
        </p:nvSpPr>
        <p:spPr>
          <a:xfrm>
            <a:off x="8003060"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Arial" panose="020B0604020202020204" pitchFamily="34" charset="0"/>
            </a:endParaRPr>
          </a:p>
        </p:txBody>
      </p:sp>
    </p:spTree>
    <p:extLst>
      <p:ext uri="{BB962C8B-B14F-4D97-AF65-F5344CB8AC3E}">
        <p14:creationId xmlns:p14="http://schemas.microsoft.com/office/powerpoint/2010/main" val="38076944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3537" r="-3019"/>
          <a:stretch/>
        </p:blipFill>
        <p:spPr>
          <a:xfrm>
            <a:off x="-445918" y="-387085"/>
            <a:ext cx="13083835" cy="7760292"/>
          </a:xfrm>
          <a:prstGeom prst="rect">
            <a:avLst/>
          </a:prstGeom>
        </p:spPr>
      </p:pic>
      <p:pic>
        <p:nvPicPr>
          <p:cNvPr id="2" name="Picture 1"/>
          <p:cNvPicPr>
            <a:picLocks noChangeAspect="1"/>
          </p:cNvPicPr>
          <p:nvPr/>
        </p:nvPicPr>
        <p:blipFill rotWithShape="1">
          <a:blip r:embed="rId3"/>
          <a:srcRect l="33606" r="25785"/>
          <a:stretch/>
        </p:blipFill>
        <p:spPr>
          <a:xfrm>
            <a:off x="1270042" y="7850004"/>
            <a:ext cx="3921458" cy="6433765"/>
          </a:xfrm>
          <a:prstGeom prst="rect">
            <a:avLst/>
          </a:prstGeom>
        </p:spPr>
      </p:pic>
      <p:sp>
        <p:nvSpPr>
          <p:cNvPr id="13" name="Rectangle 12"/>
          <p:cNvSpPr/>
          <p:nvPr/>
        </p:nvSpPr>
        <p:spPr>
          <a:xfrm>
            <a:off x="-445918" y="-616812"/>
            <a:ext cx="4622216" cy="8040496"/>
          </a:xfrm>
          <a:prstGeom prst="rect">
            <a:avLst/>
          </a:prstGeom>
          <a:solidFill>
            <a:srgbClr val="386A2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9" name="Rectangle 28"/>
          <p:cNvSpPr/>
          <p:nvPr/>
        </p:nvSpPr>
        <p:spPr>
          <a:xfrm>
            <a:off x="4299140" y="-616812"/>
            <a:ext cx="3703920" cy="8040496"/>
          </a:xfrm>
          <a:prstGeom prst="rect">
            <a:avLst/>
          </a:prstGeom>
          <a:solidFill>
            <a:srgbClr val="386A2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5" name="Rectangle 24"/>
          <p:cNvSpPr/>
          <p:nvPr/>
        </p:nvSpPr>
        <p:spPr>
          <a:xfrm>
            <a:off x="4290278" y="9320524"/>
            <a:ext cx="3908110" cy="6415326"/>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7" name="Oval 6"/>
          <p:cNvSpPr/>
          <p:nvPr/>
        </p:nvSpPr>
        <p:spPr>
          <a:xfrm>
            <a:off x="5276435"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O</a:t>
            </a:r>
          </a:p>
        </p:txBody>
      </p:sp>
      <p:sp>
        <p:nvSpPr>
          <p:cNvPr id="4" name="Oval 3"/>
          <p:cNvSpPr/>
          <p:nvPr/>
        </p:nvSpPr>
        <p:spPr>
          <a:xfrm>
            <a:off x="1243987"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C</a:t>
            </a:r>
          </a:p>
        </p:txBody>
      </p:sp>
      <p:sp>
        <p:nvSpPr>
          <p:cNvPr id="15" name="TextBox 14"/>
          <p:cNvSpPr txBox="1"/>
          <p:nvPr/>
        </p:nvSpPr>
        <p:spPr>
          <a:xfrm>
            <a:off x="876257"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1: CAPTURE</a:t>
            </a:r>
          </a:p>
        </p:txBody>
      </p:sp>
      <p:sp>
        <p:nvSpPr>
          <p:cNvPr id="16" name="TextBox 15"/>
          <p:cNvSpPr txBox="1"/>
          <p:nvPr/>
        </p:nvSpPr>
        <p:spPr>
          <a:xfrm>
            <a:off x="4668674" y="2746813"/>
            <a:ext cx="2862515"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2</a:t>
            </a:r>
            <a:r>
              <a:rPr lang="en-US" sz="1600" b="1">
                <a:solidFill>
                  <a:schemeClr val="bg1"/>
                </a:solidFill>
                <a:latin typeface="Arial" panose="020B0604020202020204" pitchFamily="34" charset="0"/>
                <a:ea typeface="Gulim" charset="-127"/>
                <a:cs typeface="Arial" panose="020B0604020202020204" pitchFamily="34" charset="0"/>
              </a:rPr>
              <a:t>: OPPORTUNITIES</a:t>
            </a:r>
            <a:endParaRPr lang="en-US" sz="1600" b="1" dirty="0">
              <a:solidFill>
                <a:schemeClr val="bg1"/>
              </a:solidFill>
              <a:latin typeface="Arial" panose="020B0604020202020204" pitchFamily="34" charset="0"/>
              <a:ea typeface="Gulim" charset="-127"/>
              <a:cs typeface="Arial" panose="020B0604020202020204" pitchFamily="34" charset="0"/>
            </a:endParaRPr>
          </a:p>
        </p:txBody>
      </p:sp>
      <p:cxnSp>
        <p:nvCxnSpPr>
          <p:cNvPr id="22" name="Straight Connector 21"/>
          <p:cNvCxnSpPr/>
          <p:nvPr/>
        </p:nvCxnSpPr>
        <p:spPr>
          <a:xfrm>
            <a:off x="137779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462151"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8250593" y="-563380"/>
            <a:ext cx="4176933" cy="8040496"/>
          </a:xfrm>
          <a:prstGeom prst="rect">
            <a:avLst/>
          </a:prstGeom>
          <a:solidFill>
            <a:srgbClr val="386A2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38" name="TextBox 37"/>
          <p:cNvSpPr txBox="1"/>
          <p:nvPr/>
        </p:nvSpPr>
        <p:spPr>
          <a:xfrm>
            <a:off x="536005"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37" name="Rectangle 36"/>
          <p:cNvSpPr/>
          <p:nvPr/>
        </p:nvSpPr>
        <p:spPr>
          <a:xfrm>
            <a:off x="-4224772" y="-879720"/>
            <a:ext cx="8323714" cy="8356836"/>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39" name="TextBox 38"/>
          <p:cNvSpPr txBox="1"/>
          <p:nvPr/>
        </p:nvSpPr>
        <p:spPr>
          <a:xfrm>
            <a:off x="4620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pic>
        <p:nvPicPr>
          <p:cNvPr id="18" name="Picture 17"/>
          <p:cNvPicPr>
            <a:picLocks noChangeAspect="1"/>
          </p:cNvPicPr>
          <p:nvPr/>
        </p:nvPicPr>
        <p:blipFill rotWithShape="1">
          <a:blip r:embed="rId4"/>
          <a:srcRect l="18790" t="-276" r="41072" b="276"/>
          <a:stretch/>
        </p:blipFill>
        <p:spPr>
          <a:xfrm>
            <a:off x="6990907" y="8073076"/>
            <a:ext cx="3889564" cy="6460254"/>
          </a:xfrm>
          <a:prstGeom prst="rect">
            <a:avLst/>
          </a:prstGeom>
        </p:spPr>
      </p:pic>
      <p:sp>
        <p:nvSpPr>
          <p:cNvPr id="12" name="Rectangle 11"/>
          <p:cNvSpPr/>
          <p:nvPr/>
        </p:nvSpPr>
        <p:spPr>
          <a:xfrm>
            <a:off x="8198388" y="8467884"/>
            <a:ext cx="3889564" cy="6453745"/>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8" name="Oval 7"/>
          <p:cNvSpPr/>
          <p:nvPr/>
        </p:nvSpPr>
        <p:spPr>
          <a:xfrm>
            <a:off x="9389624"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W</a:t>
            </a:r>
          </a:p>
        </p:txBody>
      </p:sp>
      <p:sp>
        <p:nvSpPr>
          <p:cNvPr id="17" name="TextBox 16"/>
          <p:cNvSpPr txBox="1"/>
          <p:nvPr/>
        </p:nvSpPr>
        <p:spPr>
          <a:xfrm>
            <a:off x="9013694"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3: WORLD</a:t>
            </a:r>
          </a:p>
        </p:txBody>
      </p:sp>
      <p:cxnSp>
        <p:nvCxnSpPr>
          <p:cNvPr id="32" name="Straight Connector 31"/>
          <p:cNvCxnSpPr/>
          <p:nvPr/>
        </p:nvCxnSpPr>
        <p:spPr>
          <a:xfrm>
            <a:off x="819838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684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19" name="Rectangle 18"/>
          <p:cNvSpPr/>
          <p:nvPr/>
        </p:nvSpPr>
        <p:spPr>
          <a:xfrm>
            <a:off x="4044404"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Gulim" charset="-127"/>
            </a:endParaRPr>
          </a:p>
        </p:txBody>
      </p:sp>
      <p:sp>
        <p:nvSpPr>
          <p:cNvPr id="28" name="Rectangle 27"/>
          <p:cNvSpPr/>
          <p:nvPr/>
        </p:nvSpPr>
        <p:spPr>
          <a:xfrm>
            <a:off x="8003060"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Gulim" charset="-127"/>
            </a:endParaRPr>
          </a:p>
        </p:txBody>
      </p:sp>
      <p:sp>
        <p:nvSpPr>
          <p:cNvPr id="26" name="Rectangle 25"/>
          <p:cNvSpPr/>
          <p:nvPr/>
        </p:nvSpPr>
        <p:spPr>
          <a:xfrm>
            <a:off x="8250593" y="-822190"/>
            <a:ext cx="8323714" cy="8356836"/>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Tree>
    <p:extLst>
      <p:ext uri="{BB962C8B-B14F-4D97-AF65-F5344CB8AC3E}">
        <p14:creationId xmlns:p14="http://schemas.microsoft.com/office/powerpoint/2010/main" val="280688100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2031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3537" r="-3019"/>
          <a:stretch/>
        </p:blipFill>
        <p:spPr>
          <a:xfrm>
            <a:off x="-445918" y="-387085"/>
            <a:ext cx="13083835" cy="7760292"/>
          </a:xfrm>
          <a:prstGeom prst="rect">
            <a:avLst/>
          </a:prstGeom>
        </p:spPr>
      </p:pic>
      <p:pic>
        <p:nvPicPr>
          <p:cNvPr id="2" name="Picture 1"/>
          <p:cNvPicPr>
            <a:picLocks noChangeAspect="1"/>
          </p:cNvPicPr>
          <p:nvPr/>
        </p:nvPicPr>
        <p:blipFill rotWithShape="1">
          <a:blip r:embed="rId3"/>
          <a:srcRect l="33606" r="25785"/>
          <a:stretch/>
        </p:blipFill>
        <p:spPr>
          <a:xfrm>
            <a:off x="1270042" y="7850004"/>
            <a:ext cx="3921458" cy="6433765"/>
          </a:xfrm>
          <a:prstGeom prst="rect">
            <a:avLst/>
          </a:prstGeom>
        </p:spPr>
      </p:pic>
      <p:sp>
        <p:nvSpPr>
          <p:cNvPr id="13" name="Rectangle 12"/>
          <p:cNvSpPr/>
          <p:nvPr/>
        </p:nvSpPr>
        <p:spPr>
          <a:xfrm>
            <a:off x="-445918" y="-616812"/>
            <a:ext cx="4622216" cy="8040496"/>
          </a:xfrm>
          <a:prstGeom prst="rect">
            <a:avLst/>
          </a:prstGeom>
          <a:solidFill>
            <a:srgbClr val="386A2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9" name="Rectangle 28"/>
          <p:cNvSpPr/>
          <p:nvPr/>
        </p:nvSpPr>
        <p:spPr>
          <a:xfrm>
            <a:off x="4299140" y="-616812"/>
            <a:ext cx="3703920" cy="8040496"/>
          </a:xfrm>
          <a:prstGeom prst="rect">
            <a:avLst/>
          </a:prstGeom>
          <a:solidFill>
            <a:srgbClr val="386A2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5" name="Rectangle 24"/>
          <p:cNvSpPr/>
          <p:nvPr/>
        </p:nvSpPr>
        <p:spPr>
          <a:xfrm>
            <a:off x="4290278" y="9320524"/>
            <a:ext cx="3908110" cy="6415326"/>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7" name="Oval 6"/>
          <p:cNvSpPr/>
          <p:nvPr/>
        </p:nvSpPr>
        <p:spPr>
          <a:xfrm>
            <a:off x="5276435"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O</a:t>
            </a:r>
          </a:p>
        </p:txBody>
      </p:sp>
      <p:sp>
        <p:nvSpPr>
          <p:cNvPr id="4" name="Oval 3"/>
          <p:cNvSpPr/>
          <p:nvPr/>
        </p:nvSpPr>
        <p:spPr>
          <a:xfrm>
            <a:off x="1243987"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C</a:t>
            </a:r>
          </a:p>
        </p:txBody>
      </p:sp>
      <p:sp>
        <p:nvSpPr>
          <p:cNvPr id="15" name="TextBox 14"/>
          <p:cNvSpPr txBox="1"/>
          <p:nvPr/>
        </p:nvSpPr>
        <p:spPr>
          <a:xfrm>
            <a:off x="876257"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1: CAPTURE</a:t>
            </a:r>
          </a:p>
        </p:txBody>
      </p:sp>
      <p:sp>
        <p:nvSpPr>
          <p:cNvPr id="16" name="TextBox 15"/>
          <p:cNvSpPr txBox="1"/>
          <p:nvPr/>
        </p:nvSpPr>
        <p:spPr>
          <a:xfrm>
            <a:off x="4668674" y="2746813"/>
            <a:ext cx="2862515"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2</a:t>
            </a:r>
            <a:r>
              <a:rPr lang="en-US" sz="1600" b="1">
                <a:solidFill>
                  <a:schemeClr val="bg1"/>
                </a:solidFill>
                <a:latin typeface="Arial" panose="020B0604020202020204" pitchFamily="34" charset="0"/>
                <a:ea typeface="Gulim" charset="-127"/>
                <a:cs typeface="Arial" panose="020B0604020202020204" pitchFamily="34" charset="0"/>
              </a:rPr>
              <a:t>: OPPORTUNITIES</a:t>
            </a:r>
            <a:endParaRPr lang="en-US" sz="1600" b="1" dirty="0">
              <a:solidFill>
                <a:schemeClr val="bg1"/>
              </a:solidFill>
              <a:latin typeface="Arial" panose="020B0604020202020204" pitchFamily="34" charset="0"/>
              <a:ea typeface="Gulim" charset="-127"/>
              <a:cs typeface="Arial" panose="020B0604020202020204" pitchFamily="34" charset="0"/>
            </a:endParaRPr>
          </a:p>
        </p:txBody>
      </p:sp>
      <p:cxnSp>
        <p:nvCxnSpPr>
          <p:cNvPr id="22" name="Straight Connector 21"/>
          <p:cNvCxnSpPr/>
          <p:nvPr/>
        </p:nvCxnSpPr>
        <p:spPr>
          <a:xfrm>
            <a:off x="137779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462151"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8250593" y="-563380"/>
            <a:ext cx="4176933" cy="8040496"/>
          </a:xfrm>
          <a:prstGeom prst="rect">
            <a:avLst/>
          </a:prstGeom>
          <a:solidFill>
            <a:srgbClr val="386A2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38" name="TextBox 37"/>
          <p:cNvSpPr txBox="1"/>
          <p:nvPr/>
        </p:nvSpPr>
        <p:spPr>
          <a:xfrm>
            <a:off x="536005"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37" name="Rectangle 36"/>
          <p:cNvSpPr/>
          <p:nvPr/>
        </p:nvSpPr>
        <p:spPr>
          <a:xfrm>
            <a:off x="-4245554" y="-734247"/>
            <a:ext cx="12250334" cy="8356836"/>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39" name="TextBox 38"/>
          <p:cNvSpPr txBox="1"/>
          <p:nvPr/>
        </p:nvSpPr>
        <p:spPr>
          <a:xfrm>
            <a:off x="4620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pic>
        <p:nvPicPr>
          <p:cNvPr id="18" name="Picture 17"/>
          <p:cNvPicPr>
            <a:picLocks noChangeAspect="1"/>
          </p:cNvPicPr>
          <p:nvPr/>
        </p:nvPicPr>
        <p:blipFill rotWithShape="1">
          <a:blip r:embed="rId4"/>
          <a:srcRect l="18790" t="-276" r="41072" b="276"/>
          <a:stretch/>
        </p:blipFill>
        <p:spPr>
          <a:xfrm>
            <a:off x="6990907" y="8073076"/>
            <a:ext cx="3889564" cy="6460254"/>
          </a:xfrm>
          <a:prstGeom prst="rect">
            <a:avLst/>
          </a:prstGeom>
        </p:spPr>
      </p:pic>
      <p:sp>
        <p:nvSpPr>
          <p:cNvPr id="12" name="Rectangle 11"/>
          <p:cNvSpPr/>
          <p:nvPr/>
        </p:nvSpPr>
        <p:spPr>
          <a:xfrm>
            <a:off x="8198388" y="8467884"/>
            <a:ext cx="3889564" cy="6453745"/>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8" name="Oval 7"/>
          <p:cNvSpPr/>
          <p:nvPr/>
        </p:nvSpPr>
        <p:spPr>
          <a:xfrm>
            <a:off x="9389624"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W</a:t>
            </a:r>
          </a:p>
        </p:txBody>
      </p:sp>
      <p:sp>
        <p:nvSpPr>
          <p:cNvPr id="17" name="TextBox 16"/>
          <p:cNvSpPr txBox="1"/>
          <p:nvPr/>
        </p:nvSpPr>
        <p:spPr>
          <a:xfrm>
            <a:off x="9013694"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3: WORLD</a:t>
            </a:r>
          </a:p>
        </p:txBody>
      </p:sp>
      <p:cxnSp>
        <p:nvCxnSpPr>
          <p:cNvPr id="32" name="Straight Connector 31"/>
          <p:cNvCxnSpPr/>
          <p:nvPr/>
        </p:nvCxnSpPr>
        <p:spPr>
          <a:xfrm>
            <a:off x="819838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684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19" name="Rectangle 18"/>
          <p:cNvSpPr/>
          <p:nvPr/>
        </p:nvSpPr>
        <p:spPr>
          <a:xfrm>
            <a:off x="4044404"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Gulim" charset="-127"/>
            </a:endParaRPr>
          </a:p>
        </p:txBody>
      </p:sp>
      <p:sp>
        <p:nvSpPr>
          <p:cNvPr id="28" name="Rectangle 27"/>
          <p:cNvSpPr/>
          <p:nvPr/>
        </p:nvSpPr>
        <p:spPr>
          <a:xfrm>
            <a:off x="8003060"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Gulim" charset="-127"/>
            </a:endParaRPr>
          </a:p>
        </p:txBody>
      </p:sp>
    </p:spTree>
    <p:extLst>
      <p:ext uri="{BB962C8B-B14F-4D97-AF65-F5344CB8AC3E}">
        <p14:creationId xmlns:p14="http://schemas.microsoft.com/office/powerpoint/2010/main" val="27971745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3537" r="-3019"/>
          <a:stretch/>
        </p:blipFill>
        <p:spPr>
          <a:xfrm>
            <a:off x="-445918" y="-387085"/>
            <a:ext cx="13083835" cy="7760292"/>
          </a:xfrm>
          <a:prstGeom prst="rect">
            <a:avLst/>
          </a:prstGeom>
        </p:spPr>
      </p:pic>
      <p:pic>
        <p:nvPicPr>
          <p:cNvPr id="2" name="Picture 1"/>
          <p:cNvPicPr>
            <a:picLocks noChangeAspect="1"/>
          </p:cNvPicPr>
          <p:nvPr/>
        </p:nvPicPr>
        <p:blipFill rotWithShape="1">
          <a:blip r:embed="rId3"/>
          <a:srcRect l="33606" r="25785"/>
          <a:stretch/>
        </p:blipFill>
        <p:spPr>
          <a:xfrm>
            <a:off x="1270042" y="7850004"/>
            <a:ext cx="3921458" cy="6433765"/>
          </a:xfrm>
          <a:prstGeom prst="rect">
            <a:avLst/>
          </a:prstGeom>
        </p:spPr>
      </p:pic>
      <p:sp>
        <p:nvSpPr>
          <p:cNvPr id="13" name="Rectangle 12"/>
          <p:cNvSpPr/>
          <p:nvPr/>
        </p:nvSpPr>
        <p:spPr>
          <a:xfrm>
            <a:off x="-445918" y="-616812"/>
            <a:ext cx="4622216" cy="8040496"/>
          </a:xfrm>
          <a:prstGeom prst="rect">
            <a:avLst/>
          </a:prstGeom>
          <a:solidFill>
            <a:srgbClr val="386A2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9" name="Rectangle 28"/>
          <p:cNvSpPr/>
          <p:nvPr/>
        </p:nvSpPr>
        <p:spPr>
          <a:xfrm>
            <a:off x="4299140" y="-616812"/>
            <a:ext cx="3703920" cy="8040496"/>
          </a:xfrm>
          <a:prstGeom prst="rect">
            <a:avLst/>
          </a:prstGeom>
          <a:solidFill>
            <a:srgbClr val="386A2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25" name="Rectangle 24"/>
          <p:cNvSpPr/>
          <p:nvPr/>
        </p:nvSpPr>
        <p:spPr>
          <a:xfrm>
            <a:off x="4290278" y="9320524"/>
            <a:ext cx="3908110" cy="6415326"/>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7" name="Oval 6"/>
          <p:cNvSpPr/>
          <p:nvPr/>
        </p:nvSpPr>
        <p:spPr>
          <a:xfrm>
            <a:off x="5276435"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O</a:t>
            </a:r>
          </a:p>
        </p:txBody>
      </p:sp>
      <p:sp>
        <p:nvSpPr>
          <p:cNvPr id="4" name="Oval 3"/>
          <p:cNvSpPr/>
          <p:nvPr/>
        </p:nvSpPr>
        <p:spPr>
          <a:xfrm>
            <a:off x="1243987"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C</a:t>
            </a:r>
          </a:p>
        </p:txBody>
      </p:sp>
      <p:sp>
        <p:nvSpPr>
          <p:cNvPr id="15" name="TextBox 14"/>
          <p:cNvSpPr txBox="1"/>
          <p:nvPr/>
        </p:nvSpPr>
        <p:spPr>
          <a:xfrm>
            <a:off x="876257"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1: CAPTURE</a:t>
            </a:r>
          </a:p>
        </p:txBody>
      </p:sp>
      <p:sp>
        <p:nvSpPr>
          <p:cNvPr id="16" name="TextBox 15"/>
          <p:cNvSpPr txBox="1"/>
          <p:nvPr/>
        </p:nvSpPr>
        <p:spPr>
          <a:xfrm>
            <a:off x="4668674" y="2746813"/>
            <a:ext cx="2862515"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2</a:t>
            </a:r>
            <a:r>
              <a:rPr lang="en-US" sz="1600" b="1">
                <a:solidFill>
                  <a:schemeClr val="bg1"/>
                </a:solidFill>
                <a:latin typeface="Arial" panose="020B0604020202020204" pitchFamily="34" charset="0"/>
                <a:ea typeface="Gulim" charset="-127"/>
                <a:cs typeface="Arial" panose="020B0604020202020204" pitchFamily="34" charset="0"/>
              </a:rPr>
              <a:t>: OPPORTUNITIES</a:t>
            </a:r>
            <a:endParaRPr lang="en-US" sz="1600" b="1" dirty="0">
              <a:solidFill>
                <a:schemeClr val="bg1"/>
              </a:solidFill>
              <a:latin typeface="Arial" panose="020B0604020202020204" pitchFamily="34" charset="0"/>
              <a:ea typeface="Gulim" charset="-127"/>
              <a:cs typeface="Arial" panose="020B0604020202020204" pitchFamily="34" charset="0"/>
            </a:endParaRPr>
          </a:p>
        </p:txBody>
      </p:sp>
      <p:cxnSp>
        <p:nvCxnSpPr>
          <p:cNvPr id="22" name="Straight Connector 21"/>
          <p:cNvCxnSpPr/>
          <p:nvPr/>
        </p:nvCxnSpPr>
        <p:spPr>
          <a:xfrm>
            <a:off x="137779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462151"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8250593" y="-563380"/>
            <a:ext cx="4176933" cy="8040496"/>
          </a:xfrm>
          <a:prstGeom prst="rect">
            <a:avLst/>
          </a:prstGeom>
          <a:solidFill>
            <a:srgbClr val="386A2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38" name="TextBox 37"/>
          <p:cNvSpPr txBox="1"/>
          <p:nvPr/>
        </p:nvSpPr>
        <p:spPr>
          <a:xfrm>
            <a:off x="536005"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39" name="TextBox 38"/>
          <p:cNvSpPr txBox="1"/>
          <p:nvPr/>
        </p:nvSpPr>
        <p:spPr>
          <a:xfrm>
            <a:off x="4620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pic>
        <p:nvPicPr>
          <p:cNvPr id="18" name="Picture 17"/>
          <p:cNvPicPr>
            <a:picLocks noChangeAspect="1"/>
          </p:cNvPicPr>
          <p:nvPr/>
        </p:nvPicPr>
        <p:blipFill rotWithShape="1">
          <a:blip r:embed="rId4"/>
          <a:srcRect l="18790" t="-276" r="41072" b="276"/>
          <a:stretch/>
        </p:blipFill>
        <p:spPr>
          <a:xfrm>
            <a:off x="6990907" y="8073076"/>
            <a:ext cx="3889564" cy="6460254"/>
          </a:xfrm>
          <a:prstGeom prst="rect">
            <a:avLst/>
          </a:prstGeom>
        </p:spPr>
      </p:pic>
      <p:sp>
        <p:nvSpPr>
          <p:cNvPr id="12" name="Rectangle 11"/>
          <p:cNvSpPr/>
          <p:nvPr/>
        </p:nvSpPr>
        <p:spPr>
          <a:xfrm>
            <a:off x="8198388" y="8467884"/>
            <a:ext cx="3889564" cy="6453745"/>
          </a:xfrm>
          <a:prstGeom prst="rect">
            <a:avLst/>
          </a:pr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dirty="0" err="1">
              <a:solidFill>
                <a:schemeClr val="tx1"/>
              </a:solidFill>
              <a:latin typeface="Gill Sans Light" charset="0"/>
              <a:ea typeface="Gill Sans Light" charset="0"/>
              <a:cs typeface="Gill Sans Light" charset="0"/>
            </a:endParaRPr>
          </a:p>
        </p:txBody>
      </p:sp>
      <p:sp>
        <p:nvSpPr>
          <p:cNvPr id="8" name="Oval 7"/>
          <p:cNvSpPr/>
          <p:nvPr/>
        </p:nvSpPr>
        <p:spPr>
          <a:xfrm>
            <a:off x="9389624" y="566783"/>
            <a:ext cx="1639130" cy="1639130"/>
          </a:xfrm>
          <a:prstGeom prst="ellipse">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6600" b="1" dirty="0">
                <a:solidFill>
                  <a:schemeClr val="bg1"/>
                </a:solidFill>
                <a:latin typeface="Book Antiqua" charset="0"/>
                <a:ea typeface="Book Antiqua" charset="0"/>
                <a:cs typeface="Book Antiqua" charset="0"/>
              </a:rPr>
              <a:t>W</a:t>
            </a:r>
          </a:p>
        </p:txBody>
      </p:sp>
      <p:sp>
        <p:nvSpPr>
          <p:cNvPr id="17" name="TextBox 16"/>
          <p:cNvSpPr txBox="1"/>
          <p:nvPr/>
        </p:nvSpPr>
        <p:spPr>
          <a:xfrm>
            <a:off x="9013694" y="2746813"/>
            <a:ext cx="2425700"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ea typeface="Gulim" charset="-127"/>
                <a:cs typeface="Arial" panose="020B0604020202020204" pitchFamily="34" charset="0"/>
              </a:rPr>
              <a:t>Phase 3: WORLD</a:t>
            </a:r>
          </a:p>
        </p:txBody>
      </p:sp>
      <p:cxnSp>
        <p:nvCxnSpPr>
          <p:cNvPr id="32" name="Straight Connector 31"/>
          <p:cNvCxnSpPr/>
          <p:nvPr/>
        </p:nvCxnSpPr>
        <p:spPr>
          <a:xfrm>
            <a:off x="8198388" y="3731585"/>
            <a:ext cx="1422617" cy="0"/>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684358" y="4445833"/>
            <a:ext cx="3084372" cy="1092607"/>
          </a:xfrm>
          <a:prstGeom prst="rect">
            <a:avLst/>
          </a:prstGeom>
          <a:noFill/>
        </p:spPr>
        <p:txBody>
          <a:bodyPr wrap="square" rtlCol="0">
            <a:spAutoFit/>
          </a:bodyPr>
          <a:lstStyle/>
          <a:p>
            <a:pPr algn="ctr"/>
            <a:r>
              <a:rPr lang="da-DK" sz="1300" b="1" dirty="0" err="1">
                <a:solidFill>
                  <a:schemeClr val="bg1"/>
                </a:solidFill>
                <a:latin typeface="Arial" panose="020B0604020202020204" pitchFamily="34" charset="0"/>
                <a:ea typeface="Gulim" charset="-127"/>
                <a:cs typeface="Arial" panose="020B0604020202020204" pitchFamily="34" charset="0"/>
              </a:rPr>
              <a:t>Lore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ips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dolor</a:t>
            </a:r>
            <a:r>
              <a:rPr lang="da-DK" sz="1300" b="1" dirty="0">
                <a:solidFill>
                  <a:schemeClr val="bg1"/>
                </a:solidFill>
                <a:latin typeface="Arial" panose="020B0604020202020204" pitchFamily="34" charset="0"/>
                <a:ea typeface="Gulim" charset="-127"/>
                <a:cs typeface="Arial" panose="020B0604020202020204" pitchFamily="34" charset="0"/>
              </a:rPr>
              <a:t> sit </a:t>
            </a:r>
            <a:r>
              <a:rPr lang="da-DK" sz="1300" b="1" dirty="0" err="1">
                <a:solidFill>
                  <a:schemeClr val="bg1"/>
                </a:solidFill>
                <a:latin typeface="Arial" panose="020B0604020202020204" pitchFamily="34" charset="0"/>
                <a:ea typeface="Gulim" charset="-127"/>
                <a:cs typeface="Arial" panose="020B0604020202020204" pitchFamily="34" charset="0"/>
              </a:rPr>
              <a:t>ame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onsectetu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dipiscing</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it</a:t>
            </a:r>
            <a:r>
              <a:rPr lang="da-DK" sz="1300" b="1" dirty="0">
                <a:solidFill>
                  <a:schemeClr val="bg1"/>
                </a:solidFill>
                <a:latin typeface="Arial" panose="020B0604020202020204" pitchFamily="34" charset="0"/>
                <a:ea typeface="Gulim" charset="-127"/>
                <a:cs typeface="Arial" panose="020B0604020202020204" pitchFamily="34" charset="0"/>
              </a:rPr>
              <a:t>. Vivamus tempus </a:t>
            </a:r>
            <a:r>
              <a:rPr lang="da-DK" sz="1300" b="1" dirty="0" err="1">
                <a:solidFill>
                  <a:schemeClr val="bg1"/>
                </a:solidFill>
                <a:latin typeface="Arial" panose="020B0604020202020204" pitchFamily="34" charset="0"/>
                <a:ea typeface="Gulim" charset="-127"/>
                <a:cs typeface="Arial" panose="020B0604020202020204" pitchFamily="34" charset="0"/>
              </a:rPr>
              <a:t>turpis</a:t>
            </a:r>
            <a:r>
              <a:rPr lang="da-DK" sz="1300" b="1" dirty="0">
                <a:solidFill>
                  <a:schemeClr val="bg1"/>
                </a:solidFill>
                <a:latin typeface="Arial" panose="020B0604020202020204" pitchFamily="34" charset="0"/>
                <a:ea typeface="Gulim" charset="-127"/>
                <a:cs typeface="Arial" panose="020B0604020202020204" pitchFamily="34" charset="0"/>
              </a:rPr>
              <a:t> in </a:t>
            </a:r>
            <a:r>
              <a:rPr lang="da-DK" sz="1300" b="1" dirty="0" err="1">
                <a:solidFill>
                  <a:schemeClr val="bg1"/>
                </a:solidFill>
                <a:latin typeface="Arial" panose="020B0604020202020204" pitchFamily="34" charset="0"/>
                <a:ea typeface="Gulim" charset="-127"/>
                <a:cs typeface="Arial" panose="020B0604020202020204" pitchFamily="34" charset="0"/>
              </a:rPr>
              <a:t>semper</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acini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Aenean</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qui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fermentum</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ra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Cras</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luctus</a:t>
            </a:r>
            <a:r>
              <a:rPr lang="da-DK" sz="1300" b="1" dirty="0">
                <a:solidFill>
                  <a:schemeClr val="bg1"/>
                </a:solidFill>
                <a:latin typeface="Arial" panose="020B0604020202020204" pitchFamily="34" charset="0"/>
                <a:ea typeface="Gulim" charset="-127"/>
                <a:cs typeface="Arial" panose="020B0604020202020204" pitchFamily="34" charset="0"/>
              </a:rPr>
              <a:t> id </a:t>
            </a:r>
            <a:r>
              <a:rPr lang="da-DK" sz="1300" b="1" dirty="0" err="1">
                <a:solidFill>
                  <a:schemeClr val="bg1"/>
                </a:solidFill>
                <a:latin typeface="Arial" panose="020B0604020202020204" pitchFamily="34" charset="0"/>
                <a:ea typeface="Gulim" charset="-127"/>
                <a:cs typeface="Arial" panose="020B0604020202020204" pitchFamily="34" charset="0"/>
              </a:rPr>
              <a:t>nulla</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ut</a:t>
            </a:r>
            <a:r>
              <a:rPr lang="da-DK" sz="1300" b="1" dirty="0">
                <a:solidFill>
                  <a:schemeClr val="bg1"/>
                </a:solidFill>
                <a:latin typeface="Arial" panose="020B0604020202020204" pitchFamily="34" charset="0"/>
                <a:ea typeface="Gulim" charset="-127"/>
                <a:cs typeface="Arial" panose="020B0604020202020204" pitchFamily="34" charset="0"/>
              </a:rPr>
              <a:t> </a:t>
            </a:r>
            <a:r>
              <a:rPr lang="da-DK" sz="1300" b="1" dirty="0" err="1">
                <a:solidFill>
                  <a:schemeClr val="bg1"/>
                </a:solidFill>
                <a:latin typeface="Arial" panose="020B0604020202020204" pitchFamily="34" charset="0"/>
                <a:ea typeface="Gulim" charset="-127"/>
                <a:cs typeface="Arial" panose="020B0604020202020204" pitchFamily="34" charset="0"/>
              </a:rPr>
              <a:t>eleifend</a:t>
            </a:r>
            <a:r>
              <a:rPr lang="da-DK" sz="1300" b="1" dirty="0">
                <a:solidFill>
                  <a:schemeClr val="bg1"/>
                </a:solidFill>
                <a:latin typeface="Arial" panose="020B0604020202020204" pitchFamily="34" charset="0"/>
                <a:ea typeface="Gulim" charset="-127"/>
                <a:cs typeface="Arial" panose="020B0604020202020204" pitchFamily="34" charset="0"/>
              </a:rPr>
              <a:t>.</a:t>
            </a:r>
            <a:endParaRPr lang="en-US" sz="1300" b="1" dirty="0">
              <a:solidFill>
                <a:schemeClr val="bg1"/>
              </a:solidFill>
              <a:latin typeface="Arial" panose="020B0604020202020204" pitchFamily="34" charset="0"/>
              <a:ea typeface="Gulim" charset="-127"/>
              <a:cs typeface="Arial" panose="020B0604020202020204" pitchFamily="34" charset="0"/>
            </a:endParaRPr>
          </a:p>
        </p:txBody>
      </p:sp>
      <p:sp>
        <p:nvSpPr>
          <p:cNvPr id="19" name="Rectangle 18"/>
          <p:cNvSpPr/>
          <p:nvPr/>
        </p:nvSpPr>
        <p:spPr>
          <a:xfrm>
            <a:off x="4044404"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Gulim" charset="-127"/>
            </a:endParaRPr>
          </a:p>
        </p:txBody>
      </p:sp>
      <p:sp>
        <p:nvSpPr>
          <p:cNvPr id="28" name="Rectangle 27"/>
          <p:cNvSpPr/>
          <p:nvPr/>
        </p:nvSpPr>
        <p:spPr>
          <a:xfrm>
            <a:off x="8003060" y="-655636"/>
            <a:ext cx="254736" cy="8900615"/>
          </a:xfrm>
          <a:prstGeom prst="rect">
            <a:avLst/>
          </a:prstGeom>
          <a:solidFill>
            <a:schemeClr val="bg1"/>
          </a:solid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solidFill>
                <a:schemeClr val="tx1"/>
              </a:solidFill>
              <a:latin typeface="Gulim" charset="-127"/>
              <a:ea typeface="Gulim" charset="-127"/>
              <a:cs typeface="Gulim" charset="-127"/>
            </a:endParaRPr>
          </a:p>
        </p:txBody>
      </p:sp>
    </p:spTree>
    <p:extLst>
      <p:ext uri="{BB962C8B-B14F-4D97-AF65-F5344CB8AC3E}">
        <p14:creationId xmlns:p14="http://schemas.microsoft.com/office/powerpoint/2010/main" val="36833641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294968" y="1120877"/>
            <a:ext cx="12816349" cy="46162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felt 5"/>
          <p:cNvSpPr txBox="1"/>
          <p:nvPr/>
        </p:nvSpPr>
        <p:spPr>
          <a:xfrm>
            <a:off x="1993692" y="2896523"/>
            <a:ext cx="2390398" cy="1200329"/>
          </a:xfrm>
          <a:prstGeom prst="rect">
            <a:avLst/>
          </a:prstGeom>
          <a:noFill/>
        </p:spPr>
        <p:txBody>
          <a:bodyPr wrap="none" rtlCol="0">
            <a:spAutoFit/>
          </a:bodyPr>
          <a:lstStyle/>
          <a:p>
            <a:r>
              <a:rPr lang="da-DK" sz="7200" dirty="0" err="1">
                <a:solidFill>
                  <a:schemeClr val="bg1"/>
                </a:solidFill>
              </a:rPr>
              <a:t>Icons</a:t>
            </a:r>
            <a:endParaRPr lang="da-DK" sz="7200" dirty="0">
              <a:solidFill>
                <a:schemeClr val="bg1"/>
              </a:solidFill>
            </a:endParaRPr>
          </a:p>
        </p:txBody>
      </p:sp>
    </p:spTree>
    <p:extLst>
      <p:ext uri="{BB962C8B-B14F-4D97-AF65-F5344CB8AC3E}">
        <p14:creationId xmlns:p14="http://schemas.microsoft.com/office/powerpoint/2010/main" val="22359666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87">
            <a:extLst>
              <a:ext uri="{FF2B5EF4-FFF2-40B4-BE49-F238E27FC236}">
                <a16:creationId xmlns:a16="http://schemas.microsoft.com/office/drawing/2014/main" id="{8B78AD16-D7FB-5F41-8D24-40270F025884}"/>
              </a:ext>
            </a:extLst>
          </p:cNvPr>
          <p:cNvSpPr>
            <a:spLocks noGrp="1"/>
          </p:cNvSpPr>
          <p:nvPr>
            <p:ph type="body" sz="quarter" idx="13"/>
          </p:nvPr>
        </p:nvSpPr>
        <p:spPr/>
        <p:txBody>
          <a:bodyPr/>
          <a:lstStyle/>
          <a:p>
            <a:endParaRPr lang="en-GB"/>
          </a:p>
        </p:txBody>
      </p:sp>
      <p:sp>
        <p:nvSpPr>
          <p:cNvPr id="95" name="Text Placeholder 94">
            <a:extLst>
              <a:ext uri="{FF2B5EF4-FFF2-40B4-BE49-F238E27FC236}">
                <a16:creationId xmlns:a16="http://schemas.microsoft.com/office/drawing/2014/main" id="{5D4450A5-A2F3-284A-8F88-47CE9AA03896}"/>
              </a:ext>
            </a:extLst>
          </p:cNvPr>
          <p:cNvSpPr>
            <a:spLocks noGrp="1"/>
          </p:cNvSpPr>
          <p:nvPr>
            <p:ph type="body" sz="quarter" idx="15"/>
          </p:nvPr>
        </p:nvSpPr>
        <p:spPr/>
        <p:txBody>
          <a:bodyPr/>
          <a:lstStyle/>
          <a:p>
            <a:endParaRPr lang="en-GB"/>
          </a:p>
        </p:txBody>
      </p:sp>
      <p:sp>
        <p:nvSpPr>
          <p:cNvPr id="2" name="Titel 1"/>
          <p:cNvSpPr>
            <a:spLocks noGrp="1"/>
          </p:cNvSpPr>
          <p:nvPr>
            <p:ph type="title"/>
          </p:nvPr>
        </p:nvSpPr>
        <p:spPr/>
        <p:txBody>
          <a:bodyPr/>
          <a:lstStyle/>
          <a:p>
            <a:r>
              <a:rPr lang="da-DK" dirty="0" err="1"/>
              <a:t>Prioritize</a:t>
            </a:r>
            <a:r>
              <a:rPr lang="da-DK" dirty="0"/>
              <a:t> </a:t>
            </a:r>
            <a:r>
              <a:rPr lang="da-DK" dirty="0" err="1"/>
              <a:t>using</a:t>
            </a:r>
            <a:r>
              <a:rPr lang="da-DK" dirty="0"/>
              <a:t> </a:t>
            </a:r>
            <a:r>
              <a:rPr lang="da-DK" dirty="0" err="1"/>
              <a:t>these</a:t>
            </a:r>
            <a:r>
              <a:rPr lang="da-DK" dirty="0"/>
              <a:t> </a:t>
            </a:r>
            <a:r>
              <a:rPr lang="da-DK" dirty="0" err="1"/>
              <a:t>icons</a:t>
            </a:r>
            <a:r>
              <a:rPr lang="mr-IN" dirty="0"/>
              <a:t>…</a:t>
            </a:r>
            <a:r>
              <a:rPr lang="da-DK" dirty="0"/>
              <a:t> </a:t>
            </a:r>
            <a:r>
              <a:rPr lang="da-DK" dirty="0" err="1"/>
              <a:t>they’re</a:t>
            </a:r>
            <a:r>
              <a:rPr lang="da-DK" dirty="0"/>
              <a:t> </a:t>
            </a:r>
            <a:r>
              <a:rPr lang="da-DK" dirty="0" err="1"/>
              <a:t>prettyyyyyy</a:t>
            </a:r>
            <a:endParaRPr lang="da-DK" dirty="0"/>
          </a:p>
        </p:txBody>
      </p:sp>
      <p:pic>
        <p:nvPicPr>
          <p:cNvPr id="3" name="Billede 2"/>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4774" y="1409700"/>
            <a:ext cx="609600" cy="609600"/>
          </a:xfrm>
          <a:prstGeom prst="rect">
            <a:avLst/>
          </a:prstGeom>
        </p:spPr>
      </p:pic>
      <p:pic>
        <p:nvPicPr>
          <p:cNvPr id="4" name="Billede 3"/>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11693" y="1438440"/>
            <a:ext cx="580860" cy="580860"/>
          </a:xfrm>
          <a:prstGeom prst="rect">
            <a:avLst/>
          </a:prstGeom>
        </p:spPr>
      </p:pic>
      <p:pic>
        <p:nvPicPr>
          <p:cNvPr id="5" name="Billede 4"/>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40683" y="1459495"/>
            <a:ext cx="538749" cy="538749"/>
          </a:xfrm>
          <a:prstGeom prst="rect">
            <a:avLst/>
          </a:prstGeom>
        </p:spPr>
      </p:pic>
      <p:pic>
        <p:nvPicPr>
          <p:cNvPr id="6" name="Billede 5"/>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250071" y="2272594"/>
            <a:ext cx="544387" cy="544387"/>
          </a:xfrm>
          <a:prstGeom prst="rect">
            <a:avLst/>
          </a:prstGeom>
          <a:ln>
            <a:noFill/>
          </a:ln>
        </p:spPr>
      </p:pic>
      <p:pic>
        <p:nvPicPr>
          <p:cNvPr id="7" name="Billede 6"/>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45070" y="1406841"/>
            <a:ext cx="589638" cy="589638"/>
          </a:xfrm>
          <a:prstGeom prst="rect">
            <a:avLst/>
          </a:prstGeom>
        </p:spPr>
      </p:pic>
      <p:pic>
        <p:nvPicPr>
          <p:cNvPr id="8" name="Billede 7"/>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6505549" y="1391422"/>
            <a:ext cx="589638" cy="589638"/>
          </a:xfrm>
          <a:prstGeom prst="rect">
            <a:avLst/>
          </a:prstGeom>
        </p:spPr>
      </p:pic>
      <p:pic>
        <p:nvPicPr>
          <p:cNvPr id="9" name="Billede 8"/>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095187" y="1391422"/>
            <a:ext cx="589638" cy="589638"/>
          </a:xfrm>
          <a:prstGeom prst="rect">
            <a:avLst/>
          </a:prstGeom>
        </p:spPr>
      </p:pic>
      <p:pic>
        <p:nvPicPr>
          <p:cNvPr id="10" name="Billede 9"/>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684825" y="1391422"/>
            <a:ext cx="589638" cy="589638"/>
          </a:xfrm>
          <a:prstGeom prst="rect">
            <a:avLst/>
          </a:prstGeom>
        </p:spPr>
      </p:pic>
      <p:pic>
        <p:nvPicPr>
          <p:cNvPr id="11" name="Billede 10"/>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087321" y="1438440"/>
            <a:ext cx="589638" cy="589638"/>
          </a:xfrm>
          <a:prstGeom prst="rect">
            <a:avLst/>
          </a:prstGeom>
        </p:spPr>
      </p:pic>
      <p:pic>
        <p:nvPicPr>
          <p:cNvPr id="12" name="Billede 1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985984" y="5189042"/>
            <a:ext cx="589638" cy="589638"/>
          </a:xfrm>
          <a:prstGeom prst="rect">
            <a:avLst/>
          </a:prstGeom>
        </p:spPr>
      </p:pic>
      <p:pic>
        <p:nvPicPr>
          <p:cNvPr id="13" name="Billede 12"/>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8602494" y="1406841"/>
            <a:ext cx="589638" cy="589638"/>
          </a:xfrm>
          <a:prstGeom prst="rect">
            <a:avLst/>
          </a:prstGeom>
        </p:spPr>
      </p:pic>
      <p:pic>
        <p:nvPicPr>
          <p:cNvPr id="14" name="Billede 13"/>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9362272" y="1447660"/>
            <a:ext cx="541240" cy="541240"/>
          </a:xfrm>
          <a:prstGeom prst="rect">
            <a:avLst/>
          </a:prstGeom>
        </p:spPr>
      </p:pic>
      <p:pic>
        <p:nvPicPr>
          <p:cNvPr id="15" name="Billede 14"/>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641003" y="3788256"/>
            <a:ext cx="507780" cy="507780"/>
          </a:xfrm>
          <a:prstGeom prst="rect">
            <a:avLst/>
          </a:prstGeom>
        </p:spPr>
      </p:pic>
      <p:pic>
        <p:nvPicPr>
          <p:cNvPr id="16" name="Billede 15"/>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10947365" y="1447800"/>
            <a:ext cx="609600" cy="609600"/>
          </a:xfrm>
          <a:prstGeom prst="rect">
            <a:avLst/>
          </a:prstGeom>
        </p:spPr>
      </p:pic>
      <p:pic>
        <p:nvPicPr>
          <p:cNvPr id="17" name="Billede 16"/>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10185400" y="1447800"/>
            <a:ext cx="609600" cy="609600"/>
          </a:xfrm>
          <a:prstGeom prst="rect">
            <a:avLst/>
          </a:prstGeom>
        </p:spPr>
      </p:pic>
      <p:pic>
        <p:nvPicPr>
          <p:cNvPr id="18" name="Billede 17"/>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359863" y="2209800"/>
            <a:ext cx="579422" cy="579422"/>
          </a:xfrm>
          <a:prstGeom prst="rect">
            <a:avLst/>
          </a:prstGeom>
        </p:spPr>
      </p:pic>
      <p:pic>
        <p:nvPicPr>
          <p:cNvPr id="19" name="Billede 18"/>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4346184" y="2179028"/>
            <a:ext cx="589638" cy="589638"/>
          </a:xfrm>
          <a:prstGeom prst="rect">
            <a:avLst/>
          </a:prstGeom>
        </p:spPr>
      </p:pic>
      <p:pic>
        <p:nvPicPr>
          <p:cNvPr id="20" name="Billede 19"/>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2335061" y="1443095"/>
            <a:ext cx="609600" cy="609600"/>
          </a:xfrm>
          <a:prstGeom prst="rect">
            <a:avLst/>
          </a:prstGeom>
        </p:spPr>
      </p:pic>
      <p:pic>
        <p:nvPicPr>
          <p:cNvPr id="21" name="Billede 20"/>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1645499" y="1464150"/>
            <a:ext cx="609600" cy="609600"/>
          </a:xfrm>
          <a:prstGeom prst="rect">
            <a:avLst/>
          </a:prstGeom>
        </p:spPr>
      </p:pic>
      <p:pic>
        <p:nvPicPr>
          <p:cNvPr id="22" name="Billede 21"/>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a:off x="3568700" y="2179622"/>
            <a:ext cx="609600" cy="609600"/>
          </a:xfrm>
          <a:prstGeom prst="rect">
            <a:avLst/>
          </a:prstGeom>
        </p:spPr>
      </p:pic>
      <p:pic>
        <p:nvPicPr>
          <p:cNvPr id="23" name="Billede 22"/>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6264818" y="2923725"/>
            <a:ext cx="538749" cy="538749"/>
          </a:xfrm>
          <a:prstGeom prst="rect">
            <a:avLst/>
          </a:prstGeom>
        </p:spPr>
      </p:pic>
      <p:pic>
        <p:nvPicPr>
          <p:cNvPr id="24" name="Billede 23"/>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4771548" y="5219655"/>
            <a:ext cx="589638" cy="589638"/>
          </a:xfrm>
          <a:prstGeom prst="rect">
            <a:avLst/>
          </a:prstGeom>
        </p:spPr>
      </p:pic>
      <p:pic>
        <p:nvPicPr>
          <p:cNvPr id="25" name="Billede 24"/>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5115925" y="2217062"/>
            <a:ext cx="589638" cy="589638"/>
          </a:xfrm>
          <a:prstGeom prst="rect">
            <a:avLst/>
          </a:prstGeom>
        </p:spPr>
      </p:pic>
      <p:pic>
        <p:nvPicPr>
          <p:cNvPr id="26" name="Billede 25"/>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6713064" y="2281442"/>
            <a:ext cx="507780" cy="507780"/>
          </a:xfrm>
          <a:prstGeom prst="rect">
            <a:avLst/>
          </a:prstGeom>
        </p:spPr>
      </p:pic>
      <p:pic>
        <p:nvPicPr>
          <p:cNvPr id="27" name="Billede 2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8027304" y="2197100"/>
            <a:ext cx="568861" cy="568861"/>
          </a:xfrm>
          <a:prstGeom prst="rect">
            <a:avLst/>
          </a:prstGeom>
        </p:spPr>
      </p:pic>
      <p:pic>
        <p:nvPicPr>
          <p:cNvPr id="28" name="Billede 27"/>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a:xfrm>
            <a:off x="8750300" y="2237839"/>
            <a:ext cx="568861" cy="568861"/>
          </a:xfrm>
          <a:prstGeom prst="rect">
            <a:avLst/>
          </a:prstGeom>
        </p:spPr>
      </p:pic>
      <p:pic>
        <p:nvPicPr>
          <p:cNvPr id="29" name="Billede 28"/>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7394330" y="2298920"/>
            <a:ext cx="507780" cy="507780"/>
          </a:xfrm>
          <a:prstGeom prst="rect">
            <a:avLst/>
          </a:prstGeom>
        </p:spPr>
      </p:pic>
      <p:pic>
        <p:nvPicPr>
          <p:cNvPr id="30" name="Billede 29"/>
          <p:cNvPicPr>
            <a:picLocks noChangeAspect="1"/>
          </p:cNvPicPr>
          <p:nvPr/>
        </p:nvPicPr>
        <p:blipFill>
          <a:blip r:embed="rId29" cstate="hqprint">
            <a:extLst>
              <a:ext uri="{28A0092B-C50C-407E-A947-70E740481C1C}">
                <a14:useLocalDpi xmlns:a14="http://schemas.microsoft.com/office/drawing/2010/main"/>
              </a:ext>
            </a:extLst>
          </a:blip>
          <a:stretch>
            <a:fillRect/>
          </a:stretch>
        </p:blipFill>
        <p:spPr>
          <a:xfrm>
            <a:off x="9427140" y="2173656"/>
            <a:ext cx="580140" cy="580140"/>
          </a:xfrm>
          <a:prstGeom prst="rect">
            <a:avLst/>
          </a:prstGeom>
        </p:spPr>
      </p:pic>
      <p:pic>
        <p:nvPicPr>
          <p:cNvPr id="31" name="Billede 30"/>
          <p:cNvPicPr>
            <a:picLocks noChangeAspect="1"/>
          </p:cNvPicPr>
          <p:nvPr/>
        </p:nvPicPr>
        <p:blipFill>
          <a:blip r:embed="rId30" cstate="hqprint">
            <a:extLst>
              <a:ext uri="{28A0092B-C50C-407E-A947-70E740481C1C}">
                <a14:useLocalDpi xmlns:a14="http://schemas.microsoft.com/office/drawing/2010/main"/>
              </a:ext>
            </a:extLst>
          </a:blip>
          <a:stretch>
            <a:fillRect/>
          </a:stretch>
        </p:blipFill>
        <p:spPr>
          <a:xfrm>
            <a:off x="347823" y="4532428"/>
            <a:ext cx="528412" cy="528412"/>
          </a:xfrm>
          <a:prstGeom prst="rect">
            <a:avLst/>
          </a:prstGeom>
        </p:spPr>
      </p:pic>
      <p:pic>
        <p:nvPicPr>
          <p:cNvPr id="32" name="Billede 31"/>
          <p:cNvPicPr>
            <a:picLocks noChangeAspect="1"/>
          </p:cNvPicPr>
          <p:nvPr/>
        </p:nvPicPr>
        <p:blipFill>
          <a:blip r:embed="rId31" cstate="hqprint">
            <a:extLst>
              <a:ext uri="{28A0092B-C50C-407E-A947-70E740481C1C}">
                <a14:useLocalDpi xmlns:a14="http://schemas.microsoft.com/office/drawing/2010/main"/>
              </a:ext>
            </a:extLst>
          </a:blip>
          <a:stretch>
            <a:fillRect/>
          </a:stretch>
        </p:blipFill>
        <p:spPr>
          <a:xfrm>
            <a:off x="1598943" y="4501815"/>
            <a:ext cx="589638" cy="589638"/>
          </a:xfrm>
          <a:prstGeom prst="rect">
            <a:avLst/>
          </a:prstGeom>
        </p:spPr>
      </p:pic>
      <p:pic>
        <p:nvPicPr>
          <p:cNvPr id="33" name="Billede 32"/>
          <p:cNvPicPr>
            <a:picLocks noChangeAspect="1"/>
          </p:cNvPicPr>
          <p:nvPr/>
        </p:nvPicPr>
        <p:blipFill>
          <a:blip r:embed="rId32" cstate="hqprint">
            <a:extLst>
              <a:ext uri="{28A0092B-C50C-407E-A947-70E740481C1C}">
                <a14:useLocalDpi xmlns:a14="http://schemas.microsoft.com/office/drawing/2010/main"/>
              </a:ext>
            </a:extLst>
          </a:blip>
          <a:stretch>
            <a:fillRect/>
          </a:stretch>
        </p:blipFill>
        <p:spPr>
          <a:xfrm>
            <a:off x="11279030" y="2173656"/>
            <a:ext cx="589638" cy="589638"/>
          </a:xfrm>
          <a:prstGeom prst="rect">
            <a:avLst/>
          </a:prstGeom>
        </p:spPr>
      </p:pic>
      <p:pic>
        <p:nvPicPr>
          <p:cNvPr id="34" name="Billede 33"/>
          <p:cNvPicPr>
            <a:picLocks noChangeAspect="1"/>
          </p:cNvPicPr>
          <p:nvPr/>
        </p:nvPicPr>
        <p:blipFill>
          <a:blip r:embed="rId33" cstate="hqprint">
            <a:extLst>
              <a:ext uri="{28A0092B-C50C-407E-A947-70E740481C1C}">
                <a14:useLocalDpi xmlns:a14="http://schemas.microsoft.com/office/drawing/2010/main"/>
              </a:ext>
            </a:extLst>
          </a:blip>
          <a:stretch>
            <a:fillRect/>
          </a:stretch>
        </p:blipFill>
        <p:spPr>
          <a:xfrm>
            <a:off x="10714740" y="5189042"/>
            <a:ext cx="604874" cy="604874"/>
          </a:xfrm>
          <a:prstGeom prst="rect">
            <a:avLst/>
          </a:prstGeom>
        </p:spPr>
      </p:pic>
      <p:pic>
        <p:nvPicPr>
          <p:cNvPr id="35" name="Billede 34"/>
          <p:cNvPicPr>
            <a:picLocks noChangeAspect="1"/>
          </p:cNvPicPr>
          <p:nvPr/>
        </p:nvPicPr>
        <p:blipFill>
          <a:blip r:embed="rId34" cstate="hqprint">
            <a:extLst>
              <a:ext uri="{28A0092B-C50C-407E-A947-70E740481C1C}">
                <a14:useLocalDpi xmlns:a14="http://schemas.microsoft.com/office/drawing/2010/main"/>
              </a:ext>
            </a:extLst>
          </a:blip>
          <a:stretch>
            <a:fillRect/>
          </a:stretch>
        </p:blipFill>
        <p:spPr>
          <a:xfrm>
            <a:off x="354921" y="3726504"/>
            <a:ext cx="599453" cy="599453"/>
          </a:xfrm>
          <a:prstGeom prst="rect">
            <a:avLst/>
          </a:prstGeom>
        </p:spPr>
      </p:pic>
      <p:pic>
        <p:nvPicPr>
          <p:cNvPr id="36" name="Billede 35"/>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5998144" y="3921220"/>
            <a:ext cx="316119" cy="316119"/>
          </a:xfrm>
          <a:prstGeom prst="rect">
            <a:avLst/>
          </a:prstGeom>
        </p:spPr>
      </p:pic>
      <p:pic>
        <p:nvPicPr>
          <p:cNvPr id="37" name="Billede 36"/>
          <p:cNvPicPr>
            <a:picLocks noChangeAspect="1"/>
          </p:cNvPicPr>
          <p:nvPr/>
        </p:nvPicPr>
        <p:blipFill>
          <a:blip r:embed="rId36" cstate="hqprint">
            <a:extLst>
              <a:ext uri="{28A0092B-C50C-407E-A947-70E740481C1C}">
                <a14:useLocalDpi xmlns:a14="http://schemas.microsoft.com/office/drawing/2010/main"/>
              </a:ext>
            </a:extLst>
          </a:blip>
          <a:stretch>
            <a:fillRect/>
          </a:stretch>
        </p:blipFill>
        <p:spPr>
          <a:xfrm>
            <a:off x="2441301" y="3023815"/>
            <a:ext cx="589638" cy="589638"/>
          </a:xfrm>
          <a:prstGeom prst="rect">
            <a:avLst/>
          </a:prstGeom>
        </p:spPr>
      </p:pic>
      <p:pic>
        <p:nvPicPr>
          <p:cNvPr id="38" name="Billede 37"/>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2520214" y="3768608"/>
            <a:ext cx="557349" cy="557349"/>
          </a:xfrm>
          <a:prstGeom prst="rect">
            <a:avLst/>
          </a:prstGeom>
        </p:spPr>
      </p:pic>
      <p:pic>
        <p:nvPicPr>
          <p:cNvPr id="39" name="Billede 38"/>
          <p:cNvPicPr>
            <a:picLocks noChangeAspect="1"/>
          </p:cNvPicPr>
          <p:nvPr/>
        </p:nvPicPr>
        <p:blipFill>
          <a:blip r:embed="rId38" cstate="hqprint">
            <a:extLst>
              <a:ext uri="{28A0092B-C50C-407E-A947-70E740481C1C}">
                <a14:useLocalDpi xmlns:a14="http://schemas.microsoft.com/office/drawing/2010/main"/>
              </a:ext>
            </a:extLst>
          </a:blip>
          <a:stretch>
            <a:fillRect/>
          </a:stretch>
        </p:blipFill>
        <p:spPr>
          <a:xfrm>
            <a:off x="3167177" y="3083545"/>
            <a:ext cx="589638" cy="589638"/>
          </a:xfrm>
          <a:prstGeom prst="rect">
            <a:avLst/>
          </a:prstGeom>
        </p:spPr>
      </p:pic>
      <p:pic>
        <p:nvPicPr>
          <p:cNvPr id="40" name="Billede 39"/>
          <p:cNvPicPr>
            <a:picLocks noChangeAspect="1"/>
          </p:cNvPicPr>
          <p:nvPr/>
        </p:nvPicPr>
        <p:blipFill>
          <a:blip r:embed="rId39" cstate="hqprint">
            <a:extLst>
              <a:ext uri="{28A0092B-C50C-407E-A947-70E740481C1C}">
                <a14:useLocalDpi xmlns:a14="http://schemas.microsoft.com/office/drawing/2010/main"/>
              </a:ext>
            </a:extLst>
          </a:blip>
          <a:stretch>
            <a:fillRect/>
          </a:stretch>
        </p:blipFill>
        <p:spPr>
          <a:xfrm>
            <a:off x="8488144" y="3879398"/>
            <a:ext cx="589638" cy="589638"/>
          </a:xfrm>
          <a:prstGeom prst="rect">
            <a:avLst/>
          </a:prstGeom>
        </p:spPr>
      </p:pic>
      <p:pic>
        <p:nvPicPr>
          <p:cNvPr id="41" name="Billede 40"/>
          <p:cNvPicPr>
            <a:picLocks noChangeAspect="1"/>
          </p:cNvPicPr>
          <p:nvPr/>
        </p:nvPicPr>
        <p:blipFill>
          <a:blip r:embed="rId40" cstate="hqprint">
            <a:extLst>
              <a:ext uri="{28A0092B-C50C-407E-A947-70E740481C1C}">
                <a14:useLocalDpi xmlns:a14="http://schemas.microsoft.com/office/drawing/2010/main"/>
              </a:ext>
            </a:extLst>
          </a:blip>
          <a:stretch>
            <a:fillRect/>
          </a:stretch>
        </p:blipFill>
        <p:spPr>
          <a:xfrm>
            <a:off x="9417642" y="5258568"/>
            <a:ext cx="589638" cy="589638"/>
          </a:xfrm>
          <a:prstGeom prst="rect">
            <a:avLst/>
          </a:prstGeom>
        </p:spPr>
      </p:pic>
      <p:pic>
        <p:nvPicPr>
          <p:cNvPr id="42" name="Billede 41"/>
          <p:cNvPicPr>
            <a:picLocks noChangeAspect="1"/>
          </p:cNvPicPr>
          <p:nvPr/>
        </p:nvPicPr>
        <p:blipFill>
          <a:blip r:embed="rId41" cstate="hqprint">
            <a:extLst>
              <a:ext uri="{28A0092B-C50C-407E-A947-70E740481C1C}">
                <a14:useLocalDpi xmlns:a14="http://schemas.microsoft.com/office/drawing/2010/main"/>
              </a:ext>
            </a:extLst>
          </a:blip>
          <a:stretch>
            <a:fillRect/>
          </a:stretch>
        </p:blipFill>
        <p:spPr>
          <a:xfrm>
            <a:off x="7559687" y="5219655"/>
            <a:ext cx="528412" cy="528412"/>
          </a:xfrm>
          <a:prstGeom prst="rect">
            <a:avLst/>
          </a:prstGeom>
        </p:spPr>
      </p:pic>
      <p:pic>
        <p:nvPicPr>
          <p:cNvPr id="43" name="Billede 42"/>
          <p:cNvPicPr>
            <a:picLocks noChangeAspect="1"/>
          </p:cNvPicPr>
          <p:nvPr/>
        </p:nvPicPr>
        <p:blipFill>
          <a:blip r:embed="rId42" cstate="hqprint">
            <a:extLst>
              <a:ext uri="{28A0092B-C50C-407E-A947-70E740481C1C}">
                <a14:useLocalDpi xmlns:a14="http://schemas.microsoft.com/office/drawing/2010/main"/>
              </a:ext>
            </a:extLst>
          </a:blip>
          <a:stretch>
            <a:fillRect/>
          </a:stretch>
        </p:blipFill>
        <p:spPr>
          <a:xfrm>
            <a:off x="6930992" y="5242013"/>
            <a:ext cx="589638" cy="589638"/>
          </a:xfrm>
          <a:prstGeom prst="rect">
            <a:avLst/>
          </a:prstGeom>
        </p:spPr>
      </p:pic>
      <p:pic>
        <p:nvPicPr>
          <p:cNvPr id="44" name="Billede 43"/>
          <p:cNvPicPr>
            <a:picLocks noChangeAspect="1"/>
          </p:cNvPicPr>
          <p:nvPr/>
        </p:nvPicPr>
        <p:blipFill>
          <a:blip r:embed="rId43" cstate="hqprint">
            <a:extLst>
              <a:ext uri="{28A0092B-C50C-407E-A947-70E740481C1C}">
                <a14:useLocalDpi xmlns:a14="http://schemas.microsoft.com/office/drawing/2010/main"/>
              </a:ext>
            </a:extLst>
          </a:blip>
          <a:stretch>
            <a:fillRect/>
          </a:stretch>
        </p:blipFill>
        <p:spPr>
          <a:xfrm>
            <a:off x="10575622" y="2893613"/>
            <a:ext cx="568861" cy="568861"/>
          </a:xfrm>
          <a:prstGeom prst="rect">
            <a:avLst/>
          </a:prstGeom>
        </p:spPr>
      </p:pic>
      <p:pic>
        <p:nvPicPr>
          <p:cNvPr id="45" name="Billede 44"/>
          <p:cNvPicPr>
            <a:picLocks noChangeAspect="1"/>
          </p:cNvPicPr>
          <p:nvPr/>
        </p:nvPicPr>
        <p:blipFill>
          <a:blip r:embed="rId44" cstate="hqprint">
            <a:extLst>
              <a:ext uri="{28A0092B-C50C-407E-A947-70E740481C1C}">
                <a14:useLocalDpi xmlns:a14="http://schemas.microsoft.com/office/drawing/2010/main"/>
              </a:ext>
            </a:extLst>
          </a:blip>
          <a:stretch>
            <a:fillRect/>
          </a:stretch>
        </p:blipFill>
        <p:spPr>
          <a:xfrm>
            <a:off x="9077782" y="2912138"/>
            <a:ext cx="564744" cy="564744"/>
          </a:xfrm>
          <a:prstGeom prst="rect">
            <a:avLst/>
          </a:prstGeom>
        </p:spPr>
      </p:pic>
      <p:pic>
        <p:nvPicPr>
          <p:cNvPr id="46" name="Billede 45"/>
          <p:cNvPicPr>
            <a:picLocks noChangeAspect="1"/>
          </p:cNvPicPr>
          <p:nvPr/>
        </p:nvPicPr>
        <p:blipFill>
          <a:blip r:embed="rId45" cstate="hqprint">
            <a:extLst>
              <a:ext uri="{28A0092B-C50C-407E-A947-70E740481C1C}">
                <a14:useLocalDpi xmlns:a14="http://schemas.microsoft.com/office/drawing/2010/main"/>
              </a:ext>
            </a:extLst>
          </a:blip>
          <a:stretch>
            <a:fillRect/>
          </a:stretch>
        </p:blipFill>
        <p:spPr>
          <a:xfrm>
            <a:off x="9849842" y="2883701"/>
            <a:ext cx="518464" cy="518464"/>
          </a:xfrm>
          <a:prstGeom prst="rect">
            <a:avLst/>
          </a:prstGeom>
        </p:spPr>
      </p:pic>
      <p:pic>
        <p:nvPicPr>
          <p:cNvPr id="47" name="Billede 46"/>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8124296" y="5198511"/>
            <a:ext cx="599453" cy="599453"/>
          </a:xfrm>
          <a:prstGeom prst="rect">
            <a:avLst/>
          </a:prstGeom>
        </p:spPr>
      </p:pic>
      <p:pic>
        <p:nvPicPr>
          <p:cNvPr id="48" name="Billede 47"/>
          <p:cNvPicPr>
            <a:picLocks noChangeAspect="1"/>
          </p:cNvPicPr>
          <p:nvPr/>
        </p:nvPicPr>
        <p:blipFill>
          <a:blip r:embed="rId47" cstate="hqprint">
            <a:extLst>
              <a:ext uri="{28A0092B-C50C-407E-A947-70E740481C1C}">
                <a14:useLocalDpi xmlns:a14="http://schemas.microsoft.com/office/drawing/2010/main"/>
              </a:ext>
            </a:extLst>
          </a:blip>
          <a:stretch>
            <a:fillRect/>
          </a:stretch>
        </p:blipFill>
        <p:spPr>
          <a:xfrm>
            <a:off x="11357790" y="2926060"/>
            <a:ext cx="528412" cy="528412"/>
          </a:xfrm>
          <a:prstGeom prst="rect">
            <a:avLst/>
          </a:prstGeom>
        </p:spPr>
      </p:pic>
      <p:pic>
        <p:nvPicPr>
          <p:cNvPr id="49" name="Billede 48"/>
          <p:cNvPicPr>
            <a:picLocks noChangeAspect="1"/>
          </p:cNvPicPr>
          <p:nvPr/>
        </p:nvPicPr>
        <p:blipFill>
          <a:blip r:embed="rId48" cstate="hqprint">
            <a:extLst>
              <a:ext uri="{28A0092B-C50C-407E-A947-70E740481C1C}">
                <a14:useLocalDpi xmlns:a14="http://schemas.microsoft.com/office/drawing/2010/main"/>
              </a:ext>
            </a:extLst>
          </a:blip>
          <a:stretch>
            <a:fillRect/>
          </a:stretch>
        </p:blipFill>
        <p:spPr>
          <a:xfrm>
            <a:off x="8853731" y="5254473"/>
            <a:ext cx="609600" cy="609600"/>
          </a:xfrm>
          <a:prstGeom prst="rect">
            <a:avLst/>
          </a:prstGeom>
        </p:spPr>
      </p:pic>
      <p:pic>
        <p:nvPicPr>
          <p:cNvPr id="50" name="Billede 49"/>
          <p:cNvPicPr>
            <a:picLocks noChangeAspect="1"/>
          </p:cNvPicPr>
          <p:nvPr/>
        </p:nvPicPr>
        <p:blipFill>
          <a:blip r:embed="rId49" cstate="hqprint">
            <a:extLst>
              <a:ext uri="{28A0092B-C50C-407E-A947-70E740481C1C}">
                <a14:useLocalDpi xmlns:a14="http://schemas.microsoft.com/office/drawing/2010/main"/>
              </a:ext>
            </a:extLst>
          </a:blip>
          <a:stretch>
            <a:fillRect/>
          </a:stretch>
        </p:blipFill>
        <p:spPr>
          <a:xfrm>
            <a:off x="6636173" y="6003414"/>
            <a:ext cx="589638" cy="589638"/>
          </a:xfrm>
          <a:prstGeom prst="rect">
            <a:avLst/>
          </a:prstGeom>
        </p:spPr>
      </p:pic>
      <p:pic>
        <p:nvPicPr>
          <p:cNvPr id="51" name="Billede 50"/>
          <p:cNvPicPr>
            <a:picLocks noChangeAspect="1"/>
          </p:cNvPicPr>
          <p:nvPr/>
        </p:nvPicPr>
        <p:blipFill>
          <a:blip r:embed="rId50" cstate="hqprint">
            <a:extLst>
              <a:ext uri="{28A0092B-C50C-407E-A947-70E740481C1C}">
                <a14:useLocalDpi xmlns:a14="http://schemas.microsoft.com/office/drawing/2010/main"/>
              </a:ext>
            </a:extLst>
          </a:blip>
          <a:stretch>
            <a:fillRect/>
          </a:stretch>
        </p:blipFill>
        <p:spPr>
          <a:xfrm>
            <a:off x="1104900" y="3771900"/>
            <a:ext cx="528412" cy="528412"/>
          </a:xfrm>
          <a:prstGeom prst="rect">
            <a:avLst/>
          </a:prstGeom>
        </p:spPr>
      </p:pic>
      <p:pic>
        <p:nvPicPr>
          <p:cNvPr id="52" name="Billede 51"/>
          <p:cNvPicPr>
            <a:picLocks noChangeAspect="1"/>
          </p:cNvPicPr>
          <p:nvPr/>
        </p:nvPicPr>
        <p:blipFill>
          <a:blip r:embed="rId51" cstate="hqprint">
            <a:extLst>
              <a:ext uri="{28A0092B-C50C-407E-A947-70E740481C1C}">
                <a14:useLocalDpi xmlns:a14="http://schemas.microsoft.com/office/drawing/2010/main"/>
              </a:ext>
            </a:extLst>
          </a:blip>
          <a:stretch>
            <a:fillRect/>
          </a:stretch>
        </p:blipFill>
        <p:spPr>
          <a:xfrm>
            <a:off x="1892300" y="3759200"/>
            <a:ext cx="548854" cy="548854"/>
          </a:xfrm>
          <a:prstGeom prst="rect">
            <a:avLst/>
          </a:prstGeom>
        </p:spPr>
      </p:pic>
      <p:pic>
        <p:nvPicPr>
          <p:cNvPr id="53" name="Billede 52"/>
          <p:cNvPicPr>
            <a:picLocks noChangeAspect="1"/>
          </p:cNvPicPr>
          <p:nvPr/>
        </p:nvPicPr>
        <p:blipFill>
          <a:blip r:embed="rId52" cstate="hqprint">
            <a:extLst>
              <a:ext uri="{28A0092B-C50C-407E-A947-70E740481C1C}">
                <a14:useLocalDpi xmlns:a14="http://schemas.microsoft.com/office/drawing/2010/main"/>
              </a:ext>
            </a:extLst>
          </a:blip>
          <a:stretch>
            <a:fillRect/>
          </a:stretch>
        </p:blipFill>
        <p:spPr>
          <a:xfrm>
            <a:off x="5970677" y="2225725"/>
            <a:ext cx="547571" cy="547571"/>
          </a:xfrm>
          <a:prstGeom prst="rect">
            <a:avLst/>
          </a:prstGeom>
        </p:spPr>
      </p:pic>
      <p:pic>
        <p:nvPicPr>
          <p:cNvPr id="54" name="Billede 53"/>
          <p:cNvPicPr>
            <a:picLocks noChangeAspect="1"/>
          </p:cNvPicPr>
          <p:nvPr/>
        </p:nvPicPr>
        <p:blipFill>
          <a:blip r:embed="rId53" cstate="hqprint">
            <a:extLst>
              <a:ext uri="{28A0092B-C50C-407E-A947-70E740481C1C}">
                <a14:useLocalDpi xmlns:a14="http://schemas.microsoft.com/office/drawing/2010/main"/>
              </a:ext>
            </a:extLst>
          </a:blip>
          <a:stretch>
            <a:fillRect/>
          </a:stretch>
        </p:blipFill>
        <p:spPr>
          <a:xfrm>
            <a:off x="3283862" y="3800274"/>
            <a:ext cx="507780" cy="507780"/>
          </a:xfrm>
          <a:prstGeom prst="rect">
            <a:avLst/>
          </a:prstGeom>
        </p:spPr>
      </p:pic>
      <p:pic>
        <p:nvPicPr>
          <p:cNvPr id="55" name="Billede 54"/>
          <p:cNvPicPr>
            <a:picLocks noChangeAspect="1"/>
          </p:cNvPicPr>
          <p:nvPr/>
        </p:nvPicPr>
        <p:blipFill>
          <a:blip r:embed="rId54" cstate="hqprint">
            <a:extLst>
              <a:ext uri="{28A0092B-C50C-407E-A947-70E740481C1C}">
                <a14:useLocalDpi xmlns:a14="http://schemas.microsoft.com/office/drawing/2010/main"/>
              </a:ext>
            </a:extLst>
          </a:blip>
          <a:stretch>
            <a:fillRect/>
          </a:stretch>
        </p:blipFill>
        <p:spPr>
          <a:xfrm>
            <a:off x="981787" y="4505877"/>
            <a:ext cx="548854" cy="548854"/>
          </a:xfrm>
          <a:prstGeom prst="rect">
            <a:avLst/>
          </a:prstGeom>
        </p:spPr>
      </p:pic>
      <p:pic>
        <p:nvPicPr>
          <p:cNvPr id="56" name="Billede 55"/>
          <p:cNvPicPr>
            <a:picLocks noChangeAspect="1"/>
          </p:cNvPicPr>
          <p:nvPr/>
        </p:nvPicPr>
        <p:blipFill>
          <a:blip r:embed="rId55" cstate="hqprint">
            <a:extLst>
              <a:ext uri="{28A0092B-C50C-407E-A947-70E740481C1C}">
                <a14:useLocalDpi xmlns:a14="http://schemas.microsoft.com/office/drawing/2010/main"/>
              </a:ext>
            </a:extLst>
          </a:blip>
          <a:stretch>
            <a:fillRect/>
          </a:stretch>
        </p:blipFill>
        <p:spPr>
          <a:xfrm>
            <a:off x="2238095" y="4497189"/>
            <a:ext cx="589638" cy="589638"/>
          </a:xfrm>
          <a:prstGeom prst="rect">
            <a:avLst/>
          </a:prstGeom>
        </p:spPr>
      </p:pic>
      <p:pic>
        <p:nvPicPr>
          <p:cNvPr id="57" name="Billede 56"/>
          <p:cNvPicPr>
            <a:picLocks noChangeAspect="1"/>
          </p:cNvPicPr>
          <p:nvPr/>
        </p:nvPicPr>
        <p:blipFill>
          <a:blip r:embed="rId56" cstate="hqprint">
            <a:extLst>
              <a:ext uri="{28A0092B-C50C-407E-A947-70E740481C1C}">
                <a14:useLocalDpi xmlns:a14="http://schemas.microsoft.com/office/drawing/2010/main"/>
              </a:ext>
            </a:extLst>
          </a:blip>
          <a:stretch>
            <a:fillRect/>
          </a:stretch>
        </p:blipFill>
        <p:spPr>
          <a:xfrm>
            <a:off x="2558358" y="5284013"/>
            <a:ext cx="538749" cy="538749"/>
          </a:xfrm>
          <a:prstGeom prst="rect">
            <a:avLst/>
          </a:prstGeom>
        </p:spPr>
      </p:pic>
      <p:pic>
        <p:nvPicPr>
          <p:cNvPr id="58" name="Billede 57"/>
          <p:cNvPicPr>
            <a:picLocks noChangeAspect="1"/>
          </p:cNvPicPr>
          <p:nvPr/>
        </p:nvPicPr>
        <p:blipFill>
          <a:blip r:embed="rId57" cstate="hqprint">
            <a:extLst>
              <a:ext uri="{28A0092B-C50C-407E-A947-70E740481C1C}">
                <a14:useLocalDpi xmlns:a14="http://schemas.microsoft.com/office/drawing/2010/main"/>
              </a:ext>
            </a:extLst>
          </a:blip>
          <a:stretch>
            <a:fillRect/>
          </a:stretch>
        </p:blipFill>
        <p:spPr>
          <a:xfrm>
            <a:off x="1828923" y="5270544"/>
            <a:ext cx="538749" cy="538749"/>
          </a:xfrm>
          <a:prstGeom prst="rect">
            <a:avLst/>
          </a:prstGeom>
        </p:spPr>
      </p:pic>
      <p:pic>
        <p:nvPicPr>
          <p:cNvPr id="59" name="Billede 58"/>
          <p:cNvPicPr>
            <a:picLocks noChangeAspect="1"/>
          </p:cNvPicPr>
          <p:nvPr/>
        </p:nvPicPr>
        <p:blipFill>
          <a:blip r:embed="rId58" cstate="hqprint">
            <a:extLst>
              <a:ext uri="{28A0092B-C50C-407E-A947-70E740481C1C}">
                <a14:useLocalDpi xmlns:a14="http://schemas.microsoft.com/office/drawing/2010/main"/>
              </a:ext>
            </a:extLst>
          </a:blip>
          <a:stretch>
            <a:fillRect/>
          </a:stretch>
        </p:blipFill>
        <p:spPr>
          <a:xfrm>
            <a:off x="1104900" y="5245100"/>
            <a:ext cx="589638" cy="589638"/>
          </a:xfrm>
          <a:prstGeom prst="rect">
            <a:avLst/>
          </a:prstGeom>
        </p:spPr>
      </p:pic>
      <p:pic>
        <p:nvPicPr>
          <p:cNvPr id="60" name="Billede 59"/>
          <p:cNvPicPr>
            <a:picLocks noChangeAspect="1"/>
          </p:cNvPicPr>
          <p:nvPr/>
        </p:nvPicPr>
        <p:blipFill>
          <a:blip r:embed="rId59" cstate="hqprint">
            <a:extLst>
              <a:ext uri="{28A0092B-C50C-407E-A947-70E740481C1C}">
                <a14:useLocalDpi xmlns:a14="http://schemas.microsoft.com/office/drawing/2010/main"/>
              </a:ext>
            </a:extLst>
          </a:blip>
          <a:stretch>
            <a:fillRect/>
          </a:stretch>
        </p:blipFill>
        <p:spPr>
          <a:xfrm>
            <a:off x="317210" y="5263239"/>
            <a:ext cx="589638" cy="589638"/>
          </a:xfrm>
          <a:prstGeom prst="rect">
            <a:avLst/>
          </a:prstGeom>
        </p:spPr>
      </p:pic>
      <p:pic>
        <p:nvPicPr>
          <p:cNvPr id="61" name="Billede 60"/>
          <p:cNvPicPr>
            <a:picLocks noChangeAspect="1"/>
          </p:cNvPicPr>
          <p:nvPr/>
        </p:nvPicPr>
        <p:blipFill>
          <a:blip r:embed="rId60" cstate="hqprint">
            <a:extLst>
              <a:ext uri="{28A0092B-C50C-407E-A947-70E740481C1C}">
                <a14:useLocalDpi xmlns:a14="http://schemas.microsoft.com/office/drawing/2010/main"/>
              </a:ext>
            </a:extLst>
          </a:blip>
          <a:stretch>
            <a:fillRect/>
          </a:stretch>
        </p:blipFill>
        <p:spPr>
          <a:xfrm>
            <a:off x="4010436" y="5219655"/>
            <a:ext cx="589638" cy="589638"/>
          </a:xfrm>
          <a:prstGeom prst="rect">
            <a:avLst/>
          </a:prstGeom>
        </p:spPr>
      </p:pic>
      <p:pic>
        <p:nvPicPr>
          <p:cNvPr id="62" name="Billede 61"/>
          <p:cNvPicPr>
            <a:picLocks noChangeAspect="1"/>
          </p:cNvPicPr>
          <p:nvPr/>
        </p:nvPicPr>
        <p:blipFill>
          <a:blip r:embed="rId61" cstate="hqprint">
            <a:extLst>
              <a:ext uri="{28A0092B-C50C-407E-A947-70E740481C1C}">
                <a14:useLocalDpi xmlns:a14="http://schemas.microsoft.com/office/drawing/2010/main"/>
              </a:ext>
            </a:extLst>
          </a:blip>
          <a:stretch>
            <a:fillRect/>
          </a:stretch>
        </p:blipFill>
        <p:spPr>
          <a:xfrm>
            <a:off x="3283862" y="5219655"/>
            <a:ext cx="589638" cy="589638"/>
          </a:xfrm>
          <a:prstGeom prst="rect">
            <a:avLst/>
          </a:prstGeom>
        </p:spPr>
      </p:pic>
      <p:pic>
        <p:nvPicPr>
          <p:cNvPr id="63" name="Billede 62"/>
          <p:cNvPicPr>
            <a:picLocks noChangeAspect="1"/>
          </p:cNvPicPr>
          <p:nvPr/>
        </p:nvPicPr>
        <p:blipFill>
          <a:blip r:embed="rId62" cstate="hqprint">
            <a:extLst>
              <a:ext uri="{28A0092B-C50C-407E-A947-70E740481C1C}">
                <a14:useLocalDpi xmlns:a14="http://schemas.microsoft.com/office/drawing/2010/main"/>
              </a:ext>
            </a:extLst>
          </a:blip>
          <a:stretch>
            <a:fillRect/>
          </a:stretch>
        </p:blipFill>
        <p:spPr>
          <a:xfrm>
            <a:off x="3966841" y="3786343"/>
            <a:ext cx="507780" cy="507780"/>
          </a:xfrm>
          <a:prstGeom prst="rect">
            <a:avLst/>
          </a:prstGeom>
        </p:spPr>
      </p:pic>
      <p:pic>
        <p:nvPicPr>
          <p:cNvPr id="64" name="Billede 63"/>
          <p:cNvPicPr>
            <a:picLocks noChangeAspect="1"/>
          </p:cNvPicPr>
          <p:nvPr/>
        </p:nvPicPr>
        <p:blipFill>
          <a:blip r:embed="rId63" cstate="hqprint">
            <a:extLst>
              <a:ext uri="{28A0092B-C50C-407E-A947-70E740481C1C}">
                <a14:useLocalDpi xmlns:a14="http://schemas.microsoft.com/office/drawing/2010/main"/>
              </a:ext>
            </a:extLst>
          </a:blip>
          <a:stretch>
            <a:fillRect/>
          </a:stretch>
        </p:blipFill>
        <p:spPr>
          <a:xfrm>
            <a:off x="5297018" y="3800274"/>
            <a:ext cx="558013" cy="558013"/>
          </a:xfrm>
          <a:prstGeom prst="rect">
            <a:avLst/>
          </a:prstGeom>
        </p:spPr>
      </p:pic>
      <p:pic>
        <p:nvPicPr>
          <p:cNvPr id="65" name="Billede 64"/>
          <p:cNvPicPr>
            <a:picLocks noChangeAspect="1"/>
          </p:cNvPicPr>
          <p:nvPr/>
        </p:nvPicPr>
        <p:blipFill>
          <a:blip r:embed="rId64" cstate="hqprint">
            <a:extLst>
              <a:ext uri="{28A0092B-C50C-407E-A947-70E740481C1C}">
                <a14:useLocalDpi xmlns:a14="http://schemas.microsoft.com/office/drawing/2010/main"/>
              </a:ext>
            </a:extLst>
          </a:blip>
          <a:stretch>
            <a:fillRect/>
          </a:stretch>
        </p:blipFill>
        <p:spPr>
          <a:xfrm>
            <a:off x="5491168" y="5233124"/>
            <a:ext cx="589638" cy="589638"/>
          </a:xfrm>
          <a:prstGeom prst="rect">
            <a:avLst/>
          </a:prstGeom>
        </p:spPr>
      </p:pic>
      <p:pic>
        <p:nvPicPr>
          <p:cNvPr id="66" name="Billede 65"/>
          <p:cNvPicPr>
            <a:picLocks noChangeAspect="1"/>
          </p:cNvPicPr>
          <p:nvPr/>
        </p:nvPicPr>
        <p:blipFill>
          <a:blip r:embed="rId65" cstate="hqprint">
            <a:extLst>
              <a:ext uri="{28A0092B-C50C-407E-A947-70E740481C1C}">
                <a14:useLocalDpi xmlns:a14="http://schemas.microsoft.com/office/drawing/2010/main"/>
              </a:ext>
            </a:extLst>
          </a:blip>
          <a:stretch>
            <a:fillRect/>
          </a:stretch>
        </p:blipFill>
        <p:spPr>
          <a:xfrm>
            <a:off x="6197475" y="5270544"/>
            <a:ext cx="589638" cy="589638"/>
          </a:xfrm>
          <a:prstGeom prst="rect">
            <a:avLst/>
          </a:prstGeom>
        </p:spPr>
      </p:pic>
      <p:pic>
        <p:nvPicPr>
          <p:cNvPr id="68" name="Billede 67"/>
          <p:cNvPicPr>
            <a:picLocks noChangeAspect="1"/>
          </p:cNvPicPr>
          <p:nvPr/>
        </p:nvPicPr>
        <p:blipFill>
          <a:blip r:embed="rId66" cstate="hqprint">
            <a:extLst>
              <a:ext uri="{28A0092B-C50C-407E-A947-70E740481C1C}">
                <a14:useLocalDpi xmlns:a14="http://schemas.microsoft.com/office/drawing/2010/main"/>
              </a:ext>
            </a:extLst>
          </a:blip>
          <a:stretch>
            <a:fillRect/>
          </a:stretch>
        </p:blipFill>
        <p:spPr>
          <a:xfrm>
            <a:off x="10053517" y="2157760"/>
            <a:ext cx="589638" cy="589638"/>
          </a:xfrm>
          <a:prstGeom prst="rect">
            <a:avLst/>
          </a:prstGeom>
        </p:spPr>
      </p:pic>
      <p:pic>
        <p:nvPicPr>
          <p:cNvPr id="69" name="Billede 68"/>
          <p:cNvPicPr>
            <a:picLocks noChangeAspect="1"/>
          </p:cNvPicPr>
          <p:nvPr/>
        </p:nvPicPr>
        <p:blipFill>
          <a:blip r:embed="rId67" cstate="hqprint">
            <a:extLst>
              <a:ext uri="{28A0092B-C50C-407E-A947-70E740481C1C}">
                <a14:useLocalDpi xmlns:a14="http://schemas.microsoft.com/office/drawing/2010/main"/>
              </a:ext>
            </a:extLst>
          </a:blip>
          <a:stretch>
            <a:fillRect/>
          </a:stretch>
        </p:blipFill>
        <p:spPr>
          <a:xfrm>
            <a:off x="6787113" y="2903227"/>
            <a:ext cx="599453" cy="599453"/>
          </a:xfrm>
          <a:prstGeom prst="rect">
            <a:avLst/>
          </a:prstGeom>
        </p:spPr>
      </p:pic>
      <p:pic>
        <p:nvPicPr>
          <p:cNvPr id="70" name="Billede 69"/>
          <p:cNvPicPr>
            <a:picLocks noChangeAspect="1"/>
          </p:cNvPicPr>
          <p:nvPr/>
        </p:nvPicPr>
        <p:blipFill>
          <a:blip r:embed="rId68" cstate="hqprint">
            <a:extLst>
              <a:ext uri="{28A0092B-C50C-407E-A947-70E740481C1C}">
                <a14:useLocalDpi xmlns:a14="http://schemas.microsoft.com/office/drawing/2010/main"/>
              </a:ext>
            </a:extLst>
          </a:blip>
          <a:stretch>
            <a:fillRect/>
          </a:stretch>
        </p:blipFill>
        <p:spPr>
          <a:xfrm>
            <a:off x="7572214" y="2927917"/>
            <a:ext cx="599453" cy="599453"/>
          </a:xfrm>
          <a:prstGeom prst="rect">
            <a:avLst/>
          </a:prstGeom>
        </p:spPr>
      </p:pic>
      <p:pic>
        <p:nvPicPr>
          <p:cNvPr id="71" name="Billede 70"/>
          <p:cNvPicPr>
            <a:picLocks noChangeAspect="1"/>
          </p:cNvPicPr>
          <p:nvPr/>
        </p:nvPicPr>
        <p:blipFill>
          <a:blip r:embed="rId69" cstate="hqprint">
            <a:extLst>
              <a:ext uri="{28A0092B-C50C-407E-A947-70E740481C1C}">
                <a14:useLocalDpi xmlns:a14="http://schemas.microsoft.com/office/drawing/2010/main"/>
              </a:ext>
            </a:extLst>
          </a:blip>
          <a:stretch>
            <a:fillRect/>
          </a:stretch>
        </p:blipFill>
        <p:spPr>
          <a:xfrm>
            <a:off x="8296438" y="2951618"/>
            <a:ext cx="599453" cy="599453"/>
          </a:xfrm>
          <a:prstGeom prst="rect">
            <a:avLst/>
          </a:prstGeom>
        </p:spPr>
      </p:pic>
      <p:pic>
        <p:nvPicPr>
          <p:cNvPr id="72" name="Billede 71"/>
          <p:cNvPicPr>
            <a:picLocks noChangeAspect="1"/>
          </p:cNvPicPr>
          <p:nvPr/>
        </p:nvPicPr>
        <p:blipFill>
          <a:blip r:embed="rId70" cstate="hqprint">
            <a:extLst>
              <a:ext uri="{28A0092B-C50C-407E-A947-70E740481C1C}">
                <a14:useLocalDpi xmlns:a14="http://schemas.microsoft.com/office/drawing/2010/main"/>
              </a:ext>
            </a:extLst>
          </a:blip>
          <a:stretch>
            <a:fillRect/>
          </a:stretch>
        </p:blipFill>
        <p:spPr>
          <a:xfrm>
            <a:off x="4643255" y="1454749"/>
            <a:ext cx="609600" cy="609600"/>
          </a:xfrm>
          <a:prstGeom prst="rect">
            <a:avLst/>
          </a:prstGeom>
        </p:spPr>
      </p:pic>
      <p:grpSp>
        <p:nvGrpSpPr>
          <p:cNvPr id="73" name="Grupper 72"/>
          <p:cNvGrpSpPr/>
          <p:nvPr/>
        </p:nvGrpSpPr>
        <p:grpSpPr>
          <a:xfrm>
            <a:off x="11144483" y="3635783"/>
            <a:ext cx="640247" cy="528412"/>
            <a:chOff x="3710081" y="3243947"/>
            <a:chExt cx="640247" cy="528412"/>
          </a:xfrm>
        </p:grpSpPr>
        <p:pic>
          <p:nvPicPr>
            <p:cNvPr id="74" name="Billede 73"/>
            <p:cNvPicPr>
              <a:picLocks noChangeAspect="1"/>
            </p:cNvPicPr>
            <p:nvPr/>
          </p:nvPicPr>
          <p:blipFill>
            <a:blip r:embed="rId47" cstate="hqprint">
              <a:extLst>
                <a:ext uri="{28A0092B-C50C-407E-A947-70E740481C1C}">
                  <a14:useLocalDpi xmlns:a14="http://schemas.microsoft.com/office/drawing/2010/main"/>
                </a:ext>
              </a:extLst>
            </a:blip>
            <a:stretch>
              <a:fillRect/>
            </a:stretch>
          </p:blipFill>
          <p:spPr>
            <a:xfrm>
              <a:off x="3710081" y="3243947"/>
              <a:ext cx="528412" cy="528412"/>
            </a:xfrm>
            <a:prstGeom prst="rect">
              <a:avLst/>
            </a:prstGeom>
          </p:spPr>
        </p:pic>
        <p:pic>
          <p:nvPicPr>
            <p:cNvPr id="75" name="Billede 74"/>
            <p:cNvPicPr>
              <a:picLocks noChangeAspect="1"/>
            </p:cNvPicPr>
            <p:nvPr/>
          </p:nvPicPr>
          <p:blipFill>
            <a:blip r:embed="rId71"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084154" y="3478476"/>
              <a:ext cx="266174" cy="266174"/>
            </a:xfrm>
            <a:prstGeom prst="rect">
              <a:avLst/>
            </a:prstGeom>
          </p:spPr>
        </p:pic>
      </p:grpSp>
      <p:pic>
        <p:nvPicPr>
          <p:cNvPr id="67" name="Picture 66"/>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317210" y="6033161"/>
            <a:ext cx="555174" cy="555174"/>
          </a:xfrm>
          <a:prstGeom prst="rect">
            <a:avLst/>
          </a:prstGeom>
        </p:spPr>
      </p:pic>
      <p:pic>
        <p:nvPicPr>
          <p:cNvPr id="76" name="Picture 75"/>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981787" y="6050293"/>
            <a:ext cx="520909" cy="520909"/>
          </a:xfrm>
          <a:prstGeom prst="rect">
            <a:avLst/>
          </a:prstGeom>
        </p:spPr>
      </p:pic>
      <p:pic>
        <p:nvPicPr>
          <p:cNvPr id="77" name="Picture 76"/>
          <p:cNvPicPr>
            <a:picLocks noChangeAspect="1"/>
          </p:cNvPicPr>
          <p:nvPr/>
        </p:nvPicPr>
        <p:blipFill>
          <a:blip r:embed="rId74">
            <a:extLst>
              <a:ext uri="{28A0092B-C50C-407E-A947-70E740481C1C}">
                <a14:useLocalDpi xmlns:a14="http://schemas.microsoft.com/office/drawing/2010/main" val="0"/>
              </a:ext>
            </a:extLst>
          </a:blip>
          <a:stretch>
            <a:fillRect/>
          </a:stretch>
        </p:blipFill>
        <p:spPr>
          <a:xfrm>
            <a:off x="1554685" y="6033161"/>
            <a:ext cx="570123" cy="570123"/>
          </a:xfrm>
          <a:prstGeom prst="rect">
            <a:avLst/>
          </a:prstGeom>
        </p:spPr>
      </p:pic>
      <p:pic>
        <p:nvPicPr>
          <p:cNvPr id="78" name="Picture 77"/>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2142046" y="6046621"/>
            <a:ext cx="556663" cy="556663"/>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2691080" y="6003414"/>
            <a:ext cx="629615" cy="629615"/>
          </a:xfrm>
          <a:prstGeom prst="rect">
            <a:avLst/>
          </a:prstGeom>
        </p:spPr>
      </p:pic>
      <p:pic>
        <p:nvPicPr>
          <p:cNvPr id="80" name="Picture 79"/>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3310722" y="6003414"/>
            <a:ext cx="609879" cy="609879"/>
          </a:xfrm>
          <a:prstGeom prst="rect">
            <a:avLst/>
          </a:prstGeom>
        </p:spPr>
      </p:pic>
      <p:pic>
        <p:nvPicPr>
          <p:cNvPr id="81" name="Picture 80"/>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3920601" y="6090270"/>
            <a:ext cx="523023" cy="523023"/>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4492553" y="6082109"/>
            <a:ext cx="485686" cy="485686"/>
          </a:xfrm>
          <a:prstGeom prst="rect">
            <a:avLst/>
          </a:prstGeom>
        </p:spPr>
      </p:pic>
      <p:pic>
        <p:nvPicPr>
          <p:cNvPr id="84" name="Picture 83"/>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152593" y="6057702"/>
            <a:ext cx="588157" cy="588157"/>
          </a:xfrm>
          <a:prstGeom prst="rect">
            <a:avLst/>
          </a:prstGeom>
        </p:spPr>
      </p:pic>
      <p:pic>
        <p:nvPicPr>
          <p:cNvPr id="85" name="Picture 84"/>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4756355" y="4493290"/>
            <a:ext cx="604831" cy="604831"/>
          </a:xfrm>
          <a:prstGeom prst="rect">
            <a:avLst/>
          </a:prstGeom>
        </p:spPr>
      </p:pic>
      <p:pic>
        <p:nvPicPr>
          <p:cNvPr id="86" name="Picture 85"/>
          <p:cNvPicPr>
            <a:picLocks noChangeAspect="1"/>
          </p:cNvPicPr>
          <p:nvPr/>
        </p:nvPicPr>
        <p:blipFill>
          <a:blip r:embed="rId82">
            <a:extLst>
              <a:ext uri="{28A0092B-C50C-407E-A947-70E740481C1C}">
                <a14:useLocalDpi xmlns:a14="http://schemas.microsoft.com/office/drawing/2010/main" val="0"/>
              </a:ext>
            </a:extLst>
          </a:blip>
          <a:stretch>
            <a:fillRect/>
          </a:stretch>
        </p:blipFill>
        <p:spPr>
          <a:xfrm>
            <a:off x="1350915" y="2249970"/>
            <a:ext cx="423401" cy="423401"/>
          </a:xfrm>
          <a:prstGeom prst="rect">
            <a:avLst/>
          </a:prstGeom>
        </p:spPr>
      </p:pic>
      <p:pic>
        <p:nvPicPr>
          <p:cNvPr id="87" name="Picture 86"/>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5919960" y="6070390"/>
            <a:ext cx="585589" cy="585589"/>
          </a:xfrm>
          <a:prstGeom prst="rect">
            <a:avLst/>
          </a:prstGeom>
        </p:spPr>
      </p:pic>
      <p:pic>
        <p:nvPicPr>
          <p:cNvPr id="89" name="Picture 88"/>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5538970" y="2976555"/>
            <a:ext cx="588157" cy="588157"/>
          </a:xfrm>
          <a:prstGeom prst="rect">
            <a:avLst/>
          </a:prstGeom>
        </p:spPr>
      </p:pic>
      <p:pic>
        <p:nvPicPr>
          <p:cNvPr id="90" name="Picture 89"/>
          <p:cNvPicPr>
            <a:picLocks noChangeAspect="1"/>
          </p:cNvPicPr>
          <p:nvPr/>
        </p:nvPicPr>
        <p:blipFill>
          <a:blip r:embed="rId85">
            <a:extLst>
              <a:ext uri="{28A0092B-C50C-407E-A947-70E740481C1C}">
                <a14:useLocalDpi xmlns:a14="http://schemas.microsoft.com/office/drawing/2010/main" val="0"/>
              </a:ext>
            </a:extLst>
          </a:blip>
          <a:stretch>
            <a:fillRect/>
          </a:stretch>
        </p:blipFill>
        <p:spPr>
          <a:xfrm>
            <a:off x="3093164" y="4345041"/>
            <a:ext cx="876888" cy="876888"/>
          </a:xfrm>
          <a:prstGeom prst="rect">
            <a:avLst/>
          </a:prstGeom>
        </p:spPr>
      </p:pic>
      <p:pic>
        <p:nvPicPr>
          <p:cNvPr id="91" name="Picture 90"/>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7321071" y="5857804"/>
            <a:ext cx="745480" cy="745480"/>
          </a:xfrm>
          <a:prstGeom prst="rect">
            <a:avLst/>
          </a:prstGeom>
        </p:spPr>
      </p:pic>
      <p:pic>
        <p:nvPicPr>
          <p:cNvPr id="92" name="Picture 91"/>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9272194" y="3804439"/>
            <a:ext cx="631318" cy="631318"/>
          </a:xfrm>
          <a:prstGeom prst="rect">
            <a:avLst/>
          </a:prstGeom>
        </p:spPr>
      </p:pic>
      <p:pic>
        <p:nvPicPr>
          <p:cNvPr id="93" name="Picture 92"/>
          <p:cNvPicPr>
            <a:picLocks noChangeAspect="1"/>
          </p:cNvPicPr>
          <p:nvPr/>
        </p:nvPicPr>
        <p:blipFill>
          <a:blip r:embed="rId88">
            <a:extLst>
              <a:ext uri="{28A0092B-C50C-407E-A947-70E740481C1C}">
                <a14:useLocalDpi xmlns:a14="http://schemas.microsoft.com/office/drawing/2010/main" val="0"/>
              </a:ext>
            </a:extLst>
          </a:blip>
          <a:stretch>
            <a:fillRect/>
          </a:stretch>
        </p:blipFill>
        <p:spPr>
          <a:xfrm>
            <a:off x="9996602" y="3753782"/>
            <a:ext cx="743407" cy="743407"/>
          </a:xfrm>
          <a:prstGeom prst="rect">
            <a:avLst/>
          </a:prstGeom>
        </p:spPr>
      </p:pic>
      <p:pic>
        <p:nvPicPr>
          <p:cNvPr id="94" name="Picture 93"/>
          <p:cNvPicPr>
            <a:picLocks noChangeAspect="1"/>
          </p:cNvPicPr>
          <p:nvPr/>
        </p:nvPicPr>
        <p:blipFill>
          <a:blip r:embed="rId89">
            <a:extLst>
              <a:ext uri="{28A0092B-C50C-407E-A947-70E740481C1C}">
                <a14:useLocalDpi xmlns:a14="http://schemas.microsoft.com/office/drawing/2010/main" val="0"/>
              </a:ext>
            </a:extLst>
          </a:blip>
          <a:stretch>
            <a:fillRect/>
          </a:stretch>
        </p:blipFill>
        <p:spPr>
          <a:xfrm>
            <a:off x="4322240" y="2958098"/>
            <a:ext cx="676329" cy="676329"/>
          </a:xfrm>
          <a:prstGeom prst="rect">
            <a:avLst/>
          </a:prstGeom>
        </p:spPr>
      </p:pic>
      <p:pic>
        <p:nvPicPr>
          <p:cNvPr id="83" name="Picture 82"/>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5646637" y="4547333"/>
            <a:ext cx="546645" cy="546645"/>
          </a:xfrm>
          <a:prstGeom prst="rect">
            <a:avLst/>
          </a:prstGeom>
        </p:spPr>
      </p:pic>
    </p:spTree>
    <p:extLst>
      <p:ext uri="{BB962C8B-B14F-4D97-AF65-F5344CB8AC3E}">
        <p14:creationId xmlns:p14="http://schemas.microsoft.com/office/powerpoint/2010/main" val="18709307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 Placeholder 64">
            <a:extLst>
              <a:ext uri="{FF2B5EF4-FFF2-40B4-BE49-F238E27FC236}">
                <a16:creationId xmlns:a16="http://schemas.microsoft.com/office/drawing/2014/main" id="{F966F092-A6A8-F348-9302-78CF311E0405}"/>
              </a:ext>
            </a:extLst>
          </p:cNvPr>
          <p:cNvSpPr>
            <a:spLocks noGrp="1"/>
          </p:cNvSpPr>
          <p:nvPr>
            <p:ph type="body" sz="quarter" idx="13"/>
          </p:nvPr>
        </p:nvSpPr>
        <p:spPr/>
        <p:txBody>
          <a:bodyPr/>
          <a:lstStyle/>
          <a:p>
            <a:endParaRPr lang="en-GB"/>
          </a:p>
        </p:txBody>
      </p:sp>
      <p:sp>
        <p:nvSpPr>
          <p:cNvPr id="66" name="Text Placeholder 65">
            <a:extLst>
              <a:ext uri="{FF2B5EF4-FFF2-40B4-BE49-F238E27FC236}">
                <a16:creationId xmlns:a16="http://schemas.microsoft.com/office/drawing/2014/main" id="{DCB105D0-BC96-CC48-BD0D-9FEE6B8D0D93}"/>
              </a:ext>
            </a:extLst>
          </p:cNvPr>
          <p:cNvSpPr>
            <a:spLocks noGrp="1"/>
          </p:cNvSpPr>
          <p:nvPr>
            <p:ph type="body" sz="quarter" idx="15"/>
          </p:nvPr>
        </p:nvSpPr>
        <p:spPr/>
        <p:txBody>
          <a:bodyPr/>
          <a:lstStyle/>
          <a:p>
            <a:endParaRPr lang="en-GB"/>
          </a:p>
        </p:txBody>
      </p:sp>
      <p:sp>
        <p:nvSpPr>
          <p:cNvPr id="2" name="Titel 1"/>
          <p:cNvSpPr>
            <a:spLocks noGrp="1"/>
          </p:cNvSpPr>
          <p:nvPr>
            <p:ph type="title"/>
          </p:nvPr>
        </p:nvSpPr>
        <p:spPr/>
        <p:txBody>
          <a:bodyPr/>
          <a:lstStyle/>
          <a:p>
            <a:r>
              <a:rPr lang="da-DK" dirty="0" err="1"/>
              <a:t>Prioritize</a:t>
            </a:r>
            <a:r>
              <a:rPr lang="da-DK" dirty="0"/>
              <a:t> </a:t>
            </a:r>
            <a:r>
              <a:rPr lang="da-DK" dirty="0" err="1"/>
              <a:t>using</a:t>
            </a:r>
            <a:r>
              <a:rPr lang="da-DK" dirty="0"/>
              <a:t> </a:t>
            </a:r>
            <a:r>
              <a:rPr lang="da-DK" dirty="0" err="1"/>
              <a:t>these</a:t>
            </a:r>
            <a:r>
              <a:rPr lang="da-DK" dirty="0"/>
              <a:t> </a:t>
            </a:r>
            <a:r>
              <a:rPr lang="da-DK" dirty="0" err="1"/>
              <a:t>icons</a:t>
            </a:r>
            <a:r>
              <a:rPr lang="mr-IN" dirty="0"/>
              <a:t>…</a:t>
            </a:r>
            <a:r>
              <a:rPr lang="da-DK" dirty="0"/>
              <a:t> </a:t>
            </a:r>
            <a:r>
              <a:rPr lang="da-DK" dirty="0" err="1"/>
              <a:t>they’re</a:t>
            </a:r>
            <a:r>
              <a:rPr lang="da-DK" dirty="0"/>
              <a:t> </a:t>
            </a:r>
            <a:r>
              <a:rPr lang="da-DK" dirty="0" err="1"/>
              <a:t>prettyyyyyy</a:t>
            </a:r>
            <a:r>
              <a:rPr lang="da-DK" dirty="0"/>
              <a:t> #2</a:t>
            </a:r>
          </a:p>
        </p:txBody>
      </p:sp>
      <p:pic>
        <p:nvPicPr>
          <p:cNvPr id="4" name="Billede 3"/>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44774" y="1377287"/>
            <a:ext cx="589638" cy="589638"/>
          </a:xfrm>
          <a:prstGeom prst="rect">
            <a:avLst/>
          </a:prstGeom>
        </p:spPr>
      </p:pic>
      <p:pic>
        <p:nvPicPr>
          <p:cNvPr id="5" name="Billede 4"/>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71212" y="1394347"/>
            <a:ext cx="589638" cy="589638"/>
          </a:xfrm>
          <a:prstGeom prst="rect">
            <a:avLst/>
          </a:prstGeom>
        </p:spPr>
      </p:pic>
      <p:pic>
        <p:nvPicPr>
          <p:cNvPr id="6" name="Billede 5"/>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99862" y="5045790"/>
            <a:ext cx="589638" cy="589638"/>
          </a:xfrm>
          <a:prstGeom prst="rect">
            <a:avLst/>
          </a:prstGeom>
        </p:spPr>
      </p:pic>
      <p:pic>
        <p:nvPicPr>
          <p:cNvPr id="7" name="Billede 6"/>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457469" y="5102218"/>
            <a:ext cx="568861" cy="568861"/>
          </a:xfrm>
          <a:prstGeom prst="rect">
            <a:avLst/>
          </a:prstGeom>
        </p:spPr>
      </p:pic>
      <p:pic>
        <p:nvPicPr>
          <p:cNvPr id="8" name="Billede 7"/>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050526" y="1408505"/>
            <a:ext cx="609600" cy="609600"/>
          </a:xfrm>
          <a:prstGeom prst="rect">
            <a:avLst/>
          </a:prstGeom>
        </p:spPr>
      </p:pic>
      <p:pic>
        <p:nvPicPr>
          <p:cNvPr id="9" name="Billede 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947207" y="1387675"/>
            <a:ext cx="589638" cy="589638"/>
          </a:xfrm>
          <a:prstGeom prst="rect">
            <a:avLst/>
          </a:prstGeom>
        </p:spPr>
      </p:pic>
      <p:pic>
        <p:nvPicPr>
          <p:cNvPr id="10" name="Billede 9"/>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1181" y="1356816"/>
            <a:ext cx="589638" cy="589638"/>
          </a:xfrm>
          <a:prstGeom prst="rect">
            <a:avLst/>
          </a:prstGeom>
        </p:spPr>
      </p:pic>
      <p:pic>
        <p:nvPicPr>
          <p:cNvPr id="11" name="Billede 10"/>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702047" y="1356816"/>
            <a:ext cx="589638" cy="589638"/>
          </a:xfrm>
          <a:prstGeom prst="rect">
            <a:avLst/>
          </a:prstGeom>
        </p:spPr>
      </p:pic>
      <p:pic>
        <p:nvPicPr>
          <p:cNvPr id="12" name="Billede 1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602913" y="1356816"/>
            <a:ext cx="589638" cy="589638"/>
          </a:xfrm>
          <a:prstGeom prst="rect">
            <a:avLst/>
          </a:prstGeom>
        </p:spPr>
      </p:pic>
      <p:pic>
        <p:nvPicPr>
          <p:cNvPr id="13" name="Billede 12"/>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8499051" y="1356816"/>
            <a:ext cx="589638" cy="589638"/>
          </a:xfrm>
          <a:prstGeom prst="rect">
            <a:avLst/>
          </a:prstGeom>
        </p:spPr>
      </p:pic>
      <p:pic>
        <p:nvPicPr>
          <p:cNvPr id="14" name="Billede 13"/>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9404712" y="1356816"/>
            <a:ext cx="589638" cy="589638"/>
          </a:xfrm>
          <a:prstGeom prst="rect">
            <a:avLst/>
          </a:prstGeom>
        </p:spPr>
      </p:pic>
      <p:pic>
        <p:nvPicPr>
          <p:cNvPr id="15" name="Billede 14"/>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10218200" y="1356816"/>
            <a:ext cx="589638" cy="589638"/>
          </a:xfrm>
          <a:prstGeom prst="rect">
            <a:avLst/>
          </a:prstGeom>
        </p:spPr>
      </p:pic>
      <p:pic>
        <p:nvPicPr>
          <p:cNvPr id="16" name="Billede 15"/>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6996866" y="5725267"/>
            <a:ext cx="568861" cy="568861"/>
          </a:xfrm>
          <a:prstGeom prst="rect">
            <a:avLst/>
          </a:prstGeom>
        </p:spPr>
      </p:pic>
      <p:pic>
        <p:nvPicPr>
          <p:cNvPr id="17" name="Billede 16"/>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344774" y="2128134"/>
            <a:ext cx="579422" cy="579422"/>
          </a:xfrm>
          <a:prstGeom prst="rect">
            <a:avLst/>
          </a:prstGeom>
        </p:spPr>
      </p:pic>
      <p:pic>
        <p:nvPicPr>
          <p:cNvPr id="18" name="Billede 17"/>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1251250" y="2113045"/>
            <a:ext cx="609600" cy="609600"/>
          </a:xfrm>
          <a:prstGeom prst="rect">
            <a:avLst/>
          </a:prstGeom>
        </p:spPr>
      </p:pic>
      <p:pic>
        <p:nvPicPr>
          <p:cNvPr id="19" name="Billede 18"/>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2187904" y="2133007"/>
            <a:ext cx="589638" cy="589638"/>
          </a:xfrm>
          <a:prstGeom prst="rect">
            <a:avLst/>
          </a:prstGeom>
        </p:spPr>
      </p:pic>
      <p:pic>
        <p:nvPicPr>
          <p:cNvPr id="20" name="Billede 19"/>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3082108" y="2133007"/>
            <a:ext cx="589638" cy="589638"/>
          </a:xfrm>
          <a:prstGeom prst="rect">
            <a:avLst/>
          </a:prstGeom>
        </p:spPr>
      </p:pic>
      <p:pic>
        <p:nvPicPr>
          <p:cNvPr id="21" name="Billede 20"/>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3976312" y="2128134"/>
            <a:ext cx="599453" cy="599453"/>
          </a:xfrm>
          <a:prstGeom prst="rect">
            <a:avLst/>
          </a:prstGeom>
        </p:spPr>
      </p:pic>
      <p:pic>
        <p:nvPicPr>
          <p:cNvPr id="22" name="Billede 21"/>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4870516" y="2108103"/>
            <a:ext cx="599453" cy="599453"/>
          </a:xfrm>
          <a:prstGeom prst="rect">
            <a:avLst/>
          </a:prstGeom>
        </p:spPr>
      </p:pic>
      <p:pic>
        <p:nvPicPr>
          <p:cNvPr id="23" name="Billede 22"/>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a:off x="5764720" y="2118118"/>
            <a:ext cx="599453" cy="599453"/>
          </a:xfrm>
          <a:prstGeom prst="rect">
            <a:avLst/>
          </a:prstGeom>
        </p:spPr>
      </p:pic>
      <p:pic>
        <p:nvPicPr>
          <p:cNvPr id="24" name="Billede 23"/>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6658924" y="2117751"/>
            <a:ext cx="599453" cy="599453"/>
          </a:xfrm>
          <a:prstGeom prst="rect">
            <a:avLst/>
          </a:prstGeom>
        </p:spPr>
      </p:pic>
      <p:pic>
        <p:nvPicPr>
          <p:cNvPr id="25" name="Billede 24"/>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7553128" y="2117751"/>
            <a:ext cx="589638" cy="589638"/>
          </a:xfrm>
          <a:prstGeom prst="rect">
            <a:avLst/>
          </a:prstGeom>
        </p:spPr>
      </p:pic>
      <p:pic>
        <p:nvPicPr>
          <p:cNvPr id="26" name="Billede 25"/>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8479635" y="2137949"/>
            <a:ext cx="589638" cy="589638"/>
          </a:xfrm>
          <a:prstGeom prst="rect">
            <a:avLst/>
          </a:prstGeom>
        </p:spPr>
      </p:pic>
      <p:pic>
        <p:nvPicPr>
          <p:cNvPr id="27" name="Billede 2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4670178" y="4314626"/>
            <a:ext cx="579422" cy="579422"/>
          </a:xfrm>
          <a:prstGeom prst="rect">
            <a:avLst/>
          </a:prstGeom>
        </p:spPr>
      </p:pic>
      <p:pic>
        <p:nvPicPr>
          <p:cNvPr id="28" name="Billede 27"/>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909019" y="2907129"/>
            <a:ext cx="589638" cy="589638"/>
          </a:xfrm>
          <a:prstGeom prst="rect">
            <a:avLst/>
          </a:prstGeom>
        </p:spPr>
      </p:pic>
      <p:pic>
        <p:nvPicPr>
          <p:cNvPr id="29" name="Billede 28"/>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a:xfrm>
            <a:off x="249600" y="2919900"/>
            <a:ext cx="589638" cy="589638"/>
          </a:xfrm>
          <a:prstGeom prst="rect">
            <a:avLst/>
          </a:prstGeom>
        </p:spPr>
      </p:pic>
      <p:pic>
        <p:nvPicPr>
          <p:cNvPr id="30" name="Billede 29"/>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1604954" y="2938316"/>
            <a:ext cx="568861" cy="568861"/>
          </a:xfrm>
          <a:prstGeom prst="rect">
            <a:avLst/>
          </a:prstGeom>
        </p:spPr>
      </p:pic>
      <p:pic>
        <p:nvPicPr>
          <p:cNvPr id="31" name="Billede 30"/>
          <p:cNvPicPr>
            <a:picLocks noChangeAspect="1"/>
          </p:cNvPicPr>
          <p:nvPr/>
        </p:nvPicPr>
        <p:blipFill>
          <a:blip r:embed="rId29" cstate="hqprint">
            <a:extLst>
              <a:ext uri="{28A0092B-C50C-407E-A947-70E740481C1C}">
                <a14:useLocalDpi xmlns:a14="http://schemas.microsoft.com/office/drawing/2010/main"/>
              </a:ext>
            </a:extLst>
          </a:blip>
          <a:stretch>
            <a:fillRect/>
          </a:stretch>
        </p:blipFill>
        <p:spPr>
          <a:xfrm>
            <a:off x="2240636" y="2934463"/>
            <a:ext cx="568861" cy="568861"/>
          </a:xfrm>
          <a:prstGeom prst="rect">
            <a:avLst/>
          </a:prstGeom>
        </p:spPr>
      </p:pic>
      <p:pic>
        <p:nvPicPr>
          <p:cNvPr id="32" name="Billede 31"/>
          <p:cNvPicPr>
            <a:picLocks noChangeAspect="1"/>
          </p:cNvPicPr>
          <p:nvPr/>
        </p:nvPicPr>
        <p:blipFill>
          <a:blip r:embed="rId30" cstate="hqprint">
            <a:extLst>
              <a:ext uri="{28A0092B-C50C-407E-A947-70E740481C1C}">
                <a14:useLocalDpi xmlns:a14="http://schemas.microsoft.com/office/drawing/2010/main"/>
              </a:ext>
            </a:extLst>
          </a:blip>
          <a:stretch>
            <a:fillRect/>
          </a:stretch>
        </p:blipFill>
        <p:spPr>
          <a:xfrm>
            <a:off x="2899462" y="2934463"/>
            <a:ext cx="568861" cy="568861"/>
          </a:xfrm>
          <a:prstGeom prst="rect">
            <a:avLst/>
          </a:prstGeom>
        </p:spPr>
      </p:pic>
      <p:pic>
        <p:nvPicPr>
          <p:cNvPr id="33" name="Billede 32"/>
          <p:cNvPicPr>
            <a:picLocks noChangeAspect="1"/>
          </p:cNvPicPr>
          <p:nvPr/>
        </p:nvPicPr>
        <p:blipFill>
          <a:blip r:embed="rId31" cstate="hqprint">
            <a:extLst>
              <a:ext uri="{28A0092B-C50C-407E-A947-70E740481C1C}">
                <a14:useLocalDpi xmlns:a14="http://schemas.microsoft.com/office/drawing/2010/main"/>
              </a:ext>
            </a:extLst>
          </a:blip>
          <a:stretch>
            <a:fillRect/>
          </a:stretch>
        </p:blipFill>
        <p:spPr>
          <a:xfrm>
            <a:off x="3611729" y="2939660"/>
            <a:ext cx="568861" cy="568861"/>
          </a:xfrm>
          <a:prstGeom prst="rect">
            <a:avLst/>
          </a:prstGeom>
        </p:spPr>
      </p:pic>
      <p:pic>
        <p:nvPicPr>
          <p:cNvPr id="34" name="Billede 33"/>
          <p:cNvPicPr>
            <a:picLocks noChangeAspect="1"/>
          </p:cNvPicPr>
          <p:nvPr/>
        </p:nvPicPr>
        <p:blipFill>
          <a:blip r:embed="rId32" cstate="hqprint">
            <a:extLst>
              <a:ext uri="{28A0092B-C50C-407E-A947-70E740481C1C}">
                <a14:useLocalDpi xmlns:a14="http://schemas.microsoft.com/office/drawing/2010/main"/>
              </a:ext>
            </a:extLst>
          </a:blip>
          <a:stretch>
            <a:fillRect/>
          </a:stretch>
        </p:blipFill>
        <p:spPr>
          <a:xfrm>
            <a:off x="4234039" y="2898819"/>
            <a:ext cx="568861" cy="568861"/>
          </a:xfrm>
          <a:prstGeom prst="rect">
            <a:avLst/>
          </a:prstGeom>
        </p:spPr>
      </p:pic>
      <p:pic>
        <p:nvPicPr>
          <p:cNvPr id="35" name="Billede 34"/>
          <p:cNvPicPr>
            <a:picLocks noChangeAspect="1"/>
          </p:cNvPicPr>
          <p:nvPr/>
        </p:nvPicPr>
        <p:blipFill>
          <a:blip r:embed="rId33" cstate="hqprint">
            <a:extLst>
              <a:ext uri="{28A0092B-C50C-407E-A947-70E740481C1C}">
                <a14:useLocalDpi xmlns:a14="http://schemas.microsoft.com/office/drawing/2010/main"/>
              </a:ext>
            </a:extLst>
          </a:blip>
          <a:stretch>
            <a:fillRect/>
          </a:stretch>
        </p:blipFill>
        <p:spPr>
          <a:xfrm>
            <a:off x="5641648" y="2927898"/>
            <a:ext cx="589638" cy="589638"/>
          </a:xfrm>
          <a:prstGeom prst="rect">
            <a:avLst/>
          </a:prstGeom>
        </p:spPr>
      </p:pic>
      <p:pic>
        <p:nvPicPr>
          <p:cNvPr id="36" name="Billede 35"/>
          <p:cNvPicPr>
            <a:picLocks noChangeAspect="1"/>
          </p:cNvPicPr>
          <p:nvPr/>
        </p:nvPicPr>
        <p:blipFill>
          <a:blip r:embed="rId34" cstate="hqprint">
            <a:extLst>
              <a:ext uri="{28A0092B-C50C-407E-A947-70E740481C1C}">
                <a14:useLocalDpi xmlns:a14="http://schemas.microsoft.com/office/drawing/2010/main"/>
              </a:ext>
            </a:extLst>
          </a:blip>
          <a:stretch>
            <a:fillRect/>
          </a:stretch>
        </p:blipFill>
        <p:spPr>
          <a:xfrm>
            <a:off x="6604271" y="2913686"/>
            <a:ext cx="589638" cy="589638"/>
          </a:xfrm>
          <a:prstGeom prst="rect">
            <a:avLst/>
          </a:prstGeom>
        </p:spPr>
      </p:pic>
      <p:pic>
        <p:nvPicPr>
          <p:cNvPr id="37" name="Billede 36"/>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7492823" y="2910215"/>
            <a:ext cx="589638" cy="589638"/>
          </a:xfrm>
          <a:prstGeom prst="rect">
            <a:avLst/>
          </a:prstGeom>
        </p:spPr>
      </p:pic>
      <p:pic>
        <p:nvPicPr>
          <p:cNvPr id="38" name="Billede 37"/>
          <p:cNvPicPr>
            <a:picLocks noChangeAspect="1"/>
          </p:cNvPicPr>
          <p:nvPr/>
        </p:nvPicPr>
        <p:blipFill>
          <a:blip r:embed="rId36" cstate="hqprint">
            <a:extLst>
              <a:ext uri="{28A0092B-C50C-407E-A947-70E740481C1C}">
                <a14:useLocalDpi xmlns:a14="http://schemas.microsoft.com/office/drawing/2010/main"/>
              </a:ext>
            </a:extLst>
          </a:blip>
          <a:stretch>
            <a:fillRect/>
          </a:stretch>
        </p:blipFill>
        <p:spPr>
          <a:xfrm>
            <a:off x="8386279" y="2867113"/>
            <a:ext cx="589638" cy="589638"/>
          </a:xfrm>
          <a:prstGeom prst="rect">
            <a:avLst/>
          </a:prstGeom>
        </p:spPr>
      </p:pic>
      <p:pic>
        <p:nvPicPr>
          <p:cNvPr id="39" name="Billede 38"/>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9242579" y="2867113"/>
            <a:ext cx="589638" cy="589638"/>
          </a:xfrm>
          <a:prstGeom prst="rect">
            <a:avLst/>
          </a:prstGeom>
        </p:spPr>
      </p:pic>
      <p:pic>
        <p:nvPicPr>
          <p:cNvPr id="40" name="Billede 39"/>
          <p:cNvPicPr>
            <a:picLocks noChangeAspect="1"/>
          </p:cNvPicPr>
          <p:nvPr/>
        </p:nvPicPr>
        <p:blipFill>
          <a:blip r:embed="rId38" cstate="hqprint">
            <a:extLst>
              <a:ext uri="{28A0092B-C50C-407E-A947-70E740481C1C}">
                <a14:useLocalDpi xmlns:a14="http://schemas.microsoft.com/office/drawing/2010/main"/>
              </a:ext>
            </a:extLst>
          </a:blip>
          <a:stretch>
            <a:fillRect/>
          </a:stretch>
        </p:blipFill>
        <p:spPr>
          <a:xfrm>
            <a:off x="10157908" y="2867113"/>
            <a:ext cx="589638" cy="589638"/>
          </a:xfrm>
          <a:prstGeom prst="rect">
            <a:avLst/>
          </a:prstGeom>
        </p:spPr>
      </p:pic>
      <p:pic>
        <p:nvPicPr>
          <p:cNvPr id="41" name="Billede 40"/>
          <p:cNvPicPr>
            <a:picLocks noChangeAspect="1"/>
          </p:cNvPicPr>
          <p:nvPr/>
        </p:nvPicPr>
        <p:blipFill>
          <a:blip r:embed="rId39" cstate="hqprint">
            <a:extLst>
              <a:ext uri="{28A0092B-C50C-407E-A947-70E740481C1C}">
                <a14:useLocalDpi xmlns:a14="http://schemas.microsoft.com/office/drawing/2010/main"/>
              </a:ext>
            </a:extLst>
          </a:blip>
          <a:stretch>
            <a:fillRect/>
          </a:stretch>
        </p:blipFill>
        <p:spPr>
          <a:xfrm>
            <a:off x="11034357" y="2874297"/>
            <a:ext cx="589638" cy="589638"/>
          </a:xfrm>
          <a:prstGeom prst="rect">
            <a:avLst/>
          </a:prstGeom>
        </p:spPr>
      </p:pic>
      <p:pic>
        <p:nvPicPr>
          <p:cNvPr id="42" name="Billede 41"/>
          <p:cNvPicPr>
            <a:picLocks noChangeAspect="1"/>
          </p:cNvPicPr>
          <p:nvPr/>
        </p:nvPicPr>
        <p:blipFill>
          <a:blip r:embed="rId40" cstate="hqprint">
            <a:extLst>
              <a:ext uri="{28A0092B-C50C-407E-A947-70E740481C1C}">
                <a14:useLocalDpi xmlns:a14="http://schemas.microsoft.com/office/drawing/2010/main"/>
              </a:ext>
            </a:extLst>
          </a:blip>
          <a:stretch>
            <a:fillRect/>
          </a:stretch>
        </p:blipFill>
        <p:spPr>
          <a:xfrm>
            <a:off x="10154359" y="2114945"/>
            <a:ext cx="599453" cy="599453"/>
          </a:xfrm>
          <a:prstGeom prst="rect">
            <a:avLst/>
          </a:prstGeom>
        </p:spPr>
      </p:pic>
      <p:pic>
        <p:nvPicPr>
          <p:cNvPr id="43" name="Billede 42"/>
          <p:cNvPicPr>
            <a:picLocks noChangeAspect="1"/>
          </p:cNvPicPr>
          <p:nvPr/>
        </p:nvPicPr>
        <p:blipFill>
          <a:blip r:embed="rId41" cstate="hqprint">
            <a:extLst>
              <a:ext uri="{28A0092B-C50C-407E-A947-70E740481C1C}">
                <a14:useLocalDpi xmlns:a14="http://schemas.microsoft.com/office/drawing/2010/main"/>
              </a:ext>
            </a:extLst>
          </a:blip>
          <a:stretch>
            <a:fillRect/>
          </a:stretch>
        </p:blipFill>
        <p:spPr>
          <a:xfrm>
            <a:off x="9364405" y="2160624"/>
            <a:ext cx="599453" cy="599453"/>
          </a:xfrm>
          <a:prstGeom prst="rect">
            <a:avLst/>
          </a:prstGeom>
        </p:spPr>
      </p:pic>
      <p:pic>
        <p:nvPicPr>
          <p:cNvPr id="44" name="Billede 43"/>
          <p:cNvPicPr>
            <a:picLocks noChangeAspect="1"/>
          </p:cNvPicPr>
          <p:nvPr/>
        </p:nvPicPr>
        <p:blipFill>
          <a:blip r:embed="rId42" cstate="hqprint">
            <a:extLst>
              <a:ext uri="{28A0092B-C50C-407E-A947-70E740481C1C}">
                <a14:useLocalDpi xmlns:a14="http://schemas.microsoft.com/office/drawing/2010/main"/>
              </a:ext>
            </a:extLst>
          </a:blip>
          <a:stretch>
            <a:fillRect/>
          </a:stretch>
        </p:blipFill>
        <p:spPr>
          <a:xfrm>
            <a:off x="3185914" y="3527206"/>
            <a:ext cx="589638" cy="589638"/>
          </a:xfrm>
          <a:prstGeom prst="rect">
            <a:avLst/>
          </a:prstGeom>
        </p:spPr>
      </p:pic>
      <p:pic>
        <p:nvPicPr>
          <p:cNvPr id="45" name="Billede 44"/>
          <p:cNvPicPr>
            <a:picLocks noChangeAspect="1"/>
          </p:cNvPicPr>
          <p:nvPr/>
        </p:nvPicPr>
        <p:blipFill>
          <a:blip r:embed="rId43" cstate="hqprint">
            <a:extLst>
              <a:ext uri="{28A0092B-C50C-407E-A947-70E740481C1C}">
                <a14:useLocalDpi xmlns:a14="http://schemas.microsoft.com/office/drawing/2010/main"/>
              </a:ext>
            </a:extLst>
          </a:blip>
          <a:stretch>
            <a:fillRect/>
          </a:stretch>
        </p:blipFill>
        <p:spPr>
          <a:xfrm>
            <a:off x="4075981" y="3545518"/>
            <a:ext cx="589638" cy="589638"/>
          </a:xfrm>
          <a:prstGeom prst="rect">
            <a:avLst/>
          </a:prstGeom>
        </p:spPr>
      </p:pic>
      <p:pic>
        <p:nvPicPr>
          <p:cNvPr id="46" name="Billede 45"/>
          <p:cNvPicPr>
            <a:picLocks noChangeAspect="1"/>
          </p:cNvPicPr>
          <p:nvPr/>
        </p:nvPicPr>
        <p:blipFill>
          <a:blip r:embed="rId44" cstate="hqprint">
            <a:extLst>
              <a:ext uri="{28A0092B-C50C-407E-A947-70E740481C1C}">
                <a14:useLocalDpi xmlns:a14="http://schemas.microsoft.com/office/drawing/2010/main"/>
              </a:ext>
            </a:extLst>
          </a:blip>
          <a:stretch>
            <a:fillRect/>
          </a:stretch>
        </p:blipFill>
        <p:spPr>
          <a:xfrm>
            <a:off x="4966048" y="3527206"/>
            <a:ext cx="589638" cy="589638"/>
          </a:xfrm>
          <a:prstGeom prst="rect">
            <a:avLst/>
          </a:prstGeom>
        </p:spPr>
      </p:pic>
      <p:pic>
        <p:nvPicPr>
          <p:cNvPr id="47" name="Billede 46"/>
          <p:cNvPicPr>
            <a:picLocks noChangeAspect="1"/>
          </p:cNvPicPr>
          <p:nvPr/>
        </p:nvPicPr>
        <p:blipFill>
          <a:blip r:embed="rId45" cstate="hqprint">
            <a:extLst>
              <a:ext uri="{28A0092B-C50C-407E-A947-70E740481C1C}">
                <a14:useLocalDpi xmlns:a14="http://schemas.microsoft.com/office/drawing/2010/main"/>
              </a:ext>
            </a:extLst>
          </a:blip>
          <a:stretch>
            <a:fillRect/>
          </a:stretch>
        </p:blipFill>
        <p:spPr>
          <a:xfrm>
            <a:off x="5856115" y="3527206"/>
            <a:ext cx="589638" cy="589638"/>
          </a:xfrm>
          <a:prstGeom prst="rect">
            <a:avLst/>
          </a:prstGeom>
        </p:spPr>
      </p:pic>
      <p:pic>
        <p:nvPicPr>
          <p:cNvPr id="48" name="Billede 47"/>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6329844" y="5743502"/>
            <a:ext cx="548854" cy="548854"/>
          </a:xfrm>
          <a:prstGeom prst="rect">
            <a:avLst/>
          </a:prstGeom>
        </p:spPr>
      </p:pic>
      <p:pic>
        <p:nvPicPr>
          <p:cNvPr id="50" name="Billede 49"/>
          <p:cNvPicPr>
            <a:picLocks noChangeAspect="1"/>
          </p:cNvPicPr>
          <p:nvPr/>
        </p:nvPicPr>
        <p:blipFill>
          <a:blip r:embed="rId47" cstate="hqprint">
            <a:extLst>
              <a:ext uri="{28A0092B-C50C-407E-A947-70E740481C1C}">
                <a14:useLocalDpi xmlns:a14="http://schemas.microsoft.com/office/drawing/2010/main"/>
              </a:ext>
            </a:extLst>
          </a:blip>
          <a:stretch>
            <a:fillRect/>
          </a:stretch>
        </p:blipFill>
        <p:spPr>
          <a:xfrm>
            <a:off x="6638217" y="3550926"/>
            <a:ext cx="609600" cy="609600"/>
          </a:xfrm>
          <a:prstGeom prst="rect">
            <a:avLst/>
          </a:prstGeom>
        </p:spPr>
      </p:pic>
      <p:pic>
        <p:nvPicPr>
          <p:cNvPr id="51" name="Billede 50"/>
          <p:cNvPicPr>
            <a:picLocks noChangeAspect="1"/>
          </p:cNvPicPr>
          <p:nvPr/>
        </p:nvPicPr>
        <p:blipFill>
          <a:blip r:embed="rId48" cstate="hqprint">
            <a:extLst>
              <a:ext uri="{28A0092B-C50C-407E-A947-70E740481C1C}">
                <a14:useLocalDpi xmlns:a14="http://schemas.microsoft.com/office/drawing/2010/main"/>
              </a:ext>
            </a:extLst>
          </a:blip>
          <a:stretch>
            <a:fillRect/>
          </a:stretch>
        </p:blipFill>
        <p:spPr>
          <a:xfrm>
            <a:off x="7523565" y="3550926"/>
            <a:ext cx="609600" cy="609600"/>
          </a:xfrm>
          <a:prstGeom prst="rect">
            <a:avLst/>
          </a:prstGeom>
        </p:spPr>
      </p:pic>
      <p:pic>
        <p:nvPicPr>
          <p:cNvPr id="52" name="Billede 51"/>
          <p:cNvPicPr>
            <a:picLocks noChangeAspect="1"/>
          </p:cNvPicPr>
          <p:nvPr/>
        </p:nvPicPr>
        <p:blipFill>
          <a:blip r:embed="rId49" cstate="hqprint">
            <a:extLst>
              <a:ext uri="{28A0092B-C50C-407E-A947-70E740481C1C}">
                <a14:useLocalDpi xmlns:a14="http://schemas.microsoft.com/office/drawing/2010/main"/>
              </a:ext>
            </a:extLst>
          </a:blip>
          <a:stretch>
            <a:fillRect/>
          </a:stretch>
        </p:blipFill>
        <p:spPr>
          <a:xfrm>
            <a:off x="8407935" y="3545518"/>
            <a:ext cx="609600" cy="609600"/>
          </a:xfrm>
          <a:prstGeom prst="rect">
            <a:avLst/>
          </a:prstGeom>
        </p:spPr>
      </p:pic>
      <p:pic>
        <p:nvPicPr>
          <p:cNvPr id="53" name="Billede 52"/>
          <p:cNvPicPr>
            <a:picLocks noChangeAspect="1"/>
          </p:cNvPicPr>
          <p:nvPr/>
        </p:nvPicPr>
        <p:blipFill>
          <a:blip r:embed="rId50" cstate="hqprint">
            <a:extLst>
              <a:ext uri="{28A0092B-C50C-407E-A947-70E740481C1C}">
                <a14:useLocalDpi xmlns:a14="http://schemas.microsoft.com/office/drawing/2010/main"/>
              </a:ext>
            </a:extLst>
          </a:blip>
          <a:stretch>
            <a:fillRect/>
          </a:stretch>
        </p:blipFill>
        <p:spPr>
          <a:xfrm>
            <a:off x="9325738" y="3545518"/>
            <a:ext cx="609600" cy="609600"/>
          </a:xfrm>
          <a:prstGeom prst="rect">
            <a:avLst/>
          </a:prstGeom>
        </p:spPr>
      </p:pic>
      <p:pic>
        <p:nvPicPr>
          <p:cNvPr id="54" name="Billede 53"/>
          <p:cNvPicPr>
            <a:picLocks noChangeAspect="1"/>
          </p:cNvPicPr>
          <p:nvPr/>
        </p:nvPicPr>
        <p:blipFill>
          <a:blip r:embed="rId51" cstate="hqprint">
            <a:extLst>
              <a:ext uri="{28A0092B-C50C-407E-A947-70E740481C1C}">
                <a14:useLocalDpi xmlns:a14="http://schemas.microsoft.com/office/drawing/2010/main"/>
              </a:ext>
            </a:extLst>
          </a:blip>
          <a:stretch>
            <a:fillRect/>
          </a:stretch>
        </p:blipFill>
        <p:spPr>
          <a:xfrm>
            <a:off x="10177653" y="3588226"/>
            <a:ext cx="609600" cy="609600"/>
          </a:xfrm>
          <a:prstGeom prst="rect">
            <a:avLst/>
          </a:prstGeom>
        </p:spPr>
      </p:pic>
      <p:pic>
        <p:nvPicPr>
          <p:cNvPr id="55" name="Billede 54"/>
          <p:cNvPicPr>
            <a:picLocks noChangeAspect="1"/>
          </p:cNvPicPr>
          <p:nvPr/>
        </p:nvPicPr>
        <p:blipFill>
          <a:blip r:embed="rId52" cstate="hqprint">
            <a:extLst>
              <a:ext uri="{28A0092B-C50C-407E-A947-70E740481C1C}">
                <a14:useLocalDpi xmlns:a14="http://schemas.microsoft.com/office/drawing/2010/main"/>
              </a:ext>
            </a:extLst>
          </a:blip>
          <a:stretch>
            <a:fillRect/>
          </a:stretch>
        </p:blipFill>
        <p:spPr>
          <a:xfrm>
            <a:off x="11014395" y="3579901"/>
            <a:ext cx="609600" cy="609600"/>
          </a:xfrm>
          <a:prstGeom prst="rect">
            <a:avLst/>
          </a:prstGeom>
        </p:spPr>
      </p:pic>
      <p:pic>
        <p:nvPicPr>
          <p:cNvPr id="56" name="Billede 55"/>
          <p:cNvPicPr>
            <a:picLocks noChangeAspect="1"/>
          </p:cNvPicPr>
          <p:nvPr/>
        </p:nvPicPr>
        <p:blipFill>
          <a:blip r:embed="rId53" cstate="hqprint">
            <a:extLst>
              <a:ext uri="{28A0092B-C50C-407E-A947-70E740481C1C}">
                <a14:useLocalDpi xmlns:a14="http://schemas.microsoft.com/office/drawing/2010/main"/>
              </a:ext>
            </a:extLst>
          </a:blip>
          <a:stretch>
            <a:fillRect/>
          </a:stretch>
        </p:blipFill>
        <p:spPr>
          <a:xfrm>
            <a:off x="345181" y="4411213"/>
            <a:ext cx="609600" cy="609600"/>
          </a:xfrm>
          <a:prstGeom prst="rect">
            <a:avLst/>
          </a:prstGeom>
        </p:spPr>
      </p:pic>
      <p:pic>
        <p:nvPicPr>
          <p:cNvPr id="57" name="Billede 56"/>
          <p:cNvPicPr>
            <a:picLocks noChangeAspect="1"/>
          </p:cNvPicPr>
          <p:nvPr/>
        </p:nvPicPr>
        <p:blipFill>
          <a:blip r:embed="rId54" cstate="hqprint">
            <a:extLst>
              <a:ext uri="{28A0092B-C50C-407E-A947-70E740481C1C}">
                <a14:useLocalDpi xmlns:a14="http://schemas.microsoft.com/office/drawing/2010/main"/>
              </a:ext>
            </a:extLst>
          </a:blip>
          <a:stretch>
            <a:fillRect/>
          </a:stretch>
        </p:blipFill>
        <p:spPr>
          <a:xfrm>
            <a:off x="1224625" y="4368585"/>
            <a:ext cx="589638" cy="589638"/>
          </a:xfrm>
          <a:prstGeom prst="rect">
            <a:avLst/>
          </a:prstGeom>
        </p:spPr>
      </p:pic>
      <p:pic>
        <p:nvPicPr>
          <p:cNvPr id="58" name="Billede 57"/>
          <p:cNvPicPr>
            <a:picLocks noChangeAspect="1"/>
          </p:cNvPicPr>
          <p:nvPr/>
        </p:nvPicPr>
        <p:blipFill>
          <a:blip r:embed="rId55" cstate="hqprint">
            <a:extLst>
              <a:ext uri="{28A0092B-C50C-407E-A947-70E740481C1C}">
                <a14:useLocalDpi xmlns:a14="http://schemas.microsoft.com/office/drawing/2010/main"/>
              </a:ext>
            </a:extLst>
          </a:blip>
          <a:stretch>
            <a:fillRect/>
          </a:stretch>
        </p:blipFill>
        <p:spPr>
          <a:xfrm>
            <a:off x="2082288" y="4358718"/>
            <a:ext cx="581581" cy="581581"/>
          </a:xfrm>
          <a:prstGeom prst="rect">
            <a:avLst/>
          </a:prstGeom>
        </p:spPr>
      </p:pic>
      <p:pic>
        <p:nvPicPr>
          <p:cNvPr id="59" name="Billede 58"/>
          <p:cNvPicPr>
            <a:picLocks noChangeAspect="1"/>
          </p:cNvPicPr>
          <p:nvPr/>
        </p:nvPicPr>
        <p:blipFill>
          <a:blip r:embed="rId56" cstate="hqprint">
            <a:extLst>
              <a:ext uri="{28A0092B-C50C-407E-A947-70E740481C1C}">
                <a14:useLocalDpi xmlns:a14="http://schemas.microsoft.com/office/drawing/2010/main"/>
              </a:ext>
            </a:extLst>
          </a:blip>
          <a:stretch>
            <a:fillRect/>
          </a:stretch>
        </p:blipFill>
        <p:spPr>
          <a:xfrm>
            <a:off x="3004759" y="4378973"/>
            <a:ext cx="568861" cy="568861"/>
          </a:xfrm>
          <a:prstGeom prst="rect">
            <a:avLst/>
          </a:prstGeom>
        </p:spPr>
      </p:pic>
      <p:pic>
        <p:nvPicPr>
          <p:cNvPr id="60" name="Billede 59"/>
          <p:cNvPicPr>
            <a:picLocks noChangeAspect="1"/>
          </p:cNvPicPr>
          <p:nvPr/>
        </p:nvPicPr>
        <p:blipFill>
          <a:blip r:embed="rId57" cstate="hqprint">
            <a:extLst>
              <a:ext uri="{28A0092B-C50C-407E-A947-70E740481C1C}">
                <a14:useLocalDpi xmlns:a14="http://schemas.microsoft.com/office/drawing/2010/main"/>
              </a:ext>
            </a:extLst>
          </a:blip>
          <a:stretch>
            <a:fillRect/>
          </a:stretch>
        </p:blipFill>
        <p:spPr>
          <a:xfrm>
            <a:off x="3858906" y="4358718"/>
            <a:ext cx="568861" cy="568861"/>
          </a:xfrm>
          <a:prstGeom prst="rect">
            <a:avLst/>
          </a:prstGeom>
        </p:spPr>
      </p:pic>
      <p:pic>
        <p:nvPicPr>
          <p:cNvPr id="61" name="Billede 60"/>
          <p:cNvPicPr>
            <a:picLocks noChangeAspect="1"/>
          </p:cNvPicPr>
          <p:nvPr/>
        </p:nvPicPr>
        <p:blipFill>
          <a:blip r:embed="rId58" cstate="hqprint">
            <a:extLst>
              <a:ext uri="{28A0092B-C50C-407E-A947-70E740481C1C}">
                <a14:useLocalDpi xmlns:a14="http://schemas.microsoft.com/office/drawing/2010/main"/>
              </a:ext>
            </a:extLst>
          </a:blip>
          <a:stretch>
            <a:fillRect/>
          </a:stretch>
        </p:blipFill>
        <p:spPr>
          <a:xfrm>
            <a:off x="2442175" y="3615063"/>
            <a:ext cx="589638" cy="589638"/>
          </a:xfrm>
          <a:prstGeom prst="rect">
            <a:avLst/>
          </a:prstGeom>
        </p:spPr>
      </p:pic>
      <p:pic>
        <p:nvPicPr>
          <p:cNvPr id="62" name="Billede 61"/>
          <p:cNvPicPr>
            <a:picLocks noChangeAspect="1"/>
          </p:cNvPicPr>
          <p:nvPr/>
        </p:nvPicPr>
        <p:blipFill>
          <a:blip r:embed="rId59" cstate="hqprint">
            <a:extLst>
              <a:ext uri="{28A0092B-C50C-407E-A947-70E740481C1C}">
                <a14:useLocalDpi xmlns:a14="http://schemas.microsoft.com/office/drawing/2010/main"/>
              </a:ext>
            </a:extLst>
          </a:blip>
          <a:stretch>
            <a:fillRect/>
          </a:stretch>
        </p:blipFill>
        <p:spPr>
          <a:xfrm>
            <a:off x="1738966" y="3597205"/>
            <a:ext cx="589638" cy="589638"/>
          </a:xfrm>
          <a:prstGeom prst="rect">
            <a:avLst/>
          </a:prstGeom>
        </p:spPr>
      </p:pic>
      <p:pic>
        <p:nvPicPr>
          <p:cNvPr id="63" name="Billede 62"/>
          <p:cNvPicPr>
            <a:picLocks noChangeAspect="1"/>
          </p:cNvPicPr>
          <p:nvPr/>
        </p:nvPicPr>
        <p:blipFill>
          <a:blip r:embed="rId60" cstate="hqprint">
            <a:extLst>
              <a:ext uri="{28A0092B-C50C-407E-A947-70E740481C1C}">
                <a14:useLocalDpi xmlns:a14="http://schemas.microsoft.com/office/drawing/2010/main"/>
              </a:ext>
            </a:extLst>
          </a:blip>
          <a:stretch>
            <a:fillRect/>
          </a:stretch>
        </p:blipFill>
        <p:spPr>
          <a:xfrm>
            <a:off x="6653306" y="4333403"/>
            <a:ext cx="579422" cy="579422"/>
          </a:xfrm>
          <a:prstGeom prst="rect">
            <a:avLst/>
          </a:prstGeom>
        </p:spPr>
      </p:pic>
      <p:pic>
        <p:nvPicPr>
          <p:cNvPr id="64" name="Billede 63"/>
          <p:cNvPicPr>
            <a:picLocks noChangeAspect="1"/>
          </p:cNvPicPr>
          <p:nvPr/>
        </p:nvPicPr>
        <p:blipFill>
          <a:blip r:embed="rId61" cstate="hqprint">
            <a:extLst>
              <a:ext uri="{28A0092B-C50C-407E-A947-70E740481C1C}">
                <a14:useLocalDpi xmlns:a14="http://schemas.microsoft.com/office/drawing/2010/main"/>
              </a:ext>
            </a:extLst>
          </a:blip>
          <a:stretch>
            <a:fillRect/>
          </a:stretch>
        </p:blipFill>
        <p:spPr>
          <a:xfrm>
            <a:off x="7458899" y="4290311"/>
            <a:ext cx="599453" cy="599453"/>
          </a:xfrm>
          <a:prstGeom prst="rect">
            <a:avLst/>
          </a:prstGeom>
        </p:spPr>
      </p:pic>
      <p:pic>
        <p:nvPicPr>
          <p:cNvPr id="68" name="Billede 67"/>
          <p:cNvPicPr>
            <a:picLocks noChangeAspect="1"/>
          </p:cNvPicPr>
          <p:nvPr/>
        </p:nvPicPr>
        <p:blipFill>
          <a:blip r:embed="rId62" cstate="hqprint">
            <a:extLst>
              <a:ext uri="{28A0092B-C50C-407E-A947-70E740481C1C}">
                <a14:useLocalDpi xmlns:a14="http://schemas.microsoft.com/office/drawing/2010/main"/>
              </a:ext>
            </a:extLst>
          </a:blip>
          <a:stretch>
            <a:fillRect/>
          </a:stretch>
        </p:blipFill>
        <p:spPr>
          <a:xfrm>
            <a:off x="8204232" y="4333403"/>
            <a:ext cx="589638" cy="589638"/>
          </a:xfrm>
          <a:prstGeom prst="rect">
            <a:avLst/>
          </a:prstGeom>
        </p:spPr>
      </p:pic>
      <p:pic>
        <p:nvPicPr>
          <p:cNvPr id="70" name="Billede 69"/>
          <p:cNvPicPr>
            <a:picLocks noChangeAspect="1"/>
          </p:cNvPicPr>
          <p:nvPr/>
        </p:nvPicPr>
        <p:blipFill>
          <a:blip r:embed="rId63" cstate="hqprint">
            <a:extLst>
              <a:ext uri="{28A0092B-C50C-407E-A947-70E740481C1C}">
                <a14:useLocalDpi xmlns:a14="http://schemas.microsoft.com/office/drawing/2010/main"/>
              </a:ext>
            </a:extLst>
          </a:blip>
          <a:stretch>
            <a:fillRect/>
          </a:stretch>
        </p:blipFill>
        <p:spPr>
          <a:xfrm>
            <a:off x="7683895" y="5701430"/>
            <a:ext cx="589638" cy="589638"/>
          </a:xfrm>
          <a:prstGeom prst="rect">
            <a:avLst/>
          </a:prstGeom>
        </p:spPr>
      </p:pic>
      <p:pic>
        <p:nvPicPr>
          <p:cNvPr id="71" name="Billede 70"/>
          <p:cNvPicPr>
            <a:picLocks noChangeAspect="1"/>
          </p:cNvPicPr>
          <p:nvPr/>
        </p:nvPicPr>
        <p:blipFill>
          <a:blip r:embed="rId64" cstate="hqprint">
            <a:extLst>
              <a:ext uri="{28A0092B-C50C-407E-A947-70E740481C1C}">
                <a14:useLocalDpi xmlns:a14="http://schemas.microsoft.com/office/drawing/2010/main"/>
              </a:ext>
            </a:extLst>
          </a:blip>
          <a:stretch>
            <a:fillRect/>
          </a:stretch>
        </p:blipFill>
        <p:spPr>
          <a:xfrm>
            <a:off x="1898940" y="5091830"/>
            <a:ext cx="609600" cy="609600"/>
          </a:xfrm>
          <a:prstGeom prst="rect">
            <a:avLst/>
          </a:prstGeom>
        </p:spPr>
      </p:pic>
      <p:pic>
        <p:nvPicPr>
          <p:cNvPr id="72" name="Billede 71"/>
          <p:cNvPicPr>
            <a:picLocks noChangeAspect="1"/>
          </p:cNvPicPr>
          <p:nvPr/>
        </p:nvPicPr>
        <p:blipFill>
          <a:blip r:embed="rId65" cstate="hqprint">
            <a:extLst>
              <a:ext uri="{28A0092B-C50C-407E-A947-70E740481C1C}">
                <a14:useLocalDpi xmlns:a14="http://schemas.microsoft.com/office/drawing/2010/main"/>
              </a:ext>
            </a:extLst>
          </a:blip>
          <a:stretch>
            <a:fillRect/>
          </a:stretch>
        </p:blipFill>
        <p:spPr>
          <a:xfrm>
            <a:off x="2832795" y="5115667"/>
            <a:ext cx="609600" cy="609600"/>
          </a:xfrm>
          <a:prstGeom prst="rect">
            <a:avLst/>
          </a:prstGeom>
        </p:spPr>
      </p:pic>
      <p:pic>
        <p:nvPicPr>
          <p:cNvPr id="73" name="Billede 72"/>
          <p:cNvPicPr>
            <a:picLocks noChangeAspect="1"/>
          </p:cNvPicPr>
          <p:nvPr/>
        </p:nvPicPr>
        <p:blipFill>
          <a:blip r:embed="rId66" cstate="hqprint">
            <a:extLst>
              <a:ext uri="{28A0092B-C50C-407E-A947-70E740481C1C}">
                <a14:useLocalDpi xmlns:a14="http://schemas.microsoft.com/office/drawing/2010/main"/>
              </a:ext>
            </a:extLst>
          </a:blip>
          <a:stretch>
            <a:fillRect/>
          </a:stretch>
        </p:blipFill>
        <p:spPr>
          <a:xfrm>
            <a:off x="3755707" y="5117654"/>
            <a:ext cx="589638" cy="589638"/>
          </a:xfrm>
          <a:prstGeom prst="rect">
            <a:avLst/>
          </a:prstGeom>
        </p:spPr>
      </p:pic>
      <p:pic>
        <p:nvPicPr>
          <p:cNvPr id="74" name="Billede 73"/>
          <p:cNvPicPr>
            <a:picLocks noChangeAspect="1"/>
          </p:cNvPicPr>
          <p:nvPr/>
        </p:nvPicPr>
        <p:blipFill>
          <a:blip r:embed="rId67" cstate="hqprint">
            <a:extLst>
              <a:ext uri="{28A0092B-C50C-407E-A947-70E740481C1C}">
                <a14:useLocalDpi xmlns:a14="http://schemas.microsoft.com/office/drawing/2010/main"/>
              </a:ext>
            </a:extLst>
          </a:blip>
          <a:stretch>
            <a:fillRect/>
          </a:stretch>
        </p:blipFill>
        <p:spPr>
          <a:xfrm>
            <a:off x="4652388" y="5091830"/>
            <a:ext cx="589638" cy="589638"/>
          </a:xfrm>
          <a:prstGeom prst="rect">
            <a:avLst/>
          </a:prstGeom>
        </p:spPr>
      </p:pic>
      <p:pic>
        <p:nvPicPr>
          <p:cNvPr id="75" name="Billede 74"/>
          <p:cNvPicPr>
            <a:picLocks noChangeAspect="1"/>
          </p:cNvPicPr>
          <p:nvPr/>
        </p:nvPicPr>
        <p:blipFill>
          <a:blip r:embed="rId68" cstate="hqprint">
            <a:extLst>
              <a:ext uri="{28A0092B-C50C-407E-A947-70E740481C1C}">
                <a14:useLocalDpi xmlns:a14="http://schemas.microsoft.com/office/drawing/2010/main"/>
              </a:ext>
            </a:extLst>
          </a:blip>
          <a:stretch>
            <a:fillRect/>
          </a:stretch>
        </p:blipFill>
        <p:spPr>
          <a:xfrm>
            <a:off x="4903806" y="2901495"/>
            <a:ext cx="568861" cy="568861"/>
          </a:xfrm>
          <a:prstGeom prst="rect">
            <a:avLst/>
          </a:prstGeom>
        </p:spPr>
      </p:pic>
      <p:pic>
        <p:nvPicPr>
          <p:cNvPr id="49" name="Picture 48"/>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11014395" y="1356816"/>
            <a:ext cx="576735" cy="576735"/>
          </a:xfrm>
          <a:prstGeom prst="rect">
            <a:avLst/>
          </a:prstGeom>
        </p:spPr>
      </p:pic>
      <p:pic>
        <p:nvPicPr>
          <p:cNvPr id="76" name="Picture 75"/>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4176201" y="5829493"/>
            <a:ext cx="722236" cy="722236"/>
          </a:xfrm>
          <a:prstGeom prst="rect">
            <a:avLst/>
          </a:prstGeom>
        </p:spPr>
      </p:pic>
    </p:spTree>
    <p:extLst>
      <p:ext uri="{BB962C8B-B14F-4D97-AF65-F5344CB8AC3E}">
        <p14:creationId xmlns:p14="http://schemas.microsoft.com/office/powerpoint/2010/main" val="29103065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Text Placeholder 285">
            <a:extLst>
              <a:ext uri="{FF2B5EF4-FFF2-40B4-BE49-F238E27FC236}">
                <a16:creationId xmlns:a16="http://schemas.microsoft.com/office/drawing/2014/main" id="{E8CCFA52-E0F7-2F45-8B17-31EAA1C8C53F}"/>
              </a:ext>
            </a:extLst>
          </p:cNvPr>
          <p:cNvSpPr>
            <a:spLocks noGrp="1"/>
          </p:cNvSpPr>
          <p:nvPr>
            <p:ph type="body" sz="quarter" idx="13"/>
          </p:nvPr>
        </p:nvSpPr>
        <p:spPr/>
        <p:txBody>
          <a:bodyPr/>
          <a:lstStyle/>
          <a:p>
            <a:endParaRPr lang="en-GB"/>
          </a:p>
        </p:txBody>
      </p:sp>
      <p:sp>
        <p:nvSpPr>
          <p:cNvPr id="287" name="Text Placeholder 286">
            <a:extLst>
              <a:ext uri="{FF2B5EF4-FFF2-40B4-BE49-F238E27FC236}">
                <a16:creationId xmlns:a16="http://schemas.microsoft.com/office/drawing/2014/main" id="{08AD4AEC-ED29-654F-9A23-692BFD10195E}"/>
              </a:ext>
            </a:extLst>
          </p:cNvPr>
          <p:cNvSpPr>
            <a:spLocks noGrp="1"/>
          </p:cNvSpPr>
          <p:nvPr>
            <p:ph type="body" sz="quarter" idx="15"/>
          </p:nvPr>
        </p:nvSpPr>
        <p:spPr/>
        <p:txBody>
          <a:bodyPr/>
          <a:lstStyle/>
          <a:p>
            <a:endParaRPr lang="en-GB"/>
          </a:p>
        </p:txBody>
      </p:sp>
      <p:sp>
        <p:nvSpPr>
          <p:cNvPr id="2" name="Titel 1"/>
          <p:cNvSpPr>
            <a:spLocks noGrp="1"/>
          </p:cNvSpPr>
          <p:nvPr>
            <p:ph type="title"/>
          </p:nvPr>
        </p:nvSpPr>
        <p:spPr/>
        <p:txBody>
          <a:bodyPr>
            <a:noAutofit/>
          </a:bodyPr>
          <a:lstStyle/>
          <a:p>
            <a:r>
              <a:rPr lang="da-DK" dirty="0"/>
              <a:t>Second </a:t>
            </a:r>
            <a:r>
              <a:rPr lang="da-DK" dirty="0" err="1"/>
              <a:t>priority</a:t>
            </a:r>
            <a:r>
              <a:rPr lang="da-DK" dirty="0"/>
              <a:t> </a:t>
            </a:r>
            <a:r>
              <a:rPr lang="da-DK" dirty="0" err="1"/>
              <a:t>icons</a:t>
            </a:r>
            <a:r>
              <a:rPr lang="da-DK" dirty="0"/>
              <a:t>, </a:t>
            </a:r>
            <a:r>
              <a:rPr lang="da-DK" dirty="0" err="1"/>
              <a:t>should</a:t>
            </a:r>
            <a:r>
              <a:rPr lang="da-DK" dirty="0"/>
              <a:t> </a:t>
            </a:r>
            <a:r>
              <a:rPr lang="da-DK" dirty="0" err="1"/>
              <a:t>be</a:t>
            </a:r>
            <a:r>
              <a:rPr lang="da-DK" dirty="0"/>
              <a:t> </a:t>
            </a:r>
            <a:r>
              <a:rPr lang="da-DK" dirty="0" err="1"/>
              <a:t>used</a:t>
            </a:r>
            <a:r>
              <a:rPr lang="da-DK" dirty="0"/>
              <a:t> </a:t>
            </a:r>
            <a:r>
              <a:rPr lang="da-DK" dirty="0" err="1"/>
              <a:t>colored</a:t>
            </a:r>
            <a:r>
              <a:rPr lang="da-DK" dirty="0"/>
              <a:t> and with </a:t>
            </a:r>
            <a:r>
              <a:rPr lang="da-DK" dirty="0" err="1"/>
              <a:t>no</a:t>
            </a:r>
            <a:r>
              <a:rPr lang="da-DK" dirty="0"/>
              <a:t>/</a:t>
            </a:r>
            <a:r>
              <a:rPr lang="da-DK" dirty="0" err="1"/>
              <a:t>white</a:t>
            </a:r>
            <a:r>
              <a:rPr lang="da-DK" dirty="0"/>
              <a:t> lines – </a:t>
            </a:r>
            <a:r>
              <a:rPr lang="da-DK" dirty="0" err="1"/>
              <a:t>then</a:t>
            </a:r>
            <a:r>
              <a:rPr lang="da-DK" dirty="0"/>
              <a:t> </a:t>
            </a:r>
            <a:r>
              <a:rPr lang="da-DK" dirty="0" err="1"/>
              <a:t>they</a:t>
            </a:r>
            <a:r>
              <a:rPr lang="da-DK" dirty="0"/>
              <a:t> </a:t>
            </a:r>
            <a:r>
              <a:rPr lang="da-DK" dirty="0" err="1"/>
              <a:t>almost</a:t>
            </a:r>
            <a:r>
              <a:rPr lang="da-DK" dirty="0"/>
              <a:t> look </a:t>
            </a:r>
            <a:r>
              <a:rPr lang="da-DK" dirty="0" err="1"/>
              <a:t>like</a:t>
            </a:r>
            <a:r>
              <a:rPr lang="da-DK" dirty="0"/>
              <a:t> the </a:t>
            </a:r>
            <a:r>
              <a:rPr lang="da-DK" dirty="0" err="1"/>
              <a:t>prettyyyy</a:t>
            </a:r>
            <a:r>
              <a:rPr lang="da-DK" dirty="0"/>
              <a:t> </a:t>
            </a:r>
            <a:r>
              <a:rPr lang="da-DK" dirty="0" err="1"/>
              <a:t>icons</a:t>
            </a:r>
            <a:endParaRPr lang="da-DK" dirty="0"/>
          </a:p>
        </p:txBody>
      </p:sp>
      <p:grpSp>
        <p:nvGrpSpPr>
          <p:cNvPr id="3" name="Shape 332"/>
          <p:cNvGrpSpPr/>
          <p:nvPr/>
        </p:nvGrpSpPr>
        <p:grpSpPr>
          <a:xfrm>
            <a:off x="2702081" y="1727794"/>
            <a:ext cx="317047" cy="400966"/>
            <a:chOff x="584925" y="238125"/>
            <a:chExt cx="415200" cy="525100"/>
          </a:xfrm>
        </p:grpSpPr>
        <p:sp>
          <p:nvSpPr>
            <p:cNvPr id="4" name="Shape 333"/>
            <p:cNvSpPr/>
            <p:nvPr/>
          </p:nvSpPr>
          <p:spPr>
            <a:xfrm>
              <a:off x="621550" y="299175"/>
              <a:ext cx="378575" cy="464050"/>
            </a:xfrm>
            <a:custGeom>
              <a:avLst/>
              <a:gdLst/>
              <a:ahLst/>
              <a:cxnLst/>
              <a:rect l="0" t="0" r="0" b="0"/>
              <a:pathLst>
                <a:path w="15143" h="18562" extrusionOk="0">
                  <a:moveTo>
                    <a:pt x="14166" y="0"/>
                  </a:moveTo>
                  <a:lnTo>
                    <a:pt x="14166" y="16755"/>
                  </a:lnTo>
                  <a:lnTo>
                    <a:pt x="14141" y="16926"/>
                  </a:lnTo>
                  <a:lnTo>
                    <a:pt x="14093" y="17072"/>
                  </a:lnTo>
                  <a:lnTo>
                    <a:pt x="14044" y="17194"/>
                  </a:lnTo>
                  <a:lnTo>
                    <a:pt x="13946" y="17341"/>
                  </a:lnTo>
                  <a:lnTo>
                    <a:pt x="13824" y="17438"/>
                  </a:lnTo>
                  <a:lnTo>
                    <a:pt x="13677" y="17512"/>
                  </a:lnTo>
                  <a:lnTo>
                    <a:pt x="13531" y="17561"/>
                  </a:lnTo>
                  <a:lnTo>
                    <a:pt x="13384" y="17585"/>
                  </a:lnTo>
                  <a:lnTo>
                    <a:pt x="0" y="17585"/>
                  </a:lnTo>
                  <a:lnTo>
                    <a:pt x="0" y="17731"/>
                  </a:lnTo>
                  <a:lnTo>
                    <a:pt x="25" y="17902"/>
                  </a:lnTo>
                  <a:lnTo>
                    <a:pt x="74" y="18049"/>
                  </a:lnTo>
                  <a:lnTo>
                    <a:pt x="123" y="18171"/>
                  </a:lnTo>
                  <a:lnTo>
                    <a:pt x="220" y="18318"/>
                  </a:lnTo>
                  <a:lnTo>
                    <a:pt x="342" y="18415"/>
                  </a:lnTo>
                  <a:lnTo>
                    <a:pt x="489" y="18489"/>
                  </a:lnTo>
                  <a:lnTo>
                    <a:pt x="635" y="18537"/>
                  </a:lnTo>
                  <a:lnTo>
                    <a:pt x="782" y="18562"/>
                  </a:lnTo>
                  <a:lnTo>
                    <a:pt x="14361" y="18562"/>
                  </a:lnTo>
                  <a:lnTo>
                    <a:pt x="14508" y="18537"/>
                  </a:lnTo>
                  <a:lnTo>
                    <a:pt x="14654" y="18489"/>
                  </a:lnTo>
                  <a:lnTo>
                    <a:pt x="14801" y="18415"/>
                  </a:lnTo>
                  <a:lnTo>
                    <a:pt x="14923" y="18318"/>
                  </a:lnTo>
                  <a:lnTo>
                    <a:pt x="15021" y="18171"/>
                  </a:lnTo>
                  <a:lnTo>
                    <a:pt x="15069" y="18049"/>
                  </a:lnTo>
                  <a:lnTo>
                    <a:pt x="15118" y="17902"/>
                  </a:lnTo>
                  <a:lnTo>
                    <a:pt x="15143" y="17731"/>
                  </a:lnTo>
                  <a:lnTo>
                    <a:pt x="15143" y="733"/>
                  </a:lnTo>
                  <a:lnTo>
                    <a:pt x="15118" y="586"/>
                  </a:lnTo>
                  <a:lnTo>
                    <a:pt x="15069" y="440"/>
                  </a:lnTo>
                  <a:lnTo>
                    <a:pt x="15021" y="318"/>
                  </a:lnTo>
                  <a:lnTo>
                    <a:pt x="14923" y="196"/>
                  </a:lnTo>
                  <a:lnTo>
                    <a:pt x="14801" y="122"/>
                  </a:lnTo>
                  <a:lnTo>
                    <a:pt x="14654" y="49"/>
                  </a:lnTo>
                  <a:lnTo>
                    <a:pt x="14508" y="25"/>
                  </a:lnTo>
                  <a:lnTo>
                    <a:pt x="1436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5" name="Shape 334"/>
            <p:cNvSpPr/>
            <p:nvPr/>
          </p:nvSpPr>
          <p:spPr>
            <a:xfrm>
              <a:off x="633750" y="238125"/>
              <a:ext cx="29350" cy="63500"/>
            </a:xfrm>
            <a:custGeom>
              <a:avLst/>
              <a:gdLst/>
              <a:ahLst/>
              <a:cxnLst/>
              <a:rect l="0" t="0" r="0" b="0"/>
              <a:pathLst>
                <a:path w="1174" h="2540" extrusionOk="0">
                  <a:moveTo>
                    <a:pt x="392" y="0"/>
                  </a:moveTo>
                  <a:lnTo>
                    <a:pt x="294" y="49"/>
                  </a:lnTo>
                  <a:lnTo>
                    <a:pt x="221" y="73"/>
                  </a:lnTo>
                  <a:lnTo>
                    <a:pt x="147" y="147"/>
                  </a:lnTo>
                  <a:lnTo>
                    <a:pt x="74" y="220"/>
                  </a:lnTo>
                  <a:lnTo>
                    <a:pt x="50" y="293"/>
                  </a:lnTo>
                  <a:lnTo>
                    <a:pt x="1" y="391"/>
                  </a:lnTo>
                  <a:lnTo>
                    <a:pt x="1" y="488"/>
                  </a:lnTo>
                  <a:lnTo>
                    <a:pt x="1" y="2052"/>
                  </a:lnTo>
                  <a:lnTo>
                    <a:pt x="1" y="2149"/>
                  </a:lnTo>
                  <a:lnTo>
                    <a:pt x="50" y="2247"/>
                  </a:lnTo>
                  <a:lnTo>
                    <a:pt x="74" y="2320"/>
                  </a:lnTo>
                  <a:lnTo>
                    <a:pt x="147" y="2393"/>
                  </a:lnTo>
                  <a:lnTo>
                    <a:pt x="221" y="2467"/>
                  </a:lnTo>
                  <a:lnTo>
                    <a:pt x="294" y="2491"/>
                  </a:lnTo>
                  <a:lnTo>
                    <a:pt x="392" y="2540"/>
                  </a:lnTo>
                  <a:lnTo>
                    <a:pt x="782" y="2540"/>
                  </a:lnTo>
                  <a:lnTo>
                    <a:pt x="880" y="2491"/>
                  </a:lnTo>
                  <a:lnTo>
                    <a:pt x="953" y="2467"/>
                  </a:lnTo>
                  <a:lnTo>
                    <a:pt x="1027" y="2393"/>
                  </a:lnTo>
                  <a:lnTo>
                    <a:pt x="1100" y="2320"/>
                  </a:lnTo>
                  <a:lnTo>
                    <a:pt x="1124" y="2247"/>
                  </a:lnTo>
                  <a:lnTo>
                    <a:pt x="1173" y="2149"/>
                  </a:lnTo>
                  <a:lnTo>
                    <a:pt x="1173" y="2052"/>
                  </a:lnTo>
                  <a:lnTo>
                    <a:pt x="1173" y="488"/>
                  </a:lnTo>
                  <a:lnTo>
                    <a:pt x="1173" y="391"/>
                  </a:lnTo>
                  <a:lnTo>
                    <a:pt x="1124" y="293"/>
                  </a:lnTo>
                  <a:lnTo>
                    <a:pt x="1100" y="220"/>
                  </a:lnTo>
                  <a:lnTo>
                    <a:pt x="1027" y="147"/>
                  </a:lnTo>
                  <a:lnTo>
                    <a:pt x="953" y="73"/>
                  </a:lnTo>
                  <a:lnTo>
                    <a:pt x="880" y="49"/>
                  </a:lnTo>
                  <a:lnTo>
                    <a:pt x="78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6" name="Shape 335"/>
            <p:cNvSpPr/>
            <p:nvPr/>
          </p:nvSpPr>
          <p:spPr>
            <a:xfrm>
              <a:off x="716800" y="238125"/>
              <a:ext cx="29325" cy="63500"/>
            </a:xfrm>
            <a:custGeom>
              <a:avLst/>
              <a:gdLst/>
              <a:ahLst/>
              <a:cxnLst/>
              <a:rect l="0" t="0" r="0" b="0"/>
              <a:pathLst>
                <a:path w="1173" h="2540" extrusionOk="0">
                  <a:moveTo>
                    <a:pt x="391" y="0"/>
                  </a:moveTo>
                  <a:lnTo>
                    <a:pt x="294" y="49"/>
                  </a:lnTo>
                  <a:lnTo>
                    <a:pt x="220" y="73"/>
                  </a:lnTo>
                  <a:lnTo>
                    <a:pt x="147" y="147"/>
                  </a:lnTo>
                  <a:lnTo>
                    <a:pt x="74" y="220"/>
                  </a:lnTo>
                  <a:lnTo>
                    <a:pt x="49" y="293"/>
                  </a:lnTo>
                  <a:lnTo>
                    <a:pt x="0" y="391"/>
                  </a:lnTo>
                  <a:lnTo>
                    <a:pt x="0" y="488"/>
                  </a:lnTo>
                  <a:lnTo>
                    <a:pt x="0" y="2052"/>
                  </a:lnTo>
                  <a:lnTo>
                    <a:pt x="0" y="2149"/>
                  </a:lnTo>
                  <a:lnTo>
                    <a:pt x="49" y="2247"/>
                  </a:lnTo>
                  <a:lnTo>
                    <a:pt x="74" y="2320"/>
                  </a:lnTo>
                  <a:lnTo>
                    <a:pt x="147" y="2393"/>
                  </a:lnTo>
                  <a:lnTo>
                    <a:pt x="220" y="2467"/>
                  </a:lnTo>
                  <a:lnTo>
                    <a:pt x="294" y="2491"/>
                  </a:lnTo>
                  <a:lnTo>
                    <a:pt x="391" y="2540"/>
                  </a:lnTo>
                  <a:lnTo>
                    <a:pt x="782" y="2540"/>
                  </a:lnTo>
                  <a:lnTo>
                    <a:pt x="880" y="2491"/>
                  </a:lnTo>
                  <a:lnTo>
                    <a:pt x="953" y="2467"/>
                  </a:lnTo>
                  <a:lnTo>
                    <a:pt x="1026" y="2393"/>
                  </a:lnTo>
                  <a:lnTo>
                    <a:pt x="1099" y="2320"/>
                  </a:lnTo>
                  <a:lnTo>
                    <a:pt x="1124" y="2247"/>
                  </a:lnTo>
                  <a:lnTo>
                    <a:pt x="1173" y="2149"/>
                  </a:lnTo>
                  <a:lnTo>
                    <a:pt x="1173" y="2052"/>
                  </a:lnTo>
                  <a:lnTo>
                    <a:pt x="1173" y="488"/>
                  </a:lnTo>
                  <a:lnTo>
                    <a:pt x="1173" y="391"/>
                  </a:lnTo>
                  <a:lnTo>
                    <a:pt x="1124" y="293"/>
                  </a:lnTo>
                  <a:lnTo>
                    <a:pt x="1099" y="220"/>
                  </a:lnTo>
                  <a:lnTo>
                    <a:pt x="1026" y="147"/>
                  </a:lnTo>
                  <a:lnTo>
                    <a:pt x="953" y="73"/>
                  </a:lnTo>
                  <a:lnTo>
                    <a:pt x="880" y="49"/>
                  </a:lnTo>
                  <a:lnTo>
                    <a:pt x="78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7" name="Shape 336"/>
            <p:cNvSpPr/>
            <p:nvPr/>
          </p:nvSpPr>
          <p:spPr>
            <a:xfrm>
              <a:off x="799825" y="238125"/>
              <a:ext cx="29350" cy="63500"/>
            </a:xfrm>
            <a:custGeom>
              <a:avLst/>
              <a:gdLst/>
              <a:ahLst/>
              <a:cxnLst/>
              <a:rect l="0" t="0" r="0" b="0"/>
              <a:pathLst>
                <a:path w="1174" h="2540" extrusionOk="0">
                  <a:moveTo>
                    <a:pt x="392" y="0"/>
                  </a:moveTo>
                  <a:lnTo>
                    <a:pt x="294" y="49"/>
                  </a:lnTo>
                  <a:lnTo>
                    <a:pt x="221" y="73"/>
                  </a:lnTo>
                  <a:lnTo>
                    <a:pt x="148" y="147"/>
                  </a:lnTo>
                  <a:lnTo>
                    <a:pt x="74" y="220"/>
                  </a:lnTo>
                  <a:lnTo>
                    <a:pt x="50" y="293"/>
                  </a:lnTo>
                  <a:lnTo>
                    <a:pt x="1" y="391"/>
                  </a:lnTo>
                  <a:lnTo>
                    <a:pt x="1" y="488"/>
                  </a:lnTo>
                  <a:lnTo>
                    <a:pt x="1" y="2052"/>
                  </a:lnTo>
                  <a:lnTo>
                    <a:pt x="1" y="2149"/>
                  </a:lnTo>
                  <a:lnTo>
                    <a:pt x="50" y="2247"/>
                  </a:lnTo>
                  <a:lnTo>
                    <a:pt x="74" y="2320"/>
                  </a:lnTo>
                  <a:lnTo>
                    <a:pt x="148" y="2393"/>
                  </a:lnTo>
                  <a:lnTo>
                    <a:pt x="221" y="2467"/>
                  </a:lnTo>
                  <a:lnTo>
                    <a:pt x="294" y="2491"/>
                  </a:lnTo>
                  <a:lnTo>
                    <a:pt x="392" y="2540"/>
                  </a:lnTo>
                  <a:lnTo>
                    <a:pt x="783" y="2540"/>
                  </a:lnTo>
                  <a:lnTo>
                    <a:pt x="880" y="2491"/>
                  </a:lnTo>
                  <a:lnTo>
                    <a:pt x="953" y="2467"/>
                  </a:lnTo>
                  <a:lnTo>
                    <a:pt x="1027" y="2393"/>
                  </a:lnTo>
                  <a:lnTo>
                    <a:pt x="1100" y="2320"/>
                  </a:lnTo>
                  <a:lnTo>
                    <a:pt x="1124" y="2247"/>
                  </a:lnTo>
                  <a:lnTo>
                    <a:pt x="1173" y="2149"/>
                  </a:lnTo>
                  <a:lnTo>
                    <a:pt x="1173" y="2052"/>
                  </a:lnTo>
                  <a:lnTo>
                    <a:pt x="1173" y="488"/>
                  </a:lnTo>
                  <a:lnTo>
                    <a:pt x="1173" y="391"/>
                  </a:lnTo>
                  <a:lnTo>
                    <a:pt x="1124" y="293"/>
                  </a:lnTo>
                  <a:lnTo>
                    <a:pt x="1100" y="220"/>
                  </a:lnTo>
                  <a:lnTo>
                    <a:pt x="1027" y="147"/>
                  </a:lnTo>
                  <a:lnTo>
                    <a:pt x="953" y="73"/>
                  </a:lnTo>
                  <a:lnTo>
                    <a:pt x="880" y="49"/>
                  </a:lnTo>
                  <a:lnTo>
                    <a:pt x="78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8" name="Shape 337"/>
            <p:cNvSpPr/>
            <p:nvPr/>
          </p:nvSpPr>
          <p:spPr>
            <a:xfrm>
              <a:off x="882875" y="238125"/>
              <a:ext cx="29325" cy="63500"/>
            </a:xfrm>
            <a:custGeom>
              <a:avLst/>
              <a:gdLst/>
              <a:ahLst/>
              <a:cxnLst/>
              <a:rect l="0" t="0" r="0" b="0"/>
              <a:pathLst>
                <a:path w="1173" h="2540" extrusionOk="0">
                  <a:moveTo>
                    <a:pt x="391" y="0"/>
                  </a:moveTo>
                  <a:lnTo>
                    <a:pt x="294" y="49"/>
                  </a:lnTo>
                  <a:lnTo>
                    <a:pt x="220" y="73"/>
                  </a:lnTo>
                  <a:lnTo>
                    <a:pt x="147" y="147"/>
                  </a:lnTo>
                  <a:lnTo>
                    <a:pt x="74" y="220"/>
                  </a:lnTo>
                  <a:lnTo>
                    <a:pt x="49" y="293"/>
                  </a:lnTo>
                  <a:lnTo>
                    <a:pt x="1" y="391"/>
                  </a:lnTo>
                  <a:lnTo>
                    <a:pt x="1" y="488"/>
                  </a:lnTo>
                  <a:lnTo>
                    <a:pt x="1" y="2052"/>
                  </a:lnTo>
                  <a:lnTo>
                    <a:pt x="1" y="2149"/>
                  </a:lnTo>
                  <a:lnTo>
                    <a:pt x="49" y="2247"/>
                  </a:lnTo>
                  <a:lnTo>
                    <a:pt x="74" y="2320"/>
                  </a:lnTo>
                  <a:lnTo>
                    <a:pt x="147" y="2393"/>
                  </a:lnTo>
                  <a:lnTo>
                    <a:pt x="220" y="2467"/>
                  </a:lnTo>
                  <a:lnTo>
                    <a:pt x="294" y="2491"/>
                  </a:lnTo>
                  <a:lnTo>
                    <a:pt x="391" y="2540"/>
                  </a:lnTo>
                  <a:lnTo>
                    <a:pt x="782" y="2540"/>
                  </a:lnTo>
                  <a:lnTo>
                    <a:pt x="880" y="2491"/>
                  </a:lnTo>
                  <a:lnTo>
                    <a:pt x="953" y="2467"/>
                  </a:lnTo>
                  <a:lnTo>
                    <a:pt x="1026" y="2393"/>
                  </a:lnTo>
                  <a:lnTo>
                    <a:pt x="1100" y="2320"/>
                  </a:lnTo>
                  <a:lnTo>
                    <a:pt x="1124" y="2247"/>
                  </a:lnTo>
                  <a:lnTo>
                    <a:pt x="1173" y="2149"/>
                  </a:lnTo>
                  <a:lnTo>
                    <a:pt x="1173" y="2052"/>
                  </a:lnTo>
                  <a:lnTo>
                    <a:pt x="1173" y="488"/>
                  </a:lnTo>
                  <a:lnTo>
                    <a:pt x="1173" y="391"/>
                  </a:lnTo>
                  <a:lnTo>
                    <a:pt x="1124" y="293"/>
                  </a:lnTo>
                  <a:lnTo>
                    <a:pt x="1100" y="220"/>
                  </a:lnTo>
                  <a:lnTo>
                    <a:pt x="1026" y="147"/>
                  </a:lnTo>
                  <a:lnTo>
                    <a:pt x="953" y="73"/>
                  </a:lnTo>
                  <a:lnTo>
                    <a:pt x="880" y="49"/>
                  </a:lnTo>
                  <a:lnTo>
                    <a:pt x="78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9" name="Shape 338"/>
            <p:cNvSpPr/>
            <p:nvPr/>
          </p:nvSpPr>
          <p:spPr>
            <a:xfrm>
              <a:off x="584925" y="261325"/>
              <a:ext cx="378575" cy="464050"/>
            </a:xfrm>
            <a:custGeom>
              <a:avLst/>
              <a:gdLst/>
              <a:ahLst/>
              <a:cxnLst/>
              <a:rect l="0" t="0" r="0" b="0"/>
              <a:pathLst>
                <a:path w="15143" h="18562" extrusionOk="0">
                  <a:moveTo>
                    <a:pt x="2540" y="171"/>
                  </a:moveTo>
                  <a:lnTo>
                    <a:pt x="2711" y="195"/>
                  </a:lnTo>
                  <a:lnTo>
                    <a:pt x="2882" y="244"/>
                  </a:lnTo>
                  <a:lnTo>
                    <a:pt x="3053" y="318"/>
                  </a:lnTo>
                  <a:lnTo>
                    <a:pt x="3175" y="440"/>
                  </a:lnTo>
                  <a:lnTo>
                    <a:pt x="3297" y="562"/>
                  </a:lnTo>
                  <a:lnTo>
                    <a:pt x="3370" y="733"/>
                  </a:lnTo>
                  <a:lnTo>
                    <a:pt x="3419" y="904"/>
                  </a:lnTo>
                  <a:lnTo>
                    <a:pt x="3444" y="1075"/>
                  </a:lnTo>
                  <a:lnTo>
                    <a:pt x="3419" y="1246"/>
                  </a:lnTo>
                  <a:lnTo>
                    <a:pt x="3370" y="1417"/>
                  </a:lnTo>
                  <a:lnTo>
                    <a:pt x="3297" y="1588"/>
                  </a:lnTo>
                  <a:lnTo>
                    <a:pt x="3175" y="1710"/>
                  </a:lnTo>
                  <a:lnTo>
                    <a:pt x="3053" y="1832"/>
                  </a:lnTo>
                  <a:lnTo>
                    <a:pt x="2882" y="1905"/>
                  </a:lnTo>
                  <a:lnTo>
                    <a:pt x="2711" y="1954"/>
                  </a:lnTo>
                  <a:lnTo>
                    <a:pt x="2540" y="1978"/>
                  </a:lnTo>
                  <a:lnTo>
                    <a:pt x="2369" y="1954"/>
                  </a:lnTo>
                  <a:lnTo>
                    <a:pt x="2198" y="1905"/>
                  </a:lnTo>
                  <a:lnTo>
                    <a:pt x="2027" y="1832"/>
                  </a:lnTo>
                  <a:lnTo>
                    <a:pt x="1905" y="1710"/>
                  </a:lnTo>
                  <a:lnTo>
                    <a:pt x="1783" y="1588"/>
                  </a:lnTo>
                  <a:lnTo>
                    <a:pt x="1710" y="1417"/>
                  </a:lnTo>
                  <a:lnTo>
                    <a:pt x="1661" y="1246"/>
                  </a:lnTo>
                  <a:lnTo>
                    <a:pt x="1636" y="1075"/>
                  </a:lnTo>
                  <a:lnTo>
                    <a:pt x="1661" y="904"/>
                  </a:lnTo>
                  <a:lnTo>
                    <a:pt x="1710" y="733"/>
                  </a:lnTo>
                  <a:lnTo>
                    <a:pt x="1783" y="562"/>
                  </a:lnTo>
                  <a:lnTo>
                    <a:pt x="1905" y="440"/>
                  </a:lnTo>
                  <a:lnTo>
                    <a:pt x="2027" y="318"/>
                  </a:lnTo>
                  <a:lnTo>
                    <a:pt x="2198" y="244"/>
                  </a:lnTo>
                  <a:lnTo>
                    <a:pt x="2369" y="195"/>
                  </a:lnTo>
                  <a:lnTo>
                    <a:pt x="2540" y="171"/>
                  </a:lnTo>
                  <a:close/>
                  <a:moveTo>
                    <a:pt x="5862" y="171"/>
                  </a:moveTo>
                  <a:lnTo>
                    <a:pt x="6033" y="195"/>
                  </a:lnTo>
                  <a:lnTo>
                    <a:pt x="6204" y="244"/>
                  </a:lnTo>
                  <a:lnTo>
                    <a:pt x="6374" y="318"/>
                  </a:lnTo>
                  <a:lnTo>
                    <a:pt x="6497" y="440"/>
                  </a:lnTo>
                  <a:lnTo>
                    <a:pt x="6619" y="562"/>
                  </a:lnTo>
                  <a:lnTo>
                    <a:pt x="6692" y="733"/>
                  </a:lnTo>
                  <a:lnTo>
                    <a:pt x="6741" y="904"/>
                  </a:lnTo>
                  <a:lnTo>
                    <a:pt x="6765" y="1075"/>
                  </a:lnTo>
                  <a:lnTo>
                    <a:pt x="6741" y="1246"/>
                  </a:lnTo>
                  <a:lnTo>
                    <a:pt x="6692" y="1417"/>
                  </a:lnTo>
                  <a:lnTo>
                    <a:pt x="6619" y="1588"/>
                  </a:lnTo>
                  <a:lnTo>
                    <a:pt x="6497" y="1710"/>
                  </a:lnTo>
                  <a:lnTo>
                    <a:pt x="6374" y="1832"/>
                  </a:lnTo>
                  <a:lnTo>
                    <a:pt x="6204" y="1905"/>
                  </a:lnTo>
                  <a:lnTo>
                    <a:pt x="6033" y="1954"/>
                  </a:lnTo>
                  <a:lnTo>
                    <a:pt x="5862" y="1978"/>
                  </a:lnTo>
                  <a:lnTo>
                    <a:pt x="5691" y="1954"/>
                  </a:lnTo>
                  <a:lnTo>
                    <a:pt x="5520" y="1905"/>
                  </a:lnTo>
                  <a:lnTo>
                    <a:pt x="5349" y="1832"/>
                  </a:lnTo>
                  <a:lnTo>
                    <a:pt x="5227" y="1710"/>
                  </a:lnTo>
                  <a:lnTo>
                    <a:pt x="5104" y="1588"/>
                  </a:lnTo>
                  <a:lnTo>
                    <a:pt x="5031" y="1417"/>
                  </a:lnTo>
                  <a:lnTo>
                    <a:pt x="4982" y="1246"/>
                  </a:lnTo>
                  <a:lnTo>
                    <a:pt x="4958" y="1075"/>
                  </a:lnTo>
                  <a:lnTo>
                    <a:pt x="4982" y="904"/>
                  </a:lnTo>
                  <a:lnTo>
                    <a:pt x="5031" y="733"/>
                  </a:lnTo>
                  <a:lnTo>
                    <a:pt x="5104" y="562"/>
                  </a:lnTo>
                  <a:lnTo>
                    <a:pt x="5227" y="440"/>
                  </a:lnTo>
                  <a:lnTo>
                    <a:pt x="5349" y="318"/>
                  </a:lnTo>
                  <a:lnTo>
                    <a:pt x="5520" y="244"/>
                  </a:lnTo>
                  <a:lnTo>
                    <a:pt x="5691" y="195"/>
                  </a:lnTo>
                  <a:lnTo>
                    <a:pt x="5862" y="171"/>
                  </a:lnTo>
                  <a:close/>
                  <a:moveTo>
                    <a:pt x="9183" y="171"/>
                  </a:moveTo>
                  <a:lnTo>
                    <a:pt x="9354" y="195"/>
                  </a:lnTo>
                  <a:lnTo>
                    <a:pt x="9525" y="244"/>
                  </a:lnTo>
                  <a:lnTo>
                    <a:pt x="9696" y="318"/>
                  </a:lnTo>
                  <a:lnTo>
                    <a:pt x="9818" y="440"/>
                  </a:lnTo>
                  <a:lnTo>
                    <a:pt x="9940" y="562"/>
                  </a:lnTo>
                  <a:lnTo>
                    <a:pt x="10014" y="733"/>
                  </a:lnTo>
                  <a:lnTo>
                    <a:pt x="10062" y="904"/>
                  </a:lnTo>
                  <a:lnTo>
                    <a:pt x="10087" y="1075"/>
                  </a:lnTo>
                  <a:lnTo>
                    <a:pt x="10062" y="1246"/>
                  </a:lnTo>
                  <a:lnTo>
                    <a:pt x="10014" y="1417"/>
                  </a:lnTo>
                  <a:lnTo>
                    <a:pt x="9940" y="1588"/>
                  </a:lnTo>
                  <a:lnTo>
                    <a:pt x="9818" y="1710"/>
                  </a:lnTo>
                  <a:lnTo>
                    <a:pt x="9696" y="1832"/>
                  </a:lnTo>
                  <a:lnTo>
                    <a:pt x="9525" y="1905"/>
                  </a:lnTo>
                  <a:lnTo>
                    <a:pt x="9354" y="1954"/>
                  </a:lnTo>
                  <a:lnTo>
                    <a:pt x="9183" y="1978"/>
                  </a:lnTo>
                  <a:lnTo>
                    <a:pt x="9012" y="1954"/>
                  </a:lnTo>
                  <a:lnTo>
                    <a:pt x="8841" y="1905"/>
                  </a:lnTo>
                  <a:lnTo>
                    <a:pt x="8670" y="1832"/>
                  </a:lnTo>
                  <a:lnTo>
                    <a:pt x="8548" y="1710"/>
                  </a:lnTo>
                  <a:lnTo>
                    <a:pt x="8426" y="1588"/>
                  </a:lnTo>
                  <a:lnTo>
                    <a:pt x="8353" y="1417"/>
                  </a:lnTo>
                  <a:lnTo>
                    <a:pt x="8304" y="1246"/>
                  </a:lnTo>
                  <a:lnTo>
                    <a:pt x="8279" y="1075"/>
                  </a:lnTo>
                  <a:lnTo>
                    <a:pt x="8304" y="904"/>
                  </a:lnTo>
                  <a:lnTo>
                    <a:pt x="8353" y="733"/>
                  </a:lnTo>
                  <a:lnTo>
                    <a:pt x="8426" y="562"/>
                  </a:lnTo>
                  <a:lnTo>
                    <a:pt x="8548" y="440"/>
                  </a:lnTo>
                  <a:lnTo>
                    <a:pt x="8670" y="318"/>
                  </a:lnTo>
                  <a:lnTo>
                    <a:pt x="8841" y="244"/>
                  </a:lnTo>
                  <a:lnTo>
                    <a:pt x="9012" y="195"/>
                  </a:lnTo>
                  <a:lnTo>
                    <a:pt x="9183" y="171"/>
                  </a:lnTo>
                  <a:close/>
                  <a:moveTo>
                    <a:pt x="12505" y="171"/>
                  </a:moveTo>
                  <a:lnTo>
                    <a:pt x="12676" y="195"/>
                  </a:lnTo>
                  <a:lnTo>
                    <a:pt x="12847" y="244"/>
                  </a:lnTo>
                  <a:lnTo>
                    <a:pt x="13018" y="318"/>
                  </a:lnTo>
                  <a:lnTo>
                    <a:pt x="13140" y="440"/>
                  </a:lnTo>
                  <a:lnTo>
                    <a:pt x="13262" y="562"/>
                  </a:lnTo>
                  <a:lnTo>
                    <a:pt x="13335" y="733"/>
                  </a:lnTo>
                  <a:lnTo>
                    <a:pt x="13384" y="904"/>
                  </a:lnTo>
                  <a:lnTo>
                    <a:pt x="13408" y="1075"/>
                  </a:lnTo>
                  <a:lnTo>
                    <a:pt x="13384" y="1246"/>
                  </a:lnTo>
                  <a:lnTo>
                    <a:pt x="13335" y="1417"/>
                  </a:lnTo>
                  <a:lnTo>
                    <a:pt x="13262" y="1588"/>
                  </a:lnTo>
                  <a:lnTo>
                    <a:pt x="13140" y="1710"/>
                  </a:lnTo>
                  <a:lnTo>
                    <a:pt x="13018" y="1832"/>
                  </a:lnTo>
                  <a:lnTo>
                    <a:pt x="12847" y="1905"/>
                  </a:lnTo>
                  <a:lnTo>
                    <a:pt x="12676" y="1954"/>
                  </a:lnTo>
                  <a:lnTo>
                    <a:pt x="12505" y="1978"/>
                  </a:lnTo>
                  <a:lnTo>
                    <a:pt x="12334" y="1954"/>
                  </a:lnTo>
                  <a:lnTo>
                    <a:pt x="12163" y="1905"/>
                  </a:lnTo>
                  <a:lnTo>
                    <a:pt x="11992" y="1832"/>
                  </a:lnTo>
                  <a:lnTo>
                    <a:pt x="11870" y="1710"/>
                  </a:lnTo>
                  <a:lnTo>
                    <a:pt x="11748" y="1588"/>
                  </a:lnTo>
                  <a:lnTo>
                    <a:pt x="11674" y="1417"/>
                  </a:lnTo>
                  <a:lnTo>
                    <a:pt x="11625" y="1246"/>
                  </a:lnTo>
                  <a:lnTo>
                    <a:pt x="11601" y="1075"/>
                  </a:lnTo>
                  <a:lnTo>
                    <a:pt x="11625" y="904"/>
                  </a:lnTo>
                  <a:lnTo>
                    <a:pt x="11674" y="733"/>
                  </a:lnTo>
                  <a:lnTo>
                    <a:pt x="11748" y="562"/>
                  </a:lnTo>
                  <a:lnTo>
                    <a:pt x="11870" y="440"/>
                  </a:lnTo>
                  <a:lnTo>
                    <a:pt x="11992" y="318"/>
                  </a:lnTo>
                  <a:lnTo>
                    <a:pt x="12163" y="244"/>
                  </a:lnTo>
                  <a:lnTo>
                    <a:pt x="12334" y="195"/>
                  </a:lnTo>
                  <a:lnTo>
                    <a:pt x="12505" y="171"/>
                  </a:lnTo>
                  <a:close/>
                  <a:moveTo>
                    <a:pt x="13091" y="5520"/>
                  </a:moveTo>
                  <a:lnTo>
                    <a:pt x="13189" y="5544"/>
                  </a:lnTo>
                  <a:lnTo>
                    <a:pt x="13262" y="5593"/>
                  </a:lnTo>
                  <a:lnTo>
                    <a:pt x="13311" y="5666"/>
                  </a:lnTo>
                  <a:lnTo>
                    <a:pt x="13335" y="5764"/>
                  </a:lnTo>
                  <a:lnTo>
                    <a:pt x="13311" y="5862"/>
                  </a:lnTo>
                  <a:lnTo>
                    <a:pt x="13262" y="5935"/>
                  </a:lnTo>
                  <a:lnTo>
                    <a:pt x="13189" y="5984"/>
                  </a:lnTo>
                  <a:lnTo>
                    <a:pt x="13091" y="6008"/>
                  </a:lnTo>
                  <a:lnTo>
                    <a:pt x="1954" y="6008"/>
                  </a:lnTo>
                  <a:lnTo>
                    <a:pt x="1856" y="5984"/>
                  </a:lnTo>
                  <a:lnTo>
                    <a:pt x="1783" y="5935"/>
                  </a:lnTo>
                  <a:lnTo>
                    <a:pt x="1734" y="5862"/>
                  </a:lnTo>
                  <a:lnTo>
                    <a:pt x="1710" y="5764"/>
                  </a:lnTo>
                  <a:lnTo>
                    <a:pt x="1734" y="5666"/>
                  </a:lnTo>
                  <a:lnTo>
                    <a:pt x="1783" y="5593"/>
                  </a:lnTo>
                  <a:lnTo>
                    <a:pt x="1856" y="5544"/>
                  </a:lnTo>
                  <a:lnTo>
                    <a:pt x="1954" y="5520"/>
                  </a:lnTo>
                  <a:close/>
                  <a:moveTo>
                    <a:pt x="13189" y="7840"/>
                  </a:moveTo>
                  <a:lnTo>
                    <a:pt x="13262" y="7913"/>
                  </a:lnTo>
                  <a:lnTo>
                    <a:pt x="13311" y="7986"/>
                  </a:lnTo>
                  <a:lnTo>
                    <a:pt x="13335" y="8084"/>
                  </a:lnTo>
                  <a:lnTo>
                    <a:pt x="13311" y="8182"/>
                  </a:lnTo>
                  <a:lnTo>
                    <a:pt x="13262" y="8255"/>
                  </a:lnTo>
                  <a:lnTo>
                    <a:pt x="13189" y="8304"/>
                  </a:lnTo>
                  <a:lnTo>
                    <a:pt x="13091" y="8328"/>
                  </a:lnTo>
                  <a:lnTo>
                    <a:pt x="1954" y="8328"/>
                  </a:lnTo>
                  <a:lnTo>
                    <a:pt x="1856" y="8304"/>
                  </a:lnTo>
                  <a:lnTo>
                    <a:pt x="1783" y="8255"/>
                  </a:lnTo>
                  <a:lnTo>
                    <a:pt x="1734" y="8182"/>
                  </a:lnTo>
                  <a:lnTo>
                    <a:pt x="1710" y="8084"/>
                  </a:lnTo>
                  <a:lnTo>
                    <a:pt x="1734" y="7986"/>
                  </a:lnTo>
                  <a:lnTo>
                    <a:pt x="1783" y="7913"/>
                  </a:lnTo>
                  <a:lnTo>
                    <a:pt x="1856" y="7840"/>
                  </a:lnTo>
                  <a:close/>
                  <a:moveTo>
                    <a:pt x="13091" y="10136"/>
                  </a:moveTo>
                  <a:lnTo>
                    <a:pt x="13189" y="10160"/>
                  </a:lnTo>
                  <a:lnTo>
                    <a:pt x="13262" y="10209"/>
                  </a:lnTo>
                  <a:lnTo>
                    <a:pt x="13311" y="10282"/>
                  </a:lnTo>
                  <a:lnTo>
                    <a:pt x="13335" y="10380"/>
                  </a:lnTo>
                  <a:lnTo>
                    <a:pt x="13311" y="10478"/>
                  </a:lnTo>
                  <a:lnTo>
                    <a:pt x="13262" y="10551"/>
                  </a:lnTo>
                  <a:lnTo>
                    <a:pt x="13189" y="10600"/>
                  </a:lnTo>
                  <a:lnTo>
                    <a:pt x="13091" y="10624"/>
                  </a:lnTo>
                  <a:lnTo>
                    <a:pt x="1954" y="10624"/>
                  </a:lnTo>
                  <a:lnTo>
                    <a:pt x="1856" y="10600"/>
                  </a:lnTo>
                  <a:lnTo>
                    <a:pt x="1783" y="10551"/>
                  </a:lnTo>
                  <a:lnTo>
                    <a:pt x="1734" y="10478"/>
                  </a:lnTo>
                  <a:lnTo>
                    <a:pt x="1710" y="10380"/>
                  </a:lnTo>
                  <a:lnTo>
                    <a:pt x="1734" y="10282"/>
                  </a:lnTo>
                  <a:lnTo>
                    <a:pt x="1783" y="10209"/>
                  </a:lnTo>
                  <a:lnTo>
                    <a:pt x="1856" y="10160"/>
                  </a:lnTo>
                  <a:lnTo>
                    <a:pt x="1954" y="10136"/>
                  </a:lnTo>
                  <a:close/>
                  <a:moveTo>
                    <a:pt x="8206" y="12456"/>
                  </a:moveTo>
                  <a:lnTo>
                    <a:pt x="8304" y="12480"/>
                  </a:lnTo>
                  <a:lnTo>
                    <a:pt x="8377" y="12529"/>
                  </a:lnTo>
                  <a:lnTo>
                    <a:pt x="8426" y="12602"/>
                  </a:lnTo>
                  <a:lnTo>
                    <a:pt x="8450" y="12700"/>
                  </a:lnTo>
                  <a:lnTo>
                    <a:pt x="8426" y="12798"/>
                  </a:lnTo>
                  <a:lnTo>
                    <a:pt x="8377" y="12871"/>
                  </a:lnTo>
                  <a:lnTo>
                    <a:pt x="8304" y="12920"/>
                  </a:lnTo>
                  <a:lnTo>
                    <a:pt x="8206" y="12944"/>
                  </a:lnTo>
                  <a:lnTo>
                    <a:pt x="1954" y="12944"/>
                  </a:lnTo>
                  <a:lnTo>
                    <a:pt x="1856" y="12920"/>
                  </a:lnTo>
                  <a:lnTo>
                    <a:pt x="1783" y="12871"/>
                  </a:lnTo>
                  <a:lnTo>
                    <a:pt x="1734" y="12798"/>
                  </a:lnTo>
                  <a:lnTo>
                    <a:pt x="1710" y="12700"/>
                  </a:lnTo>
                  <a:lnTo>
                    <a:pt x="1734" y="12602"/>
                  </a:lnTo>
                  <a:lnTo>
                    <a:pt x="1783" y="12529"/>
                  </a:lnTo>
                  <a:lnTo>
                    <a:pt x="1856" y="12480"/>
                  </a:lnTo>
                  <a:lnTo>
                    <a:pt x="1954" y="12456"/>
                  </a:lnTo>
                  <a:close/>
                  <a:moveTo>
                    <a:pt x="782" y="0"/>
                  </a:moveTo>
                  <a:lnTo>
                    <a:pt x="635" y="25"/>
                  </a:lnTo>
                  <a:lnTo>
                    <a:pt x="489" y="73"/>
                  </a:lnTo>
                  <a:lnTo>
                    <a:pt x="342" y="122"/>
                  </a:lnTo>
                  <a:lnTo>
                    <a:pt x="220" y="220"/>
                  </a:lnTo>
                  <a:lnTo>
                    <a:pt x="122" y="342"/>
                  </a:lnTo>
                  <a:lnTo>
                    <a:pt x="73" y="489"/>
                  </a:lnTo>
                  <a:lnTo>
                    <a:pt x="24" y="635"/>
                  </a:lnTo>
                  <a:lnTo>
                    <a:pt x="0" y="782"/>
                  </a:lnTo>
                  <a:lnTo>
                    <a:pt x="0" y="17780"/>
                  </a:lnTo>
                  <a:lnTo>
                    <a:pt x="24" y="17927"/>
                  </a:lnTo>
                  <a:lnTo>
                    <a:pt x="73" y="18073"/>
                  </a:lnTo>
                  <a:lnTo>
                    <a:pt x="122" y="18220"/>
                  </a:lnTo>
                  <a:lnTo>
                    <a:pt x="220" y="18342"/>
                  </a:lnTo>
                  <a:lnTo>
                    <a:pt x="342" y="18440"/>
                  </a:lnTo>
                  <a:lnTo>
                    <a:pt x="489" y="18488"/>
                  </a:lnTo>
                  <a:lnTo>
                    <a:pt x="635" y="18537"/>
                  </a:lnTo>
                  <a:lnTo>
                    <a:pt x="782" y="18562"/>
                  </a:lnTo>
                  <a:lnTo>
                    <a:pt x="14361" y="18562"/>
                  </a:lnTo>
                  <a:lnTo>
                    <a:pt x="14507" y="18537"/>
                  </a:lnTo>
                  <a:lnTo>
                    <a:pt x="14654" y="18488"/>
                  </a:lnTo>
                  <a:lnTo>
                    <a:pt x="14800" y="18440"/>
                  </a:lnTo>
                  <a:lnTo>
                    <a:pt x="14923" y="18342"/>
                  </a:lnTo>
                  <a:lnTo>
                    <a:pt x="15020" y="18220"/>
                  </a:lnTo>
                  <a:lnTo>
                    <a:pt x="15069" y="18073"/>
                  </a:lnTo>
                  <a:lnTo>
                    <a:pt x="15118" y="17927"/>
                  </a:lnTo>
                  <a:lnTo>
                    <a:pt x="15142" y="17780"/>
                  </a:lnTo>
                  <a:lnTo>
                    <a:pt x="15142" y="782"/>
                  </a:lnTo>
                  <a:lnTo>
                    <a:pt x="15118" y="635"/>
                  </a:lnTo>
                  <a:lnTo>
                    <a:pt x="15069" y="489"/>
                  </a:lnTo>
                  <a:lnTo>
                    <a:pt x="15020" y="342"/>
                  </a:lnTo>
                  <a:lnTo>
                    <a:pt x="14923" y="220"/>
                  </a:lnTo>
                  <a:lnTo>
                    <a:pt x="14800" y="122"/>
                  </a:lnTo>
                  <a:lnTo>
                    <a:pt x="14654" y="73"/>
                  </a:lnTo>
                  <a:lnTo>
                    <a:pt x="14507" y="25"/>
                  </a:lnTo>
                  <a:lnTo>
                    <a:pt x="1436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0" name="Shape 339"/>
          <p:cNvGrpSpPr/>
          <p:nvPr/>
        </p:nvGrpSpPr>
        <p:grpSpPr>
          <a:xfrm>
            <a:off x="3205599" y="1786057"/>
            <a:ext cx="339439" cy="282570"/>
            <a:chOff x="1244325" y="314425"/>
            <a:chExt cx="444525" cy="370050"/>
          </a:xfrm>
        </p:grpSpPr>
        <p:sp>
          <p:nvSpPr>
            <p:cNvPr id="11" name="Shape 340"/>
            <p:cNvSpPr/>
            <p:nvPr/>
          </p:nvSpPr>
          <p:spPr>
            <a:xfrm>
              <a:off x="1388425" y="463425"/>
              <a:ext cx="143525" cy="143500"/>
            </a:xfrm>
            <a:custGeom>
              <a:avLst/>
              <a:gdLst/>
              <a:ahLst/>
              <a:cxnLst/>
              <a:rect l="0" t="0" r="0" b="0"/>
              <a:pathLst>
                <a:path w="5741" h="5740" extrusionOk="0">
                  <a:moveTo>
                    <a:pt x="2809" y="0"/>
                  </a:moveTo>
                  <a:lnTo>
                    <a:pt x="2492" y="49"/>
                  </a:lnTo>
                  <a:lnTo>
                    <a:pt x="2199" y="122"/>
                  </a:lnTo>
                  <a:lnTo>
                    <a:pt x="1906" y="244"/>
                  </a:lnTo>
                  <a:lnTo>
                    <a:pt x="1637" y="366"/>
                  </a:lnTo>
                  <a:lnTo>
                    <a:pt x="1368" y="537"/>
                  </a:lnTo>
                  <a:lnTo>
                    <a:pt x="1149" y="708"/>
                  </a:lnTo>
                  <a:lnTo>
                    <a:pt x="904" y="904"/>
                  </a:lnTo>
                  <a:lnTo>
                    <a:pt x="709" y="1124"/>
                  </a:lnTo>
                  <a:lnTo>
                    <a:pt x="538" y="1368"/>
                  </a:lnTo>
                  <a:lnTo>
                    <a:pt x="367" y="1636"/>
                  </a:lnTo>
                  <a:lnTo>
                    <a:pt x="245" y="1905"/>
                  </a:lnTo>
                  <a:lnTo>
                    <a:pt x="147" y="2198"/>
                  </a:lnTo>
                  <a:lnTo>
                    <a:pt x="74" y="2491"/>
                  </a:lnTo>
                  <a:lnTo>
                    <a:pt x="25" y="2809"/>
                  </a:lnTo>
                  <a:lnTo>
                    <a:pt x="1" y="3126"/>
                  </a:lnTo>
                  <a:lnTo>
                    <a:pt x="25" y="3517"/>
                  </a:lnTo>
                  <a:lnTo>
                    <a:pt x="98" y="3908"/>
                  </a:lnTo>
                  <a:lnTo>
                    <a:pt x="221" y="4274"/>
                  </a:lnTo>
                  <a:lnTo>
                    <a:pt x="392" y="4641"/>
                  </a:lnTo>
                  <a:lnTo>
                    <a:pt x="611" y="4958"/>
                  </a:lnTo>
                  <a:lnTo>
                    <a:pt x="856" y="5251"/>
                  </a:lnTo>
                  <a:lnTo>
                    <a:pt x="1124" y="5520"/>
                  </a:lnTo>
                  <a:lnTo>
                    <a:pt x="1442" y="5740"/>
                  </a:lnTo>
                  <a:lnTo>
                    <a:pt x="1393" y="5422"/>
                  </a:lnTo>
                  <a:lnTo>
                    <a:pt x="1368" y="5080"/>
                  </a:lnTo>
                  <a:lnTo>
                    <a:pt x="1393" y="4689"/>
                  </a:lnTo>
                  <a:lnTo>
                    <a:pt x="1442" y="4323"/>
                  </a:lnTo>
                  <a:lnTo>
                    <a:pt x="1539" y="3957"/>
                  </a:lnTo>
                  <a:lnTo>
                    <a:pt x="1662" y="3639"/>
                  </a:lnTo>
                  <a:lnTo>
                    <a:pt x="1808" y="3297"/>
                  </a:lnTo>
                  <a:lnTo>
                    <a:pt x="2003" y="3004"/>
                  </a:lnTo>
                  <a:lnTo>
                    <a:pt x="2223" y="2711"/>
                  </a:lnTo>
                  <a:lnTo>
                    <a:pt x="2468" y="2442"/>
                  </a:lnTo>
                  <a:lnTo>
                    <a:pt x="2712" y="2198"/>
                  </a:lnTo>
                  <a:lnTo>
                    <a:pt x="3005" y="2003"/>
                  </a:lnTo>
                  <a:lnTo>
                    <a:pt x="3322" y="1807"/>
                  </a:lnTo>
                  <a:lnTo>
                    <a:pt x="3640" y="1661"/>
                  </a:lnTo>
                  <a:lnTo>
                    <a:pt x="3982" y="1514"/>
                  </a:lnTo>
                  <a:lnTo>
                    <a:pt x="4324" y="1441"/>
                  </a:lnTo>
                  <a:lnTo>
                    <a:pt x="4690" y="1368"/>
                  </a:lnTo>
                  <a:lnTo>
                    <a:pt x="5423" y="1368"/>
                  </a:lnTo>
                  <a:lnTo>
                    <a:pt x="5740" y="1417"/>
                  </a:lnTo>
                  <a:lnTo>
                    <a:pt x="5520" y="1124"/>
                  </a:lnTo>
                  <a:lnTo>
                    <a:pt x="5252" y="831"/>
                  </a:lnTo>
                  <a:lnTo>
                    <a:pt x="4959" y="586"/>
                  </a:lnTo>
                  <a:lnTo>
                    <a:pt x="4641" y="391"/>
                  </a:lnTo>
                  <a:lnTo>
                    <a:pt x="4299" y="220"/>
                  </a:lnTo>
                  <a:lnTo>
                    <a:pt x="3933" y="98"/>
                  </a:lnTo>
                  <a:lnTo>
                    <a:pt x="3542" y="25"/>
                  </a:lnTo>
                  <a:lnTo>
                    <a:pt x="312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2" name="Shape 341"/>
            <p:cNvSpPr/>
            <p:nvPr/>
          </p:nvSpPr>
          <p:spPr>
            <a:xfrm>
              <a:off x="1244325" y="314425"/>
              <a:ext cx="444525" cy="370050"/>
            </a:xfrm>
            <a:custGeom>
              <a:avLst/>
              <a:gdLst/>
              <a:ahLst/>
              <a:cxnLst/>
              <a:rect l="0" t="0" r="0" b="0"/>
              <a:pathLst>
                <a:path w="17781" h="14802" extrusionOk="0">
                  <a:moveTo>
                    <a:pt x="11748" y="2101"/>
                  </a:moveTo>
                  <a:lnTo>
                    <a:pt x="11846" y="2126"/>
                  </a:lnTo>
                  <a:lnTo>
                    <a:pt x="11919" y="2175"/>
                  </a:lnTo>
                  <a:lnTo>
                    <a:pt x="11968" y="2248"/>
                  </a:lnTo>
                  <a:lnTo>
                    <a:pt x="11993" y="2346"/>
                  </a:lnTo>
                  <a:lnTo>
                    <a:pt x="11968" y="2419"/>
                  </a:lnTo>
                  <a:lnTo>
                    <a:pt x="11919" y="2492"/>
                  </a:lnTo>
                  <a:lnTo>
                    <a:pt x="11846" y="2541"/>
                  </a:lnTo>
                  <a:lnTo>
                    <a:pt x="11748" y="2565"/>
                  </a:lnTo>
                  <a:lnTo>
                    <a:pt x="6033" y="2565"/>
                  </a:lnTo>
                  <a:lnTo>
                    <a:pt x="5936" y="2541"/>
                  </a:lnTo>
                  <a:lnTo>
                    <a:pt x="5862" y="2492"/>
                  </a:lnTo>
                  <a:lnTo>
                    <a:pt x="5814" y="2419"/>
                  </a:lnTo>
                  <a:lnTo>
                    <a:pt x="5789" y="2346"/>
                  </a:lnTo>
                  <a:lnTo>
                    <a:pt x="5814" y="2248"/>
                  </a:lnTo>
                  <a:lnTo>
                    <a:pt x="5862" y="2175"/>
                  </a:lnTo>
                  <a:lnTo>
                    <a:pt x="5936" y="2126"/>
                  </a:lnTo>
                  <a:lnTo>
                    <a:pt x="6033" y="2101"/>
                  </a:lnTo>
                  <a:close/>
                  <a:moveTo>
                    <a:pt x="15949" y="4519"/>
                  </a:moveTo>
                  <a:lnTo>
                    <a:pt x="16047" y="4568"/>
                  </a:lnTo>
                  <a:lnTo>
                    <a:pt x="16145" y="4592"/>
                  </a:lnTo>
                  <a:lnTo>
                    <a:pt x="16193" y="4666"/>
                  </a:lnTo>
                  <a:lnTo>
                    <a:pt x="16267" y="4739"/>
                  </a:lnTo>
                  <a:lnTo>
                    <a:pt x="16316" y="4812"/>
                  </a:lnTo>
                  <a:lnTo>
                    <a:pt x="16340" y="4910"/>
                  </a:lnTo>
                  <a:lnTo>
                    <a:pt x="16340" y="5008"/>
                  </a:lnTo>
                  <a:lnTo>
                    <a:pt x="16340" y="5789"/>
                  </a:lnTo>
                  <a:lnTo>
                    <a:pt x="16340" y="5887"/>
                  </a:lnTo>
                  <a:lnTo>
                    <a:pt x="16316" y="5985"/>
                  </a:lnTo>
                  <a:lnTo>
                    <a:pt x="16267" y="6058"/>
                  </a:lnTo>
                  <a:lnTo>
                    <a:pt x="16193" y="6131"/>
                  </a:lnTo>
                  <a:lnTo>
                    <a:pt x="16145" y="6204"/>
                  </a:lnTo>
                  <a:lnTo>
                    <a:pt x="16047" y="6229"/>
                  </a:lnTo>
                  <a:lnTo>
                    <a:pt x="15949" y="6278"/>
                  </a:lnTo>
                  <a:lnTo>
                    <a:pt x="14069" y="6278"/>
                  </a:lnTo>
                  <a:lnTo>
                    <a:pt x="13971" y="6229"/>
                  </a:lnTo>
                  <a:lnTo>
                    <a:pt x="13898" y="6204"/>
                  </a:lnTo>
                  <a:lnTo>
                    <a:pt x="13824" y="6131"/>
                  </a:lnTo>
                  <a:lnTo>
                    <a:pt x="13751" y="6058"/>
                  </a:lnTo>
                  <a:lnTo>
                    <a:pt x="13727" y="5985"/>
                  </a:lnTo>
                  <a:lnTo>
                    <a:pt x="13678" y="5887"/>
                  </a:lnTo>
                  <a:lnTo>
                    <a:pt x="13678" y="5789"/>
                  </a:lnTo>
                  <a:lnTo>
                    <a:pt x="13678" y="5008"/>
                  </a:lnTo>
                  <a:lnTo>
                    <a:pt x="13678" y="4910"/>
                  </a:lnTo>
                  <a:lnTo>
                    <a:pt x="13727" y="4812"/>
                  </a:lnTo>
                  <a:lnTo>
                    <a:pt x="13751" y="4739"/>
                  </a:lnTo>
                  <a:lnTo>
                    <a:pt x="13824" y="4666"/>
                  </a:lnTo>
                  <a:lnTo>
                    <a:pt x="13898" y="4592"/>
                  </a:lnTo>
                  <a:lnTo>
                    <a:pt x="13971" y="4568"/>
                  </a:lnTo>
                  <a:lnTo>
                    <a:pt x="14069" y="4519"/>
                  </a:lnTo>
                  <a:close/>
                  <a:moveTo>
                    <a:pt x="8891" y="5105"/>
                  </a:moveTo>
                  <a:lnTo>
                    <a:pt x="9306" y="5130"/>
                  </a:lnTo>
                  <a:lnTo>
                    <a:pt x="9697" y="5179"/>
                  </a:lnTo>
                  <a:lnTo>
                    <a:pt x="10063" y="5276"/>
                  </a:lnTo>
                  <a:lnTo>
                    <a:pt x="10430" y="5423"/>
                  </a:lnTo>
                  <a:lnTo>
                    <a:pt x="10796" y="5594"/>
                  </a:lnTo>
                  <a:lnTo>
                    <a:pt x="11113" y="5789"/>
                  </a:lnTo>
                  <a:lnTo>
                    <a:pt x="11406" y="6009"/>
                  </a:lnTo>
                  <a:lnTo>
                    <a:pt x="11700" y="6278"/>
                  </a:lnTo>
                  <a:lnTo>
                    <a:pt x="11968" y="6546"/>
                  </a:lnTo>
                  <a:lnTo>
                    <a:pt x="12188" y="6864"/>
                  </a:lnTo>
                  <a:lnTo>
                    <a:pt x="12383" y="7181"/>
                  </a:lnTo>
                  <a:lnTo>
                    <a:pt x="12554" y="7523"/>
                  </a:lnTo>
                  <a:lnTo>
                    <a:pt x="12676" y="7890"/>
                  </a:lnTo>
                  <a:lnTo>
                    <a:pt x="12774" y="8280"/>
                  </a:lnTo>
                  <a:lnTo>
                    <a:pt x="12847" y="8671"/>
                  </a:lnTo>
                  <a:lnTo>
                    <a:pt x="12872" y="9086"/>
                  </a:lnTo>
                  <a:lnTo>
                    <a:pt x="12847" y="9477"/>
                  </a:lnTo>
                  <a:lnTo>
                    <a:pt x="12774" y="9868"/>
                  </a:lnTo>
                  <a:lnTo>
                    <a:pt x="12676" y="10259"/>
                  </a:lnTo>
                  <a:lnTo>
                    <a:pt x="12554" y="10625"/>
                  </a:lnTo>
                  <a:lnTo>
                    <a:pt x="12383" y="10967"/>
                  </a:lnTo>
                  <a:lnTo>
                    <a:pt x="12188" y="11309"/>
                  </a:lnTo>
                  <a:lnTo>
                    <a:pt x="11968" y="11602"/>
                  </a:lnTo>
                  <a:lnTo>
                    <a:pt x="11700" y="11895"/>
                  </a:lnTo>
                  <a:lnTo>
                    <a:pt x="11406" y="12139"/>
                  </a:lnTo>
                  <a:lnTo>
                    <a:pt x="11113" y="12383"/>
                  </a:lnTo>
                  <a:lnTo>
                    <a:pt x="10796" y="12579"/>
                  </a:lnTo>
                  <a:lnTo>
                    <a:pt x="10430" y="12750"/>
                  </a:lnTo>
                  <a:lnTo>
                    <a:pt x="10063" y="12872"/>
                  </a:lnTo>
                  <a:lnTo>
                    <a:pt x="9697" y="12970"/>
                  </a:lnTo>
                  <a:lnTo>
                    <a:pt x="9306" y="13018"/>
                  </a:lnTo>
                  <a:lnTo>
                    <a:pt x="8891" y="13043"/>
                  </a:lnTo>
                  <a:lnTo>
                    <a:pt x="8476" y="13018"/>
                  </a:lnTo>
                  <a:lnTo>
                    <a:pt x="8085" y="12970"/>
                  </a:lnTo>
                  <a:lnTo>
                    <a:pt x="7719" y="12872"/>
                  </a:lnTo>
                  <a:lnTo>
                    <a:pt x="7352" y="12750"/>
                  </a:lnTo>
                  <a:lnTo>
                    <a:pt x="6986" y="12579"/>
                  </a:lnTo>
                  <a:lnTo>
                    <a:pt x="6668" y="12383"/>
                  </a:lnTo>
                  <a:lnTo>
                    <a:pt x="6375" y="12139"/>
                  </a:lnTo>
                  <a:lnTo>
                    <a:pt x="6082" y="11895"/>
                  </a:lnTo>
                  <a:lnTo>
                    <a:pt x="5814" y="11602"/>
                  </a:lnTo>
                  <a:lnTo>
                    <a:pt x="5594" y="11309"/>
                  </a:lnTo>
                  <a:lnTo>
                    <a:pt x="5398" y="10967"/>
                  </a:lnTo>
                  <a:lnTo>
                    <a:pt x="5227" y="10625"/>
                  </a:lnTo>
                  <a:lnTo>
                    <a:pt x="5105" y="10259"/>
                  </a:lnTo>
                  <a:lnTo>
                    <a:pt x="5008" y="9868"/>
                  </a:lnTo>
                  <a:lnTo>
                    <a:pt x="4934" y="9477"/>
                  </a:lnTo>
                  <a:lnTo>
                    <a:pt x="4910" y="9086"/>
                  </a:lnTo>
                  <a:lnTo>
                    <a:pt x="4934" y="8671"/>
                  </a:lnTo>
                  <a:lnTo>
                    <a:pt x="5008" y="8280"/>
                  </a:lnTo>
                  <a:lnTo>
                    <a:pt x="5105" y="7890"/>
                  </a:lnTo>
                  <a:lnTo>
                    <a:pt x="5227" y="7523"/>
                  </a:lnTo>
                  <a:lnTo>
                    <a:pt x="5398" y="7181"/>
                  </a:lnTo>
                  <a:lnTo>
                    <a:pt x="5594" y="6864"/>
                  </a:lnTo>
                  <a:lnTo>
                    <a:pt x="5814" y="6546"/>
                  </a:lnTo>
                  <a:lnTo>
                    <a:pt x="6082" y="6278"/>
                  </a:lnTo>
                  <a:lnTo>
                    <a:pt x="6375" y="6009"/>
                  </a:lnTo>
                  <a:lnTo>
                    <a:pt x="6668" y="5789"/>
                  </a:lnTo>
                  <a:lnTo>
                    <a:pt x="6986" y="5594"/>
                  </a:lnTo>
                  <a:lnTo>
                    <a:pt x="7352" y="5423"/>
                  </a:lnTo>
                  <a:lnTo>
                    <a:pt x="7719" y="5276"/>
                  </a:lnTo>
                  <a:lnTo>
                    <a:pt x="8085" y="5179"/>
                  </a:lnTo>
                  <a:lnTo>
                    <a:pt x="8476" y="5130"/>
                  </a:lnTo>
                  <a:lnTo>
                    <a:pt x="8891" y="5105"/>
                  </a:lnTo>
                  <a:close/>
                  <a:moveTo>
                    <a:pt x="5301" y="1"/>
                  </a:moveTo>
                  <a:lnTo>
                    <a:pt x="5154" y="50"/>
                  </a:lnTo>
                  <a:lnTo>
                    <a:pt x="5008" y="123"/>
                  </a:lnTo>
                  <a:lnTo>
                    <a:pt x="4861" y="221"/>
                  </a:lnTo>
                  <a:lnTo>
                    <a:pt x="4739" y="318"/>
                  </a:lnTo>
                  <a:lnTo>
                    <a:pt x="4641" y="465"/>
                  </a:lnTo>
                  <a:lnTo>
                    <a:pt x="4568" y="611"/>
                  </a:lnTo>
                  <a:lnTo>
                    <a:pt x="4519" y="758"/>
                  </a:lnTo>
                  <a:lnTo>
                    <a:pt x="4080" y="2565"/>
                  </a:lnTo>
                  <a:lnTo>
                    <a:pt x="3249" y="2565"/>
                  </a:lnTo>
                  <a:lnTo>
                    <a:pt x="3249" y="2468"/>
                  </a:lnTo>
                  <a:lnTo>
                    <a:pt x="3225" y="2370"/>
                  </a:lnTo>
                  <a:lnTo>
                    <a:pt x="3176" y="2297"/>
                  </a:lnTo>
                  <a:lnTo>
                    <a:pt x="3103" y="2223"/>
                  </a:lnTo>
                  <a:lnTo>
                    <a:pt x="3054" y="2150"/>
                  </a:lnTo>
                  <a:lnTo>
                    <a:pt x="2956" y="2126"/>
                  </a:lnTo>
                  <a:lnTo>
                    <a:pt x="2858" y="2077"/>
                  </a:lnTo>
                  <a:lnTo>
                    <a:pt x="1955" y="2077"/>
                  </a:lnTo>
                  <a:lnTo>
                    <a:pt x="1857" y="2126"/>
                  </a:lnTo>
                  <a:lnTo>
                    <a:pt x="1784" y="2150"/>
                  </a:lnTo>
                  <a:lnTo>
                    <a:pt x="1711" y="2223"/>
                  </a:lnTo>
                  <a:lnTo>
                    <a:pt x="1637" y="2297"/>
                  </a:lnTo>
                  <a:lnTo>
                    <a:pt x="1613" y="2370"/>
                  </a:lnTo>
                  <a:lnTo>
                    <a:pt x="1564" y="2468"/>
                  </a:lnTo>
                  <a:lnTo>
                    <a:pt x="1564" y="2565"/>
                  </a:lnTo>
                  <a:lnTo>
                    <a:pt x="782" y="2565"/>
                  </a:lnTo>
                  <a:lnTo>
                    <a:pt x="636" y="2590"/>
                  </a:lnTo>
                  <a:lnTo>
                    <a:pt x="489" y="2639"/>
                  </a:lnTo>
                  <a:lnTo>
                    <a:pt x="343" y="2687"/>
                  </a:lnTo>
                  <a:lnTo>
                    <a:pt x="221" y="2785"/>
                  </a:lnTo>
                  <a:lnTo>
                    <a:pt x="123" y="2907"/>
                  </a:lnTo>
                  <a:lnTo>
                    <a:pt x="74" y="3054"/>
                  </a:lnTo>
                  <a:lnTo>
                    <a:pt x="25" y="3200"/>
                  </a:lnTo>
                  <a:lnTo>
                    <a:pt x="1" y="3347"/>
                  </a:lnTo>
                  <a:lnTo>
                    <a:pt x="1" y="14020"/>
                  </a:lnTo>
                  <a:lnTo>
                    <a:pt x="25" y="14191"/>
                  </a:lnTo>
                  <a:lnTo>
                    <a:pt x="74" y="14337"/>
                  </a:lnTo>
                  <a:lnTo>
                    <a:pt x="123" y="14459"/>
                  </a:lnTo>
                  <a:lnTo>
                    <a:pt x="221" y="14581"/>
                  </a:lnTo>
                  <a:lnTo>
                    <a:pt x="343" y="14679"/>
                  </a:lnTo>
                  <a:lnTo>
                    <a:pt x="489" y="14752"/>
                  </a:lnTo>
                  <a:lnTo>
                    <a:pt x="636" y="14801"/>
                  </a:lnTo>
                  <a:lnTo>
                    <a:pt x="17146" y="14801"/>
                  </a:lnTo>
                  <a:lnTo>
                    <a:pt x="17292" y="14752"/>
                  </a:lnTo>
                  <a:lnTo>
                    <a:pt x="17439" y="14679"/>
                  </a:lnTo>
                  <a:lnTo>
                    <a:pt x="17561" y="14581"/>
                  </a:lnTo>
                  <a:lnTo>
                    <a:pt x="17659" y="14459"/>
                  </a:lnTo>
                  <a:lnTo>
                    <a:pt x="17708" y="14337"/>
                  </a:lnTo>
                  <a:lnTo>
                    <a:pt x="17756" y="14191"/>
                  </a:lnTo>
                  <a:lnTo>
                    <a:pt x="17781" y="14020"/>
                  </a:lnTo>
                  <a:lnTo>
                    <a:pt x="17781" y="3347"/>
                  </a:lnTo>
                  <a:lnTo>
                    <a:pt x="17756" y="3200"/>
                  </a:lnTo>
                  <a:lnTo>
                    <a:pt x="17708" y="3054"/>
                  </a:lnTo>
                  <a:lnTo>
                    <a:pt x="17659" y="2907"/>
                  </a:lnTo>
                  <a:lnTo>
                    <a:pt x="17561" y="2785"/>
                  </a:lnTo>
                  <a:lnTo>
                    <a:pt x="17439" y="2687"/>
                  </a:lnTo>
                  <a:lnTo>
                    <a:pt x="17292" y="2639"/>
                  </a:lnTo>
                  <a:lnTo>
                    <a:pt x="17146" y="2590"/>
                  </a:lnTo>
                  <a:lnTo>
                    <a:pt x="16999" y="2565"/>
                  </a:lnTo>
                  <a:lnTo>
                    <a:pt x="13702" y="2565"/>
                  </a:lnTo>
                  <a:lnTo>
                    <a:pt x="13263" y="758"/>
                  </a:lnTo>
                  <a:lnTo>
                    <a:pt x="13214" y="611"/>
                  </a:lnTo>
                  <a:lnTo>
                    <a:pt x="13141" y="465"/>
                  </a:lnTo>
                  <a:lnTo>
                    <a:pt x="13043" y="318"/>
                  </a:lnTo>
                  <a:lnTo>
                    <a:pt x="12921" y="221"/>
                  </a:lnTo>
                  <a:lnTo>
                    <a:pt x="12774" y="123"/>
                  </a:lnTo>
                  <a:lnTo>
                    <a:pt x="12628" y="50"/>
                  </a:lnTo>
                  <a:lnTo>
                    <a:pt x="1248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3" name="Shape 342"/>
          <p:cNvGrpSpPr/>
          <p:nvPr/>
        </p:nvGrpSpPr>
        <p:grpSpPr>
          <a:xfrm>
            <a:off x="3727786" y="1784663"/>
            <a:ext cx="324530" cy="285357"/>
            <a:chOff x="1928175" y="312600"/>
            <a:chExt cx="425000" cy="373700"/>
          </a:xfrm>
        </p:grpSpPr>
        <p:sp>
          <p:nvSpPr>
            <p:cNvPr id="14" name="Shape 343"/>
            <p:cNvSpPr/>
            <p:nvPr/>
          </p:nvSpPr>
          <p:spPr>
            <a:xfrm>
              <a:off x="1928175" y="312600"/>
              <a:ext cx="425000" cy="373700"/>
            </a:xfrm>
            <a:custGeom>
              <a:avLst/>
              <a:gdLst/>
              <a:ahLst/>
              <a:cxnLst/>
              <a:rect l="0" t="0" r="0" b="0"/>
              <a:pathLst>
                <a:path w="17000" h="14948" extrusionOk="0">
                  <a:moveTo>
                    <a:pt x="16022" y="978"/>
                  </a:moveTo>
                  <a:lnTo>
                    <a:pt x="16022" y="13971"/>
                  </a:lnTo>
                  <a:lnTo>
                    <a:pt x="978" y="13971"/>
                  </a:lnTo>
                  <a:lnTo>
                    <a:pt x="978" y="978"/>
                  </a:lnTo>
                  <a:close/>
                  <a:moveTo>
                    <a:pt x="782" y="1"/>
                  </a:moveTo>
                  <a:lnTo>
                    <a:pt x="636" y="25"/>
                  </a:lnTo>
                  <a:lnTo>
                    <a:pt x="489" y="74"/>
                  </a:lnTo>
                  <a:lnTo>
                    <a:pt x="343" y="147"/>
                  </a:lnTo>
                  <a:lnTo>
                    <a:pt x="221" y="245"/>
                  </a:lnTo>
                  <a:lnTo>
                    <a:pt x="123" y="343"/>
                  </a:lnTo>
                  <a:lnTo>
                    <a:pt x="74" y="489"/>
                  </a:lnTo>
                  <a:lnTo>
                    <a:pt x="25" y="636"/>
                  </a:lnTo>
                  <a:lnTo>
                    <a:pt x="1" y="782"/>
                  </a:lnTo>
                  <a:lnTo>
                    <a:pt x="1" y="14166"/>
                  </a:lnTo>
                  <a:lnTo>
                    <a:pt x="25" y="14313"/>
                  </a:lnTo>
                  <a:lnTo>
                    <a:pt x="74" y="14459"/>
                  </a:lnTo>
                  <a:lnTo>
                    <a:pt x="123" y="14606"/>
                  </a:lnTo>
                  <a:lnTo>
                    <a:pt x="221" y="14703"/>
                  </a:lnTo>
                  <a:lnTo>
                    <a:pt x="343" y="14801"/>
                  </a:lnTo>
                  <a:lnTo>
                    <a:pt x="489" y="14874"/>
                  </a:lnTo>
                  <a:lnTo>
                    <a:pt x="636" y="14923"/>
                  </a:lnTo>
                  <a:lnTo>
                    <a:pt x="782" y="14948"/>
                  </a:lnTo>
                  <a:lnTo>
                    <a:pt x="16218" y="14948"/>
                  </a:lnTo>
                  <a:lnTo>
                    <a:pt x="16364" y="14923"/>
                  </a:lnTo>
                  <a:lnTo>
                    <a:pt x="16511" y="14874"/>
                  </a:lnTo>
                  <a:lnTo>
                    <a:pt x="16657" y="14801"/>
                  </a:lnTo>
                  <a:lnTo>
                    <a:pt x="16779" y="14703"/>
                  </a:lnTo>
                  <a:lnTo>
                    <a:pt x="16877" y="14606"/>
                  </a:lnTo>
                  <a:lnTo>
                    <a:pt x="16926" y="14459"/>
                  </a:lnTo>
                  <a:lnTo>
                    <a:pt x="16975" y="14313"/>
                  </a:lnTo>
                  <a:lnTo>
                    <a:pt x="16999" y="14166"/>
                  </a:lnTo>
                  <a:lnTo>
                    <a:pt x="16999" y="782"/>
                  </a:lnTo>
                  <a:lnTo>
                    <a:pt x="16975" y="636"/>
                  </a:lnTo>
                  <a:lnTo>
                    <a:pt x="16926" y="489"/>
                  </a:lnTo>
                  <a:lnTo>
                    <a:pt x="16877" y="343"/>
                  </a:lnTo>
                  <a:lnTo>
                    <a:pt x="16779" y="245"/>
                  </a:lnTo>
                  <a:lnTo>
                    <a:pt x="16657" y="147"/>
                  </a:lnTo>
                  <a:lnTo>
                    <a:pt x="16511" y="74"/>
                  </a:lnTo>
                  <a:lnTo>
                    <a:pt x="16364" y="25"/>
                  </a:lnTo>
                  <a:lnTo>
                    <a:pt x="1621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5" name="Shape 344"/>
            <p:cNvSpPr/>
            <p:nvPr/>
          </p:nvSpPr>
          <p:spPr>
            <a:xfrm>
              <a:off x="1964825" y="349250"/>
              <a:ext cx="351700" cy="300425"/>
            </a:xfrm>
            <a:custGeom>
              <a:avLst/>
              <a:gdLst/>
              <a:ahLst/>
              <a:cxnLst/>
              <a:rect l="0" t="0" r="0" b="0"/>
              <a:pathLst>
                <a:path w="14068" h="12017" extrusionOk="0">
                  <a:moveTo>
                    <a:pt x="10111" y="1563"/>
                  </a:moveTo>
                  <a:lnTo>
                    <a:pt x="10307" y="1588"/>
                  </a:lnTo>
                  <a:lnTo>
                    <a:pt x="10502" y="1612"/>
                  </a:lnTo>
                  <a:lnTo>
                    <a:pt x="10697" y="1661"/>
                  </a:lnTo>
                  <a:lnTo>
                    <a:pt x="10868" y="1734"/>
                  </a:lnTo>
                  <a:lnTo>
                    <a:pt x="11039" y="1807"/>
                  </a:lnTo>
                  <a:lnTo>
                    <a:pt x="11186" y="1905"/>
                  </a:lnTo>
                  <a:lnTo>
                    <a:pt x="11357" y="2027"/>
                  </a:lnTo>
                  <a:lnTo>
                    <a:pt x="11479" y="2149"/>
                  </a:lnTo>
                  <a:lnTo>
                    <a:pt x="11625" y="2271"/>
                  </a:lnTo>
                  <a:lnTo>
                    <a:pt x="11723" y="2442"/>
                  </a:lnTo>
                  <a:lnTo>
                    <a:pt x="11821" y="2589"/>
                  </a:lnTo>
                  <a:lnTo>
                    <a:pt x="11894" y="2760"/>
                  </a:lnTo>
                  <a:lnTo>
                    <a:pt x="11967" y="2955"/>
                  </a:lnTo>
                  <a:lnTo>
                    <a:pt x="12016" y="3126"/>
                  </a:lnTo>
                  <a:lnTo>
                    <a:pt x="12041" y="3322"/>
                  </a:lnTo>
                  <a:lnTo>
                    <a:pt x="12065" y="3517"/>
                  </a:lnTo>
                  <a:lnTo>
                    <a:pt x="12041" y="3737"/>
                  </a:lnTo>
                  <a:lnTo>
                    <a:pt x="12016" y="3908"/>
                  </a:lnTo>
                  <a:lnTo>
                    <a:pt x="11967" y="4103"/>
                  </a:lnTo>
                  <a:lnTo>
                    <a:pt x="11894" y="4274"/>
                  </a:lnTo>
                  <a:lnTo>
                    <a:pt x="11821" y="4445"/>
                  </a:lnTo>
                  <a:lnTo>
                    <a:pt x="11723" y="4616"/>
                  </a:lnTo>
                  <a:lnTo>
                    <a:pt x="11625" y="4763"/>
                  </a:lnTo>
                  <a:lnTo>
                    <a:pt x="11479" y="4909"/>
                  </a:lnTo>
                  <a:lnTo>
                    <a:pt x="11357" y="5031"/>
                  </a:lnTo>
                  <a:lnTo>
                    <a:pt x="11186" y="5153"/>
                  </a:lnTo>
                  <a:lnTo>
                    <a:pt x="11039" y="5251"/>
                  </a:lnTo>
                  <a:lnTo>
                    <a:pt x="10868" y="5324"/>
                  </a:lnTo>
                  <a:lnTo>
                    <a:pt x="10697" y="5398"/>
                  </a:lnTo>
                  <a:lnTo>
                    <a:pt x="10502" y="5446"/>
                  </a:lnTo>
                  <a:lnTo>
                    <a:pt x="10307" y="5471"/>
                  </a:lnTo>
                  <a:lnTo>
                    <a:pt x="9916" y="5471"/>
                  </a:lnTo>
                  <a:lnTo>
                    <a:pt x="9720" y="5446"/>
                  </a:lnTo>
                  <a:lnTo>
                    <a:pt x="9525" y="5398"/>
                  </a:lnTo>
                  <a:lnTo>
                    <a:pt x="9354" y="5324"/>
                  </a:lnTo>
                  <a:lnTo>
                    <a:pt x="9183" y="5251"/>
                  </a:lnTo>
                  <a:lnTo>
                    <a:pt x="9012" y="5153"/>
                  </a:lnTo>
                  <a:lnTo>
                    <a:pt x="8866" y="5031"/>
                  </a:lnTo>
                  <a:lnTo>
                    <a:pt x="8719" y="4909"/>
                  </a:lnTo>
                  <a:lnTo>
                    <a:pt x="8597" y="4763"/>
                  </a:lnTo>
                  <a:lnTo>
                    <a:pt x="8475" y="4616"/>
                  </a:lnTo>
                  <a:lnTo>
                    <a:pt x="8377" y="4445"/>
                  </a:lnTo>
                  <a:lnTo>
                    <a:pt x="8304" y="4274"/>
                  </a:lnTo>
                  <a:lnTo>
                    <a:pt x="8231" y="4103"/>
                  </a:lnTo>
                  <a:lnTo>
                    <a:pt x="8182" y="3908"/>
                  </a:lnTo>
                  <a:lnTo>
                    <a:pt x="8157" y="3737"/>
                  </a:lnTo>
                  <a:lnTo>
                    <a:pt x="8157" y="3517"/>
                  </a:lnTo>
                  <a:lnTo>
                    <a:pt x="8157" y="3322"/>
                  </a:lnTo>
                  <a:lnTo>
                    <a:pt x="8182" y="3126"/>
                  </a:lnTo>
                  <a:lnTo>
                    <a:pt x="8231" y="2955"/>
                  </a:lnTo>
                  <a:lnTo>
                    <a:pt x="8304" y="2760"/>
                  </a:lnTo>
                  <a:lnTo>
                    <a:pt x="8377" y="2589"/>
                  </a:lnTo>
                  <a:lnTo>
                    <a:pt x="8475" y="2442"/>
                  </a:lnTo>
                  <a:lnTo>
                    <a:pt x="8597" y="2271"/>
                  </a:lnTo>
                  <a:lnTo>
                    <a:pt x="8719" y="2149"/>
                  </a:lnTo>
                  <a:lnTo>
                    <a:pt x="8866" y="2027"/>
                  </a:lnTo>
                  <a:lnTo>
                    <a:pt x="9012" y="1905"/>
                  </a:lnTo>
                  <a:lnTo>
                    <a:pt x="9183" y="1807"/>
                  </a:lnTo>
                  <a:lnTo>
                    <a:pt x="9354" y="1734"/>
                  </a:lnTo>
                  <a:lnTo>
                    <a:pt x="9525" y="1661"/>
                  </a:lnTo>
                  <a:lnTo>
                    <a:pt x="9720" y="1612"/>
                  </a:lnTo>
                  <a:lnTo>
                    <a:pt x="9916" y="1588"/>
                  </a:lnTo>
                  <a:lnTo>
                    <a:pt x="10111" y="1563"/>
                  </a:lnTo>
                  <a:close/>
                  <a:moveTo>
                    <a:pt x="0" y="0"/>
                  </a:moveTo>
                  <a:lnTo>
                    <a:pt x="0" y="9232"/>
                  </a:lnTo>
                  <a:lnTo>
                    <a:pt x="3248" y="5080"/>
                  </a:lnTo>
                  <a:lnTo>
                    <a:pt x="3346" y="4958"/>
                  </a:lnTo>
                  <a:lnTo>
                    <a:pt x="3468" y="4885"/>
                  </a:lnTo>
                  <a:lnTo>
                    <a:pt x="3590" y="4836"/>
                  </a:lnTo>
                  <a:lnTo>
                    <a:pt x="3737" y="4811"/>
                  </a:lnTo>
                  <a:lnTo>
                    <a:pt x="3859" y="4836"/>
                  </a:lnTo>
                  <a:lnTo>
                    <a:pt x="4005" y="4885"/>
                  </a:lnTo>
                  <a:lnTo>
                    <a:pt x="4128" y="4958"/>
                  </a:lnTo>
                  <a:lnTo>
                    <a:pt x="4225" y="5080"/>
                  </a:lnTo>
                  <a:lnTo>
                    <a:pt x="9647" y="12016"/>
                  </a:lnTo>
                  <a:lnTo>
                    <a:pt x="10233" y="12016"/>
                  </a:lnTo>
                  <a:lnTo>
                    <a:pt x="10087" y="11772"/>
                  </a:lnTo>
                  <a:lnTo>
                    <a:pt x="8157" y="9305"/>
                  </a:lnTo>
                  <a:lnTo>
                    <a:pt x="9403" y="7718"/>
                  </a:lnTo>
                  <a:lnTo>
                    <a:pt x="9501" y="7596"/>
                  </a:lnTo>
                  <a:lnTo>
                    <a:pt x="9623" y="7522"/>
                  </a:lnTo>
                  <a:lnTo>
                    <a:pt x="9745" y="7473"/>
                  </a:lnTo>
                  <a:lnTo>
                    <a:pt x="9891" y="7449"/>
                  </a:lnTo>
                  <a:lnTo>
                    <a:pt x="10014" y="7473"/>
                  </a:lnTo>
                  <a:lnTo>
                    <a:pt x="10160" y="7522"/>
                  </a:lnTo>
                  <a:lnTo>
                    <a:pt x="10282" y="7596"/>
                  </a:lnTo>
                  <a:lnTo>
                    <a:pt x="10380" y="7718"/>
                  </a:lnTo>
                  <a:lnTo>
                    <a:pt x="13750" y="12016"/>
                  </a:lnTo>
                  <a:lnTo>
                    <a:pt x="14068" y="12016"/>
                  </a:lnTo>
                  <a:lnTo>
                    <a:pt x="1406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16" name="Shape 345"/>
          <p:cNvSpPr/>
          <p:nvPr/>
        </p:nvSpPr>
        <p:spPr>
          <a:xfrm>
            <a:off x="4272091" y="1774434"/>
            <a:ext cx="265771" cy="305860"/>
          </a:xfrm>
          <a:custGeom>
            <a:avLst/>
            <a:gdLst/>
            <a:ahLst/>
            <a:cxnLst/>
            <a:rect l="0" t="0" r="0" b="0"/>
            <a:pathLst>
              <a:path w="13922" h="16022" extrusionOk="0">
                <a:moveTo>
                  <a:pt x="13922" y="0"/>
                </a:moveTo>
                <a:lnTo>
                  <a:pt x="3249" y="3249"/>
                </a:lnTo>
                <a:lnTo>
                  <a:pt x="3249" y="12651"/>
                </a:lnTo>
                <a:lnTo>
                  <a:pt x="2907" y="12627"/>
                </a:lnTo>
                <a:lnTo>
                  <a:pt x="2565" y="12627"/>
                </a:lnTo>
                <a:lnTo>
                  <a:pt x="2198" y="12676"/>
                </a:lnTo>
                <a:lnTo>
                  <a:pt x="1832" y="12774"/>
                </a:lnTo>
                <a:lnTo>
                  <a:pt x="1612" y="12847"/>
                </a:lnTo>
                <a:lnTo>
                  <a:pt x="1393" y="12945"/>
                </a:lnTo>
                <a:lnTo>
                  <a:pt x="1197" y="13067"/>
                </a:lnTo>
                <a:lnTo>
                  <a:pt x="1002" y="13164"/>
                </a:lnTo>
                <a:lnTo>
                  <a:pt x="806" y="13311"/>
                </a:lnTo>
                <a:lnTo>
                  <a:pt x="660" y="13433"/>
                </a:lnTo>
                <a:lnTo>
                  <a:pt x="513" y="13580"/>
                </a:lnTo>
                <a:lnTo>
                  <a:pt x="391" y="13726"/>
                </a:lnTo>
                <a:lnTo>
                  <a:pt x="269" y="13897"/>
                </a:lnTo>
                <a:lnTo>
                  <a:pt x="171" y="14044"/>
                </a:lnTo>
                <a:lnTo>
                  <a:pt x="98" y="14215"/>
                </a:lnTo>
                <a:lnTo>
                  <a:pt x="49" y="14386"/>
                </a:lnTo>
                <a:lnTo>
                  <a:pt x="25" y="14532"/>
                </a:lnTo>
                <a:lnTo>
                  <a:pt x="0" y="14703"/>
                </a:lnTo>
                <a:lnTo>
                  <a:pt x="25" y="14874"/>
                </a:lnTo>
                <a:lnTo>
                  <a:pt x="49" y="15021"/>
                </a:lnTo>
                <a:lnTo>
                  <a:pt x="123" y="15191"/>
                </a:lnTo>
                <a:lnTo>
                  <a:pt x="196" y="15338"/>
                </a:lnTo>
                <a:lnTo>
                  <a:pt x="293" y="15460"/>
                </a:lnTo>
                <a:lnTo>
                  <a:pt x="416" y="15582"/>
                </a:lnTo>
                <a:lnTo>
                  <a:pt x="562" y="15680"/>
                </a:lnTo>
                <a:lnTo>
                  <a:pt x="709" y="15778"/>
                </a:lnTo>
                <a:lnTo>
                  <a:pt x="880" y="15851"/>
                </a:lnTo>
                <a:lnTo>
                  <a:pt x="1075" y="15924"/>
                </a:lnTo>
                <a:lnTo>
                  <a:pt x="1246" y="15973"/>
                </a:lnTo>
                <a:lnTo>
                  <a:pt x="1466" y="15997"/>
                </a:lnTo>
                <a:lnTo>
                  <a:pt x="1661" y="16022"/>
                </a:lnTo>
                <a:lnTo>
                  <a:pt x="1881" y="16022"/>
                </a:lnTo>
                <a:lnTo>
                  <a:pt x="2101" y="15997"/>
                </a:lnTo>
                <a:lnTo>
                  <a:pt x="2345" y="15973"/>
                </a:lnTo>
                <a:lnTo>
                  <a:pt x="2565" y="15924"/>
                </a:lnTo>
                <a:lnTo>
                  <a:pt x="2809" y="15875"/>
                </a:lnTo>
                <a:lnTo>
                  <a:pt x="3224" y="15704"/>
                </a:lnTo>
                <a:lnTo>
                  <a:pt x="3591" y="15509"/>
                </a:lnTo>
                <a:lnTo>
                  <a:pt x="3908" y="15289"/>
                </a:lnTo>
                <a:lnTo>
                  <a:pt x="4177" y="15021"/>
                </a:lnTo>
                <a:lnTo>
                  <a:pt x="4372" y="14752"/>
                </a:lnTo>
                <a:lnTo>
                  <a:pt x="4470" y="14605"/>
                </a:lnTo>
                <a:lnTo>
                  <a:pt x="4543" y="14459"/>
                </a:lnTo>
                <a:lnTo>
                  <a:pt x="4592" y="14312"/>
                </a:lnTo>
                <a:lnTo>
                  <a:pt x="4616" y="14166"/>
                </a:lnTo>
                <a:lnTo>
                  <a:pt x="4641" y="14019"/>
                </a:lnTo>
                <a:lnTo>
                  <a:pt x="4641" y="13873"/>
                </a:lnTo>
                <a:lnTo>
                  <a:pt x="4641" y="6204"/>
                </a:lnTo>
                <a:lnTo>
                  <a:pt x="12505" y="3737"/>
                </a:lnTo>
                <a:lnTo>
                  <a:pt x="12505" y="10136"/>
                </a:lnTo>
                <a:lnTo>
                  <a:pt x="12187" y="10111"/>
                </a:lnTo>
                <a:lnTo>
                  <a:pt x="11846" y="10111"/>
                </a:lnTo>
                <a:lnTo>
                  <a:pt x="11479" y="10160"/>
                </a:lnTo>
                <a:lnTo>
                  <a:pt x="11113" y="10258"/>
                </a:lnTo>
                <a:lnTo>
                  <a:pt x="10893" y="10331"/>
                </a:lnTo>
                <a:lnTo>
                  <a:pt x="10673" y="10429"/>
                </a:lnTo>
                <a:lnTo>
                  <a:pt x="10453" y="10551"/>
                </a:lnTo>
                <a:lnTo>
                  <a:pt x="10283" y="10649"/>
                </a:lnTo>
                <a:lnTo>
                  <a:pt x="10087" y="10795"/>
                </a:lnTo>
                <a:lnTo>
                  <a:pt x="9941" y="10917"/>
                </a:lnTo>
                <a:lnTo>
                  <a:pt x="9794" y="11064"/>
                </a:lnTo>
                <a:lnTo>
                  <a:pt x="9648" y="11211"/>
                </a:lnTo>
                <a:lnTo>
                  <a:pt x="9550" y="11381"/>
                </a:lnTo>
                <a:lnTo>
                  <a:pt x="9452" y="11528"/>
                </a:lnTo>
                <a:lnTo>
                  <a:pt x="9379" y="11699"/>
                </a:lnTo>
                <a:lnTo>
                  <a:pt x="9330" y="11870"/>
                </a:lnTo>
                <a:lnTo>
                  <a:pt x="9306" y="12016"/>
                </a:lnTo>
                <a:lnTo>
                  <a:pt x="9281" y="12187"/>
                </a:lnTo>
                <a:lnTo>
                  <a:pt x="9306" y="12358"/>
                </a:lnTo>
                <a:lnTo>
                  <a:pt x="9330" y="12505"/>
                </a:lnTo>
                <a:lnTo>
                  <a:pt x="9403" y="12676"/>
                </a:lnTo>
                <a:lnTo>
                  <a:pt x="9477" y="12822"/>
                </a:lnTo>
                <a:lnTo>
                  <a:pt x="9574" y="12945"/>
                </a:lnTo>
                <a:lnTo>
                  <a:pt x="9696" y="13067"/>
                </a:lnTo>
                <a:lnTo>
                  <a:pt x="9843" y="13164"/>
                </a:lnTo>
                <a:lnTo>
                  <a:pt x="9989" y="13262"/>
                </a:lnTo>
                <a:lnTo>
                  <a:pt x="10160" y="13335"/>
                </a:lnTo>
                <a:lnTo>
                  <a:pt x="10331" y="13409"/>
                </a:lnTo>
                <a:lnTo>
                  <a:pt x="10527" y="13457"/>
                </a:lnTo>
                <a:lnTo>
                  <a:pt x="10747" y="13482"/>
                </a:lnTo>
                <a:lnTo>
                  <a:pt x="10942" y="13506"/>
                </a:lnTo>
                <a:lnTo>
                  <a:pt x="11162" y="13506"/>
                </a:lnTo>
                <a:lnTo>
                  <a:pt x="11382" y="13482"/>
                </a:lnTo>
                <a:lnTo>
                  <a:pt x="11626" y="13457"/>
                </a:lnTo>
                <a:lnTo>
                  <a:pt x="11846" y="13409"/>
                </a:lnTo>
                <a:lnTo>
                  <a:pt x="12090" y="13360"/>
                </a:lnTo>
                <a:lnTo>
                  <a:pt x="12456" y="13213"/>
                </a:lnTo>
                <a:lnTo>
                  <a:pt x="12798" y="13042"/>
                </a:lnTo>
                <a:lnTo>
                  <a:pt x="13091" y="12822"/>
                </a:lnTo>
                <a:lnTo>
                  <a:pt x="13360" y="12603"/>
                </a:lnTo>
                <a:lnTo>
                  <a:pt x="13580" y="12358"/>
                </a:lnTo>
                <a:lnTo>
                  <a:pt x="13751" y="12090"/>
                </a:lnTo>
                <a:lnTo>
                  <a:pt x="13848" y="11821"/>
                </a:lnTo>
                <a:lnTo>
                  <a:pt x="13897" y="11675"/>
                </a:lnTo>
                <a:lnTo>
                  <a:pt x="13922" y="11552"/>
                </a:lnTo>
                <a:lnTo>
                  <a:pt x="1392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7" name="Shape 346"/>
          <p:cNvSpPr/>
          <p:nvPr/>
        </p:nvSpPr>
        <p:spPr>
          <a:xfrm>
            <a:off x="4805042" y="1775370"/>
            <a:ext cx="229424" cy="303989"/>
          </a:xfrm>
          <a:custGeom>
            <a:avLst/>
            <a:gdLst/>
            <a:ahLst/>
            <a:cxnLst/>
            <a:rect l="0" t="0" r="0" b="0"/>
            <a:pathLst>
              <a:path w="12018" h="15924" extrusionOk="0">
                <a:moveTo>
                  <a:pt x="6278" y="3444"/>
                </a:moveTo>
                <a:lnTo>
                  <a:pt x="6522" y="3493"/>
                </a:lnTo>
                <a:lnTo>
                  <a:pt x="6766" y="3542"/>
                </a:lnTo>
                <a:lnTo>
                  <a:pt x="7010" y="3639"/>
                </a:lnTo>
                <a:lnTo>
                  <a:pt x="7230" y="3737"/>
                </a:lnTo>
                <a:lnTo>
                  <a:pt x="7450" y="3883"/>
                </a:lnTo>
                <a:lnTo>
                  <a:pt x="7645" y="4030"/>
                </a:lnTo>
                <a:lnTo>
                  <a:pt x="7816" y="4201"/>
                </a:lnTo>
                <a:lnTo>
                  <a:pt x="7987" y="4372"/>
                </a:lnTo>
                <a:lnTo>
                  <a:pt x="8134" y="4567"/>
                </a:lnTo>
                <a:lnTo>
                  <a:pt x="8280" y="4787"/>
                </a:lnTo>
                <a:lnTo>
                  <a:pt x="8378" y="5007"/>
                </a:lnTo>
                <a:lnTo>
                  <a:pt x="8476" y="5251"/>
                </a:lnTo>
                <a:lnTo>
                  <a:pt x="8525" y="5495"/>
                </a:lnTo>
                <a:lnTo>
                  <a:pt x="8573" y="5740"/>
                </a:lnTo>
                <a:lnTo>
                  <a:pt x="8573" y="6008"/>
                </a:lnTo>
                <a:lnTo>
                  <a:pt x="8573" y="6277"/>
                </a:lnTo>
                <a:lnTo>
                  <a:pt x="8525" y="6521"/>
                </a:lnTo>
                <a:lnTo>
                  <a:pt x="8476" y="6765"/>
                </a:lnTo>
                <a:lnTo>
                  <a:pt x="8378" y="7010"/>
                </a:lnTo>
                <a:lnTo>
                  <a:pt x="8280" y="7229"/>
                </a:lnTo>
                <a:lnTo>
                  <a:pt x="8134" y="7449"/>
                </a:lnTo>
                <a:lnTo>
                  <a:pt x="7987" y="7645"/>
                </a:lnTo>
                <a:lnTo>
                  <a:pt x="7816" y="7816"/>
                </a:lnTo>
                <a:lnTo>
                  <a:pt x="7645" y="7987"/>
                </a:lnTo>
                <a:lnTo>
                  <a:pt x="7450" y="8133"/>
                </a:lnTo>
                <a:lnTo>
                  <a:pt x="7230" y="8280"/>
                </a:lnTo>
                <a:lnTo>
                  <a:pt x="7010" y="8377"/>
                </a:lnTo>
                <a:lnTo>
                  <a:pt x="6766" y="8475"/>
                </a:lnTo>
                <a:lnTo>
                  <a:pt x="6522" y="8524"/>
                </a:lnTo>
                <a:lnTo>
                  <a:pt x="6278" y="8573"/>
                </a:lnTo>
                <a:lnTo>
                  <a:pt x="5740" y="8573"/>
                </a:lnTo>
                <a:lnTo>
                  <a:pt x="5496" y="8524"/>
                </a:lnTo>
                <a:lnTo>
                  <a:pt x="5252" y="8475"/>
                </a:lnTo>
                <a:lnTo>
                  <a:pt x="5008" y="8377"/>
                </a:lnTo>
                <a:lnTo>
                  <a:pt x="4788" y="8280"/>
                </a:lnTo>
                <a:lnTo>
                  <a:pt x="4568" y="8133"/>
                </a:lnTo>
                <a:lnTo>
                  <a:pt x="4373" y="7987"/>
                </a:lnTo>
                <a:lnTo>
                  <a:pt x="4202" y="7816"/>
                </a:lnTo>
                <a:lnTo>
                  <a:pt x="4031" y="7645"/>
                </a:lnTo>
                <a:lnTo>
                  <a:pt x="3884" y="7449"/>
                </a:lnTo>
                <a:lnTo>
                  <a:pt x="3738" y="7229"/>
                </a:lnTo>
                <a:lnTo>
                  <a:pt x="3640" y="7010"/>
                </a:lnTo>
                <a:lnTo>
                  <a:pt x="3542" y="6765"/>
                </a:lnTo>
                <a:lnTo>
                  <a:pt x="3493" y="6521"/>
                </a:lnTo>
                <a:lnTo>
                  <a:pt x="3445" y="6277"/>
                </a:lnTo>
                <a:lnTo>
                  <a:pt x="3445" y="6008"/>
                </a:lnTo>
                <a:lnTo>
                  <a:pt x="3445" y="5740"/>
                </a:lnTo>
                <a:lnTo>
                  <a:pt x="3493" y="5495"/>
                </a:lnTo>
                <a:lnTo>
                  <a:pt x="3542" y="5251"/>
                </a:lnTo>
                <a:lnTo>
                  <a:pt x="3640" y="5007"/>
                </a:lnTo>
                <a:lnTo>
                  <a:pt x="3738" y="4787"/>
                </a:lnTo>
                <a:lnTo>
                  <a:pt x="3884" y="4567"/>
                </a:lnTo>
                <a:lnTo>
                  <a:pt x="4031" y="4372"/>
                </a:lnTo>
                <a:lnTo>
                  <a:pt x="4202" y="4201"/>
                </a:lnTo>
                <a:lnTo>
                  <a:pt x="4373" y="4030"/>
                </a:lnTo>
                <a:lnTo>
                  <a:pt x="4568" y="3883"/>
                </a:lnTo>
                <a:lnTo>
                  <a:pt x="4788" y="3737"/>
                </a:lnTo>
                <a:lnTo>
                  <a:pt x="5008" y="3639"/>
                </a:lnTo>
                <a:lnTo>
                  <a:pt x="5252" y="3542"/>
                </a:lnTo>
                <a:lnTo>
                  <a:pt x="5496" y="3493"/>
                </a:lnTo>
                <a:lnTo>
                  <a:pt x="5740" y="3444"/>
                </a:lnTo>
                <a:close/>
                <a:moveTo>
                  <a:pt x="5691" y="0"/>
                </a:moveTo>
                <a:lnTo>
                  <a:pt x="5398" y="25"/>
                </a:lnTo>
                <a:lnTo>
                  <a:pt x="5105" y="73"/>
                </a:lnTo>
                <a:lnTo>
                  <a:pt x="4788" y="122"/>
                </a:lnTo>
                <a:lnTo>
                  <a:pt x="4519" y="196"/>
                </a:lnTo>
                <a:lnTo>
                  <a:pt x="4226" y="269"/>
                </a:lnTo>
                <a:lnTo>
                  <a:pt x="3664" y="464"/>
                </a:lnTo>
                <a:lnTo>
                  <a:pt x="3152" y="733"/>
                </a:lnTo>
                <a:lnTo>
                  <a:pt x="2639" y="1026"/>
                </a:lnTo>
                <a:lnTo>
                  <a:pt x="2199" y="1368"/>
                </a:lnTo>
                <a:lnTo>
                  <a:pt x="1759" y="1759"/>
                </a:lnTo>
                <a:lnTo>
                  <a:pt x="1369" y="2198"/>
                </a:lnTo>
                <a:lnTo>
                  <a:pt x="1027" y="2638"/>
                </a:lnTo>
                <a:lnTo>
                  <a:pt x="734" y="3151"/>
                </a:lnTo>
                <a:lnTo>
                  <a:pt x="465" y="3664"/>
                </a:lnTo>
                <a:lnTo>
                  <a:pt x="270" y="4225"/>
                </a:lnTo>
                <a:lnTo>
                  <a:pt x="196" y="4518"/>
                </a:lnTo>
                <a:lnTo>
                  <a:pt x="123" y="4787"/>
                </a:lnTo>
                <a:lnTo>
                  <a:pt x="74" y="5105"/>
                </a:lnTo>
                <a:lnTo>
                  <a:pt x="25" y="5398"/>
                </a:lnTo>
                <a:lnTo>
                  <a:pt x="1" y="5691"/>
                </a:lnTo>
                <a:lnTo>
                  <a:pt x="1" y="6008"/>
                </a:lnTo>
                <a:lnTo>
                  <a:pt x="25" y="6448"/>
                </a:lnTo>
                <a:lnTo>
                  <a:pt x="74" y="6887"/>
                </a:lnTo>
                <a:lnTo>
                  <a:pt x="147" y="7352"/>
                </a:lnTo>
                <a:lnTo>
                  <a:pt x="270" y="7791"/>
                </a:lnTo>
                <a:lnTo>
                  <a:pt x="392" y="8231"/>
                </a:lnTo>
                <a:lnTo>
                  <a:pt x="563" y="8670"/>
                </a:lnTo>
                <a:lnTo>
                  <a:pt x="734" y="9110"/>
                </a:lnTo>
                <a:lnTo>
                  <a:pt x="929" y="9550"/>
                </a:lnTo>
                <a:lnTo>
                  <a:pt x="1149" y="9965"/>
                </a:lnTo>
                <a:lnTo>
                  <a:pt x="1393" y="10404"/>
                </a:lnTo>
                <a:lnTo>
                  <a:pt x="1906" y="11210"/>
                </a:lnTo>
                <a:lnTo>
                  <a:pt x="2443" y="11992"/>
                </a:lnTo>
                <a:lnTo>
                  <a:pt x="3005" y="12725"/>
                </a:lnTo>
                <a:lnTo>
                  <a:pt x="3567" y="13408"/>
                </a:lnTo>
                <a:lnTo>
                  <a:pt x="4104" y="14019"/>
                </a:lnTo>
                <a:lnTo>
                  <a:pt x="4617" y="14581"/>
                </a:lnTo>
                <a:lnTo>
                  <a:pt x="5081" y="15045"/>
                </a:lnTo>
                <a:lnTo>
                  <a:pt x="5740" y="15680"/>
                </a:lnTo>
                <a:lnTo>
                  <a:pt x="6009" y="15924"/>
                </a:lnTo>
                <a:lnTo>
                  <a:pt x="6278" y="15680"/>
                </a:lnTo>
                <a:lnTo>
                  <a:pt x="6937" y="15045"/>
                </a:lnTo>
                <a:lnTo>
                  <a:pt x="7401" y="14581"/>
                </a:lnTo>
                <a:lnTo>
                  <a:pt x="7914" y="14019"/>
                </a:lnTo>
                <a:lnTo>
                  <a:pt x="8451" y="13408"/>
                </a:lnTo>
                <a:lnTo>
                  <a:pt x="9013" y="12725"/>
                </a:lnTo>
                <a:lnTo>
                  <a:pt x="9575" y="11992"/>
                </a:lnTo>
                <a:lnTo>
                  <a:pt x="10112" y="11210"/>
                </a:lnTo>
                <a:lnTo>
                  <a:pt x="10625" y="10404"/>
                </a:lnTo>
                <a:lnTo>
                  <a:pt x="10869" y="9965"/>
                </a:lnTo>
                <a:lnTo>
                  <a:pt x="11089" y="9550"/>
                </a:lnTo>
                <a:lnTo>
                  <a:pt x="11284" y="9110"/>
                </a:lnTo>
                <a:lnTo>
                  <a:pt x="11455" y="8670"/>
                </a:lnTo>
                <a:lnTo>
                  <a:pt x="11626" y="8231"/>
                </a:lnTo>
                <a:lnTo>
                  <a:pt x="11748" y="7791"/>
                </a:lnTo>
                <a:lnTo>
                  <a:pt x="11871" y="7352"/>
                </a:lnTo>
                <a:lnTo>
                  <a:pt x="11944" y="6887"/>
                </a:lnTo>
                <a:lnTo>
                  <a:pt x="11993" y="6448"/>
                </a:lnTo>
                <a:lnTo>
                  <a:pt x="12017" y="6008"/>
                </a:lnTo>
                <a:lnTo>
                  <a:pt x="12017" y="5691"/>
                </a:lnTo>
                <a:lnTo>
                  <a:pt x="11993" y="5398"/>
                </a:lnTo>
                <a:lnTo>
                  <a:pt x="11944" y="5105"/>
                </a:lnTo>
                <a:lnTo>
                  <a:pt x="11895" y="4787"/>
                </a:lnTo>
                <a:lnTo>
                  <a:pt x="11822" y="4518"/>
                </a:lnTo>
                <a:lnTo>
                  <a:pt x="11748" y="4225"/>
                </a:lnTo>
                <a:lnTo>
                  <a:pt x="11553" y="3664"/>
                </a:lnTo>
                <a:lnTo>
                  <a:pt x="11284" y="3151"/>
                </a:lnTo>
                <a:lnTo>
                  <a:pt x="10991" y="2638"/>
                </a:lnTo>
                <a:lnTo>
                  <a:pt x="10649" y="2198"/>
                </a:lnTo>
                <a:lnTo>
                  <a:pt x="10259" y="1759"/>
                </a:lnTo>
                <a:lnTo>
                  <a:pt x="9819" y="1368"/>
                </a:lnTo>
                <a:lnTo>
                  <a:pt x="9379" y="1026"/>
                </a:lnTo>
                <a:lnTo>
                  <a:pt x="8866" y="733"/>
                </a:lnTo>
                <a:lnTo>
                  <a:pt x="8354" y="464"/>
                </a:lnTo>
                <a:lnTo>
                  <a:pt x="7792" y="269"/>
                </a:lnTo>
                <a:lnTo>
                  <a:pt x="7499" y="196"/>
                </a:lnTo>
                <a:lnTo>
                  <a:pt x="7230" y="122"/>
                </a:lnTo>
                <a:lnTo>
                  <a:pt x="6913" y="73"/>
                </a:lnTo>
                <a:lnTo>
                  <a:pt x="6620" y="25"/>
                </a:lnTo>
                <a:lnTo>
                  <a:pt x="632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18" name="Shape 347"/>
          <p:cNvGrpSpPr/>
          <p:nvPr/>
        </p:nvGrpSpPr>
        <p:grpSpPr>
          <a:xfrm>
            <a:off x="5247713" y="1769754"/>
            <a:ext cx="373019" cy="315195"/>
            <a:chOff x="3918650" y="293075"/>
            <a:chExt cx="488500" cy="412775"/>
          </a:xfrm>
        </p:grpSpPr>
        <p:sp>
          <p:nvSpPr>
            <p:cNvPr id="19" name="Shape 348"/>
            <p:cNvSpPr/>
            <p:nvPr/>
          </p:nvSpPr>
          <p:spPr>
            <a:xfrm>
              <a:off x="4085350" y="293675"/>
              <a:ext cx="154500" cy="412175"/>
            </a:xfrm>
            <a:custGeom>
              <a:avLst/>
              <a:gdLst/>
              <a:ahLst/>
              <a:cxnLst/>
              <a:rect l="0" t="0" r="0" b="0"/>
              <a:pathLst>
                <a:path w="6180" h="16487" extrusionOk="0">
                  <a:moveTo>
                    <a:pt x="709" y="5496"/>
                  </a:moveTo>
                  <a:lnTo>
                    <a:pt x="806" y="5520"/>
                  </a:lnTo>
                  <a:lnTo>
                    <a:pt x="1050" y="5667"/>
                  </a:lnTo>
                  <a:lnTo>
                    <a:pt x="1270" y="5813"/>
                  </a:lnTo>
                  <a:lnTo>
                    <a:pt x="1344" y="5886"/>
                  </a:lnTo>
                  <a:lnTo>
                    <a:pt x="1368" y="5984"/>
                  </a:lnTo>
                  <a:lnTo>
                    <a:pt x="1344" y="6082"/>
                  </a:lnTo>
                  <a:lnTo>
                    <a:pt x="1319" y="6155"/>
                  </a:lnTo>
                  <a:lnTo>
                    <a:pt x="1221" y="6228"/>
                  </a:lnTo>
                  <a:lnTo>
                    <a:pt x="1124" y="6253"/>
                  </a:lnTo>
                  <a:lnTo>
                    <a:pt x="1050" y="6228"/>
                  </a:lnTo>
                  <a:lnTo>
                    <a:pt x="977" y="6204"/>
                  </a:lnTo>
                  <a:lnTo>
                    <a:pt x="782" y="6082"/>
                  </a:lnTo>
                  <a:lnTo>
                    <a:pt x="586" y="5960"/>
                  </a:lnTo>
                  <a:lnTo>
                    <a:pt x="513" y="5911"/>
                  </a:lnTo>
                  <a:lnTo>
                    <a:pt x="464" y="5838"/>
                  </a:lnTo>
                  <a:lnTo>
                    <a:pt x="464" y="5740"/>
                  </a:lnTo>
                  <a:lnTo>
                    <a:pt x="489" y="5642"/>
                  </a:lnTo>
                  <a:lnTo>
                    <a:pt x="538" y="5569"/>
                  </a:lnTo>
                  <a:lnTo>
                    <a:pt x="611" y="5520"/>
                  </a:lnTo>
                  <a:lnTo>
                    <a:pt x="709" y="5496"/>
                  </a:lnTo>
                  <a:close/>
                  <a:moveTo>
                    <a:pt x="1685" y="6351"/>
                  </a:moveTo>
                  <a:lnTo>
                    <a:pt x="1783" y="6375"/>
                  </a:lnTo>
                  <a:lnTo>
                    <a:pt x="1856" y="6448"/>
                  </a:lnTo>
                  <a:lnTo>
                    <a:pt x="2003" y="6668"/>
                  </a:lnTo>
                  <a:lnTo>
                    <a:pt x="2125" y="6888"/>
                  </a:lnTo>
                  <a:lnTo>
                    <a:pt x="2150" y="6986"/>
                  </a:lnTo>
                  <a:lnTo>
                    <a:pt x="2150" y="7083"/>
                  </a:lnTo>
                  <a:lnTo>
                    <a:pt x="2101" y="7156"/>
                  </a:lnTo>
                  <a:lnTo>
                    <a:pt x="2027" y="7230"/>
                  </a:lnTo>
                  <a:lnTo>
                    <a:pt x="1979" y="7254"/>
                  </a:lnTo>
                  <a:lnTo>
                    <a:pt x="1856" y="7254"/>
                  </a:lnTo>
                  <a:lnTo>
                    <a:pt x="1783" y="7230"/>
                  </a:lnTo>
                  <a:lnTo>
                    <a:pt x="1734" y="7181"/>
                  </a:lnTo>
                  <a:lnTo>
                    <a:pt x="1685" y="7132"/>
                  </a:lnTo>
                  <a:lnTo>
                    <a:pt x="1441" y="6741"/>
                  </a:lnTo>
                  <a:lnTo>
                    <a:pt x="1417" y="6644"/>
                  </a:lnTo>
                  <a:lnTo>
                    <a:pt x="1417" y="6546"/>
                  </a:lnTo>
                  <a:lnTo>
                    <a:pt x="1441" y="6448"/>
                  </a:lnTo>
                  <a:lnTo>
                    <a:pt x="1515" y="6399"/>
                  </a:lnTo>
                  <a:lnTo>
                    <a:pt x="1612" y="6351"/>
                  </a:lnTo>
                  <a:close/>
                  <a:moveTo>
                    <a:pt x="2247" y="7498"/>
                  </a:moveTo>
                  <a:lnTo>
                    <a:pt x="2345" y="7523"/>
                  </a:lnTo>
                  <a:lnTo>
                    <a:pt x="2418" y="7572"/>
                  </a:lnTo>
                  <a:lnTo>
                    <a:pt x="2467" y="7645"/>
                  </a:lnTo>
                  <a:lnTo>
                    <a:pt x="2662" y="8109"/>
                  </a:lnTo>
                  <a:lnTo>
                    <a:pt x="2662" y="8207"/>
                  </a:lnTo>
                  <a:lnTo>
                    <a:pt x="2638" y="8304"/>
                  </a:lnTo>
                  <a:lnTo>
                    <a:pt x="2589" y="8378"/>
                  </a:lnTo>
                  <a:lnTo>
                    <a:pt x="2516" y="8426"/>
                  </a:lnTo>
                  <a:lnTo>
                    <a:pt x="2418" y="8451"/>
                  </a:lnTo>
                  <a:lnTo>
                    <a:pt x="2345" y="8426"/>
                  </a:lnTo>
                  <a:lnTo>
                    <a:pt x="2272" y="8402"/>
                  </a:lnTo>
                  <a:lnTo>
                    <a:pt x="2223" y="8353"/>
                  </a:lnTo>
                  <a:lnTo>
                    <a:pt x="2198" y="8280"/>
                  </a:lnTo>
                  <a:lnTo>
                    <a:pt x="2027" y="7840"/>
                  </a:lnTo>
                  <a:lnTo>
                    <a:pt x="2003" y="7743"/>
                  </a:lnTo>
                  <a:lnTo>
                    <a:pt x="2027" y="7645"/>
                  </a:lnTo>
                  <a:lnTo>
                    <a:pt x="2076" y="7572"/>
                  </a:lnTo>
                  <a:lnTo>
                    <a:pt x="2150" y="7523"/>
                  </a:lnTo>
                  <a:lnTo>
                    <a:pt x="2247" y="7498"/>
                  </a:lnTo>
                  <a:close/>
                  <a:moveTo>
                    <a:pt x="2711" y="8720"/>
                  </a:moveTo>
                  <a:lnTo>
                    <a:pt x="2785" y="8744"/>
                  </a:lnTo>
                  <a:lnTo>
                    <a:pt x="2858" y="8793"/>
                  </a:lnTo>
                  <a:lnTo>
                    <a:pt x="2907" y="8866"/>
                  </a:lnTo>
                  <a:lnTo>
                    <a:pt x="3078" y="9355"/>
                  </a:lnTo>
                  <a:lnTo>
                    <a:pt x="3102" y="9452"/>
                  </a:lnTo>
                  <a:lnTo>
                    <a:pt x="3078" y="9526"/>
                  </a:lnTo>
                  <a:lnTo>
                    <a:pt x="3004" y="9599"/>
                  </a:lnTo>
                  <a:lnTo>
                    <a:pt x="2931" y="9648"/>
                  </a:lnTo>
                  <a:lnTo>
                    <a:pt x="2858" y="9672"/>
                  </a:lnTo>
                  <a:lnTo>
                    <a:pt x="2785" y="9672"/>
                  </a:lnTo>
                  <a:lnTo>
                    <a:pt x="2711" y="9623"/>
                  </a:lnTo>
                  <a:lnTo>
                    <a:pt x="2662" y="9574"/>
                  </a:lnTo>
                  <a:lnTo>
                    <a:pt x="2614" y="9501"/>
                  </a:lnTo>
                  <a:lnTo>
                    <a:pt x="2467" y="9037"/>
                  </a:lnTo>
                  <a:lnTo>
                    <a:pt x="2443" y="8939"/>
                  </a:lnTo>
                  <a:lnTo>
                    <a:pt x="2467" y="8842"/>
                  </a:lnTo>
                  <a:lnTo>
                    <a:pt x="2516" y="8768"/>
                  </a:lnTo>
                  <a:lnTo>
                    <a:pt x="2614" y="8720"/>
                  </a:lnTo>
                  <a:close/>
                  <a:moveTo>
                    <a:pt x="3224" y="9941"/>
                  </a:moveTo>
                  <a:lnTo>
                    <a:pt x="3297" y="10014"/>
                  </a:lnTo>
                  <a:lnTo>
                    <a:pt x="3346" y="10087"/>
                  </a:lnTo>
                  <a:lnTo>
                    <a:pt x="3542" y="10527"/>
                  </a:lnTo>
                  <a:lnTo>
                    <a:pt x="3566" y="10625"/>
                  </a:lnTo>
                  <a:lnTo>
                    <a:pt x="3566" y="10722"/>
                  </a:lnTo>
                  <a:lnTo>
                    <a:pt x="3517" y="10796"/>
                  </a:lnTo>
                  <a:lnTo>
                    <a:pt x="3444" y="10844"/>
                  </a:lnTo>
                  <a:lnTo>
                    <a:pt x="3322" y="10869"/>
                  </a:lnTo>
                  <a:lnTo>
                    <a:pt x="3273" y="10869"/>
                  </a:lnTo>
                  <a:lnTo>
                    <a:pt x="3200" y="10844"/>
                  </a:lnTo>
                  <a:lnTo>
                    <a:pt x="3151" y="10796"/>
                  </a:lnTo>
                  <a:lnTo>
                    <a:pt x="3102" y="10747"/>
                  </a:lnTo>
                  <a:lnTo>
                    <a:pt x="2907" y="10258"/>
                  </a:lnTo>
                  <a:lnTo>
                    <a:pt x="2882" y="10161"/>
                  </a:lnTo>
                  <a:lnTo>
                    <a:pt x="2907" y="10087"/>
                  </a:lnTo>
                  <a:lnTo>
                    <a:pt x="2955" y="10014"/>
                  </a:lnTo>
                  <a:lnTo>
                    <a:pt x="3029" y="9941"/>
                  </a:lnTo>
                  <a:close/>
                  <a:moveTo>
                    <a:pt x="3761" y="11089"/>
                  </a:moveTo>
                  <a:lnTo>
                    <a:pt x="3835" y="11137"/>
                  </a:lnTo>
                  <a:lnTo>
                    <a:pt x="3908" y="11211"/>
                  </a:lnTo>
                  <a:lnTo>
                    <a:pt x="4177" y="11577"/>
                  </a:lnTo>
                  <a:lnTo>
                    <a:pt x="4225" y="11675"/>
                  </a:lnTo>
                  <a:lnTo>
                    <a:pt x="4250" y="11748"/>
                  </a:lnTo>
                  <a:lnTo>
                    <a:pt x="4201" y="11846"/>
                  </a:lnTo>
                  <a:lnTo>
                    <a:pt x="4152" y="11919"/>
                  </a:lnTo>
                  <a:lnTo>
                    <a:pt x="4079" y="11968"/>
                  </a:lnTo>
                  <a:lnTo>
                    <a:pt x="3884" y="11968"/>
                  </a:lnTo>
                  <a:lnTo>
                    <a:pt x="3810" y="11895"/>
                  </a:lnTo>
                  <a:lnTo>
                    <a:pt x="3664" y="11675"/>
                  </a:lnTo>
                  <a:lnTo>
                    <a:pt x="3493" y="11455"/>
                  </a:lnTo>
                  <a:lnTo>
                    <a:pt x="3468" y="11382"/>
                  </a:lnTo>
                  <a:lnTo>
                    <a:pt x="3468" y="11284"/>
                  </a:lnTo>
                  <a:lnTo>
                    <a:pt x="3517" y="11186"/>
                  </a:lnTo>
                  <a:lnTo>
                    <a:pt x="3566" y="11137"/>
                  </a:lnTo>
                  <a:lnTo>
                    <a:pt x="3664" y="11089"/>
                  </a:lnTo>
                  <a:close/>
                  <a:moveTo>
                    <a:pt x="4616" y="12041"/>
                  </a:moveTo>
                  <a:lnTo>
                    <a:pt x="4714" y="12090"/>
                  </a:lnTo>
                  <a:lnTo>
                    <a:pt x="4909" y="12212"/>
                  </a:lnTo>
                  <a:lnTo>
                    <a:pt x="5105" y="12334"/>
                  </a:lnTo>
                  <a:lnTo>
                    <a:pt x="5178" y="12383"/>
                  </a:lnTo>
                  <a:lnTo>
                    <a:pt x="5227" y="12481"/>
                  </a:lnTo>
                  <a:lnTo>
                    <a:pt x="5227" y="12554"/>
                  </a:lnTo>
                  <a:lnTo>
                    <a:pt x="5202" y="12652"/>
                  </a:lnTo>
                  <a:lnTo>
                    <a:pt x="5154" y="12725"/>
                  </a:lnTo>
                  <a:lnTo>
                    <a:pt x="5105" y="12749"/>
                  </a:lnTo>
                  <a:lnTo>
                    <a:pt x="5056" y="12774"/>
                  </a:lnTo>
                  <a:lnTo>
                    <a:pt x="4983" y="12798"/>
                  </a:lnTo>
                  <a:lnTo>
                    <a:pt x="4885" y="12774"/>
                  </a:lnTo>
                  <a:lnTo>
                    <a:pt x="4641" y="12627"/>
                  </a:lnTo>
                  <a:lnTo>
                    <a:pt x="4421" y="12481"/>
                  </a:lnTo>
                  <a:lnTo>
                    <a:pt x="4348" y="12407"/>
                  </a:lnTo>
                  <a:lnTo>
                    <a:pt x="4323" y="12310"/>
                  </a:lnTo>
                  <a:lnTo>
                    <a:pt x="4323" y="12236"/>
                  </a:lnTo>
                  <a:lnTo>
                    <a:pt x="4372" y="12139"/>
                  </a:lnTo>
                  <a:lnTo>
                    <a:pt x="4445" y="12066"/>
                  </a:lnTo>
                  <a:lnTo>
                    <a:pt x="4543" y="12041"/>
                  </a:lnTo>
                  <a:close/>
                  <a:moveTo>
                    <a:pt x="0" y="1"/>
                  </a:moveTo>
                  <a:lnTo>
                    <a:pt x="0" y="5325"/>
                  </a:lnTo>
                  <a:lnTo>
                    <a:pt x="74" y="5349"/>
                  </a:lnTo>
                  <a:lnTo>
                    <a:pt x="147" y="5422"/>
                  </a:lnTo>
                  <a:lnTo>
                    <a:pt x="171" y="5496"/>
                  </a:lnTo>
                  <a:lnTo>
                    <a:pt x="171" y="5569"/>
                  </a:lnTo>
                  <a:lnTo>
                    <a:pt x="171" y="5642"/>
                  </a:lnTo>
                  <a:lnTo>
                    <a:pt x="122" y="5716"/>
                  </a:lnTo>
                  <a:lnTo>
                    <a:pt x="74" y="5764"/>
                  </a:lnTo>
                  <a:lnTo>
                    <a:pt x="0" y="5789"/>
                  </a:lnTo>
                  <a:lnTo>
                    <a:pt x="0" y="13360"/>
                  </a:lnTo>
                  <a:lnTo>
                    <a:pt x="6179" y="16486"/>
                  </a:lnTo>
                  <a:lnTo>
                    <a:pt x="6179" y="13116"/>
                  </a:lnTo>
                  <a:lnTo>
                    <a:pt x="5935" y="13091"/>
                  </a:lnTo>
                  <a:lnTo>
                    <a:pt x="5691" y="13042"/>
                  </a:lnTo>
                  <a:lnTo>
                    <a:pt x="5593" y="12994"/>
                  </a:lnTo>
                  <a:lnTo>
                    <a:pt x="5520" y="12945"/>
                  </a:lnTo>
                  <a:lnTo>
                    <a:pt x="5495" y="12847"/>
                  </a:lnTo>
                  <a:lnTo>
                    <a:pt x="5495" y="12749"/>
                  </a:lnTo>
                  <a:lnTo>
                    <a:pt x="5520" y="12676"/>
                  </a:lnTo>
                  <a:lnTo>
                    <a:pt x="5593" y="12603"/>
                  </a:lnTo>
                  <a:lnTo>
                    <a:pt x="5691" y="12554"/>
                  </a:lnTo>
                  <a:lnTo>
                    <a:pt x="5789" y="12554"/>
                  </a:lnTo>
                  <a:lnTo>
                    <a:pt x="6179" y="12627"/>
                  </a:lnTo>
                  <a:lnTo>
                    <a:pt x="6179" y="3127"/>
                  </a:lnTo>
                  <a:lnTo>
                    <a:pt x="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0" name="Shape 349"/>
            <p:cNvSpPr/>
            <p:nvPr/>
          </p:nvSpPr>
          <p:spPr>
            <a:xfrm>
              <a:off x="3918650" y="293075"/>
              <a:ext cx="153900" cy="407275"/>
            </a:xfrm>
            <a:custGeom>
              <a:avLst/>
              <a:gdLst/>
              <a:ahLst/>
              <a:cxnLst/>
              <a:rect l="0" t="0" r="0" b="0"/>
              <a:pathLst>
                <a:path w="6156" h="16291" extrusionOk="0">
                  <a:moveTo>
                    <a:pt x="5349" y="5495"/>
                  </a:moveTo>
                  <a:lnTo>
                    <a:pt x="5447" y="5520"/>
                  </a:lnTo>
                  <a:lnTo>
                    <a:pt x="5520" y="5569"/>
                  </a:lnTo>
                  <a:lnTo>
                    <a:pt x="5569" y="5666"/>
                  </a:lnTo>
                  <a:lnTo>
                    <a:pt x="5569" y="5764"/>
                  </a:lnTo>
                  <a:lnTo>
                    <a:pt x="5545" y="5837"/>
                  </a:lnTo>
                  <a:lnTo>
                    <a:pt x="5496" y="5935"/>
                  </a:lnTo>
                  <a:lnTo>
                    <a:pt x="5423" y="5984"/>
                  </a:lnTo>
                  <a:lnTo>
                    <a:pt x="5203" y="6057"/>
                  </a:lnTo>
                  <a:lnTo>
                    <a:pt x="5008" y="6155"/>
                  </a:lnTo>
                  <a:lnTo>
                    <a:pt x="4934" y="6179"/>
                  </a:lnTo>
                  <a:lnTo>
                    <a:pt x="4812" y="6179"/>
                  </a:lnTo>
                  <a:lnTo>
                    <a:pt x="4763" y="6155"/>
                  </a:lnTo>
                  <a:lnTo>
                    <a:pt x="4714" y="6106"/>
                  </a:lnTo>
                  <a:lnTo>
                    <a:pt x="4666" y="6057"/>
                  </a:lnTo>
                  <a:lnTo>
                    <a:pt x="4641" y="5959"/>
                  </a:lnTo>
                  <a:lnTo>
                    <a:pt x="4641" y="5862"/>
                  </a:lnTo>
                  <a:lnTo>
                    <a:pt x="4690" y="5788"/>
                  </a:lnTo>
                  <a:lnTo>
                    <a:pt x="4763" y="5740"/>
                  </a:lnTo>
                  <a:lnTo>
                    <a:pt x="5008" y="5617"/>
                  </a:lnTo>
                  <a:lnTo>
                    <a:pt x="5252" y="5520"/>
                  </a:lnTo>
                  <a:lnTo>
                    <a:pt x="5349" y="5495"/>
                  </a:lnTo>
                  <a:close/>
                  <a:moveTo>
                    <a:pt x="4250" y="6155"/>
                  </a:moveTo>
                  <a:lnTo>
                    <a:pt x="4348" y="6179"/>
                  </a:lnTo>
                  <a:lnTo>
                    <a:pt x="4421" y="6252"/>
                  </a:lnTo>
                  <a:lnTo>
                    <a:pt x="4470" y="6326"/>
                  </a:lnTo>
                  <a:lnTo>
                    <a:pt x="4470" y="6423"/>
                  </a:lnTo>
                  <a:lnTo>
                    <a:pt x="4446" y="6497"/>
                  </a:lnTo>
                  <a:lnTo>
                    <a:pt x="4397" y="6594"/>
                  </a:lnTo>
                  <a:lnTo>
                    <a:pt x="4226" y="6741"/>
                  </a:lnTo>
                  <a:lnTo>
                    <a:pt x="4079" y="6912"/>
                  </a:lnTo>
                  <a:lnTo>
                    <a:pt x="3982" y="6985"/>
                  </a:lnTo>
                  <a:lnTo>
                    <a:pt x="3884" y="7010"/>
                  </a:lnTo>
                  <a:lnTo>
                    <a:pt x="3811" y="6985"/>
                  </a:lnTo>
                  <a:lnTo>
                    <a:pt x="3738" y="6936"/>
                  </a:lnTo>
                  <a:lnTo>
                    <a:pt x="3664" y="6863"/>
                  </a:lnTo>
                  <a:lnTo>
                    <a:pt x="3640" y="6790"/>
                  </a:lnTo>
                  <a:lnTo>
                    <a:pt x="3664" y="6692"/>
                  </a:lnTo>
                  <a:lnTo>
                    <a:pt x="3713" y="6594"/>
                  </a:lnTo>
                  <a:lnTo>
                    <a:pt x="3884" y="6399"/>
                  </a:lnTo>
                  <a:lnTo>
                    <a:pt x="4079" y="6228"/>
                  </a:lnTo>
                  <a:lnTo>
                    <a:pt x="4153" y="6179"/>
                  </a:lnTo>
                  <a:lnTo>
                    <a:pt x="4250" y="6155"/>
                  </a:lnTo>
                  <a:close/>
                  <a:moveTo>
                    <a:pt x="3469" y="7156"/>
                  </a:moveTo>
                  <a:lnTo>
                    <a:pt x="3542" y="7205"/>
                  </a:lnTo>
                  <a:lnTo>
                    <a:pt x="3615" y="7254"/>
                  </a:lnTo>
                  <a:lnTo>
                    <a:pt x="3664" y="7351"/>
                  </a:lnTo>
                  <a:lnTo>
                    <a:pt x="3664" y="7449"/>
                  </a:lnTo>
                  <a:lnTo>
                    <a:pt x="3640" y="7547"/>
                  </a:lnTo>
                  <a:lnTo>
                    <a:pt x="3396" y="7962"/>
                  </a:lnTo>
                  <a:lnTo>
                    <a:pt x="3371" y="8011"/>
                  </a:lnTo>
                  <a:lnTo>
                    <a:pt x="3298" y="8060"/>
                  </a:lnTo>
                  <a:lnTo>
                    <a:pt x="3249" y="8084"/>
                  </a:lnTo>
                  <a:lnTo>
                    <a:pt x="3176" y="8084"/>
                  </a:lnTo>
                  <a:lnTo>
                    <a:pt x="3078" y="8060"/>
                  </a:lnTo>
                  <a:lnTo>
                    <a:pt x="3005" y="8011"/>
                  </a:lnTo>
                  <a:lnTo>
                    <a:pt x="2956" y="7913"/>
                  </a:lnTo>
                  <a:lnTo>
                    <a:pt x="2932" y="7840"/>
                  </a:lnTo>
                  <a:lnTo>
                    <a:pt x="2956" y="7742"/>
                  </a:lnTo>
                  <a:lnTo>
                    <a:pt x="3225" y="7278"/>
                  </a:lnTo>
                  <a:lnTo>
                    <a:pt x="3273" y="7205"/>
                  </a:lnTo>
                  <a:lnTo>
                    <a:pt x="3371" y="7180"/>
                  </a:lnTo>
                  <a:lnTo>
                    <a:pt x="3469" y="7156"/>
                  </a:lnTo>
                  <a:close/>
                  <a:moveTo>
                    <a:pt x="2858" y="8328"/>
                  </a:moveTo>
                  <a:lnTo>
                    <a:pt x="2956" y="8353"/>
                  </a:lnTo>
                  <a:lnTo>
                    <a:pt x="3029" y="8402"/>
                  </a:lnTo>
                  <a:lnTo>
                    <a:pt x="3078" y="8475"/>
                  </a:lnTo>
                  <a:lnTo>
                    <a:pt x="3103" y="8573"/>
                  </a:lnTo>
                  <a:lnTo>
                    <a:pt x="3103" y="8670"/>
                  </a:lnTo>
                  <a:lnTo>
                    <a:pt x="2932" y="9110"/>
                  </a:lnTo>
                  <a:lnTo>
                    <a:pt x="2907" y="9183"/>
                  </a:lnTo>
                  <a:lnTo>
                    <a:pt x="2858" y="9232"/>
                  </a:lnTo>
                  <a:lnTo>
                    <a:pt x="2785" y="9281"/>
                  </a:lnTo>
                  <a:lnTo>
                    <a:pt x="2638" y="9281"/>
                  </a:lnTo>
                  <a:lnTo>
                    <a:pt x="2541" y="9232"/>
                  </a:lnTo>
                  <a:lnTo>
                    <a:pt x="2492" y="9159"/>
                  </a:lnTo>
                  <a:lnTo>
                    <a:pt x="2468" y="9061"/>
                  </a:lnTo>
                  <a:lnTo>
                    <a:pt x="2468" y="8963"/>
                  </a:lnTo>
                  <a:lnTo>
                    <a:pt x="2638" y="8499"/>
                  </a:lnTo>
                  <a:lnTo>
                    <a:pt x="2687" y="8402"/>
                  </a:lnTo>
                  <a:lnTo>
                    <a:pt x="2761" y="8353"/>
                  </a:lnTo>
                  <a:lnTo>
                    <a:pt x="2858" y="8328"/>
                  </a:lnTo>
                  <a:close/>
                  <a:moveTo>
                    <a:pt x="2541" y="9574"/>
                  </a:moveTo>
                  <a:lnTo>
                    <a:pt x="2638" y="9623"/>
                  </a:lnTo>
                  <a:lnTo>
                    <a:pt x="2712" y="9696"/>
                  </a:lnTo>
                  <a:lnTo>
                    <a:pt x="2736" y="9769"/>
                  </a:lnTo>
                  <a:lnTo>
                    <a:pt x="2736" y="9867"/>
                  </a:lnTo>
                  <a:lnTo>
                    <a:pt x="2638" y="10355"/>
                  </a:lnTo>
                  <a:lnTo>
                    <a:pt x="2590" y="10429"/>
                  </a:lnTo>
                  <a:lnTo>
                    <a:pt x="2541" y="10502"/>
                  </a:lnTo>
                  <a:lnTo>
                    <a:pt x="2468" y="10526"/>
                  </a:lnTo>
                  <a:lnTo>
                    <a:pt x="2394" y="10551"/>
                  </a:lnTo>
                  <a:lnTo>
                    <a:pt x="2345" y="10551"/>
                  </a:lnTo>
                  <a:lnTo>
                    <a:pt x="2248" y="10502"/>
                  </a:lnTo>
                  <a:lnTo>
                    <a:pt x="2199" y="10429"/>
                  </a:lnTo>
                  <a:lnTo>
                    <a:pt x="2150" y="10355"/>
                  </a:lnTo>
                  <a:lnTo>
                    <a:pt x="2150" y="10258"/>
                  </a:lnTo>
                  <a:lnTo>
                    <a:pt x="2248" y="9769"/>
                  </a:lnTo>
                  <a:lnTo>
                    <a:pt x="2297" y="9672"/>
                  </a:lnTo>
                  <a:lnTo>
                    <a:pt x="2370" y="9598"/>
                  </a:lnTo>
                  <a:lnTo>
                    <a:pt x="2443" y="9574"/>
                  </a:lnTo>
                  <a:close/>
                  <a:moveTo>
                    <a:pt x="2297" y="10844"/>
                  </a:moveTo>
                  <a:lnTo>
                    <a:pt x="2394" y="10868"/>
                  </a:lnTo>
                  <a:lnTo>
                    <a:pt x="2468" y="10942"/>
                  </a:lnTo>
                  <a:lnTo>
                    <a:pt x="2516" y="11015"/>
                  </a:lnTo>
                  <a:lnTo>
                    <a:pt x="2516" y="11113"/>
                  </a:lnTo>
                  <a:lnTo>
                    <a:pt x="2492" y="11357"/>
                  </a:lnTo>
                  <a:lnTo>
                    <a:pt x="2468" y="11430"/>
                  </a:lnTo>
                  <a:lnTo>
                    <a:pt x="2419" y="11503"/>
                  </a:lnTo>
                  <a:lnTo>
                    <a:pt x="2345" y="11552"/>
                  </a:lnTo>
                  <a:lnTo>
                    <a:pt x="2248" y="11577"/>
                  </a:lnTo>
                  <a:lnTo>
                    <a:pt x="2223" y="11577"/>
                  </a:lnTo>
                  <a:lnTo>
                    <a:pt x="2126" y="11552"/>
                  </a:lnTo>
                  <a:lnTo>
                    <a:pt x="2052" y="11503"/>
                  </a:lnTo>
                  <a:lnTo>
                    <a:pt x="2028" y="11406"/>
                  </a:lnTo>
                  <a:lnTo>
                    <a:pt x="2003" y="11308"/>
                  </a:lnTo>
                  <a:lnTo>
                    <a:pt x="2028" y="11064"/>
                  </a:lnTo>
                  <a:lnTo>
                    <a:pt x="2052" y="10966"/>
                  </a:lnTo>
                  <a:lnTo>
                    <a:pt x="2126" y="10893"/>
                  </a:lnTo>
                  <a:lnTo>
                    <a:pt x="2199" y="10844"/>
                  </a:lnTo>
                  <a:close/>
                  <a:moveTo>
                    <a:pt x="6155" y="0"/>
                  </a:moveTo>
                  <a:lnTo>
                    <a:pt x="538" y="2858"/>
                  </a:lnTo>
                  <a:lnTo>
                    <a:pt x="416" y="2906"/>
                  </a:lnTo>
                  <a:lnTo>
                    <a:pt x="318" y="3004"/>
                  </a:lnTo>
                  <a:lnTo>
                    <a:pt x="221" y="3102"/>
                  </a:lnTo>
                  <a:lnTo>
                    <a:pt x="147" y="3224"/>
                  </a:lnTo>
                  <a:lnTo>
                    <a:pt x="74" y="3322"/>
                  </a:lnTo>
                  <a:lnTo>
                    <a:pt x="25" y="3444"/>
                  </a:lnTo>
                  <a:lnTo>
                    <a:pt x="1" y="3566"/>
                  </a:lnTo>
                  <a:lnTo>
                    <a:pt x="1" y="3688"/>
                  </a:lnTo>
                  <a:lnTo>
                    <a:pt x="1" y="15924"/>
                  </a:lnTo>
                  <a:lnTo>
                    <a:pt x="1" y="16046"/>
                  </a:lnTo>
                  <a:lnTo>
                    <a:pt x="50" y="16119"/>
                  </a:lnTo>
                  <a:lnTo>
                    <a:pt x="98" y="16193"/>
                  </a:lnTo>
                  <a:lnTo>
                    <a:pt x="172" y="16241"/>
                  </a:lnTo>
                  <a:lnTo>
                    <a:pt x="245" y="16266"/>
                  </a:lnTo>
                  <a:lnTo>
                    <a:pt x="343" y="16290"/>
                  </a:lnTo>
                  <a:lnTo>
                    <a:pt x="465" y="16266"/>
                  </a:lnTo>
                  <a:lnTo>
                    <a:pt x="563" y="16217"/>
                  </a:lnTo>
                  <a:lnTo>
                    <a:pt x="6155" y="13360"/>
                  </a:lnTo>
                  <a:lnTo>
                    <a:pt x="6155" y="5813"/>
                  </a:lnTo>
                  <a:lnTo>
                    <a:pt x="6009" y="5813"/>
                  </a:lnTo>
                  <a:lnTo>
                    <a:pt x="5936" y="5764"/>
                  </a:lnTo>
                  <a:lnTo>
                    <a:pt x="5887" y="5691"/>
                  </a:lnTo>
                  <a:lnTo>
                    <a:pt x="5862" y="5593"/>
                  </a:lnTo>
                  <a:lnTo>
                    <a:pt x="5887" y="5495"/>
                  </a:lnTo>
                  <a:lnTo>
                    <a:pt x="5936" y="5422"/>
                  </a:lnTo>
                  <a:lnTo>
                    <a:pt x="6009" y="5373"/>
                  </a:lnTo>
                  <a:lnTo>
                    <a:pt x="6082" y="5349"/>
                  </a:lnTo>
                  <a:lnTo>
                    <a:pt x="6155" y="5324"/>
                  </a:lnTo>
                  <a:lnTo>
                    <a:pt x="615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1" name="Shape 350"/>
            <p:cNvSpPr/>
            <p:nvPr/>
          </p:nvSpPr>
          <p:spPr>
            <a:xfrm>
              <a:off x="4253250" y="298550"/>
              <a:ext cx="153900" cy="406675"/>
            </a:xfrm>
            <a:custGeom>
              <a:avLst/>
              <a:gdLst/>
              <a:ahLst/>
              <a:cxnLst/>
              <a:rect l="0" t="0" r="0" b="0"/>
              <a:pathLst>
                <a:path w="6156" h="16267" extrusionOk="0">
                  <a:moveTo>
                    <a:pt x="3713" y="4348"/>
                  </a:moveTo>
                  <a:lnTo>
                    <a:pt x="3737" y="4373"/>
                  </a:lnTo>
                  <a:lnTo>
                    <a:pt x="3786" y="4397"/>
                  </a:lnTo>
                  <a:lnTo>
                    <a:pt x="3811" y="4421"/>
                  </a:lnTo>
                  <a:lnTo>
                    <a:pt x="3835" y="4544"/>
                  </a:lnTo>
                  <a:lnTo>
                    <a:pt x="3811" y="4666"/>
                  </a:lnTo>
                  <a:lnTo>
                    <a:pt x="3737" y="4812"/>
                  </a:lnTo>
                  <a:lnTo>
                    <a:pt x="3224" y="5716"/>
                  </a:lnTo>
                  <a:lnTo>
                    <a:pt x="3762" y="6009"/>
                  </a:lnTo>
                  <a:lnTo>
                    <a:pt x="3786" y="6033"/>
                  </a:lnTo>
                  <a:lnTo>
                    <a:pt x="3811" y="6082"/>
                  </a:lnTo>
                  <a:lnTo>
                    <a:pt x="3835" y="6180"/>
                  </a:lnTo>
                  <a:lnTo>
                    <a:pt x="3811" y="6326"/>
                  </a:lnTo>
                  <a:lnTo>
                    <a:pt x="3762" y="6473"/>
                  </a:lnTo>
                  <a:lnTo>
                    <a:pt x="3664" y="6595"/>
                  </a:lnTo>
                  <a:lnTo>
                    <a:pt x="3566" y="6668"/>
                  </a:lnTo>
                  <a:lnTo>
                    <a:pt x="3444" y="6717"/>
                  </a:lnTo>
                  <a:lnTo>
                    <a:pt x="3395" y="6717"/>
                  </a:lnTo>
                  <a:lnTo>
                    <a:pt x="3371" y="6693"/>
                  </a:lnTo>
                  <a:lnTo>
                    <a:pt x="2834" y="6400"/>
                  </a:lnTo>
                  <a:lnTo>
                    <a:pt x="2321" y="7303"/>
                  </a:lnTo>
                  <a:lnTo>
                    <a:pt x="2223" y="7426"/>
                  </a:lnTo>
                  <a:lnTo>
                    <a:pt x="2125" y="7499"/>
                  </a:lnTo>
                  <a:lnTo>
                    <a:pt x="2003" y="7548"/>
                  </a:lnTo>
                  <a:lnTo>
                    <a:pt x="1954" y="7548"/>
                  </a:lnTo>
                  <a:lnTo>
                    <a:pt x="1930" y="7523"/>
                  </a:lnTo>
                  <a:lnTo>
                    <a:pt x="1881" y="7499"/>
                  </a:lnTo>
                  <a:lnTo>
                    <a:pt x="1857" y="7450"/>
                  </a:lnTo>
                  <a:lnTo>
                    <a:pt x="1832" y="7352"/>
                  </a:lnTo>
                  <a:lnTo>
                    <a:pt x="1857" y="7206"/>
                  </a:lnTo>
                  <a:lnTo>
                    <a:pt x="1930" y="7059"/>
                  </a:lnTo>
                  <a:lnTo>
                    <a:pt x="2443" y="6156"/>
                  </a:lnTo>
                  <a:lnTo>
                    <a:pt x="1906" y="5862"/>
                  </a:lnTo>
                  <a:lnTo>
                    <a:pt x="1881" y="5838"/>
                  </a:lnTo>
                  <a:lnTo>
                    <a:pt x="1857" y="5789"/>
                  </a:lnTo>
                  <a:lnTo>
                    <a:pt x="1832" y="5691"/>
                  </a:lnTo>
                  <a:lnTo>
                    <a:pt x="1857" y="5569"/>
                  </a:lnTo>
                  <a:lnTo>
                    <a:pt x="1906" y="5423"/>
                  </a:lnTo>
                  <a:lnTo>
                    <a:pt x="2003" y="5301"/>
                  </a:lnTo>
                  <a:lnTo>
                    <a:pt x="2101" y="5203"/>
                  </a:lnTo>
                  <a:lnTo>
                    <a:pt x="2223" y="5179"/>
                  </a:lnTo>
                  <a:lnTo>
                    <a:pt x="2272" y="5179"/>
                  </a:lnTo>
                  <a:lnTo>
                    <a:pt x="2296" y="5203"/>
                  </a:lnTo>
                  <a:lnTo>
                    <a:pt x="2834" y="5496"/>
                  </a:lnTo>
                  <a:lnTo>
                    <a:pt x="3347" y="4592"/>
                  </a:lnTo>
                  <a:lnTo>
                    <a:pt x="3444" y="4470"/>
                  </a:lnTo>
                  <a:lnTo>
                    <a:pt x="3542" y="4373"/>
                  </a:lnTo>
                  <a:lnTo>
                    <a:pt x="3664" y="4348"/>
                  </a:lnTo>
                  <a:close/>
                  <a:moveTo>
                    <a:pt x="3176" y="7303"/>
                  </a:moveTo>
                  <a:lnTo>
                    <a:pt x="3249" y="7328"/>
                  </a:lnTo>
                  <a:lnTo>
                    <a:pt x="3322" y="7401"/>
                  </a:lnTo>
                  <a:lnTo>
                    <a:pt x="3371" y="7474"/>
                  </a:lnTo>
                  <a:lnTo>
                    <a:pt x="3420" y="7743"/>
                  </a:lnTo>
                  <a:lnTo>
                    <a:pt x="3420" y="7841"/>
                  </a:lnTo>
                  <a:lnTo>
                    <a:pt x="3371" y="7914"/>
                  </a:lnTo>
                  <a:lnTo>
                    <a:pt x="3298" y="7987"/>
                  </a:lnTo>
                  <a:lnTo>
                    <a:pt x="3224" y="8012"/>
                  </a:lnTo>
                  <a:lnTo>
                    <a:pt x="3102" y="8012"/>
                  </a:lnTo>
                  <a:lnTo>
                    <a:pt x="3029" y="7963"/>
                  </a:lnTo>
                  <a:lnTo>
                    <a:pt x="2956" y="7914"/>
                  </a:lnTo>
                  <a:lnTo>
                    <a:pt x="2931" y="7816"/>
                  </a:lnTo>
                  <a:lnTo>
                    <a:pt x="2883" y="7596"/>
                  </a:lnTo>
                  <a:lnTo>
                    <a:pt x="2883" y="7499"/>
                  </a:lnTo>
                  <a:lnTo>
                    <a:pt x="2907" y="7426"/>
                  </a:lnTo>
                  <a:lnTo>
                    <a:pt x="2980" y="7352"/>
                  </a:lnTo>
                  <a:lnTo>
                    <a:pt x="3078" y="7303"/>
                  </a:lnTo>
                  <a:close/>
                  <a:moveTo>
                    <a:pt x="3249" y="8354"/>
                  </a:moveTo>
                  <a:lnTo>
                    <a:pt x="3347" y="8378"/>
                  </a:lnTo>
                  <a:lnTo>
                    <a:pt x="3444" y="8427"/>
                  </a:lnTo>
                  <a:lnTo>
                    <a:pt x="3493" y="8500"/>
                  </a:lnTo>
                  <a:lnTo>
                    <a:pt x="3518" y="8598"/>
                  </a:lnTo>
                  <a:lnTo>
                    <a:pt x="3542" y="9013"/>
                  </a:lnTo>
                  <a:lnTo>
                    <a:pt x="3518" y="9111"/>
                  </a:lnTo>
                  <a:lnTo>
                    <a:pt x="3518" y="9208"/>
                  </a:lnTo>
                  <a:lnTo>
                    <a:pt x="3469" y="9282"/>
                  </a:lnTo>
                  <a:lnTo>
                    <a:pt x="3371" y="9331"/>
                  </a:lnTo>
                  <a:lnTo>
                    <a:pt x="3273" y="9355"/>
                  </a:lnTo>
                  <a:lnTo>
                    <a:pt x="3176" y="9331"/>
                  </a:lnTo>
                  <a:lnTo>
                    <a:pt x="3102" y="9282"/>
                  </a:lnTo>
                  <a:lnTo>
                    <a:pt x="3054" y="9184"/>
                  </a:lnTo>
                  <a:lnTo>
                    <a:pt x="3029" y="9086"/>
                  </a:lnTo>
                  <a:lnTo>
                    <a:pt x="3054" y="9013"/>
                  </a:lnTo>
                  <a:lnTo>
                    <a:pt x="3029" y="8622"/>
                  </a:lnTo>
                  <a:lnTo>
                    <a:pt x="3054" y="8525"/>
                  </a:lnTo>
                  <a:lnTo>
                    <a:pt x="3102" y="8451"/>
                  </a:lnTo>
                  <a:lnTo>
                    <a:pt x="3176" y="8378"/>
                  </a:lnTo>
                  <a:lnTo>
                    <a:pt x="3249" y="8354"/>
                  </a:lnTo>
                  <a:close/>
                  <a:moveTo>
                    <a:pt x="3249" y="9648"/>
                  </a:moveTo>
                  <a:lnTo>
                    <a:pt x="3347" y="9697"/>
                  </a:lnTo>
                  <a:lnTo>
                    <a:pt x="3420" y="9746"/>
                  </a:lnTo>
                  <a:lnTo>
                    <a:pt x="3469" y="9843"/>
                  </a:lnTo>
                  <a:lnTo>
                    <a:pt x="3469" y="9941"/>
                  </a:lnTo>
                  <a:lnTo>
                    <a:pt x="3347" y="10454"/>
                  </a:lnTo>
                  <a:lnTo>
                    <a:pt x="3322" y="10527"/>
                  </a:lnTo>
                  <a:lnTo>
                    <a:pt x="3273" y="10576"/>
                  </a:lnTo>
                  <a:lnTo>
                    <a:pt x="3200" y="10601"/>
                  </a:lnTo>
                  <a:lnTo>
                    <a:pt x="3127" y="10625"/>
                  </a:lnTo>
                  <a:lnTo>
                    <a:pt x="3054" y="10625"/>
                  </a:lnTo>
                  <a:lnTo>
                    <a:pt x="2956" y="10576"/>
                  </a:lnTo>
                  <a:lnTo>
                    <a:pt x="2907" y="10503"/>
                  </a:lnTo>
                  <a:lnTo>
                    <a:pt x="2883" y="10405"/>
                  </a:lnTo>
                  <a:lnTo>
                    <a:pt x="2883" y="10307"/>
                  </a:lnTo>
                  <a:lnTo>
                    <a:pt x="2980" y="9868"/>
                  </a:lnTo>
                  <a:lnTo>
                    <a:pt x="3005" y="9770"/>
                  </a:lnTo>
                  <a:lnTo>
                    <a:pt x="3078" y="9697"/>
                  </a:lnTo>
                  <a:lnTo>
                    <a:pt x="3151" y="9648"/>
                  </a:lnTo>
                  <a:close/>
                  <a:moveTo>
                    <a:pt x="2858" y="10869"/>
                  </a:moveTo>
                  <a:lnTo>
                    <a:pt x="2931" y="10894"/>
                  </a:lnTo>
                  <a:lnTo>
                    <a:pt x="3005" y="10967"/>
                  </a:lnTo>
                  <a:lnTo>
                    <a:pt x="3054" y="11040"/>
                  </a:lnTo>
                  <a:lnTo>
                    <a:pt x="3078" y="11138"/>
                  </a:lnTo>
                  <a:lnTo>
                    <a:pt x="3029" y="11236"/>
                  </a:lnTo>
                  <a:lnTo>
                    <a:pt x="2907" y="11480"/>
                  </a:lnTo>
                  <a:lnTo>
                    <a:pt x="2736" y="11700"/>
                  </a:lnTo>
                  <a:lnTo>
                    <a:pt x="2663" y="11748"/>
                  </a:lnTo>
                  <a:lnTo>
                    <a:pt x="2565" y="11773"/>
                  </a:lnTo>
                  <a:lnTo>
                    <a:pt x="2467" y="11773"/>
                  </a:lnTo>
                  <a:lnTo>
                    <a:pt x="2394" y="11724"/>
                  </a:lnTo>
                  <a:lnTo>
                    <a:pt x="2345" y="11651"/>
                  </a:lnTo>
                  <a:lnTo>
                    <a:pt x="2321" y="11577"/>
                  </a:lnTo>
                  <a:lnTo>
                    <a:pt x="2321" y="11480"/>
                  </a:lnTo>
                  <a:lnTo>
                    <a:pt x="2370" y="11382"/>
                  </a:lnTo>
                  <a:lnTo>
                    <a:pt x="2492" y="11211"/>
                  </a:lnTo>
                  <a:lnTo>
                    <a:pt x="2614" y="11016"/>
                  </a:lnTo>
                  <a:lnTo>
                    <a:pt x="2663" y="10918"/>
                  </a:lnTo>
                  <a:lnTo>
                    <a:pt x="2760" y="10894"/>
                  </a:lnTo>
                  <a:lnTo>
                    <a:pt x="2858" y="10869"/>
                  </a:lnTo>
                  <a:close/>
                  <a:moveTo>
                    <a:pt x="2028" y="11846"/>
                  </a:moveTo>
                  <a:lnTo>
                    <a:pt x="2101" y="11871"/>
                  </a:lnTo>
                  <a:lnTo>
                    <a:pt x="2174" y="11944"/>
                  </a:lnTo>
                  <a:lnTo>
                    <a:pt x="2223" y="12041"/>
                  </a:lnTo>
                  <a:lnTo>
                    <a:pt x="2223" y="12115"/>
                  </a:lnTo>
                  <a:lnTo>
                    <a:pt x="2174" y="12212"/>
                  </a:lnTo>
                  <a:lnTo>
                    <a:pt x="2125" y="12286"/>
                  </a:lnTo>
                  <a:lnTo>
                    <a:pt x="1881" y="12432"/>
                  </a:lnTo>
                  <a:lnTo>
                    <a:pt x="1661" y="12554"/>
                  </a:lnTo>
                  <a:lnTo>
                    <a:pt x="1539" y="12579"/>
                  </a:lnTo>
                  <a:lnTo>
                    <a:pt x="1490" y="12554"/>
                  </a:lnTo>
                  <a:lnTo>
                    <a:pt x="1417" y="12530"/>
                  </a:lnTo>
                  <a:lnTo>
                    <a:pt x="1368" y="12481"/>
                  </a:lnTo>
                  <a:lnTo>
                    <a:pt x="1319" y="12432"/>
                  </a:lnTo>
                  <a:lnTo>
                    <a:pt x="1295" y="12335"/>
                  </a:lnTo>
                  <a:lnTo>
                    <a:pt x="1319" y="12237"/>
                  </a:lnTo>
                  <a:lnTo>
                    <a:pt x="1368" y="12164"/>
                  </a:lnTo>
                  <a:lnTo>
                    <a:pt x="1442" y="12115"/>
                  </a:lnTo>
                  <a:lnTo>
                    <a:pt x="1637" y="11993"/>
                  </a:lnTo>
                  <a:lnTo>
                    <a:pt x="1832" y="11871"/>
                  </a:lnTo>
                  <a:lnTo>
                    <a:pt x="1930" y="11846"/>
                  </a:lnTo>
                  <a:close/>
                  <a:moveTo>
                    <a:pt x="831" y="12335"/>
                  </a:moveTo>
                  <a:lnTo>
                    <a:pt x="929" y="12383"/>
                  </a:lnTo>
                  <a:lnTo>
                    <a:pt x="1002" y="12432"/>
                  </a:lnTo>
                  <a:lnTo>
                    <a:pt x="1026" y="12530"/>
                  </a:lnTo>
                  <a:lnTo>
                    <a:pt x="1026" y="12628"/>
                  </a:lnTo>
                  <a:lnTo>
                    <a:pt x="1002" y="12701"/>
                  </a:lnTo>
                  <a:lnTo>
                    <a:pt x="929" y="12774"/>
                  </a:lnTo>
                  <a:lnTo>
                    <a:pt x="855" y="12823"/>
                  </a:lnTo>
                  <a:lnTo>
                    <a:pt x="318" y="12896"/>
                  </a:lnTo>
                  <a:lnTo>
                    <a:pt x="294" y="12896"/>
                  </a:lnTo>
                  <a:lnTo>
                    <a:pt x="220" y="12872"/>
                  </a:lnTo>
                  <a:lnTo>
                    <a:pt x="147" y="12823"/>
                  </a:lnTo>
                  <a:lnTo>
                    <a:pt x="74" y="12774"/>
                  </a:lnTo>
                  <a:lnTo>
                    <a:pt x="49" y="12676"/>
                  </a:lnTo>
                  <a:lnTo>
                    <a:pt x="74" y="12579"/>
                  </a:lnTo>
                  <a:lnTo>
                    <a:pt x="123" y="12506"/>
                  </a:lnTo>
                  <a:lnTo>
                    <a:pt x="196" y="12432"/>
                  </a:lnTo>
                  <a:lnTo>
                    <a:pt x="269" y="12408"/>
                  </a:lnTo>
                  <a:lnTo>
                    <a:pt x="733" y="12335"/>
                  </a:lnTo>
                  <a:close/>
                  <a:moveTo>
                    <a:pt x="5691" y="1"/>
                  </a:moveTo>
                  <a:lnTo>
                    <a:pt x="5593" y="50"/>
                  </a:lnTo>
                  <a:lnTo>
                    <a:pt x="1" y="2907"/>
                  </a:lnTo>
                  <a:lnTo>
                    <a:pt x="1" y="16267"/>
                  </a:lnTo>
                  <a:lnTo>
                    <a:pt x="5618" y="13409"/>
                  </a:lnTo>
                  <a:lnTo>
                    <a:pt x="5740" y="13360"/>
                  </a:lnTo>
                  <a:lnTo>
                    <a:pt x="5838" y="13263"/>
                  </a:lnTo>
                  <a:lnTo>
                    <a:pt x="5935" y="13165"/>
                  </a:lnTo>
                  <a:lnTo>
                    <a:pt x="6009" y="13067"/>
                  </a:lnTo>
                  <a:lnTo>
                    <a:pt x="6082" y="12945"/>
                  </a:lnTo>
                  <a:lnTo>
                    <a:pt x="6131" y="12823"/>
                  </a:lnTo>
                  <a:lnTo>
                    <a:pt x="6155" y="12701"/>
                  </a:lnTo>
                  <a:lnTo>
                    <a:pt x="6155" y="12579"/>
                  </a:lnTo>
                  <a:lnTo>
                    <a:pt x="6155" y="343"/>
                  </a:lnTo>
                  <a:lnTo>
                    <a:pt x="6155" y="221"/>
                  </a:lnTo>
                  <a:lnTo>
                    <a:pt x="6106" y="147"/>
                  </a:lnTo>
                  <a:lnTo>
                    <a:pt x="6058" y="74"/>
                  </a:lnTo>
                  <a:lnTo>
                    <a:pt x="5984" y="25"/>
                  </a:lnTo>
                  <a:lnTo>
                    <a:pt x="591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2" name="Shape 351"/>
          <p:cNvGrpSpPr/>
          <p:nvPr/>
        </p:nvGrpSpPr>
        <p:grpSpPr>
          <a:xfrm>
            <a:off x="5795539" y="1745968"/>
            <a:ext cx="306814" cy="362748"/>
            <a:chOff x="4636075" y="261925"/>
            <a:chExt cx="401800" cy="475050"/>
          </a:xfrm>
        </p:grpSpPr>
        <p:sp>
          <p:nvSpPr>
            <p:cNvPr id="23" name="Shape 352"/>
            <p:cNvSpPr/>
            <p:nvPr/>
          </p:nvSpPr>
          <p:spPr>
            <a:xfrm>
              <a:off x="4665400" y="326650"/>
              <a:ext cx="372475" cy="97100"/>
            </a:xfrm>
            <a:custGeom>
              <a:avLst/>
              <a:gdLst/>
              <a:ahLst/>
              <a:cxnLst/>
              <a:rect l="0" t="0" r="0" b="0"/>
              <a:pathLst>
                <a:path w="14899" h="3884" extrusionOk="0">
                  <a:moveTo>
                    <a:pt x="928" y="0"/>
                  </a:moveTo>
                  <a:lnTo>
                    <a:pt x="733" y="25"/>
                  </a:lnTo>
                  <a:lnTo>
                    <a:pt x="562" y="74"/>
                  </a:lnTo>
                  <a:lnTo>
                    <a:pt x="391" y="171"/>
                  </a:lnTo>
                  <a:lnTo>
                    <a:pt x="269" y="269"/>
                  </a:lnTo>
                  <a:lnTo>
                    <a:pt x="147" y="416"/>
                  </a:lnTo>
                  <a:lnTo>
                    <a:pt x="73" y="562"/>
                  </a:lnTo>
                  <a:lnTo>
                    <a:pt x="0" y="733"/>
                  </a:lnTo>
                  <a:lnTo>
                    <a:pt x="0" y="928"/>
                  </a:lnTo>
                  <a:lnTo>
                    <a:pt x="0" y="2956"/>
                  </a:lnTo>
                  <a:lnTo>
                    <a:pt x="0" y="3151"/>
                  </a:lnTo>
                  <a:lnTo>
                    <a:pt x="73" y="3322"/>
                  </a:lnTo>
                  <a:lnTo>
                    <a:pt x="147" y="3468"/>
                  </a:lnTo>
                  <a:lnTo>
                    <a:pt x="269" y="3615"/>
                  </a:lnTo>
                  <a:lnTo>
                    <a:pt x="391" y="3737"/>
                  </a:lnTo>
                  <a:lnTo>
                    <a:pt x="562" y="3810"/>
                  </a:lnTo>
                  <a:lnTo>
                    <a:pt x="733" y="3859"/>
                  </a:lnTo>
                  <a:lnTo>
                    <a:pt x="928" y="3884"/>
                  </a:lnTo>
                  <a:lnTo>
                    <a:pt x="12798" y="3884"/>
                  </a:lnTo>
                  <a:lnTo>
                    <a:pt x="14898" y="1954"/>
                  </a:lnTo>
                  <a:lnTo>
                    <a:pt x="1279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4" name="Shape 353"/>
            <p:cNvSpPr/>
            <p:nvPr/>
          </p:nvSpPr>
          <p:spPr>
            <a:xfrm>
              <a:off x="4636075" y="438375"/>
              <a:ext cx="372475" cy="97125"/>
            </a:xfrm>
            <a:custGeom>
              <a:avLst/>
              <a:gdLst/>
              <a:ahLst/>
              <a:cxnLst/>
              <a:rect l="0" t="0" r="0" b="0"/>
              <a:pathLst>
                <a:path w="14899" h="3885" extrusionOk="0">
                  <a:moveTo>
                    <a:pt x="2101" y="1"/>
                  </a:moveTo>
                  <a:lnTo>
                    <a:pt x="1" y="1930"/>
                  </a:lnTo>
                  <a:lnTo>
                    <a:pt x="2101" y="3884"/>
                  </a:lnTo>
                  <a:lnTo>
                    <a:pt x="13971" y="3884"/>
                  </a:lnTo>
                  <a:lnTo>
                    <a:pt x="14166" y="3860"/>
                  </a:lnTo>
                  <a:lnTo>
                    <a:pt x="14337" y="3811"/>
                  </a:lnTo>
                  <a:lnTo>
                    <a:pt x="14508" y="3713"/>
                  </a:lnTo>
                  <a:lnTo>
                    <a:pt x="14630" y="3615"/>
                  </a:lnTo>
                  <a:lnTo>
                    <a:pt x="14752" y="3469"/>
                  </a:lnTo>
                  <a:lnTo>
                    <a:pt x="14826" y="3322"/>
                  </a:lnTo>
                  <a:lnTo>
                    <a:pt x="14899" y="3151"/>
                  </a:lnTo>
                  <a:lnTo>
                    <a:pt x="14899" y="2956"/>
                  </a:lnTo>
                  <a:lnTo>
                    <a:pt x="14899" y="929"/>
                  </a:lnTo>
                  <a:lnTo>
                    <a:pt x="14899" y="733"/>
                  </a:lnTo>
                  <a:lnTo>
                    <a:pt x="14826" y="563"/>
                  </a:lnTo>
                  <a:lnTo>
                    <a:pt x="14752" y="416"/>
                  </a:lnTo>
                  <a:lnTo>
                    <a:pt x="14630" y="269"/>
                  </a:lnTo>
                  <a:lnTo>
                    <a:pt x="14508" y="147"/>
                  </a:lnTo>
                  <a:lnTo>
                    <a:pt x="14337" y="74"/>
                  </a:lnTo>
                  <a:lnTo>
                    <a:pt x="14166" y="25"/>
                  </a:lnTo>
                  <a:lnTo>
                    <a:pt x="1397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5" name="Shape 354"/>
            <p:cNvSpPr/>
            <p:nvPr/>
          </p:nvSpPr>
          <p:spPr>
            <a:xfrm>
              <a:off x="4814975" y="261925"/>
              <a:ext cx="44000" cy="50100"/>
            </a:xfrm>
            <a:custGeom>
              <a:avLst/>
              <a:gdLst/>
              <a:ahLst/>
              <a:cxnLst/>
              <a:rect l="0" t="0" r="0" b="0"/>
              <a:pathLst>
                <a:path w="1760" h="2004" extrusionOk="0">
                  <a:moveTo>
                    <a:pt x="563" y="1"/>
                  </a:moveTo>
                  <a:lnTo>
                    <a:pt x="465" y="25"/>
                  </a:lnTo>
                  <a:lnTo>
                    <a:pt x="343" y="49"/>
                  </a:lnTo>
                  <a:lnTo>
                    <a:pt x="245" y="98"/>
                  </a:lnTo>
                  <a:lnTo>
                    <a:pt x="172" y="171"/>
                  </a:lnTo>
                  <a:lnTo>
                    <a:pt x="99" y="269"/>
                  </a:lnTo>
                  <a:lnTo>
                    <a:pt x="25" y="367"/>
                  </a:lnTo>
                  <a:lnTo>
                    <a:pt x="1" y="465"/>
                  </a:lnTo>
                  <a:lnTo>
                    <a:pt x="1" y="587"/>
                  </a:lnTo>
                  <a:lnTo>
                    <a:pt x="1" y="2003"/>
                  </a:lnTo>
                  <a:lnTo>
                    <a:pt x="1759" y="2003"/>
                  </a:lnTo>
                  <a:lnTo>
                    <a:pt x="1759" y="587"/>
                  </a:lnTo>
                  <a:lnTo>
                    <a:pt x="1759" y="465"/>
                  </a:lnTo>
                  <a:lnTo>
                    <a:pt x="1735" y="367"/>
                  </a:lnTo>
                  <a:lnTo>
                    <a:pt x="1662" y="269"/>
                  </a:lnTo>
                  <a:lnTo>
                    <a:pt x="1588" y="171"/>
                  </a:lnTo>
                  <a:lnTo>
                    <a:pt x="1515" y="98"/>
                  </a:lnTo>
                  <a:lnTo>
                    <a:pt x="1417" y="49"/>
                  </a:lnTo>
                  <a:lnTo>
                    <a:pt x="1295" y="25"/>
                  </a:lnTo>
                  <a:lnTo>
                    <a:pt x="119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6" name="Shape 355"/>
            <p:cNvSpPr/>
            <p:nvPr/>
          </p:nvSpPr>
          <p:spPr>
            <a:xfrm>
              <a:off x="4814975" y="550125"/>
              <a:ext cx="44000" cy="186850"/>
            </a:xfrm>
            <a:custGeom>
              <a:avLst/>
              <a:gdLst/>
              <a:ahLst/>
              <a:cxnLst/>
              <a:rect l="0" t="0" r="0" b="0"/>
              <a:pathLst>
                <a:path w="1760" h="7474" extrusionOk="0">
                  <a:moveTo>
                    <a:pt x="1" y="0"/>
                  </a:moveTo>
                  <a:lnTo>
                    <a:pt x="1" y="7474"/>
                  </a:lnTo>
                  <a:lnTo>
                    <a:pt x="1759" y="7474"/>
                  </a:lnTo>
                  <a:lnTo>
                    <a:pt x="175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7" name="Shape 356"/>
          <p:cNvSpPr/>
          <p:nvPr/>
        </p:nvSpPr>
        <p:spPr>
          <a:xfrm>
            <a:off x="6288292" y="1773957"/>
            <a:ext cx="351561" cy="306814"/>
          </a:xfrm>
          <a:custGeom>
            <a:avLst/>
            <a:gdLst/>
            <a:ahLst/>
            <a:cxnLst/>
            <a:rect l="0" t="0" r="0" b="0"/>
            <a:pathLst>
              <a:path w="18416" h="16072" extrusionOk="0">
                <a:moveTo>
                  <a:pt x="9208" y="1"/>
                </a:moveTo>
                <a:lnTo>
                  <a:pt x="1" y="8866"/>
                </a:lnTo>
                <a:lnTo>
                  <a:pt x="2882" y="8866"/>
                </a:lnTo>
                <a:lnTo>
                  <a:pt x="2882" y="15290"/>
                </a:lnTo>
                <a:lnTo>
                  <a:pt x="2907" y="15461"/>
                </a:lnTo>
                <a:lnTo>
                  <a:pt x="2956" y="15607"/>
                </a:lnTo>
                <a:lnTo>
                  <a:pt x="3029" y="15729"/>
                </a:lnTo>
                <a:lnTo>
                  <a:pt x="3102" y="15851"/>
                </a:lnTo>
                <a:lnTo>
                  <a:pt x="3224" y="15949"/>
                </a:lnTo>
                <a:lnTo>
                  <a:pt x="3371" y="16022"/>
                </a:lnTo>
                <a:lnTo>
                  <a:pt x="3517" y="16071"/>
                </a:lnTo>
                <a:lnTo>
                  <a:pt x="7425" y="16071"/>
                </a:lnTo>
                <a:lnTo>
                  <a:pt x="7425" y="13458"/>
                </a:lnTo>
                <a:lnTo>
                  <a:pt x="7450" y="13165"/>
                </a:lnTo>
                <a:lnTo>
                  <a:pt x="7547" y="12896"/>
                </a:lnTo>
                <a:lnTo>
                  <a:pt x="7669" y="12652"/>
                </a:lnTo>
                <a:lnTo>
                  <a:pt x="7840" y="12457"/>
                </a:lnTo>
                <a:lnTo>
                  <a:pt x="8060" y="12286"/>
                </a:lnTo>
                <a:lnTo>
                  <a:pt x="8280" y="12164"/>
                </a:lnTo>
                <a:lnTo>
                  <a:pt x="8549" y="12066"/>
                </a:lnTo>
                <a:lnTo>
                  <a:pt x="8842" y="12041"/>
                </a:lnTo>
                <a:lnTo>
                  <a:pt x="9574" y="12041"/>
                </a:lnTo>
                <a:lnTo>
                  <a:pt x="9867" y="12066"/>
                </a:lnTo>
                <a:lnTo>
                  <a:pt x="10136" y="12164"/>
                </a:lnTo>
                <a:lnTo>
                  <a:pt x="10356" y="12286"/>
                </a:lnTo>
                <a:lnTo>
                  <a:pt x="10576" y="12457"/>
                </a:lnTo>
                <a:lnTo>
                  <a:pt x="10747" y="12652"/>
                </a:lnTo>
                <a:lnTo>
                  <a:pt x="10869" y="12896"/>
                </a:lnTo>
                <a:lnTo>
                  <a:pt x="10967" y="13165"/>
                </a:lnTo>
                <a:lnTo>
                  <a:pt x="10991" y="13458"/>
                </a:lnTo>
                <a:lnTo>
                  <a:pt x="10991" y="16071"/>
                </a:lnTo>
                <a:lnTo>
                  <a:pt x="14899" y="16071"/>
                </a:lnTo>
                <a:lnTo>
                  <a:pt x="15045" y="16022"/>
                </a:lnTo>
                <a:lnTo>
                  <a:pt x="15192" y="15949"/>
                </a:lnTo>
                <a:lnTo>
                  <a:pt x="15314" y="15851"/>
                </a:lnTo>
                <a:lnTo>
                  <a:pt x="15387" y="15729"/>
                </a:lnTo>
                <a:lnTo>
                  <a:pt x="15460" y="15607"/>
                </a:lnTo>
                <a:lnTo>
                  <a:pt x="15509" y="15461"/>
                </a:lnTo>
                <a:lnTo>
                  <a:pt x="15534" y="15290"/>
                </a:lnTo>
                <a:lnTo>
                  <a:pt x="15534" y="8866"/>
                </a:lnTo>
                <a:lnTo>
                  <a:pt x="18416" y="8866"/>
                </a:lnTo>
                <a:lnTo>
                  <a:pt x="920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8" name="Shape 357"/>
          <p:cNvGrpSpPr/>
          <p:nvPr/>
        </p:nvGrpSpPr>
        <p:grpSpPr>
          <a:xfrm>
            <a:off x="6824528" y="1776283"/>
            <a:ext cx="307731" cy="301660"/>
            <a:chOff x="5983625" y="301625"/>
            <a:chExt cx="403000" cy="395050"/>
          </a:xfrm>
        </p:grpSpPr>
        <p:sp>
          <p:nvSpPr>
            <p:cNvPr id="29" name="Shape 358"/>
            <p:cNvSpPr/>
            <p:nvPr/>
          </p:nvSpPr>
          <p:spPr>
            <a:xfrm>
              <a:off x="5983625" y="319925"/>
              <a:ext cx="403000" cy="67200"/>
            </a:xfrm>
            <a:custGeom>
              <a:avLst/>
              <a:gdLst/>
              <a:ahLst/>
              <a:cxnLst/>
              <a:rect l="0" t="0" r="0" b="0"/>
              <a:pathLst>
                <a:path w="16120" h="2688" extrusionOk="0">
                  <a:moveTo>
                    <a:pt x="3102" y="416"/>
                  </a:moveTo>
                  <a:lnTo>
                    <a:pt x="3273" y="465"/>
                  </a:lnTo>
                  <a:lnTo>
                    <a:pt x="3444" y="562"/>
                  </a:lnTo>
                  <a:lnTo>
                    <a:pt x="3566" y="660"/>
                  </a:lnTo>
                  <a:lnTo>
                    <a:pt x="3688" y="807"/>
                  </a:lnTo>
                  <a:lnTo>
                    <a:pt x="3762" y="953"/>
                  </a:lnTo>
                  <a:lnTo>
                    <a:pt x="3810" y="1124"/>
                  </a:lnTo>
                  <a:lnTo>
                    <a:pt x="3835" y="1320"/>
                  </a:lnTo>
                  <a:lnTo>
                    <a:pt x="3810" y="1491"/>
                  </a:lnTo>
                  <a:lnTo>
                    <a:pt x="3762" y="1661"/>
                  </a:lnTo>
                  <a:lnTo>
                    <a:pt x="3688" y="1808"/>
                  </a:lnTo>
                  <a:lnTo>
                    <a:pt x="3566" y="1955"/>
                  </a:lnTo>
                  <a:lnTo>
                    <a:pt x="3444" y="2052"/>
                  </a:lnTo>
                  <a:lnTo>
                    <a:pt x="3273" y="2150"/>
                  </a:lnTo>
                  <a:lnTo>
                    <a:pt x="3102" y="2199"/>
                  </a:lnTo>
                  <a:lnTo>
                    <a:pt x="2931" y="2223"/>
                  </a:lnTo>
                  <a:lnTo>
                    <a:pt x="2760" y="2199"/>
                  </a:lnTo>
                  <a:lnTo>
                    <a:pt x="2589" y="2150"/>
                  </a:lnTo>
                  <a:lnTo>
                    <a:pt x="2418" y="2052"/>
                  </a:lnTo>
                  <a:lnTo>
                    <a:pt x="2296" y="1955"/>
                  </a:lnTo>
                  <a:lnTo>
                    <a:pt x="2174" y="1808"/>
                  </a:lnTo>
                  <a:lnTo>
                    <a:pt x="2101" y="1661"/>
                  </a:lnTo>
                  <a:lnTo>
                    <a:pt x="2052" y="1491"/>
                  </a:lnTo>
                  <a:lnTo>
                    <a:pt x="2028" y="1320"/>
                  </a:lnTo>
                  <a:lnTo>
                    <a:pt x="2052" y="1124"/>
                  </a:lnTo>
                  <a:lnTo>
                    <a:pt x="2101" y="953"/>
                  </a:lnTo>
                  <a:lnTo>
                    <a:pt x="2174" y="807"/>
                  </a:lnTo>
                  <a:lnTo>
                    <a:pt x="2296" y="660"/>
                  </a:lnTo>
                  <a:lnTo>
                    <a:pt x="2418" y="562"/>
                  </a:lnTo>
                  <a:lnTo>
                    <a:pt x="2589" y="465"/>
                  </a:lnTo>
                  <a:lnTo>
                    <a:pt x="2760" y="416"/>
                  </a:lnTo>
                  <a:close/>
                  <a:moveTo>
                    <a:pt x="13360" y="416"/>
                  </a:moveTo>
                  <a:lnTo>
                    <a:pt x="13531" y="465"/>
                  </a:lnTo>
                  <a:lnTo>
                    <a:pt x="13702" y="562"/>
                  </a:lnTo>
                  <a:lnTo>
                    <a:pt x="13824" y="660"/>
                  </a:lnTo>
                  <a:lnTo>
                    <a:pt x="13946" y="807"/>
                  </a:lnTo>
                  <a:lnTo>
                    <a:pt x="14019" y="953"/>
                  </a:lnTo>
                  <a:lnTo>
                    <a:pt x="14068" y="1124"/>
                  </a:lnTo>
                  <a:lnTo>
                    <a:pt x="14093" y="1320"/>
                  </a:lnTo>
                  <a:lnTo>
                    <a:pt x="14068" y="1491"/>
                  </a:lnTo>
                  <a:lnTo>
                    <a:pt x="14019" y="1661"/>
                  </a:lnTo>
                  <a:lnTo>
                    <a:pt x="13946" y="1808"/>
                  </a:lnTo>
                  <a:lnTo>
                    <a:pt x="13824" y="1955"/>
                  </a:lnTo>
                  <a:lnTo>
                    <a:pt x="13702" y="2052"/>
                  </a:lnTo>
                  <a:lnTo>
                    <a:pt x="13531" y="2150"/>
                  </a:lnTo>
                  <a:lnTo>
                    <a:pt x="13360" y="2199"/>
                  </a:lnTo>
                  <a:lnTo>
                    <a:pt x="13189" y="2223"/>
                  </a:lnTo>
                  <a:lnTo>
                    <a:pt x="13018" y="2199"/>
                  </a:lnTo>
                  <a:lnTo>
                    <a:pt x="12847" y="2150"/>
                  </a:lnTo>
                  <a:lnTo>
                    <a:pt x="12676" y="2052"/>
                  </a:lnTo>
                  <a:lnTo>
                    <a:pt x="12554" y="1955"/>
                  </a:lnTo>
                  <a:lnTo>
                    <a:pt x="12432" y="1808"/>
                  </a:lnTo>
                  <a:lnTo>
                    <a:pt x="12359" y="1661"/>
                  </a:lnTo>
                  <a:lnTo>
                    <a:pt x="12310" y="1491"/>
                  </a:lnTo>
                  <a:lnTo>
                    <a:pt x="12285" y="1320"/>
                  </a:lnTo>
                  <a:lnTo>
                    <a:pt x="12310" y="1124"/>
                  </a:lnTo>
                  <a:lnTo>
                    <a:pt x="12359" y="953"/>
                  </a:lnTo>
                  <a:lnTo>
                    <a:pt x="12432" y="807"/>
                  </a:lnTo>
                  <a:lnTo>
                    <a:pt x="12554" y="660"/>
                  </a:lnTo>
                  <a:lnTo>
                    <a:pt x="12676" y="562"/>
                  </a:lnTo>
                  <a:lnTo>
                    <a:pt x="12847" y="465"/>
                  </a:lnTo>
                  <a:lnTo>
                    <a:pt x="13018" y="416"/>
                  </a:lnTo>
                  <a:close/>
                  <a:moveTo>
                    <a:pt x="0" y="1"/>
                  </a:moveTo>
                  <a:lnTo>
                    <a:pt x="0" y="2687"/>
                  </a:lnTo>
                  <a:lnTo>
                    <a:pt x="16120" y="2687"/>
                  </a:lnTo>
                  <a:lnTo>
                    <a:pt x="1612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0" name="Shape 359"/>
            <p:cNvSpPr/>
            <p:nvPr/>
          </p:nvSpPr>
          <p:spPr>
            <a:xfrm>
              <a:off x="5983625" y="664900"/>
              <a:ext cx="403000" cy="31775"/>
            </a:xfrm>
            <a:custGeom>
              <a:avLst/>
              <a:gdLst/>
              <a:ahLst/>
              <a:cxnLst/>
              <a:rect l="0" t="0" r="0" b="0"/>
              <a:pathLst>
                <a:path w="16120" h="1271" extrusionOk="0">
                  <a:moveTo>
                    <a:pt x="0" y="1"/>
                  </a:moveTo>
                  <a:lnTo>
                    <a:pt x="0" y="489"/>
                  </a:lnTo>
                  <a:lnTo>
                    <a:pt x="25" y="660"/>
                  </a:lnTo>
                  <a:lnTo>
                    <a:pt x="74" y="807"/>
                  </a:lnTo>
                  <a:lnTo>
                    <a:pt x="147" y="929"/>
                  </a:lnTo>
                  <a:lnTo>
                    <a:pt x="220" y="1051"/>
                  </a:lnTo>
                  <a:lnTo>
                    <a:pt x="342" y="1149"/>
                  </a:lnTo>
                  <a:lnTo>
                    <a:pt x="489" y="1222"/>
                  </a:lnTo>
                  <a:lnTo>
                    <a:pt x="635" y="1271"/>
                  </a:lnTo>
                  <a:lnTo>
                    <a:pt x="15485" y="1271"/>
                  </a:lnTo>
                  <a:lnTo>
                    <a:pt x="15631" y="1222"/>
                  </a:lnTo>
                  <a:lnTo>
                    <a:pt x="15778" y="1149"/>
                  </a:lnTo>
                  <a:lnTo>
                    <a:pt x="15900" y="1051"/>
                  </a:lnTo>
                  <a:lnTo>
                    <a:pt x="15973" y="929"/>
                  </a:lnTo>
                  <a:lnTo>
                    <a:pt x="16046" y="807"/>
                  </a:lnTo>
                  <a:lnTo>
                    <a:pt x="16095" y="660"/>
                  </a:lnTo>
                  <a:lnTo>
                    <a:pt x="16120" y="489"/>
                  </a:lnTo>
                  <a:lnTo>
                    <a:pt x="16120" y="1"/>
                  </a:lnTo>
                  <a:lnTo>
                    <a:pt x="16095" y="172"/>
                  </a:lnTo>
                  <a:lnTo>
                    <a:pt x="16046" y="318"/>
                  </a:lnTo>
                  <a:lnTo>
                    <a:pt x="15973" y="440"/>
                  </a:lnTo>
                  <a:lnTo>
                    <a:pt x="15900" y="562"/>
                  </a:lnTo>
                  <a:lnTo>
                    <a:pt x="15778" y="660"/>
                  </a:lnTo>
                  <a:lnTo>
                    <a:pt x="15631" y="733"/>
                  </a:lnTo>
                  <a:lnTo>
                    <a:pt x="15485" y="782"/>
                  </a:lnTo>
                  <a:lnTo>
                    <a:pt x="635" y="782"/>
                  </a:lnTo>
                  <a:lnTo>
                    <a:pt x="489" y="733"/>
                  </a:lnTo>
                  <a:lnTo>
                    <a:pt x="342" y="660"/>
                  </a:lnTo>
                  <a:lnTo>
                    <a:pt x="220" y="562"/>
                  </a:lnTo>
                  <a:lnTo>
                    <a:pt x="147" y="440"/>
                  </a:lnTo>
                  <a:lnTo>
                    <a:pt x="74" y="318"/>
                  </a:lnTo>
                  <a:lnTo>
                    <a:pt x="25" y="172"/>
                  </a:lnTo>
                  <a:lnTo>
                    <a:pt x="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1" name="Shape 360"/>
            <p:cNvSpPr/>
            <p:nvPr/>
          </p:nvSpPr>
          <p:spPr>
            <a:xfrm>
              <a:off x="6041025" y="301625"/>
              <a:ext cx="29325" cy="63500"/>
            </a:xfrm>
            <a:custGeom>
              <a:avLst/>
              <a:gdLst/>
              <a:ahLst/>
              <a:cxnLst/>
              <a:rect l="0" t="0" r="0" b="0"/>
              <a:pathLst>
                <a:path w="1173" h="2540" extrusionOk="0">
                  <a:moveTo>
                    <a:pt x="391" y="0"/>
                  </a:moveTo>
                  <a:lnTo>
                    <a:pt x="293" y="49"/>
                  </a:lnTo>
                  <a:lnTo>
                    <a:pt x="220" y="73"/>
                  </a:lnTo>
                  <a:lnTo>
                    <a:pt x="147" y="147"/>
                  </a:lnTo>
                  <a:lnTo>
                    <a:pt x="74" y="220"/>
                  </a:lnTo>
                  <a:lnTo>
                    <a:pt x="49" y="293"/>
                  </a:lnTo>
                  <a:lnTo>
                    <a:pt x="0" y="391"/>
                  </a:lnTo>
                  <a:lnTo>
                    <a:pt x="0" y="488"/>
                  </a:lnTo>
                  <a:lnTo>
                    <a:pt x="0" y="2052"/>
                  </a:lnTo>
                  <a:lnTo>
                    <a:pt x="0" y="2149"/>
                  </a:lnTo>
                  <a:lnTo>
                    <a:pt x="49" y="2247"/>
                  </a:lnTo>
                  <a:lnTo>
                    <a:pt x="74" y="2320"/>
                  </a:lnTo>
                  <a:lnTo>
                    <a:pt x="147" y="2393"/>
                  </a:lnTo>
                  <a:lnTo>
                    <a:pt x="220" y="2467"/>
                  </a:lnTo>
                  <a:lnTo>
                    <a:pt x="293" y="2491"/>
                  </a:lnTo>
                  <a:lnTo>
                    <a:pt x="391" y="2540"/>
                  </a:lnTo>
                  <a:lnTo>
                    <a:pt x="782" y="2540"/>
                  </a:lnTo>
                  <a:lnTo>
                    <a:pt x="879" y="2491"/>
                  </a:lnTo>
                  <a:lnTo>
                    <a:pt x="953" y="2467"/>
                  </a:lnTo>
                  <a:lnTo>
                    <a:pt x="1026" y="2393"/>
                  </a:lnTo>
                  <a:lnTo>
                    <a:pt x="1099" y="2320"/>
                  </a:lnTo>
                  <a:lnTo>
                    <a:pt x="1124" y="2247"/>
                  </a:lnTo>
                  <a:lnTo>
                    <a:pt x="1173" y="2149"/>
                  </a:lnTo>
                  <a:lnTo>
                    <a:pt x="1173" y="2052"/>
                  </a:lnTo>
                  <a:lnTo>
                    <a:pt x="1173" y="488"/>
                  </a:lnTo>
                  <a:lnTo>
                    <a:pt x="1173" y="391"/>
                  </a:lnTo>
                  <a:lnTo>
                    <a:pt x="1124" y="293"/>
                  </a:lnTo>
                  <a:lnTo>
                    <a:pt x="1099" y="220"/>
                  </a:lnTo>
                  <a:lnTo>
                    <a:pt x="1026" y="147"/>
                  </a:lnTo>
                  <a:lnTo>
                    <a:pt x="953" y="73"/>
                  </a:lnTo>
                  <a:lnTo>
                    <a:pt x="879" y="49"/>
                  </a:lnTo>
                  <a:lnTo>
                    <a:pt x="78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2" name="Shape 361"/>
            <p:cNvSpPr/>
            <p:nvPr/>
          </p:nvSpPr>
          <p:spPr>
            <a:xfrm>
              <a:off x="6297450" y="301625"/>
              <a:ext cx="29350" cy="63500"/>
            </a:xfrm>
            <a:custGeom>
              <a:avLst/>
              <a:gdLst/>
              <a:ahLst/>
              <a:cxnLst/>
              <a:rect l="0" t="0" r="0" b="0"/>
              <a:pathLst>
                <a:path w="1174" h="2540" extrusionOk="0">
                  <a:moveTo>
                    <a:pt x="392" y="0"/>
                  </a:moveTo>
                  <a:lnTo>
                    <a:pt x="294" y="49"/>
                  </a:lnTo>
                  <a:lnTo>
                    <a:pt x="221" y="73"/>
                  </a:lnTo>
                  <a:lnTo>
                    <a:pt x="147" y="147"/>
                  </a:lnTo>
                  <a:lnTo>
                    <a:pt x="74" y="220"/>
                  </a:lnTo>
                  <a:lnTo>
                    <a:pt x="50" y="293"/>
                  </a:lnTo>
                  <a:lnTo>
                    <a:pt x="1" y="391"/>
                  </a:lnTo>
                  <a:lnTo>
                    <a:pt x="1" y="488"/>
                  </a:lnTo>
                  <a:lnTo>
                    <a:pt x="1" y="2052"/>
                  </a:lnTo>
                  <a:lnTo>
                    <a:pt x="1" y="2149"/>
                  </a:lnTo>
                  <a:lnTo>
                    <a:pt x="50" y="2247"/>
                  </a:lnTo>
                  <a:lnTo>
                    <a:pt x="74" y="2320"/>
                  </a:lnTo>
                  <a:lnTo>
                    <a:pt x="147" y="2393"/>
                  </a:lnTo>
                  <a:lnTo>
                    <a:pt x="221" y="2467"/>
                  </a:lnTo>
                  <a:lnTo>
                    <a:pt x="294" y="2491"/>
                  </a:lnTo>
                  <a:lnTo>
                    <a:pt x="392" y="2540"/>
                  </a:lnTo>
                  <a:lnTo>
                    <a:pt x="782" y="2540"/>
                  </a:lnTo>
                  <a:lnTo>
                    <a:pt x="880" y="2491"/>
                  </a:lnTo>
                  <a:lnTo>
                    <a:pt x="953" y="2467"/>
                  </a:lnTo>
                  <a:lnTo>
                    <a:pt x="1027" y="2393"/>
                  </a:lnTo>
                  <a:lnTo>
                    <a:pt x="1100" y="2320"/>
                  </a:lnTo>
                  <a:lnTo>
                    <a:pt x="1124" y="2247"/>
                  </a:lnTo>
                  <a:lnTo>
                    <a:pt x="1173" y="2149"/>
                  </a:lnTo>
                  <a:lnTo>
                    <a:pt x="1173" y="2052"/>
                  </a:lnTo>
                  <a:lnTo>
                    <a:pt x="1173" y="488"/>
                  </a:lnTo>
                  <a:lnTo>
                    <a:pt x="1173" y="391"/>
                  </a:lnTo>
                  <a:lnTo>
                    <a:pt x="1124" y="293"/>
                  </a:lnTo>
                  <a:lnTo>
                    <a:pt x="1100" y="220"/>
                  </a:lnTo>
                  <a:lnTo>
                    <a:pt x="1027" y="147"/>
                  </a:lnTo>
                  <a:lnTo>
                    <a:pt x="953" y="73"/>
                  </a:lnTo>
                  <a:lnTo>
                    <a:pt x="880" y="49"/>
                  </a:lnTo>
                  <a:lnTo>
                    <a:pt x="78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3" name="Shape 362"/>
            <p:cNvSpPr/>
            <p:nvPr/>
          </p:nvSpPr>
          <p:spPr>
            <a:xfrm>
              <a:off x="6097200" y="509200"/>
              <a:ext cx="50700" cy="53775"/>
            </a:xfrm>
            <a:custGeom>
              <a:avLst/>
              <a:gdLst/>
              <a:ahLst/>
              <a:cxnLst/>
              <a:rect l="0" t="0" r="0" b="0"/>
              <a:pathLst>
                <a:path w="2028" h="2151" extrusionOk="0">
                  <a:moveTo>
                    <a:pt x="0" y="1"/>
                  </a:moveTo>
                  <a:lnTo>
                    <a:pt x="0" y="2150"/>
                  </a:lnTo>
                  <a:lnTo>
                    <a:pt x="2027" y="2150"/>
                  </a:lnTo>
                  <a:lnTo>
                    <a:pt x="202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4" name="Shape 363"/>
            <p:cNvSpPr/>
            <p:nvPr/>
          </p:nvSpPr>
          <p:spPr>
            <a:xfrm>
              <a:off x="6097200" y="448150"/>
              <a:ext cx="50700" cy="48875"/>
            </a:xfrm>
            <a:custGeom>
              <a:avLst/>
              <a:gdLst/>
              <a:ahLst/>
              <a:cxnLst/>
              <a:rect l="0" t="0" r="0" b="0"/>
              <a:pathLst>
                <a:path w="2028" h="1955" extrusionOk="0">
                  <a:moveTo>
                    <a:pt x="0" y="1"/>
                  </a:moveTo>
                  <a:lnTo>
                    <a:pt x="0" y="1954"/>
                  </a:lnTo>
                  <a:lnTo>
                    <a:pt x="2027" y="1954"/>
                  </a:lnTo>
                  <a:lnTo>
                    <a:pt x="202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5" name="Shape 364"/>
            <p:cNvSpPr/>
            <p:nvPr/>
          </p:nvSpPr>
          <p:spPr>
            <a:xfrm>
              <a:off x="6097200" y="575150"/>
              <a:ext cx="50700" cy="48875"/>
            </a:xfrm>
            <a:custGeom>
              <a:avLst/>
              <a:gdLst/>
              <a:ahLst/>
              <a:cxnLst/>
              <a:rect l="0" t="0" r="0" b="0"/>
              <a:pathLst>
                <a:path w="2028" h="1955" extrusionOk="0">
                  <a:moveTo>
                    <a:pt x="0" y="1"/>
                  </a:moveTo>
                  <a:lnTo>
                    <a:pt x="0" y="1954"/>
                  </a:lnTo>
                  <a:lnTo>
                    <a:pt x="2027" y="1954"/>
                  </a:lnTo>
                  <a:lnTo>
                    <a:pt x="202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6" name="Shape 365"/>
            <p:cNvSpPr/>
            <p:nvPr/>
          </p:nvSpPr>
          <p:spPr>
            <a:xfrm>
              <a:off x="6160075" y="575150"/>
              <a:ext cx="50100" cy="48875"/>
            </a:xfrm>
            <a:custGeom>
              <a:avLst/>
              <a:gdLst/>
              <a:ahLst/>
              <a:cxnLst/>
              <a:rect l="0" t="0" r="0" b="0"/>
              <a:pathLst>
                <a:path w="2004" h="1955" extrusionOk="0">
                  <a:moveTo>
                    <a:pt x="1" y="1"/>
                  </a:moveTo>
                  <a:lnTo>
                    <a:pt x="1" y="1954"/>
                  </a:lnTo>
                  <a:lnTo>
                    <a:pt x="2003" y="1954"/>
                  </a:lnTo>
                  <a:lnTo>
                    <a:pt x="200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7" name="Shape 366"/>
            <p:cNvSpPr/>
            <p:nvPr/>
          </p:nvSpPr>
          <p:spPr>
            <a:xfrm>
              <a:off x="6034300" y="509200"/>
              <a:ext cx="50700" cy="53775"/>
            </a:xfrm>
            <a:custGeom>
              <a:avLst/>
              <a:gdLst/>
              <a:ahLst/>
              <a:cxnLst/>
              <a:rect l="0" t="0" r="0" b="0"/>
              <a:pathLst>
                <a:path w="2028" h="2151" extrusionOk="0">
                  <a:moveTo>
                    <a:pt x="1" y="1"/>
                  </a:moveTo>
                  <a:lnTo>
                    <a:pt x="1" y="2150"/>
                  </a:lnTo>
                  <a:lnTo>
                    <a:pt x="2028" y="2150"/>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8" name="Shape 367"/>
            <p:cNvSpPr/>
            <p:nvPr/>
          </p:nvSpPr>
          <p:spPr>
            <a:xfrm>
              <a:off x="6034300" y="575150"/>
              <a:ext cx="50700" cy="48875"/>
            </a:xfrm>
            <a:custGeom>
              <a:avLst/>
              <a:gdLst/>
              <a:ahLst/>
              <a:cxnLst/>
              <a:rect l="0" t="0" r="0" b="0"/>
              <a:pathLst>
                <a:path w="2028" h="1955" extrusionOk="0">
                  <a:moveTo>
                    <a:pt x="1" y="1"/>
                  </a:moveTo>
                  <a:lnTo>
                    <a:pt x="1" y="1954"/>
                  </a:lnTo>
                  <a:lnTo>
                    <a:pt x="2028" y="1954"/>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39" name="Shape 368"/>
            <p:cNvSpPr/>
            <p:nvPr/>
          </p:nvSpPr>
          <p:spPr>
            <a:xfrm>
              <a:off x="6034300" y="448150"/>
              <a:ext cx="50700" cy="48875"/>
            </a:xfrm>
            <a:custGeom>
              <a:avLst/>
              <a:gdLst/>
              <a:ahLst/>
              <a:cxnLst/>
              <a:rect l="0" t="0" r="0" b="0"/>
              <a:pathLst>
                <a:path w="2028" h="1955" extrusionOk="0">
                  <a:moveTo>
                    <a:pt x="1" y="1"/>
                  </a:moveTo>
                  <a:lnTo>
                    <a:pt x="1" y="1954"/>
                  </a:lnTo>
                  <a:lnTo>
                    <a:pt x="2028" y="1954"/>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0" name="Shape 369"/>
            <p:cNvSpPr/>
            <p:nvPr/>
          </p:nvSpPr>
          <p:spPr>
            <a:xfrm>
              <a:off x="6160075" y="509200"/>
              <a:ext cx="50100" cy="53775"/>
            </a:xfrm>
            <a:custGeom>
              <a:avLst/>
              <a:gdLst/>
              <a:ahLst/>
              <a:cxnLst/>
              <a:rect l="0" t="0" r="0" b="0"/>
              <a:pathLst>
                <a:path w="2004" h="2151" extrusionOk="0">
                  <a:moveTo>
                    <a:pt x="1" y="1"/>
                  </a:moveTo>
                  <a:lnTo>
                    <a:pt x="1" y="2150"/>
                  </a:lnTo>
                  <a:lnTo>
                    <a:pt x="2003" y="2150"/>
                  </a:lnTo>
                  <a:lnTo>
                    <a:pt x="200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1" name="Shape 370"/>
            <p:cNvSpPr/>
            <p:nvPr/>
          </p:nvSpPr>
          <p:spPr>
            <a:xfrm>
              <a:off x="5983625" y="399300"/>
              <a:ext cx="403000" cy="272950"/>
            </a:xfrm>
            <a:custGeom>
              <a:avLst/>
              <a:gdLst/>
              <a:ahLst/>
              <a:cxnLst/>
              <a:rect l="0" t="0" r="0" b="0"/>
              <a:pathLst>
                <a:path w="16120" h="10918" extrusionOk="0">
                  <a:moveTo>
                    <a:pt x="14434" y="1466"/>
                  </a:moveTo>
                  <a:lnTo>
                    <a:pt x="14508" y="1515"/>
                  </a:lnTo>
                  <a:lnTo>
                    <a:pt x="14557" y="1613"/>
                  </a:lnTo>
                  <a:lnTo>
                    <a:pt x="14581" y="1710"/>
                  </a:lnTo>
                  <a:lnTo>
                    <a:pt x="14581" y="9233"/>
                  </a:lnTo>
                  <a:lnTo>
                    <a:pt x="14557" y="9330"/>
                  </a:lnTo>
                  <a:lnTo>
                    <a:pt x="14508" y="9404"/>
                  </a:lnTo>
                  <a:lnTo>
                    <a:pt x="14434" y="9452"/>
                  </a:lnTo>
                  <a:lnTo>
                    <a:pt x="14337" y="9477"/>
                  </a:lnTo>
                  <a:lnTo>
                    <a:pt x="1783" y="9477"/>
                  </a:lnTo>
                  <a:lnTo>
                    <a:pt x="1686" y="9452"/>
                  </a:lnTo>
                  <a:lnTo>
                    <a:pt x="1612" y="9404"/>
                  </a:lnTo>
                  <a:lnTo>
                    <a:pt x="1564" y="9330"/>
                  </a:lnTo>
                  <a:lnTo>
                    <a:pt x="1539" y="9233"/>
                  </a:lnTo>
                  <a:lnTo>
                    <a:pt x="1539" y="1710"/>
                  </a:lnTo>
                  <a:lnTo>
                    <a:pt x="1564" y="1613"/>
                  </a:lnTo>
                  <a:lnTo>
                    <a:pt x="1612" y="1515"/>
                  </a:lnTo>
                  <a:lnTo>
                    <a:pt x="1686" y="1466"/>
                  </a:lnTo>
                  <a:close/>
                  <a:moveTo>
                    <a:pt x="0" y="1"/>
                  </a:moveTo>
                  <a:lnTo>
                    <a:pt x="0" y="10332"/>
                  </a:lnTo>
                  <a:lnTo>
                    <a:pt x="25" y="10429"/>
                  </a:lnTo>
                  <a:lnTo>
                    <a:pt x="74" y="10527"/>
                  </a:lnTo>
                  <a:lnTo>
                    <a:pt x="147" y="10625"/>
                  </a:lnTo>
                  <a:lnTo>
                    <a:pt x="220" y="10722"/>
                  </a:lnTo>
                  <a:lnTo>
                    <a:pt x="342" y="10796"/>
                  </a:lnTo>
                  <a:lnTo>
                    <a:pt x="489" y="10869"/>
                  </a:lnTo>
                  <a:lnTo>
                    <a:pt x="635" y="10918"/>
                  </a:lnTo>
                  <a:lnTo>
                    <a:pt x="15485" y="10918"/>
                  </a:lnTo>
                  <a:lnTo>
                    <a:pt x="15631" y="10869"/>
                  </a:lnTo>
                  <a:lnTo>
                    <a:pt x="15778" y="10796"/>
                  </a:lnTo>
                  <a:lnTo>
                    <a:pt x="15900" y="10698"/>
                  </a:lnTo>
                  <a:lnTo>
                    <a:pt x="15973" y="10576"/>
                  </a:lnTo>
                  <a:lnTo>
                    <a:pt x="16046" y="10454"/>
                  </a:lnTo>
                  <a:lnTo>
                    <a:pt x="16095" y="10307"/>
                  </a:lnTo>
                  <a:lnTo>
                    <a:pt x="16120" y="10136"/>
                  </a:lnTo>
                  <a:lnTo>
                    <a:pt x="1612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2" name="Shape 371"/>
            <p:cNvSpPr/>
            <p:nvPr/>
          </p:nvSpPr>
          <p:spPr>
            <a:xfrm>
              <a:off x="6285250" y="575150"/>
              <a:ext cx="50700" cy="48875"/>
            </a:xfrm>
            <a:custGeom>
              <a:avLst/>
              <a:gdLst/>
              <a:ahLst/>
              <a:cxnLst/>
              <a:rect l="0" t="0" r="0" b="0"/>
              <a:pathLst>
                <a:path w="2028" h="1955" extrusionOk="0">
                  <a:moveTo>
                    <a:pt x="0" y="1"/>
                  </a:moveTo>
                  <a:lnTo>
                    <a:pt x="0" y="1954"/>
                  </a:lnTo>
                  <a:lnTo>
                    <a:pt x="2028" y="1954"/>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3" name="Shape 372"/>
            <p:cNvSpPr/>
            <p:nvPr/>
          </p:nvSpPr>
          <p:spPr>
            <a:xfrm>
              <a:off x="6285250" y="509200"/>
              <a:ext cx="50700" cy="53775"/>
            </a:xfrm>
            <a:custGeom>
              <a:avLst/>
              <a:gdLst/>
              <a:ahLst/>
              <a:cxnLst/>
              <a:rect l="0" t="0" r="0" b="0"/>
              <a:pathLst>
                <a:path w="2028" h="2151" extrusionOk="0">
                  <a:moveTo>
                    <a:pt x="0" y="1"/>
                  </a:moveTo>
                  <a:lnTo>
                    <a:pt x="0" y="2150"/>
                  </a:lnTo>
                  <a:lnTo>
                    <a:pt x="2028" y="2150"/>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4" name="Shape 373"/>
            <p:cNvSpPr/>
            <p:nvPr/>
          </p:nvSpPr>
          <p:spPr>
            <a:xfrm>
              <a:off x="6285250" y="448150"/>
              <a:ext cx="50700" cy="48875"/>
            </a:xfrm>
            <a:custGeom>
              <a:avLst/>
              <a:gdLst/>
              <a:ahLst/>
              <a:cxnLst/>
              <a:rect l="0" t="0" r="0" b="0"/>
              <a:pathLst>
                <a:path w="2028" h="1955" extrusionOk="0">
                  <a:moveTo>
                    <a:pt x="0" y="1"/>
                  </a:moveTo>
                  <a:lnTo>
                    <a:pt x="0" y="1954"/>
                  </a:lnTo>
                  <a:lnTo>
                    <a:pt x="2028" y="1954"/>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5" name="Shape 374"/>
            <p:cNvSpPr/>
            <p:nvPr/>
          </p:nvSpPr>
          <p:spPr>
            <a:xfrm>
              <a:off x="6222350" y="575150"/>
              <a:ext cx="50700" cy="48875"/>
            </a:xfrm>
            <a:custGeom>
              <a:avLst/>
              <a:gdLst/>
              <a:ahLst/>
              <a:cxnLst/>
              <a:rect l="0" t="0" r="0" b="0"/>
              <a:pathLst>
                <a:path w="2028" h="1955" extrusionOk="0">
                  <a:moveTo>
                    <a:pt x="1" y="1"/>
                  </a:moveTo>
                  <a:lnTo>
                    <a:pt x="1" y="1954"/>
                  </a:lnTo>
                  <a:lnTo>
                    <a:pt x="2028" y="1954"/>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6" name="Shape 375"/>
            <p:cNvSpPr/>
            <p:nvPr/>
          </p:nvSpPr>
          <p:spPr>
            <a:xfrm>
              <a:off x="6160075" y="448150"/>
              <a:ext cx="50100" cy="48875"/>
            </a:xfrm>
            <a:custGeom>
              <a:avLst/>
              <a:gdLst/>
              <a:ahLst/>
              <a:cxnLst/>
              <a:rect l="0" t="0" r="0" b="0"/>
              <a:pathLst>
                <a:path w="2004" h="1955" extrusionOk="0">
                  <a:moveTo>
                    <a:pt x="1" y="1"/>
                  </a:moveTo>
                  <a:lnTo>
                    <a:pt x="1" y="1954"/>
                  </a:lnTo>
                  <a:lnTo>
                    <a:pt x="2003" y="1954"/>
                  </a:lnTo>
                  <a:lnTo>
                    <a:pt x="200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7" name="Shape 376"/>
            <p:cNvSpPr/>
            <p:nvPr/>
          </p:nvSpPr>
          <p:spPr>
            <a:xfrm>
              <a:off x="6222350" y="509200"/>
              <a:ext cx="50700" cy="53775"/>
            </a:xfrm>
            <a:custGeom>
              <a:avLst/>
              <a:gdLst/>
              <a:ahLst/>
              <a:cxnLst/>
              <a:rect l="0" t="0" r="0" b="0"/>
              <a:pathLst>
                <a:path w="2028" h="2151" extrusionOk="0">
                  <a:moveTo>
                    <a:pt x="1" y="1"/>
                  </a:moveTo>
                  <a:lnTo>
                    <a:pt x="1" y="2150"/>
                  </a:lnTo>
                  <a:lnTo>
                    <a:pt x="2028" y="2150"/>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48" name="Shape 377"/>
            <p:cNvSpPr/>
            <p:nvPr/>
          </p:nvSpPr>
          <p:spPr>
            <a:xfrm>
              <a:off x="6222350" y="448150"/>
              <a:ext cx="50700" cy="48875"/>
            </a:xfrm>
            <a:custGeom>
              <a:avLst/>
              <a:gdLst/>
              <a:ahLst/>
              <a:cxnLst/>
              <a:rect l="0" t="0" r="0" b="0"/>
              <a:pathLst>
                <a:path w="2028" h="1955" extrusionOk="0">
                  <a:moveTo>
                    <a:pt x="1" y="1"/>
                  </a:moveTo>
                  <a:lnTo>
                    <a:pt x="1" y="1954"/>
                  </a:lnTo>
                  <a:lnTo>
                    <a:pt x="2028" y="1954"/>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49" name="Shape 378"/>
          <p:cNvGrpSpPr/>
          <p:nvPr/>
        </p:nvGrpSpPr>
        <p:grpSpPr>
          <a:xfrm>
            <a:off x="7341581" y="1773935"/>
            <a:ext cx="303073" cy="302615"/>
            <a:chOff x="6660750" y="298550"/>
            <a:chExt cx="396900" cy="396300"/>
          </a:xfrm>
        </p:grpSpPr>
        <p:sp>
          <p:nvSpPr>
            <p:cNvPr id="50" name="Shape 379"/>
            <p:cNvSpPr/>
            <p:nvPr/>
          </p:nvSpPr>
          <p:spPr>
            <a:xfrm>
              <a:off x="6660750" y="298550"/>
              <a:ext cx="396900" cy="396300"/>
            </a:xfrm>
            <a:custGeom>
              <a:avLst/>
              <a:gdLst/>
              <a:ahLst/>
              <a:cxnLst/>
              <a:rect l="0" t="0" r="0" b="0"/>
              <a:pathLst>
                <a:path w="15876" h="15852" extrusionOk="0">
                  <a:moveTo>
                    <a:pt x="8304" y="978"/>
                  </a:moveTo>
                  <a:lnTo>
                    <a:pt x="8646" y="1002"/>
                  </a:lnTo>
                  <a:lnTo>
                    <a:pt x="8988" y="1051"/>
                  </a:lnTo>
                  <a:lnTo>
                    <a:pt x="9330" y="1100"/>
                  </a:lnTo>
                  <a:lnTo>
                    <a:pt x="9672" y="1198"/>
                  </a:lnTo>
                  <a:lnTo>
                    <a:pt x="10014" y="1271"/>
                  </a:lnTo>
                  <a:lnTo>
                    <a:pt x="10332" y="1393"/>
                  </a:lnTo>
                  <a:lnTo>
                    <a:pt x="10649" y="1515"/>
                  </a:lnTo>
                  <a:lnTo>
                    <a:pt x="10942" y="1662"/>
                  </a:lnTo>
                  <a:lnTo>
                    <a:pt x="11260" y="1808"/>
                  </a:lnTo>
                  <a:lnTo>
                    <a:pt x="11553" y="1979"/>
                  </a:lnTo>
                  <a:lnTo>
                    <a:pt x="11821" y="2150"/>
                  </a:lnTo>
                  <a:lnTo>
                    <a:pt x="12090" y="2346"/>
                  </a:lnTo>
                  <a:lnTo>
                    <a:pt x="12359" y="2565"/>
                  </a:lnTo>
                  <a:lnTo>
                    <a:pt x="12603" y="2785"/>
                  </a:lnTo>
                  <a:lnTo>
                    <a:pt x="12847" y="3005"/>
                  </a:lnTo>
                  <a:lnTo>
                    <a:pt x="13091" y="3249"/>
                  </a:lnTo>
                  <a:lnTo>
                    <a:pt x="13311" y="3493"/>
                  </a:lnTo>
                  <a:lnTo>
                    <a:pt x="13507" y="3762"/>
                  </a:lnTo>
                  <a:lnTo>
                    <a:pt x="13702" y="4031"/>
                  </a:lnTo>
                  <a:lnTo>
                    <a:pt x="13897" y="4324"/>
                  </a:lnTo>
                  <a:lnTo>
                    <a:pt x="14044" y="4617"/>
                  </a:lnTo>
                  <a:lnTo>
                    <a:pt x="14215" y="4910"/>
                  </a:lnTo>
                  <a:lnTo>
                    <a:pt x="14337" y="5227"/>
                  </a:lnTo>
                  <a:lnTo>
                    <a:pt x="14483" y="5545"/>
                  </a:lnTo>
                  <a:lnTo>
                    <a:pt x="14581" y="5862"/>
                  </a:lnTo>
                  <a:lnTo>
                    <a:pt x="14679" y="6180"/>
                  </a:lnTo>
                  <a:lnTo>
                    <a:pt x="14752" y="6522"/>
                  </a:lnTo>
                  <a:lnTo>
                    <a:pt x="14825" y="6864"/>
                  </a:lnTo>
                  <a:lnTo>
                    <a:pt x="14850" y="7206"/>
                  </a:lnTo>
                  <a:lnTo>
                    <a:pt x="14899" y="7572"/>
                  </a:lnTo>
                  <a:lnTo>
                    <a:pt x="14899" y="7938"/>
                  </a:lnTo>
                  <a:lnTo>
                    <a:pt x="14899" y="8280"/>
                  </a:lnTo>
                  <a:lnTo>
                    <a:pt x="14850" y="8647"/>
                  </a:lnTo>
                  <a:lnTo>
                    <a:pt x="14825" y="8989"/>
                  </a:lnTo>
                  <a:lnTo>
                    <a:pt x="14752" y="9331"/>
                  </a:lnTo>
                  <a:lnTo>
                    <a:pt x="14679" y="9672"/>
                  </a:lnTo>
                  <a:lnTo>
                    <a:pt x="14581" y="9990"/>
                  </a:lnTo>
                  <a:lnTo>
                    <a:pt x="14483" y="10307"/>
                  </a:lnTo>
                  <a:lnTo>
                    <a:pt x="14337" y="10625"/>
                  </a:lnTo>
                  <a:lnTo>
                    <a:pt x="14215" y="10942"/>
                  </a:lnTo>
                  <a:lnTo>
                    <a:pt x="14044" y="11236"/>
                  </a:lnTo>
                  <a:lnTo>
                    <a:pt x="13897" y="11529"/>
                  </a:lnTo>
                  <a:lnTo>
                    <a:pt x="13702" y="11822"/>
                  </a:lnTo>
                  <a:lnTo>
                    <a:pt x="13507" y="12090"/>
                  </a:lnTo>
                  <a:lnTo>
                    <a:pt x="13311" y="12359"/>
                  </a:lnTo>
                  <a:lnTo>
                    <a:pt x="13091" y="12603"/>
                  </a:lnTo>
                  <a:lnTo>
                    <a:pt x="12847" y="12847"/>
                  </a:lnTo>
                  <a:lnTo>
                    <a:pt x="12603" y="13067"/>
                  </a:lnTo>
                  <a:lnTo>
                    <a:pt x="12359" y="13287"/>
                  </a:lnTo>
                  <a:lnTo>
                    <a:pt x="12090" y="13507"/>
                  </a:lnTo>
                  <a:lnTo>
                    <a:pt x="11821" y="13702"/>
                  </a:lnTo>
                  <a:lnTo>
                    <a:pt x="11553" y="13873"/>
                  </a:lnTo>
                  <a:lnTo>
                    <a:pt x="11260" y="14044"/>
                  </a:lnTo>
                  <a:lnTo>
                    <a:pt x="10942" y="14191"/>
                  </a:lnTo>
                  <a:lnTo>
                    <a:pt x="10649" y="14337"/>
                  </a:lnTo>
                  <a:lnTo>
                    <a:pt x="10332" y="14459"/>
                  </a:lnTo>
                  <a:lnTo>
                    <a:pt x="10014" y="14581"/>
                  </a:lnTo>
                  <a:lnTo>
                    <a:pt x="9672" y="14655"/>
                  </a:lnTo>
                  <a:lnTo>
                    <a:pt x="9330" y="14752"/>
                  </a:lnTo>
                  <a:lnTo>
                    <a:pt x="8988" y="14801"/>
                  </a:lnTo>
                  <a:lnTo>
                    <a:pt x="8646" y="14850"/>
                  </a:lnTo>
                  <a:lnTo>
                    <a:pt x="8304" y="14875"/>
                  </a:lnTo>
                  <a:lnTo>
                    <a:pt x="7572" y="14875"/>
                  </a:lnTo>
                  <a:lnTo>
                    <a:pt x="7230" y="14850"/>
                  </a:lnTo>
                  <a:lnTo>
                    <a:pt x="6888" y="14801"/>
                  </a:lnTo>
                  <a:lnTo>
                    <a:pt x="6546" y="14752"/>
                  </a:lnTo>
                  <a:lnTo>
                    <a:pt x="6204" y="14655"/>
                  </a:lnTo>
                  <a:lnTo>
                    <a:pt x="5862" y="14581"/>
                  </a:lnTo>
                  <a:lnTo>
                    <a:pt x="5545" y="14459"/>
                  </a:lnTo>
                  <a:lnTo>
                    <a:pt x="5227" y="14337"/>
                  </a:lnTo>
                  <a:lnTo>
                    <a:pt x="4934" y="14191"/>
                  </a:lnTo>
                  <a:lnTo>
                    <a:pt x="4617" y="14044"/>
                  </a:lnTo>
                  <a:lnTo>
                    <a:pt x="4324" y="13873"/>
                  </a:lnTo>
                  <a:lnTo>
                    <a:pt x="4055" y="13702"/>
                  </a:lnTo>
                  <a:lnTo>
                    <a:pt x="3786" y="13507"/>
                  </a:lnTo>
                  <a:lnTo>
                    <a:pt x="3518" y="13287"/>
                  </a:lnTo>
                  <a:lnTo>
                    <a:pt x="3273" y="13067"/>
                  </a:lnTo>
                  <a:lnTo>
                    <a:pt x="3029" y="12847"/>
                  </a:lnTo>
                  <a:lnTo>
                    <a:pt x="2785" y="12603"/>
                  </a:lnTo>
                  <a:lnTo>
                    <a:pt x="2565" y="12359"/>
                  </a:lnTo>
                  <a:lnTo>
                    <a:pt x="2370" y="12090"/>
                  </a:lnTo>
                  <a:lnTo>
                    <a:pt x="2174" y="11822"/>
                  </a:lnTo>
                  <a:lnTo>
                    <a:pt x="1979" y="11529"/>
                  </a:lnTo>
                  <a:lnTo>
                    <a:pt x="1832" y="11236"/>
                  </a:lnTo>
                  <a:lnTo>
                    <a:pt x="1661" y="10942"/>
                  </a:lnTo>
                  <a:lnTo>
                    <a:pt x="1539" y="10625"/>
                  </a:lnTo>
                  <a:lnTo>
                    <a:pt x="1393" y="10307"/>
                  </a:lnTo>
                  <a:lnTo>
                    <a:pt x="1295" y="9990"/>
                  </a:lnTo>
                  <a:lnTo>
                    <a:pt x="1197" y="9672"/>
                  </a:lnTo>
                  <a:lnTo>
                    <a:pt x="1124" y="9331"/>
                  </a:lnTo>
                  <a:lnTo>
                    <a:pt x="1051" y="8989"/>
                  </a:lnTo>
                  <a:lnTo>
                    <a:pt x="1026" y="8647"/>
                  </a:lnTo>
                  <a:lnTo>
                    <a:pt x="978" y="8280"/>
                  </a:lnTo>
                  <a:lnTo>
                    <a:pt x="978" y="7938"/>
                  </a:lnTo>
                  <a:lnTo>
                    <a:pt x="978" y="7572"/>
                  </a:lnTo>
                  <a:lnTo>
                    <a:pt x="1026" y="7206"/>
                  </a:lnTo>
                  <a:lnTo>
                    <a:pt x="1051" y="6864"/>
                  </a:lnTo>
                  <a:lnTo>
                    <a:pt x="1124" y="6522"/>
                  </a:lnTo>
                  <a:lnTo>
                    <a:pt x="1197" y="6180"/>
                  </a:lnTo>
                  <a:lnTo>
                    <a:pt x="1295" y="5862"/>
                  </a:lnTo>
                  <a:lnTo>
                    <a:pt x="1393" y="5545"/>
                  </a:lnTo>
                  <a:lnTo>
                    <a:pt x="1539" y="5227"/>
                  </a:lnTo>
                  <a:lnTo>
                    <a:pt x="1661" y="4910"/>
                  </a:lnTo>
                  <a:lnTo>
                    <a:pt x="1832" y="4617"/>
                  </a:lnTo>
                  <a:lnTo>
                    <a:pt x="1979" y="4324"/>
                  </a:lnTo>
                  <a:lnTo>
                    <a:pt x="2174" y="4031"/>
                  </a:lnTo>
                  <a:lnTo>
                    <a:pt x="2370" y="3762"/>
                  </a:lnTo>
                  <a:lnTo>
                    <a:pt x="2565" y="3493"/>
                  </a:lnTo>
                  <a:lnTo>
                    <a:pt x="2785" y="3249"/>
                  </a:lnTo>
                  <a:lnTo>
                    <a:pt x="3029" y="3005"/>
                  </a:lnTo>
                  <a:lnTo>
                    <a:pt x="3273" y="2785"/>
                  </a:lnTo>
                  <a:lnTo>
                    <a:pt x="3518" y="2565"/>
                  </a:lnTo>
                  <a:lnTo>
                    <a:pt x="3786" y="2346"/>
                  </a:lnTo>
                  <a:lnTo>
                    <a:pt x="4055" y="2150"/>
                  </a:lnTo>
                  <a:lnTo>
                    <a:pt x="4324" y="1979"/>
                  </a:lnTo>
                  <a:lnTo>
                    <a:pt x="4617" y="1808"/>
                  </a:lnTo>
                  <a:lnTo>
                    <a:pt x="4934" y="1662"/>
                  </a:lnTo>
                  <a:lnTo>
                    <a:pt x="5227" y="1515"/>
                  </a:lnTo>
                  <a:lnTo>
                    <a:pt x="5545" y="1393"/>
                  </a:lnTo>
                  <a:lnTo>
                    <a:pt x="5862" y="1271"/>
                  </a:lnTo>
                  <a:lnTo>
                    <a:pt x="6204" y="1198"/>
                  </a:lnTo>
                  <a:lnTo>
                    <a:pt x="6546" y="1100"/>
                  </a:lnTo>
                  <a:lnTo>
                    <a:pt x="6888" y="1051"/>
                  </a:lnTo>
                  <a:lnTo>
                    <a:pt x="7230" y="1002"/>
                  </a:lnTo>
                  <a:lnTo>
                    <a:pt x="7572" y="978"/>
                  </a:lnTo>
                  <a:close/>
                  <a:moveTo>
                    <a:pt x="7523" y="1"/>
                  </a:moveTo>
                  <a:lnTo>
                    <a:pt x="7132" y="25"/>
                  </a:lnTo>
                  <a:lnTo>
                    <a:pt x="6741" y="74"/>
                  </a:lnTo>
                  <a:lnTo>
                    <a:pt x="6351" y="147"/>
                  </a:lnTo>
                  <a:lnTo>
                    <a:pt x="5960" y="245"/>
                  </a:lnTo>
                  <a:lnTo>
                    <a:pt x="5569" y="343"/>
                  </a:lnTo>
                  <a:lnTo>
                    <a:pt x="5203" y="465"/>
                  </a:lnTo>
                  <a:lnTo>
                    <a:pt x="4861" y="611"/>
                  </a:lnTo>
                  <a:lnTo>
                    <a:pt x="4494" y="782"/>
                  </a:lnTo>
                  <a:lnTo>
                    <a:pt x="4153" y="953"/>
                  </a:lnTo>
                  <a:lnTo>
                    <a:pt x="3835" y="1149"/>
                  </a:lnTo>
                  <a:lnTo>
                    <a:pt x="3493" y="1344"/>
                  </a:lnTo>
                  <a:lnTo>
                    <a:pt x="3200" y="1564"/>
                  </a:lnTo>
                  <a:lnTo>
                    <a:pt x="2883" y="1808"/>
                  </a:lnTo>
                  <a:lnTo>
                    <a:pt x="2614" y="2052"/>
                  </a:lnTo>
                  <a:lnTo>
                    <a:pt x="2321" y="2321"/>
                  </a:lnTo>
                  <a:lnTo>
                    <a:pt x="2077" y="2590"/>
                  </a:lnTo>
                  <a:lnTo>
                    <a:pt x="1808" y="2883"/>
                  </a:lnTo>
                  <a:lnTo>
                    <a:pt x="1588" y="3176"/>
                  </a:lnTo>
                  <a:lnTo>
                    <a:pt x="1368" y="3493"/>
                  </a:lnTo>
                  <a:lnTo>
                    <a:pt x="1149" y="3811"/>
                  </a:lnTo>
                  <a:lnTo>
                    <a:pt x="953" y="4153"/>
                  </a:lnTo>
                  <a:lnTo>
                    <a:pt x="782" y="4495"/>
                  </a:lnTo>
                  <a:lnTo>
                    <a:pt x="636" y="4837"/>
                  </a:lnTo>
                  <a:lnTo>
                    <a:pt x="489" y="5203"/>
                  </a:lnTo>
                  <a:lnTo>
                    <a:pt x="367" y="5569"/>
                  </a:lnTo>
                  <a:lnTo>
                    <a:pt x="245" y="5936"/>
                  </a:lnTo>
                  <a:lnTo>
                    <a:pt x="172" y="6326"/>
                  </a:lnTo>
                  <a:lnTo>
                    <a:pt x="98" y="6717"/>
                  </a:lnTo>
                  <a:lnTo>
                    <a:pt x="49" y="7108"/>
                  </a:lnTo>
                  <a:lnTo>
                    <a:pt x="25" y="7523"/>
                  </a:lnTo>
                  <a:lnTo>
                    <a:pt x="1" y="7938"/>
                  </a:lnTo>
                  <a:lnTo>
                    <a:pt x="25" y="8329"/>
                  </a:lnTo>
                  <a:lnTo>
                    <a:pt x="49" y="8744"/>
                  </a:lnTo>
                  <a:lnTo>
                    <a:pt x="98" y="9135"/>
                  </a:lnTo>
                  <a:lnTo>
                    <a:pt x="172" y="9526"/>
                  </a:lnTo>
                  <a:lnTo>
                    <a:pt x="245" y="9917"/>
                  </a:lnTo>
                  <a:lnTo>
                    <a:pt x="367" y="10283"/>
                  </a:lnTo>
                  <a:lnTo>
                    <a:pt x="489" y="10649"/>
                  </a:lnTo>
                  <a:lnTo>
                    <a:pt x="636" y="11016"/>
                  </a:lnTo>
                  <a:lnTo>
                    <a:pt x="782" y="11358"/>
                  </a:lnTo>
                  <a:lnTo>
                    <a:pt x="953" y="11700"/>
                  </a:lnTo>
                  <a:lnTo>
                    <a:pt x="1149" y="12041"/>
                  </a:lnTo>
                  <a:lnTo>
                    <a:pt x="1368" y="12359"/>
                  </a:lnTo>
                  <a:lnTo>
                    <a:pt x="1588" y="12676"/>
                  </a:lnTo>
                  <a:lnTo>
                    <a:pt x="1808" y="12970"/>
                  </a:lnTo>
                  <a:lnTo>
                    <a:pt x="2077" y="13263"/>
                  </a:lnTo>
                  <a:lnTo>
                    <a:pt x="2321" y="13531"/>
                  </a:lnTo>
                  <a:lnTo>
                    <a:pt x="2614" y="13800"/>
                  </a:lnTo>
                  <a:lnTo>
                    <a:pt x="2883" y="14044"/>
                  </a:lnTo>
                  <a:lnTo>
                    <a:pt x="3200" y="14288"/>
                  </a:lnTo>
                  <a:lnTo>
                    <a:pt x="3493" y="14508"/>
                  </a:lnTo>
                  <a:lnTo>
                    <a:pt x="3835" y="14704"/>
                  </a:lnTo>
                  <a:lnTo>
                    <a:pt x="4153" y="14899"/>
                  </a:lnTo>
                  <a:lnTo>
                    <a:pt x="4494" y="15070"/>
                  </a:lnTo>
                  <a:lnTo>
                    <a:pt x="4861" y="15241"/>
                  </a:lnTo>
                  <a:lnTo>
                    <a:pt x="5203" y="15387"/>
                  </a:lnTo>
                  <a:lnTo>
                    <a:pt x="5569" y="15510"/>
                  </a:lnTo>
                  <a:lnTo>
                    <a:pt x="5960" y="15607"/>
                  </a:lnTo>
                  <a:lnTo>
                    <a:pt x="6351" y="15705"/>
                  </a:lnTo>
                  <a:lnTo>
                    <a:pt x="6741" y="15778"/>
                  </a:lnTo>
                  <a:lnTo>
                    <a:pt x="7132" y="15827"/>
                  </a:lnTo>
                  <a:lnTo>
                    <a:pt x="7523" y="15851"/>
                  </a:lnTo>
                  <a:lnTo>
                    <a:pt x="8353" y="15851"/>
                  </a:lnTo>
                  <a:lnTo>
                    <a:pt x="8744" y="15827"/>
                  </a:lnTo>
                  <a:lnTo>
                    <a:pt x="9135" y="15778"/>
                  </a:lnTo>
                  <a:lnTo>
                    <a:pt x="9526" y="15705"/>
                  </a:lnTo>
                  <a:lnTo>
                    <a:pt x="9916" y="15607"/>
                  </a:lnTo>
                  <a:lnTo>
                    <a:pt x="10307" y="15510"/>
                  </a:lnTo>
                  <a:lnTo>
                    <a:pt x="10673" y="15387"/>
                  </a:lnTo>
                  <a:lnTo>
                    <a:pt x="11015" y="15241"/>
                  </a:lnTo>
                  <a:lnTo>
                    <a:pt x="11382" y="15070"/>
                  </a:lnTo>
                  <a:lnTo>
                    <a:pt x="11724" y="14899"/>
                  </a:lnTo>
                  <a:lnTo>
                    <a:pt x="12041" y="14704"/>
                  </a:lnTo>
                  <a:lnTo>
                    <a:pt x="12383" y="14508"/>
                  </a:lnTo>
                  <a:lnTo>
                    <a:pt x="12676" y="14288"/>
                  </a:lnTo>
                  <a:lnTo>
                    <a:pt x="12994" y="14044"/>
                  </a:lnTo>
                  <a:lnTo>
                    <a:pt x="13262" y="13800"/>
                  </a:lnTo>
                  <a:lnTo>
                    <a:pt x="13555" y="13531"/>
                  </a:lnTo>
                  <a:lnTo>
                    <a:pt x="13800" y="13263"/>
                  </a:lnTo>
                  <a:lnTo>
                    <a:pt x="14068" y="12970"/>
                  </a:lnTo>
                  <a:lnTo>
                    <a:pt x="14288" y="12676"/>
                  </a:lnTo>
                  <a:lnTo>
                    <a:pt x="14508" y="12359"/>
                  </a:lnTo>
                  <a:lnTo>
                    <a:pt x="14728" y="12041"/>
                  </a:lnTo>
                  <a:lnTo>
                    <a:pt x="14923" y="11700"/>
                  </a:lnTo>
                  <a:lnTo>
                    <a:pt x="15094" y="11358"/>
                  </a:lnTo>
                  <a:lnTo>
                    <a:pt x="15241" y="11016"/>
                  </a:lnTo>
                  <a:lnTo>
                    <a:pt x="15387" y="10649"/>
                  </a:lnTo>
                  <a:lnTo>
                    <a:pt x="15509" y="10283"/>
                  </a:lnTo>
                  <a:lnTo>
                    <a:pt x="15631" y="9917"/>
                  </a:lnTo>
                  <a:lnTo>
                    <a:pt x="15705" y="9526"/>
                  </a:lnTo>
                  <a:lnTo>
                    <a:pt x="15778" y="9135"/>
                  </a:lnTo>
                  <a:lnTo>
                    <a:pt x="15827" y="8744"/>
                  </a:lnTo>
                  <a:lnTo>
                    <a:pt x="15851" y="8329"/>
                  </a:lnTo>
                  <a:lnTo>
                    <a:pt x="15876" y="7938"/>
                  </a:lnTo>
                  <a:lnTo>
                    <a:pt x="15851" y="7523"/>
                  </a:lnTo>
                  <a:lnTo>
                    <a:pt x="15827" y="7108"/>
                  </a:lnTo>
                  <a:lnTo>
                    <a:pt x="15778" y="6717"/>
                  </a:lnTo>
                  <a:lnTo>
                    <a:pt x="15705" y="6326"/>
                  </a:lnTo>
                  <a:lnTo>
                    <a:pt x="15631" y="5936"/>
                  </a:lnTo>
                  <a:lnTo>
                    <a:pt x="15509" y="5569"/>
                  </a:lnTo>
                  <a:lnTo>
                    <a:pt x="15387" y="5203"/>
                  </a:lnTo>
                  <a:lnTo>
                    <a:pt x="15241" y="4837"/>
                  </a:lnTo>
                  <a:lnTo>
                    <a:pt x="15094" y="4495"/>
                  </a:lnTo>
                  <a:lnTo>
                    <a:pt x="14923" y="4153"/>
                  </a:lnTo>
                  <a:lnTo>
                    <a:pt x="14728" y="3811"/>
                  </a:lnTo>
                  <a:lnTo>
                    <a:pt x="14508" y="3493"/>
                  </a:lnTo>
                  <a:lnTo>
                    <a:pt x="14288" y="3176"/>
                  </a:lnTo>
                  <a:lnTo>
                    <a:pt x="14068" y="2883"/>
                  </a:lnTo>
                  <a:lnTo>
                    <a:pt x="13800" y="2590"/>
                  </a:lnTo>
                  <a:lnTo>
                    <a:pt x="13555" y="2321"/>
                  </a:lnTo>
                  <a:lnTo>
                    <a:pt x="13262" y="2052"/>
                  </a:lnTo>
                  <a:lnTo>
                    <a:pt x="12994" y="1808"/>
                  </a:lnTo>
                  <a:lnTo>
                    <a:pt x="12676" y="1564"/>
                  </a:lnTo>
                  <a:lnTo>
                    <a:pt x="12383" y="1344"/>
                  </a:lnTo>
                  <a:lnTo>
                    <a:pt x="12041" y="1149"/>
                  </a:lnTo>
                  <a:lnTo>
                    <a:pt x="11724" y="953"/>
                  </a:lnTo>
                  <a:lnTo>
                    <a:pt x="11382" y="782"/>
                  </a:lnTo>
                  <a:lnTo>
                    <a:pt x="11015" y="611"/>
                  </a:lnTo>
                  <a:lnTo>
                    <a:pt x="10673" y="465"/>
                  </a:lnTo>
                  <a:lnTo>
                    <a:pt x="10307" y="343"/>
                  </a:lnTo>
                  <a:lnTo>
                    <a:pt x="9916" y="245"/>
                  </a:lnTo>
                  <a:lnTo>
                    <a:pt x="9526" y="147"/>
                  </a:lnTo>
                  <a:lnTo>
                    <a:pt x="9135" y="74"/>
                  </a:lnTo>
                  <a:lnTo>
                    <a:pt x="8744" y="25"/>
                  </a:lnTo>
                  <a:lnTo>
                    <a:pt x="835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51" name="Shape 380"/>
            <p:cNvSpPr/>
            <p:nvPr/>
          </p:nvSpPr>
          <p:spPr>
            <a:xfrm>
              <a:off x="6697400" y="335200"/>
              <a:ext cx="323625" cy="323025"/>
            </a:xfrm>
            <a:custGeom>
              <a:avLst/>
              <a:gdLst/>
              <a:ahLst/>
              <a:cxnLst/>
              <a:rect l="0" t="0" r="0" b="0"/>
              <a:pathLst>
                <a:path w="12945" h="12921" extrusionOk="0">
                  <a:moveTo>
                    <a:pt x="6472" y="1319"/>
                  </a:moveTo>
                  <a:lnTo>
                    <a:pt x="6545" y="1344"/>
                  </a:lnTo>
                  <a:lnTo>
                    <a:pt x="6619" y="1368"/>
                  </a:lnTo>
                  <a:lnTo>
                    <a:pt x="6741" y="1441"/>
                  </a:lnTo>
                  <a:lnTo>
                    <a:pt x="6838" y="1563"/>
                  </a:lnTo>
                  <a:lnTo>
                    <a:pt x="6863" y="1637"/>
                  </a:lnTo>
                  <a:lnTo>
                    <a:pt x="6863" y="1710"/>
                  </a:lnTo>
                  <a:lnTo>
                    <a:pt x="6863" y="6301"/>
                  </a:lnTo>
                  <a:lnTo>
                    <a:pt x="9061" y="8475"/>
                  </a:lnTo>
                  <a:lnTo>
                    <a:pt x="9110" y="8548"/>
                  </a:lnTo>
                  <a:lnTo>
                    <a:pt x="9134" y="8622"/>
                  </a:lnTo>
                  <a:lnTo>
                    <a:pt x="9159" y="8768"/>
                  </a:lnTo>
                  <a:lnTo>
                    <a:pt x="9134" y="8915"/>
                  </a:lnTo>
                  <a:lnTo>
                    <a:pt x="9110" y="8988"/>
                  </a:lnTo>
                  <a:lnTo>
                    <a:pt x="9061" y="9037"/>
                  </a:lnTo>
                  <a:lnTo>
                    <a:pt x="8988" y="9086"/>
                  </a:lnTo>
                  <a:lnTo>
                    <a:pt x="8914" y="9135"/>
                  </a:lnTo>
                  <a:lnTo>
                    <a:pt x="8768" y="9159"/>
                  </a:lnTo>
                  <a:lnTo>
                    <a:pt x="8621" y="9135"/>
                  </a:lnTo>
                  <a:lnTo>
                    <a:pt x="8548" y="9086"/>
                  </a:lnTo>
                  <a:lnTo>
                    <a:pt x="8499" y="9037"/>
                  </a:lnTo>
                  <a:lnTo>
                    <a:pt x="6203" y="6741"/>
                  </a:lnTo>
                  <a:lnTo>
                    <a:pt x="6130" y="6595"/>
                  </a:lnTo>
                  <a:lnTo>
                    <a:pt x="6081" y="6472"/>
                  </a:lnTo>
                  <a:lnTo>
                    <a:pt x="6081" y="1710"/>
                  </a:lnTo>
                  <a:lnTo>
                    <a:pt x="6081" y="1637"/>
                  </a:lnTo>
                  <a:lnTo>
                    <a:pt x="6106" y="1563"/>
                  </a:lnTo>
                  <a:lnTo>
                    <a:pt x="6203" y="1441"/>
                  </a:lnTo>
                  <a:lnTo>
                    <a:pt x="6326" y="1368"/>
                  </a:lnTo>
                  <a:lnTo>
                    <a:pt x="6399" y="1344"/>
                  </a:lnTo>
                  <a:lnTo>
                    <a:pt x="6472" y="1319"/>
                  </a:lnTo>
                  <a:close/>
                  <a:moveTo>
                    <a:pt x="6228" y="0"/>
                  </a:moveTo>
                  <a:lnTo>
                    <a:pt x="5862" y="25"/>
                  </a:lnTo>
                  <a:lnTo>
                    <a:pt x="5495" y="74"/>
                  </a:lnTo>
                  <a:lnTo>
                    <a:pt x="5129" y="122"/>
                  </a:lnTo>
                  <a:lnTo>
                    <a:pt x="4787" y="220"/>
                  </a:lnTo>
                  <a:lnTo>
                    <a:pt x="4445" y="318"/>
                  </a:lnTo>
                  <a:lnTo>
                    <a:pt x="4103" y="440"/>
                  </a:lnTo>
                  <a:lnTo>
                    <a:pt x="3761" y="586"/>
                  </a:lnTo>
                  <a:lnTo>
                    <a:pt x="3444" y="733"/>
                  </a:lnTo>
                  <a:lnTo>
                    <a:pt x="3639" y="1050"/>
                  </a:lnTo>
                  <a:lnTo>
                    <a:pt x="3663" y="1148"/>
                  </a:lnTo>
                  <a:lnTo>
                    <a:pt x="3663" y="1246"/>
                  </a:lnTo>
                  <a:lnTo>
                    <a:pt x="3615" y="1344"/>
                  </a:lnTo>
                  <a:lnTo>
                    <a:pt x="3541" y="1392"/>
                  </a:lnTo>
                  <a:lnTo>
                    <a:pt x="3493" y="1417"/>
                  </a:lnTo>
                  <a:lnTo>
                    <a:pt x="3370" y="1417"/>
                  </a:lnTo>
                  <a:lnTo>
                    <a:pt x="3297" y="1392"/>
                  </a:lnTo>
                  <a:lnTo>
                    <a:pt x="3248" y="1368"/>
                  </a:lnTo>
                  <a:lnTo>
                    <a:pt x="3224" y="1295"/>
                  </a:lnTo>
                  <a:lnTo>
                    <a:pt x="3028" y="977"/>
                  </a:lnTo>
                  <a:lnTo>
                    <a:pt x="2735" y="1197"/>
                  </a:lnTo>
                  <a:lnTo>
                    <a:pt x="2442" y="1417"/>
                  </a:lnTo>
                  <a:lnTo>
                    <a:pt x="2174" y="1637"/>
                  </a:lnTo>
                  <a:lnTo>
                    <a:pt x="1905" y="1881"/>
                  </a:lnTo>
                  <a:lnTo>
                    <a:pt x="1661" y="2150"/>
                  </a:lnTo>
                  <a:lnTo>
                    <a:pt x="1417" y="2418"/>
                  </a:lnTo>
                  <a:lnTo>
                    <a:pt x="1197" y="2711"/>
                  </a:lnTo>
                  <a:lnTo>
                    <a:pt x="1001" y="3029"/>
                  </a:lnTo>
                  <a:lnTo>
                    <a:pt x="1319" y="3200"/>
                  </a:lnTo>
                  <a:lnTo>
                    <a:pt x="1392" y="3273"/>
                  </a:lnTo>
                  <a:lnTo>
                    <a:pt x="1441" y="3346"/>
                  </a:lnTo>
                  <a:lnTo>
                    <a:pt x="1441" y="3444"/>
                  </a:lnTo>
                  <a:lnTo>
                    <a:pt x="1417" y="3542"/>
                  </a:lnTo>
                  <a:lnTo>
                    <a:pt x="1368" y="3590"/>
                  </a:lnTo>
                  <a:lnTo>
                    <a:pt x="1319" y="3639"/>
                  </a:lnTo>
                  <a:lnTo>
                    <a:pt x="1246" y="3664"/>
                  </a:lnTo>
                  <a:lnTo>
                    <a:pt x="1123" y="3664"/>
                  </a:lnTo>
                  <a:lnTo>
                    <a:pt x="1075" y="3639"/>
                  </a:lnTo>
                  <a:lnTo>
                    <a:pt x="757" y="3444"/>
                  </a:lnTo>
                  <a:lnTo>
                    <a:pt x="586" y="3761"/>
                  </a:lnTo>
                  <a:lnTo>
                    <a:pt x="464" y="4079"/>
                  </a:lnTo>
                  <a:lnTo>
                    <a:pt x="342" y="4421"/>
                  </a:lnTo>
                  <a:lnTo>
                    <a:pt x="220" y="4763"/>
                  </a:lnTo>
                  <a:lnTo>
                    <a:pt x="147" y="5129"/>
                  </a:lnTo>
                  <a:lnTo>
                    <a:pt x="73" y="5471"/>
                  </a:lnTo>
                  <a:lnTo>
                    <a:pt x="24" y="5837"/>
                  </a:lnTo>
                  <a:lnTo>
                    <a:pt x="0" y="6228"/>
                  </a:lnTo>
                  <a:lnTo>
                    <a:pt x="659" y="6228"/>
                  </a:lnTo>
                  <a:lnTo>
                    <a:pt x="757" y="6277"/>
                  </a:lnTo>
                  <a:lnTo>
                    <a:pt x="806" y="6375"/>
                  </a:lnTo>
                  <a:lnTo>
                    <a:pt x="806" y="6472"/>
                  </a:lnTo>
                  <a:lnTo>
                    <a:pt x="806" y="6546"/>
                  </a:lnTo>
                  <a:lnTo>
                    <a:pt x="757" y="6643"/>
                  </a:lnTo>
                  <a:lnTo>
                    <a:pt x="659" y="6692"/>
                  </a:lnTo>
                  <a:lnTo>
                    <a:pt x="562" y="6717"/>
                  </a:lnTo>
                  <a:lnTo>
                    <a:pt x="0" y="6717"/>
                  </a:lnTo>
                  <a:lnTo>
                    <a:pt x="24" y="7083"/>
                  </a:lnTo>
                  <a:lnTo>
                    <a:pt x="73" y="7449"/>
                  </a:lnTo>
                  <a:lnTo>
                    <a:pt x="147" y="7791"/>
                  </a:lnTo>
                  <a:lnTo>
                    <a:pt x="220" y="8158"/>
                  </a:lnTo>
                  <a:lnTo>
                    <a:pt x="342" y="8500"/>
                  </a:lnTo>
                  <a:lnTo>
                    <a:pt x="464" y="8841"/>
                  </a:lnTo>
                  <a:lnTo>
                    <a:pt x="586" y="9159"/>
                  </a:lnTo>
                  <a:lnTo>
                    <a:pt x="757" y="9476"/>
                  </a:lnTo>
                  <a:lnTo>
                    <a:pt x="1075" y="9305"/>
                  </a:lnTo>
                  <a:lnTo>
                    <a:pt x="1172" y="9257"/>
                  </a:lnTo>
                  <a:lnTo>
                    <a:pt x="1270" y="9281"/>
                  </a:lnTo>
                  <a:lnTo>
                    <a:pt x="1343" y="9305"/>
                  </a:lnTo>
                  <a:lnTo>
                    <a:pt x="1417" y="9379"/>
                  </a:lnTo>
                  <a:lnTo>
                    <a:pt x="1441" y="9476"/>
                  </a:lnTo>
                  <a:lnTo>
                    <a:pt x="1441" y="9574"/>
                  </a:lnTo>
                  <a:lnTo>
                    <a:pt x="1392" y="9647"/>
                  </a:lnTo>
                  <a:lnTo>
                    <a:pt x="1319" y="9721"/>
                  </a:lnTo>
                  <a:lnTo>
                    <a:pt x="1001" y="9892"/>
                  </a:lnTo>
                  <a:lnTo>
                    <a:pt x="1197" y="10209"/>
                  </a:lnTo>
                  <a:lnTo>
                    <a:pt x="1417" y="10502"/>
                  </a:lnTo>
                  <a:lnTo>
                    <a:pt x="1661" y="10771"/>
                  </a:lnTo>
                  <a:lnTo>
                    <a:pt x="1905" y="11040"/>
                  </a:lnTo>
                  <a:lnTo>
                    <a:pt x="2174" y="11284"/>
                  </a:lnTo>
                  <a:lnTo>
                    <a:pt x="2442" y="11504"/>
                  </a:lnTo>
                  <a:lnTo>
                    <a:pt x="2735" y="11723"/>
                  </a:lnTo>
                  <a:lnTo>
                    <a:pt x="3028" y="11943"/>
                  </a:lnTo>
                  <a:lnTo>
                    <a:pt x="3224" y="11626"/>
                  </a:lnTo>
                  <a:lnTo>
                    <a:pt x="3273" y="11552"/>
                  </a:lnTo>
                  <a:lnTo>
                    <a:pt x="3370" y="11504"/>
                  </a:lnTo>
                  <a:lnTo>
                    <a:pt x="3468" y="11504"/>
                  </a:lnTo>
                  <a:lnTo>
                    <a:pt x="3541" y="11528"/>
                  </a:lnTo>
                  <a:lnTo>
                    <a:pt x="3615" y="11601"/>
                  </a:lnTo>
                  <a:lnTo>
                    <a:pt x="3663" y="11675"/>
                  </a:lnTo>
                  <a:lnTo>
                    <a:pt x="3663" y="11772"/>
                  </a:lnTo>
                  <a:lnTo>
                    <a:pt x="3639" y="11870"/>
                  </a:lnTo>
                  <a:lnTo>
                    <a:pt x="3444" y="12187"/>
                  </a:lnTo>
                  <a:lnTo>
                    <a:pt x="3761" y="12334"/>
                  </a:lnTo>
                  <a:lnTo>
                    <a:pt x="4103" y="12480"/>
                  </a:lnTo>
                  <a:lnTo>
                    <a:pt x="4445" y="12603"/>
                  </a:lnTo>
                  <a:lnTo>
                    <a:pt x="4787" y="12700"/>
                  </a:lnTo>
                  <a:lnTo>
                    <a:pt x="5129" y="12798"/>
                  </a:lnTo>
                  <a:lnTo>
                    <a:pt x="5495" y="12847"/>
                  </a:lnTo>
                  <a:lnTo>
                    <a:pt x="5862" y="12896"/>
                  </a:lnTo>
                  <a:lnTo>
                    <a:pt x="6228" y="12920"/>
                  </a:lnTo>
                  <a:lnTo>
                    <a:pt x="6228" y="12358"/>
                  </a:lnTo>
                  <a:lnTo>
                    <a:pt x="6252" y="12261"/>
                  </a:lnTo>
                  <a:lnTo>
                    <a:pt x="6301" y="12187"/>
                  </a:lnTo>
                  <a:lnTo>
                    <a:pt x="6374" y="12139"/>
                  </a:lnTo>
                  <a:lnTo>
                    <a:pt x="6472" y="12114"/>
                  </a:lnTo>
                  <a:lnTo>
                    <a:pt x="6570" y="12139"/>
                  </a:lnTo>
                  <a:lnTo>
                    <a:pt x="6643" y="12187"/>
                  </a:lnTo>
                  <a:lnTo>
                    <a:pt x="6692" y="12261"/>
                  </a:lnTo>
                  <a:lnTo>
                    <a:pt x="6716" y="12358"/>
                  </a:lnTo>
                  <a:lnTo>
                    <a:pt x="6716" y="12920"/>
                  </a:lnTo>
                  <a:lnTo>
                    <a:pt x="7083" y="12896"/>
                  </a:lnTo>
                  <a:lnTo>
                    <a:pt x="7449" y="12847"/>
                  </a:lnTo>
                  <a:lnTo>
                    <a:pt x="7815" y="12798"/>
                  </a:lnTo>
                  <a:lnTo>
                    <a:pt x="8157" y="12700"/>
                  </a:lnTo>
                  <a:lnTo>
                    <a:pt x="8499" y="12603"/>
                  </a:lnTo>
                  <a:lnTo>
                    <a:pt x="8841" y="12480"/>
                  </a:lnTo>
                  <a:lnTo>
                    <a:pt x="9183" y="12334"/>
                  </a:lnTo>
                  <a:lnTo>
                    <a:pt x="9501" y="12187"/>
                  </a:lnTo>
                  <a:lnTo>
                    <a:pt x="9305" y="11870"/>
                  </a:lnTo>
                  <a:lnTo>
                    <a:pt x="9281" y="11772"/>
                  </a:lnTo>
                  <a:lnTo>
                    <a:pt x="9281" y="11675"/>
                  </a:lnTo>
                  <a:lnTo>
                    <a:pt x="9330" y="11601"/>
                  </a:lnTo>
                  <a:lnTo>
                    <a:pt x="9403" y="11528"/>
                  </a:lnTo>
                  <a:lnTo>
                    <a:pt x="9476" y="11504"/>
                  </a:lnTo>
                  <a:lnTo>
                    <a:pt x="9574" y="11504"/>
                  </a:lnTo>
                  <a:lnTo>
                    <a:pt x="9672" y="11552"/>
                  </a:lnTo>
                  <a:lnTo>
                    <a:pt x="9720" y="11626"/>
                  </a:lnTo>
                  <a:lnTo>
                    <a:pt x="9916" y="11943"/>
                  </a:lnTo>
                  <a:lnTo>
                    <a:pt x="10209" y="11723"/>
                  </a:lnTo>
                  <a:lnTo>
                    <a:pt x="10502" y="11504"/>
                  </a:lnTo>
                  <a:lnTo>
                    <a:pt x="10771" y="11284"/>
                  </a:lnTo>
                  <a:lnTo>
                    <a:pt x="11039" y="11040"/>
                  </a:lnTo>
                  <a:lnTo>
                    <a:pt x="11283" y="10771"/>
                  </a:lnTo>
                  <a:lnTo>
                    <a:pt x="11528" y="10502"/>
                  </a:lnTo>
                  <a:lnTo>
                    <a:pt x="11747" y="10209"/>
                  </a:lnTo>
                  <a:lnTo>
                    <a:pt x="11943" y="9892"/>
                  </a:lnTo>
                  <a:lnTo>
                    <a:pt x="11625" y="9721"/>
                  </a:lnTo>
                  <a:lnTo>
                    <a:pt x="11552" y="9647"/>
                  </a:lnTo>
                  <a:lnTo>
                    <a:pt x="11503" y="9574"/>
                  </a:lnTo>
                  <a:lnTo>
                    <a:pt x="11503" y="9476"/>
                  </a:lnTo>
                  <a:lnTo>
                    <a:pt x="11528" y="9379"/>
                  </a:lnTo>
                  <a:lnTo>
                    <a:pt x="11601" y="9305"/>
                  </a:lnTo>
                  <a:lnTo>
                    <a:pt x="11674" y="9281"/>
                  </a:lnTo>
                  <a:lnTo>
                    <a:pt x="11772" y="9257"/>
                  </a:lnTo>
                  <a:lnTo>
                    <a:pt x="11870" y="9305"/>
                  </a:lnTo>
                  <a:lnTo>
                    <a:pt x="12187" y="9476"/>
                  </a:lnTo>
                  <a:lnTo>
                    <a:pt x="12358" y="9159"/>
                  </a:lnTo>
                  <a:lnTo>
                    <a:pt x="12480" y="8841"/>
                  </a:lnTo>
                  <a:lnTo>
                    <a:pt x="12602" y="8500"/>
                  </a:lnTo>
                  <a:lnTo>
                    <a:pt x="12724" y="8158"/>
                  </a:lnTo>
                  <a:lnTo>
                    <a:pt x="12798" y="7791"/>
                  </a:lnTo>
                  <a:lnTo>
                    <a:pt x="12871" y="7449"/>
                  </a:lnTo>
                  <a:lnTo>
                    <a:pt x="12920" y="7083"/>
                  </a:lnTo>
                  <a:lnTo>
                    <a:pt x="12944" y="6717"/>
                  </a:lnTo>
                  <a:lnTo>
                    <a:pt x="12382" y="6717"/>
                  </a:lnTo>
                  <a:lnTo>
                    <a:pt x="12285" y="6692"/>
                  </a:lnTo>
                  <a:lnTo>
                    <a:pt x="12187" y="6643"/>
                  </a:lnTo>
                  <a:lnTo>
                    <a:pt x="12138" y="6546"/>
                  </a:lnTo>
                  <a:lnTo>
                    <a:pt x="12138" y="6472"/>
                  </a:lnTo>
                  <a:lnTo>
                    <a:pt x="12138" y="6375"/>
                  </a:lnTo>
                  <a:lnTo>
                    <a:pt x="12187" y="6277"/>
                  </a:lnTo>
                  <a:lnTo>
                    <a:pt x="12285" y="6228"/>
                  </a:lnTo>
                  <a:lnTo>
                    <a:pt x="12944" y="6228"/>
                  </a:lnTo>
                  <a:lnTo>
                    <a:pt x="12920" y="5837"/>
                  </a:lnTo>
                  <a:lnTo>
                    <a:pt x="12871" y="5471"/>
                  </a:lnTo>
                  <a:lnTo>
                    <a:pt x="12798" y="5129"/>
                  </a:lnTo>
                  <a:lnTo>
                    <a:pt x="12724" y="4763"/>
                  </a:lnTo>
                  <a:lnTo>
                    <a:pt x="12602" y="4421"/>
                  </a:lnTo>
                  <a:lnTo>
                    <a:pt x="12480" y="4079"/>
                  </a:lnTo>
                  <a:lnTo>
                    <a:pt x="12358" y="3761"/>
                  </a:lnTo>
                  <a:lnTo>
                    <a:pt x="12187" y="3444"/>
                  </a:lnTo>
                  <a:lnTo>
                    <a:pt x="11870" y="3639"/>
                  </a:lnTo>
                  <a:lnTo>
                    <a:pt x="11821" y="3664"/>
                  </a:lnTo>
                  <a:lnTo>
                    <a:pt x="11699" y="3664"/>
                  </a:lnTo>
                  <a:lnTo>
                    <a:pt x="11625" y="3639"/>
                  </a:lnTo>
                  <a:lnTo>
                    <a:pt x="11577" y="3590"/>
                  </a:lnTo>
                  <a:lnTo>
                    <a:pt x="11528" y="3542"/>
                  </a:lnTo>
                  <a:lnTo>
                    <a:pt x="11503" y="3444"/>
                  </a:lnTo>
                  <a:lnTo>
                    <a:pt x="11503" y="3346"/>
                  </a:lnTo>
                  <a:lnTo>
                    <a:pt x="11552" y="3273"/>
                  </a:lnTo>
                  <a:lnTo>
                    <a:pt x="11625" y="3200"/>
                  </a:lnTo>
                  <a:lnTo>
                    <a:pt x="11943" y="3029"/>
                  </a:lnTo>
                  <a:lnTo>
                    <a:pt x="11747" y="2711"/>
                  </a:lnTo>
                  <a:lnTo>
                    <a:pt x="11528" y="2418"/>
                  </a:lnTo>
                  <a:lnTo>
                    <a:pt x="11283" y="2150"/>
                  </a:lnTo>
                  <a:lnTo>
                    <a:pt x="11039" y="1881"/>
                  </a:lnTo>
                  <a:lnTo>
                    <a:pt x="10771" y="1637"/>
                  </a:lnTo>
                  <a:lnTo>
                    <a:pt x="10502" y="1417"/>
                  </a:lnTo>
                  <a:lnTo>
                    <a:pt x="10209" y="1197"/>
                  </a:lnTo>
                  <a:lnTo>
                    <a:pt x="9916" y="977"/>
                  </a:lnTo>
                  <a:lnTo>
                    <a:pt x="9720" y="1295"/>
                  </a:lnTo>
                  <a:lnTo>
                    <a:pt x="9696" y="1368"/>
                  </a:lnTo>
                  <a:lnTo>
                    <a:pt x="9647" y="1392"/>
                  </a:lnTo>
                  <a:lnTo>
                    <a:pt x="9574" y="1417"/>
                  </a:lnTo>
                  <a:lnTo>
                    <a:pt x="9452" y="1417"/>
                  </a:lnTo>
                  <a:lnTo>
                    <a:pt x="9403" y="1392"/>
                  </a:lnTo>
                  <a:lnTo>
                    <a:pt x="9330" y="1344"/>
                  </a:lnTo>
                  <a:lnTo>
                    <a:pt x="9281" y="1246"/>
                  </a:lnTo>
                  <a:lnTo>
                    <a:pt x="9281" y="1148"/>
                  </a:lnTo>
                  <a:lnTo>
                    <a:pt x="9305" y="1050"/>
                  </a:lnTo>
                  <a:lnTo>
                    <a:pt x="9501" y="733"/>
                  </a:lnTo>
                  <a:lnTo>
                    <a:pt x="9183" y="586"/>
                  </a:lnTo>
                  <a:lnTo>
                    <a:pt x="8841" y="440"/>
                  </a:lnTo>
                  <a:lnTo>
                    <a:pt x="8499" y="318"/>
                  </a:lnTo>
                  <a:lnTo>
                    <a:pt x="8157" y="220"/>
                  </a:lnTo>
                  <a:lnTo>
                    <a:pt x="7815" y="122"/>
                  </a:lnTo>
                  <a:lnTo>
                    <a:pt x="7449" y="74"/>
                  </a:lnTo>
                  <a:lnTo>
                    <a:pt x="7083" y="25"/>
                  </a:lnTo>
                  <a:lnTo>
                    <a:pt x="6716" y="0"/>
                  </a:lnTo>
                  <a:lnTo>
                    <a:pt x="6716" y="562"/>
                  </a:lnTo>
                  <a:lnTo>
                    <a:pt x="6692" y="660"/>
                  </a:lnTo>
                  <a:lnTo>
                    <a:pt x="6643" y="733"/>
                  </a:lnTo>
                  <a:lnTo>
                    <a:pt x="6570" y="782"/>
                  </a:lnTo>
                  <a:lnTo>
                    <a:pt x="6472" y="806"/>
                  </a:lnTo>
                  <a:lnTo>
                    <a:pt x="6374" y="782"/>
                  </a:lnTo>
                  <a:lnTo>
                    <a:pt x="6301" y="733"/>
                  </a:lnTo>
                  <a:lnTo>
                    <a:pt x="6252" y="660"/>
                  </a:lnTo>
                  <a:lnTo>
                    <a:pt x="6228" y="562"/>
                  </a:lnTo>
                  <a:lnTo>
                    <a:pt x="622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52" name="Shape 381"/>
          <p:cNvGrpSpPr/>
          <p:nvPr/>
        </p:nvGrpSpPr>
        <p:grpSpPr>
          <a:xfrm>
            <a:off x="2702081" y="2250440"/>
            <a:ext cx="317047" cy="383728"/>
            <a:chOff x="584925" y="922575"/>
            <a:chExt cx="415200" cy="502525"/>
          </a:xfrm>
        </p:grpSpPr>
        <p:sp>
          <p:nvSpPr>
            <p:cNvPr id="53" name="Shape 382"/>
            <p:cNvSpPr/>
            <p:nvPr/>
          </p:nvSpPr>
          <p:spPr>
            <a:xfrm>
              <a:off x="584925" y="961025"/>
              <a:ext cx="378575" cy="464075"/>
            </a:xfrm>
            <a:custGeom>
              <a:avLst/>
              <a:gdLst/>
              <a:ahLst/>
              <a:cxnLst/>
              <a:rect l="0" t="0" r="0" b="0"/>
              <a:pathLst>
                <a:path w="15143" h="18563" extrusionOk="0">
                  <a:moveTo>
                    <a:pt x="782" y="1"/>
                  </a:moveTo>
                  <a:lnTo>
                    <a:pt x="635" y="25"/>
                  </a:lnTo>
                  <a:lnTo>
                    <a:pt x="489" y="50"/>
                  </a:lnTo>
                  <a:lnTo>
                    <a:pt x="342" y="123"/>
                  </a:lnTo>
                  <a:lnTo>
                    <a:pt x="220" y="196"/>
                  </a:lnTo>
                  <a:lnTo>
                    <a:pt x="122" y="294"/>
                  </a:lnTo>
                  <a:lnTo>
                    <a:pt x="73" y="416"/>
                  </a:lnTo>
                  <a:lnTo>
                    <a:pt x="24" y="563"/>
                  </a:lnTo>
                  <a:lnTo>
                    <a:pt x="0" y="709"/>
                  </a:lnTo>
                  <a:lnTo>
                    <a:pt x="0" y="17708"/>
                  </a:lnTo>
                  <a:lnTo>
                    <a:pt x="24" y="17879"/>
                  </a:lnTo>
                  <a:lnTo>
                    <a:pt x="73" y="18025"/>
                  </a:lnTo>
                  <a:lnTo>
                    <a:pt x="122" y="18172"/>
                  </a:lnTo>
                  <a:lnTo>
                    <a:pt x="220" y="18294"/>
                  </a:lnTo>
                  <a:lnTo>
                    <a:pt x="342" y="18416"/>
                  </a:lnTo>
                  <a:lnTo>
                    <a:pt x="489" y="18489"/>
                  </a:lnTo>
                  <a:lnTo>
                    <a:pt x="635" y="18538"/>
                  </a:lnTo>
                  <a:lnTo>
                    <a:pt x="782" y="18562"/>
                  </a:lnTo>
                  <a:lnTo>
                    <a:pt x="14361" y="18562"/>
                  </a:lnTo>
                  <a:lnTo>
                    <a:pt x="14507" y="18538"/>
                  </a:lnTo>
                  <a:lnTo>
                    <a:pt x="14654" y="18489"/>
                  </a:lnTo>
                  <a:lnTo>
                    <a:pt x="14800" y="18416"/>
                  </a:lnTo>
                  <a:lnTo>
                    <a:pt x="14923" y="18294"/>
                  </a:lnTo>
                  <a:lnTo>
                    <a:pt x="15020" y="18172"/>
                  </a:lnTo>
                  <a:lnTo>
                    <a:pt x="15069" y="18025"/>
                  </a:lnTo>
                  <a:lnTo>
                    <a:pt x="15118" y="17879"/>
                  </a:lnTo>
                  <a:lnTo>
                    <a:pt x="15142" y="17708"/>
                  </a:lnTo>
                  <a:lnTo>
                    <a:pt x="15142" y="17586"/>
                  </a:lnTo>
                  <a:lnTo>
                    <a:pt x="1759" y="17586"/>
                  </a:lnTo>
                  <a:lnTo>
                    <a:pt x="1612" y="17561"/>
                  </a:lnTo>
                  <a:lnTo>
                    <a:pt x="1465" y="17512"/>
                  </a:lnTo>
                  <a:lnTo>
                    <a:pt x="1319" y="17439"/>
                  </a:lnTo>
                  <a:lnTo>
                    <a:pt x="1197" y="17317"/>
                  </a:lnTo>
                  <a:lnTo>
                    <a:pt x="1099" y="17195"/>
                  </a:lnTo>
                  <a:lnTo>
                    <a:pt x="1050" y="17048"/>
                  </a:lnTo>
                  <a:lnTo>
                    <a:pt x="1001" y="16902"/>
                  </a:lnTo>
                  <a:lnTo>
                    <a:pt x="977" y="16731"/>
                  </a:lnTo>
                  <a:lnTo>
                    <a:pt x="97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54" name="Shape 383"/>
            <p:cNvSpPr/>
            <p:nvPr/>
          </p:nvSpPr>
          <p:spPr>
            <a:xfrm>
              <a:off x="621550" y="922575"/>
              <a:ext cx="378575" cy="464050"/>
            </a:xfrm>
            <a:custGeom>
              <a:avLst/>
              <a:gdLst/>
              <a:ahLst/>
              <a:cxnLst/>
              <a:rect l="0" t="0" r="0" b="0"/>
              <a:pathLst>
                <a:path w="15143" h="18562" extrusionOk="0">
                  <a:moveTo>
                    <a:pt x="13140" y="6472"/>
                  </a:moveTo>
                  <a:lnTo>
                    <a:pt x="13238" y="6497"/>
                  </a:lnTo>
                  <a:lnTo>
                    <a:pt x="13311" y="6546"/>
                  </a:lnTo>
                  <a:lnTo>
                    <a:pt x="13360" y="6619"/>
                  </a:lnTo>
                  <a:lnTo>
                    <a:pt x="13384" y="6717"/>
                  </a:lnTo>
                  <a:lnTo>
                    <a:pt x="13360" y="6814"/>
                  </a:lnTo>
                  <a:lnTo>
                    <a:pt x="13311" y="6888"/>
                  </a:lnTo>
                  <a:lnTo>
                    <a:pt x="13238" y="6936"/>
                  </a:lnTo>
                  <a:lnTo>
                    <a:pt x="13140" y="6961"/>
                  </a:lnTo>
                  <a:lnTo>
                    <a:pt x="2003" y="6961"/>
                  </a:lnTo>
                  <a:lnTo>
                    <a:pt x="1905" y="6936"/>
                  </a:lnTo>
                  <a:lnTo>
                    <a:pt x="1832" y="6888"/>
                  </a:lnTo>
                  <a:lnTo>
                    <a:pt x="1783" y="6814"/>
                  </a:lnTo>
                  <a:lnTo>
                    <a:pt x="1759" y="6717"/>
                  </a:lnTo>
                  <a:lnTo>
                    <a:pt x="1783" y="6619"/>
                  </a:lnTo>
                  <a:lnTo>
                    <a:pt x="1832" y="6546"/>
                  </a:lnTo>
                  <a:lnTo>
                    <a:pt x="1905" y="6497"/>
                  </a:lnTo>
                  <a:lnTo>
                    <a:pt x="2003" y="6472"/>
                  </a:lnTo>
                  <a:close/>
                  <a:moveTo>
                    <a:pt x="13238" y="8793"/>
                  </a:moveTo>
                  <a:lnTo>
                    <a:pt x="13311" y="8866"/>
                  </a:lnTo>
                  <a:lnTo>
                    <a:pt x="13360" y="8939"/>
                  </a:lnTo>
                  <a:lnTo>
                    <a:pt x="13384" y="9037"/>
                  </a:lnTo>
                  <a:lnTo>
                    <a:pt x="13360" y="9135"/>
                  </a:lnTo>
                  <a:lnTo>
                    <a:pt x="13311" y="9208"/>
                  </a:lnTo>
                  <a:lnTo>
                    <a:pt x="13238" y="9257"/>
                  </a:lnTo>
                  <a:lnTo>
                    <a:pt x="13140" y="9281"/>
                  </a:lnTo>
                  <a:lnTo>
                    <a:pt x="2003" y="9281"/>
                  </a:lnTo>
                  <a:lnTo>
                    <a:pt x="1905" y="9257"/>
                  </a:lnTo>
                  <a:lnTo>
                    <a:pt x="1832" y="9208"/>
                  </a:lnTo>
                  <a:lnTo>
                    <a:pt x="1783" y="9135"/>
                  </a:lnTo>
                  <a:lnTo>
                    <a:pt x="1759" y="9037"/>
                  </a:lnTo>
                  <a:lnTo>
                    <a:pt x="1783" y="8939"/>
                  </a:lnTo>
                  <a:lnTo>
                    <a:pt x="1832" y="8866"/>
                  </a:lnTo>
                  <a:lnTo>
                    <a:pt x="1905" y="8793"/>
                  </a:lnTo>
                  <a:close/>
                  <a:moveTo>
                    <a:pt x="13140" y="11088"/>
                  </a:moveTo>
                  <a:lnTo>
                    <a:pt x="13238" y="11113"/>
                  </a:lnTo>
                  <a:lnTo>
                    <a:pt x="13311" y="11162"/>
                  </a:lnTo>
                  <a:lnTo>
                    <a:pt x="13360" y="11235"/>
                  </a:lnTo>
                  <a:lnTo>
                    <a:pt x="13384" y="11333"/>
                  </a:lnTo>
                  <a:lnTo>
                    <a:pt x="13360" y="11430"/>
                  </a:lnTo>
                  <a:lnTo>
                    <a:pt x="13311" y="11504"/>
                  </a:lnTo>
                  <a:lnTo>
                    <a:pt x="13238" y="11552"/>
                  </a:lnTo>
                  <a:lnTo>
                    <a:pt x="13140" y="11577"/>
                  </a:lnTo>
                  <a:lnTo>
                    <a:pt x="2003" y="11577"/>
                  </a:lnTo>
                  <a:lnTo>
                    <a:pt x="1905" y="11552"/>
                  </a:lnTo>
                  <a:lnTo>
                    <a:pt x="1832" y="11504"/>
                  </a:lnTo>
                  <a:lnTo>
                    <a:pt x="1783" y="11430"/>
                  </a:lnTo>
                  <a:lnTo>
                    <a:pt x="1759" y="11333"/>
                  </a:lnTo>
                  <a:lnTo>
                    <a:pt x="1783" y="11235"/>
                  </a:lnTo>
                  <a:lnTo>
                    <a:pt x="1832" y="11162"/>
                  </a:lnTo>
                  <a:lnTo>
                    <a:pt x="1905" y="11113"/>
                  </a:lnTo>
                  <a:lnTo>
                    <a:pt x="2003" y="11088"/>
                  </a:lnTo>
                  <a:close/>
                  <a:moveTo>
                    <a:pt x="8255" y="13409"/>
                  </a:moveTo>
                  <a:lnTo>
                    <a:pt x="8353" y="13433"/>
                  </a:lnTo>
                  <a:lnTo>
                    <a:pt x="8426" y="13482"/>
                  </a:lnTo>
                  <a:lnTo>
                    <a:pt x="8475" y="13555"/>
                  </a:lnTo>
                  <a:lnTo>
                    <a:pt x="8500" y="13653"/>
                  </a:lnTo>
                  <a:lnTo>
                    <a:pt x="8475" y="13750"/>
                  </a:lnTo>
                  <a:lnTo>
                    <a:pt x="8426" y="13824"/>
                  </a:lnTo>
                  <a:lnTo>
                    <a:pt x="8353" y="13873"/>
                  </a:lnTo>
                  <a:lnTo>
                    <a:pt x="8255" y="13897"/>
                  </a:lnTo>
                  <a:lnTo>
                    <a:pt x="2003" y="13897"/>
                  </a:lnTo>
                  <a:lnTo>
                    <a:pt x="1905" y="13873"/>
                  </a:lnTo>
                  <a:lnTo>
                    <a:pt x="1832" y="13824"/>
                  </a:lnTo>
                  <a:lnTo>
                    <a:pt x="1783" y="13750"/>
                  </a:lnTo>
                  <a:lnTo>
                    <a:pt x="1759" y="13653"/>
                  </a:lnTo>
                  <a:lnTo>
                    <a:pt x="1783" y="13555"/>
                  </a:lnTo>
                  <a:lnTo>
                    <a:pt x="1832" y="13482"/>
                  </a:lnTo>
                  <a:lnTo>
                    <a:pt x="1905" y="13433"/>
                  </a:lnTo>
                  <a:lnTo>
                    <a:pt x="2003" y="13409"/>
                  </a:lnTo>
                  <a:close/>
                  <a:moveTo>
                    <a:pt x="635" y="0"/>
                  </a:moveTo>
                  <a:lnTo>
                    <a:pt x="489" y="49"/>
                  </a:lnTo>
                  <a:lnTo>
                    <a:pt x="342" y="122"/>
                  </a:lnTo>
                  <a:lnTo>
                    <a:pt x="220" y="220"/>
                  </a:lnTo>
                  <a:lnTo>
                    <a:pt x="123" y="342"/>
                  </a:lnTo>
                  <a:lnTo>
                    <a:pt x="74" y="464"/>
                  </a:lnTo>
                  <a:lnTo>
                    <a:pt x="25" y="611"/>
                  </a:lnTo>
                  <a:lnTo>
                    <a:pt x="0" y="782"/>
                  </a:lnTo>
                  <a:lnTo>
                    <a:pt x="0" y="17780"/>
                  </a:lnTo>
                  <a:lnTo>
                    <a:pt x="25" y="17927"/>
                  </a:lnTo>
                  <a:lnTo>
                    <a:pt x="74" y="18073"/>
                  </a:lnTo>
                  <a:lnTo>
                    <a:pt x="123" y="18195"/>
                  </a:lnTo>
                  <a:lnTo>
                    <a:pt x="220" y="18318"/>
                  </a:lnTo>
                  <a:lnTo>
                    <a:pt x="342" y="18415"/>
                  </a:lnTo>
                  <a:lnTo>
                    <a:pt x="489" y="18489"/>
                  </a:lnTo>
                  <a:lnTo>
                    <a:pt x="635" y="18537"/>
                  </a:lnTo>
                  <a:lnTo>
                    <a:pt x="782" y="18562"/>
                  </a:lnTo>
                  <a:lnTo>
                    <a:pt x="14361" y="18562"/>
                  </a:lnTo>
                  <a:lnTo>
                    <a:pt x="14508" y="18537"/>
                  </a:lnTo>
                  <a:lnTo>
                    <a:pt x="14654" y="18489"/>
                  </a:lnTo>
                  <a:lnTo>
                    <a:pt x="14801" y="18415"/>
                  </a:lnTo>
                  <a:lnTo>
                    <a:pt x="14923" y="18318"/>
                  </a:lnTo>
                  <a:lnTo>
                    <a:pt x="15021" y="18195"/>
                  </a:lnTo>
                  <a:lnTo>
                    <a:pt x="15069" y="18073"/>
                  </a:lnTo>
                  <a:lnTo>
                    <a:pt x="15118" y="17927"/>
                  </a:lnTo>
                  <a:lnTo>
                    <a:pt x="15143" y="17780"/>
                  </a:lnTo>
                  <a:lnTo>
                    <a:pt x="15143" y="3859"/>
                  </a:lnTo>
                  <a:lnTo>
                    <a:pt x="12554" y="3859"/>
                  </a:lnTo>
                  <a:lnTo>
                    <a:pt x="12285" y="3835"/>
                  </a:lnTo>
                  <a:lnTo>
                    <a:pt x="12065" y="3761"/>
                  </a:lnTo>
                  <a:lnTo>
                    <a:pt x="11846" y="3639"/>
                  </a:lnTo>
                  <a:lnTo>
                    <a:pt x="11650" y="3468"/>
                  </a:lnTo>
                  <a:lnTo>
                    <a:pt x="11504" y="3297"/>
                  </a:lnTo>
                  <a:lnTo>
                    <a:pt x="11382" y="3078"/>
                  </a:lnTo>
                  <a:lnTo>
                    <a:pt x="11308" y="2833"/>
                  </a:lnTo>
                  <a:lnTo>
                    <a:pt x="11284" y="2589"/>
                  </a:lnTo>
                  <a:lnTo>
                    <a:pt x="1128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55" name="Shape 384"/>
            <p:cNvSpPr/>
            <p:nvPr/>
          </p:nvSpPr>
          <p:spPr>
            <a:xfrm>
              <a:off x="915850" y="922575"/>
              <a:ext cx="84275" cy="84275"/>
            </a:xfrm>
            <a:custGeom>
              <a:avLst/>
              <a:gdLst/>
              <a:ahLst/>
              <a:cxnLst/>
              <a:rect l="0" t="0" r="0" b="0"/>
              <a:pathLst>
                <a:path w="3371" h="3371" extrusionOk="0">
                  <a:moveTo>
                    <a:pt x="0" y="0"/>
                  </a:moveTo>
                  <a:lnTo>
                    <a:pt x="0" y="2589"/>
                  </a:lnTo>
                  <a:lnTo>
                    <a:pt x="0" y="2736"/>
                  </a:lnTo>
                  <a:lnTo>
                    <a:pt x="49" y="2882"/>
                  </a:lnTo>
                  <a:lnTo>
                    <a:pt x="122" y="3029"/>
                  </a:lnTo>
                  <a:lnTo>
                    <a:pt x="220" y="3126"/>
                  </a:lnTo>
                  <a:lnTo>
                    <a:pt x="342" y="3224"/>
                  </a:lnTo>
                  <a:lnTo>
                    <a:pt x="464" y="3297"/>
                  </a:lnTo>
                  <a:lnTo>
                    <a:pt x="611" y="3346"/>
                  </a:lnTo>
                  <a:lnTo>
                    <a:pt x="782" y="3371"/>
                  </a:lnTo>
                  <a:lnTo>
                    <a:pt x="3371" y="3371"/>
                  </a:lnTo>
                  <a:lnTo>
                    <a:pt x="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56" name="Shape 385"/>
          <p:cNvGrpSpPr/>
          <p:nvPr/>
        </p:nvGrpSpPr>
        <p:grpSpPr>
          <a:xfrm>
            <a:off x="3207469" y="2241582"/>
            <a:ext cx="335717" cy="400050"/>
            <a:chOff x="1246775" y="910975"/>
            <a:chExt cx="439650" cy="523900"/>
          </a:xfrm>
        </p:grpSpPr>
        <p:sp>
          <p:nvSpPr>
            <p:cNvPr id="57" name="Shape 386"/>
            <p:cNvSpPr/>
            <p:nvPr/>
          </p:nvSpPr>
          <p:spPr>
            <a:xfrm>
              <a:off x="1246775" y="970800"/>
              <a:ext cx="378575" cy="464075"/>
            </a:xfrm>
            <a:custGeom>
              <a:avLst/>
              <a:gdLst/>
              <a:ahLst/>
              <a:cxnLst/>
              <a:rect l="0" t="0" r="0" b="0"/>
              <a:pathLst>
                <a:path w="15143" h="18563" extrusionOk="0">
                  <a:moveTo>
                    <a:pt x="782" y="1"/>
                  </a:moveTo>
                  <a:lnTo>
                    <a:pt x="636" y="25"/>
                  </a:lnTo>
                  <a:lnTo>
                    <a:pt x="489" y="50"/>
                  </a:lnTo>
                  <a:lnTo>
                    <a:pt x="343" y="123"/>
                  </a:lnTo>
                  <a:lnTo>
                    <a:pt x="220" y="221"/>
                  </a:lnTo>
                  <a:lnTo>
                    <a:pt x="123" y="318"/>
                  </a:lnTo>
                  <a:lnTo>
                    <a:pt x="74" y="465"/>
                  </a:lnTo>
                  <a:lnTo>
                    <a:pt x="25" y="587"/>
                  </a:lnTo>
                  <a:lnTo>
                    <a:pt x="1" y="758"/>
                  </a:lnTo>
                  <a:lnTo>
                    <a:pt x="1" y="17756"/>
                  </a:lnTo>
                  <a:lnTo>
                    <a:pt x="25" y="17903"/>
                  </a:lnTo>
                  <a:lnTo>
                    <a:pt x="74" y="18049"/>
                  </a:lnTo>
                  <a:lnTo>
                    <a:pt x="123" y="18196"/>
                  </a:lnTo>
                  <a:lnTo>
                    <a:pt x="220" y="18318"/>
                  </a:lnTo>
                  <a:lnTo>
                    <a:pt x="343" y="18416"/>
                  </a:lnTo>
                  <a:lnTo>
                    <a:pt x="489" y="18489"/>
                  </a:lnTo>
                  <a:lnTo>
                    <a:pt x="636" y="18538"/>
                  </a:lnTo>
                  <a:lnTo>
                    <a:pt x="782" y="18562"/>
                  </a:lnTo>
                  <a:lnTo>
                    <a:pt x="14361" y="18562"/>
                  </a:lnTo>
                  <a:lnTo>
                    <a:pt x="14508" y="18538"/>
                  </a:lnTo>
                  <a:lnTo>
                    <a:pt x="14654" y="18489"/>
                  </a:lnTo>
                  <a:lnTo>
                    <a:pt x="14801" y="18416"/>
                  </a:lnTo>
                  <a:lnTo>
                    <a:pt x="14923" y="18318"/>
                  </a:lnTo>
                  <a:lnTo>
                    <a:pt x="15021" y="18196"/>
                  </a:lnTo>
                  <a:lnTo>
                    <a:pt x="15070" y="18049"/>
                  </a:lnTo>
                  <a:lnTo>
                    <a:pt x="15118" y="17903"/>
                  </a:lnTo>
                  <a:lnTo>
                    <a:pt x="15143" y="17756"/>
                  </a:lnTo>
                  <a:lnTo>
                    <a:pt x="15143" y="16608"/>
                  </a:lnTo>
                  <a:lnTo>
                    <a:pt x="2736" y="16608"/>
                  </a:lnTo>
                  <a:lnTo>
                    <a:pt x="2589" y="16584"/>
                  </a:lnTo>
                  <a:lnTo>
                    <a:pt x="2443" y="16535"/>
                  </a:lnTo>
                  <a:lnTo>
                    <a:pt x="2296" y="16462"/>
                  </a:lnTo>
                  <a:lnTo>
                    <a:pt x="2174" y="16364"/>
                  </a:lnTo>
                  <a:lnTo>
                    <a:pt x="2077" y="16242"/>
                  </a:lnTo>
                  <a:lnTo>
                    <a:pt x="2028" y="16096"/>
                  </a:lnTo>
                  <a:lnTo>
                    <a:pt x="1979" y="15949"/>
                  </a:lnTo>
                  <a:lnTo>
                    <a:pt x="1954" y="15802"/>
                  </a:lnTo>
                  <a:lnTo>
                    <a:pt x="195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58" name="Shape 387"/>
            <p:cNvSpPr/>
            <p:nvPr/>
          </p:nvSpPr>
          <p:spPr>
            <a:xfrm>
              <a:off x="1307825" y="910975"/>
              <a:ext cx="378600" cy="464050"/>
            </a:xfrm>
            <a:custGeom>
              <a:avLst/>
              <a:gdLst/>
              <a:ahLst/>
              <a:cxnLst/>
              <a:rect l="0" t="0" r="0" b="0"/>
              <a:pathLst>
                <a:path w="15144" h="18562" extrusionOk="0">
                  <a:moveTo>
                    <a:pt x="782" y="0"/>
                  </a:moveTo>
                  <a:lnTo>
                    <a:pt x="636" y="25"/>
                  </a:lnTo>
                  <a:lnTo>
                    <a:pt x="489" y="74"/>
                  </a:lnTo>
                  <a:lnTo>
                    <a:pt x="343" y="147"/>
                  </a:lnTo>
                  <a:lnTo>
                    <a:pt x="221" y="244"/>
                  </a:lnTo>
                  <a:lnTo>
                    <a:pt x="123" y="342"/>
                  </a:lnTo>
                  <a:lnTo>
                    <a:pt x="74" y="489"/>
                  </a:lnTo>
                  <a:lnTo>
                    <a:pt x="25" y="635"/>
                  </a:lnTo>
                  <a:lnTo>
                    <a:pt x="1" y="782"/>
                  </a:lnTo>
                  <a:lnTo>
                    <a:pt x="1" y="17780"/>
                  </a:lnTo>
                  <a:lnTo>
                    <a:pt x="25" y="17951"/>
                  </a:lnTo>
                  <a:lnTo>
                    <a:pt x="74" y="18098"/>
                  </a:lnTo>
                  <a:lnTo>
                    <a:pt x="123" y="18220"/>
                  </a:lnTo>
                  <a:lnTo>
                    <a:pt x="221" y="18342"/>
                  </a:lnTo>
                  <a:lnTo>
                    <a:pt x="343" y="18440"/>
                  </a:lnTo>
                  <a:lnTo>
                    <a:pt x="489" y="18513"/>
                  </a:lnTo>
                  <a:lnTo>
                    <a:pt x="636" y="18562"/>
                  </a:lnTo>
                  <a:lnTo>
                    <a:pt x="14508" y="18562"/>
                  </a:lnTo>
                  <a:lnTo>
                    <a:pt x="14655" y="18513"/>
                  </a:lnTo>
                  <a:lnTo>
                    <a:pt x="14801" y="18440"/>
                  </a:lnTo>
                  <a:lnTo>
                    <a:pt x="14923" y="18342"/>
                  </a:lnTo>
                  <a:lnTo>
                    <a:pt x="15021" y="18220"/>
                  </a:lnTo>
                  <a:lnTo>
                    <a:pt x="15070" y="18098"/>
                  </a:lnTo>
                  <a:lnTo>
                    <a:pt x="15119" y="17951"/>
                  </a:lnTo>
                  <a:lnTo>
                    <a:pt x="15143" y="17780"/>
                  </a:lnTo>
                  <a:lnTo>
                    <a:pt x="15143" y="3859"/>
                  </a:lnTo>
                  <a:lnTo>
                    <a:pt x="12554" y="3859"/>
                  </a:lnTo>
                  <a:lnTo>
                    <a:pt x="12286" y="3835"/>
                  </a:lnTo>
                  <a:lnTo>
                    <a:pt x="12066" y="3761"/>
                  </a:lnTo>
                  <a:lnTo>
                    <a:pt x="11846" y="3664"/>
                  </a:lnTo>
                  <a:lnTo>
                    <a:pt x="11651" y="3493"/>
                  </a:lnTo>
                  <a:lnTo>
                    <a:pt x="11504" y="3297"/>
                  </a:lnTo>
                  <a:lnTo>
                    <a:pt x="11382" y="3102"/>
                  </a:lnTo>
                  <a:lnTo>
                    <a:pt x="11309" y="2858"/>
                  </a:lnTo>
                  <a:lnTo>
                    <a:pt x="11284" y="2589"/>
                  </a:lnTo>
                  <a:lnTo>
                    <a:pt x="1128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59" name="Shape 388"/>
            <p:cNvSpPr/>
            <p:nvPr/>
          </p:nvSpPr>
          <p:spPr>
            <a:xfrm>
              <a:off x="1602125" y="910975"/>
              <a:ext cx="84300" cy="84275"/>
            </a:xfrm>
            <a:custGeom>
              <a:avLst/>
              <a:gdLst/>
              <a:ahLst/>
              <a:cxnLst/>
              <a:rect l="0" t="0" r="0" b="0"/>
              <a:pathLst>
                <a:path w="3372" h="3371" extrusionOk="0">
                  <a:moveTo>
                    <a:pt x="1" y="0"/>
                  </a:moveTo>
                  <a:lnTo>
                    <a:pt x="1" y="2589"/>
                  </a:lnTo>
                  <a:lnTo>
                    <a:pt x="1" y="2760"/>
                  </a:lnTo>
                  <a:lnTo>
                    <a:pt x="50" y="2907"/>
                  </a:lnTo>
                  <a:lnTo>
                    <a:pt x="123" y="3029"/>
                  </a:lnTo>
                  <a:lnTo>
                    <a:pt x="221" y="3151"/>
                  </a:lnTo>
                  <a:lnTo>
                    <a:pt x="343" y="3249"/>
                  </a:lnTo>
                  <a:lnTo>
                    <a:pt x="465" y="3322"/>
                  </a:lnTo>
                  <a:lnTo>
                    <a:pt x="611" y="3371"/>
                  </a:lnTo>
                  <a:lnTo>
                    <a:pt x="3371" y="3371"/>
                  </a:lnTo>
                  <a:lnTo>
                    <a:pt x="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60" name="Shape 389"/>
          <p:cNvGrpSpPr/>
          <p:nvPr/>
        </p:nvGrpSpPr>
        <p:grpSpPr>
          <a:xfrm>
            <a:off x="3726393" y="2305916"/>
            <a:ext cx="327317" cy="272300"/>
            <a:chOff x="1926350" y="995225"/>
            <a:chExt cx="428650" cy="356600"/>
          </a:xfrm>
        </p:grpSpPr>
        <p:sp>
          <p:nvSpPr>
            <p:cNvPr id="61" name="Shape 390"/>
            <p:cNvSpPr/>
            <p:nvPr/>
          </p:nvSpPr>
          <p:spPr>
            <a:xfrm>
              <a:off x="1926350" y="1298075"/>
              <a:ext cx="208225" cy="53750"/>
            </a:xfrm>
            <a:custGeom>
              <a:avLst/>
              <a:gdLst/>
              <a:ahLst/>
              <a:cxnLst/>
              <a:rect l="0" t="0" r="0" b="0"/>
              <a:pathLst>
                <a:path w="8329" h="2150" extrusionOk="0">
                  <a:moveTo>
                    <a:pt x="0" y="0"/>
                  </a:moveTo>
                  <a:lnTo>
                    <a:pt x="0" y="489"/>
                  </a:lnTo>
                  <a:lnTo>
                    <a:pt x="25" y="635"/>
                  </a:lnTo>
                  <a:lnTo>
                    <a:pt x="74" y="758"/>
                  </a:lnTo>
                  <a:lnTo>
                    <a:pt x="147" y="855"/>
                  </a:lnTo>
                  <a:lnTo>
                    <a:pt x="245" y="953"/>
                  </a:lnTo>
                  <a:lnTo>
                    <a:pt x="391" y="1026"/>
                  </a:lnTo>
                  <a:lnTo>
                    <a:pt x="562" y="1051"/>
                  </a:lnTo>
                  <a:lnTo>
                    <a:pt x="733" y="1026"/>
                  </a:lnTo>
                  <a:lnTo>
                    <a:pt x="1295" y="855"/>
                  </a:lnTo>
                  <a:lnTo>
                    <a:pt x="1661" y="782"/>
                  </a:lnTo>
                  <a:lnTo>
                    <a:pt x="2076" y="684"/>
                  </a:lnTo>
                  <a:lnTo>
                    <a:pt x="2540" y="611"/>
                  </a:lnTo>
                  <a:lnTo>
                    <a:pt x="3029" y="562"/>
                  </a:lnTo>
                  <a:lnTo>
                    <a:pt x="3591" y="513"/>
                  </a:lnTo>
                  <a:lnTo>
                    <a:pt x="4177" y="489"/>
                  </a:lnTo>
                  <a:lnTo>
                    <a:pt x="4616" y="513"/>
                  </a:lnTo>
                  <a:lnTo>
                    <a:pt x="5032" y="538"/>
                  </a:lnTo>
                  <a:lnTo>
                    <a:pt x="5422" y="611"/>
                  </a:lnTo>
                  <a:lnTo>
                    <a:pt x="5789" y="684"/>
                  </a:lnTo>
                  <a:lnTo>
                    <a:pt x="6131" y="782"/>
                  </a:lnTo>
                  <a:lnTo>
                    <a:pt x="6448" y="880"/>
                  </a:lnTo>
                  <a:lnTo>
                    <a:pt x="6717" y="1002"/>
                  </a:lnTo>
                  <a:lnTo>
                    <a:pt x="6985" y="1124"/>
                  </a:lnTo>
                  <a:lnTo>
                    <a:pt x="7205" y="1246"/>
                  </a:lnTo>
                  <a:lnTo>
                    <a:pt x="7425" y="1393"/>
                  </a:lnTo>
                  <a:lnTo>
                    <a:pt x="7791" y="1661"/>
                  </a:lnTo>
                  <a:lnTo>
                    <a:pt x="8084" y="1930"/>
                  </a:lnTo>
                  <a:lnTo>
                    <a:pt x="8329" y="2150"/>
                  </a:lnTo>
                  <a:lnTo>
                    <a:pt x="8329" y="1661"/>
                  </a:lnTo>
                  <a:lnTo>
                    <a:pt x="8084" y="1441"/>
                  </a:lnTo>
                  <a:lnTo>
                    <a:pt x="7791" y="1173"/>
                  </a:lnTo>
                  <a:lnTo>
                    <a:pt x="7425" y="904"/>
                  </a:lnTo>
                  <a:lnTo>
                    <a:pt x="7205" y="758"/>
                  </a:lnTo>
                  <a:lnTo>
                    <a:pt x="6985" y="635"/>
                  </a:lnTo>
                  <a:lnTo>
                    <a:pt x="6717" y="513"/>
                  </a:lnTo>
                  <a:lnTo>
                    <a:pt x="6448" y="391"/>
                  </a:lnTo>
                  <a:lnTo>
                    <a:pt x="6131" y="294"/>
                  </a:lnTo>
                  <a:lnTo>
                    <a:pt x="5789" y="196"/>
                  </a:lnTo>
                  <a:lnTo>
                    <a:pt x="5422" y="123"/>
                  </a:lnTo>
                  <a:lnTo>
                    <a:pt x="5032" y="49"/>
                  </a:lnTo>
                  <a:lnTo>
                    <a:pt x="4616" y="25"/>
                  </a:lnTo>
                  <a:lnTo>
                    <a:pt x="4177" y="0"/>
                  </a:lnTo>
                  <a:lnTo>
                    <a:pt x="3591" y="25"/>
                  </a:lnTo>
                  <a:lnTo>
                    <a:pt x="3029" y="74"/>
                  </a:lnTo>
                  <a:lnTo>
                    <a:pt x="2540" y="123"/>
                  </a:lnTo>
                  <a:lnTo>
                    <a:pt x="2076" y="196"/>
                  </a:lnTo>
                  <a:lnTo>
                    <a:pt x="1661" y="294"/>
                  </a:lnTo>
                  <a:lnTo>
                    <a:pt x="1295" y="367"/>
                  </a:lnTo>
                  <a:lnTo>
                    <a:pt x="733" y="538"/>
                  </a:lnTo>
                  <a:lnTo>
                    <a:pt x="562" y="562"/>
                  </a:lnTo>
                  <a:lnTo>
                    <a:pt x="391" y="538"/>
                  </a:lnTo>
                  <a:lnTo>
                    <a:pt x="245" y="465"/>
                  </a:lnTo>
                  <a:lnTo>
                    <a:pt x="147" y="367"/>
                  </a:lnTo>
                  <a:lnTo>
                    <a:pt x="74" y="269"/>
                  </a:lnTo>
                  <a:lnTo>
                    <a:pt x="25" y="147"/>
                  </a:lnTo>
                  <a:lnTo>
                    <a:pt x="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62" name="Shape 391"/>
            <p:cNvSpPr/>
            <p:nvPr/>
          </p:nvSpPr>
          <p:spPr>
            <a:xfrm>
              <a:off x="2146775" y="1298075"/>
              <a:ext cx="208225" cy="53750"/>
            </a:xfrm>
            <a:custGeom>
              <a:avLst/>
              <a:gdLst/>
              <a:ahLst/>
              <a:cxnLst/>
              <a:rect l="0" t="0" r="0" b="0"/>
              <a:pathLst>
                <a:path w="8329" h="2150" extrusionOk="0">
                  <a:moveTo>
                    <a:pt x="4152" y="0"/>
                  </a:moveTo>
                  <a:lnTo>
                    <a:pt x="3712" y="25"/>
                  </a:lnTo>
                  <a:lnTo>
                    <a:pt x="3297" y="49"/>
                  </a:lnTo>
                  <a:lnTo>
                    <a:pt x="2907" y="123"/>
                  </a:lnTo>
                  <a:lnTo>
                    <a:pt x="2540" y="196"/>
                  </a:lnTo>
                  <a:lnTo>
                    <a:pt x="2198" y="294"/>
                  </a:lnTo>
                  <a:lnTo>
                    <a:pt x="1881" y="391"/>
                  </a:lnTo>
                  <a:lnTo>
                    <a:pt x="1612" y="513"/>
                  </a:lnTo>
                  <a:lnTo>
                    <a:pt x="1343" y="635"/>
                  </a:lnTo>
                  <a:lnTo>
                    <a:pt x="1124" y="758"/>
                  </a:lnTo>
                  <a:lnTo>
                    <a:pt x="904" y="904"/>
                  </a:lnTo>
                  <a:lnTo>
                    <a:pt x="537" y="1173"/>
                  </a:lnTo>
                  <a:lnTo>
                    <a:pt x="244" y="1441"/>
                  </a:lnTo>
                  <a:lnTo>
                    <a:pt x="0" y="1661"/>
                  </a:lnTo>
                  <a:lnTo>
                    <a:pt x="0" y="2150"/>
                  </a:lnTo>
                  <a:lnTo>
                    <a:pt x="244" y="1930"/>
                  </a:lnTo>
                  <a:lnTo>
                    <a:pt x="537" y="1661"/>
                  </a:lnTo>
                  <a:lnTo>
                    <a:pt x="904" y="1393"/>
                  </a:lnTo>
                  <a:lnTo>
                    <a:pt x="1124" y="1246"/>
                  </a:lnTo>
                  <a:lnTo>
                    <a:pt x="1343" y="1124"/>
                  </a:lnTo>
                  <a:lnTo>
                    <a:pt x="1612" y="1002"/>
                  </a:lnTo>
                  <a:lnTo>
                    <a:pt x="1881" y="880"/>
                  </a:lnTo>
                  <a:lnTo>
                    <a:pt x="2198" y="782"/>
                  </a:lnTo>
                  <a:lnTo>
                    <a:pt x="2540" y="684"/>
                  </a:lnTo>
                  <a:lnTo>
                    <a:pt x="2907" y="611"/>
                  </a:lnTo>
                  <a:lnTo>
                    <a:pt x="3297" y="538"/>
                  </a:lnTo>
                  <a:lnTo>
                    <a:pt x="3712" y="513"/>
                  </a:lnTo>
                  <a:lnTo>
                    <a:pt x="4152" y="489"/>
                  </a:lnTo>
                  <a:lnTo>
                    <a:pt x="4738" y="513"/>
                  </a:lnTo>
                  <a:lnTo>
                    <a:pt x="5300" y="562"/>
                  </a:lnTo>
                  <a:lnTo>
                    <a:pt x="5788" y="611"/>
                  </a:lnTo>
                  <a:lnTo>
                    <a:pt x="6252" y="684"/>
                  </a:lnTo>
                  <a:lnTo>
                    <a:pt x="6668" y="782"/>
                  </a:lnTo>
                  <a:lnTo>
                    <a:pt x="7034" y="855"/>
                  </a:lnTo>
                  <a:lnTo>
                    <a:pt x="7596" y="1026"/>
                  </a:lnTo>
                  <a:lnTo>
                    <a:pt x="7767" y="1051"/>
                  </a:lnTo>
                  <a:lnTo>
                    <a:pt x="7938" y="1026"/>
                  </a:lnTo>
                  <a:lnTo>
                    <a:pt x="8084" y="953"/>
                  </a:lnTo>
                  <a:lnTo>
                    <a:pt x="8182" y="855"/>
                  </a:lnTo>
                  <a:lnTo>
                    <a:pt x="8255" y="758"/>
                  </a:lnTo>
                  <a:lnTo>
                    <a:pt x="8304" y="635"/>
                  </a:lnTo>
                  <a:lnTo>
                    <a:pt x="8328" y="489"/>
                  </a:lnTo>
                  <a:lnTo>
                    <a:pt x="8328" y="0"/>
                  </a:lnTo>
                  <a:lnTo>
                    <a:pt x="8304" y="147"/>
                  </a:lnTo>
                  <a:lnTo>
                    <a:pt x="8255" y="269"/>
                  </a:lnTo>
                  <a:lnTo>
                    <a:pt x="8182" y="367"/>
                  </a:lnTo>
                  <a:lnTo>
                    <a:pt x="8084" y="465"/>
                  </a:lnTo>
                  <a:lnTo>
                    <a:pt x="7938" y="538"/>
                  </a:lnTo>
                  <a:lnTo>
                    <a:pt x="7767" y="562"/>
                  </a:lnTo>
                  <a:lnTo>
                    <a:pt x="7596" y="538"/>
                  </a:lnTo>
                  <a:lnTo>
                    <a:pt x="7034" y="367"/>
                  </a:lnTo>
                  <a:lnTo>
                    <a:pt x="6668" y="294"/>
                  </a:lnTo>
                  <a:lnTo>
                    <a:pt x="6252" y="196"/>
                  </a:lnTo>
                  <a:lnTo>
                    <a:pt x="5788" y="123"/>
                  </a:lnTo>
                  <a:lnTo>
                    <a:pt x="5300" y="74"/>
                  </a:lnTo>
                  <a:lnTo>
                    <a:pt x="4738" y="25"/>
                  </a:lnTo>
                  <a:lnTo>
                    <a:pt x="415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63" name="Shape 392"/>
            <p:cNvSpPr/>
            <p:nvPr/>
          </p:nvSpPr>
          <p:spPr>
            <a:xfrm>
              <a:off x="1926350" y="995225"/>
              <a:ext cx="208225" cy="332175"/>
            </a:xfrm>
            <a:custGeom>
              <a:avLst/>
              <a:gdLst/>
              <a:ahLst/>
              <a:cxnLst/>
              <a:rect l="0" t="0" r="0" b="0"/>
              <a:pathLst>
                <a:path w="8329" h="13287" extrusionOk="0">
                  <a:moveTo>
                    <a:pt x="4177" y="1"/>
                  </a:moveTo>
                  <a:lnTo>
                    <a:pt x="3591" y="25"/>
                  </a:lnTo>
                  <a:lnTo>
                    <a:pt x="3029" y="74"/>
                  </a:lnTo>
                  <a:lnTo>
                    <a:pt x="2467" y="196"/>
                  </a:lnTo>
                  <a:lnTo>
                    <a:pt x="1905" y="343"/>
                  </a:lnTo>
                  <a:lnTo>
                    <a:pt x="1393" y="538"/>
                  </a:lnTo>
                  <a:lnTo>
                    <a:pt x="929" y="758"/>
                  </a:lnTo>
                  <a:lnTo>
                    <a:pt x="513" y="978"/>
                  </a:lnTo>
                  <a:lnTo>
                    <a:pt x="342" y="1124"/>
                  </a:lnTo>
                  <a:lnTo>
                    <a:pt x="196" y="1246"/>
                  </a:lnTo>
                  <a:lnTo>
                    <a:pt x="123" y="1319"/>
                  </a:lnTo>
                  <a:lnTo>
                    <a:pt x="49" y="1442"/>
                  </a:lnTo>
                  <a:lnTo>
                    <a:pt x="25" y="1539"/>
                  </a:lnTo>
                  <a:lnTo>
                    <a:pt x="0" y="1661"/>
                  </a:lnTo>
                  <a:lnTo>
                    <a:pt x="0" y="11626"/>
                  </a:lnTo>
                  <a:lnTo>
                    <a:pt x="25" y="11773"/>
                  </a:lnTo>
                  <a:lnTo>
                    <a:pt x="74" y="11895"/>
                  </a:lnTo>
                  <a:lnTo>
                    <a:pt x="147" y="11992"/>
                  </a:lnTo>
                  <a:lnTo>
                    <a:pt x="245" y="12090"/>
                  </a:lnTo>
                  <a:lnTo>
                    <a:pt x="391" y="12163"/>
                  </a:lnTo>
                  <a:lnTo>
                    <a:pt x="562" y="12188"/>
                  </a:lnTo>
                  <a:lnTo>
                    <a:pt x="733" y="12163"/>
                  </a:lnTo>
                  <a:lnTo>
                    <a:pt x="1295" y="11992"/>
                  </a:lnTo>
                  <a:lnTo>
                    <a:pt x="1661" y="11919"/>
                  </a:lnTo>
                  <a:lnTo>
                    <a:pt x="2076" y="11821"/>
                  </a:lnTo>
                  <a:lnTo>
                    <a:pt x="2540" y="11748"/>
                  </a:lnTo>
                  <a:lnTo>
                    <a:pt x="3029" y="11699"/>
                  </a:lnTo>
                  <a:lnTo>
                    <a:pt x="3591" y="11650"/>
                  </a:lnTo>
                  <a:lnTo>
                    <a:pt x="4177" y="11626"/>
                  </a:lnTo>
                  <a:lnTo>
                    <a:pt x="4616" y="11650"/>
                  </a:lnTo>
                  <a:lnTo>
                    <a:pt x="5032" y="11675"/>
                  </a:lnTo>
                  <a:lnTo>
                    <a:pt x="5422" y="11748"/>
                  </a:lnTo>
                  <a:lnTo>
                    <a:pt x="5789" y="11821"/>
                  </a:lnTo>
                  <a:lnTo>
                    <a:pt x="6131" y="11919"/>
                  </a:lnTo>
                  <a:lnTo>
                    <a:pt x="6448" y="12017"/>
                  </a:lnTo>
                  <a:lnTo>
                    <a:pt x="6717" y="12139"/>
                  </a:lnTo>
                  <a:lnTo>
                    <a:pt x="6985" y="12261"/>
                  </a:lnTo>
                  <a:lnTo>
                    <a:pt x="7205" y="12383"/>
                  </a:lnTo>
                  <a:lnTo>
                    <a:pt x="7425" y="12530"/>
                  </a:lnTo>
                  <a:lnTo>
                    <a:pt x="7791" y="12798"/>
                  </a:lnTo>
                  <a:lnTo>
                    <a:pt x="8084" y="13067"/>
                  </a:lnTo>
                  <a:lnTo>
                    <a:pt x="8329" y="13287"/>
                  </a:lnTo>
                  <a:lnTo>
                    <a:pt x="8329" y="2199"/>
                  </a:lnTo>
                  <a:lnTo>
                    <a:pt x="8329" y="2101"/>
                  </a:lnTo>
                  <a:lnTo>
                    <a:pt x="8280" y="1979"/>
                  </a:lnTo>
                  <a:lnTo>
                    <a:pt x="8231" y="1881"/>
                  </a:lnTo>
                  <a:lnTo>
                    <a:pt x="8158" y="1808"/>
                  </a:lnTo>
                  <a:lnTo>
                    <a:pt x="8036" y="1686"/>
                  </a:lnTo>
                  <a:lnTo>
                    <a:pt x="7767" y="1442"/>
                  </a:lnTo>
                  <a:lnTo>
                    <a:pt x="7449" y="1173"/>
                  </a:lnTo>
                  <a:lnTo>
                    <a:pt x="7083" y="904"/>
                  </a:lnTo>
                  <a:lnTo>
                    <a:pt x="6644" y="611"/>
                  </a:lnTo>
                  <a:lnTo>
                    <a:pt x="6375" y="489"/>
                  </a:lnTo>
                  <a:lnTo>
                    <a:pt x="6131" y="367"/>
                  </a:lnTo>
                  <a:lnTo>
                    <a:pt x="5838" y="269"/>
                  </a:lnTo>
                  <a:lnTo>
                    <a:pt x="5544" y="172"/>
                  </a:lnTo>
                  <a:lnTo>
                    <a:pt x="5227" y="98"/>
                  </a:lnTo>
                  <a:lnTo>
                    <a:pt x="4885" y="49"/>
                  </a:lnTo>
                  <a:lnTo>
                    <a:pt x="454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64" name="Shape 393"/>
            <p:cNvSpPr/>
            <p:nvPr/>
          </p:nvSpPr>
          <p:spPr>
            <a:xfrm>
              <a:off x="2146775" y="995225"/>
              <a:ext cx="208225" cy="332175"/>
            </a:xfrm>
            <a:custGeom>
              <a:avLst/>
              <a:gdLst/>
              <a:ahLst/>
              <a:cxnLst/>
              <a:rect l="0" t="0" r="0" b="0"/>
              <a:pathLst>
                <a:path w="8329" h="13287" extrusionOk="0">
                  <a:moveTo>
                    <a:pt x="3786" y="1"/>
                  </a:moveTo>
                  <a:lnTo>
                    <a:pt x="3444" y="49"/>
                  </a:lnTo>
                  <a:lnTo>
                    <a:pt x="3102" y="98"/>
                  </a:lnTo>
                  <a:lnTo>
                    <a:pt x="2784" y="172"/>
                  </a:lnTo>
                  <a:lnTo>
                    <a:pt x="2491" y="269"/>
                  </a:lnTo>
                  <a:lnTo>
                    <a:pt x="2198" y="367"/>
                  </a:lnTo>
                  <a:lnTo>
                    <a:pt x="1954" y="489"/>
                  </a:lnTo>
                  <a:lnTo>
                    <a:pt x="1685" y="611"/>
                  </a:lnTo>
                  <a:lnTo>
                    <a:pt x="1246" y="904"/>
                  </a:lnTo>
                  <a:lnTo>
                    <a:pt x="879" y="1173"/>
                  </a:lnTo>
                  <a:lnTo>
                    <a:pt x="562" y="1442"/>
                  </a:lnTo>
                  <a:lnTo>
                    <a:pt x="293" y="1686"/>
                  </a:lnTo>
                  <a:lnTo>
                    <a:pt x="171" y="1808"/>
                  </a:lnTo>
                  <a:lnTo>
                    <a:pt x="98" y="1881"/>
                  </a:lnTo>
                  <a:lnTo>
                    <a:pt x="49" y="1979"/>
                  </a:lnTo>
                  <a:lnTo>
                    <a:pt x="0" y="2101"/>
                  </a:lnTo>
                  <a:lnTo>
                    <a:pt x="0" y="2199"/>
                  </a:lnTo>
                  <a:lnTo>
                    <a:pt x="0" y="13287"/>
                  </a:lnTo>
                  <a:lnTo>
                    <a:pt x="244" y="13067"/>
                  </a:lnTo>
                  <a:lnTo>
                    <a:pt x="537" y="12798"/>
                  </a:lnTo>
                  <a:lnTo>
                    <a:pt x="904" y="12530"/>
                  </a:lnTo>
                  <a:lnTo>
                    <a:pt x="1124" y="12383"/>
                  </a:lnTo>
                  <a:lnTo>
                    <a:pt x="1343" y="12261"/>
                  </a:lnTo>
                  <a:lnTo>
                    <a:pt x="1612" y="12139"/>
                  </a:lnTo>
                  <a:lnTo>
                    <a:pt x="1881" y="12017"/>
                  </a:lnTo>
                  <a:lnTo>
                    <a:pt x="2198" y="11919"/>
                  </a:lnTo>
                  <a:lnTo>
                    <a:pt x="2540" y="11821"/>
                  </a:lnTo>
                  <a:lnTo>
                    <a:pt x="2907" y="11748"/>
                  </a:lnTo>
                  <a:lnTo>
                    <a:pt x="3297" y="11675"/>
                  </a:lnTo>
                  <a:lnTo>
                    <a:pt x="3712" y="11650"/>
                  </a:lnTo>
                  <a:lnTo>
                    <a:pt x="4152" y="11626"/>
                  </a:lnTo>
                  <a:lnTo>
                    <a:pt x="4738" y="11650"/>
                  </a:lnTo>
                  <a:lnTo>
                    <a:pt x="5300" y="11699"/>
                  </a:lnTo>
                  <a:lnTo>
                    <a:pt x="5788" y="11748"/>
                  </a:lnTo>
                  <a:lnTo>
                    <a:pt x="6252" y="11821"/>
                  </a:lnTo>
                  <a:lnTo>
                    <a:pt x="6668" y="11919"/>
                  </a:lnTo>
                  <a:lnTo>
                    <a:pt x="7034" y="11992"/>
                  </a:lnTo>
                  <a:lnTo>
                    <a:pt x="7596" y="12163"/>
                  </a:lnTo>
                  <a:lnTo>
                    <a:pt x="7767" y="12188"/>
                  </a:lnTo>
                  <a:lnTo>
                    <a:pt x="7938" y="12163"/>
                  </a:lnTo>
                  <a:lnTo>
                    <a:pt x="8084" y="12090"/>
                  </a:lnTo>
                  <a:lnTo>
                    <a:pt x="8182" y="11992"/>
                  </a:lnTo>
                  <a:lnTo>
                    <a:pt x="8255" y="11895"/>
                  </a:lnTo>
                  <a:lnTo>
                    <a:pt x="8304" y="11773"/>
                  </a:lnTo>
                  <a:lnTo>
                    <a:pt x="8328" y="11626"/>
                  </a:lnTo>
                  <a:lnTo>
                    <a:pt x="8328" y="1661"/>
                  </a:lnTo>
                  <a:lnTo>
                    <a:pt x="8304" y="1539"/>
                  </a:lnTo>
                  <a:lnTo>
                    <a:pt x="8280" y="1442"/>
                  </a:lnTo>
                  <a:lnTo>
                    <a:pt x="8206" y="1319"/>
                  </a:lnTo>
                  <a:lnTo>
                    <a:pt x="8133" y="1246"/>
                  </a:lnTo>
                  <a:lnTo>
                    <a:pt x="7987" y="1124"/>
                  </a:lnTo>
                  <a:lnTo>
                    <a:pt x="7816" y="978"/>
                  </a:lnTo>
                  <a:lnTo>
                    <a:pt x="7400" y="758"/>
                  </a:lnTo>
                  <a:lnTo>
                    <a:pt x="6936" y="538"/>
                  </a:lnTo>
                  <a:lnTo>
                    <a:pt x="6423" y="343"/>
                  </a:lnTo>
                  <a:lnTo>
                    <a:pt x="5862" y="196"/>
                  </a:lnTo>
                  <a:lnTo>
                    <a:pt x="5300" y="74"/>
                  </a:lnTo>
                  <a:lnTo>
                    <a:pt x="4738" y="25"/>
                  </a:lnTo>
                  <a:lnTo>
                    <a:pt x="4152"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65" name="Shape 394"/>
          <p:cNvSpPr/>
          <p:nvPr/>
        </p:nvSpPr>
        <p:spPr>
          <a:xfrm>
            <a:off x="4245038" y="2283138"/>
            <a:ext cx="319872" cy="318001"/>
          </a:xfrm>
          <a:custGeom>
            <a:avLst/>
            <a:gdLst/>
            <a:ahLst/>
            <a:cxnLst/>
            <a:rect l="0" t="0" r="0" b="0"/>
            <a:pathLst>
              <a:path w="16756" h="16658" extrusionOk="0">
                <a:moveTo>
                  <a:pt x="13287" y="2565"/>
                </a:moveTo>
                <a:lnTo>
                  <a:pt x="13482" y="2590"/>
                </a:lnTo>
                <a:lnTo>
                  <a:pt x="13653" y="2663"/>
                </a:lnTo>
                <a:lnTo>
                  <a:pt x="13800" y="2736"/>
                </a:lnTo>
                <a:lnTo>
                  <a:pt x="13922" y="2858"/>
                </a:lnTo>
                <a:lnTo>
                  <a:pt x="14069" y="3005"/>
                </a:lnTo>
                <a:lnTo>
                  <a:pt x="14142" y="3176"/>
                </a:lnTo>
                <a:lnTo>
                  <a:pt x="14191" y="3371"/>
                </a:lnTo>
                <a:lnTo>
                  <a:pt x="14215" y="3567"/>
                </a:lnTo>
                <a:lnTo>
                  <a:pt x="14191" y="3738"/>
                </a:lnTo>
                <a:lnTo>
                  <a:pt x="14142" y="3884"/>
                </a:lnTo>
                <a:lnTo>
                  <a:pt x="14069" y="4055"/>
                </a:lnTo>
                <a:lnTo>
                  <a:pt x="13922" y="4202"/>
                </a:lnTo>
                <a:lnTo>
                  <a:pt x="13800" y="4348"/>
                </a:lnTo>
                <a:lnTo>
                  <a:pt x="13653" y="4446"/>
                </a:lnTo>
                <a:lnTo>
                  <a:pt x="13482" y="4495"/>
                </a:lnTo>
                <a:lnTo>
                  <a:pt x="13067" y="4495"/>
                </a:lnTo>
                <a:lnTo>
                  <a:pt x="12896" y="4446"/>
                </a:lnTo>
                <a:lnTo>
                  <a:pt x="12725" y="4348"/>
                </a:lnTo>
                <a:lnTo>
                  <a:pt x="12554" y="4202"/>
                </a:lnTo>
                <a:lnTo>
                  <a:pt x="12481" y="4055"/>
                </a:lnTo>
                <a:lnTo>
                  <a:pt x="12408" y="3884"/>
                </a:lnTo>
                <a:lnTo>
                  <a:pt x="12359" y="3738"/>
                </a:lnTo>
                <a:lnTo>
                  <a:pt x="12359" y="3567"/>
                </a:lnTo>
                <a:lnTo>
                  <a:pt x="12359" y="3371"/>
                </a:lnTo>
                <a:lnTo>
                  <a:pt x="12408" y="3176"/>
                </a:lnTo>
                <a:lnTo>
                  <a:pt x="12481" y="3005"/>
                </a:lnTo>
                <a:lnTo>
                  <a:pt x="12554" y="2858"/>
                </a:lnTo>
                <a:lnTo>
                  <a:pt x="12725" y="2736"/>
                </a:lnTo>
                <a:lnTo>
                  <a:pt x="12896" y="2663"/>
                </a:lnTo>
                <a:lnTo>
                  <a:pt x="13067" y="2590"/>
                </a:lnTo>
                <a:lnTo>
                  <a:pt x="13287" y="2565"/>
                </a:lnTo>
                <a:close/>
                <a:moveTo>
                  <a:pt x="10845" y="1"/>
                </a:moveTo>
                <a:lnTo>
                  <a:pt x="10527" y="25"/>
                </a:lnTo>
                <a:lnTo>
                  <a:pt x="10210" y="74"/>
                </a:lnTo>
                <a:lnTo>
                  <a:pt x="9868" y="172"/>
                </a:lnTo>
                <a:lnTo>
                  <a:pt x="9477" y="318"/>
                </a:lnTo>
                <a:lnTo>
                  <a:pt x="9184" y="489"/>
                </a:lnTo>
                <a:lnTo>
                  <a:pt x="8891" y="660"/>
                </a:lnTo>
                <a:lnTo>
                  <a:pt x="8622" y="831"/>
                </a:lnTo>
                <a:lnTo>
                  <a:pt x="8525" y="953"/>
                </a:lnTo>
                <a:lnTo>
                  <a:pt x="8427" y="1051"/>
                </a:lnTo>
                <a:lnTo>
                  <a:pt x="416" y="8866"/>
                </a:lnTo>
                <a:lnTo>
                  <a:pt x="270" y="9086"/>
                </a:lnTo>
                <a:lnTo>
                  <a:pt x="123" y="9355"/>
                </a:lnTo>
                <a:lnTo>
                  <a:pt x="25" y="9624"/>
                </a:lnTo>
                <a:lnTo>
                  <a:pt x="1" y="9746"/>
                </a:lnTo>
                <a:lnTo>
                  <a:pt x="1" y="9917"/>
                </a:lnTo>
                <a:lnTo>
                  <a:pt x="1" y="10039"/>
                </a:lnTo>
                <a:lnTo>
                  <a:pt x="25" y="10136"/>
                </a:lnTo>
                <a:lnTo>
                  <a:pt x="123" y="10381"/>
                </a:lnTo>
                <a:lnTo>
                  <a:pt x="270" y="10625"/>
                </a:lnTo>
                <a:lnTo>
                  <a:pt x="416" y="10869"/>
                </a:lnTo>
                <a:lnTo>
                  <a:pt x="5911" y="16242"/>
                </a:lnTo>
                <a:lnTo>
                  <a:pt x="6009" y="16340"/>
                </a:lnTo>
                <a:lnTo>
                  <a:pt x="6131" y="16438"/>
                </a:lnTo>
                <a:lnTo>
                  <a:pt x="6253" y="16511"/>
                </a:lnTo>
                <a:lnTo>
                  <a:pt x="6400" y="16560"/>
                </a:lnTo>
                <a:lnTo>
                  <a:pt x="6522" y="16609"/>
                </a:lnTo>
                <a:lnTo>
                  <a:pt x="6668" y="16633"/>
                </a:lnTo>
                <a:lnTo>
                  <a:pt x="6961" y="16657"/>
                </a:lnTo>
                <a:lnTo>
                  <a:pt x="7206" y="16633"/>
                </a:lnTo>
                <a:lnTo>
                  <a:pt x="7474" y="16560"/>
                </a:lnTo>
                <a:lnTo>
                  <a:pt x="7596" y="16511"/>
                </a:lnTo>
                <a:lnTo>
                  <a:pt x="7719" y="16438"/>
                </a:lnTo>
                <a:lnTo>
                  <a:pt x="7816" y="16340"/>
                </a:lnTo>
                <a:lnTo>
                  <a:pt x="7914" y="16242"/>
                </a:lnTo>
                <a:lnTo>
                  <a:pt x="15803" y="8427"/>
                </a:lnTo>
                <a:lnTo>
                  <a:pt x="15974" y="8183"/>
                </a:lnTo>
                <a:lnTo>
                  <a:pt x="16169" y="7938"/>
                </a:lnTo>
                <a:lnTo>
                  <a:pt x="16242" y="7792"/>
                </a:lnTo>
                <a:lnTo>
                  <a:pt x="16340" y="7645"/>
                </a:lnTo>
                <a:lnTo>
                  <a:pt x="16389" y="7474"/>
                </a:lnTo>
                <a:lnTo>
                  <a:pt x="16438" y="7279"/>
                </a:lnTo>
                <a:lnTo>
                  <a:pt x="16584" y="6961"/>
                </a:lnTo>
                <a:lnTo>
                  <a:pt x="16682" y="6644"/>
                </a:lnTo>
                <a:lnTo>
                  <a:pt x="16731" y="6326"/>
                </a:lnTo>
                <a:lnTo>
                  <a:pt x="16755" y="6009"/>
                </a:lnTo>
                <a:lnTo>
                  <a:pt x="16755" y="1491"/>
                </a:lnTo>
                <a:lnTo>
                  <a:pt x="16731" y="1173"/>
                </a:lnTo>
                <a:lnTo>
                  <a:pt x="16706" y="1051"/>
                </a:lnTo>
                <a:lnTo>
                  <a:pt x="16657" y="905"/>
                </a:lnTo>
                <a:lnTo>
                  <a:pt x="16609" y="782"/>
                </a:lnTo>
                <a:lnTo>
                  <a:pt x="16535" y="660"/>
                </a:lnTo>
                <a:lnTo>
                  <a:pt x="16438" y="538"/>
                </a:lnTo>
                <a:lnTo>
                  <a:pt x="16340" y="416"/>
                </a:lnTo>
                <a:lnTo>
                  <a:pt x="16144" y="270"/>
                </a:lnTo>
                <a:lnTo>
                  <a:pt x="15900" y="123"/>
                </a:lnTo>
                <a:lnTo>
                  <a:pt x="15632" y="50"/>
                </a:lnTo>
                <a:lnTo>
                  <a:pt x="1550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66" name="Shape 395"/>
          <p:cNvSpPr/>
          <p:nvPr/>
        </p:nvSpPr>
        <p:spPr>
          <a:xfrm>
            <a:off x="4760290" y="2299003"/>
            <a:ext cx="318918" cy="286293"/>
          </a:xfrm>
          <a:custGeom>
            <a:avLst/>
            <a:gdLst/>
            <a:ahLst/>
            <a:cxnLst/>
            <a:rect l="0" t="0" r="0" b="0"/>
            <a:pathLst>
              <a:path w="16706" h="14997" extrusionOk="0">
                <a:moveTo>
                  <a:pt x="4299" y="0"/>
                </a:moveTo>
                <a:lnTo>
                  <a:pt x="3859" y="25"/>
                </a:lnTo>
                <a:lnTo>
                  <a:pt x="3444" y="74"/>
                </a:lnTo>
                <a:lnTo>
                  <a:pt x="3029" y="196"/>
                </a:lnTo>
                <a:lnTo>
                  <a:pt x="2614" y="342"/>
                </a:lnTo>
                <a:lnTo>
                  <a:pt x="2247" y="513"/>
                </a:lnTo>
                <a:lnTo>
                  <a:pt x="1905" y="733"/>
                </a:lnTo>
                <a:lnTo>
                  <a:pt x="1563" y="977"/>
                </a:lnTo>
                <a:lnTo>
                  <a:pt x="1270" y="1246"/>
                </a:lnTo>
                <a:lnTo>
                  <a:pt x="977" y="1563"/>
                </a:lnTo>
                <a:lnTo>
                  <a:pt x="733" y="1881"/>
                </a:lnTo>
                <a:lnTo>
                  <a:pt x="513" y="2247"/>
                </a:lnTo>
                <a:lnTo>
                  <a:pt x="342" y="2614"/>
                </a:lnTo>
                <a:lnTo>
                  <a:pt x="196" y="3004"/>
                </a:lnTo>
                <a:lnTo>
                  <a:pt x="98" y="3420"/>
                </a:lnTo>
                <a:lnTo>
                  <a:pt x="25" y="3859"/>
                </a:lnTo>
                <a:lnTo>
                  <a:pt x="0" y="4299"/>
                </a:lnTo>
                <a:lnTo>
                  <a:pt x="0" y="4592"/>
                </a:lnTo>
                <a:lnTo>
                  <a:pt x="25" y="4885"/>
                </a:lnTo>
                <a:lnTo>
                  <a:pt x="122" y="5447"/>
                </a:lnTo>
                <a:lnTo>
                  <a:pt x="245" y="6008"/>
                </a:lnTo>
                <a:lnTo>
                  <a:pt x="440" y="6546"/>
                </a:lnTo>
                <a:lnTo>
                  <a:pt x="660" y="7059"/>
                </a:lnTo>
                <a:lnTo>
                  <a:pt x="928" y="7547"/>
                </a:lnTo>
                <a:lnTo>
                  <a:pt x="1197" y="8011"/>
                </a:lnTo>
                <a:lnTo>
                  <a:pt x="1515" y="8475"/>
                </a:lnTo>
                <a:lnTo>
                  <a:pt x="1856" y="8915"/>
                </a:lnTo>
                <a:lnTo>
                  <a:pt x="2198" y="9330"/>
                </a:lnTo>
                <a:lnTo>
                  <a:pt x="2565" y="9745"/>
                </a:lnTo>
                <a:lnTo>
                  <a:pt x="2931" y="10136"/>
                </a:lnTo>
                <a:lnTo>
                  <a:pt x="3639" y="10869"/>
                </a:lnTo>
                <a:lnTo>
                  <a:pt x="4299" y="11528"/>
                </a:lnTo>
                <a:lnTo>
                  <a:pt x="4861" y="12065"/>
                </a:lnTo>
                <a:lnTo>
                  <a:pt x="5496" y="12627"/>
                </a:lnTo>
                <a:lnTo>
                  <a:pt x="6839" y="13775"/>
                </a:lnTo>
                <a:lnTo>
                  <a:pt x="7913" y="14654"/>
                </a:lnTo>
                <a:lnTo>
                  <a:pt x="8353" y="14996"/>
                </a:lnTo>
                <a:lnTo>
                  <a:pt x="8793" y="14654"/>
                </a:lnTo>
                <a:lnTo>
                  <a:pt x="9843" y="13799"/>
                </a:lnTo>
                <a:lnTo>
                  <a:pt x="11186" y="12651"/>
                </a:lnTo>
                <a:lnTo>
                  <a:pt x="11821" y="12090"/>
                </a:lnTo>
                <a:lnTo>
                  <a:pt x="12407" y="11528"/>
                </a:lnTo>
                <a:lnTo>
                  <a:pt x="13067" y="10869"/>
                </a:lnTo>
                <a:lnTo>
                  <a:pt x="13775" y="10136"/>
                </a:lnTo>
                <a:lnTo>
                  <a:pt x="14141" y="9745"/>
                </a:lnTo>
                <a:lnTo>
                  <a:pt x="14508" y="9330"/>
                </a:lnTo>
                <a:lnTo>
                  <a:pt x="14850" y="8915"/>
                </a:lnTo>
                <a:lnTo>
                  <a:pt x="15191" y="8475"/>
                </a:lnTo>
                <a:lnTo>
                  <a:pt x="15509" y="8011"/>
                </a:lnTo>
                <a:lnTo>
                  <a:pt x="15778" y="7547"/>
                </a:lnTo>
                <a:lnTo>
                  <a:pt x="16046" y="7059"/>
                </a:lnTo>
                <a:lnTo>
                  <a:pt x="16266" y="6546"/>
                </a:lnTo>
                <a:lnTo>
                  <a:pt x="16461" y="6008"/>
                </a:lnTo>
                <a:lnTo>
                  <a:pt x="16584" y="5447"/>
                </a:lnTo>
                <a:lnTo>
                  <a:pt x="16681" y="4885"/>
                </a:lnTo>
                <a:lnTo>
                  <a:pt x="16706" y="4592"/>
                </a:lnTo>
                <a:lnTo>
                  <a:pt x="16706" y="4299"/>
                </a:lnTo>
                <a:lnTo>
                  <a:pt x="16681" y="3859"/>
                </a:lnTo>
                <a:lnTo>
                  <a:pt x="16608" y="3420"/>
                </a:lnTo>
                <a:lnTo>
                  <a:pt x="16510" y="3004"/>
                </a:lnTo>
                <a:lnTo>
                  <a:pt x="16364" y="2614"/>
                </a:lnTo>
                <a:lnTo>
                  <a:pt x="16193" y="2247"/>
                </a:lnTo>
                <a:lnTo>
                  <a:pt x="15973" y="1881"/>
                </a:lnTo>
                <a:lnTo>
                  <a:pt x="15729" y="1563"/>
                </a:lnTo>
                <a:lnTo>
                  <a:pt x="15436" y="1246"/>
                </a:lnTo>
                <a:lnTo>
                  <a:pt x="15143" y="977"/>
                </a:lnTo>
                <a:lnTo>
                  <a:pt x="14801" y="733"/>
                </a:lnTo>
                <a:lnTo>
                  <a:pt x="14459" y="513"/>
                </a:lnTo>
                <a:lnTo>
                  <a:pt x="14092" y="342"/>
                </a:lnTo>
                <a:lnTo>
                  <a:pt x="13677" y="196"/>
                </a:lnTo>
                <a:lnTo>
                  <a:pt x="13262" y="74"/>
                </a:lnTo>
                <a:lnTo>
                  <a:pt x="12847" y="25"/>
                </a:lnTo>
                <a:lnTo>
                  <a:pt x="12407" y="0"/>
                </a:lnTo>
                <a:lnTo>
                  <a:pt x="12065" y="0"/>
                </a:lnTo>
                <a:lnTo>
                  <a:pt x="11723" y="49"/>
                </a:lnTo>
                <a:lnTo>
                  <a:pt x="11381" y="122"/>
                </a:lnTo>
                <a:lnTo>
                  <a:pt x="11064" y="196"/>
                </a:lnTo>
                <a:lnTo>
                  <a:pt x="10746" y="318"/>
                </a:lnTo>
                <a:lnTo>
                  <a:pt x="10453" y="464"/>
                </a:lnTo>
                <a:lnTo>
                  <a:pt x="10160" y="611"/>
                </a:lnTo>
                <a:lnTo>
                  <a:pt x="9892" y="806"/>
                </a:lnTo>
                <a:lnTo>
                  <a:pt x="9647" y="1002"/>
                </a:lnTo>
                <a:lnTo>
                  <a:pt x="9403" y="1221"/>
                </a:lnTo>
                <a:lnTo>
                  <a:pt x="9183" y="1466"/>
                </a:lnTo>
                <a:lnTo>
                  <a:pt x="8964" y="1710"/>
                </a:lnTo>
                <a:lnTo>
                  <a:pt x="8793" y="1979"/>
                </a:lnTo>
                <a:lnTo>
                  <a:pt x="8622" y="2272"/>
                </a:lnTo>
                <a:lnTo>
                  <a:pt x="8475" y="2565"/>
                </a:lnTo>
                <a:lnTo>
                  <a:pt x="8353" y="2858"/>
                </a:lnTo>
                <a:lnTo>
                  <a:pt x="8231" y="2565"/>
                </a:lnTo>
                <a:lnTo>
                  <a:pt x="8084" y="2272"/>
                </a:lnTo>
                <a:lnTo>
                  <a:pt x="7913" y="1979"/>
                </a:lnTo>
                <a:lnTo>
                  <a:pt x="7742" y="1710"/>
                </a:lnTo>
                <a:lnTo>
                  <a:pt x="7523" y="1466"/>
                </a:lnTo>
                <a:lnTo>
                  <a:pt x="7303" y="1221"/>
                </a:lnTo>
                <a:lnTo>
                  <a:pt x="7059" y="1002"/>
                </a:lnTo>
                <a:lnTo>
                  <a:pt x="6814" y="806"/>
                </a:lnTo>
                <a:lnTo>
                  <a:pt x="6546" y="611"/>
                </a:lnTo>
                <a:lnTo>
                  <a:pt x="6253" y="464"/>
                </a:lnTo>
                <a:lnTo>
                  <a:pt x="5960" y="318"/>
                </a:lnTo>
                <a:lnTo>
                  <a:pt x="5642" y="196"/>
                </a:lnTo>
                <a:lnTo>
                  <a:pt x="5325" y="122"/>
                </a:lnTo>
                <a:lnTo>
                  <a:pt x="4983" y="49"/>
                </a:lnTo>
                <a:lnTo>
                  <a:pt x="464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67" name="Shape 396"/>
          <p:cNvSpPr/>
          <p:nvPr/>
        </p:nvSpPr>
        <p:spPr>
          <a:xfrm>
            <a:off x="5279724" y="2301332"/>
            <a:ext cx="309602" cy="281616"/>
          </a:xfrm>
          <a:custGeom>
            <a:avLst/>
            <a:gdLst/>
            <a:ahLst/>
            <a:cxnLst/>
            <a:rect l="0" t="0" r="0" b="0"/>
            <a:pathLst>
              <a:path w="16218" h="14752" extrusionOk="0">
                <a:moveTo>
                  <a:pt x="7694" y="0"/>
                </a:moveTo>
                <a:lnTo>
                  <a:pt x="7279" y="25"/>
                </a:lnTo>
                <a:lnTo>
                  <a:pt x="6863" y="74"/>
                </a:lnTo>
                <a:lnTo>
                  <a:pt x="6473" y="123"/>
                </a:lnTo>
                <a:lnTo>
                  <a:pt x="6082" y="196"/>
                </a:lnTo>
                <a:lnTo>
                  <a:pt x="5691" y="293"/>
                </a:lnTo>
                <a:lnTo>
                  <a:pt x="5325" y="416"/>
                </a:lnTo>
                <a:lnTo>
                  <a:pt x="4958" y="538"/>
                </a:lnTo>
                <a:lnTo>
                  <a:pt x="4592" y="660"/>
                </a:lnTo>
                <a:lnTo>
                  <a:pt x="4250" y="831"/>
                </a:lnTo>
                <a:lnTo>
                  <a:pt x="3908" y="977"/>
                </a:lnTo>
                <a:lnTo>
                  <a:pt x="3566" y="1173"/>
                </a:lnTo>
                <a:lnTo>
                  <a:pt x="3249" y="1368"/>
                </a:lnTo>
                <a:lnTo>
                  <a:pt x="2956" y="1563"/>
                </a:lnTo>
                <a:lnTo>
                  <a:pt x="2663" y="1783"/>
                </a:lnTo>
                <a:lnTo>
                  <a:pt x="2370" y="2003"/>
                </a:lnTo>
                <a:lnTo>
                  <a:pt x="2101" y="2247"/>
                </a:lnTo>
                <a:lnTo>
                  <a:pt x="1857" y="2492"/>
                </a:lnTo>
                <a:lnTo>
                  <a:pt x="1612" y="2760"/>
                </a:lnTo>
                <a:lnTo>
                  <a:pt x="1393" y="3029"/>
                </a:lnTo>
                <a:lnTo>
                  <a:pt x="1173" y="3298"/>
                </a:lnTo>
                <a:lnTo>
                  <a:pt x="977" y="3591"/>
                </a:lnTo>
                <a:lnTo>
                  <a:pt x="807" y="3884"/>
                </a:lnTo>
                <a:lnTo>
                  <a:pt x="636" y="4201"/>
                </a:lnTo>
                <a:lnTo>
                  <a:pt x="489" y="4519"/>
                </a:lnTo>
                <a:lnTo>
                  <a:pt x="367" y="4836"/>
                </a:lnTo>
                <a:lnTo>
                  <a:pt x="245" y="5154"/>
                </a:lnTo>
                <a:lnTo>
                  <a:pt x="172" y="5496"/>
                </a:lnTo>
                <a:lnTo>
                  <a:pt x="98" y="5838"/>
                </a:lnTo>
                <a:lnTo>
                  <a:pt x="49" y="6179"/>
                </a:lnTo>
                <a:lnTo>
                  <a:pt x="1" y="6521"/>
                </a:lnTo>
                <a:lnTo>
                  <a:pt x="1" y="6888"/>
                </a:lnTo>
                <a:lnTo>
                  <a:pt x="1" y="7254"/>
                </a:lnTo>
                <a:lnTo>
                  <a:pt x="49" y="7645"/>
                </a:lnTo>
                <a:lnTo>
                  <a:pt x="98" y="8011"/>
                </a:lnTo>
                <a:lnTo>
                  <a:pt x="196" y="8353"/>
                </a:lnTo>
                <a:lnTo>
                  <a:pt x="294" y="8719"/>
                </a:lnTo>
                <a:lnTo>
                  <a:pt x="416" y="9061"/>
                </a:lnTo>
                <a:lnTo>
                  <a:pt x="562" y="9403"/>
                </a:lnTo>
                <a:lnTo>
                  <a:pt x="733" y="9745"/>
                </a:lnTo>
                <a:lnTo>
                  <a:pt x="904" y="10063"/>
                </a:lnTo>
                <a:lnTo>
                  <a:pt x="1100" y="10356"/>
                </a:lnTo>
                <a:lnTo>
                  <a:pt x="1344" y="10673"/>
                </a:lnTo>
                <a:lnTo>
                  <a:pt x="1564" y="10966"/>
                </a:lnTo>
                <a:lnTo>
                  <a:pt x="1832" y="11235"/>
                </a:lnTo>
                <a:lnTo>
                  <a:pt x="2101" y="11504"/>
                </a:lnTo>
                <a:lnTo>
                  <a:pt x="2394" y="11772"/>
                </a:lnTo>
                <a:lnTo>
                  <a:pt x="2687" y="12017"/>
                </a:lnTo>
                <a:lnTo>
                  <a:pt x="2492" y="12383"/>
                </a:lnTo>
                <a:lnTo>
                  <a:pt x="2272" y="12749"/>
                </a:lnTo>
                <a:lnTo>
                  <a:pt x="2028" y="13140"/>
                </a:lnTo>
                <a:lnTo>
                  <a:pt x="1710" y="13506"/>
                </a:lnTo>
                <a:lnTo>
                  <a:pt x="1368" y="13873"/>
                </a:lnTo>
                <a:lnTo>
                  <a:pt x="1173" y="14044"/>
                </a:lnTo>
                <a:lnTo>
                  <a:pt x="953" y="14190"/>
                </a:lnTo>
                <a:lnTo>
                  <a:pt x="733" y="14337"/>
                </a:lnTo>
                <a:lnTo>
                  <a:pt x="513" y="14483"/>
                </a:lnTo>
                <a:lnTo>
                  <a:pt x="269" y="14581"/>
                </a:lnTo>
                <a:lnTo>
                  <a:pt x="1" y="14703"/>
                </a:lnTo>
                <a:lnTo>
                  <a:pt x="123" y="14703"/>
                </a:lnTo>
                <a:lnTo>
                  <a:pt x="489" y="14752"/>
                </a:lnTo>
                <a:lnTo>
                  <a:pt x="1368" y="14752"/>
                </a:lnTo>
                <a:lnTo>
                  <a:pt x="1710" y="14728"/>
                </a:lnTo>
                <a:lnTo>
                  <a:pt x="2101" y="14654"/>
                </a:lnTo>
                <a:lnTo>
                  <a:pt x="2492" y="14581"/>
                </a:lnTo>
                <a:lnTo>
                  <a:pt x="2907" y="14459"/>
                </a:lnTo>
                <a:lnTo>
                  <a:pt x="3322" y="14312"/>
                </a:lnTo>
                <a:lnTo>
                  <a:pt x="3762" y="14117"/>
                </a:lnTo>
                <a:lnTo>
                  <a:pt x="4177" y="13873"/>
                </a:lnTo>
                <a:lnTo>
                  <a:pt x="4592" y="13604"/>
                </a:lnTo>
                <a:lnTo>
                  <a:pt x="4983" y="13238"/>
                </a:lnTo>
                <a:lnTo>
                  <a:pt x="5349" y="13360"/>
                </a:lnTo>
                <a:lnTo>
                  <a:pt x="5716" y="13482"/>
                </a:lnTo>
                <a:lnTo>
                  <a:pt x="6106" y="13555"/>
                </a:lnTo>
                <a:lnTo>
                  <a:pt x="6497" y="13628"/>
                </a:lnTo>
                <a:lnTo>
                  <a:pt x="6888" y="13702"/>
                </a:lnTo>
                <a:lnTo>
                  <a:pt x="7279" y="13751"/>
                </a:lnTo>
                <a:lnTo>
                  <a:pt x="7694" y="13775"/>
                </a:lnTo>
                <a:lnTo>
                  <a:pt x="8524" y="13775"/>
                </a:lnTo>
                <a:lnTo>
                  <a:pt x="8939" y="13751"/>
                </a:lnTo>
                <a:lnTo>
                  <a:pt x="9355" y="13702"/>
                </a:lnTo>
                <a:lnTo>
                  <a:pt x="9745" y="13628"/>
                </a:lnTo>
                <a:lnTo>
                  <a:pt x="10136" y="13555"/>
                </a:lnTo>
                <a:lnTo>
                  <a:pt x="10527" y="13458"/>
                </a:lnTo>
                <a:lnTo>
                  <a:pt x="10893" y="13360"/>
                </a:lnTo>
                <a:lnTo>
                  <a:pt x="11260" y="13238"/>
                </a:lnTo>
                <a:lnTo>
                  <a:pt x="11626" y="13091"/>
                </a:lnTo>
                <a:lnTo>
                  <a:pt x="11968" y="12945"/>
                </a:lnTo>
                <a:lnTo>
                  <a:pt x="12310" y="12774"/>
                </a:lnTo>
                <a:lnTo>
                  <a:pt x="12652" y="12603"/>
                </a:lnTo>
                <a:lnTo>
                  <a:pt x="12969" y="12407"/>
                </a:lnTo>
                <a:lnTo>
                  <a:pt x="13262" y="12212"/>
                </a:lnTo>
                <a:lnTo>
                  <a:pt x="13555" y="11992"/>
                </a:lnTo>
                <a:lnTo>
                  <a:pt x="13848" y="11748"/>
                </a:lnTo>
                <a:lnTo>
                  <a:pt x="14117" y="11528"/>
                </a:lnTo>
                <a:lnTo>
                  <a:pt x="14361" y="11259"/>
                </a:lnTo>
                <a:lnTo>
                  <a:pt x="14606" y="11015"/>
                </a:lnTo>
                <a:lnTo>
                  <a:pt x="14825" y="10747"/>
                </a:lnTo>
                <a:lnTo>
                  <a:pt x="15045" y="10453"/>
                </a:lnTo>
                <a:lnTo>
                  <a:pt x="15241" y="10160"/>
                </a:lnTo>
                <a:lnTo>
                  <a:pt x="15412" y="9867"/>
                </a:lnTo>
                <a:lnTo>
                  <a:pt x="15582" y="9574"/>
                </a:lnTo>
                <a:lnTo>
                  <a:pt x="15729" y="9257"/>
                </a:lnTo>
                <a:lnTo>
                  <a:pt x="15851" y="8939"/>
                </a:lnTo>
                <a:lnTo>
                  <a:pt x="15973" y="8597"/>
                </a:lnTo>
                <a:lnTo>
                  <a:pt x="16047" y="8280"/>
                </a:lnTo>
                <a:lnTo>
                  <a:pt x="16120" y="7938"/>
                </a:lnTo>
                <a:lnTo>
                  <a:pt x="16169" y="7596"/>
                </a:lnTo>
                <a:lnTo>
                  <a:pt x="16217" y="7230"/>
                </a:lnTo>
                <a:lnTo>
                  <a:pt x="16217" y="6888"/>
                </a:lnTo>
                <a:lnTo>
                  <a:pt x="16217" y="6521"/>
                </a:lnTo>
                <a:lnTo>
                  <a:pt x="16169" y="6179"/>
                </a:lnTo>
                <a:lnTo>
                  <a:pt x="16120" y="5838"/>
                </a:lnTo>
                <a:lnTo>
                  <a:pt x="16047" y="5496"/>
                </a:lnTo>
                <a:lnTo>
                  <a:pt x="15973" y="5154"/>
                </a:lnTo>
                <a:lnTo>
                  <a:pt x="15851" y="4836"/>
                </a:lnTo>
                <a:lnTo>
                  <a:pt x="15729" y="4519"/>
                </a:lnTo>
                <a:lnTo>
                  <a:pt x="15582" y="4201"/>
                </a:lnTo>
                <a:lnTo>
                  <a:pt x="15412" y="3884"/>
                </a:lnTo>
                <a:lnTo>
                  <a:pt x="15241" y="3591"/>
                </a:lnTo>
                <a:lnTo>
                  <a:pt x="15045" y="3298"/>
                </a:lnTo>
                <a:lnTo>
                  <a:pt x="14825" y="3029"/>
                </a:lnTo>
                <a:lnTo>
                  <a:pt x="14606" y="2760"/>
                </a:lnTo>
                <a:lnTo>
                  <a:pt x="14361" y="2492"/>
                </a:lnTo>
                <a:lnTo>
                  <a:pt x="14117" y="2247"/>
                </a:lnTo>
                <a:lnTo>
                  <a:pt x="13848" y="2003"/>
                </a:lnTo>
                <a:lnTo>
                  <a:pt x="13555" y="1783"/>
                </a:lnTo>
                <a:lnTo>
                  <a:pt x="13262" y="1563"/>
                </a:lnTo>
                <a:lnTo>
                  <a:pt x="12969" y="1368"/>
                </a:lnTo>
                <a:lnTo>
                  <a:pt x="12652" y="1173"/>
                </a:lnTo>
                <a:lnTo>
                  <a:pt x="12310" y="977"/>
                </a:lnTo>
                <a:lnTo>
                  <a:pt x="11968" y="831"/>
                </a:lnTo>
                <a:lnTo>
                  <a:pt x="11626" y="660"/>
                </a:lnTo>
                <a:lnTo>
                  <a:pt x="11260" y="538"/>
                </a:lnTo>
                <a:lnTo>
                  <a:pt x="10893" y="416"/>
                </a:lnTo>
                <a:lnTo>
                  <a:pt x="10527" y="293"/>
                </a:lnTo>
                <a:lnTo>
                  <a:pt x="10136" y="196"/>
                </a:lnTo>
                <a:lnTo>
                  <a:pt x="9745" y="123"/>
                </a:lnTo>
                <a:lnTo>
                  <a:pt x="9355" y="74"/>
                </a:lnTo>
                <a:lnTo>
                  <a:pt x="8939" y="25"/>
                </a:lnTo>
                <a:lnTo>
                  <a:pt x="852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68" name="Shape 397"/>
          <p:cNvSpPr/>
          <p:nvPr/>
        </p:nvSpPr>
        <p:spPr>
          <a:xfrm>
            <a:off x="5804752" y="2304120"/>
            <a:ext cx="289099" cy="276041"/>
          </a:xfrm>
          <a:custGeom>
            <a:avLst/>
            <a:gdLst/>
            <a:ahLst/>
            <a:cxnLst/>
            <a:rect l="0" t="0" r="0" b="0"/>
            <a:pathLst>
              <a:path w="15144" h="14460" extrusionOk="0">
                <a:moveTo>
                  <a:pt x="7572" y="1"/>
                </a:moveTo>
                <a:lnTo>
                  <a:pt x="7499" y="25"/>
                </a:lnTo>
                <a:lnTo>
                  <a:pt x="7401" y="74"/>
                </a:lnTo>
                <a:lnTo>
                  <a:pt x="7328" y="172"/>
                </a:lnTo>
                <a:lnTo>
                  <a:pt x="7255" y="294"/>
                </a:lnTo>
                <a:lnTo>
                  <a:pt x="5594" y="4104"/>
                </a:lnTo>
                <a:lnTo>
                  <a:pt x="5521" y="4226"/>
                </a:lnTo>
                <a:lnTo>
                  <a:pt x="5398" y="4373"/>
                </a:lnTo>
                <a:lnTo>
                  <a:pt x="5276" y="4495"/>
                </a:lnTo>
                <a:lnTo>
                  <a:pt x="5130" y="4617"/>
                </a:lnTo>
                <a:lnTo>
                  <a:pt x="4983" y="4715"/>
                </a:lnTo>
                <a:lnTo>
                  <a:pt x="4812" y="4788"/>
                </a:lnTo>
                <a:lnTo>
                  <a:pt x="4666" y="4861"/>
                </a:lnTo>
                <a:lnTo>
                  <a:pt x="4495" y="4886"/>
                </a:lnTo>
                <a:lnTo>
                  <a:pt x="392" y="5301"/>
                </a:lnTo>
                <a:lnTo>
                  <a:pt x="245" y="5325"/>
                </a:lnTo>
                <a:lnTo>
                  <a:pt x="123" y="5374"/>
                </a:lnTo>
                <a:lnTo>
                  <a:pt x="50" y="5423"/>
                </a:lnTo>
                <a:lnTo>
                  <a:pt x="1" y="5521"/>
                </a:lnTo>
                <a:lnTo>
                  <a:pt x="1" y="5594"/>
                </a:lnTo>
                <a:lnTo>
                  <a:pt x="25" y="5692"/>
                </a:lnTo>
                <a:lnTo>
                  <a:pt x="74" y="5789"/>
                </a:lnTo>
                <a:lnTo>
                  <a:pt x="196" y="5911"/>
                </a:lnTo>
                <a:lnTo>
                  <a:pt x="3274" y="8647"/>
                </a:lnTo>
                <a:lnTo>
                  <a:pt x="3396" y="8769"/>
                </a:lnTo>
                <a:lnTo>
                  <a:pt x="3493" y="8915"/>
                </a:lnTo>
                <a:lnTo>
                  <a:pt x="3567" y="9086"/>
                </a:lnTo>
                <a:lnTo>
                  <a:pt x="3640" y="9257"/>
                </a:lnTo>
                <a:lnTo>
                  <a:pt x="3689" y="9428"/>
                </a:lnTo>
                <a:lnTo>
                  <a:pt x="3713" y="9599"/>
                </a:lnTo>
                <a:lnTo>
                  <a:pt x="3713" y="9770"/>
                </a:lnTo>
                <a:lnTo>
                  <a:pt x="3689" y="9941"/>
                </a:lnTo>
                <a:lnTo>
                  <a:pt x="2810" y="13995"/>
                </a:lnTo>
                <a:lnTo>
                  <a:pt x="2785" y="14142"/>
                </a:lnTo>
                <a:lnTo>
                  <a:pt x="2810" y="14240"/>
                </a:lnTo>
                <a:lnTo>
                  <a:pt x="2834" y="14337"/>
                </a:lnTo>
                <a:lnTo>
                  <a:pt x="2883" y="14411"/>
                </a:lnTo>
                <a:lnTo>
                  <a:pt x="2981" y="14435"/>
                </a:lnTo>
                <a:lnTo>
                  <a:pt x="3078" y="14459"/>
                </a:lnTo>
                <a:lnTo>
                  <a:pt x="3200" y="14411"/>
                </a:lnTo>
                <a:lnTo>
                  <a:pt x="3322" y="14362"/>
                </a:lnTo>
                <a:lnTo>
                  <a:pt x="6888" y="12261"/>
                </a:lnTo>
                <a:lnTo>
                  <a:pt x="7035" y="12188"/>
                </a:lnTo>
                <a:lnTo>
                  <a:pt x="7206" y="12139"/>
                </a:lnTo>
                <a:lnTo>
                  <a:pt x="7401" y="12115"/>
                </a:lnTo>
                <a:lnTo>
                  <a:pt x="7743" y="12115"/>
                </a:lnTo>
                <a:lnTo>
                  <a:pt x="7938" y="12139"/>
                </a:lnTo>
                <a:lnTo>
                  <a:pt x="8109" y="12188"/>
                </a:lnTo>
                <a:lnTo>
                  <a:pt x="8256" y="12261"/>
                </a:lnTo>
                <a:lnTo>
                  <a:pt x="11822" y="14362"/>
                </a:lnTo>
                <a:lnTo>
                  <a:pt x="11944" y="14411"/>
                </a:lnTo>
                <a:lnTo>
                  <a:pt x="12066" y="14459"/>
                </a:lnTo>
                <a:lnTo>
                  <a:pt x="12164" y="14435"/>
                </a:lnTo>
                <a:lnTo>
                  <a:pt x="12261" y="14411"/>
                </a:lnTo>
                <a:lnTo>
                  <a:pt x="12310" y="14337"/>
                </a:lnTo>
                <a:lnTo>
                  <a:pt x="12335" y="14240"/>
                </a:lnTo>
                <a:lnTo>
                  <a:pt x="12359" y="14142"/>
                </a:lnTo>
                <a:lnTo>
                  <a:pt x="12335" y="13995"/>
                </a:lnTo>
                <a:lnTo>
                  <a:pt x="11455" y="9941"/>
                </a:lnTo>
                <a:lnTo>
                  <a:pt x="11431" y="9770"/>
                </a:lnTo>
                <a:lnTo>
                  <a:pt x="11431" y="9599"/>
                </a:lnTo>
                <a:lnTo>
                  <a:pt x="11455" y="9428"/>
                </a:lnTo>
                <a:lnTo>
                  <a:pt x="11504" y="9257"/>
                </a:lnTo>
                <a:lnTo>
                  <a:pt x="11577" y="9086"/>
                </a:lnTo>
                <a:lnTo>
                  <a:pt x="11651" y="8915"/>
                </a:lnTo>
                <a:lnTo>
                  <a:pt x="11748" y="8769"/>
                </a:lnTo>
                <a:lnTo>
                  <a:pt x="11870" y="8647"/>
                </a:lnTo>
                <a:lnTo>
                  <a:pt x="14948" y="5911"/>
                </a:lnTo>
                <a:lnTo>
                  <a:pt x="15070" y="5789"/>
                </a:lnTo>
                <a:lnTo>
                  <a:pt x="15119" y="5692"/>
                </a:lnTo>
                <a:lnTo>
                  <a:pt x="15143" y="5594"/>
                </a:lnTo>
                <a:lnTo>
                  <a:pt x="15143" y="5521"/>
                </a:lnTo>
                <a:lnTo>
                  <a:pt x="15094" y="5423"/>
                </a:lnTo>
                <a:lnTo>
                  <a:pt x="15021" y="5374"/>
                </a:lnTo>
                <a:lnTo>
                  <a:pt x="14899" y="5325"/>
                </a:lnTo>
                <a:lnTo>
                  <a:pt x="14752" y="5301"/>
                </a:lnTo>
                <a:lnTo>
                  <a:pt x="10649" y="4886"/>
                </a:lnTo>
                <a:lnTo>
                  <a:pt x="10478" y="4861"/>
                </a:lnTo>
                <a:lnTo>
                  <a:pt x="10332" y="4788"/>
                </a:lnTo>
                <a:lnTo>
                  <a:pt x="10161" y="4715"/>
                </a:lnTo>
                <a:lnTo>
                  <a:pt x="10014" y="4617"/>
                </a:lnTo>
                <a:lnTo>
                  <a:pt x="9868" y="4495"/>
                </a:lnTo>
                <a:lnTo>
                  <a:pt x="9746" y="4373"/>
                </a:lnTo>
                <a:lnTo>
                  <a:pt x="9624" y="4226"/>
                </a:lnTo>
                <a:lnTo>
                  <a:pt x="9550" y="4104"/>
                </a:lnTo>
                <a:lnTo>
                  <a:pt x="7890" y="294"/>
                </a:lnTo>
                <a:lnTo>
                  <a:pt x="7816" y="172"/>
                </a:lnTo>
                <a:lnTo>
                  <a:pt x="7743" y="74"/>
                </a:lnTo>
                <a:lnTo>
                  <a:pt x="7645" y="25"/>
                </a:lnTo>
                <a:lnTo>
                  <a:pt x="7572"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69" name="Shape 398"/>
          <p:cNvGrpSpPr/>
          <p:nvPr/>
        </p:nvGrpSpPr>
        <p:grpSpPr>
          <a:xfrm>
            <a:off x="6304211" y="2285413"/>
            <a:ext cx="318918" cy="319376"/>
            <a:chOff x="5302225" y="968375"/>
            <a:chExt cx="417650" cy="418250"/>
          </a:xfrm>
        </p:grpSpPr>
        <p:sp>
          <p:nvSpPr>
            <p:cNvPr id="70" name="Shape 399"/>
            <p:cNvSpPr/>
            <p:nvPr/>
          </p:nvSpPr>
          <p:spPr>
            <a:xfrm>
              <a:off x="5333350" y="991575"/>
              <a:ext cx="152075" cy="155100"/>
            </a:xfrm>
            <a:custGeom>
              <a:avLst/>
              <a:gdLst/>
              <a:ahLst/>
              <a:cxnLst/>
              <a:rect l="0" t="0" r="0" b="0"/>
              <a:pathLst>
                <a:path w="6083" h="6204" extrusionOk="0">
                  <a:moveTo>
                    <a:pt x="2541" y="0"/>
                  </a:moveTo>
                  <a:lnTo>
                    <a:pt x="2468" y="25"/>
                  </a:lnTo>
                  <a:lnTo>
                    <a:pt x="2443" y="147"/>
                  </a:lnTo>
                  <a:lnTo>
                    <a:pt x="2101" y="1807"/>
                  </a:lnTo>
                  <a:lnTo>
                    <a:pt x="2052" y="1930"/>
                  </a:lnTo>
                  <a:lnTo>
                    <a:pt x="1979" y="2052"/>
                  </a:lnTo>
                  <a:lnTo>
                    <a:pt x="1857" y="2174"/>
                  </a:lnTo>
                  <a:lnTo>
                    <a:pt x="1735" y="2223"/>
                  </a:lnTo>
                  <a:lnTo>
                    <a:pt x="123" y="2760"/>
                  </a:lnTo>
                  <a:lnTo>
                    <a:pt x="25" y="2833"/>
                  </a:lnTo>
                  <a:lnTo>
                    <a:pt x="1" y="2882"/>
                  </a:lnTo>
                  <a:lnTo>
                    <a:pt x="25" y="2955"/>
                  </a:lnTo>
                  <a:lnTo>
                    <a:pt x="99" y="3029"/>
                  </a:lnTo>
                  <a:lnTo>
                    <a:pt x="1588" y="3859"/>
                  </a:lnTo>
                  <a:lnTo>
                    <a:pt x="1711" y="3932"/>
                  </a:lnTo>
                  <a:lnTo>
                    <a:pt x="1808" y="4054"/>
                  </a:lnTo>
                  <a:lnTo>
                    <a:pt x="1857" y="4201"/>
                  </a:lnTo>
                  <a:lnTo>
                    <a:pt x="1882" y="4323"/>
                  </a:lnTo>
                  <a:lnTo>
                    <a:pt x="1906" y="6033"/>
                  </a:lnTo>
                  <a:lnTo>
                    <a:pt x="1930" y="6130"/>
                  </a:lnTo>
                  <a:lnTo>
                    <a:pt x="1979" y="6204"/>
                  </a:lnTo>
                  <a:lnTo>
                    <a:pt x="2052" y="6204"/>
                  </a:lnTo>
                  <a:lnTo>
                    <a:pt x="2126" y="6130"/>
                  </a:lnTo>
                  <a:lnTo>
                    <a:pt x="3371" y="4982"/>
                  </a:lnTo>
                  <a:lnTo>
                    <a:pt x="3493" y="4885"/>
                  </a:lnTo>
                  <a:lnTo>
                    <a:pt x="3640" y="4836"/>
                  </a:lnTo>
                  <a:lnTo>
                    <a:pt x="3787" y="4836"/>
                  </a:lnTo>
                  <a:lnTo>
                    <a:pt x="3933" y="4860"/>
                  </a:lnTo>
                  <a:lnTo>
                    <a:pt x="5545" y="5349"/>
                  </a:lnTo>
                  <a:lnTo>
                    <a:pt x="5667" y="5373"/>
                  </a:lnTo>
                  <a:lnTo>
                    <a:pt x="5716" y="5349"/>
                  </a:lnTo>
                  <a:lnTo>
                    <a:pt x="5740" y="5275"/>
                  </a:lnTo>
                  <a:lnTo>
                    <a:pt x="5716" y="5178"/>
                  </a:lnTo>
                  <a:lnTo>
                    <a:pt x="5008" y="3615"/>
                  </a:lnTo>
                  <a:lnTo>
                    <a:pt x="4959" y="3493"/>
                  </a:lnTo>
                  <a:lnTo>
                    <a:pt x="4959" y="3346"/>
                  </a:lnTo>
                  <a:lnTo>
                    <a:pt x="4983" y="3200"/>
                  </a:lnTo>
                  <a:lnTo>
                    <a:pt x="5057" y="3077"/>
                  </a:lnTo>
                  <a:lnTo>
                    <a:pt x="6033" y="1685"/>
                  </a:lnTo>
                  <a:lnTo>
                    <a:pt x="6082" y="1588"/>
                  </a:lnTo>
                  <a:lnTo>
                    <a:pt x="6082" y="1514"/>
                  </a:lnTo>
                  <a:lnTo>
                    <a:pt x="6009" y="1465"/>
                  </a:lnTo>
                  <a:lnTo>
                    <a:pt x="5911" y="1465"/>
                  </a:lnTo>
                  <a:lnTo>
                    <a:pt x="4202" y="1661"/>
                  </a:lnTo>
                  <a:lnTo>
                    <a:pt x="4080" y="1661"/>
                  </a:lnTo>
                  <a:lnTo>
                    <a:pt x="3933" y="1612"/>
                  </a:lnTo>
                  <a:lnTo>
                    <a:pt x="3811" y="1539"/>
                  </a:lnTo>
                  <a:lnTo>
                    <a:pt x="3713" y="1441"/>
                  </a:lnTo>
                  <a:lnTo>
                    <a:pt x="2687" y="73"/>
                  </a:lnTo>
                  <a:lnTo>
                    <a:pt x="261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71" name="Shape 400"/>
            <p:cNvSpPr/>
            <p:nvPr/>
          </p:nvSpPr>
          <p:spPr>
            <a:xfrm>
              <a:off x="5302225" y="968375"/>
              <a:ext cx="417650" cy="418250"/>
            </a:xfrm>
            <a:custGeom>
              <a:avLst/>
              <a:gdLst/>
              <a:ahLst/>
              <a:cxnLst/>
              <a:rect l="0" t="0" r="0" b="0"/>
              <a:pathLst>
                <a:path w="16706" h="16730" extrusionOk="0">
                  <a:moveTo>
                    <a:pt x="10331" y="0"/>
                  </a:moveTo>
                  <a:lnTo>
                    <a:pt x="10747" y="513"/>
                  </a:lnTo>
                  <a:lnTo>
                    <a:pt x="10942" y="782"/>
                  </a:lnTo>
                  <a:lnTo>
                    <a:pt x="11137" y="1050"/>
                  </a:lnTo>
                  <a:lnTo>
                    <a:pt x="11284" y="1343"/>
                  </a:lnTo>
                  <a:lnTo>
                    <a:pt x="11455" y="1636"/>
                  </a:lnTo>
                  <a:lnTo>
                    <a:pt x="11577" y="1929"/>
                  </a:lnTo>
                  <a:lnTo>
                    <a:pt x="11723" y="2223"/>
                  </a:lnTo>
                  <a:lnTo>
                    <a:pt x="11821" y="2540"/>
                  </a:lnTo>
                  <a:lnTo>
                    <a:pt x="11919" y="2858"/>
                  </a:lnTo>
                  <a:lnTo>
                    <a:pt x="12017" y="3199"/>
                  </a:lnTo>
                  <a:lnTo>
                    <a:pt x="12090" y="3517"/>
                  </a:lnTo>
                  <a:lnTo>
                    <a:pt x="12139" y="3859"/>
                  </a:lnTo>
                  <a:lnTo>
                    <a:pt x="12187" y="4201"/>
                  </a:lnTo>
                  <a:lnTo>
                    <a:pt x="12212" y="4543"/>
                  </a:lnTo>
                  <a:lnTo>
                    <a:pt x="12212" y="4909"/>
                  </a:lnTo>
                  <a:lnTo>
                    <a:pt x="12212" y="5275"/>
                  </a:lnTo>
                  <a:lnTo>
                    <a:pt x="12187" y="5642"/>
                  </a:lnTo>
                  <a:lnTo>
                    <a:pt x="12139" y="6008"/>
                  </a:lnTo>
                  <a:lnTo>
                    <a:pt x="12065" y="6374"/>
                  </a:lnTo>
                  <a:lnTo>
                    <a:pt x="11992" y="6741"/>
                  </a:lnTo>
                  <a:lnTo>
                    <a:pt x="11894" y="7083"/>
                  </a:lnTo>
                  <a:lnTo>
                    <a:pt x="11772" y="7425"/>
                  </a:lnTo>
                  <a:lnTo>
                    <a:pt x="11650" y="7742"/>
                  </a:lnTo>
                  <a:lnTo>
                    <a:pt x="11504" y="8084"/>
                  </a:lnTo>
                  <a:lnTo>
                    <a:pt x="11333" y="8402"/>
                  </a:lnTo>
                  <a:lnTo>
                    <a:pt x="11162" y="8695"/>
                  </a:lnTo>
                  <a:lnTo>
                    <a:pt x="10966" y="8988"/>
                  </a:lnTo>
                  <a:lnTo>
                    <a:pt x="10771" y="9281"/>
                  </a:lnTo>
                  <a:lnTo>
                    <a:pt x="10551" y="9549"/>
                  </a:lnTo>
                  <a:lnTo>
                    <a:pt x="10307" y="9818"/>
                  </a:lnTo>
                  <a:lnTo>
                    <a:pt x="10063" y="10087"/>
                  </a:lnTo>
                  <a:lnTo>
                    <a:pt x="9818" y="10331"/>
                  </a:lnTo>
                  <a:lnTo>
                    <a:pt x="9550" y="10551"/>
                  </a:lnTo>
                  <a:lnTo>
                    <a:pt x="9281" y="10771"/>
                  </a:lnTo>
                  <a:lnTo>
                    <a:pt x="8988" y="10966"/>
                  </a:lnTo>
                  <a:lnTo>
                    <a:pt x="8695" y="11161"/>
                  </a:lnTo>
                  <a:lnTo>
                    <a:pt x="8377" y="11332"/>
                  </a:lnTo>
                  <a:lnTo>
                    <a:pt x="8060" y="11503"/>
                  </a:lnTo>
                  <a:lnTo>
                    <a:pt x="7742" y="11650"/>
                  </a:lnTo>
                  <a:lnTo>
                    <a:pt x="7401" y="11772"/>
                  </a:lnTo>
                  <a:lnTo>
                    <a:pt x="7059" y="11894"/>
                  </a:lnTo>
                  <a:lnTo>
                    <a:pt x="6717" y="11992"/>
                  </a:lnTo>
                  <a:lnTo>
                    <a:pt x="6375" y="12065"/>
                  </a:lnTo>
                  <a:lnTo>
                    <a:pt x="6008" y="12138"/>
                  </a:lnTo>
                  <a:lnTo>
                    <a:pt x="5642" y="12187"/>
                  </a:lnTo>
                  <a:lnTo>
                    <a:pt x="5276" y="12212"/>
                  </a:lnTo>
                  <a:lnTo>
                    <a:pt x="4885" y="12236"/>
                  </a:lnTo>
                  <a:lnTo>
                    <a:pt x="4543" y="12212"/>
                  </a:lnTo>
                  <a:lnTo>
                    <a:pt x="4201" y="12187"/>
                  </a:lnTo>
                  <a:lnTo>
                    <a:pt x="3859" y="12163"/>
                  </a:lnTo>
                  <a:lnTo>
                    <a:pt x="3517" y="12089"/>
                  </a:lnTo>
                  <a:lnTo>
                    <a:pt x="3175" y="12016"/>
                  </a:lnTo>
                  <a:lnTo>
                    <a:pt x="2858" y="11943"/>
                  </a:lnTo>
                  <a:lnTo>
                    <a:pt x="2540" y="11845"/>
                  </a:lnTo>
                  <a:lnTo>
                    <a:pt x="2223" y="11723"/>
                  </a:lnTo>
                  <a:lnTo>
                    <a:pt x="1905" y="11601"/>
                  </a:lnTo>
                  <a:lnTo>
                    <a:pt x="1612" y="11454"/>
                  </a:lnTo>
                  <a:lnTo>
                    <a:pt x="1319" y="11308"/>
                  </a:lnTo>
                  <a:lnTo>
                    <a:pt x="1051" y="11137"/>
                  </a:lnTo>
                  <a:lnTo>
                    <a:pt x="757" y="10966"/>
                  </a:lnTo>
                  <a:lnTo>
                    <a:pt x="489" y="10771"/>
                  </a:lnTo>
                  <a:lnTo>
                    <a:pt x="0" y="10355"/>
                  </a:lnTo>
                  <a:lnTo>
                    <a:pt x="98" y="10697"/>
                  </a:lnTo>
                  <a:lnTo>
                    <a:pt x="196" y="11015"/>
                  </a:lnTo>
                  <a:lnTo>
                    <a:pt x="464" y="11674"/>
                  </a:lnTo>
                  <a:lnTo>
                    <a:pt x="757" y="12309"/>
                  </a:lnTo>
                  <a:lnTo>
                    <a:pt x="1124" y="12895"/>
                  </a:lnTo>
                  <a:lnTo>
                    <a:pt x="1515" y="13457"/>
                  </a:lnTo>
                  <a:lnTo>
                    <a:pt x="1979" y="13970"/>
                  </a:lnTo>
                  <a:lnTo>
                    <a:pt x="2443" y="14458"/>
                  </a:lnTo>
                  <a:lnTo>
                    <a:pt x="2980" y="14898"/>
                  </a:lnTo>
                  <a:lnTo>
                    <a:pt x="3542" y="15313"/>
                  </a:lnTo>
                  <a:lnTo>
                    <a:pt x="4128" y="15680"/>
                  </a:lnTo>
                  <a:lnTo>
                    <a:pt x="4738" y="15973"/>
                  </a:lnTo>
                  <a:lnTo>
                    <a:pt x="5398" y="16241"/>
                  </a:lnTo>
                  <a:lnTo>
                    <a:pt x="5740" y="16339"/>
                  </a:lnTo>
                  <a:lnTo>
                    <a:pt x="6082" y="16437"/>
                  </a:lnTo>
                  <a:lnTo>
                    <a:pt x="6424" y="16534"/>
                  </a:lnTo>
                  <a:lnTo>
                    <a:pt x="6766" y="16608"/>
                  </a:lnTo>
                  <a:lnTo>
                    <a:pt x="7132" y="16657"/>
                  </a:lnTo>
                  <a:lnTo>
                    <a:pt x="7474" y="16681"/>
                  </a:lnTo>
                  <a:lnTo>
                    <a:pt x="7840" y="16705"/>
                  </a:lnTo>
                  <a:lnTo>
                    <a:pt x="8231" y="16730"/>
                  </a:lnTo>
                  <a:lnTo>
                    <a:pt x="8646" y="16705"/>
                  </a:lnTo>
                  <a:lnTo>
                    <a:pt x="9086" y="16681"/>
                  </a:lnTo>
                  <a:lnTo>
                    <a:pt x="9501" y="16632"/>
                  </a:lnTo>
                  <a:lnTo>
                    <a:pt x="9941" y="16559"/>
                  </a:lnTo>
                  <a:lnTo>
                    <a:pt x="10331" y="16461"/>
                  </a:lnTo>
                  <a:lnTo>
                    <a:pt x="10747" y="16339"/>
                  </a:lnTo>
                  <a:lnTo>
                    <a:pt x="11137" y="16217"/>
                  </a:lnTo>
                  <a:lnTo>
                    <a:pt x="11528" y="16046"/>
                  </a:lnTo>
                  <a:lnTo>
                    <a:pt x="11894" y="15875"/>
                  </a:lnTo>
                  <a:lnTo>
                    <a:pt x="12261" y="15704"/>
                  </a:lnTo>
                  <a:lnTo>
                    <a:pt x="12627" y="15484"/>
                  </a:lnTo>
                  <a:lnTo>
                    <a:pt x="12969" y="15264"/>
                  </a:lnTo>
                  <a:lnTo>
                    <a:pt x="13311" y="15045"/>
                  </a:lnTo>
                  <a:lnTo>
                    <a:pt x="13628" y="14776"/>
                  </a:lnTo>
                  <a:lnTo>
                    <a:pt x="13922" y="14507"/>
                  </a:lnTo>
                  <a:lnTo>
                    <a:pt x="14215" y="14239"/>
                  </a:lnTo>
                  <a:lnTo>
                    <a:pt x="14508" y="13946"/>
                  </a:lnTo>
                  <a:lnTo>
                    <a:pt x="14776" y="13628"/>
                  </a:lnTo>
                  <a:lnTo>
                    <a:pt x="15021" y="13311"/>
                  </a:lnTo>
                  <a:lnTo>
                    <a:pt x="15265" y="12969"/>
                  </a:lnTo>
                  <a:lnTo>
                    <a:pt x="15485" y="12627"/>
                  </a:lnTo>
                  <a:lnTo>
                    <a:pt x="15680" y="12285"/>
                  </a:lnTo>
                  <a:lnTo>
                    <a:pt x="15875" y="11918"/>
                  </a:lnTo>
                  <a:lnTo>
                    <a:pt x="16046" y="11528"/>
                  </a:lnTo>
                  <a:lnTo>
                    <a:pt x="16193" y="11161"/>
                  </a:lnTo>
                  <a:lnTo>
                    <a:pt x="16339" y="10746"/>
                  </a:lnTo>
                  <a:lnTo>
                    <a:pt x="16437" y="10355"/>
                  </a:lnTo>
                  <a:lnTo>
                    <a:pt x="16535" y="9940"/>
                  </a:lnTo>
                  <a:lnTo>
                    <a:pt x="16608" y="9525"/>
                  </a:lnTo>
                  <a:lnTo>
                    <a:pt x="16657" y="9085"/>
                  </a:lnTo>
                  <a:lnTo>
                    <a:pt x="16706" y="8670"/>
                  </a:lnTo>
                  <a:lnTo>
                    <a:pt x="16706" y="8231"/>
                  </a:lnTo>
                  <a:lnTo>
                    <a:pt x="16706" y="7864"/>
                  </a:lnTo>
                  <a:lnTo>
                    <a:pt x="16681" y="7498"/>
                  </a:lnTo>
                  <a:lnTo>
                    <a:pt x="16632" y="7132"/>
                  </a:lnTo>
                  <a:lnTo>
                    <a:pt x="16584" y="6790"/>
                  </a:lnTo>
                  <a:lnTo>
                    <a:pt x="16510" y="6423"/>
                  </a:lnTo>
                  <a:lnTo>
                    <a:pt x="16437" y="6081"/>
                  </a:lnTo>
                  <a:lnTo>
                    <a:pt x="16339" y="5739"/>
                  </a:lnTo>
                  <a:lnTo>
                    <a:pt x="16242" y="5398"/>
                  </a:lnTo>
                  <a:lnTo>
                    <a:pt x="15973" y="4763"/>
                  </a:lnTo>
                  <a:lnTo>
                    <a:pt x="15656" y="4128"/>
                  </a:lnTo>
                  <a:lnTo>
                    <a:pt x="15314" y="3541"/>
                  </a:lnTo>
                  <a:lnTo>
                    <a:pt x="14898" y="2980"/>
                  </a:lnTo>
                  <a:lnTo>
                    <a:pt x="14459" y="2467"/>
                  </a:lnTo>
                  <a:lnTo>
                    <a:pt x="13970" y="1978"/>
                  </a:lnTo>
                  <a:lnTo>
                    <a:pt x="13433" y="1539"/>
                  </a:lnTo>
                  <a:lnTo>
                    <a:pt x="12871" y="1123"/>
                  </a:lnTo>
                  <a:lnTo>
                    <a:pt x="12285" y="782"/>
                  </a:lnTo>
                  <a:lnTo>
                    <a:pt x="11675" y="464"/>
                  </a:lnTo>
                  <a:lnTo>
                    <a:pt x="11015" y="220"/>
                  </a:lnTo>
                  <a:lnTo>
                    <a:pt x="10673" y="98"/>
                  </a:lnTo>
                  <a:lnTo>
                    <a:pt x="1033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72" name="Shape 401"/>
          <p:cNvGrpSpPr/>
          <p:nvPr/>
        </p:nvGrpSpPr>
        <p:grpSpPr>
          <a:xfrm>
            <a:off x="6780697" y="2249505"/>
            <a:ext cx="395392" cy="385122"/>
            <a:chOff x="5926225" y="921350"/>
            <a:chExt cx="517800" cy="504350"/>
          </a:xfrm>
        </p:grpSpPr>
        <p:sp>
          <p:nvSpPr>
            <p:cNvPr id="73" name="Shape 402"/>
            <p:cNvSpPr/>
            <p:nvPr/>
          </p:nvSpPr>
          <p:spPr>
            <a:xfrm>
              <a:off x="5926225" y="921350"/>
              <a:ext cx="517800" cy="504350"/>
            </a:xfrm>
            <a:custGeom>
              <a:avLst/>
              <a:gdLst/>
              <a:ahLst/>
              <a:cxnLst/>
              <a:rect l="0" t="0" r="0" b="0"/>
              <a:pathLst>
                <a:path w="20712" h="20174" extrusionOk="0">
                  <a:moveTo>
                    <a:pt x="10356" y="2858"/>
                  </a:moveTo>
                  <a:lnTo>
                    <a:pt x="10722" y="2882"/>
                  </a:lnTo>
                  <a:lnTo>
                    <a:pt x="11089" y="2907"/>
                  </a:lnTo>
                  <a:lnTo>
                    <a:pt x="11455" y="2956"/>
                  </a:lnTo>
                  <a:lnTo>
                    <a:pt x="11821" y="3004"/>
                  </a:lnTo>
                  <a:lnTo>
                    <a:pt x="12163" y="3102"/>
                  </a:lnTo>
                  <a:lnTo>
                    <a:pt x="12505" y="3200"/>
                  </a:lnTo>
                  <a:lnTo>
                    <a:pt x="12847" y="3298"/>
                  </a:lnTo>
                  <a:lnTo>
                    <a:pt x="13165" y="3444"/>
                  </a:lnTo>
                  <a:lnTo>
                    <a:pt x="13482" y="3591"/>
                  </a:lnTo>
                  <a:lnTo>
                    <a:pt x="13800" y="3737"/>
                  </a:lnTo>
                  <a:lnTo>
                    <a:pt x="14093" y="3908"/>
                  </a:lnTo>
                  <a:lnTo>
                    <a:pt x="14386" y="4104"/>
                  </a:lnTo>
                  <a:lnTo>
                    <a:pt x="14679" y="4299"/>
                  </a:lnTo>
                  <a:lnTo>
                    <a:pt x="14948" y="4519"/>
                  </a:lnTo>
                  <a:lnTo>
                    <a:pt x="15216" y="4739"/>
                  </a:lnTo>
                  <a:lnTo>
                    <a:pt x="15460" y="4983"/>
                  </a:lnTo>
                  <a:lnTo>
                    <a:pt x="15705" y="5227"/>
                  </a:lnTo>
                  <a:lnTo>
                    <a:pt x="15925" y="5496"/>
                  </a:lnTo>
                  <a:lnTo>
                    <a:pt x="16144" y="5764"/>
                  </a:lnTo>
                  <a:lnTo>
                    <a:pt x="16340" y="6057"/>
                  </a:lnTo>
                  <a:lnTo>
                    <a:pt x="16535" y="6350"/>
                  </a:lnTo>
                  <a:lnTo>
                    <a:pt x="16706" y="6644"/>
                  </a:lnTo>
                  <a:lnTo>
                    <a:pt x="16853" y="6961"/>
                  </a:lnTo>
                  <a:lnTo>
                    <a:pt x="16999" y="7279"/>
                  </a:lnTo>
                  <a:lnTo>
                    <a:pt x="17146" y="7596"/>
                  </a:lnTo>
                  <a:lnTo>
                    <a:pt x="17243" y="7938"/>
                  </a:lnTo>
                  <a:lnTo>
                    <a:pt x="17341" y="8280"/>
                  </a:lnTo>
                  <a:lnTo>
                    <a:pt x="17439" y="8622"/>
                  </a:lnTo>
                  <a:lnTo>
                    <a:pt x="17488" y="8988"/>
                  </a:lnTo>
                  <a:lnTo>
                    <a:pt x="17536" y="9354"/>
                  </a:lnTo>
                  <a:lnTo>
                    <a:pt x="17561" y="9721"/>
                  </a:lnTo>
                  <a:lnTo>
                    <a:pt x="17585" y="10087"/>
                  </a:lnTo>
                  <a:lnTo>
                    <a:pt x="17561" y="10454"/>
                  </a:lnTo>
                  <a:lnTo>
                    <a:pt x="17536" y="10820"/>
                  </a:lnTo>
                  <a:lnTo>
                    <a:pt x="17488" y="11186"/>
                  </a:lnTo>
                  <a:lnTo>
                    <a:pt x="17439" y="11553"/>
                  </a:lnTo>
                  <a:lnTo>
                    <a:pt x="17341" y="11894"/>
                  </a:lnTo>
                  <a:lnTo>
                    <a:pt x="17243" y="12236"/>
                  </a:lnTo>
                  <a:lnTo>
                    <a:pt x="17146" y="12578"/>
                  </a:lnTo>
                  <a:lnTo>
                    <a:pt x="16999" y="12896"/>
                  </a:lnTo>
                  <a:lnTo>
                    <a:pt x="16853" y="13213"/>
                  </a:lnTo>
                  <a:lnTo>
                    <a:pt x="16706" y="13531"/>
                  </a:lnTo>
                  <a:lnTo>
                    <a:pt x="16535" y="13824"/>
                  </a:lnTo>
                  <a:lnTo>
                    <a:pt x="16340" y="14117"/>
                  </a:lnTo>
                  <a:lnTo>
                    <a:pt x="16144" y="14410"/>
                  </a:lnTo>
                  <a:lnTo>
                    <a:pt x="15925" y="14679"/>
                  </a:lnTo>
                  <a:lnTo>
                    <a:pt x="15705" y="14947"/>
                  </a:lnTo>
                  <a:lnTo>
                    <a:pt x="15460" y="15192"/>
                  </a:lnTo>
                  <a:lnTo>
                    <a:pt x="15216" y="15436"/>
                  </a:lnTo>
                  <a:lnTo>
                    <a:pt x="14948" y="15656"/>
                  </a:lnTo>
                  <a:lnTo>
                    <a:pt x="14679" y="15875"/>
                  </a:lnTo>
                  <a:lnTo>
                    <a:pt x="14386" y="16071"/>
                  </a:lnTo>
                  <a:lnTo>
                    <a:pt x="14093" y="16266"/>
                  </a:lnTo>
                  <a:lnTo>
                    <a:pt x="13800" y="16437"/>
                  </a:lnTo>
                  <a:lnTo>
                    <a:pt x="13482" y="16584"/>
                  </a:lnTo>
                  <a:lnTo>
                    <a:pt x="13165" y="16730"/>
                  </a:lnTo>
                  <a:lnTo>
                    <a:pt x="12847" y="16877"/>
                  </a:lnTo>
                  <a:lnTo>
                    <a:pt x="12505" y="16974"/>
                  </a:lnTo>
                  <a:lnTo>
                    <a:pt x="12163" y="17072"/>
                  </a:lnTo>
                  <a:lnTo>
                    <a:pt x="11821" y="17170"/>
                  </a:lnTo>
                  <a:lnTo>
                    <a:pt x="11455" y="17219"/>
                  </a:lnTo>
                  <a:lnTo>
                    <a:pt x="11089" y="17268"/>
                  </a:lnTo>
                  <a:lnTo>
                    <a:pt x="10722" y="17292"/>
                  </a:lnTo>
                  <a:lnTo>
                    <a:pt x="10356" y="17316"/>
                  </a:lnTo>
                  <a:lnTo>
                    <a:pt x="9990" y="17292"/>
                  </a:lnTo>
                  <a:lnTo>
                    <a:pt x="9623" y="17268"/>
                  </a:lnTo>
                  <a:lnTo>
                    <a:pt x="9257" y="17219"/>
                  </a:lnTo>
                  <a:lnTo>
                    <a:pt x="8891" y="17170"/>
                  </a:lnTo>
                  <a:lnTo>
                    <a:pt x="8549" y="17072"/>
                  </a:lnTo>
                  <a:lnTo>
                    <a:pt x="8207" y="16974"/>
                  </a:lnTo>
                  <a:lnTo>
                    <a:pt x="7865" y="16877"/>
                  </a:lnTo>
                  <a:lnTo>
                    <a:pt x="7547" y="16730"/>
                  </a:lnTo>
                  <a:lnTo>
                    <a:pt x="7230" y="16584"/>
                  </a:lnTo>
                  <a:lnTo>
                    <a:pt x="6912" y="16437"/>
                  </a:lnTo>
                  <a:lnTo>
                    <a:pt x="6619" y="16266"/>
                  </a:lnTo>
                  <a:lnTo>
                    <a:pt x="6326" y="16071"/>
                  </a:lnTo>
                  <a:lnTo>
                    <a:pt x="6033" y="15875"/>
                  </a:lnTo>
                  <a:lnTo>
                    <a:pt x="5765" y="15656"/>
                  </a:lnTo>
                  <a:lnTo>
                    <a:pt x="5496" y="15436"/>
                  </a:lnTo>
                  <a:lnTo>
                    <a:pt x="5252" y="15192"/>
                  </a:lnTo>
                  <a:lnTo>
                    <a:pt x="5007" y="14947"/>
                  </a:lnTo>
                  <a:lnTo>
                    <a:pt x="4788" y="14679"/>
                  </a:lnTo>
                  <a:lnTo>
                    <a:pt x="4568" y="14410"/>
                  </a:lnTo>
                  <a:lnTo>
                    <a:pt x="4372" y="14117"/>
                  </a:lnTo>
                  <a:lnTo>
                    <a:pt x="4177" y="13824"/>
                  </a:lnTo>
                  <a:lnTo>
                    <a:pt x="4006" y="13531"/>
                  </a:lnTo>
                  <a:lnTo>
                    <a:pt x="3860" y="13213"/>
                  </a:lnTo>
                  <a:lnTo>
                    <a:pt x="3713" y="12896"/>
                  </a:lnTo>
                  <a:lnTo>
                    <a:pt x="3566" y="12578"/>
                  </a:lnTo>
                  <a:lnTo>
                    <a:pt x="3469" y="12236"/>
                  </a:lnTo>
                  <a:lnTo>
                    <a:pt x="3371" y="11894"/>
                  </a:lnTo>
                  <a:lnTo>
                    <a:pt x="3273" y="11553"/>
                  </a:lnTo>
                  <a:lnTo>
                    <a:pt x="3225" y="11186"/>
                  </a:lnTo>
                  <a:lnTo>
                    <a:pt x="3176" y="10820"/>
                  </a:lnTo>
                  <a:lnTo>
                    <a:pt x="3151" y="10454"/>
                  </a:lnTo>
                  <a:lnTo>
                    <a:pt x="3127" y="10087"/>
                  </a:lnTo>
                  <a:lnTo>
                    <a:pt x="3151" y="9721"/>
                  </a:lnTo>
                  <a:lnTo>
                    <a:pt x="3176" y="9354"/>
                  </a:lnTo>
                  <a:lnTo>
                    <a:pt x="3225" y="8988"/>
                  </a:lnTo>
                  <a:lnTo>
                    <a:pt x="3273" y="8622"/>
                  </a:lnTo>
                  <a:lnTo>
                    <a:pt x="3371" y="8280"/>
                  </a:lnTo>
                  <a:lnTo>
                    <a:pt x="3469" y="7938"/>
                  </a:lnTo>
                  <a:lnTo>
                    <a:pt x="3566" y="7596"/>
                  </a:lnTo>
                  <a:lnTo>
                    <a:pt x="3713" y="7279"/>
                  </a:lnTo>
                  <a:lnTo>
                    <a:pt x="3860" y="6961"/>
                  </a:lnTo>
                  <a:lnTo>
                    <a:pt x="4006" y="6644"/>
                  </a:lnTo>
                  <a:lnTo>
                    <a:pt x="4177" y="6350"/>
                  </a:lnTo>
                  <a:lnTo>
                    <a:pt x="4372" y="6057"/>
                  </a:lnTo>
                  <a:lnTo>
                    <a:pt x="4568" y="5764"/>
                  </a:lnTo>
                  <a:lnTo>
                    <a:pt x="4788" y="5496"/>
                  </a:lnTo>
                  <a:lnTo>
                    <a:pt x="5007" y="5227"/>
                  </a:lnTo>
                  <a:lnTo>
                    <a:pt x="5252" y="4983"/>
                  </a:lnTo>
                  <a:lnTo>
                    <a:pt x="5496" y="4739"/>
                  </a:lnTo>
                  <a:lnTo>
                    <a:pt x="5765" y="4519"/>
                  </a:lnTo>
                  <a:lnTo>
                    <a:pt x="6033" y="4299"/>
                  </a:lnTo>
                  <a:lnTo>
                    <a:pt x="6326" y="4104"/>
                  </a:lnTo>
                  <a:lnTo>
                    <a:pt x="6619" y="3908"/>
                  </a:lnTo>
                  <a:lnTo>
                    <a:pt x="6912" y="3737"/>
                  </a:lnTo>
                  <a:lnTo>
                    <a:pt x="7230" y="3591"/>
                  </a:lnTo>
                  <a:lnTo>
                    <a:pt x="7547" y="3444"/>
                  </a:lnTo>
                  <a:lnTo>
                    <a:pt x="7865" y="3298"/>
                  </a:lnTo>
                  <a:lnTo>
                    <a:pt x="8207" y="3200"/>
                  </a:lnTo>
                  <a:lnTo>
                    <a:pt x="8549" y="3102"/>
                  </a:lnTo>
                  <a:lnTo>
                    <a:pt x="8891" y="3004"/>
                  </a:lnTo>
                  <a:lnTo>
                    <a:pt x="9257" y="2956"/>
                  </a:lnTo>
                  <a:lnTo>
                    <a:pt x="9623" y="2907"/>
                  </a:lnTo>
                  <a:lnTo>
                    <a:pt x="9990" y="2882"/>
                  </a:lnTo>
                  <a:lnTo>
                    <a:pt x="10356" y="2858"/>
                  </a:lnTo>
                  <a:close/>
                  <a:moveTo>
                    <a:pt x="8060" y="0"/>
                  </a:moveTo>
                  <a:lnTo>
                    <a:pt x="6717" y="2516"/>
                  </a:lnTo>
                  <a:lnTo>
                    <a:pt x="3908" y="2003"/>
                  </a:lnTo>
                  <a:lnTo>
                    <a:pt x="3786" y="4861"/>
                  </a:lnTo>
                  <a:lnTo>
                    <a:pt x="1026" y="5593"/>
                  </a:lnTo>
                  <a:lnTo>
                    <a:pt x="2174" y="8207"/>
                  </a:lnTo>
                  <a:lnTo>
                    <a:pt x="1" y="10087"/>
                  </a:lnTo>
                  <a:lnTo>
                    <a:pt x="2174" y="11968"/>
                  </a:lnTo>
                  <a:lnTo>
                    <a:pt x="1026" y="14581"/>
                  </a:lnTo>
                  <a:lnTo>
                    <a:pt x="3786" y="15314"/>
                  </a:lnTo>
                  <a:lnTo>
                    <a:pt x="3908" y="18171"/>
                  </a:lnTo>
                  <a:lnTo>
                    <a:pt x="6717" y="17658"/>
                  </a:lnTo>
                  <a:lnTo>
                    <a:pt x="8060" y="20174"/>
                  </a:lnTo>
                  <a:lnTo>
                    <a:pt x="10356" y="18489"/>
                  </a:lnTo>
                  <a:lnTo>
                    <a:pt x="12652" y="20174"/>
                  </a:lnTo>
                  <a:lnTo>
                    <a:pt x="13995" y="17658"/>
                  </a:lnTo>
                  <a:lnTo>
                    <a:pt x="16804" y="18171"/>
                  </a:lnTo>
                  <a:lnTo>
                    <a:pt x="16926" y="15314"/>
                  </a:lnTo>
                  <a:lnTo>
                    <a:pt x="19686" y="14581"/>
                  </a:lnTo>
                  <a:lnTo>
                    <a:pt x="18538" y="11968"/>
                  </a:lnTo>
                  <a:lnTo>
                    <a:pt x="20711" y="10087"/>
                  </a:lnTo>
                  <a:lnTo>
                    <a:pt x="18538" y="8207"/>
                  </a:lnTo>
                  <a:lnTo>
                    <a:pt x="19686" y="5593"/>
                  </a:lnTo>
                  <a:lnTo>
                    <a:pt x="16926" y="4861"/>
                  </a:lnTo>
                  <a:lnTo>
                    <a:pt x="16804" y="2003"/>
                  </a:lnTo>
                  <a:lnTo>
                    <a:pt x="13995" y="2516"/>
                  </a:lnTo>
                  <a:lnTo>
                    <a:pt x="12652" y="0"/>
                  </a:lnTo>
                  <a:lnTo>
                    <a:pt x="10356" y="1686"/>
                  </a:lnTo>
                  <a:lnTo>
                    <a:pt x="806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74" name="Shape 403"/>
            <p:cNvSpPr/>
            <p:nvPr/>
          </p:nvSpPr>
          <p:spPr>
            <a:xfrm>
              <a:off x="6016600" y="1005000"/>
              <a:ext cx="337050" cy="337050"/>
            </a:xfrm>
            <a:custGeom>
              <a:avLst/>
              <a:gdLst/>
              <a:ahLst/>
              <a:cxnLst/>
              <a:rect l="0" t="0" r="0" b="0"/>
              <a:pathLst>
                <a:path w="13482" h="13482" extrusionOk="0">
                  <a:moveTo>
                    <a:pt x="6741" y="0"/>
                  </a:moveTo>
                  <a:lnTo>
                    <a:pt x="6399" y="25"/>
                  </a:lnTo>
                  <a:lnTo>
                    <a:pt x="6057" y="49"/>
                  </a:lnTo>
                  <a:lnTo>
                    <a:pt x="5715" y="98"/>
                  </a:lnTo>
                  <a:lnTo>
                    <a:pt x="5398" y="147"/>
                  </a:lnTo>
                  <a:lnTo>
                    <a:pt x="5056" y="220"/>
                  </a:lnTo>
                  <a:lnTo>
                    <a:pt x="4738" y="318"/>
                  </a:lnTo>
                  <a:lnTo>
                    <a:pt x="4421" y="416"/>
                  </a:lnTo>
                  <a:lnTo>
                    <a:pt x="4128" y="538"/>
                  </a:lnTo>
                  <a:lnTo>
                    <a:pt x="3835" y="684"/>
                  </a:lnTo>
                  <a:lnTo>
                    <a:pt x="3542" y="831"/>
                  </a:lnTo>
                  <a:lnTo>
                    <a:pt x="3249" y="977"/>
                  </a:lnTo>
                  <a:lnTo>
                    <a:pt x="2980" y="1173"/>
                  </a:lnTo>
                  <a:lnTo>
                    <a:pt x="2711" y="1344"/>
                  </a:lnTo>
                  <a:lnTo>
                    <a:pt x="2467" y="1539"/>
                  </a:lnTo>
                  <a:lnTo>
                    <a:pt x="2223" y="1759"/>
                  </a:lnTo>
                  <a:lnTo>
                    <a:pt x="1979" y="1979"/>
                  </a:lnTo>
                  <a:lnTo>
                    <a:pt x="1759" y="2223"/>
                  </a:lnTo>
                  <a:lnTo>
                    <a:pt x="1539" y="2467"/>
                  </a:lnTo>
                  <a:lnTo>
                    <a:pt x="1344" y="2711"/>
                  </a:lnTo>
                  <a:lnTo>
                    <a:pt x="1173" y="2980"/>
                  </a:lnTo>
                  <a:lnTo>
                    <a:pt x="977" y="3249"/>
                  </a:lnTo>
                  <a:lnTo>
                    <a:pt x="831" y="3542"/>
                  </a:lnTo>
                  <a:lnTo>
                    <a:pt x="684" y="3835"/>
                  </a:lnTo>
                  <a:lnTo>
                    <a:pt x="538" y="4128"/>
                  </a:lnTo>
                  <a:lnTo>
                    <a:pt x="416" y="4421"/>
                  </a:lnTo>
                  <a:lnTo>
                    <a:pt x="318" y="4738"/>
                  </a:lnTo>
                  <a:lnTo>
                    <a:pt x="220" y="5056"/>
                  </a:lnTo>
                  <a:lnTo>
                    <a:pt x="147" y="5398"/>
                  </a:lnTo>
                  <a:lnTo>
                    <a:pt x="98" y="5715"/>
                  </a:lnTo>
                  <a:lnTo>
                    <a:pt x="49" y="6057"/>
                  </a:lnTo>
                  <a:lnTo>
                    <a:pt x="25" y="6399"/>
                  </a:lnTo>
                  <a:lnTo>
                    <a:pt x="0" y="6741"/>
                  </a:lnTo>
                  <a:lnTo>
                    <a:pt x="25" y="7083"/>
                  </a:lnTo>
                  <a:lnTo>
                    <a:pt x="49" y="7425"/>
                  </a:lnTo>
                  <a:lnTo>
                    <a:pt x="98" y="7767"/>
                  </a:lnTo>
                  <a:lnTo>
                    <a:pt x="147" y="8084"/>
                  </a:lnTo>
                  <a:lnTo>
                    <a:pt x="220" y="8426"/>
                  </a:lnTo>
                  <a:lnTo>
                    <a:pt x="318" y="8744"/>
                  </a:lnTo>
                  <a:lnTo>
                    <a:pt x="416" y="9061"/>
                  </a:lnTo>
                  <a:lnTo>
                    <a:pt x="538" y="9354"/>
                  </a:lnTo>
                  <a:lnTo>
                    <a:pt x="684" y="9648"/>
                  </a:lnTo>
                  <a:lnTo>
                    <a:pt x="831" y="9941"/>
                  </a:lnTo>
                  <a:lnTo>
                    <a:pt x="977" y="10234"/>
                  </a:lnTo>
                  <a:lnTo>
                    <a:pt x="1173" y="10502"/>
                  </a:lnTo>
                  <a:lnTo>
                    <a:pt x="1344" y="10771"/>
                  </a:lnTo>
                  <a:lnTo>
                    <a:pt x="1539" y="11015"/>
                  </a:lnTo>
                  <a:lnTo>
                    <a:pt x="1759" y="11259"/>
                  </a:lnTo>
                  <a:lnTo>
                    <a:pt x="1979" y="11504"/>
                  </a:lnTo>
                  <a:lnTo>
                    <a:pt x="2223" y="11723"/>
                  </a:lnTo>
                  <a:lnTo>
                    <a:pt x="2467" y="11943"/>
                  </a:lnTo>
                  <a:lnTo>
                    <a:pt x="2711" y="12139"/>
                  </a:lnTo>
                  <a:lnTo>
                    <a:pt x="2980" y="12310"/>
                  </a:lnTo>
                  <a:lnTo>
                    <a:pt x="3249" y="12505"/>
                  </a:lnTo>
                  <a:lnTo>
                    <a:pt x="3542" y="12652"/>
                  </a:lnTo>
                  <a:lnTo>
                    <a:pt x="3835" y="12798"/>
                  </a:lnTo>
                  <a:lnTo>
                    <a:pt x="4128" y="12945"/>
                  </a:lnTo>
                  <a:lnTo>
                    <a:pt x="4421" y="13067"/>
                  </a:lnTo>
                  <a:lnTo>
                    <a:pt x="4738" y="13164"/>
                  </a:lnTo>
                  <a:lnTo>
                    <a:pt x="5056" y="13262"/>
                  </a:lnTo>
                  <a:lnTo>
                    <a:pt x="5398" y="13335"/>
                  </a:lnTo>
                  <a:lnTo>
                    <a:pt x="5715" y="13384"/>
                  </a:lnTo>
                  <a:lnTo>
                    <a:pt x="6057" y="13433"/>
                  </a:lnTo>
                  <a:lnTo>
                    <a:pt x="6399" y="13458"/>
                  </a:lnTo>
                  <a:lnTo>
                    <a:pt x="6741" y="13482"/>
                  </a:lnTo>
                  <a:lnTo>
                    <a:pt x="7083" y="13458"/>
                  </a:lnTo>
                  <a:lnTo>
                    <a:pt x="7425" y="13433"/>
                  </a:lnTo>
                  <a:lnTo>
                    <a:pt x="7767" y="13384"/>
                  </a:lnTo>
                  <a:lnTo>
                    <a:pt x="8084" y="13335"/>
                  </a:lnTo>
                  <a:lnTo>
                    <a:pt x="8426" y="13262"/>
                  </a:lnTo>
                  <a:lnTo>
                    <a:pt x="8744" y="13164"/>
                  </a:lnTo>
                  <a:lnTo>
                    <a:pt x="9061" y="13067"/>
                  </a:lnTo>
                  <a:lnTo>
                    <a:pt x="9354" y="12945"/>
                  </a:lnTo>
                  <a:lnTo>
                    <a:pt x="9647" y="12798"/>
                  </a:lnTo>
                  <a:lnTo>
                    <a:pt x="9940" y="12652"/>
                  </a:lnTo>
                  <a:lnTo>
                    <a:pt x="10234" y="12505"/>
                  </a:lnTo>
                  <a:lnTo>
                    <a:pt x="10502" y="12310"/>
                  </a:lnTo>
                  <a:lnTo>
                    <a:pt x="10771" y="12139"/>
                  </a:lnTo>
                  <a:lnTo>
                    <a:pt x="11015" y="11943"/>
                  </a:lnTo>
                  <a:lnTo>
                    <a:pt x="11259" y="11723"/>
                  </a:lnTo>
                  <a:lnTo>
                    <a:pt x="11504" y="11504"/>
                  </a:lnTo>
                  <a:lnTo>
                    <a:pt x="11723" y="11259"/>
                  </a:lnTo>
                  <a:lnTo>
                    <a:pt x="11943" y="11015"/>
                  </a:lnTo>
                  <a:lnTo>
                    <a:pt x="12139" y="10771"/>
                  </a:lnTo>
                  <a:lnTo>
                    <a:pt x="12310" y="10502"/>
                  </a:lnTo>
                  <a:lnTo>
                    <a:pt x="12505" y="10234"/>
                  </a:lnTo>
                  <a:lnTo>
                    <a:pt x="12651" y="9941"/>
                  </a:lnTo>
                  <a:lnTo>
                    <a:pt x="12798" y="9648"/>
                  </a:lnTo>
                  <a:lnTo>
                    <a:pt x="12945" y="9354"/>
                  </a:lnTo>
                  <a:lnTo>
                    <a:pt x="13067" y="9061"/>
                  </a:lnTo>
                  <a:lnTo>
                    <a:pt x="13164" y="8744"/>
                  </a:lnTo>
                  <a:lnTo>
                    <a:pt x="13262" y="8426"/>
                  </a:lnTo>
                  <a:lnTo>
                    <a:pt x="13335" y="8084"/>
                  </a:lnTo>
                  <a:lnTo>
                    <a:pt x="13384" y="7767"/>
                  </a:lnTo>
                  <a:lnTo>
                    <a:pt x="13433" y="7425"/>
                  </a:lnTo>
                  <a:lnTo>
                    <a:pt x="13457" y="7083"/>
                  </a:lnTo>
                  <a:lnTo>
                    <a:pt x="13482" y="6741"/>
                  </a:lnTo>
                  <a:lnTo>
                    <a:pt x="13457" y="6399"/>
                  </a:lnTo>
                  <a:lnTo>
                    <a:pt x="13433" y="6057"/>
                  </a:lnTo>
                  <a:lnTo>
                    <a:pt x="13384" y="5715"/>
                  </a:lnTo>
                  <a:lnTo>
                    <a:pt x="13335" y="5398"/>
                  </a:lnTo>
                  <a:lnTo>
                    <a:pt x="13262" y="5056"/>
                  </a:lnTo>
                  <a:lnTo>
                    <a:pt x="13164" y="4738"/>
                  </a:lnTo>
                  <a:lnTo>
                    <a:pt x="13067" y="4421"/>
                  </a:lnTo>
                  <a:lnTo>
                    <a:pt x="12945" y="4128"/>
                  </a:lnTo>
                  <a:lnTo>
                    <a:pt x="12798" y="3835"/>
                  </a:lnTo>
                  <a:lnTo>
                    <a:pt x="12651" y="3542"/>
                  </a:lnTo>
                  <a:lnTo>
                    <a:pt x="12505" y="3249"/>
                  </a:lnTo>
                  <a:lnTo>
                    <a:pt x="12310" y="2980"/>
                  </a:lnTo>
                  <a:lnTo>
                    <a:pt x="12139" y="2711"/>
                  </a:lnTo>
                  <a:lnTo>
                    <a:pt x="11943" y="2467"/>
                  </a:lnTo>
                  <a:lnTo>
                    <a:pt x="11723" y="2223"/>
                  </a:lnTo>
                  <a:lnTo>
                    <a:pt x="11504" y="1979"/>
                  </a:lnTo>
                  <a:lnTo>
                    <a:pt x="11259" y="1759"/>
                  </a:lnTo>
                  <a:lnTo>
                    <a:pt x="11015" y="1539"/>
                  </a:lnTo>
                  <a:lnTo>
                    <a:pt x="10771" y="1344"/>
                  </a:lnTo>
                  <a:lnTo>
                    <a:pt x="10502" y="1173"/>
                  </a:lnTo>
                  <a:lnTo>
                    <a:pt x="10234" y="977"/>
                  </a:lnTo>
                  <a:lnTo>
                    <a:pt x="9940" y="831"/>
                  </a:lnTo>
                  <a:lnTo>
                    <a:pt x="9647" y="684"/>
                  </a:lnTo>
                  <a:lnTo>
                    <a:pt x="9354" y="538"/>
                  </a:lnTo>
                  <a:lnTo>
                    <a:pt x="9061" y="416"/>
                  </a:lnTo>
                  <a:lnTo>
                    <a:pt x="8744" y="318"/>
                  </a:lnTo>
                  <a:lnTo>
                    <a:pt x="8426" y="220"/>
                  </a:lnTo>
                  <a:lnTo>
                    <a:pt x="8084" y="147"/>
                  </a:lnTo>
                  <a:lnTo>
                    <a:pt x="7767" y="98"/>
                  </a:lnTo>
                  <a:lnTo>
                    <a:pt x="7425" y="49"/>
                  </a:lnTo>
                  <a:lnTo>
                    <a:pt x="7083" y="25"/>
                  </a:lnTo>
                  <a:lnTo>
                    <a:pt x="674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75" name="Shape 404"/>
          <p:cNvGrpSpPr/>
          <p:nvPr/>
        </p:nvGrpSpPr>
        <p:grpSpPr>
          <a:xfrm>
            <a:off x="7308479" y="2256969"/>
            <a:ext cx="369277" cy="370212"/>
            <a:chOff x="6617400" y="931125"/>
            <a:chExt cx="483600" cy="484825"/>
          </a:xfrm>
        </p:grpSpPr>
        <p:sp>
          <p:nvSpPr>
            <p:cNvPr id="76" name="Shape 405"/>
            <p:cNvSpPr/>
            <p:nvPr/>
          </p:nvSpPr>
          <p:spPr>
            <a:xfrm>
              <a:off x="6843925" y="1183900"/>
              <a:ext cx="121525" cy="232050"/>
            </a:xfrm>
            <a:custGeom>
              <a:avLst/>
              <a:gdLst/>
              <a:ahLst/>
              <a:cxnLst/>
              <a:rect l="0" t="0" r="0" b="0"/>
              <a:pathLst>
                <a:path w="4861" h="9282" extrusionOk="0">
                  <a:moveTo>
                    <a:pt x="1" y="0"/>
                  </a:moveTo>
                  <a:lnTo>
                    <a:pt x="1" y="6863"/>
                  </a:lnTo>
                  <a:lnTo>
                    <a:pt x="25" y="7107"/>
                  </a:lnTo>
                  <a:lnTo>
                    <a:pt x="49" y="7327"/>
                  </a:lnTo>
                  <a:lnTo>
                    <a:pt x="123" y="7572"/>
                  </a:lnTo>
                  <a:lnTo>
                    <a:pt x="196" y="7791"/>
                  </a:lnTo>
                  <a:lnTo>
                    <a:pt x="294" y="8011"/>
                  </a:lnTo>
                  <a:lnTo>
                    <a:pt x="416" y="8207"/>
                  </a:lnTo>
                  <a:lnTo>
                    <a:pt x="562" y="8402"/>
                  </a:lnTo>
                  <a:lnTo>
                    <a:pt x="709" y="8573"/>
                  </a:lnTo>
                  <a:lnTo>
                    <a:pt x="880" y="8719"/>
                  </a:lnTo>
                  <a:lnTo>
                    <a:pt x="1075" y="8866"/>
                  </a:lnTo>
                  <a:lnTo>
                    <a:pt x="1271" y="8988"/>
                  </a:lnTo>
                  <a:lnTo>
                    <a:pt x="1490" y="9086"/>
                  </a:lnTo>
                  <a:lnTo>
                    <a:pt x="1710" y="9159"/>
                  </a:lnTo>
                  <a:lnTo>
                    <a:pt x="1930" y="9232"/>
                  </a:lnTo>
                  <a:lnTo>
                    <a:pt x="2174" y="9257"/>
                  </a:lnTo>
                  <a:lnTo>
                    <a:pt x="2418" y="9281"/>
                  </a:lnTo>
                  <a:lnTo>
                    <a:pt x="2663" y="9257"/>
                  </a:lnTo>
                  <a:lnTo>
                    <a:pt x="2907" y="9232"/>
                  </a:lnTo>
                  <a:lnTo>
                    <a:pt x="3151" y="9159"/>
                  </a:lnTo>
                  <a:lnTo>
                    <a:pt x="3371" y="9086"/>
                  </a:lnTo>
                  <a:lnTo>
                    <a:pt x="3591" y="8988"/>
                  </a:lnTo>
                  <a:lnTo>
                    <a:pt x="3786" y="8866"/>
                  </a:lnTo>
                  <a:lnTo>
                    <a:pt x="3957" y="8719"/>
                  </a:lnTo>
                  <a:lnTo>
                    <a:pt x="4128" y="8573"/>
                  </a:lnTo>
                  <a:lnTo>
                    <a:pt x="4299" y="8402"/>
                  </a:lnTo>
                  <a:lnTo>
                    <a:pt x="4446" y="8207"/>
                  </a:lnTo>
                  <a:lnTo>
                    <a:pt x="4568" y="8011"/>
                  </a:lnTo>
                  <a:lnTo>
                    <a:pt x="4665" y="7791"/>
                  </a:lnTo>
                  <a:lnTo>
                    <a:pt x="4739" y="7572"/>
                  </a:lnTo>
                  <a:lnTo>
                    <a:pt x="4812" y="7327"/>
                  </a:lnTo>
                  <a:lnTo>
                    <a:pt x="4836" y="7107"/>
                  </a:lnTo>
                  <a:lnTo>
                    <a:pt x="4861" y="6863"/>
                  </a:lnTo>
                  <a:lnTo>
                    <a:pt x="4836" y="6717"/>
                  </a:lnTo>
                  <a:lnTo>
                    <a:pt x="4812" y="6619"/>
                  </a:lnTo>
                  <a:lnTo>
                    <a:pt x="4739" y="6521"/>
                  </a:lnTo>
                  <a:lnTo>
                    <a:pt x="4665" y="6424"/>
                  </a:lnTo>
                  <a:lnTo>
                    <a:pt x="4592" y="6350"/>
                  </a:lnTo>
                  <a:lnTo>
                    <a:pt x="4470" y="6302"/>
                  </a:lnTo>
                  <a:lnTo>
                    <a:pt x="4372" y="6253"/>
                  </a:lnTo>
                  <a:lnTo>
                    <a:pt x="4128" y="6253"/>
                  </a:lnTo>
                  <a:lnTo>
                    <a:pt x="4006" y="6302"/>
                  </a:lnTo>
                  <a:lnTo>
                    <a:pt x="3908" y="6350"/>
                  </a:lnTo>
                  <a:lnTo>
                    <a:pt x="3811" y="6424"/>
                  </a:lnTo>
                  <a:lnTo>
                    <a:pt x="3737" y="6521"/>
                  </a:lnTo>
                  <a:lnTo>
                    <a:pt x="3688" y="6619"/>
                  </a:lnTo>
                  <a:lnTo>
                    <a:pt x="3640" y="6717"/>
                  </a:lnTo>
                  <a:lnTo>
                    <a:pt x="3640" y="6863"/>
                  </a:lnTo>
                  <a:lnTo>
                    <a:pt x="3615" y="7083"/>
                  </a:lnTo>
                  <a:lnTo>
                    <a:pt x="3542" y="7327"/>
                  </a:lnTo>
                  <a:lnTo>
                    <a:pt x="3420" y="7523"/>
                  </a:lnTo>
                  <a:lnTo>
                    <a:pt x="3273" y="7718"/>
                  </a:lnTo>
                  <a:lnTo>
                    <a:pt x="3102" y="7865"/>
                  </a:lnTo>
                  <a:lnTo>
                    <a:pt x="2907" y="7962"/>
                  </a:lnTo>
                  <a:lnTo>
                    <a:pt x="2663" y="8036"/>
                  </a:lnTo>
                  <a:lnTo>
                    <a:pt x="2418" y="8060"/>
                  </a:lnTo>
                  <a:lnTo>
                    <a:pt x="2174" y="8036"/>
                  </a:lnTo>
                  <a:lnTo>
                    <a:pt x="1954" y="7962"/>
                  </a:lnTo>
                  <a:lnTo>
                    <a:pt x="1759" y="7865"/>
                  </a:lnTo>
                  <a:lnTo>
                    <a:pt x="1564" y="7718"/>
                  </a:lnTo>
                  <a:lnTo>
                    <a:pt x="1417" y="7523"/>
                  </a:lnTo>
                  <a:lnTo>
                    <a:pt x="1319" y="7327"/>
                  </a:lnTo>
                  <a:lnTo>
                    <a:pt x="1246" y="7083"/>
                  </a:lnTo>
                  <a:lnTo>
                    <a:pt x="1222" y="6863"/>
                  </a:lnTo>
                  <a:lnTo>
                    <a:pt x="1222" y="0"/>
                  </a:lnTo>
                  <a:lnTo>
                    <a:pt x="953" y="220"/>
                  </a:lnTo>
                  <a:lnTo>
                    <a:pt x="880" y="293"/>
                  </a:lnTo>
                  <a:lnTo>
                    <a:pt x="806" y="342"/>
                  </a:lnTo>
                  <a:lnTo>
                    <a:pt x="709" y="367"/>
                  </a:lnTo>
                  <a:lnTo>
                    <a:pt x="513" y="367"/>
                  </a:lnTo>
                  <a:lnTo>
                    <a:pt x="416" y="342"/>
                  </a:lnTo>
                  <a:lnTo>
                    <a:pt x="342" y="293"/>
                  </a:lnTo>
                  <a:lnTo>
                    <a:pt x="269" y="220"/>
                  </a:lnTo>
                  <a:lnTo>
                    <a:pt x="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77" name="Shape 406"/>
            <p:cNvSpPr/>
            <p:nvPr/>
          </p:nvSpPr>
          <p:spPr>
            <a:xfrm>
              <a:off x="6617400" y="931125"/>
              <a:ext cx="483600" cy="259500"/>
            </a:xfrm>
            <a:custGeom>
              <a:avLst/>
              <a:gdLst/>
              <a:ahLst/>
              <a:cxnLst/>
              <a:rect l="0" t="0" r="0" b="0"/>
              <a:pathLst>
                <a:path w="19344" h="10380" extrusionOk="0">
                  <a:moveTo>
                    <a:pt x="5252" y="9769"/>
                  </a:moveTo>
                  <a:lnTo>
                    <a:pt x="5252" y="9769"/>
                  </a:lnTo>
                  <a:lnTo>
                    <a:pt x="5252" y="9769"/>
                  </a:lnTo>
                  <a:close/>
                  <a:moveTo>
                    <a:pt x="9672" y="0"/>
                  </a:moveTo>
                  <a:lnTo>
                    <a:pt x="9550" y="25"/>
                  </a:lnTo>
                  <a:lnTo>
                    <a:pt x="9428" y="49"/>
                  </a:lnTo>
                  <a:lnTo>
                    <a:pt x="9330" y="122"/>
                  </a:lnTo>
                  <a:lnTo>
                    <a:pt x="9232" y="196"/>
                  </a:lnTo>
                  <a:lnTo>
                    <a:pt x="9159" y="269"/>
                  </a:lnTo>
                  <a:lnTo>
                    <a:pt x="9110" y="367"/>
                  </a:lnTo>
                  <a:lnTo>
                    <a:pt x="9086" y="489"/>
                  </a:lnTo>
                  <a:lnTo>
                    <a:pt x="9062" y="611"/>
                  </a:lnTo>
                  <a:lnTo>
                    <a:pt x="9062" y="1246"/>
                  </a:lnTo>
                  <a:lnTo>
                    <a:pt x="8622" y="1270"/>
                  </a:lnTo>
                  <a:lnTo>
                    <a:pt x="8182" y="1343"/>
                  </a:lnTo>
                  <a:lnTo>
                    <a:pt x="7767" y="1417"/>
                  </a:lnTo>
                  <a:lnTo>
                    <a:pt x="7328" y="1514"/>
                  </a:lnTo>
                  <a:lnTo>
                    <a:pt x="6912" y="1612"/>
                  </a:lnTo>
                  <a:lnTo>
                    <a:pt x="6497" y="1759"/>
                  </a:lnTo>
                  <a:lnTo>
                    <a:pt x="6082" y="1905"/>
                  </a:lnTo>
                  <a:lnTo>
                    <a:pt x="5691" y="2076"/>
                  </a:lnTo>
                  <a:lnTo>
                    <a:pt x="5300" y="2247"/>
                  </a:lnTo>
                  <a:lnTo>
                    <a:pt x="4910" y="2467"/>
                  </a:lnTo>
                  <a:lnTo>
                    <a:pt x="4543" y="2687"/>
                  </a:lnTo>
                  <a:lnTo>
                    <a:pt x="4177" y="2931"/>
                  </a:lnTo>
                  <a:lnTo>
                    <a:pt x="3811" y="3175"/>
                  </a:lnTo>
                  <a:lnTo>
                    <a:pt x="3469" y="3468"/>
                  </a:lnTo>
                  <a:lnTo>
                    <a:pt x="3151" y="3761"/>
                  </a:lnTo>
                  <a:lnTo>
                    <a:pt x="2834" y="4054"/>
                  </a:lnTo>
                  <a:lnTo>
                    <a:pt x="2516" y="4372"/>
                  </a:lnTo>
                  <a:lnTo>
                    <a:pt x="2223" y="4714"/>
                  </a:lnTo>
                  <a:lnTo>
                    <a:pt x="1930" y="5080"/>
                  </a:lnTo>
                  <a:lnTo>
                    <a:pt x="1686" y="5422"/>
                  </a:lnTo>
                  <a:lnTo>
                    <a:pt x="1442" y="5788"/>
                  </a:lnTo>
                  <a:lnTo>
                    <a:pt x="1222" y="6179"/>
                  </a:lnTo>
                  <a:lnTo>
                    <a:pt x="1002" y="6570"/>
                  </a:lnTo>
                  <a:lnTo>
                    <a:pt x="807" y="6961"/>
                  </a:lnTo>
                  <a:lnTo>
                    <a:pt x="660" y="7376"/>
                  </a:lnTo>
                  <a:lnTo>
                    <a:pt x="489" y="7791"/>
                  </a:lnTo>
                  <a:lnTo>
                    <a:pt x="367" y="8206"/>
                  </a:lnTo>
                  <a:lnTo>
                    <a:pt x="245" y="8622"/>
                  </a:lnTo>
                  <a:lnTo>
                    <a:pt x="172" y="9061"/>
                  </a:lnTo>
                  <a:lnTo>
                    <a:pt x="98" y="9501"/>
                  </a:lnTo>
                  <a:lnTo>
                    <a:pt x="25" y="9940"/>
                  </a:lnTo>
                  <a:lnTo>
                    <a:pt x="1" y="10380"/>
                  </a:lnTo>
                  <a:lnTo>
                    <a:pt x="196" y="10111"/>
                  </a:lnTo>
                  <a:lnTo>
                    <a:pt x="465" y="9867"/>
                  </a:lnTo>
                  <a:lnTo>
                    <a:pt x="758" y="9647"/>
                  </a:lnTo>
                  <a:lnTo>
                    <a:pt x="1075" y="9452"/>
                  </a:lnTo>
                  <a:lnTo>
                    <a:pt x="1442" y="9305"/>
                  </a:lnTo>
                  <a:lnTo>
                    <a:pt x="1808" y="9183"/>
                  </a:lnTo>
                  <a:lnTo>
                    <a:pt x="2223" y="9110"/>
                  </a:lnTo>
                  <a:lnTo>
                    <a:pt x="2638" y="9086"/>
                  </a:lnTo>
                  <a:lnTo>
                    <a:pt x="2956" y="9110"/>
                  </a:lnTo>
                  <a:lnTo>
                    <a:pt x="3249" y="9134"/>
                  </a:lnTo>
                  <a:lnTo>
                    <a:pt x="3542" y="9208"/>
                  </a:lnTo>
                  <a:lnTo>
                    <a:pt x="3811" y="9281"/>
                  </a:lnTo>
                  <a:lnTo>
                    <a:pt x="4079" y="9379"/>
                  </a:lnTo>
                  <a:lnTo>
                    <a:pt x="4323" y="9501"/>
                  </a:lnTo>
                  <a:lnTo>
                    <a:pt x="4543" y="9647"/>
                  </a:lnTo>
                  <a:lnTo>
                    <a:pt x="4763" y="9794"/>
                  </a:lnTo>
                  <a:lnTo>
                    <a:pt x="4812" y="9305"/>
                  </a:lnTo>
                  <a:lnTo>
                    <a:pt x="4934" y="8573"/>
                  </a:lnTo>
                  <a:lnTo>
                    <a:pt x="5007" y="8109"/>
                  </a:lnTo>
                  <a:lnTo>
                    <a:pt x="5129" y="7620"/>
                  </a:lnTo>
                  <a:lnTo>
                    <a:pt x="5276" y="7107"/>
                  </a:lnTo>
                  <a:lnTo>
                    <a:pt x="5447" y="6546"/>
                  </a:lnTo>
                  <a:lnTo>
                    <a:pt x="5642" y="5984"/>
                  </a:lnTo>
                  <a:lnTo>
                    <a:pt x="5887" y="5373"/>
                  </a:lnTo>
                  <a:lnTo>
                    <a:pt x="6180" y="4763"/>
                  </a:lnTo>
                  <a:lnTo>
                    <a:pt x="6522" y="4152"/>
                  </a:lnTo>
                  <a:lnTo>
                    <a:pt x="6888" y="3542"/>
                  </a:lnTo>
                  <a:lnTo>
                    <a:pt x="7303" y="2931"/>
                  </a:lnTo>
                  <a:lnTo>
                    <a:pt x="7792" y="2345"/>
                  </a:lnTo>
                  <a:lnTo>
                    <a:pt x="8329" y="1783"/>
                  </a:lnTo>
                  <a:lnTo>
                    <a:pt x="8402" y="1710"/>
                  </a:lnTo>
                  <a:lnTo>
                    <a:pt x="8597" y="1710"/>
                  </a:lnTo>
                  <a:lnTo>
                    <a:pt x="8671" y="1783"/>
                  </a:lnTo>
                  <a:lnTo>
                    <a:pt x="8720" y="1856"/>
                  </a:lnTo>
                  <a:lnTo>
                    <a:pt x="8744" y="1954"/>
                  </a:lnTo>
                  <a:lnTo>
                    <a:pt x="8720" y="2027"/>
                  </a:lnTo>
                  <a:lnTo>
                    <a:pt x="8671" y="2125"/>
                  </a:lnTo>
                  <a:lnTo>
                    <a:pt x="8182" y="2662"/>
                  </a:lnTo>
                  <a:lnTo>
                    <a:pt x="7718" y="3200"/>
                  </a:lnTo>
                  <a:lnTo>
                    <a:pt x="7328" y="3786"/>
                  </a:lnTo>
                  <a:lnTo>
                    <a:pt x="6961" y="4348"/>
                  </a:lnTo>
                  <a:lnTo>
                    <a:pt x="6668" y="4934"/>
                  </a:lnTo>
                  <a:lnTo>
                    <a:pt x="6375" y="5495"/>
                  </a:lnTo>
                  <a:lnTo>
                    <a:pt x="6155" y="6082"/>
                  </a:lnTo>
                  <a:lnTo>
                    <a:pt x="5960" y="6619"/>
                  </a:lnTo>
                  <a:lnTo>
                    <a:pt x="5789" y="7156"/>
                  </a:lnTo>
                  <a:lnTo>
                    <a:pt x="5642" y="7645"/>
                  </a:lnTo>
                  <a:lnTo>
                    <a:pt x="5520" y="8109"/>
                  </a:lnTo>
                  <a:lnTo>
                    <a:pt x="5423" y="8548"/>
                  </a:lnTo>
                  <a:lnTo>
                    <a:pt x="5300" y="9257"/>
                  </a:lnTo>
                  <a:lnTo>
                    <a:pt x="5252" y="9769"/>
                  </a:lnTo>
                  <a:lnTo>
                    <a:pt x="5471" y="9623"/>
                  </a:lnTo>
                  <a:lnTo>
                    <a:pt x="5691" y="9476"/>
                  </a:lnTo>
                  <a:lnTo>
                    <a:pt x="5935" y="9379"/>
                  </a:lnTo>
                  <a:lnTo>
                    <a:pt x="6180" y="9281"/>
                  </a:lnTo>
                  <a:lnTo>
                    <a:pt x="6448" y="9208"/>
                  </a:lnTo>
                  <a:lnTo>
                    <a:pt x="6741" y="9134"/>
                  </a:lnTo>
                  <a:lnTo>
                    <a:pt x="7034" y="9110"/>
                  </a:lnTo>
                  <a:lnTo>
                    <a:pt x="7328" y="9086"/>
                  </a:lnTo>
                  <a:lnTo>
                    <a:pt x="7645" y="9110"/>
                  </a:lnTo>
                  <a:lnTo>
                    <a:pt x="7938" y="9134"/>
                  </a:lnTo>
                  <a:lnTo>
                    <a:pt x="8207" y="9208"/>
                  </a:lnTo>
                  <a:lnTo>
                    <a:pt x="8475" y="9281"/>
                  </a:lnTo>
                  <a:lnTo>
                    <a:pt x="8744" y="9379"/>
                  </a:lnTo>
                  <a:lnTo>
                    <a:pt x="8988" y="9501"/>
                  </a:lnTo>
                  <a:lnTo>
                    <a:pt x="9208" y="9623"/>
                  </a:lnTo>
                  <a:lnTo>
                    <a:pt x="9428" y="9794"/>
                  </a:lnTo>
                  <a:lnTo>
                    <a:pt x="9428" y="1954"/>
                  </a:lnTo>
                  <a:lnTo>
                    <a:pt x="9452" y="1856"/>
                  </a:lnTo>
                  <a:lnTo>
                    <a:pt x="9501" y="1783"/>
                  </a:lnTo>
                  <a:lnTo>
                    <a:pt x="9574" y="1710"/>
                  </a:lnTo>
                  <a:lnTo>
                    <a:pt x="9770" y="1710"/>
                  </a:lnTo>
                  <a:lnTo>
                    <a:pt x="9843" y="1783"/>
                  </a:lnTo>
                  <a:lnTo>
                    <a:pt x="9892" y="1856"/>
                  </a:lnTo>
                  <a:lnTo>
                    <a:pt x="9916" y="1954"/>
                  </a:lnTo>
                  <a:lnTo>
                    <a:pt x="9916" y="9794"/>
                  </a:lnTo>
                  <a:lnTo>
                    <a:pt x="10136" y="9623"/>
                  </a:lnTo>
                  <a:lnTo>
                    <a:pt x="10356" y="9501"/>
                  </a:lnTo>
                  <a:lnTo>
                    <a:pt x="10600" y="9379"/>
                  </a:lnTo>
                  <a:lnTo>
                    <a:pt x="10869" y="9281"/>
                  </a:lnTo>
                  <a:lnTo>
                    <a:pt x="11137" y="9208"/>
                  </a:lnTo>
                  <a:lnTo>
                    <a:pt x="11406" y="9134"/>
                  </a:lnTo>
                  <a:lnTo>
                    <a:pt x="11699" y="9110"/>
                  </a:lnTo>
                  <a:lnTo>
                    <a:pt x="12017" y="9086"/>
                  </a:lnTo>
                  <a:lnTo>
                    <a:pt x="12310" y="9110"/>
                  </a:lnTo>
                  <a:lnTo>
                    <a:pt x="12603" y="9134"/>
                  </a:lnTo>
                  <a:lnTo>
                    <a:pt x="12896" y="9208"/>
                  </a:lnTo>
                  <a:lnTo>
                    <a:pt x="13165" y="9281"/>
                  </a:lnTo>
                  <a:lnTo>
                    <a:pt x="13409" y="9379"/>
                  </a:lnTo>
                  <a:lnTo>
                    <a:pt x="13653" y="9476"/>
                  </a:lnTo>
                  <a:lnTo>
                    <a:pt x="13873" y="9623"/>
                  </a:lnTo>
                  <a:lnTo>
                    <a:pt x="14093" y="9769"/>
                  </a:lnTo>
                  <a:lnTo>
                    <a:pt x="14019" y="9257"/>
                  </a:lnTo>
                  <a:lnTo>
                    <a:pt x="13897" y="8548"/>
                  </a:lnTo>
                  <a:lnTo>
                    <a:pt x="13824" y="8109"/>
                  </a:lnTo>
                  <a:lnTo>
                    <a:pt x="13702" y="7645"/>
                  </a:lnTo>
                  <a:lnTo>
                    <a:pt x="13555" y="7132"/>
                  </a:lnTo>
                  <a:lnTo>
                    <a:pt x="13384" y="6619"/>
                  </a:lnTo>
                  <a:lnTo>
                    <a:pt x="13189" y="6057"/>
                  </a:lnTo>
                  <a:lnTo>
                    <a:pt x="12945" y="5495"/>
                  </a:lnTo>
                  <a:lnTo>
                    <a:pt x="12676" y="4934"/>
                  </a:lnTo>
                  <a:lnTo>
                    <a:pt x="12359" y="4348"/>
                  </a:lnTo>
                  <a:lnTo>
                    <a:pt x="12017" y="3786"/>
                  </a:lnTo>
                  <a:lnTo>
                    <a:pt x="11626" y="3200"/>
                  </a:lnTo>
                  <a:lnTo>
                    <a:pt x="11162" y="2662"/>
                  </a:lnTo>
                  <a:lnTo>
                    <a:pt x="10673" y="2125"/>
                  </a:lnTo>
                  <a:lnTo>
                    <a:pt x="10625" y="2027"/>
                  </a:lnTo>
                  <a:lnTo>
                    <a:pt x="10600" y="1954"/>
                  </a:lnTo>
                  <a:lnTo>
                    <a:pt x="10625" y="1856"/>
                  </a:lnTo>
                  <a:lnTo>
                    <a:pt x="10673" y="1783"/>
                  </a:lnTo>
                  <a:lnTo>
                    <a:pt x="10747" y="1710"/>
                  </a:lnTo>
                  <a:lnTo>
                    <a:pt x="10942" y="1710"/>
                  </a:lnTo>
                  <a:lnTo>
                    <a:pt x="11015" y="1783"/>
                  </a:lnTo>
                  <a:lnTo>
                    <a:pt x="11553" y="2345"/>
                  </a:lnTo>
                  <a:lnTo>
                    <a:pt x="12017" y="2931"/>
                  </a:lnTo>
                  <a:lnTo>
                    <a:pt x="12456" y="3542"/>
                  </a:lnTo>
                  <a:lnTo>
                    <a:pt x="12823" y="4152"/>
                  </a:lnTo>
                  <a:lnTo>
                    <a:pt x="13165" y="4787"/>
                  </a:lnTo>
                  <a:lnTo>
                    <a:pt x="13458" y="5373"/>
                  </a:lnTo>
                  <a:lnTo>
                    <a:pt x="13702" y="5984"/>
                  </a:lnTo>
                  <a:lnTo>
                    <a:pt x="13897" y="6546"/>
                  </a:lnTo>
                  <a:lnTo>
                    <a:pt x="14068" y="7107"/>
                  </a:lnTo>
                  <a:lnTo>
                    <a:pt x="14215" y="7620"/>
                  </a:lnTo>
                  <a:lnTo>
                    <a:pt x="14337" y="8109"/>
                  </a:lnTo>
                  <a:lnTo>
                    <a:pt x="14410" y="8573"/>
                  </a:lnTo>
                  <a:lnTo>
                    <a:pt x="14532" y="9305"/>
                  </a:lnTo>
                  <a:lnTo>
                    <a:pt x="14581" y="9794"/>
                  </a:lnTo>
                  <a:lnTo>
                    <a:pt x="14801" y="9647"/>
                  </a:lnTo>
                  <a:lnTo>
                    <a:pt x="15021" y="9501"/>
                  </a:lnTo>
                  <a:lnTo>
                    <a:pt x="15265" y="9379"/>
                  </a:lnTo>
                  <a:lnTo>
                    <a:pt x="15534" y="9281"/>
                  </a:lnTo>
                  <a:lnTo>
                    <a:pt x="15802" y="9208"/>
                  </a:lnTo>
                  <a:lnTo>
                    <a:pt x="16095" y="9134"/>
                  </a:lnTo>
                  <a:lnTo>
                    <a:pt x="16388" y="9110"/>
                  </a:lnTo>
                  <a:lnTo>
                    <a:pt x="16706" y="9086"/>
                  </a:lnTo>
                  <a:lnTo>
                    <a:pt x="17121" y="9110"/>
                  </a:lnTo>
                  <a:lnTo>
                    <a:pt x="17536" y="9183"/>
                  </a:lnTo>
                  <a:lnTo>
                    <a:pt x="17903" y="9305"/>
                  </a:lnTo>
                  <a:lnTo>
                    <a:pt x="18269" y="9452"/>
                  </a:lnTo>
                  <a:lnTo>
                    <a:pt x="18587" y="9647"/>
                  </a:lnTo>
                  <a:lnTo>
                    <a:pt x="18880" y="9867"/>
                  </a:lnTo>
                  <a:lnTo>
                    <a:pt x="19148" y="10111"/>
                  </a:lnTo>
                  <a:lnTo>
                    <a:pt x="19344" y="10380"/>
                  </a:lnTo>
                  <a:lnTo>
                    <a:pt x="19319" y="9940"/>
                  </a:lnTo>
                  <a:lnTo>
                    <a:pt x="19246" y="9501"/>
                  </a:lnTo>
                  <a:lnTo>
                    <a:pt x="19173" y="9061"/>
                  </a:lnTo>
                  <a:lnTo>
                    <a:pt x="19099" y="8622"/>
                  </a:lnTo>
                  <a:lnTo>
                    <a:pt x="18977" y="8206"/>
                  </a:lnTo>
                  <a:lnTo>
                    <a:pt x="18855" y="7791"/>
                  </a:lnTo>
                  <a:lnTo>
                    <a:pt x="18684" y="7376"/>
                  </a:lnTo>
                  <a:lnTo>
                    <a:pt x="18538" y="6961"/>
                  </a:lnTo>
                  <a:lnTo>
                    <a:pt x="18342" y="6570"/>
                  </a:lnTo>
                  <a:lnTo>
                    <a:pt x="18122" y="6179"/>
                  </a:lnTo>
                  <a:lnTo>
                    <a:pt x="17903" y="5788"/>
                  </a:lnTo>
                  <a:lnTo>
                    <a:pt x="17658" y="5422"/>
                  </a:lnTo>
                  <a:lnTo>
                    <a:pt x="17414" y="5080"/>
                  </a:lnTo>
                  <a:lnTo>
                    <a:pt x="17121" y="4714"/>
                  </a:lnTo>
                  <a:lnTo>
                    <a:pt x="16828" y="4372"/>
                  </a:lnTo>
                  <a:lnTo>
                    <a:pt x="16511" y="4054"/>
                  </a:lnTo>
                  <a:lnTo>
                    <a:pt x="16193" y="3761"/>
                  </a:lnTo>
                  <a:lnTo>
                    <a:pt x="15876" y="3468"/>
                  </a:lnTo>
                  <a:lnTo>
                    <a:pt x="15534" y="3175"/>
                  </a:lnTo>
                  <a:lnTo>
                    <a:pt x="15167" y="2931"/>
                  </a:lnTo>
                  <a:lnTo>
                    <a:pt x="14801" y="2687"/>
                  </a:lnTo>
                  <a:lnTo>
                    <a:pt x="14435" y="2467"/>
                  </a:lnTo>
                  <a:lnTo>
                    <a:pt x="14044" y="2247"/>
                  </a:lnTo>
                  <a:lnTo>
                    <a:pt x="13653" y="2076"/>
                  </a:lnTo>
                  <a:lnTo>
                    <a:pt x="13262" y="1905"/>
                  </a:lnTo>
                  <a:lnTo>
                    <a:pt x="12847" y="1759"/>
                  </a:lnTo>
                  <a:lnTo>
                    <a:pt x="12432" y="1612"/>
                  </a:lnTo>
                  <a:lnTo>
                    <a:pt x="12017" y="1514"/>
                  </a:lnTo>
                  <a:lnTo>
                    <a:pt x="11577" y="1417"/>
                  </a:lnTo>
                  <a:lnTo>
                    <a:pt x="11162" y="1343"/>
                  </a:lnTo>
                  <a:lnTo>
                    <a:pt x="10722" y="1270"/>
                  </a:lnTo>
                  <a:lnTo>
                    <a:pt x="10283" y="1246"/>
                  </a:lnTo>
                  <a:lnTo>
                    <a:pt x="10283" y="611"/>
                  </a:lnTo>
                  <a:lnTo>
                    <a:pt x="10258" y="489"/>
                  </a:lnTo>
                  <a:lnTo>
                    <a:pt x="10234" y="367"/>
                  </a:lnTo>
                  <a:lnTo>
                    <a:pt x="10185" y="269"/>
                  </a:lnTo>
                  <a:lnTo>
                    <a:pt x="10112" y="196"/>
                  </a:lnTo>
                  <a:lnTo>
                    <a:pt x="10014" y="122"/>
                  </a:lnTo>
                  <a:lnTo>
                    <a:pt x="9916" y="49"/>
                  </a:lnTo>
                  <a:lnTo>
                    <a:pt x="9794" y="25"/>
                  </a:lnTo>
                  <a:lnTo>
                    <a:pt x="967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78" name="Shape 407"/>
          <p:cNvGrpSpPr/>
          <p:nvPr/>
        </p:nvGrpSpPr>
        <p:grpSpPr>
          <a:xfrm>
            <a:off x="2682494" y="2831826"/>
            <a:ext cx="356219" cy="249926"/>
            <a:chOff x="559275" y="1683950"/>
            <a:chExt cx="466500" cy="327300"/>
          </a:xfrm>
        </p:grpSpPr>
        <p:sp>
          <p:nvSpPr>
            <p:cNvPr id="79" name="Shape 408"/>
            <p:cNvSpPr/>
            <p:nvPr/>
          </p:nvSpPr>
          <p:spPr>
            <a:xfrm>
              <a:off x="559275" y="1683950"/>
              <a:ext cx="466500" cy="197850"/>
            </a:xfrm>
            <a:custGeom>
              <a:avLst/>
              <a:gdLst/>
              <a:ahLst/>
              <a:cxnLst/>
              <a:rect l="0" t="0" r="0" b="0"/>
              <a:pathLst>
                <a:path w="18660" h="7914" extrusionOk="0">
                  <a:moveTo>
                    <a:pt x="391" y="1"/>
                  </a:moveTo>
                  <a:lnTo>
                    <a:pt x="293" y="50"/>
                  </a:lnTo>
                  <a:lnTo>
                    <a:pt x="220" y="74"/>
                  </a:lnTo>
                  <a:lnTo>
                    <a:pt x="147" y="147"/>
                  </a:lnTo>
                  <a:lnTo>
                    <a:pt x="74" y="221"/>
                  </a:lnTo>
                  <a:lnTo>
                    <a:pt x="49" y="294"/>
                  </a:lnTo>
                  <a:lnTo>
                    <a:pt x="0" y="392"/>
                  </a:lnTo>
                  <a:lnTo>
                    <a:pt x="0" y="489"/>
                  </a:lnTo>
                  <a:lnTo>
                    <a:pt x="0" y="1173"/>
                  </a:lnTo>
                  <a:lnTo>
                    <a:pt x="9330" y="7914"/>
                  </a:lnTo>
                  <a:lnTo>
                    <a:pt x="18659" y="1173"/>
                  </a:lnTo>
                  <a:lnTo>
                    <a:pt x="18659" y="489"/>
                  </a:lnTo>
                  <a:lnTo>
                    <a:pt x="18659" y="392"/>
                  </a:lnTo>
                  <a:lnTo>
                    <a:pt x="18611" y="294"/>
                  </a:lnTo>
                  <a:lnTo>
                    <a:pt x="18586" y="221"/>
                  </a:lnTo>
                  <a:lnTo>
                    <a:pt x="18513" y="147"/>
                  </a:lnTo>
                  <a:lnTo>
                    <a:pt x="18440" y="74"/>
                  </a:lnTo>
                  <a:lnTo>
                    <a:pt x="18366" y="50"/>
                  </a:lnTo>
                  <a:lnTo>
                    <a:pt x="1826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80" name="Shape 409"/>
            <p:cNvSpPr/>
            <p:nvPr/>
          </p:nvSpPr>
          <p:spPr>
            <a:xfrm>
              <a:off x="559275" y="1727925"/>
              <a:ext cx="466500" cy="283325"/>
            </a:xfrm>
            <a:custGeom>
              <a:avLst/>
              <a:gdLst/>
              <a:ahLst/>
              <a:cxnLst/>
              <a:rect l="0" t="0" r="0" b="0"/>
              <a:pathLst>
                <a:path w="18660" h="11333" extrusionOk="0">
                  <a:moveTo>
                    <a:pt x="0" y="0"/>
                  </a:moveTo>
                  <a:lnTo>
                    <a:pt x="0" y="10844"/>
                  </a:lnTo>
                  <a:lnTo>
                    <a:pt x="0" y="10917"/>
                  </a:lnTo>
                  <a:lnTo>
                    <a:pt x="5129" y="7230"/>
                  </a:lnTo>
                  <a:lnTo>
                    <a:pt x="5227" y="7181"/>
                  </a:lnTo>
                  <a:lnTo>
                    <a:pt x="5325" y="7181"/>
                  </a:lnTo>
                  <a:lnTo>
                    <a:pt x="5398" y="7205"/>
                  </a:lnTo>
                  <a:lnTo>
                    <a:pt x="5471" y="7278"/>
                  </a:lnTo>
                  <a:lnTo>
                    <a:pt x="5520" y="7376"/>
                  </a:lnTo>
                  <a:lnTo>
                    <a:pt x="5520" y="7474"/>
                  </a:lnTo>
                  <a:lnTo>
                    <a:pt x="5471" y="7547"/>
                  </a:lnTo>
                  <a:lnTo>
                    <a:pt x="5422" y="7620"/>
                  </a:lnTo>
                  <a:lnTo>
                    <a:pt x="318" y="11308"/>
                  </a:lnTo>
                  <a:lnTo>
                    <a:pt x="415" y="11333"/>
                  </a:lnTo>
                  <a:lnTo>
                    <a:pt x="18244" y="11333"/>
                  </a:lnTo>
                  <a:lnTo>
                    <a:pt x="18342" y="11308"/>
                  </a:lnTo>
                  <a:lnTo>
                    <a:pt x="13238" y="7620"/>
                  </a:lnTo>
                  <a:lnTo>
                    <a:pt x="13189" y="7547"/>
                  </a:lnTo>
                  <a:lnTo>
                    <a:pt x="13140" y="7474"/>
                  </a:lnTo>
                  <a:lnTo>
                    <a:pt x="13140" y="7376"/>
                  </a:lnTo>
                  <a:lnTo>
                    <a:pt x="13189" y="7278"/>
                  </a:lnTo>
                  <a:lnTo>
                    <a:pt x="13262" y="7205"/>
                  </a:lnTo>
                  <a:lnTo>
                    <a:pt x="13335" y="7181"/>
                  </a:lnTo>
                  <a:lnTo>
                    <a:pt x="13433" y="7181"/>
                  </a:lnTo>
                  <a:lnTo>
                    <a:pt x="13531" y="7230"/>
                  </a:lnTo>
                  <a:lnTo>
                    <a:pt x="18659" y="10917"/>
                  </a:lnTo>
                  <a:lnTo>
                    <a:pt x="18659" y="10844"/>
                  </a:lnTo>
                  <a:lnTo>
                    <a:pt x="18659" y="0"/>
                  </a:lnTo>
                  <a:lnTo>
                    <a:pt x="9476" y="6643"/>
                  </a:lnTo>
                  <a:lnTo>
                    <a:pt x="9403" y="6692"/>
                  </a:lnTo>
                  <a:lnTo>
                    <a:pt x="9257" y="6692"/>
                  </a:lnTo>
                  <a:lnTo>
                    <a:pt x="9183" y="6643"/>
                  </a:lnTo>
                  <a:lnTo>
                    <a:pt x="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81" name="Shape 410"/>
          <p:cNvGrpSpPr/>
          <p:nvPr/>
        </p:nvGrpSpPr>
        <p:grpSpPr>
          <a:xfrm>
            <a:off x="3197218" y="2782421"/>
            <a:ext cx="356219" cy="348755"/>
            <a:chOff x="1233350" y="1619250"/>
            <a:chExt cx="466500" cy="456725"/>
          </a:xfrm>
        </p:grpSpPr>
        <p:sp>
          <p:nvSpPr>
            <p:cNvPr id="82" name="Shape 411"/>
            <p:cNvSpPr/>
            <p:nvPr/>
          </p:nvSpPr>
          <p:spPr>
            <a:xfrm>
              <a:off x="1233350" y="1619250"/>
              <a:ext cx="466500" cy="456725"/>
            </a:xfrm>
            <a:custGeom>
              <a:avLst/>
              <a:gdLst/>
              <a:ahLst/>
              <a:cxnLst/>
              <a:rect l="0" t="0" r="0" b="0"/>
              <a:pathLst>
                <a:path w="18660" h="18269" extrusionOk="0">
                  <a:moveTo>
                    <a:pt x="14923" y="5080"/>
                  </a:moveTo>
                  <a:lnTo>
                    <a:pt x="14923" y="9037"/>
                  </a:lnTo>
                  <a:lnTo>
                    <a:pt x="17316" y="7913"/>
                  </a:lnTo>
                  <a:lnTo>
                    <a:pt x="9476" y="13579"/>
                  </a:lnTo>
                  <a:lnTo>
                    <a:pt x="9403" y="13604"/>
                  </a:lnTo>
                  <a:lnTo>
                    <a:pt x="9330" y="13628"/>
                  </a:lnTo>
                  <a:lnTo>
                    <a:pt x="9257" y="13604"/>
                  </a:lnTo>
                  <a:lnTo>
                    <a:pt x="9183" y="13579"/>
                  </a:lnTo>
                  <a:lnTo>
                    <a:pt x="1344" y="7913"/>
                  </a:lnTo>
                  <a:lnTo>
                    <a:pt x="3737" y="9037"/>
                  </a:lnTo>
                  <a:lnTo>
                    <a:pt x="3737" y="5080"/>
                  </a:lnTo>
                  <a:close/>
                  <a:moveTo>
                    <a:pt x="9330" y="0"/>
                  </a:moveTo>
                  <a:lnTo>
                    <a:pt x="0" y="6741"/>
                  </a:lnTo>
                  <a:lnTo>
                    <a:pt x="0" y="17780"/>
                  </a:lnTo>
                  <a:lnTo>
                    <a:pt x="0" y="17853"/>
                  </a:lnTo>
                  <a:lnTo>
                    <a:pt x="5129" y="14165"/>
                  </a:lnTo>
                  <a:lnTo>
                    <a:pt x="5227" y="14117"/>
                  </a:lnTo>
                  <a:lnTo>
                    <a:pt x="5325" y="14117"/>
                  </a:lnTo>
                  <a:lnTo>
                    <a:pt x="5398" y="14141"/>
                  </a:lnTo>
                  <a:lnTo>
                    <a:pt x="5471" y="14214"/>
                  </a:lnTo>
                  <a:lnTo>
                    <a:pt x="5520" y="14312"/>
                  </a:lnTo>
                  <a:lnTo>
                    <a:pt x="5520" y="14385"/>
                  </a:lnTo>
                  <a:lnTo>
                    <a:pt x="5471" y="14483"/>
                  </a:lnTo>
                  <a:lnTo>
                    <a:pt x="5422" y="14556"/>
                  </a:lnTo>
                  <a:lnTo>
                    <a:pt x="318" y="18244"/>
                  </a:lnTo>
                  <a:lnTo>
                    <a:pt x="416" y="18244"/>
                  </a:lnTo>
                  <a:lnTo>
                    <a:pt x="489" y="18268"/>
                  </a:lnTo>
                  <a:lnTo>
                    <a:pt x="18171" y="18268"/>
                  </a:lnTo>
                  <a:lnTo>
                    <a:pt x="18244" y="18244"/>
                  </a:lnTo>
                  <a:lnTo>
                    <a:pt x="18342" y="18244"/>
                  </a:lnTo>
                  <a:lnTo>
                    <a:pt x="13238" y="14556"/>
                  </a:lnTo>
                  <a:lnTo>
                    <a:pt x="13189" y="14483"/>
                  </a:lnTo>
                  <a:lnTo>
                    <a:pt x="13140" y="14385"/>
                  </a:lnTo>
                  <a:lnTo>
                    <a:pt x="13140" y="14312"/>
                  </a:lnTo>
                  <a:lnTo>
                    <a:pt x="13189" y="14214"/>
                  </a:lnTo>
                  <a:lnTo>
                    <a:pt x="13262" y="14141"/>
                  </a:lnTo>
                  <a:lnTo>
                    <a:pt x="13335" y="14117"/>
                  </a:lnTo>
                  <a:lnTo>
                    <a:pt x="13433" y="14117"/>
                  </a:lnTo>
                  <a:lnTo>
                    <a:pt x="13531" y="14165"/>
                  </a:lnTo>
                  <a:lnTo>
                    <a:pt x="18660" y="17853"/>
                  </a:lnTo>
                  <a:lnTo>
                    <a:pt x="18660" y="17780"/>
                  </a:lnTo>
                  <a:lnTo>
                    <a:pt x="18660" y="6741"/>
                  </a:lnTo>
                  <a:lnTo>
                    <a:pt x="933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83" name="Shape 412"/>
            <p:cNvSpPr/>
            <p:nvPr/>
          </p:nvSpPr>
          <p:spPr>
            <a:xfrm>
              <a:off x="1382325" y="1792025"/>
              <a:ext cx="168550" cy="12250"/>
            </a:xfrm>
            <a:custGeom>
              <a:avLst/>
              <a:gdLst/>
              <a:ahLst/>
              <a:cxnLst/>
              <a:rect l="0" t="0" r="0" b="0"/>
              <a:pathLst>
                <a:path w="6742" h="490" extrusionOk="0">
                  <a:moveTo>
                    <a:pt x="147" y="1"/>
                  </a:moveTo>
                  <a:lnTo>
                    <a:pt x="74" y="74"/>
                  </a:lnTo>
                  <a:lnTo>
                    <a:pt x="25" y="147"/>
                  </a:lnTo>
                  <a:lnTo>
                    <a:pt x="1" y="245"/>
                  </a:lnTo>
                  <a:lnTo>
                    <a:pt x="25" y="343"/>
                  </a:lnTo>
                  <a:lnTo>
                    <a:pt x="74" y="416"/>
                  </a:lnTo>
                  <a:lnTo>
                    <a:pt x="147" y="465"/>
                  </a:lnTo>
                  <a:lnTo>
                    <a:pt x="245" y="489"/>
                  </a:lnTo>
                  <a:lnTo>
                    <a:pt x="6497" y="489"/>
                  </a:lnTo>
                  <a:lnTo>
                    <a:pt x="6595" y="465"/>
                  </a:lnTo>
                  <a:lnTo>
                    <a:pt x="6668" y="416"/>
                  </a:lnTo>
                  <a:lnTo>
                    <a:pt x="6717" y="343"/>
                  </a:lnTo>
                  <a:lnTo>
                    <a:pt x="6741" y="245"/>
                  </a:lnTo>
                  <a:lnTo>
                    <a:pt x="6717" y="147"/>
                  </a:lnTo>
                  <a:lnTo>
                    <a:pt x="6668" y="74"/>
                  </a:lnTo>
                  <a:lnTo>
                    <a:pt x="6595"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84" name="Shape 413"/>
            <p:cNvSpPr/>
            <p:nvPr/>
          </p:nvSpPr>
          <p:spPr>
            <a:xfrm>
              <a:off x="1382325" y="1825000"/>
              <a:ext cx="168550" cy="12250"/>
            </a:xfrm>
            <a:custGeom>
              <a:avLst/>
              <a:gdLst/>
              <a:ahLst/>
              <a:cxnLst/>
              <a:rect l="0" t="0" r="0" b="0"/>
              <a:pathLst>
                <a:path w="6742" h="490" extrusionOk="0">
                  <a:moveTo>
                    <a:pt x="245" y="1"/>
                  </a:moveTo>
                  <a:lnTo>
                    <a:pt x="147" y="25"/>
                  </a:lnTo>
                  <a:lnTo>
                    <a:pt x="74" y="74"/>
                  </a:lnTo>
                  <a:lnTo>
                    <a:pt x="25" y="147"/>
                  </a:lnTo>
                  <a:lnTo>
                    <a:pt x="1" y="245"/>
                  </a:lnTo>
                  <a:lnTo>
                    <a:pt x="25" y="343"/>
                  </a:lnTo>
                  <a:lnTo>
                    <a:pt x="74" y="416"/>
                  </a:lnTo>
                  <a:lnTo>
                    <a:pt x="147" y="465"/>
                  </a:lnTo>
                  <a:lnTo>
                    <a:pt x="245" y="489"/>
                  </a:lnTo>
                  <a:lnTo>
                    <a:pt x="6497" y="489"/>
                  </a:lnTo>
                  <a:lnTo>
                    <a:pt x="6595" y="465"/>
                  </a:lnTo>
                  <a:lnTo>
                    <a:pt x="6668" y="416"/>
                  </a:lnTo>
                  <a:lnTo>
                    <a:pt x="6717" y="343"/>
                  </a:lnTo>
                  <a:lnTo>
                    <a:pt x="6741" y="245"/>
                  </a:lnTo>
                  <a:lnTo>
                    <a:pt x="6717" y="147"/>
                  </a:lnTo>
                  <a:lnTo>
                    <a:pt x="6668" y="74"/>
                  </a:lnTo>
                  <a:lnTo>
                    <a:pt x="6595" y="25"/>
                  </a:lnTo>
                  <a:lnTo>
                    <a:pt x="649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85" name="Shape 414"/>
            <p:cNvSpPr/>
            <p:nvPr/>
          </p:nvSpPr>
          <p:spPr>
            <a:xfrm>
              <a:off x="1382325" y="1858575"/>
              <a:ext cx="70850" cy="12250"/>
            </a:xfrm>
            <a:custGeom>
              <a:avLst/>
              <a:gdLst/>
              <a:ahLst/>
              <a:cxnLst/>
              <a:rect l="0" t="0" r="0" b="0"/>
              <a:pathLst>
                <a:path w="2834" h="490" extrusionOk="0">
                  <a:moveTo>
                    <a:pt x="245" y="1"/>
                  </a:moveTo>
                  <a:lnTo>
                    <a:pt x="147" y="25"/>
                  </a:lnTo>
                  <a:lnTo>
                    <a:pt x="74" y="74"/>
                  </a:lnTo>
                  <a:lnTo>
                    <a:pt x="25" y="147"/>
                  </a:lnTo>
                  <a:lnTo>
                    <a:pt x="1" y="245"/>
                  </a:lnTo>
                  <a:lnTo>
                    <a:pt x="25" y="343"/>
                  </a:lnTo>
                  <a:lnTo>
                    <a:pt x="74" y="416"/>
                  </a:lnTo>
                  <a:lnTo>
                    <a:pt x="147" y="465"/>
                  </a:lnTo>
                  <a:lnTo>
                    <a:pt x="245" y="489"/>
                  </a:lnTo>
                  <a:lnTo>
                    <a:pt x="2589" y="489"/>
                  </a:lnTo>
                  <a:lnTo>
                    <a:pt x="2687" y="465"/>
                  </a:lnTo>
                  <a:lnTo>
                    <a:pt x="2760" y="416"/>
                  </a:lnTo>
                  <a:lnTo>
                    <a:pt x="2809" y="343"/>
                  </a:lnTo>
                  <a:lnTo>
                    <a:pt x="2834" y="245"/>
                  </a:lnTo>
                  <a:lnTo>
                    <a:pt x="2809" y="147"/>
                  </a:lnTo>
                  <a:lnTo>
                    <a:pt x="2760" y="74"/>
                  </a:lnTo>
                  <a:lnTo>
                    <a:pt x="2687" y="25"/>
                  </a:lnTo>
                  <a:lnTo>
                    <a:pt x="258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86" name="Shape 415"/>
          <p:cNvGrpSpPr/>
          <p:nvPr/>
        </p:nvGrpSpPr>
        <p:grpSpPr>
          <a:xfrm>
            <a:off x="3723128" y="2789866"/>
            <a:ext cx="333846" cy="333846"/>
            <a:chOff x="1922075" y="1629000"/>
            <a:chExt cx="437200" cy="437200"/>
          </a:xfrm>
        </p:grpSpPr>
        <p:sp>
          <p:nvSpPr>
            <p:cNvPr id="87" name="Shape 416"/>
            <p:cNvSpPr/>
            <p:nvPr/>
          </p:nvSpPr>
          <p:spPr>
            <a:xfrm>
              <a:off x="2208425" y="1629000"/>
              <a:ext cx="150850" cy="150850"/>
            </a:xfrm>
            <a:custGeom>
              <a:avLst/>
              <a:gdLst/>
              <a:ahLst/>
              <a:cxnLst/>
              <a:rect l="0" t="0" r="0" b="0"/>
              <a:pathLst>
                <a:path w="6034" h="6034" extrusionOk="0">
                  <a:moveTo>
                    <a:pt x="2004" y="1"/>
                  </a:moveTo>
                  <a:lnTo>
                    <a:pt x="1881" y="25"/>
                  </a:lnTo>
                  <a:lnTo>
                    <a:pt x="1784" y="50"/>
                  </a:lnTo>
                  <a:lnTo>
                    <a:pt x="1686" y="98"/>
                  </a:lnTo>
                  <a:lnTo>
                    <a:pt x="1588" y="172"/>
                  </a:lnTo>
                  <a:lnTo>
                    <a:pt x="1" y="1784"/>
                  </a:lnTo>
                  <a:lnTo>
                    <a:pt x="4251" y="6033"/>
                  </a:lnTo>
                  <a:lnTo>
                    <a:pt x="5862" y="4446"/>
                  </a:lnTo>
                  <a:lnTo>
                    <a:pt x="5936" y="4348"/>
                  </a:lnTo>
                  <a:lnTo>
                    <a:pt x="5985" y="4250"/>
                  </a:lnTo>
                  <a:lnTo>
                    <a:pt x="6009" y="4153"/>
                  </a:lnTo>
                  <a:lnTo>
                    <a:pt x="6033" y="4031"/>
                  </a:lnTo>
                  <a:lnTo>
                    <a:pt x="6009" y="3933"/>
                  </a:lnTo>
                  <a:lnTo>
                    <a:pt x="5985" y="3811"/>
                  </a:lnTo>
                  <a:lnTo>
                    <a:pt x="5936" y="3713"/>
                  </a:lnTo>
                  <a:lnTo>
                    <a:pt x="5862" y="3615"/>
                  </a:lnTo>
                  <a:lnTo>
                    <a:pt x="2419" y="172"/>
                  </a:lnTo>
                  <a:lnTo>
                    <a:pt x="2321" y="98"/>
                  </a:lnTo>
                  <a:lnTo>
                    <a:pt x="2223" y="50"/>
                  </a:lnTo>
                  <a:lnTo>
                    <a:pt x="2101" y="25"/>
                  </a:lnTo>
                  <a:lnTo>
                    <a:pt x="200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88" name="Shape 417"/>
            <p:cNvSpPr/>
            <p:nvPr/>
          </p:nvSpPr>
          <p:spPr>
            <a:xfrm>
              <a:off x="1922075" y="1686400"/>
              <a:ext cx="379800" cy="379800"/>
            </a:xfrm>
            <a:custGeom>
              <a:avLst/>
              <a:gdLst/>
              <a:ahLst/>
              <a:cxnLst/>
              <a:rect l="0" t="0" r="0" b="0"/>
              <a:pathLst>
                <a:path w="15192" h="15192" extrusionOk="0">
                  <a:moveTo>
                    <a:pt x="1100" y="10527"/>
                  </a:moveTo>
                  <a:lnTo>
                    <a:pt x="4665" y="14093"/>
                  </a:lnTo>
                  <a:lnTo>
                    <a:pt x="4616" y="14117"/>
                  </a:lnTo>
                  <a:lnTo>
                    <a:pt x="1979" y="14508"/>
                  </a:lnTo>
                  <a:lnTo>
                    <a:pt x="684" y="13213"/>
                  </a:lnTo>
                  <a:lnTo>
                    <a:pt x="1075" y="10576"/>
                  </a:lnTo>
                  <a:lnTo>
                    <a:pt x="1100" y="10527"/>
                  </a:lnTo>
                  <a:close/>
                  <a:moveTo>
                    <a:pt x="10918" y="1"/>
                  </a:moveTo>
                  <a:lnTo>
                    <a:pt x="758" y="10185"/>
                  </a:lnTo>
                  <a:lnTo>
                    <a:pt x="684" y="10258"/>
                  </a:lnTo>
                  <a:lnTo>
                    <a:pt x="636" y="10332"/>
                  </a:lnTo>
                  <a:lnTo>
                    <a:pt x="611" y="10405"/>
                  </a:lnTo>
                  <a:lnTo>
                    <a:pt x="587" y="10502"/>
                  </a:lnTo>
                  <a:lnTo>
                    <a:pt x="1" y="14532"/>
                  </a:lnTo>
                  <a:lnTo>
                    <a:pt x="1" y="14654"/>
                  </a:lnTo>
                  <a:lnTo>
                    <a:pt x="25" y="14801"/>
                  </a:lnTo>
                  <a:lnTo>
                    <a:pt x="98" y="14923"/>
                  </a:lnTo>
                  <a:lnTo>
                    <a:pt x="171" y="15021"/>
                  </a:lnTo>
                  <a:lnTo>
                    <a:pt x="269" y="15094"/>
                  </a:lnTo>
                  <a:lnTo>
                    <a:pt x="367" y="15143"/>
                  </a:lnTo>
                  <a:lnTo>
                    <a:pt x="465" y="15167"/>
                  </a:lnTo>
                  <a:lnTo>
                    <a:pt x="587" y="15192"/>
                  </a:lnTo>
                  <a:lnTo>
                    <a:pt x="660" y="15192"/>
                  </a:lnTo>
                  <a:lnTo>
                    <a:pt x="4690" y="14606"/>
                  </a:lnTo>
                  <a:lnTo>
                    <a:pt x="4861" y="14557"/>
                  </a:lnTo>
                  <a:lnTo>
                    <a:pt x="4934" y="14508"/>
                  </a:lnTo>
                  <a:lnTo>
                    <a:pt x="5007" y="14435"/>
                  </a:lnTo>
                  <a:lnTo>
                    <a:pt x="15192" y="4275"/>
                  </a:lnTo>
                  <a:lnTo>
                    <a:pt x="13970" y="3053"/>
                  </a:lnTo>
                  <a:lnTo>
                    <a:pt x="4152" y="12872"/>
                  </a:lnTo>
                  <a:lnTo>
                    <a:pt x="3810" y="12530"/>
                  </a:lnTo>
                  <a:lnTo>
                    <a:pt x="13629" y="2712"/>
                  </a:lnTo>
                  <a:lnTo>
                    <a:pt x="12481" y="1564"/>
                  </a:lnTo>
                  <a:lnTo>
                    <a:pt x="2663" y="11382"/>
                  </a:lnTo>
                  <a:lnTo>
                    <a:pt x="2321" y="11040"/>
                  </a:lnTo>
                  <a:lnTo>
                    <a:pt x="12139" y="1222"/>
                  </a:lnTo>
                  <a:lnTo>
                    <a:pt x="1091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89" name="Shape 418"/>
          <p:cNvGrpSpPr/>
          <p:nvPr/>
        </p:nvGrpSpPr>
        <p:grpSpPr>
          <a:xfrm>
            <a:off x="4236459" y="2788473"/>
            <a:ext cx="336633" cy="336633"/>
            <a:chOff x="2594325" y="1627175"/>
            <a:chExt cx="440850" cy="440850"/>
          </a:xfrm>
        </p:grpSpPr>
        <p:sp>
          <p:nvSpPr>
            <p:cNvPr id="90" name="Shape 419"/>
            <p:cNvSpPr/>
            <p:nvPr/>
          </p:nvSpPr>
          <p:spPr>
            <a:xfrm>
              <a:off x="2594325" y="1890950"/>
              <a:ext cx="177075" cy="177075"/>
            </a:xfrm>
            <a:custGeom>
              <a:avLst/>
              <a:gdLst/>
              <a:ahLst/>
              <a:cxnLst/>
              <a:rect l="0" t="0" r="0" b="0"/>
              <a:pathLst>
                <a:path w="7083" h="7083" extrusionOk="0">
                  <a:moveTo>
                    <a:pt x="5544" y="0"/>
                  </a:moveTo>
                  <a:lnTo>
                    <a:pt x="538" y="5984"/>
                  </a:lnTo>
                  <a:lnTo>
                    <a:pt x="0" y="7083"/>
                  </a:lnTo>
                  <a:lnTo>
                    <a:pt x="1099" y="6546"/>
                  </a:lnTo>
                  <a:lnTo>
                    <a:pt x="7083" y="1539"/>
                  </a:lnTo>
                  <a:lnTo>
                    <a:pt x="554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91" name="Shape 420"/>
            <p:cNvSpPr/>
            <p:nvPr/>
          </p:nvSpPr>
          <p:spPr>
            <a:xfrm>
              <a:off x="2858700" y="1627175"/>
              <a:ext cx="176475" cy="176475"/>
            </a:xfrm>
            <a:custGeom>
              <a:avLst/>
              <a:gdLst/>
              <a:ahLst/>
              <a:cxnLst/>
              <a:rect l="0" t="0" r="0" b="0"/>
              <a:pathLst>
                <a:path w="7059" h="7059" extrusionOk="0">
                  <a:moveTo>
                    <a:pt x="904" y="1"/>
                  </a:moveTo>
                  <a:lnTo>
                    <a:pt x="782" y="25"/>
                  </a:lnTo>
                  <a:lnTo>
                    <a:pt x="684" y="98"/>
                  </a:lnTo>
                  <a:lnTo>
                    <a:pt x="611" y="147"/>
                  </a:lnTo>
                  <a:lnTo>
                    <a:pt x="489" y="294"/>
                  </a:lnTo>
                  <a:lnTo>
                    <a:pt x="367" y="440"/>
                  </a:lnTo>
                  <a:lnTo>
                    <a:pt x="294" y="587"/>
                  </a:lnTo>
                  <a:lnTo>
                    <a:pt x="196" y="733"/>
                  </a:lnTo>
                  <a:lnTo>
                    <a:pt x="74" y="1051"/>
                  </a:lnTo>
                  <a:lnTo>
                    <a:pt x="0" y="1393"/>
                  </a:lnTo>
                  <a:lnTo>
                    <a:pt x="0" y="1735"/>
                  </a:lnTo>
                  <a:lnTo>
                    <a:pt x="25" y="2052"/>
                  </a:lnTo>
                  <a:lnTo>
                    <a:pt x="123" y="2394"/>
                  </a:lnTo>
                  <a:lnTo>
                    <a:pt x="269" y="2711"/>
                  </a:lnTo>
                  <a:lnTo>
                    <a:pt x="4348" y="6790"/>
                  </a:lnTo>
                  <a:lnTo>
                    <a:pt x="4665" y="6937"/>
                  </a:lnTo>
                  <a:lnTo>
                    <a:pt x="5007" y="7034"/>
                  </a:lnTo>
                  <a:lnTo>
                    <a:pt x="5325" y="7059"/>
                  </a:lnTo>
                  <a:lnTo>
                    <a:pt x="5667" y="7059"/>
                  </a:lnTo>
                  <a:lnTo>
                    <a:pt x="6008" y="6986"/>
                  </a:lnTo>
                  <a:lnTo>
                    <a:pt x="6326" y="6863"/>
                  </a:lnTo>
                  <a:lnTo>
                    <a:pt x="6473" y="6766"/>
                  </a:lnTo>
                  <a:lnTo>
                    <a:pt x="6619" y="6692"/>
                  </a:lnTo>
                  <a:lnTo>
                    <a:pt x="6766" y="6570"/>
                  </a:lnTo>
                  <a:lnTo>
                    <a:pt x="6912" y="6448"/>
                  </a:lnTo>
                  <a:lnTo>
                    <a:pt x="6961" y="6375"/>
                  </a:lnTo>
                  <a:lnTo>
                    <a:pt x="7034" y="6277"/>
                  </a:lnTo>
                  <a:lnTo>
                    <a:pt x="7059" y="6155"/>
                  </a:lnTo>
                  <a:lnTo>
                    <a:pt x="7059" y="6057"/>
                  </a:lnTo>
                  <a:lnTo>
                    <a:pt x="7059" y="5960"/>
                  </a:lnTo>
                  <a:lnTo>
                    <a:pt x="7034" y="5862"/>
                  </a:lnTo>
                  <a:lnTo>
                    <a:pt x="6961" y="5764"/>
                  </a:lnTo>
                  <a:lnTo>
                    <a:pt x="6912" y="5667"/>
                  </a:lnTo>
                  <a:lnTo>
                    <a:pt x="1393" y="147"/>
                  </a:lnTo>
                  <a:lnTo>
                    <a:pt x="1295" y="98"/>
                  </a:lnTo>
                  <a:lnTo>
                    <a:pt x="1197" y="25"/>
                  </a:lnTo>
                  <a:lnTo>
                    <a:pt x="109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92" name="Shape 421"/>
            <p:cNvSpPr/>
            <p:nvPr/>
          </p:nvSpPr>
          <p:spPr>
            <a:xfrm>
              <a:off x="2663325" y="1702275"/>
              <a:ext cx="296750" cy="296775"/>
            </a:xfrm>
            <a:custGeom>
              <a:avLst/>
              <a:gdLst/>
              <a:ahLst/>
              <a:cxnLst/>
              <a:rect l="0" t="0" r="0" b="0"/>
              <a:pathLst>
                <a:path w="11870" h="11871" extrusionOk="0">
                  <a:moveTo>
                    <a:pt x="7718" y="1295"/>
                  </a:moveTo>
                  <a:lnTo>
                    <a:pt x="7815" y="1319"/>
                  </a:lnTo>
                  <a:lnTo>
                    <a:pt x="7889" y="1368"/>
                  </a:lnTo>
                  <a:lnTo>
                    <a:pt x="7938" y="1442"/>
                  </a:lnTo>
                  <a:lnTo>
                    <a:pt x="7938" y="1515"/>
                  </a:lnTo>
                  <a:lnTo>
                    <a:pt x="7938" y="1588"/>
                  </a:lnTo>
                  <a:lnTo>
                    <a:pt x="7889" y="1661"/>
                  </a:lnTo>
                  <a:lnTo>
                    <a:pt x="5862" y="3664"/>
                  </a:lnTo>
                  <a:lnTo>
                    <a:pt x="5788" y="3713"/>
                  </a:lnTo>
                  <a:lnTo>
                    <a:pt x="5715" y="3737"/>
                  </a:lnTo>
                  <a:lnTo>
                    <a:pt x="5642" y="3713"/>
                  </a:lnTo>
                  <a:lnTo>
                    <a:pt x="5569" y="3664"/>
                  </a:lnTo>
                  <a:lnTo>
                    <a:pt x="5520" y="3591"/>
                  </a:lnTo>
                  <a:lnTo>
                    <a:pt x="5495" y="3517"/>
                  </a:lnTo>
                  <a:lnTo>
                    <a:pt x="5520" y="3444"/>
                  </a:lnTo>
                  <a:lnTo>
                    <a:pt x="5569" y="3371"/>
                  </a:lnTo>
                  <a:lnTo>
                    <a:pt x="7571" y="1368"/>
                  </a:lnTo>
                  <a:lnTo>
                    <a:pt x="7644" y="1319"/>
                  </a:lnTo>
                  <a:lnTo>
                    <a:pt x="7718" y="1295"/>
                  </a:lnTo>
                  <a:close/>
                  <a:moveTo>
                    <a:pt x="7767" y="1"/>
                  </a:moveTo>
                  <a:lnTo>
                    <a:pt x="4885" y="2907"/>
                  </a:lnTo>
                  <a:lnTo>
                    <a:pt x="4640" y="2809"/>
                  </a:lnTo>
                  <a:lnTo>
                    <a:pt x="4396" y="2712"/>
                  </a:lnTo>
                  <a:lnTo>
                    <a:pt x="4103" y="2614"/>
                  </a:lnTo>
                  <a:lnTo>
                    <a:pt x="3810" y="2565"/>
                  </a:lnTo>
                  <a:lnTo>
                    <a:pt x="3493" y="2492"/>
                  </a:lnTo>
                  <a:lnTo>
                    <a:pt x="3175" y="2443"/>
                  </a:lnTo>
                  <a:lnTo>
                    <a:pt x="2858" y="2418"/>
                  </a:lnTo>
                  <a:lnTo>
                    <a:pt x="2247" y="2418"/>
                  </a:lnTo>
                  <a:lnTo>
                    <a:pt x="1954" y="2443"/>
                  </a:lnTo>
                  <a:lnTo>
                    <a:pt x="1636" y="2492"/>
                  </a:lnTo>
                  <a:lnTo>
                    <a:pt x="1319" y="2565"/>
                  </a:lnTo>
                  <a:lnTo>
                    <a:pt x="1001" y="2687"/>
                  </a:lnTo>
                  <a:lnTo>
                    <a:pt x="708" y="2809"/>
                  </a:lnTo>
                  <a:lnTo>
                    <a:pt x="415" y="3005"/>
                  </a:lnTo>
                  <a:lnTo>
                    <a:pt x="147" y="3224"/>
                  </a:lnTo>
                  <a:lnTo>
                    <a:pt x="73" y="3298"/>
                  </a:lnTo>
                  <a:lnTo>
                    <a:pt x="24" y="3395"/>
                  </a:lnTo>
                  <a:lnTo>
                    <a:pt x="0" y="3493"/>
                  </a:lnTo>
                  <a:lnTo>
                    <a:pt x="0" y="3615"/>
                  </a:lnTo>
                  <a:lnTo>
                    <a:pt x="0" y="3713"/>
                  </a:lnTo>
                  <a:lnTo>
                    <a:pt x="24" y="3811"/>
                  </a:lnTo>
                  <a:lnTo>
                    <a:pt x="73" y="3908"/>
                  </a:lnTo>
                  <a:lnTo>
                    <a:pt x="147" y="4006"/>
                  </a:lnTo>
                  <a:lnTo>
                    <a:pt x="7864" y="11724"/>
                  </a:lnTo>
                  <a:lnTo>
                    <a:pt x="7962" y="11797"/>
                  </a:lnTo>
                  <a:lnTo>
                    <a:pt x="8060" y="11846"/>
                  </a:lnTo>
                  <a:lnTo>
                    <a:pt x="8157" y="11870"/>
                  </a:lnTo>
                  <a:lnTo>
                    <a:pt x="8377" y="11870"/>
                  </a:lnTo>
                  <a:lnTo>
                    <a:pt x="8475" y="11846"/>
                  </a:lnTo>
                  <a:lnTo>
                    <a:pt x="8573" y="11797"/>
                  </a:lnTo>
                  <a:lnTo>
                    <a:pt x="8646" y="11724"/>
                  </a:lnTo>
                  <a:lnTo>
                    <a:pt x="8866" y="11455"/>
                  </a:lnTo>
                  <a:lnTo>
                    <a:pt x="9061" y="11162"/>
                  </a:lnTo>
                  <a:lnTo>
                    <a:pt x="9183" y="10869"/>
                  </a:lnTo>
                  <a:lnTo>
                    <a:pt x="9305" y="10551"/>
                  </a:lnTo>
                  <a:lnTo>
                    <a:pt x="9379" y="10234"/>
                  </a:lnTo>
                  <a:lnTo>
                    <a:pt x="9427" y="9916"/>
                  </a:lnTo>
                  <a:lnTo>
                    <a:pt x="9452" y="9623"/>
                  </a:lnTo>
                  <a:lnTo>
                    <a:pt x="9452" y="9330"/>
                  </a:lnTo>
                  <a:lnTo>
                    <a:pt x="9452" y="9013"/>
                  </a:lnTo>
                  <a:lnTo>
                    <a:pt x="9427" y="8695"/>
                  </a:lnTo>
                  <a:lnTo>
                    <a:pt x="9379" y="8378"/>
                  </a:lnTo>
                  <a:lnTo>
                    <a:pt x="9305" y="8060"/>
                  </a:lnTo>
                  <a:lnTo>
                    <a:pt x="9256" y="7767"/>
                  </a:lnTo>
                  <a:lnTo>
                    <a:pt x="9159" y="7474"/>
                  </a:lnTo>
                  <a:lnTo>
                    <a:pt x="9061" y="7230"/>
                  </a:lnTo>
                  <a:lnTo>
                    <a:pt x="8963" y="6986"/>
                  </a:lnTo>
                  <a:lnTo>
                    <a:pt x="11870" y="4104"/>
                  </a:lnTo>
                  <a:lnTo>
                    <a:pt x="776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93" name="Shape 422"/>
          <p:cNvSpPr/>
          <p:nvPr/>
        </p:nvSpPr>
        <p:spPr>
          <a:xfrm>
            <a:off x="4766343" y="2803525"/>
            <a:ext cx="306814" cy="306795"/>
          </a:xfrm>
          <a:custGeom>
            <a:avLst/>
            <a:gdLst/>
            <a:ahLst/>
            <a:cxnLst/>
            <a:rect l="0" t="0" r="0" b="0"/>
            <a:pathLst>
              <a:path w="16072" h="16071" extrusionOk="0">
                <a:moveTo>
                  <a:pt x="8036" y="0"/>
                </a:moveTo>
                <a:lnTo>
                  <a:pt x="7938" y="24"/>
                </a:lnTo>
                <a:lnTo>
                  <a:pt x="7792" y="98"/>
                </a:lnTo>
                <a:lnTo>
                  <a:pt x="7328" y="366"/>
                </a:lnTo>
                <a:lnTo>
                  <a:pt x="7059" y="537"/>
                </a:lnTo>
                <a:lnTo>
                  <a:pt x="6766" y="757"/>
                </a:lnTo>
                <a:lnTo>
                  <a:pt x="6448" y="977"/>
                </a:lnTo>
                <a:lnTo>
                  <a:pt x="6155" y="1246"/>
                </a:lnTo>
                <a:lnTo>
                  <a:pt x="5887" y="1514"/>
                </a:lnTo>
                <a:lnTo>
                  <a:pt x="5643" y="1807"/>
                </a:lnTo>
                <a:lnTo>
                  <a:pt x="5447" y="2100"/>
                </a:lnTo>
                <a:lnTo>
                  <a:pt x="5374" y="2247"/>
                </a:lnTo>
                <a:lnTo>
                  <a:pt x="5325" y="2418"/>
                </a:lnTo>
                <a:lnTo>
                  <a:pt x="5276" y="2564"/>
                </a:lnTo>
                <a:lnTo>
                  <a:pt x="5252" y="2711"/>
                </a:lnTo>
                <a:lnTo>
                  <a:pt x="5252" y="2858"/>
                </a:lnTo>
                <a:lnTo>
                  <a:pt x="5276" y="3029"/>
                </a:lnTo>
                <a:lnTo>
                  <a:pt x="5325" y="3175"/>
                </a:lnTo>
                <a:lnTo>
                  <a:pt x="5398" y="3322"/>
                </a:lnTo>
                <a:lnTo>
                  <a:pt x="5496" y="3468"/>
                </a:lnTo>
                <a:lnTo>
                  <a:pt x="5618" y="3615"/>
                </a:lnTo>
                <a:lnTo>
                  <a:pt x="5814" y="3761"/>
                </a:lnTo>
                <a:lnTo>
                  <a:pt x="6009" y="3859"/>
                </a:lnTo>
                <a:lnTo>
                  <a:pt x="6204" y="3957"/>
                </a:lnTo>
                <a:lnTo>
                  <a:pt x="6424" y="4005"/>
                </a:lnTo>
                <a:lnTo>
                  <a:pt x="6644" y="4054"/>
                </a:lnTo>
                <a:lnTo>
                  <a:pt x="6864" y="4152"/>
                </a:lnTo>
                <a:lnTo>
                  <a:pt x="7059" y="4250"/>
                </a:lnTo>
                <a:lnTo>
                  <a:pt x="7254" y="4421"/>
                </a:lnTo>
                <a:lnTo>
                  <a:pt x="7425" y="4616"/>
                </a:lnTo>
                <a:lnTo>
                  <a:pt x="7523" y="4836"/>
                </a:lnTo>
                <a:lnTo>
                  <a:pt x="7596" y="5080"/>
                </a:lnTo>
                <a:lnTo>
                  <a:pt x="7621" y="5373"/>
                </a:lnTo>
                <a:lnTo>
                  <a:pt x="7596" y="5569"/>
                </a:lnTo>
                <a:lnTo>
                  <a:pt x="7572" y="5788"/>
                </a:lnTo>
                <a:lnTo>
                  <a:pt x="7499" y="5984"/>
                </a:lnTo>
                <a:lnTo>
                  <a:pt x="7425" y="6179"/>
                </a:lnTo>
                <a:lnTo>
                  <a:pt x="7328" y="6374"/>
                </a:lnTo>
                <a:lnTo>
                  <a:pt x="7206" y="6570"/>
                </a:lnTo>
                <a:lnTo>
                  <a:pt x="7059" y="6741"/>
                </a:lnTo>
                <a:lnTo>
                  <a:pt x="6913" y="6912"/>
                </a:lnTo>
                <a:lnTo>
                  <a:pt x="6742" y="7058"/>
                </a:lnTo>
                <a:lnTo>
                  <a:pt x="6571" y="7205"/>
                </a:lnTo>
                <a:lnTo>
                  <a:pt x="6400" y="7303"/>
                </a:lnTo>
                <a:lnTo>
                  <a:pt x="6204" y="7425"/>
                </a:lnTo>
                <a:lnTo>
                  <a:pt x="6009" y="7498"/>
                </a:lnTo>
                <a:lnTo>
                  <a:pt x="5789" y="7571"/>
                </a:lnTo>
                <a:lnTo>
                  <a:pt x="5569" y="7596"/>
                </a:lnTo>
                <a:lnTo>
                  <a:pt x="5374" y="7620"/>
                </a:lnTo>
                <a:lnTo>
                  <a:pt x="5105" y="7596"/>
                </a:lnTo>
                <a:lnTo>
                  <a:pt x="4861" y="7522"/>
                </a:lnTo>
                <a:lnTo>
                  <a:pt x="4617" y="7425"/>
                </a:lnTo>
                <a:lnTo>
                  <a:pt x="4421" y="7254"/>
                </a:lnTo>
                <a:lnTo>
                  <a:pt x="4250" y="7058"/>
                </a:lnTo>
                <a:lnTo>
                  <a:pt x="4128" y="6839"/>
                </a:lnTo>
                <a:lnTo>
                  <a:pt x="4055" y="6619"/>
                </a:lnTo>
                <a:lnTo>
                  <a:pt x="3982" y="6399"/>
                </a:lnTo>
                <a:lnTo>
                  <a:pt x="3933" y="6204"/>
                </a:lnTo>
                <a:lnTo>
                  <a:pt x="3860" y="6008"/>
                </a:lnTo>
                <a:lnTo>
                  <a:pt x="3762" y="5813"/>
                </a:lnTo>
                <a:lnTo>
                  <a:pt x="3615" y="5617"/>
                </a:lnTo>
                <a:lnTo>
                  <a:pt x="3469" y="5495"/>
                </a:lnTo>
                <a:lnTo>
                  <a:pt x="3322" y="5398"/>
                </a:lnTo>
                <a:lnTo>
                  <a:pt x="3176" y="5324"/>
                </a:lnTo>
                <a:lnTo>
                  <a:pt x="3029" y="5275"/>
                </a:lnTo>
                <a:lnTo>
                  <a:pt x="2858" y="5251"/>
                </a:lnTo>
                <a:lnTo>
                  <a:pt x="2712" y="5251"/>
                </a:lnTo>
                <a:lnTo>
                  <a:pt x="2565" y="5275"/>
                </a:lnTo>
                <a:lnTo>
                  <a:pt x="2419" y="5324"/>
                </a:lnTo>
                <a:lnTo>
                  <a:pt x="2248" y="5373"/>
                </a:lnTo>
                <a:lnTo>
                  <a:pt x="2101" y="5446"/>
                </a:lnTo>
                <a:lnTo>
                  <a:pt x="1808" y="5642"/>
                </a:lnTo>
                <a:lnTo>
                  <a:pt x="1515" y="5886"/>
                </a:lnTo>
                <a:lnTo>
                  <a:pt x="1246" y="6155"/>
                </a:lnTo>
                <a:lnTo>
                  <a:pt x="978" y="6448"/>
                </a:lnTo>
                <a:lnTo>
                  <a:pt x="758" y="6765"/>
                </a:lnTo>
                <a:lnTo>
                  <a:pt x="538" y="7058"/>
                </a:lnTo>
                <a:lnTo>
                  <a:pt x="367" y="7327"/>
                </a:lnTo>
                <a:lnTo>
                  <a:pt x="99" y="7791"/>
                </a:lnTo>
                <a:lnTo>
                  <a:pt x="25" y="7938"/>
                </a:lnTo>
                <a:lnTo>
                  <a:pt x="1" y="8035"/>
                </a:lnTo>
                <a:lnTo>
                  <a:pt x="25" y="8231"/>
                </a:lnTo>
                <a:lnTo>
                  <a:pt x="74" y="8402"/>
                </a:lnTo>
                <a:lnTo>
                  <a:pt x="172" y="8597"/>
                </a:lnTo>
                <a:lnTo>
                  <a:pt x="294" y="8744"/>
                </a:lnTo>
                <a:lnTo>
                  <a:pt x="587" y="9012"/>
                </a:lnTo>
                <a:lnTo>
                  <a:pt x="880" y="9256"/>
                </a:lnTo>
                <a:lnTo>
                  <a:pt x="1417" y="9696"/>
                </a:lnTo>
                <a:lnTo>
                  <a:pt x="1906" y="10062"/>
                </a:lnTo>
                <a:lnTo>
                  <a:pt x="2101" y="10233"/>
                </a:lnTo>
                <a:lnTo>
                  <a:pt x="2297" y="10404"/>
                </a:lnTo>
                <a:lnTo>
                  <a:pt x="2419" y="10575"/>
                </a:lnTo>
                <a:lnTo>
                  <a:pt x="2541" y="10746"/>
                </a:lnTo>
                <a:lnTo>
                  <a:pt x="2590" y="10917"/>
                </a:lnTo>
                <a:lnTo>
                  <a:pt x="2590" y="11113"/>
                </a:lnTo>
                <a:lnTo>
                  <a:pt x="2541" y="11308"/>
                </a:lnTo>
                <a:lnTo>
                  <a:pt x="2443" y="11528"/>
                </a:lnTo>
                <a:lnTo>
                  <a:pt x="2272" y="11772"/>
                </a:lnTo>
                <a:lnTo>
                  <a:pt x="2004" y="12041"/>
                </a:lnTo>
                <a:lnTo>
                  <a:pt x="1833" y="12212"/>
                </a:lnTo>
                <a:lnTo>
                  <a:pt x="1637" y="12309"/>
                </a:lnTo>
                <a:lnTo>
                  <a:pt x="1417" y="12383"/>
                </a:lnTo>
                <a:lnTo>
                  <a:pt x="1222" y="12431"/>
                </a:lnTo>
                <a:lnTo>
                  <a:pt x="1002" y="12480"/>
                </a:lnTo>
                <a:lnTo>
                  <a:pt x="782" y="12578"/>
                </a:lnTo>
                <a:lnTo>
                  <a:pt x="587" y="12700"/>
                </a:lnTo>
                <a:lnTo>
                  <a:pt x="367" y="12871"/>
                </a:lnTo>
                <a:lnTo>
                  <a:pt x="196" y="13066"/>
                </a:lnTo>
                <a:lnTo>
                  <a:pt x="99" y="13286"/>
                </a:lnTo>
                <a:lnTo>
                  <a:pt x="25" y="13530"/>
                </a:lnTo>
                <a:lnTo>
                  <a:pt x="1" y="13799"/>
                </a:lnTo>
                <a:lnTo>
                  <a:pt x="25" y="14019"/>
                </a:lnTo>
                <a:lnTo>
                  <a:pt x="50" y="14239"/>
                </a:lnTo>
                <a:lnTo>
                  <a:pt x="123" y="14434"/>
                </a:lnTo>
                <a:lnTo>
                  <a:pt x="221" y="14654"/>
                </a:lnTo>
                <a:lnTo>
                  <a:pt x="318" y="14825"/>
                </a:lnTo>
                <a:lnTo>
                  <a:pt x="440" y="15020"/>
                </a:lnTo>
                <a:lnTo>
                  <a:pt x="563" y="15191"/>
                </a:lnTo>
                <a:lnTo>
                  <a:pt x="709" y="15362"/>
                </a:lnTo>
                <a:lnTo>
                  <a:pt x="880" y="15509"/>
                </a:lnTo>
                <a:lnTo>
                  <a:pt x="1051" y="15631"/>
                </a:lnTo>
                <a:lnTo>
                  <a:pt x="1246" y="15753"/>
                </a:lnTo>
                <a:lnTo>
                  <a:pt x="1442" y="15875"/>
                </a:lnTo>
                <a:lnTo>
                  <a:pt x="1637" y="15948"/>
                </a:lnTo>
                <a:lnTo>
                  <a:pt x="1857" y="16022"/>
                </a:lnTo>
                <a:lnTo>
                  <a:pt x="2052" y="16046"/>
                </a:lnTo>
                <a:lnTo>
                  <a:pt x="2272" y="16070"/>
                </a:lnTo>
                <a:lnTo>
                  <a:pt x="2541" y="16046"/>
                </a:lnTo>
                <a:lnTo>
                  <a:pt x="2785" y="15973"/>
                </a:lnTo>
                <a:lnTo>
                  <a:pt x="3005" y="15875"/>
                </a:lnTo>
                <a:lnTo>
                  <a:pt x="3200" y="15704"/>
                </a:lnTo>
                <a:lnTo>
                  <a:pt x="3371" y="15509"/>
                </a:lnTo>
                <a:lnTo>
                  <a:pt x="3493" y="15289"/>
                </a:lnTo>
                <a:lnTo>
                  <a:pt x="3567" y="15094"/>
                </a:lnTo>
                <a:lnTo>
                  <a:pt x="3615" y="14874"/>
                </a:lnTo>
                <a:lnTo>
                  <a:pt x="3689" y="14654"/>
                </a:lnTo>
                <a:lnTo>
                  <a:pt x="3762" y="14459"/>
                </a:lnTo>
                <a:lnTo>
                  <a:pt x="3860" y="14239"/>
                </a:lnTo>
                <a:lnTo>
                  <a:pt x="4031" y="14068"/>
                </a:lnTo>
                <a:lnTo>
                  <a:pt x="4299" y="13824"/>
                </a:lnTo>
                <a:lnTo>
                  <a:pt x="4544" y="13628"/>
                </a:lnTo>
                <a:lnTo>
                  <a:pt x="4763" y="13530"/>
                </a:lnTo>
                <a:lnTo>
                  <a:pt x="4959" y="13482"/>
                </a:lnTo>
                <a:lnTo>
                  <a:pt x="5154" y="13482"/>
                </a:lnTo>
                <a:lnTo>
                  <a:pt x="5325" y="13530"/>
                </a:lnTo>
                <a:lnTo>
                  <a:pt x="5496" y="13653"/>
                </a:lnTo>
                <a:lnTo>
                  <a:pt x="5667" y="13775"/>
                </a:lnTo>
                <a:lnTo>
                  <a:pt x="5838" y="13970"/>
                </a:lnTo>
                <a:lnTo>
                  <a:pt x="6009" y="14165"/>
                </a:lnTo>
                <a:lnTo>
                  <a:pt x="6375" y="14654"/>
                </a:lnTo>
                <a:lnTo>
                  <a:pt x="6815" y="15191"/>
                </a:lnTo>
                <a:lnTo>
                  <a:pt x="7059" y="15484"/>
                </a:lnTo>
                <a:lnTo>
                  <a:pt x="7328" y="15777"/>
                </a:lnTo>
                <a:lnTo>
                  <a:pt x="7474" y="15899"/>
                </a:lnTo>
                <a:lnTo>
                  <a:pt x="7670" y="15997"/>
                </a:lnTo>
                <a:lnTo>
                  <a:pt x="7841" y="16046"/>
                </a:lnTo>
                <a:lnTo>
                  <a:pt x="8036" y="16070"/>
                </a:lnTo>
                <a:lnTo>
                  <a:pt x="8134" y="16046"/>
                </a:lnTo>
                <a:lnTo>
                  <a:pt x="8280" y="15973"/>
                </a:lnTo>
                <a:lnTo>
                  <a:pt x="8744" y="15704"/>
                </a:lnTo>
                <a:lnTo>
                  <a:pt x="9013" y="15533"/>
                </a:lnTo>
                <a:lnTo>
                  <a:pt x="9306" y="15313"/>
                </a:lnTo>
                <a:lnTo>
                  <a:pt x="9623" y="15094"/>
                </a:lnTo>
                <a:lnTo>
                  <a:pt x="9917" y="14825"/>
                </a:lnTo>
                <a:lnTo>
                  <a:pt x="10185" y="14556"/>
                </a:lnTo>
                <a:lnTo>
                  <a:pt x="10429" y="14263"/>
                </a:lnTo>
                <a:lnTo>
                  <a:pt x="10625" y="13970"/>
                </a:lnTo>
                <a:lnTo>
                  <a:pt x="10698" y="13824"/>
                </a:lnTo>
                <a:lnTo>
                  <a:pt x="10747" y="13653"/>
                </a:lnTo>
                <a:lnTo>
                  <a:pt x="10796" y="13506"/>
                </a:lnTo>
                <a:lnTo>
                  <a:pt x="10820" y="13359"/>
                </a:lnTo>
                <a:lnTo>
                  <a:pt x="10820" y="13213"/>
                </a:lnTo>
                <a:lnTo>
                  <a:pt x="10796" y="13042"/>
                </a:lnTo>
                <a:lnTo>
                  <a:pt x="10747" y="12895"/>
                </a:lnTo>
                <a:lnTo>
                  <a:pt x="10674" y="12749"/>
                </a:lnTo>
                <a:lnTo>
                  <a:pt x="10576" y="12602"/>
                </a:lnTo>
                <a:lnTo>
                  <a:pt x="10454" y="12456"/>
                </a:lnTo>
                <a:lnTo>
                  <a:pt x="10258" y="12309"/>
                </a:lnTo>
                <a:lnTo>
                  <a:pt x="10063" y="12212"/>
                </a:lnTo>
                <a:lnTo>
                  <a:pt x="9868" y="12138"/>
                </a:lnTo>
                <a:lnTo>
                  <a:pt x="9648" y="12065"/>
                </a:lnTo>
                <a:lnTo>
                  <a:pt x="9428" y="12016"/>
                </a:lnTo>
                <a:lnTo>
                  <a:pt x="9208" y="11919"/>
                </a:lnTo>
                <a:lnTo>
                  <a:pt x="9013" y="11821"/>
                </a:lnTo>
                <a:lnTo>
                  <a:pt x="8818" y="11650"/>
                </a:lnTo>
                <a:lnTo>
                  <a:pt x="8647" y="11454"/>
                </a:lnTo>
                <a:lnTo>
                  <a:pt x="8549" y="11235"/>
                </a:lnTo>
                <a:lnTo>
                  <a:pt x="8476" y="10990"/>
                </a:lnTo>
                <a:lnTo>
                  <a:pt x="8451" y="10697"/>
                </a:lnTo>
                <a:lnTo>
                  <a:pt x="8476" y="10502"/>
                </a:lnTo>
                <a:lnTo>
                  <a:pt x="8500" y="10282"/>
                </a:lnTo>
                <a:lnTo>
                  <a:pt x="8573" y="10087"/>
                </a:lnTo>
                <a:lnTo>
                  <a:pt x="8647" y="9891"/>
                </a:lnTo>
                <a:lnTo>
                  <a:pt x="8744" y="9696"/>
                </a:lnTo>
                <a:lnTo>
                  <a:pt x="8866" y="9501"/>
                </a:lnTo>
                <a:lnTo>
                  <a:pt x="9013" y="9330"/>
                </a:lnTo>
                <a:lnTo>
                  <a:pt x="9159" y="9159"/>
                </a:lnTo>
                <a:lnTo>
                  <a:pt x="9330" y="9012"/>
                </a:lnTo>
                <a:lnTo>
                  <a:pt x="9501" y="8890"/>
                </a:lnTo>
                <a:lnTo>
                  <a:pt x="9672" y="8768"/>
                </a:lnTo>
                <a:lnTo>
                  <a:pt x="9868" y="8646"/>
                </a:lnTo>
                <a:lnTo>
                  <a:pt x="10063" y="8573"/>
                </a:lnTo>
                <a:lnTo>
                  <a:pt x="10283" y="8499"/>
                </a:lnTo>
                <a:lnTo>
                  <a:pt x="10503" y="8475"/>
                </a:lnTo>
                <a:lnTo>
                  <a:pt x="10698" y="8450"/>
                </a:lnTo>
                <a:lnTo>
                  <a:pt x="10967" y="8475"/>
                </a:lnTo>
                <a:lnTo>
                  <a:pt x="11211" y="8548"/>
                </a:lnTo>
                <a:lnTo>
                  <a:pt x="11455" y="8646"/>
                </a:lnTo>
                <a:lnTo>
                  <a:pt x="11651" y="8817"/>
                </a:lnTo>
                <a:lnTo>
                  <a:pt x="11822" y="9012"/>
                </a:lnTo>
                <a:lnTo>
                  <a:pt x="11944" y="9232"/>
                </a:lnTo>
                <a:lnTo>
                  <a:pt x="12017" y="9452"/>
                </a:lnTo>
                <a:lnTo>
                  <a:pt x="12090" y="9672"/>
                </a:lnTo>
                <a:lnTo>
                  <a:pt x="12139" y="9867"/>
                </a:lnTo>
                <a:lnTo>
                  <a:pt x="12212" y="10062"/>
                </a:lnTo>
                <a:lnTo>
                  <a:pt x="12310" y="10258"/>
                </a:lnTo>
                <a:lnTo>
                  <a:pt x="12457" y="10453"/>
                </a:lnTo>
                <a:lnTo>
                  <a:pt x="12603" y="10575"/>
                </a:lnTo>
                <a:lnTo>
                  <a:pt x="12750" y="10673"/>
                </a:lnTo>
                <a:lnTo>
                  <a:pt x="12896" y="10746"/>
                </a:lnTo>
                <a:lnTo>
                  <a:pt x="13043" y="10795"/>
                </a:lnTo>
                <a:lnTo>
                  <a:pt x="13214" y="10819"/>
                </a:lnTo>
                <a:lnTo>
                  <a:pt x="13360" y="10819"/>
                </a:lnTo>
                <a:lnTo>
                  <a:pt x="13507" y="10795"/>
                </a:lnTo>
                <a:lnTo>
                  <a:pt x="13653" y="10746"/>
                </a:lnTo>
                <a:lnTo>
                  <a:pt x="13824" y="10697"/>
                </a:lnTo>
                <a:lnTo>
                  <a:pt x="13971" y="10624"/>
                </a:lnTo>
                <a:lnTo>
                  <a:pt x="14264" y="10429"/>
                </a:lnTo>
                <a:lnTo>
                  <a:pt x="14557" y="10184"/>
                </a:lnTo>
                <a:lnTo>
                  <a:pt x="14826" y="9916"/>
                </a:lnTo>
                <a:lnTo>
                  <a:pt x="15094" y="9623"/>
                </a:lnTo>
                <a:lnTo>
                  <a:pt x="15314" y="9305"/>
                </a:lnTo>
                <a:lnTo>
                  <a:pt x="15534" y="9012"/>
                </a:lnTo>
                <a:lnTo>
                  <a:pt x="15705" y="8744"/>
                </a:lnTo>
                <a:lnTo>
                  <a:pt x="15973" y="8279"/>
                </a:lnTo>
                <a:lnTo>
                  <a:pt x="16047" y="8133"/>
                </a:lnTo>
                <a:lnTo>
                  <a:pt x="16071" y="8035"/>
                </a:lnTo>
                <a:lnTo>
                  <a:pt x="16047" y="7840"/>
                </a:lnTo>
                <a:lnTo>
                  <a:pt x="15998" y="7669"/>
                </a:lnTo>
                <a:lnTo>
                  <a:pt x="15900" y="7474"/>
                </a:lnTo>
                <a:lnTo>
                  <a:pt x="15778" y="7327"/>
                </a:lnTo>
                <a:lnTo>
                  <a:pt x="15485" y="7058"/>
                </a:lnTo>
                <a:lnTo>
                  <a:pt x="15192" y="6814"/>
                </a:lnTo>
                <a:lnTo>
                  <a:pt x="14655" y="6374"/>
                </a:lnTo>
                <a:lnTo>
                  <a:pt x="14166" y="6008"/>
                </a:lnTo>
                <a:lnTo>
                  <a:pt x="13971" y="5837"/>
                </a:lnTo>
                <a:lnTo>
                  <a:pt x="13775" y="5666"/>
                </a:lnTo>
                <a:lnTo>
                  <a:pt x="13653" y="5495"/>
                </a:lnTo>
                <a:lnTo>
                  <a:pt x="13531" y="5324"/>
                </a:lnTo>
                <a:lnTo>
                  <a:pt x="13482" y="5153"/>
                </a:lnTo>
                <a:lnTo>
                  <a:pt x="13482" y="4958"/>
                </a:lnTo>
                <a:lnTo>
                  <a:pt x="13531" y="4763"/>
                </a:lnTo>
                <a:lnTo>
                  <a:pt x="13629" y="4543"/>
                </a:lnTo>
                <a:lnTo>
                  <a:pt x="13800" y="4299"/>
                </a:lnTo>
                <a:lnTo>
                  <a:pt x="14068" y="4030"/>
                </a:lnTo>
                <a:lnTo>
                  <a:pt x="14239" y="3859"/>
                </a:lnTo>
                <a:lnTo>
                  <a:pt x="14435" y="3761"/>
                </a:lnTo>
                <a:lnTo>
                  <a:pt x="14655" y="3688"/>
                </a:lnTo>
                <a:lnTo>
                  <a:pt x="14850" y="3639"/>
                </a:lnTo>
                <a:lnTo>
                  <a:pt x="15070" y="3590"/>
                </a:lnTo>
                <a:lnTo>
                  <a:pt x="15290" y="3493"/>
                </a:lnTo>
                <a:lnTo>
                  <a:pt x="15485" y="3370"/>
                </a:lnTo>
                <a:lnTo>
                  <a:pt x="15705" y="3199"/>
                </a:lnTo>
                <a:lnTo>
                  <a:pt x="15876" y="3004"/>
                </a:lnTo>
                <a:lnTo>
                  <a:pt x="15973" y="2784"/>
                </a:lnTo>
                <a:lnTo>
                  <a:pt x="16047" y="2540"/>
                </a:lnTo>
                <a:lnTo>
                  <a:pt x="16071" y="2271"/>
                </a:lnTo>
                <a:lnTo>
                  <a:pt x="16047" y="2052"/>
                </a:lnTo>
                <a:lnTo>
                  <a:pt x="16022" y="1832"/>
                </a:lnTo>
                <a:lnTo>
                  <a:pt x="15949" y="1636"/>
                </a:lnTo>
                <a:lnTo>
                  <a:pt x="15851" y="1417"/>
                </a:lnTo>
                <a:lnTo>
                  <a:pt x="15754" y="1246"/>
                </a:lnTo>
                <a:lnTo>
                  <a:pt x="15632" y="1050"/>
                </a:lnTo>
                <a:lnTo>
                  <a:pt x="15509" y="879"/>
                </a:lnTo>
                <a:lnTo>
                  <a:pt x="15363" y="708"/>
                </a:lnTo>
                <a:lnTo>
                  <a:pt x="15192" y="562"/>
                </a:lnTo>
                <a:lnTo>
                  <a:pt x="15021" y="440"/>
                </a:lnTo>
                <a:lnTo>
                  <a:pt x="14826" y="318"/>
                </a:lnTo>
                <a:lnTo>
                  <a:pt x="14630" y="195"/>
                </a:lnTo>
                <a:lnTo>
                  <a:pt x="14435" y="122"/>
                </a:lnTo>
                <a:lnTo>
                  <a:pt x="14215" y="49"/>
                </a:lnTo>
                <a:lnTo>
                  <a:pt x="14020" y="24"/>
                </a:lnTo>
                <a:lnTo>
                  <a:pt x="13800" y="0"/>
                </a:lnTo>
                <a:lnTo>
                  <a:pt x="13531" y="24"/>
                </a:lnTo>
                <a:lnTo>
                  <a:pt x="13287" y="98"/>
                </a:lnTo>
                <a:lnTo>
                  <a:pt x="13067" y="195"/>
                </a:lnTo>
                <a:lnTo>
                  <a:pt x="12872" y="366"/>
                </a:lnTo>
                <a:lnTo>
                  <a:pt x="12701" y="562"/>
                </a:lnTo>
                <a:lnTo>
                  <a:pt x="12579" y="782"/>
                </a:lnTo>
                <a:lnTo>
                  <a:pt x="12505" y="977"/>
                </a:lnTo>
                <a:lnTo>
                  <a:pt x="12457" y="1197"/>
                </a:lnTo>
                <a:lnTo>
                  <a:pt x="12383" y="1417"/>
                </a:lnTo>
                <a:lnTo>
                  <a:pt x="12310" y="1612"/>
                </a:lnTo>
                <a:lnTo>
                  <a:pt x="12212" y="1832"/>
                </a:lnTo>
                <a:lnTo>
                  <a:pt x="12041" y="2003"/>
                </a:lnTo>
                <a:lnTo>
                  <a:pt x="11773" y="2271"/>
                </a:lnTo>
                <a:lnTo>
                  <a:pt x="11528" y="2442"/>
                </a:lnTo>
                <a:lnTo>
                  <a:pt x="11309" y="2540"/>
                </a:lnTo>
                <a:lnTo>
                  <a:pt x="11113" y="2589"/>
                </a:lnTo>
                <a:lnTo>
                  <a:pt x="10918" y="2589"/>
                </a:lnTo>
                <a:lnTo>
                  <a:pt x="10747" y="2540"/>
                </a:lnTo>
                <a:lnTo>
                  <a:pt x="10576" y="2418"/>
                </a:lnTo>
                <a:lnTo>
                  <a:pt x="10405" y="2296"/>
                </a:lnTo>
                <a:lnTo>
                  <a:pt x="10234" y="2100"/>
                </a:lnTo>
                <a:lnTo>
                  <a:pt x="10063" y="1905"/>
                </a:lnTo>
                <a:lnTo>
                  <a:pt x="9697" y="1417"/>
                </a:lnTo>
                <a:lnTo>
                  <a:pt x="9257" y="879"/>
                </a:lnTo>
                <a:lnTo>
                  <a:pt x="9013" y="586"/>
                </a:lnTo>
                <a:lnTo>
                  <a:pt x="8744" y="293"/>
                </a:lnTo>
                <a:lnTo>
                  <a:pt x="8598" y="171"/>
                </a:lnTo>
                <a:lnTo>
                  <a:pt x="8402" y="73"/>
                </a:lnTo>
                <a:lnTo>
                  <a:pt x="8231" y="24"/>
                </a:lnTo>
                <a:lnTo>
                  <a:pt x="803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94" name="Shape 423"/>
          <p:cNvGrpSpPr/>
          <p:nvPr/>
        </p:nvGrpSpPr>
        <p:grpSpPr>
          <a:xfrm>
            <a:off x="5297614" y="2763293"/>
            <a:ext cx="273216" cy="386992"/>
            <a:chOff x="3984000" y="1594200"/>
            <a:chExt cx="357800" cy="506800"/>
          </a:xfrm>
        </p:grpSpPr>
        <p:sp>
          <p:nvSpPr>
            <p:cNvPr id="95" name="Shape 424"/>
            <p:cNvSpPr/>
            <p:nvPr/>
          </p:nvSpPr>
          <p:spPr>
            <a:xfrm>
              <a:off x="3984000" y="1597875"/>
              <a:ext cx="44575" cy="503125"/>
            </a:xfrm>
            <a:custGeom>
              <a:avLst/>
              <a:gdLst/>
              <a:ahLst/>
              <a:cxnLst/>
              <a:rect l="0" t="0" r="0" b="0"/>
              <a:pathLst>
                <a:path w="1783" h="20125" extrusionOk="0">
                  <a:moveTo>
                    <a:pt x="391" y="0"/>
                  </a:moveTo>
                  <a:lnTo>
                    <a:pt x="293" y="25"/>
                  </a:lnTo>
                  <a:lnTo>
                    <a:pt x="220" y="73"/>
                  </a:lnTo>
                  <a:lnTo>
                    <a:pt x="147" y="147"/>
                  </a:lnTo>
                  <a:lnTo>
                    <a:pt x="98" y="220"/>
                  </a:lnTo>
                  <a:lnTo>
                    <a:pt x="49" y="293"/>
                  </a:lnTo>
                  <a:lnTo>
                    <a:pt x="24" y="391"/>
                  </a:lnTo>
                  <a:lnTo>
                    <a:pt x="0" y="489"/>
                  </a:lnTo>
                  <a:lnTo>
                    <a:pt x="0" y="20125"/>
                  </a:lnTo>
                  <a:lnTo>
                    <a:pt x="1783" y="20125"/>
                  </a:lnTo>
                  <a:lnTo>
                    <a:pt x="1783" y="489"/>
                  </a:lnTo>
                  <a:lnTo>
                    <a:pt x="1783" y="391"/>
                  </a:lnTo>
                  <a:lnTo>
                    <a:pt x="1734" y="293"/>
                  </a:lnTo>
                  <a:lnTo>
                    <a:pt x="1710" y="220"/>
                  </a:lnTo>
                  <a:lnTo>
                    <a:pt x="1636" y="147"/>
                  </a:lnTo>
                  <a:lnTo>
                    <a:pt x="1563" y="73"/>
                  </a:lnTo>
                  <a:lnTo>
                    <a:pt x="1490" y="25"/>
                  </a:lnTo>
                  <a:lnTo>
                    <a:pt x="139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96" name="Shape 425"/>
            <p:cNvSpPr/>
            <p:nvPr/>
          </p:nvSpPr>
          <p:spPr>
            <a:xfrm>
              <a:off x="4041375" y="1594200"/>
              <a:ext cx="300425" cy="229600"/>
            </a:xfrm>
            <a:custGeom>
              <a:avLst/>
              <a:gdLst/>
              <a:ahLst/>
              <a:cxnLst/>
              <a:rect l="0" t="0" r="0" b="0"/>
              <a:pathLst>
                <a:path w="12017" h="9184" extrusionOk="0">
                  <a:moveTo>
                    <a:pt x="2541" y="1"/>
                  </a:moveTo>
                  <a:lnTo>
                    <a:pt x="2174" y="25"/>
                  </a:lnTo>
                  <a:lnTo>
                    <a:pt x="1808" y="74"/>
                  </a:lnTo>
                  <a:lnTo>
                    <a:pt x="1442" y="123"/>
                  </a:lnTo>
                  <a:lnTo>
                    <a:pt x="1100" y="245"/>
                  </a:lnTo>
                  <a:lnTo>
                    <a:pt x="734" y="367"/>
                  </a:lnTo>
                  <a:lnTo>
                    <a:pt x="367" y="538"/>
                  </a:lnTo>
                  <a:lnTo>
                    <a:pt x="1" y="758"/>
                  </a:lnTo>
                  <a:lnTo>
                    <a:pt x="1" y="8427"/>
                  </a:lnTo>
                  <a:lnTo>
                    <a:pt x="367" y="8207"/>
                  </a:lnTo>
                  <a:lnTo>
                    <a:pt x="734" y="8036"/>
                  </a:lnTo>
                  <a:lnTo>
                    <a:pt x="1100" y="7889"/>
                  </a:lnTo>
                  <a:lnTo>
                    <a:pt x="1442" y="7792"/>
                  </a:lnTo>
                  <a:lnTo>
                    <a:pt x="1808" y="7718"/>
                  </a:lnTo>
                  <a:lnTo>
                    <a:pt x="2174" y="7694"/>
                  </a:lnTo>
                  <a:lnTo>
                    <a:pt x="2541" y="7670"/>
                  </a:lnTo>
                  <a:lnTo>
                    <a:pt x="2883" y="7694"/>
                  </a:lnTo>
                  <a:lnTo>
                    <a:pt x="3249" y="7718"/>
                  </a:lnTo>
                  <a:lnTo>
                    <a:pt x="3615" y="7767"/>
                  </a:lnTo>
                  <a:lnTo>
                    <a:pt x="3982" y="7840"/>
                  </a:lnTo>
                  <a:lnTo>
                    <a:pt x="4324" y="7914"/>
                  </a:lnTo>
                  <a:lnTo>
                    <a:pt x="5056" y="8134"/>
                  </a:lnTo>
                  <a:lnTo>
                    <a:pt x="5765" y="8353"/>
                  </a:lnTo>
                  <a:lnTo>
                    <a:pt x="6497" y="8573"/>
                  </a:lnTo>
                  <a:lnTo>
                    <a:pt x="7206" y="8793"/>
                  </a:lnTo>
                  <a:lnTo>
                    <a:pt x="7938" y="8988"/>
                  </a:lnTo>
                  <a:lnTo>
                    <a:pt x="8305" y="9062"/>
                  </a:lnTo>
                  <a:lnTo>
                    <a:pt x="8647" y="9110"/>
                  </a:lnTo>
                  <a:lnTo>
                    <a:pt x="9013" y="9159"/>
                  </a:lnTo>
                  <a:lnTo>
                    <a:pt x="9379" y="9184"/>
                  </a:lnTo>
                  <a:lnTo>
                    <a:pt x="9746" y="9159"/>
                  </a:lnTo>
                  <a:lnTo>
                    <a:pt x="10088" y="9135"/>
                  </a:lnTo>
                  <a:lnTo>
                    <a:pt x="10454" y="9086"/>
                  </a:lnTo>
                  <a:lnTo>
                    <a:pt x="10820" y="8988"/>
                  </a:lnTo>
                  <a:lnTo>
                    <a:pt x="11187" y="8866"/>
                  </a:lnTo>
                  <a:lnTo>
                    <a:pt x="11529" y="8695"/>
                  </a:lnTo>
                  <a:lnTo>
                    <a:pt x="11699" y="8598"/>
                  </a:lnTo>
                  <a:lnTo>
                    <a:pt x="11822" y="8500"/>
                  </a:lnTo>
                  <a:lnTo>
                    <a:pt x="11895" y="8378"/>
                  </a:lnTo>
                  <a:lnTo>
                    <a:pt x="11968" y="8256"/>
                  </a:lnTo>
                  <a:lnTo>
                    <a:pt x="12017" y="8134"/>
                  </a:lnTo>
                  <a:lnTo>
                    <a:pt x="12017" y="8011"/>
                  </a:lnTo>
                  <a:lnTo>
                    <a:pt x="11968" y="7914"/>
                  </a:lnTo>
                  <a:lnTo>
                    <a:pt x="11919" y="7816"/>
                  </a:lnTo>
                  <a:lnTo>
                    <a:pt x="11529" y="7425"/>
                  </a:lnTo>
                  <a:lnTo>
                    <a:pt x="11138" y="6961"/>
                  </a:lnTo>
                  <a:lnTo>
                    <a:pt x="10771" y="6473"/>
                  </a:lnTo>
                  <a:lnTo>
                    <a:pt x="10381" y="5960"/>
                  </a:lnTo>
                  <a:lnTo>
                    <a:pt x="10307" y="5813"/>
                  </a:lnTo>
                  <a:lnTo>
                    <a:pt x="10259" y="5667"/>
                  </a:lnTo>
                  <a:lnTo>
                    <a:pt x="10234" y="5496"/>
                  </a:lnTo>
                  <a:lnTo>
                    <a:pt x="10210" y="5300"/>
                  </a:lnTo>
                  <a:lnTo>
                    <a:pt x="10234" y="5130"/>
                  </a:lnTo>
                  <a:lnTo>
                    <a:pt x="10259" y="4959"/>
                  </a:lnTo>
                  <a:lnTo>
                    <a:pt x="10307" y="4788"/>
                  </a:lnTo>
                  <a:lnTo>
                    <a:pt x="10381" y="4617"/>
                  </a:lnTo>
                  <a:lnTo>
                    <a:pt x="10771" y="3884"/>
                  </a:lnTo>
                  <a:lnTo>
                    <a:pt x="11138" y="3127"/>
                  </a:lnTo>
                  <a:lnTo>
                    <a:pt x="11529" y="2345"/>
                  </a:lnTo>
                  <a:lnTo>
                    <a:pt x="11919" y="1490"/>
                  </a:lnTo>
                  <a:lnTo>
                    <a:pt x="11993" y="1320"/>
                  </a:lnTo>
                  <a:lnTo>
                    <a:pt x="12017" y="1173"/>
                  </a:lnTo>
                  <a:lnTo>
                    <a:pt x="12017" y="1051"/>
                  </a:lnTo>
                  <a:lnTo>
                    <a:pt x="11968" y="978"/>
                  </a:lnTo>
                  <a:lnTo>
                    <a:pt x="11895" y="953"/>
                  </a:lnTo>
                  <a:lnTo>
                    <a:pt x="11822" y="929"/>
                  </a:lnTo>
                  <a:lnTo>
                    <a:pt x="11699" y="978"/>
                  </a:lnTo>
                  <a:lnTo>
                    <a:pt x="11529" y="1026"/>
                  </a:lnTo>
                  <a:lnTo>
                    <a:pt x="11187" y="1197"/>
                  </a:lnTo>
                  <a:lnTo>
                    <a:pt x="10820" y="1320"/>
                  </a:lnTo>
                  <a:lnTo>
                    <a:pt x="10454" y="1417"/>
                  </a:lnTo>
                  <a:lnTo>
                    <a:pt x="10088" y="1466"/>
                  </a:lnTo>
                  <a:lnTo>
                    <a:pt x="9746" y="1515"/>
                  </a:lnTo>
                  <a:lnTo>
                    <a:pt x="9379" y="1515"/>
                  </a:lnTo>
                  <a:lnTo>
                    <a:pt x="9013" y="1490"/>
                  </a:lnTo>
                  <a:lnTo>
                    <a:pt x="8647" y="1466"/>
                  </a:lnTo>
                  <a:lnTo>
                    <a:pt x="8305" y="1393"/>
                  </a:lnTo>
                  <a:lnTo>
                    <a:pt x="7938" y="1320"/>
                  </a:lnTo>
                  <a:lnTo>
                    <a:pt x="7206" y="1149"/>
                  </a:lnTo>
                  <a:lnTo>
                    <a:pt x="6497" y="929"/>
                  </a:lnTo>
                  <a:lnTo>
                    <a:pt x="5765" y="685"/>
                  </a:lnTo>
                  <a:lnTo>
                    <a:pt x="5056" y="465"/>
                  </a:lnTo>
                  <a:lnTo>
                    <a:pt x="4324" y="269"/>
                  </a:lnTo>
                  <a:lnTo>
                    <a:pt x="3982" y="172"/>
                  </a:lnTo>
                  <a:lnTo>
                    <a:pt x="3615" y="98"/>
                  </a:lnTo>
                  <a:lnTo>
                    <a:pt x="3249" y="50"/>
                  </a:lnTo>
                  <a:lnTo>
                    <a:pt x="2883" y="25"/>
                  </a:lnTo>
                  <a:lnTo>
                    <a:pt x="254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97" name="Shape 426"/>
          <p:cNvGrpSpPr/>
          <p:nvPr/>
        </p:nvGrpSpPr>
        <p:grpSpPr>
          <a:xfrm>
            <a:off x="5768966" y="2846277"/>
            <a:ext cx="359961" cy="221024"/>
            <a:chOff x="4601275" y="1702875"/>
            <a:chExt cx="471400" cy="289450"/>
          </a:xfrm>
        </p:grpSpPr>
        <p:sp>
          <p:nvSpPr>
            <p:cNvPr id="98" name="Shape 427"/>
            <p:cNvSpPr/>
            <p:nvPr/>
          </p:nvSpPr>
          <p:spPr>
            <a:xfrm>
              <a:off x="4816200" y="1702875"/>
              <a:ext cx="41550" cy="41550"/>
            </a:xfrm>
            <a:custGeom>
              <a:avLst/>
              <a:gdLst/>
              <a:ahLst/>
              <a:cxnLst/>
              <a:rect l="0" t="0" r="0" b="0"/>
              <a:pathLst>
                <a:path w="1662" h="1662" extrusionOk="0">
                  <a:moveTo>
                    <a:pt x="831" y="1"/>
                  </a:moveTo>
                  <a:lnTo>
                    <a:pt x="660" y="25"/>
                  </a:lnTo>
                  <a:lnTo>
                    <a:pt x="514" y="74"/>
                  </a:lnTo>
                  <a:lnTo>
                    <a:pt x="367" y="148"/>
                  </a:lnTo>
                  <a:lnTo>
                    <a:pt x="245" y="245"/>
                  </a:lnTo>
                  <a:lnTo>
                    <a:pt x="147" y="367"/>
                  </a:lnTo>
                  <a:lnTo>
                    <a:pt x="74" y="514"/>
                  </a:lnTo>
                  <a:lnTo>
                    <a:pt x="25" y="660"/>
                  </a:lnTo>
                  <a:lnTo>
                    <a:pt x="1" y="831"/>
                  </a:lnTo>
                  <a:lnTo>
                    <a:pt x="25" y="1002"/>
                  </a:lnTo>
                  <a:lnTo>
                    <a:pt x="74" y="1173"/>
                  </a:lnTo>
                  <a:lnTo>
                    <a:pt x="147" y="1295"/>
                  </a:lnTo>
                  <a:lnTo>
                    <a:pt x="245" y="1418"/>
                  </a:lnTo>
                  <a:lnTo>
                    <a:pt x="367" y="1540"/>
                  </a:lnTo>
                  <a:lnTo>
                    <a:pt x="514" y="1613"/>
                  </a:lnTo>
                  <a:lnTo>
                    <a:pt x="660" y="1662"/>
                  </a:lnTo>
                  <a:lnTo>
                    <a:pt x="1002" y="1662"/>
                  </a:lnTo>
                  <a:lnTo>
                    <a:pt x="1149" y="1613"/>
                  </a:lnTo>
                  <a:lnTo>
                    <a:pt x="1295" y="1540"/>
                  </a:lnTo>
                  <a:lnTo>
                    <a:pt x="1417" y="1418"/>
                  </a:lnTo>
                  <a:lnTo>
                    <a:pt x="1515" y="1295"/>
                  </a:lnTo>
                  <a:lnTo>
                    <a:pt x="1588" y="1173"/>
                  </a:lnTo>
                  <a:lnTo>
                    <a:pt x="1637" y="1002"/>
                  </a:lnTo>
                  <a:lnTo>
                    <a:pt x="1661" y="831"/>
                  </a:lnTo>
                  <a:lnTo>
                    <a:pt x="1637" y="660"/>
                  </a:lnTo>
                  <a:lnTo>
                    <a:pt x="1588" y="514"/>
                  </a:lnTo>
                  <a:lnTo>
                    <a:pt x="1515" y="367"/>
                  </a:lnTo>
                  <a:lnTo>
                    <a:pt x="1417" y="245"/>
                  </a:lnTo>
                  <a:lnTo>
                    <a:pt x="1295" y="148"/>
                  </a:lnTo>
                  <a:lnTo>
                    <a:pt x="1149" y="74"/>
                  </a:lnTo>
                  <a:lnTo>
                    <a:pt x="1002" y="25"/>
                  </a:lnTo>
                  <a:lnTo>
                    <a:pt x="83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99" name="Shape 428"/>
            <p:cNvSpPr/>
            <p:nvPr/>
          </p:nvSpPr>
          <p:spPr>
            <a:xfrm>
              <a:off x="5031125" y="1757225"/>
              <a:ext cx="41550" cy="41550"/>
            </a:xfrm>
            <a:custGeom>
              <a:avLst/>
              <a:gdLst/>
              <a:ahLst/>
              <a:cxnLst/>
              <a:rect l="0" t="0" r="0" b="0"/>
              <a:pathLst>
                <a:path w="1662" h="1662" extrusionOk="0">
                  <a:moveTo>
                    <a:pt x="831" y="1"/>
                  </a:moveTo>
                  <a:lnTo>
                    <a:pt x="660" y="25"/>
                  </a:lnTo>
                  <a:lnTo>
                    <a:pt x="513" y="74"/>
                  </a:lnTo>
                  <a:lnTo>
                    <a:pt x="367" y="147"/>
                  </a:lnTo>
                  <a:lnTo>
                    <a:pt x="245" y="245"/>
                  </a:lnTo>
                  <a:lnTo>
                    <a:pt x="147" y="367"/>
                  </a:lnTo>
                  <a:lnTo>
                    <a:pt x="74" y="514"/>
                  </a:lnTo>
                  <a:lnTo>
                    <a:pt x="25" y="684"/>
                  </a:lnTo>
                  <a:lnTo>
                    <a:pt x="1" y="831"/>
                  </a:lnTo>
                  <a:lnTo>
                    <a:pt x="25" y="1002"/>
                  </a:lnTo>
                  <a:lnTo>
                    <a:pt x="74" y="1173"/>
                  </a:lnTo>
                  <a:lnTo>
                    <a:pt x="147" y="1295"/>
                  </a:lnTo>
                  <a:lnTo>
                    <a:pt x="245" y="1417"/>
                  </a:lnTo>
                  <a:lnTo>
                    <a:pt x="367" y="1539"/>
                  </a:lnTo>
                  <a:lnTo>
                    <a:pt x="513" y="1613"/>
                  </a:lnTo>
                  <a:lnTo>
                    <a:pt x="660" y="1661"/>
                  </a:lnTo>
                  <a:lnTo>
                    <a:pt x="1002" y="1661"/>
                  </a:lnTo>
                  <a:lnTo>
                    <a:pt x="1148" y="1613"/>
                  </a:lnTo>
                  <a:lnTo>
                    <a:pt x="1295" y="1539"/>
                  </a:lnTo>
                  <a:lnTo>
                    <a:pt x="1417" y="1417"/>
                  </a:lnTo>
                  <a:lnTo>
                    <a:pt x="1515" y="1295"/>
                  </a:lnTo>
                  <a:lnTo>
                    <a:pt x="1588" y="1173"/>
                  </a:lnTo>
                  <a:lnTo>
                    <a:pt x="1637" y="1002"/>
                  </a:lnTo>
                  <a:lnTo>
                    <a:pt x="1661" y="831"/>
                  </a:lnTo>
                  <a:lnTo>
                    <a:pt x="1637" y="684"/>
                  </a:lnTo>
                  <a:lnTo>
                    <a:pt x="1588" y="514"/>
                  </a:lnTo>
                  <a:lnTo>
                    <a:pt x="1515" y="367"/>
                  </a:lnTo>
                  <a:lnTo>
                    <a:pt x="1417" y="245"/>
                  </a:lnTo>
                  <a:lnTo>
                    <a:pt x="1295" y="147"/>
                  </a:lnTo>
                  <a:lnTo>
                    <a:pt x="1148" y="74"/>
                  </a:lnTo>
                  <a:lnTo>
                    <a:pt x="1002" y="25"/>
                  </a:lnTo>
                  <a:lnTo>
                    <a:pt x="83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00" name="Shape 429"/>
            <p:cNvSpPr/>
            <p:nvPr/>
          </p:nvSpPr>
          <p:spPr>
            <a:xfrm>
              <a:off x="4634875" y="1756000"/>
              <a:ext cx="404225" cy="178325"/>
            </a:xfrm>
            <a:custGeom>
              <a:avLst/>
              <a:gdLst/>
              <a:ahLst/>
              <a:cxnLst/>
              <a:rect l="0" t="0" r="0" b="0"/>
              <a:pathLst>
                <a:path w="16169" h="7133" extrusionOk="0">
                  <a:moveTo>
                    <a:pt x="7742" y="1"/>
                  </a:moveTo>
                  <a:lnTo>
                    <a:pt x="5007" y="3444"/>
                  </a:lnTo>
                  <a:lnTo>
                    <a:pt x="464" y="1784"/>
                  </a:lnTo>
                  <a:lnTo>
                    <a:pt x="366" y="1881"/>
                  </a:lnTo>
                  <a:lnTo>
                    <a:pt x="244" y="1979"/>
                  </a:lnTo>
                  <a:lnTo>
                    <a:pt x="122" y="2052"/>
                  </a:lnTo>
                  <a:lnTo>
                    <a:pt x="0" y="2101"/>
                  </a:lnTo>
                  <a:lnTo>
                    <a:pt x="1465" y="7132"/>
                  </a:lnTo>
                  <a:lnTo>
                    <a:pt x="14703" y="7132"/>
                  </a:lnTo>
                  <a:lnTo>
                    <a:pt x="16168" y="2101"/>
                  </a:lnTo>
                  <a:lnTo>
                    <a:pt x="16046" y="2052"/>
                  </a:lnTo>
                  <a:lnTo>
                    <a:pt x="15924" y="1979"/>
                  </a:lnTo>
                  <a:lnTo>
                    <a:pt x="15802" y="1881"/>
                  </a:lnTo>
                  <a:lnTo>
                    <a:pt x="15704" y="1784"/>
                  </a:lnTo>
                  <a:lnTo>
                    <a:pt x="11161" y="3444"/>
                  </a:lnTo>
                  <a:lnTo>
                    <a:pt x="8426" y="1"/>
                  </a:lnTo>
                  <a:lnTo>
                    <a:pt x="8255" y="25"/>
                  </a:lnTo>
                  <a:lnTo>
                    <a:pt x="7913" y="25"/>
                  </a:lnTo>
                  <a:lnTo>
                    <a:pt x="7742"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01" name="Shape 430"/>
            <p:cNvSpPr/>
            <p:nvPr/>
          </p:nvSpPr>
          <p:spPr>
            <a:xfrm>
              <a:off x="4601275" y="1757225"/>
              <a:ext cx="41550" cy="41550"/>
            </a:xfrm>
            <a:custGeom>
              <a:avLst/>
              <a:gdLst/>
              <a:ahLst/>
              <a:cxnLst/>
              <a:rect l="0" t="0" r="0" b="0"/>
              <a:pathLst>
                <a:path w="1662" h="1662" extrusionOk="0">
                  <a:moveTo>
                    <a:pt x="831" y="1"/>
                  </a:moveTo>
                  <a:lnTo>
                    <a:pt x="660" y="25"/>
                  </a:lnTo>
                  <a:lnTo>
                    <a:pt x="514" y="74"/>
                  </a:lnTo>
                  <a:lnTo>
                    <a:pt x="367" y="147"/>
                  </a:lnTo>
                  <a:lnTo>
                    <a:pt x="245" y="245"/>
                  </a:lnTo>
                  <a:lnTo>
                    <a:pt x="147" y="367"/>
                  </a:lnTo>
                  <a:lnTo>
                    <a:pt x="74" y="514"/>
                  </a:lnTo>
                  <a:lnTo>
                    <a:pt x="25" y="684"/>
                  </a:lnTo>
                  <a:lnTo>
                    <a:pt x="1" y="831"/>
                  </a:lnTo>
                  <a:lnTo>
                    <a:pt x="25" y="1002"/>
                  </a:lnTo>
                  <a:lnTo>
                    <a:pt x="74" y="1173"/>
                  </a:lnTo>
                  <a:lnTo>
                    <a:pt x="147" y="1295"/>
                  </a:lnTo>
                  <a:lnTo>
                    <a:pt x="245" y="1417"/>
                  </a:lnTo>
                  <a:lnTo>
                    <a:pt x="367" y="1539"/>
                  </a:lnTo>
                  <a:lnTo>
                    <a:pt x="514" y="1613"/>
                  </a:lnTo>
                  <a:lnTo>
                    <a:pt x="660" y="1661"/>
                  </a:lnTo>
                  <a:lnTo>
                    <a:pt x="1002" y="1661"/>
                  </a:lnTo>
                  <a:lnTo>
                    <a:pt x="1149" y="1613"/>
                  </a:lnTo>
                  <a:lnTo>
                    <a:pt x="1295" y="1539"/>
                  </a:lnTo>
                  <a:lnTo>
                    <a:pt x="1417" y="1417"/>
                  </a:lnTo>
                  <a:lnTo>
                    <a:pt x="1515" y="1295"/>
                  </a:lnTo>
                  <a:lnTo>
                    <a:pt x="1588" y="1173"/>
                  </a:lnTo>
                  <a:lnTo>
                    <a:pt x="1637" y="1002"/>
                  </a:lnTo>
                  <a:lnTo>
                    <a:pt x="1662" y="831"/>
                  </a:lnTo>
                  <a:lnTo>
                    <a:pt x="1637" y="684"/>
                  </a:lnTo>
                  <a:lnTo>
                    <a:pt x="1588" y="514"/>
                  </a:lnTo>
                  <a:lnTo>
                    <a:pt x="1515" y="367"/>
                  </a:lnTo>
                  <a:lnTo>
                    <a:pt x="1417" y="245"/>
                  </a:lnTo>
                  <a:lnTo>
                    <a:pt x="1295" y="147"/>
                  </a:lnTo>
                  <a:lnTo>
                    <a:pt x="1149" y="74"/>
                  </a:lnTo>
                  <a:lnTo>
                    <a:pt x="1002" y="25"/>
                  </a:lnTo>
                  <a:lnTo>
                    <a:pt x="83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02" name="Shape 431"/>
            <p:cNvSpPr/>
            <p:nvPr/>
          </p:nvSpPr>
          <p:spPr>
            <a:xfrm>
              <a:off x="4673325" y="1947725"/>
              <a:ext cx="327300" cy="44600"/>
            </a:xfrm>
            <a:custGeom>
              <a:avLst/>
              <a:gdLst/>
              <a:ahLst/>
              <a:cxnLst/>
              <a:rect l="0" t="0" r="0" b="0"/>
              <a:pathLst>
                <a:path w="13092" h="1784" extrusionOk="0">
                  <a:moveTo>
                    <a:pt x="1" y="1"/>
                  </a:moveTo>
                  <a:lnTo>
                    <a:pt x="514" y="1784"/>
                  </a:lnTo>
                  <a:lnTo>
                    <a:pt x="1808" y="1686"/>
                  </a:lnTo>
                  <a:lnTo>
                    <a:pt x="3249" y="1588"/>
                  </a:lnTo>
                  <a:lnTo>
                    <a:pt x="4836" y="1539"/>
                  </a:lnTo>
                  <a:lnTo>
                    <a:pt x="8256" y="1539"/>
                  </a:lnTo>
                  <a:lnTo>
                    <a:pt x="9843" y="1588"/>
                  </a:lnTo>
                  <a:lnTo>
                    <a:pt x="11284" y="1661"/>
                  </a:lnTo>
                  <a:lnTo>
                    <a:pt x="12579" y="1784"/>
                  </a:lnTo>
                  <a:lnTo>
                    <a:pt x="1309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03" name="Shape 432"/>
          <p:cNvGrpSpPr/>
          <p:nvPr/>
        </p:nvGrpSpPr>
        <p:grpSpPr>
          <a:xfrm>
            <a:off x="6300947" y="2792195"/>
            <a:ext cx="325446" cy="329188"/>
            <a:chOff x="5297950" y="1632050"/>
            <a:chExt cx="426200" cy="431100"/>
          </a:xfrm>
        </p:grpSpPr>
        <p:sp>
          <p:nvSpPr>
            <p:cNvPr id="104" name="Shape 433"/>
            <p:cNvSpPr/>
            <p:nvPr/>
          </p:nvSpPr>
          <p:spPr>
            <a:xfrm>
              <a:off x="5404800" y="1936125"/>
              <a:ext cx="212500" cy="127025"/>
            </a:xfrm>
            <a:custGeom>
              <a:avLst/>
              <a:gdLst/>
              <a:ahLst/>
              <a:cxnLst/>
              <a:rect l="0" t="0" r="0" b="0"/>
              <a:pathLst>
                <a:path w="8500" h="5081" extrusionOk="0">
                  <a:moveTo>
                    <a:pt x="3175" y="1"/>
                  </a:moveTo>
                  <a:lnTo>
                    <a:pt x="3175" y="2834"/>
                  </a:lnTo>
                  <a:lnTo>
                    <a:pt x="2614" y="2956"/>
                  </a:lnTo>
                  <a:lnTo>
                    <a:pt x="2076" y="3102"/>
                  </a:lnTo>
                  <a:lnTo>
                    <a:pt x="1588" y="3298"/>
                  </a:lnTo>
                  <a:lnTo>
                    <a:pt x="1148" y="3493"/>
                  </a:lnTo>
                  <a:lnTo>
                    <a:pt x="782" y="3713"/>
                  </a:lnTo>
                  <a:lnTo>
                    <a:pt x="611" y="3859"/>
                  </a:lnTo>
                  <a:lnTo>
                    <a:pt x="464" y="3982"/>
                  </a:lnTo>
                  <a:lnTo>
                    <a:pt x="318" y="4128"/>
                  </a:lnTo>
                  <a:lnTo>
                    <a:pt x="196" y="4275"/>
                  </a:lnTo>
                  <a:lnTo>
                    <a:pt x="74" y="4421"/>
                  </a:lnTo>
                  <a:lnTo>
                    <a:pt x="0" y="4592"/>
                  </a:lnTo>
                  <a:lnTo>
                    <a:pt x="171" y="4665"/>
                  </a:lnTo>
                  <a:lnTo>
                    <a:pt x="416" y="4739"/>
                  </a:lnTo>
                  <a:lnTo>
                    <a:pt x="782" y="4836"/>
                  </a:lnTo>
                  <a:lnTo>
                    <a:pt x="1344" y="4910"/>
                  </a:lnTo>
                  <a:lnTo>
                    <a:pt x="2101" y="5007"/>
                  </a:lnTo>
                  <a:lnTo>
                    <a:pt x="3053" y="5056"/>
                  </a:lnTo>
                  <a:lnTo>
                    <a:pt x="4250" y="5081"/>
                  </a:lnTo>
                  <a:lnTo>
                    <a:pt x="5447" y="5056"/>
                  </a:lnTo>
                  <a:lnTo>
                    <a:pt x="6399" y="5007"/>
                  </a:lnTo>
                  <a:lnTo>
                    <a:pt x="7156" y="4910"/>
                  </a:lnTo>
                  <a:lnTo>
                    <a:pt x="7718" y="4836"/>
                  </a:lnTo>
                  <a:lnTo>
                    <a:pt x="8084" y="4739"/>
                  </a:lnTo>
                  <a:lnTo>
                    <a:pt x="8329" y="4665"/>
                  </a:lnTo>
                  <a:lnTo>
                    <a:pt x="8500" y="4592"/>
                  </a:lnTo>
                  <a:lnTo>
                    <a:pt x="8426" y="4421"/>
                  </a:lnTo>
                  <a:lnTo>
                    <a:pt x="8304" y="4275"/>
                  </a:lnTo>
                  <a:lnTo>
                    <a:pt x="8182" y="4128"/>
                  </a:lnTo>
                  <a:lnTo>
                    <a:pt x="8036" y="3982"/>
                  </a:lnTo>
                  <a:lnTo>
                    <a:pt x="7889" y="3859"/>
                  </a:lnTo>
                  <a:lnTo>
                    <a:pt x="7718" y="3713"/>
                  </a:lnTo>
                  <a:lnTo>
                    <a:pt x="7352" y="3493"/>
                  </a:lnTo>
                  <a:lnTo>
                    <a:pt x="6912" y="3298"/>
                  </a:lnTo>
                  <a:lnTo>
                    <a:pt x="6424" y="3102"/>
                  </a:lnTo>
                  <a:lnTo>
                    <a:pt x="5886" y="2956"/>
                  </a:lnTo>
                  <a:lnTo>
                    <a:pt x="5325" y="2834"/>
                  </a:lnTo>
                  <a:lnTo>
                    <a:pt x="5325" y="1"/>
                  </a:lnTo>
                  <a:lnTo>
                    <a:pt x="5032" y="49"/>
                  </a:lnTo>
                  <a:lnTo>
                    <a:pt x="4763" y="98"/>
                  </a:lnTo>
                  <a:lnTo>
                    <a:pt x="4250" y="123"/>
                  </a:lnTo>
                  <a:lnTo>
                    <a:pt x="3737" y="98"/>
                  </a:lnTo>
                  <a:lnTo>
                    <a:pt x="3469" y="49"/>
                  </a:lnTo>
                  <a:lnTo>
                    <a:pt x="3175"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05" name="Shape 434"/>
            <p:cNvSpPr/>
            <p:nvPr/>
          </p:nvSpPr>
          <p:spPr>
            <a:xfrm>
              <a:off x="5297950" y="1632050"/>
              <a:ext cx="426200" cy="294950"/>
            </a:xfrm>
            <a:custGeom>
              <a:avLst/>
              <a:gdLst/>
              <a:ahLst/>
              <a:cxnLst/>
              <a:rect l="0" t="0" r="0" b="0"/>
              <a:pathLst>
                <a:path w="17048" h="11798" extrusionOk="0">
                  <a:moveTo>
                    <a:pt x="8524" y="2956"/>
                  </a:moveTo>
                  <a:lnTo>
                    <a:pt x="8573" y="2981"/>
                  </a:lnTo>
                  <a:lnTo>
                    <a:pt x="8622" y="3054"/>
                  </a:lnTo>
                  <a:lnTo>
                    <a:pt x="9086" y="4128"/>
                  </a:lnTo>
                  <a:lnTo>
                    <a:pt x="9135" y="4202"/>
                  </a:lnTo>
                  <a:lnTo>
                    <a:pt x="9208" y="4275"/>
                  </a:lnTo>
                  <a:lnTo>
                    <a:pt x="9306" y="4324"/>
                  </a:lnTo>
                  <a:lnTo>
                    <a:pt x="9403" y="4348"/>
                  </a:lnTo>
                  <a:lnTo>
                    <a:pt x="10576" y="4470"/>
                  </a:lnTo>
                  <a:lnTo>
                    <a:pt x="10649" y="4495"/>
                  </a:lnTo>
                  <a:lnTo>
                    <a:pt x="10698" y="4519"/>
                  </a:lnTo>
                  <a:lnTo>
                    <a:pt x="10673" y="4592"/>
                  </a:lnTo>
                  <a:lnTo>
                    <a:pt x="10624" y="4641"/>
                  </a:lnTo>
                  <a:lnTo>
                    <a:pt x="9745" y="5423"/>
                  </a:lnTo>
                  <a:lnTo>
                    <a:pt x="9696" y="5496"/>
                  </a:lnTo>
                  <a:lnTo>
                    <a:pt x="9648" y="5594"/>
                  </a:lnTo>
                  <a:lnTo>
                    <a:pt x="9623" y="5691"/>
                  </a:lnTo>
                  <a:lnTo>
                    <a:pt x="9623" y="5789"/>
                  </a:lnTo>
                  <a:lnTo>
                    <a:pt x="9892" y="6961"/>
                  </a:lnTo>
                  <a:lnTo>
                    <a:pt x="9892" y="7035"/>
                  </a:lnTo>
                  <a:lnTo>
                    <a:pt x="9867" y="7084"/>
                  </a:lnTo>
                  <a:lnTo>
                    <a:pt x="9818" y="7084"/>
                  </a:lnTo>
                  <a:lnTo>
                    <a:pt x="9745" y="7059"/>
                  </a:lnTo>
                  <a:lnTo>
                    <a:pt x="8719" y="6473"/>
                  </a:lnTo>
                  <a:lnTo>
                    <a:pt x="8622" y="6424"/>
                  </a:lnTo>
                  <a:lnTo>
                    <a:pt x="8426" y="6424"/>
                  </a:lnTo>
                  <a:lnTo>
                    <a:pt x="8329" y="6473"/>
                  </a:lnTo>
                  <a:lnTo>
                    <a:pt x="7303" y="7059"/>
                  </a:lnTo>
                  <a:lnTo>
                    <a:pt x="7230" y="7084"/>
                  </a:lnTo>
                  <a:lnTo>
                    <a:pt x="7181" y="7084"/>
                  </a:lnTo>
                  <a:lnTo>
                    <a:pt x="7156" y="7035"/>
                  </a:lnTo>
                  <a:lnTo>
                    <a:pt x="7156" y="6961"/>
                  </a:lnTo>
                  <a:lnTo>
                    <a:pt x="7425" y="5789"/>
                  </a:lnTo>
                  <a:lnTo>
                    <a:pt x="7425" y="5691"/>
                  </a:lnTo>
                  <a:lnTo>
                    <a:pt x="7401" y="5594"/>
                  </a:lnTo>
                  <a:lnTo>
                    <a:pt x="7352" y="5496"/>
                  </a:lnTo>
                  <a:lnTo>
                    <a:pt x="7303" y="5423"/>
                  </a:lnTo>
                  <a:lnTo>
                    <a:pt x="6424" y="4641"/>
                  </a:lnTo>
                  <a:lnTo>
                    <a:pt x="6375" y="4592"/>
                  </a:lnTo>
                  <a:lnTo>
                    <a:pt x="6350" y="4519"/>
                  </a:lnTo>
                  <a:lnTo>
                    <a:pt x="6399" y="4495"/>
                  </a:lnTo>
                  <a:lnTo>
                    <a:pt x="6473" y="4470"/>
                  </a:lnTo>
                  <a:lnTo>
                    <a:pt x="7645" y="4348"/>
                  </a:lnTo>
                  <a:lnTo>
                    <a:pt x="7743" y="4324"/>
                  </a:lnTo>
                  <a:lnTo>
                    <a:pt x="7840" y="4275"/>
                  </a:lnTo>
                  <a:lnTo>
                    <a:pt x="7913" y="4202"/>
                  </a:lnTo>
                  <a:lnTo>
                    <a:pt x="7962" y="4128"/>
                  </a:lnTo>
                  <a:lnTo>
                    <a:pt x="8426" y="3054"/>
                  </a:lnTo>
                  <a:lnTo>
                    <a:pt x="8475" y="2981"/>
                  </a:lnTo>
                  <a:lnTo>
                    <a:pt x="8524" y="2956"/>
                  </a:lnTo>
                  <a:close/>
                  <a:moveTo>
                    <a:pt x="15973" y="2150"/>
                  </a:moveTo>
                  <a:lnTo>
                    <a:pt x="15973" y="2516"/>
                  </a:lnTo>
                  <a:lnTo>
                    <a:pt x="15924" y="2932"/>
                  </a:lnTo>
                  <a:lnTo>
                    <a:pt x="15875" y="3371"/>
                  </a:lnTo>
                  <a:lnTo>
                    <a:pt x="15802" y="3835"/>
                  </a:lnTo>
                  <a:lnTo>
                    <a:pt x="15704" y="4299"/>
                  </a:lnTo>
                  <a:lnTo>
                    <a:pt x="15558" y="4788"/>
                  </a:lnTo>
                  <a:lnTo>
                    <a:pt x="15411" y="5252"/>
                  </a:lnTo>
                  <a:lnTo>
                    <a:pt x="15216" y="5740"/>
                  </a:lnTo>
                  <a:lnTo>
                    <a:pt x="14996" y="6204"/>
                  </a:lnTo>
                  <a:lnTo>
                    <a:pt x="14752" y="6620"/>
                  </a:lnTo>
                  <a:lnTo>
                    <a:pt x="14459" y="7035"/>
                  </a:lnTo>
                  <a:lnTo>
                    <a:pt x="14141" y="7426"/>
                  </a:lnTo>
                  <a:lnTo>
                    <a:pt x="13799" y="7767"/>
                  </a:lnTo>
                  <a:lnTo>
                    <a:pt x="13604" y="7914"/>
                  </a:lnTo>
                  <a:lnTo>
                    <a:pt x="13409" y="8061"/>
                  </a:lnTo>
                  <a:lnTo>
                    <a:pt x="13213" y="8183"/>
                  </a:lnTo>
                  <a:lnTo>
                    <a:pt x="12993" y="8305"/>
                  </a:lnTo>
                  <a:lnTo>
                    <a:pt x="12774" y="8402"/>
                  </a:lnTo>
                  <a:lnTo>
                    <a:pt x="12529" y="8476"/>
                  </a:lnTo>
                  <a:lnTo>
                    <a:pt x="12529" y="8476"/>
                  </a:lnTo>
                  <a:lnTo>
                    <a:pt x="12823" y="7767"/>
                  </a:lnTo>
                  <a:lnTo>
                    <a:pt x="13042" y="7059"/>
                  </a:lnTo>
                  <a:lnTo>
                    <a:pt x="13262" y="6351"/>
                  </a:lnTo>
                  <a:lnTo>
                    <a:pt x="13433" y="5618"/>
                  </a:lnTo>
                  <a:lnTo>
                    <a:pt x="13555" y="4837"/>
                  </a:lnTo>
                  <a:lnTo>
                    <a:pt x="13677" y="4031"/>
                  </a:lnTo>
                  <a:lnTo>
                    <a:pt x="13751" y="3127"/>
                  </a:lnTo>
                  <a:lnTo>
                    <a:pt x="13799" y="2150"/>
                  </a:lnTo>
                  <a:close/>
                  <a:moveTo>
                    <a:pt x="3249" y="2150"/>
                  </a:moveTo>
                  <a:lnTo>
                    <a:pt x="3298" y="3127"/>
                  </a:lnTo>
                  <a:lnTo>
                    <a:pt x="3371" y="4031"/>
                  </a:lnTo>
                  <a:lnTo>
                    <a:pt x="3493" y="4837"/>
                  </a:lnTo>
                  <a:lnTo>
                    <a:pt x="3615" y="5618"/>
                  </a:lnTo>
                  <a:lnTo>
                    <a:pt x="3786" y="6351"/>
                  </a:lnTo>
                  <a:lnTo>
                    <a:pt x="4006" y="7059"/>
                  </a:lnTo>
                  <a:lnTo>
                    <a:pt x="4226" y="7767"/>
                  </a:lnTo>
                  <a:lnTo>
                    <a:pt x="4519" y="8476"/>
                  </a:lnTo>
                  <a:lnTo>
                    <a:pt x="4274" y="8402"/>
                  </a:lnTo>
                  <a:lnTo>
                    <a:pt x="4055" y="8305"/>
                  </a:lnTo>
                  <a:lnTo>
                    <a:pt x="3835" y="8183"/>
                  </a:lnTo>
                  <a:lnTo>
                    <a:pt x="3639" y="8061"/>
                  </a:lnTo>
                  <a:lnTo>
                    <a:pt x="3444" y="7914"/>
                  </a:lnTo>
                  <a:lnTo>
                    <a:pt x="3249" y="7767"/>
                  </a:lnTo>
                  <a:lnTo>
                    <a:pt x="2907" y="7426"/>
                  </a:lnTo>
                  <a:lnTo>
                    <a:pt x="2589" y="7035"/>
                  </a:lnTo>
                  <a:lnTo>
                    <a:pt x="2296" y="6620"/>
                  </a:lnTo>
                  <a:lnTo>
                    <a:pt x="2052" y="6204"/>
                  </a:lnTo>
                  <a:lnTo>
                    <a:pt x="1832" y="5740"/>
                  </a:lnTo>
                  <a:lnTo>
                    <a:pt x="1637" y="5252"/>
                  </a:lnTo>
                  <a:lnTo>
                    <a:pt x="1490" y="4788"/>
                  </a:lnTo>
                  <a:lnTo>
                    <a:pt x="1344" y="4299"/>
                  </a:lnTo>
                  <a:lnTo>
                    <a:pt x="1246" y="3835"/>
                  </a:lnTo>
                  <a:lnTo>
                    <a:pt x="1173" y="3371"/>
                  </a:lnTo>
                  <a:lnTo>
                    <a:pt x="1124" y="2932"/>
                  </a:lnTo>
                  <a:lnTo>
                    <a:pt x="1075" y="2516"/>
                  </a:lnTo>
                  <a:lnTo>
                    <a:pt x="1075" y="2150"/>
                  </a:lnTo>
                  <a:close/>
                  <a:moveTo>
                    <a:pt x="3737" y="1"/>
                  </a:moveTo>
                  <a:lnTo>
                    <a:pt x="3639" y="25"/>
                  </a:lnTo>
                  <a:lnTo>
                    <a:pt x="3542" y="50"/>
                  </a:lnTo>
                  <a:lnTo>
                    <a:pt x="3444" y="99"/>
                  </a:lnTo>
                  <a:lnTo>
                    <a:pt x="3371" y="147"/>
                  </a:lnTo>
                  <a:lnTo>
                    <a:pt x="3322" y="221"/>
                  </a:lnTo>
                  <a:lnTo>
                    <a:pt x="3249" y="294"/>
                  </a:lnTo>
                  <a:lnTo>
                    <a:pt x="3224" y="392"/>
                  </a:lnTo>
                  <a:lnTo>
                    <a:pt x="3200" y="489"/>
                  </a:lnTo>
                  <a:lnTo>
                    <a:pt x="3224" y="1076"/>
                  </a:lnTo>
                  <a:lnTo>
                    <a:pt x="1075" y="1076"/>
                  </a:lnTo>
                  <a:lnTo>
                    <a:pt x="855" y="1100"/>
                  </a:lnTo>
                  <a:lnTo>
                    <a:pt x="660" y="1149"/>
                  </a:lnTo>
                  <a:lnTo>
                    <a:pt x="489" y="1246"/>
                  </a:lnTo>
                  <a:lnTo>
                    <a:pt x="318" y="1393"/>
                  </a:lnTo>
                  <a:lnTo>
                    <a:pt x="196" y="1540"/>
                  </a:lnTo>
                  <a:lnTo>
                    <a:pt x="98" y="1735"/>
                  </a:lnTo>
                  <a:lnTo>
                    <a:pt x="25" y="1930"/>
                  </a:lnTo>
                  <a:lnTo>
                    <a:pt x="0" y="2150"/>
                  </a:lnTo>
                  <a:lnTo>
                    <a:pt x="25" y="2614"/>
                  </a:lnTo>
                  <a:lnTo>
                    <a:pt x="49" y="3078"/>
                  </a:lnTo>
                  <a:lnTo>
                    <a:pt x="98" y="3518"/>
                  </a:lnTo>
                  <a:lnTo>
                    <a:pt x="171" y="3957"/>
                  </a:lnTo>
                  <a:lnTo>
                    <a:pt x="269" y="4348"/>
                  </a:lnTo>
                  <a:lnTo>
                    <a:pt x="367" y="4739"/>
                  </a:lnTo>
                  <a:lnTo>
                    <a:pt x="489" y="5130"/>
                  </a:lnTo>
                  <a:lnTo>
                    <a:pt x="635" y="5496"/>
                  </a:lnTo>
                  <a:lnTo>
                    <a:pt x="782" y="5838"/>
                  </a:lnTo>
                  <a:lnTo>
                    <a:pt x="928" y="6156"/>
                  </a:lnTo>
                  <a:lnTo>
                    <a:pt x="1099" y="6473"/>
                  </a:lnTo>
                  <a:lnTo>
                    <a:pt x="1295" y="6766"/>
                  </a:lnTo>
                  <a:lnTo>
                    <a:pt x="1466" y="7059"/>
                  </a:lnTo>
                  <a:lnTo>
                    <a:pt x="1661" y="7328"/>
                  </a:lnTo>
                  <a:lnTo>
                    <a:pt x="2076" y="7816"/>
                  </a:lnTo>
                  <a:lnTo>
                    <a:pt x="2516" y="8256"/>
                  </a:lnTo>
                  <a:lnTo>
                    <a:pt x="2931" y="8622"/>
                  </a:lnTo>
                  <a:lnTo>
                    <a:pt x="3346" y="8940"/>
                  </a:lnTo>
                  <a:lnTo>
                    <a:pt x="3762" y="9184"/>
                  </a:lnTo>
                  <a:lnTo>
                    <a:pt x="4152" y="9379"/>
                  </a:lnTo>
                  <a:lnTo>
                    <a:pt x="4519" y="9526"/>
                  </a:lnTo>
                  <a:lnTo>
                    <a:pt x="4836" y="9624"/>
                  </a:lnTo>
                  <a:lnTo>
                    <a:pt x="5105" y="9672"/>
                  </a:lnTo>
                  <a:lnTo>
                    <a:pt x="5422" y="10136"/>
                  </a:lnTo>
                  <a:lnTo>
                    <a:pt x="5764" y="10576"/>
                  </a:lnTo>
                  <a:lnTo>
                    <a:pt x="5935" y="10747"/>
                  </a:lnTo>
                  <a:lnTo>
                    <a:pt x="6131" y="10918"/>
                  </a:lnTo>
                  <a:lnTo>
                    <a:pt x="6326" y="11089"/>
                  </a:lnTo>
                  <a:lnTo>
                    <a:pt x="6546" y="11236"/>
                  </a:lnTo>
                  <a:lnTo>
                    <a:pt x="6766" y="11358"/>
                  </a:lnTo>
                  <a:lnTo>
                    <a:pt x="6985" y="11480"/>
                  </a:lnTo>
                  <a:lnTo>
                    <a:pt x="7230" y="11577"/>
                  </a:lnTo>
                  <a:lnTo>
                    <a:pt x="7474" y="11651"/>
                  </a:lnTo>
                  <a:lnTo>
                    <a:pt x="7718" y="11724"/>
                  </a:lnTo>
                  <a:lnTo>
                    <a:pt x="7987" y="11773"/>
                  </a:lnTo>
                  <a:lnTo>
                    <a:pt x="8255" y="11797"/>
                  </a:lnTo>
                  <a:lnTo>
                    <a:pt x="8793" y="11797"/>
                  </a:lnTo>
                  <a:lnTo>
                    <a:pt x="9061" y="11773"/>
                  </a:lnTo>
                  <a:lnTo>
                    <a:pt x="9330" y="11724"/>
                  </a:lnTo>
                  <a:lnTo>
                    <a:pt x="9574" y="11651"/>
                  </a:lnTo>
                  <a:lnTo>
                    <a:pt x="9818" y="11577"/>
                  </a:lnTo>
                  <a:lnTo>
                    <a:pt x="10063" y="11480"/>
                  </a:lnTo>
                  <a:lnTo>
                    <a:pt x="10283" y="11358"/>
                  </a:lnTo>
                  <a:lnTo>
                    <a:pt x="10502" y="11236"/>
                  </a:lnTo>
                  <a:lnTo>
                    <a:pt x="10722" y="11089"/>
                  </a:lnTo>
                  <a:lnTo>
                    <a:pt x="10918" y="10918"/>
                  </a:lnTo>
                  <a:lnTo>
                    <a:pt x="11113" y="10747"/>
                  </a:lnTo>
                  <a:lnTo>
                    <a:pt x="11284" y="10576"/>
                  </a:lnTo>
                  <a:lnTo>
                    <a:pt x="11626" y="10136"/>
                  </a:lnTo>
                  <a:lnTo>
                    <a:pt x="11943" y="9672"/>
                  </a:lnTo>
                  <a:lnTo>
                    <a:pt x="12212" y="9624"/>
                  </a:lnTo>
                  <a:lnTo>
                    <a:pt x="12529" y="9550"/>
                  </a:lnTo>
                  <a:lnTo>
                    <a:pt x="12896" y="9404"/>
                  </a:lnTo>
                  <a:lnTo>
                    <a:pt x="13287" y="9208"/>
                  </a:lnTo>
                  <a:lnTo>
                    <a:pt x="13702" y="8964"/>
                  </a:lnTo>
                  <a:lnTo>
                    <a:pt x="14117" y="8647"/>
                  </a:lnTo>
                  <a:lnTo>
                    <a:pt x="14557" y="8280"/>
                  </a:lnTo>
                  <a:lnTo>
                    <a:pt x="14972" y="7865"/>
                  </a:lnTo>
                  <a:lnTo>
                    <a:pt x="15387" y="7377"/>
                  </a:lnTo>
                  <a:lnTo>
                    <a:pt x="15582" y="7108"/>
                  </a:lnTo>
                  <a:lnTo>
                    <a:pt x="15753" y="6815"/>
                  </a:lnTo>
                  <a:lnTo>
                    <a:pt x="15949" y="6522"/>
                  </a:lnTo>
                  <a:lnTo>
                    <a:pt x="16120" y="6204"/>
                  </a:lnTo>
                  <a:lnTo>
                    <a:pt x="16266" y="5887"/>
                  </a:lnTo>
                  <a:lnTo>
                    <a:pt x="16413" y="5521"/>
                  </a:lnTo>
                  <a:lnTo>
                    <a:pt x="16559" y="5179"/>
                  </a:lnTo>
                  <a:lnTo>
                    <a:pt x="16681" y="4788"/>
                  </a:lnTo>
                  <a:lnTo>
                    <a:pt x="16779" y="4397"/>
                  </a:lnTo>
                  <a:lnTo>
                    <a:pt x="16877" y="3982"/>
                  </a:lnTo>
                  <a:lnTo>
                    <a:pt x="16950" y="3542"/>
                  </a:lnTo>
                  <a:lnTo>
                    <a:pt x="16999" y="3103"/>
                  </a:lnTo>
                  <a:lnTo>
                    <a:pt x="17023" y="2614"/>
                  </a:lnTo>
                  <a:lnTo>
                    <a:pt x="17048" y="2150"/>
                  </a:lnTo>
                  <a:lnTo>
                    <a:pt x="17023" y="1930"/>
                  </a:lnTo>
                  <a:lnTo>
                    <a:pt x="16950" y="1735"/>
                  </a:lnTo>
                  <a:lnTo>
                    <a:pt x="16852" y="1540"/>
                  </a:lnTo>
                  <a:lnTo>
                    <a:pt x="16730" y="1393"/>
                  </a:lnTo>
                  <a:lnTo>
                    <a:pt x="16559" y="1246"/>
                  </a:lnTo>
                  <a:lnTo>
                    <a:pt x="16388" y="1149"/>
                  </a:lnTo>
                  <a:lnTo>
                    <a:pt x="16193" y="1100"/>
                  </a:lnTo>
                  <a:lnTo>
                    <a:pt x="15973" y="1076"/>
                  </a:lnTo>
                  <a:lnTo>
                    <a:pt x="13824" y="1076"/>
                  </a:lnTo>
                  <a:lnTo>
                    <a:pt x="13848" y="489"/>
                  </a:lnTo>
                  <a:lnTo>
                    <a:pt x="13824" y="392"/>
                  </a:lnTo>
                  <a:lnTo>
                    <a:pt x="13799" y="294"/>
                  </a:lnTo>
                  <a:lnTo>
                    <a:pt x="13726" y="221"/>
                  </a:lnTo>
                  <a:lnTo>
                    <a:pt x="13677" y="147"/>
                  </a:lnTo>
                  <a:lnTo>
                    <a:pt x="13604" y="99"/>
                  </a:lnTo>
                  <a:lnTo>
                    <a:pt x="13506" y="50"/>
                  </a:lnTo>
                  <a:lnTo>
                    <a:pt x="13409" y="25"/>
                  </a:lnTo>
                  <a:lnTo>
                    <a:pt x="1331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06" name="Shape 435"/>
          <p:cNvGrpSpPr/>
          <p:nvPr/>
        </p:nvGrpSpPr>
        <p:grpSpPr>
          <a:xfrm>
            <a:off x="6814735" y="2782421"/>
            <a:ext cx="327317" cy="348755"/>
            <a:chOff x="5970800" y="1619250"/>
            <a:chExt cx="428650" cy="456725"/>
          </a:xfrm>
        </p:grpSpPr>
        <p:sp>
          <p:nvSpPr>
            <p:cNvPr id="107" name="Shape 436"/>
            <p:cNvSpPr/>
            <p:nvPr/>
          </p:nvSpPr>
          <p:spPr>
            <a:xfrm>
              <a:off x="5970800" y="1674200"/>
              <a:ext cx="377975" cy="377950"/>
            </a:xfrm>
            <a:custGeom>
              <a:avLst/>
              <a:gdLst/>
              <a:ahLst/>
              <a:cxnLst/>
              <a:rect l="0" t="0" r="0" b="0"/>
              <a:pathLst>
                <a:path w="15119" h="15118" extrusionOk="0">
                  <a:moveTo>
                    <a:pt x="7181" y="0"/>
                  </a:moveTo>
                  <a:lnTo>
                    <a:pt x="6790" y="49"/>
                  </a:lnTo>
                  <a:lnTo>
                    <a:pt x="6424" y="98"/>
                  </a:lnTo>
                  <a:lnTo>
                    <a:pt x="6058" y="147"/>
                  </a:lnTo>
                  <a:lnTo>
                    <a:pt x="5691" y="244"/>
                  </a:lnTo>
                  <a:lnTo>
                    <a:pt x="5325" y="342"/>
                  </a:lnTo>
                  <a:lnTo>
                    <a:pt x="4983" y="464"/>
                  </a:lnTo>
                  <a:lnTo>
                    <a:pt x="4641" y="586"/>
                  </a:lnTo>
                  <a:lnTo>
                    <a:pt x="4299" y="733"/>
                  </a:lnTo>
                  <a:lnTo>
                    <a:pt x="3982" y="904"/>
                  </a:lnTo>
                  <a:lnTo>
                    <a:pt x="3664" y="1099"/>
                  </a:lnTo>
                  <a:lnTo>
                    <a:pt x="3347" y="1295"/>
                  </a:lnTo>
                  <a:lnTo>
                    <a:pt x="3053" y="1490"/>
                  </a:lnTo>
                  <a:lnTo>
                    <a:pt x="2760" y="1734"/>
                  </a:lnTo>
                  <a:lnTo>
                    <a:pt x="2492" y="1954"/>
                  </a:lnTo>
                  <a:lnTo>
                    <a:pt x="2223" y="2223"/>
                  </a:lnTo>
                  <a:lnTo>
                    <a:pt x="1979" y="2467"/>
                  </a:lnTo>
                  <a:lnTo>
                    <a:pt x="1735" y="2760"/>
                  </a:lnTo>
                  <a:lnTo>
                    <a:pt x="1515" y="3029"/>
                  </a:lnTo>
                  <a:lnTo>
                    <a:pt x="1295" y="3322"/>
                  </a:lnTo>
                  <a:lnTo>
                    <a:pt x="1100" y="3639"/>
                  </a:lnTo>
                  <a:lnTo>
                    <a:pt x="929" y="3957"/>
                  </a:lnTo>
                  <a:lnTo>
                    <a:pt x="758" y="4274"/>
                  </a:lnTo>
                  <a:lnTo>
                    <a:pt x="611" y="4616"/>
                  </a:lnTo>
                  <a:lnTo>
                    <a:pt x="465" y="4958"/>
                  </a:lnTo>
                  <a:lnTo>
                    <a:pt x="343" y="5300"/>
                  </a:lnTo>
                  <a:lnTo>
                    <a:pt x="245" y="5666"/>
                  </a:lnTo>
                  <a:lnTo>
                    <a:pt x="172" y="6033"/>
                  </a:lnTo>
                  <a:lnTo>
                    <a:pt x="98" y="6399"/>
                  </a:lnTo>
                  <a:lnTo>
                    <a:pt x="49" y="6790"/>
                  </a:lnTo>
                  <a:lnTo>
                    <a:pt x="25" y="7156"/>
                  </a:lnTo>
                  <a:lnTo>
                    <a:pt x="1" y="7547"/>
                  </a:lnTo>
                  <a:lnTo>
                    <a:pt x="25" y="7938"/>
                  </a:lnTo>
                  <a:lnTo>
                    <a:pt x="49" y="8328"/>
                  </a:lnTo>
                  <a:lnTo>
                    <a:pt x="98" y="8695"/>
                  </a:lnTo>
                  <a:lnTo>
                    <a:pt x="172" y="9085"/>
                  </a:lnTo>
                  <a:lnTo>
                    <a:pt x="245" y="9452"/>
                  </a:lnTo>
                  <a:lnTo>
                    <a:pt x="343" y="9794"/>
                  </a:lnTo>
                  <a:lnTo>
                    <a:pt x="465" y="10160"/>
                  </a:lnTo>
                  <a:lnTo>
                    <a:pt x="611" y="10502"/>
                  </a:lnTo>
                  <a:lnTo>
                    <a:pt x="758" y="10820"/>
                  </a:lnTo>
                  <a:lnTo>
                    <a:pt x="929" y="11161"/>
                  </a:lnTo>
                  <a:lnTo>
                    <a:pt x="1100" y="11479"/>
                  </a:lnTo>
                  <a:lnTo>
                    <a:pt x="1295" y="11772"/>
                  </a:lnTo>
                  <a:lnTo>
                    <a:pt x="1515" y="12065"/>
                  </a:lnTo>
                  <a:lnTo>
                    <a:pt x="1735" y="12358"/>
                  </a:lnTo>
                  <a:lnTo>
                    <a:pt x="1979" y="12627"/>
                  </a:lnTo>
                  <a:lnTo>
                    <a:pt x="2223" y="12895"/>
                  </a:lnTo>
                  <a:lnTo>
                    <a:pt x="2492" y="13140"/>
                  </a:lnTo>
                  <a:lnTo>
                    <a:pt x="2760" y="13384"/>
                  </a:lnTo>
                  <a:lnTo>
                    <a:pt x="3053" y="13604"/>
                  </a:lnTo>
                  <a:lnTo>
                    <a:pt x="3347" y="13824"/>
                  </a:lnTo>
                  <a:lnTo>
                    <a:pt x="3664" y="14019"/>
                  </a:lnTo>
                  <a:lnTo>
                    <a:pt x="3982" y="14190"/>
                  </a:lnTo>
                  <a:lnTo>
                    <a:pt x="4299" y="14361"/>
                  </a:lnTo>
                  <a:lnTo>
                    <a:pt x="4641" y="14507"/>
                  </a:lnTo>
                  <a:lnTo>
                    <a:pt x="4983" y="14654"/>
                  </a:lnTo>
                  <a:lnTo>
                    <a:pt x="5325" y="14776"/>
                  </a:lnTo>
                  <a:lnTo>
                    <a:pt x="5691" y="14874"/>
                  </a:lnTo>
                  <a:lnTo>
                    <a:pt x="6058" y="14947"/>
                  </a:lnTo>
                  <a:lnTo>
                    <a:pt x="6424" y="15020"/>
                  </a:lnTo>
                  <a:lnTo>
                    <a:pt x="6790" y="15069"/>
                  </a:lnTo>
                  <a:lnTo>
                    <a:pt x="7181" y="15094"/>
                  </a:lnTo>
                  <a:lnTo>
                    <a:pt x="7572" y="15118"/>
                  </a:lnTo>
                  <a:lnTo>
                    <a:pt x="7963" y="15094"/>
                  </a:lnTo>
                  <a:lnTo>
                    <a:pt x="8329" y="15069"/>
                  </a:lnTo>
                  <a:lnTo>
                    <a:pt x="8720" y="15020"/>
                  </a:lnTo>
                  <a:lnTo>
                    <a:pt x="9086" y="14947"/>
                  </a:lnTo>
                  <a:lnTo>
                    <a:pt x="9452" y="14874"/>
                  </a:lnTo>
                  <a:lnTo>
                    <a:pt x="9819" y="14776"/>
                  </a:lnTo>
                  <a:lnTo>
                    <a:pt x="10161" y="14654"/>
                  </a:lnTo>
                  <a:lnTo>
                    <a:pt x="10503" y="14507"/>
                  </a:lnTo>
                  <a:lnTo>
                    <a:pt x="10844" y="14361"/>
                  </a:lnTo>
                  <a:lnTo>
                    <a:pt x="11162" y="14190"/>
                  </a:lnTo>
                  <a:lnTo>
                    <a:pt x="11479" y="14019"/>
                  </a:lnTo>
                  <a:lnTo>
                    <a:pt x="11797" y="13824"/>
                  </a:lnTo>
                  <a:lnTo>
                    <a:pt x="12090" y="13604"/>
                  </a:lnTo>
                  <a:lnTo>
                    <a:pt x="12383" y="13384"/>
                  </a:lnTo>
                  <a:lnTo>
                    <a:pt x="12652" y="13140"/>
                  </a:lnTo>
                  <a:lnTo>
                    <a:pt x="12920" y="12895"/>
                  </a:lnTo>
                  <a:lnTo>
                    <a:pt x="13165" y="12627"/>
                  </a:lnTo>
                  <a:lnTo>
                    <a:pt x="13409" y="12358"/>
                  </a:lnTo>
                  <a:lnTo>
                    <a:pt x="13629" y="12065"/>
                  </a:lnTo>
                  <a:lnTo>
                    <a:pt x="13824" y="11772"/>
                  </a:lnTo>
                  <a:lnTo>
                    <a:pt x="14019" y="11479"/>
                  </a:lnTo>
                  <a:lnTo>
                    <a:pt x="14215" y="11161"/>
                  </a:lnTo>
                  <a:lnTo>
                    <a:pt x="14386" y="10820"/>
                  </a:lnTo>
                  <a:lnTo>
                    <a:pt x="14532" y="10502"/>
                  </a:lnTo>
                  <a:lnTo>
                    <a:pt x="14654" y="10160"/>
                  </a:lnTo>
                  <a:lnTo>
                    <a:pt x="14777" y="9794"/>
                  </a:lnTo>
                  <a:lnTo>
                    <a:pt x="14899" y="9452"/>
                  </a:lnTo>
                  <a:lnTo>
                    <a:pt x="14972" y="9085"/>
                  </a:lnTo>
                  <a:lnTo>
                    <a:pt x="15045" y="8695"/>
                  </a:lnTo>
                  <a:lnTo>
                    <a:pt x="15094" y="8328"/>
                  </a:lnTo>
                  <a:lnTo>
                    <a:pt x="15118" y="7938"/>
                  </a:lnTo>
                  <a:lnTo>
                    <a:pt x="15118" y="7547"/>
                  </a:lnTo>
                  <a:lnTo>
                    <a:pt x="15094" y="6936"/>
                  </a:lnTo>
                  <a:lnTo>
                    <a:pt x="15021" y="6326"/>
                  </a:lnTo>
                  <a:lnTo>
                    <a:pt x="14899" y="5740"/>
                  </a:lnTo>
                  <a:lnTo>
                    <a:pt x="14728" y="5178"/>
                  </a:lnTo>
                  <a:lnTo>
                    <a:pt x="14532" y="4616"/>
                  </a:lnTo>
                  <a:lnTo>
                    <a:pt x="14288" y="4079"/>
                  </a:lnTo>
                  <a:lnTo>
                    <a:pt x="13995" y="3590"/>
                  </a:lnTo>
                  <a:lnTo>
                    <a:pt x="13653" y="3102"/>
                  </a:lnTo>
                  <a:lnTo>
                    <a:pt x="13458" y="3053"/>
                  </a:lnTo>
                  <a:lnTo>
                    <a:pt x="12163" y="4347"/>
                  </a:lnTo>
                  <a:lnTo>
                    <a:pt x="12383" y="4689"/>
                  </a:lnTo>
                  <a:lnTo>
                    <a:pt x="12578" y="5056"/>
                  </a:lnTo>
                  <a:lnTo>
                    <a:pt x="12749" y="5446"/>
                  </a:lnTo>
                  <a:lnTo>
                    <a:pt x="12896" y="5837"/>
                  </a:lnTo>
                  <a:lnTo>
                    <a:pt x="13018" y="6252"/>
                  </a:lnTo>
                  <a:lnTo>
                    <a:pt x="13091" y="6668"/>
                  </a:lnTo>
                  <a:lnTo>
                    <a:pt x="13165" y="7107"/>
                  </a:lnTo>
                  <a:lnTo>
                    <a:pt x="13165" y="7547"/>
                  </a:lnTo>
                  <a:lnTo>
                    <a:pt x="13140" y="8133"/>
                  </a:lnTo>
                  <a:lnTo>
                    <a:pt x="13067" y="8695"/>
                  </a:lnTo>
                  <a:lnTo>
                    <a:pt x="12920" y="9208"/>
                  </a:lnTo>
                  <a:lnTo>
                    <a:pt x="12725" y="9745"/>
                  </a:lnTo>
                  <a:lnTo>
                    <a:pt x="12505" y="10233"/>
                  </a:lnTo>
                  <a:lnTo>
                    <a:pt x="12212" y="10673"/>
                  </a:lnTo>
                  <a:lnTo>
                    <a:pt x="11895" y="11113"/>
                  </a:lnTo>
                  <a:lnTo>
                    <a:pt x="11528" y="11503"/>
                  </a:lnTo>
                  <a:lnTo>
                    <a:pt x="11138" y="11870"/>
                  </a:lnTo>
                  <a:lnTo>
                    <a:pt x="10698" y="12187"/>
                  </a:lnTo>
                  <a:lnTo>
                    <a:pt x="10234" y="12480"/>
                  </a:lnTo>
                  <a:lnTo>
                    <a:pt x="9745" y="12725"/>
                  </a:lnTo>
                  <a:lnTo>
                    <a:pt x="9233" y="12895"/>
                  </a:lnTo>
                  <a:lnTo>
                    <a:pt x="8695" y="13042"/>
                  </a:lnTo>
                  <a:lnTo>
                    <a:pt x="8133" y="13140"/>
                  </a:lnTo>
                  <a:lnTo>
                    <a:pt x="7572" y="13164"/>
                  </a:lnTo>
                  <a:lnTo>
                    <a:pt x="6986" y="13140"/>
                  </a:lnTo>
                  <a:lnTo>
                    <a:pt x="6448" y="13042"/>
                  </a:lnTo>
                  <a:lnTo>
                    <a:pt x="5911" y="12895"/>
                  </a:lnTo>
                  <a:lnTo>
                    <a:pt x="5398" y="12725"/>
                  </a:lnTo>
                  <a:lnTo>
                    <a:pt x="4910" y="12480"/>
                  </a:lnTo>
                  <a:lnTo>
                    <a:pt x="4446" y="12187"/>
                  </a:lnTo>
                  <a:lnTo>
                    <a:pt x="4006" y="11870"/>
                  </a:lnTo>
                  <a:lnTo>
                    <a:pt x="3615" y="11503"/>
                  </a:lnTo>
                  <a:lnTo>
                    <a:pt x="3249" y="11113"/>
                  </a:lnTo>
                  <a:lnTo>
                    <a:pt x="2931" y="10673"/>
                  </a:lnTo>
                  <a:lnTo>
                    <a:pt x="2638" y="10233"/>
                  </a:lnTo>
                  <a:lnTo>
                    <a:pt x="2418" y="9745"/>
                  </a:lnTo>
                  <a:lnTo>
                    <a:pt x="2223" y="9208"/>
                  </a:lnTo>
                  <a:lnTo>
                    <a:pt x="2077" y="8695"/>
                  </a:lnTo>
                  <a:lnTo>
                    <a:pt x="2003" y="8133"/>
                  </a:lnTo>
                  <a:lnTo>
                    <a:pt x="1954" y="7547"/>
                  </a:lnTo>
                  <a:lnTo>
                    <a:pt x="2003" y="6985"/>
                  </a:lnTo>
                  <a:lnTo>
                    <a:pt x="2077" y="6423"/>
                  </a:lnTo>
                  <a:lnTo>
                    <a:pt x="2223" y="5886"/>
                  </a:lnTo>
                  <a:lnTo>
                    <a:pt x="2418" y="5373"/>
                  </a:lnTo>
                  <a:lnTo>
                    <a:pt x="2638" y="4885"/>
                  </a:lnTo>
                  <a:lnTo>
                    <a:pt x="2931" y="4421"/>
                  </a:lnTo>
                  <a:lnTo>
                    <a:pt x="3249" y="4005"/>
                  </a:lnTo>
                  <a:lnTo>
                    <a:pt x="3615" y="3590"/>
                  </a:lnTo>
                  <a:lnTo>
                    <a:pt x="4006" y="3224"/>
                  </a:lnTo>
                  <a:lnTo>
                    <a:pt x="4446" y="2906"/>
                  </a:lnTo>
                  <a:lnTo>
                    <a:pt x="4910" y="2638"/>
                  </a:lnTo>
                  <a:lnTo>
                    <a:pt x="5398" y="2394"/>
                  </a:lnTo>
                  <a:lnTo>
                    <a:pt x="5911" y="2198"/>
                  </a:lnTo>
                  <a:lnTo>
                    <a:pt x="6448" y="2076"/>
                  </a:lnTo>
                  <a:lnTo>
                    <a:pt x="6986" y="1978"/>
                  </a:lnTo>
                  <a:lnTo>
                    <a:pt x="7572" y="1954"/>
                  </a:lnTo>
                  <a:lnTo>
                    <a:pt x="8011" y="1978"/>
                  </a:lnTo>
                  <a:lnTo>
                    <a:pt x="8451" y="2027"/>
                  </a:lnTo>
                  <a:lnTo>
                    <a:pt x="8866" y="2100"/>
                  </a:lnTo>
                  <a:lnTo>
                    <a:pt x="9281" y="2223"/>
                  </a:lnTo>
                  <a:lnTo>
                    <a:pt x="9672" y="2369"/>
                  </a:lnTo>
                  <a:lnTo>
                    <a:pt x="10063" y="2540"/>
                  </a:lnTo>
                  <a:lnTo>
                    <a:pt x="10429" y="2735"/>
                  </a:lnTo>
                  <a:lnTo>
                    <a:pt x="10771" y="2955"/>
                  </a:lnTo>
                  <a:lnTo>
                    <a:pt x="11943" y="1807"/>
                  </a:lnTo>
                  <a:lnTo>
                    <a:pt x="11846" y="1343"/>
                  </a:lnTo>
                  <a:lnTo>
                    <a:pt x="11382" y="1026"/>
                  </a:lnTo>
                  <a:lnTo>
                    <a:pt x="10893" y="782"/>
                  </a:lnTo>
                  <a:lnTo>
                    <a:pt x="10380" y="537"/>
                  </a:lnTo>
                  <a:lnTo>
                    <a:pt x="9843" y="342"/>
                  </a:lnTo>
                  <a:lnTo>
                    <a:pt x="9306" y="195"/>
                  </a:lnTo>
                  <a:lnTo>
                    <a:pt x="8744" y="98"/>
                  </a:lnTo>
                  <a:lnTo>
                    <a:pt x="8158" y="25"/>
                  </a:lnTo>
                  <a:lnTo>
                    <a:pt x="757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08" name="Shape 437"/>
            <p:cNvSpPr/>
            <p:nvPr/>
          </p:nvSpPr>
          <p:spPr>
            <a:xfrm>
              <a:off x="6068500" y="1771875"/>
              <a:ext cx="182575" cy="182600"/>
            </a:xfrm>
            <a:custGeom>
              <a:avLst/>
              <a:gdLst/>
              <a:ahLst/>
              <a:cxnLst/>
              <a:rect l="0" t="0" r="0" b="0"/>
              <a:pathLst>
                <a:path w="7303" h="7304" extrusionOk="0">
                  <a:moveTo>
                    <a:pt x="3664" y="1"/>
                  </a:moveTo>
                  <a:lnTo>
                    <a:pt x="3297" y="25"/>
                  </a:lnTo>
                  <a:lnTo>
                    <a:pt x="2931" y="74"/>
                  </a:lnTo>
                  <a:lnTo>
                    <a:pt x="2565" y="147"/>
                  </a:lnTo>
                  <a:lnTo>
                    <a:pt x="2247" y="294"/>
                  </a:lnTo>
                  <a:lnTo>
                    <a:pt x="1930" y="440"/>
                  </a:lnTo>
                  <a:lnTo>
                    <a:pt x="1612" y="611"/>
                  </a:lnTo>
                  <a:lnTo>
                    <a:pt x="1344" y="831"/>
                  </a:lnTo>
                  <a:lnTo>
                    <a:pt x="1075" y="1075"/>
                  </a:lnTo>
                  <a:lnTo>
                    <a:pt x="831" y="1320"/>
                  </a:lnTo>
                  <a:lnTo>
                    <a:pt x="635" y="1613"/>
                  </a:lnTo>
                  <a:lnTo>
                    <a:pt x="440" y="1906"/>
                  </a:lnTo>
                  <a:lnTo>
                    <a:pt x="293" y="2223"/>
                  </a:lnTo>
                  <a:lnTo>
                    <a:pt x="171" y="2565"/>
                  </a:lnTo>
                  <a:lnTo>
                    <a:pt x="74" y="2907"/>
                  </a:lnTo>
                  <a:lnTo>
                    <a:pt x="25" y="3273"/>
                  </a:lnTo>
                  <a:lnTo>
                    <a:pt x="0" y="3640"/>
                  </a:lnTo>
                  <a:lnTo>
                    <a:pt x="25" y="4031"/>
                  </a:lnTo>
                  <a:lnTo>
                    <a:pt x="74" y="4373"/>
                  </a:lnTo>
                  <a:lnTo>
                    <a:pt x="171" y="4739"/>
                  </a:lnTo>
                  <a:lnTo>
                    <a:pt x="293" y="5081"/>
                  </a:lnTo>
                  <a:lnTo>
                    <a:pt x="440" y="5398"/>
                  </a:lnTo>
                  <a:lnTo>
                    <a:pt x="635" y="5691"/>
                  </a:lnTo>
                  <a:lnTo>
                    <a:pt x="831" y="5960"/>
                  </a:lnTo>
                  <a:lnTo>
                    <a:pt x="1075" y="6229"/>
                  </a:lnTo>
                  <a:lnTo>
                    <a:pt x="1344" y="6473"/>
                  </a:lnTo>
                  <a:lnTo>
                    <a:pt x="1612" y="6668"/>
                  </a:lnTo>
                  <a:lnTo>
                    <a:pt x="1930" y="6864"/>
                  </a:lnTo>
                  <a:lnTo>
                    <a:pt x="2247" y="7010"/>
                  </a:lnTo>
                  <a:lnTo>
                    <a:pt x="2565" y="7132"/>
                  </a:lnTo>
                  <a:lnTo>
                    <a:pt x="2931" y="7230"/>
                  </a:lnTo>
                  <a:lnTo>
                    <a:pt x="3297" y="7279"/>
                  </a:lnTo>
                  <a:lnTo>
                    <a:pt x="3664" y="7303"/>
                  </a:lnTo>
                  <a:lnTo>
                    <a:pt x="4030" y="7279"/>
                  </a:lnTo>
                  <a:lnTo>
                    <a:pt x="4396" y="7230"/>
                  </a:lnTo>
                  <a:lnTo>
                    <a:pt x="4738" y="7132"/>
                  </a:lnTo>
                  <a:lnTo>
                    <a:pt x="5080" y="7010"/>
                  </a:lnTo>
                  <a:lnTo>
                    <a:pt x="5398" y="6864"/>
                  </a:lnTo>
                  <a:lnTo>
                    <a:pt x="5691" y="6668"/>
                  </a:lnTo>
                  <a:lnTo>
                    <a:pt x="5984" y="6473"/>
                  </a:lnTo>
                  <a:lnTo>
                    <a:pt x="6253" y="6229"/>
                  </a:lnTo>
                  <a:lnTo>
                    <a:pt x="6472" y="5960"/>
                  </a:lnTo>
                  <a:lnTo>
                    <a:pt x="6692" y="5691"/>
                  </a:lnTo>
                  <a:lnTo>
                    <a:pt x="6863" y="5398"/>
                  </a:lnTo>
                  <a:lnTo>
                    <a:pt x="7034" y="5081"/>
                  </a:lnTo>
                  <a:lnTo>
                    <a:pt x="7156" y="4739"/>
                  </a:lnTo>
                  <a:lnTo>
                    <a:pt x="7230" y="4373"/>
                  </a:lnTo>
                  <a:lnTo>
                    <a:pt x="7303" y="4031"/>
                  </a:lnTo>
                  <a:lnTo>
                    <a:pt x="7303" y="3640"/>
                  </a:lnTo>
                  <a:lnTo>
                    <a:pt x="7303" y="3396"/>
                  </a:lnTo>
                  <a:lnTo>
                    <a:pt x="7278" y="3176"/>
                  </a:lnTo>
                  <a:lnTo>
                    <a:pt x="7254" y="2932"/>
                  </a:lnTo>
                  <a:lnTo>
                    <a:pt x="7181" y="2712"/>
                  </a:lnTo>
                  <a:lnTo>
                    <a:pt x="7132" y="2492"/>
                  </a:lnTo>
                  <a:lnTo>
                    <a:pt x="7034" y="2272"/>
                  </a:lnTo>
                  <a:lnTo>
                    <a:pt x="6839" y="1857"/>
                  </a:lnTo>
                  <a:lnTo>
                    <a:pt x="5325" y="3347"/>
                  </a:lnTo>
                  <a:lnTo>
                    <a:pt x="5349" y="3640"/>
                  </a:lnTo>
                  <a:lnTo>
                    <a:pt x="5349" y="3811"/>
                  </a:lnTo>
                  <a:lnTo>
                    <a:pt x="5325" y="3982"/>
                  </a:lnTo>
                  <a:lnTo>
                    <a:pt x="5276" y="4153"/>
                  </a:lnTo>
                  <a:lnTo>
                    <a:pt x="5227" y="4299"/>
                  </a:lnTo>
                  <a:lnTo>
                    <a:pt x="5154" y="4446"/>
                  </a:lnTo>
                  <a:lnTo>
                    <a:pt x="5080" y="4592"/>
                  </a:lnTo>
                  <a:lnTo>
                    <a:pt x="4983" y="4739"/>
                  </a:lnTo>
                  <a:lnTo>
                    <a:pt x="4860" y="4861"/>
                  </a:lnTo>
                  <a:lnTo>
                    <a:pt x="4738" y="4959"/>
                  </a:lnTo>
                  <a:lnTo>
                    <a:pt x="4616" y="5056"/>
                  </a:lnTo>
                  <a:lnTo>
                    <a:pt x="4470" y="5154"/>
                  </a:lnTo>
                  <a:lnTo>
                    <a:pt x="4323" y="5203"/>
                  </a:lnTo>
                  <a:lnTo>
                    <a:pt x="4177" y="5276"/>
                  </a:lnTo>
                  <a:lnTo>
                    <a:pt x="4006" y="5301"/>
                  </a:lnTo>
                  <a:lnTo>
                    <a:pt x="3835" y="5349"/>
                  </a:lnTo>
                  <a:lnTo>
                    <a:pt x="3493" y="5349"/>
                  </a:lnTo>
                  <a:lnTo>
                    <a:pt x="3322" y="5301"/>
                  </a:lnTo>
                  <a:lnTo>
                    <a:pt x="3151" y="5276"/>
                  </a:lnTo>
                  <a:lnTo>
                    <a:pt x="3004" y="5203"/>
                  </a:lnTo>
                  <a:lnTo>
                    <a:pt x="2858" y="5154"/>
                  </a:lnTo>
                  <a:lnTo>
                    <a:pt x="2711" y="5056"/>
                  </a:lnTo>
                  <a:lnTo>
                    <a:pt x="2589" y="4959"/>
                  </a:lnTo>
                  <a:lnTo>
                    <a:pt x="2467" y="4861"/>
                  </a:lnTo>
                  <a:lnTo>
                    <a:pt x="2345" y="4739"/>
                  </a:lnTo>
                  <a:lnTo>
                    <a:pt x="2247" y="4592"/>
                  </a:lnTo>
                  <a:lnTo>
                    <a:pt x="2174" y="4446"/>
                  </a:lnTo>
                  <a:lnTo>
                    <a:pt x="2101" y="4299"/>
                  </a:lnTo>
                  <a:lnTo>
                    <a:pt x="2027" y="4153"/>
                  </a:lnTo>
                  <a:lnTo>
                    <a:pt x="2003" y="3982"/>
                  </a:lnTo>
                  <a:lnTo>
                    <a:pt x="1979" y="3811"/>
                  </a:lnTo>
                  <a:lnTo>
                    <a:pt x="1954" y="3640"/>
                  </a:lnTo>
                  <a:lnTo>
                    <a:pt x="1979" y="3469"/>
                  </a:lnTo>
                  <a:lnTo>
                    <a:pt x="2003" y="3298"/>
                  </a:lnTo>
                  <a:lnTo>
                    <a:pt x="2027" y="3151"/>
                  </a:lnTo>
                  <a:lnTo>
                    <a:pt x="2101" y="2980"/>
                  </a:lnTo>
                  <a:lnTo>
                    <a:pt x="2174" y="2834"/>
                  </a:lnTo>
                  <a:lnTo>
                    <a:pt x="2247" y="2687"/>
                  </a:lnTo>
                  <a:lnTo>
                    <a:pt x="2345" y="2565"/>
                  </a:lnTo>
                  <a:lnTo>
                    <a:pt x="2467" y="2443"/>
                  </a:lnTo>
                  <a:lnTo>
                    <a:pt x="2589" y="2345"/>
                  </a:lnTo>
                  <a:lnTo>
                    <a:pt x="2711" y="2248"/>
                  </a:lnTo>
                  <a:lnTo>
                    <a:pt x="2858" y="2150"/>
                  </a:lnTo>
                  <a:lnTo>
                    <a:pt x="3004" y="2077"/>
                  </a:lnTo>
                  <a:lnTo>
                    <a:pt x="3151" y="2028"/>
                  </a:lnTo>
                  <a:lnTo>
                    <a:pt x="3322" y="1979"/>
                  </a:lnTo>
                  <a:lnTo>
                    <a:pt x="3493" y="1955"/>
                  </a:lnTo>
                  <a:lnTo>
                    <a:pt x="3664" y="1955"/>
                  </a:lnTo>
                  <a:lnTo>
                    <a:pt x="3957" y="1979"/>
                  </a:lnTo>
                  <a:lnTo>
                    <a:pt x="5447" y="465"/>
                  </a:lnTo>
                  <a:lnTo>
                    <a:pt x="5056" y="269"/>
                  </a:lnTo>
                  <a:lnTo>
                    <a:pt x="4836" y="196"/>
                  </a:lnTo>
                  <a:lnTo>
                    <a:pt x="4616" y="123"/>
                  </a:lnTo>
                  <a:lnTo>
                    <a:pt x="4372" y="74"/>
                  </a:lnTo>
                  <a:lnTo>
                    <a:pt x="4152" y="25"/>
                  </a:lnTo>
                  <a:lnTo>
                    <a:pt x="390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09" name="Shape 438"/>
            <p:cNvSpPr/>
            <p:nvPr/>
          </p:nvSpPr>
          <p:spPr>
            <a:xfrm>
              <a:off x="5981175" y="2005125"/>
              <a:ext cx="75125" cy="70850"/>
            </a:xfrm>
            <a:custGeom>
              <a:avLst/>
              <a:gdLst/>
              <a:ahLst/>
              <a:cxnLst/>
              <a:rect l="0" t="0" r="0" b="0"/>
              <a:pathLst>
                <a:path w="3005" h="2834" extrusionOk="0">
                  <a:moveTo>
                    <a:pt x="1466" y="0"/>
                  </a:moveTo>
                  <a:lnTo>
                    <a:pt x="294" y="1173"/>
                  </a:lnTo>
                  <a:lnTo>
                    <a:pt x="172" y="1319"/>
                  </a:lnTo>
                  <a:lnTo>
                    <a:pt x="74" y="1490"/>
                  </a:lnTo>
                  <a:lnTo>
                    <a:pt x="25" y="1661"/>
                  </a:lnTo>
                  <a:lnTo>
                    <a:pt x="1" y="1857"/>
                  </a:lnTo>
                  <a:lnTo>
                    <a:pt x="25" y="2052"/>
                  </a:lnTo>
                  <a:lnTo>
                    <a:pt x="74" y="2223"/>
                  </a:lnTo>
                  <a:lnTo>
                    <a:pt x="172" y="2394"/>
                  </a:lnTo>
                  <a:lnTo>
                    <a:pt x="294" y="2540"/>
                  </a:lnTo>
                  <a:lnTo>
                    <a:pt x="440" y="2663"/>
                  </a:lnTo>
                  <a:lnTo>
                    <a:pt x="611" y="2760"/>
                  </a:lnTo>
                  <a:lnTo>
                    <a:pt x="807" y="2809"/>
                  </a:lnTo>
                  <a:lnTo>
                    <a:pt x="978" y="2833"/>
                  </a:lnTo>
                  <a:lnTo>
                    <a:pt x="1173" y="2809"/>
                  </a:lnTo>
                  <a:lnTo>
                    <a:pt x="1344" y="2760"/>
                  </a:lnTo>
                  <a:lnTo>
                    <a:pt x="1515" y="2663"/>
                  </a:lnTo>
                  <a:lnTo>
                    <a:pt x="1686" y="2540"/>
                  </a:lnTo>
                  <a:lnTo>
                    <a:pt x="2858" y="1368"/>
                  </a:lnTo>
                  <a:lnTo>
                    <a:pt x="3005" y="1197"/>
                  </a:lnTo>
                  <a:lnTo>
                    <a:pt x="2590" y="928"/>
                  </a:lnTo>
                  <a:lnTo>
                    <a:pt x="2199" y="635"/>
                  </a:lnTo>
                  <a:lnTo>
                    <a:pt x="1808" y="342"/>
                  </a:lnTo>
                  <a:lnTo>
                    <a:pt x="146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10" name="Shape 439"/>
            <p:cNvSpPr/>
            <p:nvPr/>
          </p:nvSpPr>
          <p:spPr>
            <a:xfrm>
              <a:off x="6263875" y="2005125"/>
              <a:ext cx="74525" cy="70850"/>
            </a:xfrm>
            <a:custGeom>
              <a:avLst/>
              <a:gdLst/>
              <a:ahLst/>
              <a:cxnLst/>
              <a:rect l="0" t="0" r="0" b="0"/>
              <a:pathLst>
                <a:path w="2981" h="2834" extrusionOk="0">
                  <a:moveTo>
                    <a:pt x="1539" y="0"/>
                  </a:moveTo>
                  <a:lnTo>
                    <a:pt x="1173" y="342"/>
                  </a:lnTo>
                  <a:lnTo>
                    <a:pt x="807" y="635"/>
                  </a:lnTo>
                  <a:lnTo>
                    <a:pt x="416" y="928"/>
                  </a:lnTo>
                  <a:lnTo>
                    <a:pt x="1" y="1197"/>
                  </a:lnTo>
                  <a:lnTo>
                    <a:pt x="123" y="1368"/>
                  </a:lnTo>
                  <a:lnTo>
                    <a:pt x="1319" y="2540"/>
                  </a:lnTo>
                  <a:lnTo>
                    <a:pt x="1466" y="2663"/>
                  </a:lnTo>
                  <a:lnTo>
                    <a:pt x="1637" y="2760"/>
                  </a:lnTo>
                  <a:lnTo>
                    <a:pt x="1832" y="2809"/>
                  </a:lnTo>
                  <a:lnTo>
                    <a:pt x="2003" y="2833"/>
                  </a:lnTo>
                  <a:lnTo>
                    <a:pt x="2199" y="2809"/>
                  </a:lnTo>
                  <a:lnTo>
                    <a:pt x="2370" y="2760"/>
                  </a:lnTo>
                  <a:lnTo>
                    <a:pt x="2541" y="2663"/>
                  </a:lnTo>
                  <a:lnTo>
                    <a:pt x="2712" y="2540"/>
                  </a:lnTo>
                  <a:lnTo>
                    <a:pt x="2834" y="2394"/>
                  </a:lnTo>
                  <a:lnTo>
                    <a:pt x="2931" y="2223"/>
                  </a:lnTo>
                  <a:lnTo>
                    <a:pt x="2980" y="2052"/>
                  </a:lnTo>
                  <a:lnTo>
                    <a:pt x="2980" y="1857"/>
                  </a:lnTo>
                  <a:lnTo>
                    <a:pt x="2980" y="1661"/>
                  </a:lnTo>
                  <a:lnTo>
                    <a:pt x="2931" y="1490"/>
                  </a:lnTo>
                  <a:lnTo>
                    <a:pt x="2834" y="1319"/>
                  </a:lnTo>
                  <a:lnTo>
                    <a:pt x="2712" y="1173"/>
                  </a:lnTo>
                  <a:lnTo>
                    <a:pt x="153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11" name="Shape 440"/>
            <p:cNvSpPr/>
            <p:nvPr/>
          </p:nvSpPr>
          <p:spPr>
            <a:xfrm>
              <a:off x="6147875" y="1619250"/>
              <a:ext cx="251575" cy="255850"/>
            </a:xfrm>
            <a:custGeom>
              <a:avLst/>
              <a:gdLst/>
              <a:ahLst/>
              <a:cxnLst/>
              <a:rect l="0" t="0" r="0" b="0"/>
              <a:pathLst>
                <a:path w="10063" h="10234" extrusionOk="0">
                  <a:moveTo>
                    <a:pt x="7352" y="0"/>
                  </a:moveTo>
                  <a:lnTo>
                    <a:pt x="7254" y="24"/>
                  </a:lnTo>
                  <a:lnTo>
                    <a:pt x="7181" y="73"/>
                  </a:lnTo>
                  <a:lnTo>
                    <a:pt x="7083" y="147"/>
                  </a:lnTo>
                  <a:lnTo>
                    <a:pt x="5447" y="1758"/>
                  </a:lnTo>
                  <a:lnTo>
                    <a:pt x="5373" y="1856"/>
                  </a:lnTo>
                  <a:lnTo>
                    <a:pt x="5300" y="1978"/>
                  </a:lnTo>
                  <a:lnTo>
                    <a:pt x="5227" y="2125"/>
                  </a:lnTo>
                  <a:lnTo>
                    <a:pt x="5178" y="2247"/>
                  </a:lnTo>
                  <a:lnTo>
                    <a:pt x="5154" y="2393"/>
                  </a:lnTo>
                  <a:lnTo>
                    <a:pt x="5129" y="2540"/>
                  </a:lnTo>
                  <a:lnTo>
                    <a:pt x="5129" y="2687"/>
                  </a:lnTo>
                  <a:lnTo>
                    <a:pt x="5129" y="2809"/>
                  </a:lnTo>
                  <a:lnTo>
                    <a:pt x="5349" y="3981"/>
                  </a:lnTo>
                  <a:lnTo>
                    <a:pt x="5398" y="4152"/>
                  </a:lnTo>
                  <a:lnTo>
                    <a:pt x="147" y="9403"/>
                  </a:lnTo>
                  <a:lnTo>
                    <a:pt x="74" y="9476"/>
                  </a:lnTo>
                  <a:lnTo>
                    <a:pt x="25" y="9574"/>
                  </a:lnTo>
                  <a:lnTo>
                    <a:pt x="0" y="9672"/>
                  </a:lnTo>
                  <a:lnTo>
                    <a:pt x="0" y="9745"/>
                  </a:lnTo>
                  <a:lnTo>
                    <a:pt x="0" y="9843"/>
                  </a:lnTo>
                  <a:lnTo>
                    <a:pt x="25" y="9940"/>
                  </a:lnTo>
                  <a:lnTo>
                    <a:pt x="74" y="10013"/>
                  </a:lnTo>
                  <a:lnTo>
                    <a:pt x="147" y="10087"/>
                  </a:lnTo>
                  <a:lnTo>
                    <a:pt x="220" y="10160"/>
                  </a:lnTo>
                  <a:lnTo>
                    <a:pt x="293" y="10209"/>
                  </a:lnTo>
                  <a:lnTo>
                    <a:pt x="391" y="10233"/>
                  </a:lnTo>
                  <a:lnTo>
                    <a:pt x="586" y="10233"/>
                  </a:lnTo>
                  <a:lnTo>
                    <a:pt x="660" y="10209"/>
                  </a:lnTo>
                  <a:lnTo>
                    <a:pt x="757" y="10160"/>
                  </a:lnTo>
                  <a:lnTo>
                    <a:pt x="831" y="10087"/>
                  </a:lnTo>
                  <a:lnTo>
                    <a:pt x="6204" y="4738"/>
                  </a:lnTo>
                  <a:lnTo>
                    <a:pt x="7254" y="4909"/>
                  </a:lnTo>
                  <a:lnTo>
                    <a:pt x="7376" y="4933"/>
                  </a:lnTo>
                  <a:lnTo>
                    <a:pt x="7523" y="4933"/>
                  </a:lnTo>
                  <a:lnTo>
                    <a:pt x="7645" y="4909"/>
                  </a:lnTo>
                  <a:lnTo>
                    <a:pt x="7791" y="4860"/>
                  </a:lnTo>
                  <a:lnTo>
                    <a:pt x="7938" y="4811"/>
                  </a:lnTo>
                  <a:lnTo>
                    <a:pt x="8060" y="4763"/>
                  </a:lnTo>
                  <a:lnTo>
                    <a:pt x="8182" y="4689"/>
                  </a:lnTo>
                  <a:lnTo>
                    <a:pt x="8280" y="4592"/>
                  </a:lnTo>
                  <a:lnTo>
                    <a:pt x="9916" y="2955"/>
                  </a:lnTo>
                  <a:lnTo>
                    <a:pt x="9989" y="2882"/>
                  </a:lnTo>
                  <a:lnTo>
                    <a:pt x="10038" y="2784"/>
                  </a:lnTo>
                  <a:lnTo>
                    <a:pt x="10063" y="2711"/>
                  </a:lnTo>
                  <a:lnTo>
                    <a:pt x="10038" y="2613"/>
                  </a:lnTo>
                  <a:lnTo>
                    <a:pt x="10014" y="2564"/>
                  </a:lnTo>
                  <a:lnTo>
                    <a:pt x="9940" y="2491"/>
                  </a:lnTo>
                  <a:lnTo>
                    <a:pt x="9843" y="2442"/>
                  </a:lnTo>
                  <a:lnTo>
                    <a:pt x="9745" y="2418"/>
                  </a:lnTo>
                  <a:lnTo>
                    <a:pt x="8695" y="2223"/>
                  </a:lnTo>
                  <a:lnTo>
                    <a:pt x="9721" y="1197"/>
                  </a:lnTo>
                  <a:lnTo>
                    <a:pt x="9794" y="1123"/>
                  </a:lnTo>
                  <a:lnTo>
                    <a:pt x="9843" y="1026"/>
                  </a:lnTo>
                  <a:lnTo>
                    <a:pt x="9867" y="953"/>
                  </a:lnTo>
                  <a:lnTo>
                    <a:pt x="9867" y="855"/>
                  </a:lnTo>
                  <a:lnTo>
                    <a:pt x="9867" y="757"/>
                  </a:lnTo>
                  <a:lnTo>
                    <a:pt x="9843" y="659"/>
                  </a:lnTo>
                  <a:lnTo>
                    <a:pt x="9794" y="586"/>
                  </a:lnTo>
                  <a:lnTo>
                    <a:pt x="9721" y="513"/>
                  </a:lnTo>
                  <a:lnTo>
                    <a:pt x="9647" y="440"/>
                  </a:lnTo>
                  <a:lnTo>
                    <a:pt x="9574" y="391"/>
                  </a:lnTo>
                  <a:lnTo>
                    <a:pt x="9476" y="366"/>
                  </a:lnTo>
                  <a:lnTo>
                    <a:pt x="9281" y="366"/>
                  </a:lnTo>
                  <a:lnTo>
                    <a:pt x="9208" y="391"/>
                  </a:lnTo>
                  <a:lnTo>
                    <a:pt x="9110" y="440"/>
                  </a:lnTo>
                  <a:lnTo>
                    <a:pt x="9037" y="513"/>
                  </a:lnTo>
                  <a:lnTo>
                    <a:pt x="7889" y="1661"/>
                  </a:lnTo>
                  <a:lnTo>
                    <a:pt x="7840" y="1490"/>
                  </a:lnTo>
                  <a:lnTo>
                    <a:pt x="7620" y="318"/>
                  </a:lnTo>
                  <a:lnTo>
                    <a:pt x="7596" y="195"/>
                  </a:lnTo>
                  <a:lnTo>
                    <a:pt x="7547" y="98"/>
                  </a:lnTo>
                  <a:lnTo>
                    <a:pt x="7498" y="49"/>
                  </a:lnTo>
                  <a:lnTo>
                    <a:pt x="742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12" name="Shape 441"/>
          <p:cNvGrpSpPr/>
          <p:nvPr/>
        </p:nvGrpSpPr>
        <p:grpSpPr>
          <a:xfrm>
            <a:off x="7314549" y="2778221"/>
            <a:ext cx="366929" cy="334762"/>
            <a:chOff x="6625350" y="1613750"/>
            <a:chExt cx="480525" cy="438400"/>
          </a:xfrm>
        </p:grpSpPr>
        <p:sp>
          <p:nvSpPr>
            <p:cNvPr id="113" name="Shape 442"/>
            <p:cNvSpPr/>
            <p:nvPr/>
          </p:nvSpPr>
          <p:spPr>
            <a:xfrm>
              <a:off x="6670525" y="1887275"/>
              <a:ext cx="117875" cy="164875"/>
            </a:xfrm>
            <a:custGeom>
              <a:avLst/>
              <a:gdLst/>
              <a:ahLst/>
              <a:cxnLst/>
              <a:rect l="0" t="0" r="0" b="0"/>
              <a:pathLst>
                <a:path w="4715" h="6595" extrusionOk="0">
                  <a:moveTo>
                    <a:pt x="0" y="1"/>
                  </a:moveTo>
                  <a:lnTo>
                    <a:pt x="538" y="6058"/>
                  </a:lnTo>
                  <a:lnTo>
                    <a:pt x="562" y="6180"/>
                  </a:lnTo>
                  <a:lnTo>
                    <a:pt x="587" y="6277"/>
                  </a:lnTo>
                  <a:lnTo>
                    <a:pt x="660" y="6351"/>
                  </a:lnTo>
                  <a:lnTo>
                    <a:pt x="733" y="6448"/>
                  </a:lnTo>
                  <a:lnTo>
                    <a:pt x="806" y="6497"/>
                  </a:lnTo>
                  <a:lnTo>
                    <a:pt x="904" y="6546"/>
                  </a:lnTo>
                  <a:lnTo>
                    <a:pt x="1002" y="6571"/>
                  </a:lnTo>
                  <a:lnTo>
                    <a:pt x="1124" y="6595"/>
                  </a:lnTo>
                  <a:lnTo>
                    <a:pt x="4128" y="6595"/>
                  </a:lnTo>
                  <a:lnTo>
                    <a:pt x="4274" y="6571"/>
                  </a:lnTo>
                  <a:lnTo>
                    <a:pt x="4397" y="6522"/>
                  </a:lnTo>
                  <a:lnTo>
                    <a:pt x="4494" y="6473"/>
                  </a:lnTo>
                  <a:lnTo>
                    <a:pt x="4592" y="6375"/>
                  </a:lnTo>
                  <a:lnTo>
                    <a:pt x="4665" y="6253"/>
                  </a:lnTo>
                  <a:lnTo>
                    <a:pt x="4714" y="6155"/>
                  </a:lnTo>
                  <a:lnTo>
                    <a:pt x="4714" y="6009"/>
                  </a:lnTo>
                  <a:lnTo>
                    <a:pt x="4714" y="5887"/>
                  </a:lnTo>
                  <a:lnTo>
                    <a:pt x="3713" y="123"/>
                  </a:lnTo>
                  <a:lnTo>
                    <a:pt x="2589" y="50"/>
                  </a:lnTo>
                  <a:lnTo>
                    <a:pt x="1637" y="25"/>
                  </a:lnTo>
                  <a:lnTo>
                    <a:pt x="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14" name="Shape 443"/>
            <p:cNvSpPr/>
            <p:nvPr/>
          </p:nvSpPr>
          <p:spPr>
            <a:xfrm>
              <a:off x="7075950" y="1754175"/>
              <a:ext cx="29925" cy="99550"/>
            </a:xfrm>
            <a:custGeom>
              <a:avLst/>
              <a:gdLst/>
              <a:ahLst/>
              <a:cxnLst/>
              <a:rect l="0" t="0" r="0" b="0"/>
              <a:pathLst>
                <a:path w="1197" h="3982" extrusionOk="0">
                  <a:moveTo>
                    <a:pt x="0" y="1"/>
                  </a:moveTo>
                  <a:lnTo>
                    <a:pt x="0" y="3981"/>
                  </a:lnTo>
                  <a:lnTo>
                    <a:pt x="269" y="3811"/>
                  </a:lnTo>
                  <a:lnTo>
                    <a:pt x="489" y="3615"/>
                  </a:lnTo>
                  <a:lnTo>
                    <a:pt x="684" y="3420"/>
                  </a:lnTo>
                  <a:lnTo>
                    <a:pt x="855" y="3176"/>
                  </a:lnTo>
                  <a:lnTo>
                    <a:pt x="1002" y="2907"/>
                  </a:lnTo>
                  <a:lnTo>
                    <a:pt x="1099" y="2614"/>
                  </a:lnTo>
                  <a:lnTo>
                    <a:pt x="1173" y="2296"/>
                  </a:lnTo>
                  <a:lnTo>
                    <a:pt x="1197" y="1979"/>
                  </a:lnTo>
                  <a:lnTo>
                    <a:pt x="1173" y="1661"/>
                  </a:lnTo>
                  <a:lnTo>
                    <a:pt x="1099" y="1368"/>
                  </a:lnTo>
                  <a:lnTo>
                    <a:pt x="1002" y="1075"/>
                  </a:lnTo>
                  <a:lnTo>
                    <a:pt x="855" y="806"/>
                  </a:lnTo>
                  <a:lnTo>
                    <a:pt x="684" y="562"/>
                  </a:lnTo>
                  <a:lnTo>
                    <a:pt x="489" y="342"/>
                  </a:lnTo>
                  <a:lnTo>
                    <a:pt x="269" y="171"/>
                  </a:lnTo>
                  <a:lnTo>
                    <a:pt x="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15" name="Shape 444"/>
            <p:cNvSpPr/>
            <p:nvPr/>
          </p:nvSpPr>
          <p:spPr>
            <a:xfrm>
              <a:off x="6625350" y="1729750"/>
              <a:ext cx="97700" cy="147175"/>
            </a:xfrm>
            <a:custGeom>
              <a:avLst/>
              <a:gdLst/>
              <a:ahLst/>
              <a:cxnLst/>
              <a:rect l="0" t="0" r="0" b="0"/>
              <a:pathLst>
                <a:path w="3908" h="5887" extrusionOk="0">
                  <a:moveTo>
                    <a:pt x="3908" y="1"/>
                  </a:moveTo>
                  <a:lnTo>
                    <a:pt x="2711" y="25"/>
                  </a:lnTo>
                  <a:lnTo>
                    <a:pt x="1759" y="25"/>
                  </a:lnTo>
                  <a:lnTo>
                    <a:pt x="1588" y="49"/>
                  </a:lnTo>
                  <a:lnTo>
                    <a:pt x="1417" y="74"/>
                  </a:lnTo>
                  <a:lnTo>
                    <a:pt x="1246" y="123"/>
                  </a:lnTo>
                  <a:lnTo>
                    <a:pt x="1099" y="172"/>
                  </a:lnTo>
                  <a:lnTo>
                    <a:pt x="953" y="245"/>
                  </a:lnTo>
                  <a:lnTo>
                    <a:pt x="806" y="343"/>
                  </a:lnTo>
                  <a:lnTo>
                    <a:pt x="660" y="440"/>
                  </a:lnTo>
                  <a:lnTo>
                    <a:pt x="537" y="562"/>
                  </a:lnTo>
                  <a:lnTo>
                    <a:pt x="415" y="684"/>
                  </a:lnTo>
                  <a:lnTo>
                    <a:pt x="318" y="831"/>
                  </a:lnTo>
                  <a:lnTo>
                    <a:pt x="220" y="978"/>
                  </a:lnTo>
                  <a:lnTo>
                    <a:pt x="147" y="1124"/>
                  </a:lnTo>
                  <a:lnTo>
                    <a:pt x="73" y="1295"/>
                  </a:lnTo>
                  <a:lnTo>
                    <a:pt x="49" y="1442"/>
                  </a:lnTo>
                  <a:lnTo>
                    <a:pt x="0" y="1613"/>
                  </a:lnTo>
                  <a:lnTo>
                    <a:pt x="0" y="1783"/>
                  </a:lnTo>
                  <a:lnTo>
                    <a:pt x="0" y="4128"/>
                  </a:lnTo>
                  <a:lnTo>
                    <a:pt x="0" y="4299"/>
                  </a:lnTo>
                  <a:lnTo>
                    <a:pt x="49" y="4446"/>
                  </a:lnTo>
                  <a:lnTo>
                    <a:pt x="73" y="4617"/>
                  </a:lnTo>
                  <a:lnTo>
                    <a:pt x="147" y="4763"/>
                  </a:lnTo>
                  <a:lnTo>
                    <a:pt x="220" y="4934"/>
                  </a:lnTo>
                  <a:lnTo>
                    <a:pt x="318" y="5081"/>
                  </a:lnTo>
                  <a:lnTo>
                    <a:pt x="415" y="5203"/>
                  </a:lnTo>
                  <a:lnTo>
                    <a:pt x="537" y="5325"/>
                  </a:lnTo>
                  <a:lnTo>
                    <a:pt x="660" y="5447"/>
                  </a:lnTo>
                  <a:lnTo>
                    <a:pt x="806" y="5545"/>
                  </a:lnTo>
                  <a:lnTo>
                    <a:pt x="953" y="5642"/>
                  </a:lnTo>
                  <a:lnTo>
                    <a:pt x="1099" y="5716"/>
                  </a:lnTo>
                  <a:lnTo>
                    <a:pt x="1246" y="5789"/>
                  </a:lnTo>
                  <a:lnTo>
                    <a:pt x="1417" y="5838"/>
                  </a:lnTo>
                  <a:lnTo>
                    <a:pt x="1588" y="5862"/>
                  </a:lnTo>
                  <a:lnTo>
                    <a:pt x="1759" y="5862"/>
                  </a:lnTo>
                  <a:lnTo>
                    <a:pt x="2711" y="5887"/>
                  </a:lnTo>
                  <a:lnTo>
                    <a:pt x="3908" y="5887"/>
                  </a:lnTo>
                  <a:lnTo>
                    <a:pt x="390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16" name="Shape 445"/>
            <p:cNvSpPr/>
            <p:nvPr/>
          </p:nvSpPr>
          <p:spPr>
            <a:xfrm>
              <a:off x="6736475" y="1638175"/>
              <a:ext cx="279650" cy="330325"/>
            </a:xfrm>
            <a:custGeom>
              <a:avLst/>
              <a:gdLst/>
              <a:ahLst/>
              <a:cxnLst/>
              <a:rect l="0" t="0" r="0" b="0"/>
              <a:pathLst>
                <a:path w="11186" h="13213" extrusionOk="0">
                  <a:moveTo>
                    <a:pt x="11186" y="0"/>
                  </a:moveTo>
                  <a:lnTo>
                    <a:pt x="10771" y="342"/>
                  </a:lnTo>
                  <a:lnTo>
                    <a:pt x="10380" y="635"/>
                  </a:lnTo>
                  <a:lnTo>
                    <a:pt x="9940" y="904"/>
                  </a:lnTo>
                  <a:lnTo>
                    <a:pt x="9525" y="1172"/>
                  </a:lnTo>
                  <a:lnTo>
                    <a:pt x="9110" y="1417"/>
                  </a:lnTo>
                  <a:lnTo>
                    <a:pt x="8695" y="1661"/>
                  </a:lnTo>
                  <a:lnTo>
                    <a:pt x="7840" y="2052"/>
                  </a:lnTo>
                  <a:lnTo>
                    <a:pt x="7034" y="2418"/>
                  </a:lnTo>
                  <a:lnTo>
                    <a:pt x="6228" y="2687"/>
                  </a:lnTo>
                  <a:lnTo>
                    <a:pt x="5471" y="2931"/>
                  </a:lnTo>
                  <a:lnTo>
                    <a:pt x="4763" y="3126"/>
                  </a:lnTo>
                  <a:lnTo>
                    <a:pt x="4225" y="3248"/>
                  </a:lnTo>
                  <a:lnTo>
                    <a:pt x="3664" y="3346"/>
                  </a:lnTo>
                  <a:lnTo>
                    <a:pt x="3077" y="3419"/>
                  </a:lnTo>
                  <a:lnTo>
                    <a:pt x="2467" y="3493"/>
                  </a:lnTo>
                  <a:lnTo>
                    <a:pt x="1221" y="3590"/>
                  </a:lnTo>
                  <a:lnTo>
                    <a:pt x="0" y="3664"/>
                  </a:lnTo>
                  <a:lnTo>
                    <a:pt x="0" y="9574"/>
                  </a:lnTo>
                  <a:lnTo>
                    <a:pt x="1221" y="9623"/>
                  </a:lnTo>
                  <a:lnTo>
                    <a:pt x="2467" y="9721"/>
                  </a:lnTo>
                  <a:lnTo>
                    <a:pt x="3077" y="9794"/>
                  </a:lnTo>
                  <a:lnTo>
                    <a:pt x="3664" y="9891"/>
                  </a:lnTo>
                  <a:lnTo>
                    <a:pt x="4225" y="9989"/>
                  </a:lnTo>
                  <a:lnTo>
                    <a:pt x="4763" y="10111"/>
                  </a:lnTo>
                  <a:lnTo>
                    <a:pt x="5471" y="10307"/>
                  </a:lnTo>
                  <a:lnTo>
                    <a:pt x="6228" y="10526"/>
                  </a:lnTo>
                  <a:lnTo>
                    <a:pt x="7034" y="10820"/>
                  </a:lnTo>
                  <a:lnTo>
                    <a:pt x="7840" y="11161"/>
                  </a:lnTo>
                  <a:lnTo>
                    <a:pt x="8695" y="11577"/>
                  </a:lnTo>
                  <a:lnTo>
                    <a:pt x="9110" y="11796"/>
                  </a:lnTo>
                  <a:lnTo>
                    <a:pt x="9525" y="12041"/>
                  </a:lnTo>
                  <a:lnTo>
                    <a:pt x="9940" y="12309"/>
                  </a:lnTo>
                  <a:lnTo>
                    <a:pt x="10380" y="12602"/>
                  </a:lnTo>
                  <a:lnTo>
                    <a:pt x="10771" y="12896"/>
                  </a:lnTo>
                  <a:lnTo>
                    <a:pt x="11186" y="13213"/>
                  </a:lnTo>
                  <a:lnTo>
                    <a:pt x="1118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17" name="Shape 446"/>
            <p:cNvSpPr/>
            <p:nvPr/>
          </p:nvSpPr>
          <p:spPr>
            <a:xfrm>
              <a:off x="7029550" y="1613750"/>
              <a:ext cx="34200" cy="379800"/>
            </a:xfrm>
            <a:custGeom>
              <a:avLst/>
              <a:gdLst/>
              <a:ahLst/>
              <a:cxnLst/>
              <a:rect l="0" t="0" r="0" b="0"/>
              <a:pathLst>
                <a:path w="1368" h="15192" extrusionOk="0">
                  <a:moveTo>
                    <a:pt x="684" y="0"/>
                  </a:moveTo>
                  <a:lnTo>
                    <a:pt x="562" y="25"/>
                  </a:lnTo>
                  <a:lnTo>
                    <a:pt x="464" y="98"/>
                  </a:lnTo>
                  <a:lnTo>
                    <a:pt x="366" y="171"/>
                  </a:lnTo>
                  <a:lnTo>
                    <a:pt x="0" y="513"/>
                  </a:lnTo>
                  <a:lnTo>
                    <a:pt x="0" y="14654"/>
                  </a:lnTo>
                  <a:lnTo>
                    <a:pt x="366" y="15020"/>
                  </a:lnTo>
                  <a:lnTo>
                    <a:pt x="464" y="15094"/>
                  </a:lnTo>
                  <a:lnTo>
                    <a:pt x="562" y="15143"/>
                  </a:lnTo>
                  <a:lnTo>
                    <a:pt x="684" y="15191"/>
                  </a:lnTo>
                  <a:lnTo>
                    <a:pt x="904" y="15191"/>
                  </a:lnTo>
                  <a:lnTo>
                    <a:pt x="1001" y="15143"/>
                  </a:lnTo>
                  <a:lnTo>
                    <a:pt x="1148" y="15045"/>
                  </a:lnTo>
                  <a:lnTo>
                    <a:pt x="1270" y="14923"/>
                  </a:lnTo>
                  <a:lnTo>
                    <a:pt x="1343" y="14776"/>
                  </a:lnTo>
                  <a:lnTo>
                    <a:pt x="1368" y="14605"/>
                  </a:lnTo>
                  <a:lnTo>
                    <a:pt x="1368" y="586"/>
                  </a:lnTo>
                  <a:lnTo>
                    <a:pt x="1343" y="415"/>
                  </a:lnTo>
                  <a:lnTo>
                    <a:pt x="1270" y="244"/>
                  </a:lnTo>
                  <a:lnTo>
                    <a:pt x="1148" y="122"/>
                  </a:lnTo>
                  <a:lnTo>
                    <a:pt x="1001" y="25"/>
                  </a:lnTo>
                  <a:lnTo>
                    <a:pt x="90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18" name="Shape 447"/>
          <p:cNvGrpSpPr/>
          <p:nvPr/>
        </p:nvGrpSpPr>
        <p:grpSpPr>
          <a:xfrm>
            <a:off x="2722125" y="3322783"/>
            <a:ext cx="276958" cy="297479"/>
            <a:chOff x="611175" y="2326900"/>
            <a:chExt cx="362700" cy="389575"/>
          </a:xfrm>
        </p:grpSpPr>
        <p:sp>
          <p:nvSpPr>
            <p:cNvPr id="119" name="Shape 448"/>
            <p:cNvSpPr/>
            <p:nvPr/>
          </p:nvSpPr>
          <p:spPr>
            <a:xfrm>
              <a:off x="611175" y="2326900"/>
              <a:ext cx="362700" cy="389575"/>
            </a:xfrm>
            <a:custGeom>
              <a:avLst/>
              <a:gdLst/>
              <a:ahLst/>
              <a:cxnLst/>
              <a:rect l="0" t="0" r="0" b="0"/>
              <a:pathLst>
                <a:path w="14508" h="15583" extrusionOk="0">
                  <a:moveTo>
                    <a:pt x="9647" y="489"/>
                  </a:moveTo>
                  <a:lnTo>
                    <a:pt x="9769" y="513"/>
                  </a:lnTo>
                  <a:lnTo>
                    <a:pt x="9916" y="562"/>
                  </a:lnTo>
                  <a:lnTo>
                    <a:pt x="10014" y="660"/>
                  </a:lnTo>
                  <a:lnTo>
                    <a:pt x="10087" y="782"/>
                  </a:lnTo>
                  <a:lnTo>
                    <a:pt x="10111" y="928"/>
                  </a:lnTo>
                  <a:lnTo>
                    <a:pt x="10111" y="1075"/>
                  </a:lnTo>
                  <a:lnTo>
                    <a:pt x="10063" y="1197"/>
                  </a:lnTo>
                  <a:lnTo>
                    <a:pt x="9989" y="1319"/>
                  </a:lnTo>
                  <a:lnTo>
                    <a:pt x="9281" y="2003"/>
                  </a:lnTo>
                  <a:lnTo>
                    <a:pt x="9232" y="2076"/>
                  </a:lnTo>
                  <a:lnTo>
                    <a:pt x="9183" y="2174"/>
                  </a:lnTo>
                  <a:lnTo>
                    <a:pt x="9159" y="2247"/>
                  </a:lnTo>
                  <a:lnTo>
                    <a:pt x="9159" y="2345"/>
                  </a:lnTo>
                  <a:lnTo>
                    <a:pt x="9159" y="6497"/>
                  </a:lnTo>
                  <a:lnTo>
                    <a:pt x="9183" y="6643"/>
                  </a:lnTo>
                  <a:lnTo>
                    <a:pt x="9232" y="6790"/>
                  </a:lnTo>
                  <a:lnTo>
                    <a:pt x="10575" y="8671"/>
                  </a:lnTo>
                  <a:lnTo>
                    <a:pt x="3932" y="8671"/>
                  </a:lnTo>
                  <a:lnTo>
                    <a:pt x="5276" y="6790"/>
                  </a:lnTo>
                  <a:lnTo>
                    <a:pt x="5324" y="6643"/>
                  </a:lnTo>
                  <a:lnTo>
                    <a:pt x="5349" y="6497"/>
                  </a:lnTo>
                  <a:lnTo>
                    <a:pt x="5349" y="2345"/>
                  </a:lnTo>
                  <a:lnTo>
                    <a:pt x="5349" y="2247"/>
                  </a:lnTo>
                  <a:lnTo>
                    <a:pt x="5324" y="2174"/>
                  </a:lnTo>
                  <a:lnTo>
                    <a:pt x="5276" y="2076"/>
                  </a:lnTo>
                  <a:lnTo>
                    <a:pt x="5227" y="2003"/>
                  </a:lnTo>
                  <a:lnTo>
                    <a:pt x="4519" y="1319"/>
                  </a:lnTo>
                  <a:lnTo>
                    <a:pt x="4445" y="1197"/>
                  </a:lnTo>
                  <a:lnTo>
                    <a:pt x="4396" y="1075"/>
                  </a:lnTo>
                  <a:lnTo>
                    <a:pt x="4396" y="928"/>
                  </a:lnTo>
                  <a:lnTo>
                    <a:pt x="4421" y="782"/>
                  </a:lnTo>
                  <a:lnTo>
                    <a:pt x="4494" y="660"/>
                  </a:lnTo>
                  <a:lnTo>
                    <a:pt x="4592" y="562"/>
                  </a:lnTo>
                  <a:lnTo>
                    <a:pt x="4738" y="513"/>
                  </a:lnTo>
                  <a:lnTo>
                    <a:pt x="4860" y="489"/>
                  </a:lnTo>
                  <a:close/>
                  <a:moveTo>
                    <a:pt x="6717" y="9574"/>
                  </a:moveTo>
                  <a:lnTo>
                    <a:pt x="6912" y="9647"/>
                  </a:lnTo>
                  <a:lnTo>
                    <a:pt x="7083" y="9745"/>
                  </a:lnTo>
                  <a:lnTo>
                    <a:pt x="7254" y="9892"/>
                  </a:lnTo>
                  <a:lnTo>
                    <a:pt x="7376" y="10038"/>
                  </a:lnTo>
                  <a:lnTo>
                    <a:pt x="7474" y="10234"/>
                  </a:lnTo>
                  <a:lnTo>
                    <a:pt x="7547" y="10429"/>
                  </a:lnTo>
                  <a:lnTo>
                    <a:pt x="7571" y="10649"/>
                  </a:lnTo>
                  <a:lnTo>
                    <a:pt x="7547" y="10869"/>
                  </a:lnTo>
                  <a:lnTo>
                    <a:pt x="7474" y="11064"/>
                  </a:lnTo>
                  <a:lnTo>
                    <a:pt x="7376" y="11259"/>
                  </a:lnTo>
                  <a:lnTo>
                    <a:pt x="7254" y="11406"/>
                  </a:lnTo>
                  <a:lnTo>
                    <a:pt x="7083" y="11552"/>
                  </a:lnTo>
                  <a:lnTo>
                    <a:pt x="6912" y="11650"/>
                  </a:lnTo>
                  <a:lnTo>
                    <a:pt x="6717" y="11699"/>
                  </a:lnTo>
                  <a:lnTo>
                    <a:pt x="6497" y="11723"/>
                  </a:lnTo>
                  <a:lnTo>
                    <a:pt x="6277" y="11699"/>
                  </a:lnTo>
                  <a:lnTo>
                    <a:pt x="6057" y="11650"/>
                  </a:lnTo>
                  <a:lnTo>
                    <a:pt x="5886" y="11552"/>
                  </a:lnTo>
                  <a:lnTo>
                    <a:pt x="5715" y="11406"/>
                  </a:lnTo>
                  <a:lnTo>
                    <a:pt x="5593" y="11259"/>
                  </a:lnTo>
                  <a:lnTo>
                    <a:pt x="5495" y="11064"/>
                  </a:lnTo>
                  <a:lnTo>
                    <a:pt x="5422" y="10869"/>
                  </a:lnTo>
                  <a:lnTo>
                    <a:pt x="5398" y="10649"/>
                  </a:lnTo>
                  <a:lnTo>
                    <a:pt x="5422" y="10429"/>
                  </a:lnTo>
                  <a:lnTo>
                    <a:pt x="5495" y="10234"/>
                  </a:lnTo>
                  <a:lnTo>
                    <a:pt x="5593" y="10038"/>
                  </a:lnTo>
                  <a:lnTo>
                    <a:pt x="5715" y="9892"/>
                  </a:lnTo>
                  <a:lnTo>
                    <a:pt x="5886" y="9745"/>
                  </a:lnTo>
                  <a:lnTo>
                    <a:pt x="6057" y="9647"/>
                  </a:lnTo>
                  <a:lnTo>
                    <a:pt x="6277" y="9574"/>
                  </a:lnTo>
                  <a:close/>
                  <a:moveTo>
                    <a:pt x="8475" y="11894"/>
                  </a:moveTo>
                  <a:lnTo>
                    <a:pt x="8597" y="11919"/>
                  </a:lnTo>
                  <a:lnTo>
                    <a:pt x="8695" y="11943"/>
                  </a:lnTo>
                  <a:lnTo>
                    <a:pt x="8817" y="11992"/>
                  </a:lnTo>
                  <a:lnTo>
                    <a:pt x="8915" y="12065"/>
                  </a:lnTo>
                  <a:lnTo>
                    <a:pt x="8988" y="12163"/>
                  </a:lnTo>
                  <a:lnTo>
                    <a:pt x="9037" y="12285"/>
                  </a:lnTo>
                  <a:lnTo>
                    <a:pt x="9086" y="12383"/>
                  </a:lnTo>
                  <a:lnTo>
                    <a:pt x="9086" y="12529"/>
                  </a:lnTo>
                  <a:lnTo>
                    <a:pt x="9086" y="12652"/>
                  </a:lnTo>
                  <a:lnTo>
                    <a:pt x="9037" y="12749"/>
                  </a:lnTo>
                  <a:lnTo>
                    <a:pt x="8988" y="12871"/>
                  </a:lnTo>
                  <a:lnTo>
                    <a:pt x="8915" y="12969"/>
                  </a:lnTo>
                  <a:lnTo>
                    <a:pt x="8817" y="13042"/>
                  </a:lnTo>
                  <a:lnTo>
                    <a:pt x="8695" y="13091"/>
                  </a:lnTo>
                  <a:lnTo>
                    <a:pt x="8597" y="13140"/>
                  </a:lnTo>
                  <a:lnTo>
                    <a:pt x="8329" y="13140"/>
                  </a:lnTo>
                  <a:lnTo>
                    <a:pt x="8231" y="13091"/>
                  </a:lnTo>
                  <a:lnTo>
                    <a:pt x="8109" y="13042"/>
                  </a:lnTo>
                  <a:lnTo>
                    <a:pt x="8011" y="12969"/>
                  </a:lnTo>
                  <a:lnTo>
                    <a:pt x="7938" y="12871"/>
                  </a:lnTo>
                  <a:lnTo>
                    <a:pt x="7889" y="12749"/>
                  </a:lnTo>
                  <a:lnTo>
                    <a:pt x="7864" y="12652"/>
                  </a:lnTo>
                  <a:lnTo>
                    <a:pt x="7840" y="12529"/>
                  </a:lnTo>
                  <a:lnTo>
                    <a:pt x="7864" y="12383"/>
                  </a:lnTo>
                  <a:lnTo>
                    <a:pt x="7889" y="12285"/>
                  </a:lnTo>
                  <a:lnTo>
                    <a:pt x="7938" y="12163"/>
                  </a:lnTo>
                  <a:lnTo>
                    <a:pt x="8011" y="12065"/>
                  </a:lnTo>
                  <a:lnTo>
                    <a:pt x="8109" y="11992"/>
                  </a:lnTo>
                  <a:lnTo>
                    <a:pt x="8231" y="11943"/>
                  </a:lnTo>
                  <a:lnTo>
                    <a:pt x="8329" y="11919"/>
                  </a:lnTo>
                  <a:lnTo>
                    <a:pt x="8475" y="11894"/>
                  </a:lnTo>
                  <a:close/>
                  <a:moveTo>
                    <a:pt x="6741" y="13360"/>
                  </a:moveTo>
                  <a:lnTo>
                    <a:pt x="6814" y="13384"/>
                  </a:lnTo>
                  <a:lnTo>
                    <a:pt x="6912" y="13433"/>
                  </a:lnTo>
                  <a:lnTo>
                    <a:pt x="6985" y="13482"/>
                  </a:lnTo>
                  <a:lnTo>
                    <a:pt x="7034" y="13555"/>
                  </a:lnTo>
                  <a:lnTo>
                    <a:pt x="7083" y="13653"/>
                  </a:lnTo>
                  <a:lnTo>
                    <a:pt x="7107" y="13726"/>
                  </a:lnTo>
                  <a:lnTo>
                    <a:pt x="7107" y="13824"/>
                  </a:lnTo>
                  <a:lnTo>
                    <a:pt x="7107" y="13922"/>
                  </a:lnTo>
                  <a:lnTo>
                    <a:pt x="7083" y="14019"/>
                  </a:lnTo>
                  <a:lnTo>
                    <a:pt x="7034" y="14117"/>
                  </a:lnTo>
                  <a:lnTo>
                    <a:pt x="6985" y="14166"/>
                  </a:lnTo>
                  <a:lnTo>
                    <a:pt x="6912" y="14239"/>
                  </a:lnTo>
                  <a:lnTo>
                    <a:pt x="6814" y="14288"/>
                  </a:lnTo>
                  <a:lnTo>
                    <a:pt x="6741" y="14312"/>
                  </a:lnTo>
                  <a:lnTo>
                    <a:pt x="6546" y="14312"/>
                  </a:lnTo>
                  <a:lnTo>
                    <a:pt x="6448" y="14288"/>
                  </a:lnTo>
                  <a:lnTo>
                    <a:pt x="6375" y="14239"/>
                  </a:lnTo>
                  <a:lnTo>
                    <a:pt x="6301" y="14166"/>
                  </a:lnTo>
                  <a:lnTo>
                    <a:pt x="6228" y="14117"/>
                  </a:lnTo>
                  <a:lnTo>
                    <a:pt x="6179" y="14019"/>
                  </a:lnTo>
                  <a:lnTo>
                    <a:pt x="6155" y="13922"/>
                  </a:lnTo>
                  <a:lnTo>
                    <a:pt x="6155" y="13824"/>
                  </a:lnTo>
                  <a:lnTo>
                    <a:pt x="6155" y="13726"/>
                  </a:lnTo>
                  <a:lnTo>
                    <a:pt x="6179" y="13653"/>
                  </a:lnTo>
                  <a:lnTo>
                    <a:pt x="6228" y="13555"/>
                  </a:lnTo>
                  <a:lnTo>
                    <a:pt x="6301" y="13482"/>
                  </a:lnTo>
                  <a:lnTo>
                    <a:pt x="6375" y="13433"/>
                  </a:lnTo>
                  <a:lnTo>
                    <a:pt x="6448" y="13384"/>
                  </a:lnTo>
                  <a:lnTo>
                    <a:pt x="6546" y="13360"/>
                  </a:lnTo>
                  <a:close/>
                  <a:moveTo>
                    <a:pt x="4860" y="0"/>
                  </a:moveTo>
                  <a:lnTo>
                    <a:pt x="4714" y="25"/>
                  </a:lnTo>
                  <a:lnTo>
                    <a:pt x="4592" y="49"/>
                  </a:lnTo>
                  <a:lnTo>
                    <a:pt x="4445" y="98"/>
                  </a:lnTo>
                  <a:lnTo>
                    <a:pt x="4323" y="171"/>
                  </a:lnTo>
                  <a:lnTo>
                    <a:pt x="4225" y="245"/>
                  </a:lnTo>
                  <a:lnTo>
                    <a:pt x="4128" y="367"/>
                  </a:lnTo>
                  <a:lnTo>
                    <a:pt x="4030" y="464"/>
                  </a:lnTo>
                  <a:lnTo>
                    <a:pt x="3981" y="611"/>
                  </a:lnTo>
                  <a:lnTo>
                    <a:pt x="3932" y="733"/>
                  </a:lnTo>
                  <a:lnTo>
                    <a:pt x="3908" y="880"/>
                  </a:lnTo>
                  <a:lnTo>
                    <a:pt x="3908" y="1026"/>
                  </a:lnTo>
                  <a:lnTo>
                    <a:pt x="3908" y="1173"/>
                  </a:lnTo>
                  <a:lnTo>
                    <a:pt x="3957" y="1295"/>
                  </a:lnTo>
                  <a:lnTo>
                    <a:pt x="4006" y="1441"/>
                  </a:lnTo>
                  <a:lnTo>
                    <a:pt x="4079" y="1563"/>
                  </a:lnTo>
                  <a:lnTo>
                    <a:pt x="4177" y="1661"/>
                  </a:lnTo>
                  <a:lnTo>
                    <a:pt x="4860" y="2345"/>
                  </a:lnTo>
                  <a:lnTo>
                    <a:pt x="4860" y="6497"/>
                  </a:lnTo>
                  <a:lnTo>
                    <a:pt x="196" y="13067"/>
                  </a:lnTo>
                  <a:lnTo>
                    <a:pt x="122" y="13189"/>
                  </a:lnTo>
                  <a:lnTo>
                    <a:pt x="49" y="13311"/>
                  </a:lnTo>
                  <a:lnTo>
                    <a:pt x="25" y="13433"/>
                  </a:lnTo>
                  <a:lnTo>
                    <a:pt x="0" y="13555"/>
                  </a:lnTo>
                  <a:lnTo>
                    <a:pt x="0" y="13677"/>
                  </a:lnTo>
                  <a:lnTo>
                    <a:pt x="25" y="13824"/>
                  </a:lnTo>
                  <a:lnTo>
                    <a:pt x="49" y="13946"/>
                  </a:lnTo>
                  <a:lnTo>
                    <a:pt x="98" y="14068"/>
                  </a:lnTo>
                  <a:lnTo>
                    <a:pt x="586" y="15045"/>
                  </a:lnTo>
                  <a:lnTo>
                    <a:pt x="660" y="15167"/>
                  </a:lnTo>
                  <a:lnTo>
                    <a:pt x="757" y="15265"/>
                  </a:lnTo>
                  <a:lnTo>
                    <a:pt x="831" y="15362"/>
                  </a:lnTo>
                  <a:lnTo>
                    <a:pt x="953" y="15436"/>
                  </a:lnTo>
                  <a:lnTo>
                    <a:pt x="1075" y="15485"/>
                  </a:lnTo>
                  <a:lnTo>
                    <a:pt x="1197" y="15533"/>
                  </a:lnTo>
                  <a:lnTo>
                    <a:pt x="1319" y="15582"/>
                  </a:lnTo>
                  <a:lnTo>
                    <a:pt x="13189" y="15582"/>
                  </a:lnTo>
                  <a:lnTo>
                    <a:pt x="13311" y="15533"/>
                  </a:lnTo>
                  <a:lnTo>
                    <a:pt x="13433" y="15485"/>
                  </a:lnTo>
                  <a:lnTo>
                    <a:pt x="13555" y="15436"/>
                  </a:lnTo>
                  <a:lnTo>
                    <a:pt x="13677" y="15362"/>
                  </a:lnTo>
                  <a:lnTo>
                    <a:pt x="13750" y="15265"/>
                  </a:lnTo>
                  <a:lnTo>
                    <a:pt x="13848" y="15167"/>
                  </a:lnTo>
                  <a:lnTo>
                    <a:pt x="13921" y="15045"/>
                  </a:lnTo>
                  <a:lnTo>
                    <a:pt x="14410" y="14068"/>
                  </a:lnTo>
                  <a:lnTo>
                    <a:pt x="14459" y="13946"/>
                  </a:lnTo>
                  <a:lnTo>
                    <a:pt x="14483" y="13824"/>
                  </a:lnTo>
                  <a:lnTo>
                    <a:pt x="14508" y="13677"/>
                  </a:lnTo>
                  <a:lnTo>
                    <a:pt x="14508" y="13555"/>
                  </a:lnTo>
                  <a:lnTo>
                    <a:pt x="14483" y="13433"/>
                  </a:lnTo>
                  <a:lnTo>
                    <a:pt x="14459" y="13311"/>
                  </a:lnTo>
                  <a:lnTo>
                    <a:pt x="14385" y="13189"/>
                  </a:lnTo>
                  <a:lnTo>
                    <a:pt x="14312" y="13067"/>
                  </a:lnTo>
                  <a:lnTo>
                    <a:pt x="9647" y="6497"/>
                  </a:lnTo>
                  <a:lnTo>
                    <a:pt x="9647" y="2345"/>
                  </a:lnTo>
                  <a:lnTo>
                    <a:pt x="10331" y="1661"/>
                  </a:lnTo>
                  <a:lnTo>
                    <a:pt x="10429" y="1563"/>
                  </a:lnTo>
                  <a:lnTo>
                    <a:pt x="10502" y="1441"/>
                  </a:lnTo>
                  <a:lnTo>
                    <a:pt x="10551" y="1295"/>
                  </a:lnTo>
                  <a:lnTo>
                    <a:pt x="10600" y="1173"/>
                  </a:lnTo>
                  <a:lnTo>
                    <a:pt x="10600" y="1026"/>
                  </a:lnTo>
                  <a:lnTo>
                    <a:pt x="10600" y="880"/>
                  </a:lnTo>
                  <a:lnTo>
                    <a:pt x="10575" y="733"/>
                  </a:lnTo>
                  <a:lnTo>
                    <a:pt x="10527" y="611"/>
                  </a:lnTo>
                  <a:lnTo>
                    <a:pt x="10478" y="464"/>
                  </a:lnTo>
                  <a:lnTo>
                    <a:pt x="10380" y="367"/>
                  </a:lnTo>
                  <a:lnTo>
                    <a:pt x="10282" y="245"/>
                  </a:lnTo>
                  <a:lnTo>
                    <a:pt x="10185" y="171"/>
                  </a:lnTo>
                  <a:lnTo>
                    <a:pt x="10063" y="98"/>
                  </a:lnTo>
                  <a:lnTo>
                    <a:pt x="9916" y="49"/>
                  </a:lnTo>
                  <a:lnTo>
                    <a:pt x="9794" y="25"/>
                  </a:lnTo>
                  <a:lnTo>
                    <a:pt x="964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20" name="Shape 449"/>
            <p:cNvSpPr/>
            <p:nvPr/>
          </p:nvSpPr>
          <p:spPr>
            <a:xfrm>
              <a:off x="794950" y="2500900"/>
              <a:ext cx="24450" cy="23850"/>
            </a:xfrm>
            <a:custGeom>
              <a:avLst/>
              <a:gdLst/>
              <a:ahLst/>
              <a:cxnLst/>
              <a:rect l="0" t="0" r="0" b="0"/>
              <a:pathLst>
                <a:path w="978" h="954" extrusionOk="0">
                  <a:moveTo>
                    <a:pt x="391" y="1"/>
                  </a:moveTo>
                  <a:lnTo>
                    <a:pt x="294" y="25"/>
                  </a:lnTo>
                  <a:lnTo>
                    <a:pt x="220" y="74"/>
                  </a:lnTo>
                  <a:lnTo>
                    <a:pt x="147" y="123"/>
                  </a:lnTo>
                  <a:lnTo>
                    <a:pt x="98" y="196"/>
                  </a:lnTo>
                  <a:lnTo>
                    <a:pt x="49" y="294"/>
                  </a:lnTo>
                  <a:lnTo>
                    <a:pt x="25" y="367"/>
                  </a:lnTo>
                  <a:lnTo>
                    <a:pt x="1" y="465"/>
                  </a:lnTo>
                  <a:lnTo>
                    <a:pt x="25" y="563"/>
                  </a:lnTo>
                  <a:lnTo>
                    <a:pt x="49" y="660"/>
                  </a:lnTo>
                  <a:lnTo>
                    <a:pt x="98" y="734"/>
                  </a:lnTo>
                  <a:lnTo>
                    <a:pt x="147" y="807"/>
                  </a:lnTo>
                  <a:lnTo>
                    <a:pt x="220" y="880"/>
                  </a:lnTo>
                  <a:lnTo>
                    <a:pt x="294" y="905"/>
                  </a:lnTo>
                  <a:lnTo>
                    <a:pt x="391" y="953"/>
                  </a:lnTo>
                  <a:lnTo>
                    <a:pt x="587" y="953"/>
                  </a:lnTo>
                  <a:lnTo>
                    <a:pt x="684" y="905"/>
                  </a:lnTo>
                  <a:lnTo>
                    <a:pt x="758" y="880"/>
                  </a:lnTo>
                  <a:lnTo>
                    <a:pt x="831" y="807"/>
                  </a:lnTo>
                  <a:lnTo>
                    <a:pt x="880" y="734"/>
                  </a:lnTo>
                  <a:lnTo>
                    <a:pt x="929" y="660"/>
                  </a:lnTo>
                  <a:lnTo>
                    <a:pt x="953" y="563"/>
                  </a:lnTo>
                  <a:lnTo>
                    <a:pt x="978" y="465"/>
                  </a:lnTo>
                  <a:lnTo>
                    <a:pt x="953" y="367"/>
                  </a:lnTo>
                  <a:lnTo>
                    <a:pt x="929" y="294"/>
                  </a:lnTo>
                  <a:lnTo>
                    <a:pt x="880" y="196"/>
                  </a:lnTo>
                  <a:lnTo>
                    <a:pt x="831" y="123"/>
                  </a:lnTo>
                  <a:lnTo>
                    <a:pt x="758" y="74"/>
                  </a:lnTo>
                  <a:lnTo>
                    <a:pt x="684" y="25"/>
                  </a:lnTo>
                  <a:lnTo>
                    <a:pt x="58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21" name="Shape 450"/>
            <p:cNvSpPr/>
            <p:nvPr/>
          </p:nvSpPr>
          <p:spPr>
            <a:xfrm>
              <a:off x="754650" y="2381250"/>
              <a:ext cx="75750" cy="14050"/>
            </a:xfrm>
            <a:custGeom>
              <a:avLst/>
              <a:gdLst/>
              <a:ahLst/>
              <a:cxnLst/>
              <a:rect l="0" t="0" r="0" b="0"/>
              <a:pathLst>
                <a:path w="3030" h="562" extrusionOk="0">
                  <a:moveTo>
                    <a:pt x="294" y="0"/>
                  </a:moveTo>
                  <a:lnTo>
                    <a:pt x="172" y="24"/>
                  </a:lnTo>
                  <a:lnTo>
                    <a:pt x="74" y="73"/>
                  </a:lnTo>
                  <a:lnTo>
                    <a:pt x="25" y="171"/>
                  </a:lnTo>
                  <a:lnTo>
                    <a:pt x="1" y="269"/>
                  </a:lnTo>
                  <a:lnTo>
                    <a:pt x="25" y="391"/>
                  </a:lnTo>
                  <a:lnTo>
                    <a:pt x="74" y="488"/>
                  </a:lnTo>
                  <a:lnTo>
                    <a:pt x="172" y="537"/>
                  </a:lnTo>
                  <a:lnTo>
                    <a:pt x="294" y="562"/>
                  </a:lnTo>
                  <a:lnTo>
                    <a:pt x="2736" y="562"/>
                  </a:lnTo>
                  <a:lnTo>
                    <a:pt x="2858" y="537"/>
                  </a:lnTo>
                  <a:lnTo>
                    <a:pt x="2956" y="488"/>
                  </a:lnTo>
                  <a:lnTo>
                    <a:pt x="3005" y="391"/>
                  </a:lnTo>
                  <a:lnTo>
                    <a:pt x="3029" y="269"/>
                  </a:lnTo>
                  <a:lnTo>
                    <a:pt x="3005" y="171"/>
                  </a:lnTo>
                  <a:lnTo>
                    <a:pt x="2956" y="73"/>
                  </a:lnTo>
                  <a:lnTo>
                    <a:pt x="2858" y="24"/>
                  </a:lnTo>
                  <a:lnTo>
                    <a:pt x="273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22" name="Shape 451"/>
            <p:cNvSpPr/>
            <p:nvPr/>
          </p:nvSpPr>
          <p:spPr>
            <a:xfrm>
              <a:off x="765025" y="2453900"/>
              <a:ext cx="31175" cy="31150"/>
            </a:xfrm>
            <a:custGeom>
              <a:avLst/>
              <a:gdLst/>
              <a:ahLst/>
              <a:cxnLst/>
              <a:rect l="0" t="0" r="0" b="0"/>
              <a:pathLst>
                <a:path w="1247" h="1246" extrusionOk="0">
                  <a:moveTo>
                    <a:pt x="611" y="0"/>
                  </a:moveTo>
                  <a:lnTo>
                    <a:pt x="489" y="25"/>
                  </a:lnTo>
                  <a:lnTo>
                    <a:pt x="367" y="49"/>
                  </a:lnTo>
                  <a:lnTo>
                    <a:pt x="270" y="122"/>
                  </a:lnTo>
                  <a:lnTo>
                    <a:pt x="172" y="196"/>
                  </a:lnTo>
                  <a:lnTo>
                    <a:pt x="99" y="269"/>
                  </a:lnTo>
                  <a:lnTo>
                    <a:pt x="50" y="391"/>
                  </a:lnTo>
                  <a:lnTo>
                    <a:pt x="1" y="513"/>
                  </a:lnTo>
                  <a:lnTo>
                    <a:pt x="1" y="635"/>
                  </a:lnTo>
                  <a:lnTo>
                    <a:pt x="1" y="757"/>
                  </a:lnTo>
                  <a:lnTo>
                    <a:pt x="50" y="880"/>
                  </a:lnTo>
                  <a:lnTo>
                    <a:pt x="99" y="977"/>
                  </a:lnTo>
                  <a:lnTo>
                    <a:pt x="172" y="1075"/>
                  </a:lnTo>
                  <a:lnTo>
                    <a:pt x="270" y="1148"/>
                  </a:lnTo>
                  <a:lnTo>
                    <a:pt x="367" y="1197"/>
                  </a:lnTo>
                  <a:lnTo>
                    <a:pt x="489" y="1246"/>
                  </a:lnTo>
                  <a:lnTo>
                    <a:pt x="734" y="1246"/>
                  </a:lnTo>
                  <a:lnTo>
                    <a:pt x="856" y="1197"/>
                  </a:lnTo>
                  <a:lnTo>
                    <a:pt x="978" y="1148"/>
                  </a:lnTo>
                  <a:lnTo>
                    <a:pt x="1051" y="1075"/>
                  </a:lnTo>
                  <a:lnTo>
                    <a:pt x="1149" y="977"/>
                  </a:lnTo>
                  <a:lnTo>
                    <a:pt x="1198" y="880"/>
                  </a:lnTo>
                  <a:lnTo>
                    <a:pt x="1222" y="757"/>
                  </a:lnTo>
                  <a:lnTo>
                    <a:pt x="1246" y="635"/>
                  </a:lnTo>
                  <a:lnTo>
                    <a:pt x="1222" y="513"/>
                  </a:lnTo>
                  <a:lnTo>
                    <a:pt x="1198" y="391"/>
                  </a:lnTo>
                  <a:lnTo>
                    <a:pt x="1149" y="269"/>
                  </a:lnTo>
                  <a:lnTo>
                    <a:pt x="1051" y="196"/>
                  </a:lnTo>
                  <a:lnTo>
                    <a:pt x="978" y="122"/>
                  </a:lnTo>
                  <a:lnTo>
                    <a:pt x="856" y="49"/>
                  </a:lnTo>
                  <a:lnTo>
                    <a:pt x="734" y="25"/>
                  </a:lnTo>
                  <a:lnTo>
                    <a:pt x="61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123" name="Shape 452"/>
          <p:cNvSpPr/>
          <p:nvPr/>
        </p:nvSpPr>
        <p:spPr>
          <a:xfrm>
            <a:off x="3229482" y="3325746"/>
            <a:ext cx="291886" cy="291886"/>
          </a:xfrm>
          <a:custGeom>
            <a:avLst/>
            <a:gdLst/>
            <a:ahLst/>
            <a:cxnLst/>
            <a:rect l="0" t="0" r="0" b="0"/>
            <a:pathLst>
              <a:path w="15290" h="15290" extrusionOk="0">
                <a:moveTo>
                  <a:pt x="4519" y="6815"/>
                </a:moveTo>
                <a:lnTo>
                  <a:pt x="4690" y="6839"/>
                </a:lnTo>
                <a:lnTo>
                  <a:pt x="4861" y="6888"/>
                </a:lnTo>
                <a:lnTo>
                  <a:pt x="5007" y="6986"/>
                </a:lnTo>
                <a:lnTo>
                  <a:pt x="5154" y="7084"/>
                </a:lnTo>
                <a:lnTo>
                  <a:pt x="5251" y="7230"/>
                </a:lnTo>
                <a:lnTo>
                  <a:pt x="5325" y="7401"/>
                </a:lnTo>
                <a:lnTo>
                  <a:pt x="5374" y="7572"/>
                </a:lnTo>
                <a:lnTo>
                  <a:pt x="5398" y="7767"/>
                </a:lnTo>
                <a:lnTo>
                  <a:pt x="5374" y="7963"/>
                </a:lnTo>
                <a:lnTo>
                  <a:pt x="5325" y="8134"/>
                </a:lnTo>
                <a:lnTo>
                  <a:pt x="5251" y="8305"/>
                </a:lnTo>
                <a:lnTo>
                  <a:pt x="5154" y="8451"/>
                </a:lnTo>
                <a:lnTo>
                  <a:pt x="5007" y="8549"/>
                </a:lnTo>
                <a:lnTo>
                  <a:pt x="4861" y="8647"/>
                </a:lnTo>
                <a:lnTo>
                  <a:pt x="4690" y="8696"/>
                </a:lnTo>
                <a:lnTo>
                  <a:pt x="4519" y="8720"/>
                </a:lnTo>
                <a:lnTo>
                  <a:pt x="4348" y="8696"/>
                </a:lnTo>
                <a:lnTo>
                  <a:pt x="4177" y="8647"/>
                </a:lnTo>
                <a:lnTo>
                  <a:pt x="4030" y="8549"/>
                </a:lnTo>
                <a:lnTo>
                  <a:pt x="3884" y="8451"/>
                </a:lnTo>
                <a:lnTo>
                  <a:pt x="3786" y="8305"/>
                </a:lnTo>
                <a:lnTo>
                  <a:pt x="3713" y="8134"/>
                </a:lnTo>
                <a:lnTo>
                  <a:pt x="3664" y="7963"/>
                </a:lnTo>
                <a:lnTo>
                  <a:pt x="3640" y="7767"/>
                </a:lnTo>
                <a:lnTo>
                  <a:pt x="3664" y="7572"/>
                </a:lnTo>
                <a:lnTo>
                  <a:pt x="3713" y="7401"/>
                </a:lnTo>
                <a:lnTo>
                  <a:pt x="3786" y="7230"/>
                </a:lnTo>
                <a:lnTo>
                  <a:pt x="3884" y="7084"/>
                </a:lnTo>
                <a:lnTo>
                  <a:pt x="4030" y="6986"/>
                </a:lnTo>
                <a:lnTo>
                  <a:pt x="4177" y="6888"/>
                </a:lnTo>
                <a:lnTo>
                  <a:pt x="4348" y="6839"/>
                </a:lnTo>
                <a:lnTo>
                  <a:pt x="4519" y="6815"/>
                </a:lnTo>
                <a:close/>
                <a:moveTo>
                  <a:pt x="10771" y="6815"/>
                </a:moveTo>
                <a:lnTo>
                  <a:pt x="10942" y="6839"/>
                </a:lnTo>
                <a:lnTo>
                  <a:pt x="11113" y="6888"/>
                </a:lnTo>
                <a:lnTo>
                  <a:pt x="11260" y="6986"/>
                </a:lnTo>
                <a:lnTo>
                  <a:pt x="11406" y="7084"/>
                </a:lnTo>
                <a:lnTo>
                  <a:pt x="11504" y="7230"/>
                </a:lnTo>
                <a:lnTo>
                  <a:pt x="11577" y="7401"/>
                </a:lnTo>
                <a:lnTo>
                  <a:pt x="11626" y="7572"/>
                </a:lnTo>
                <a:lnTo>
                  <a:pt x="11650" y="7767"/>
                </a:lnTo>
                <a:lnTo>
                  <a:pt x="11626" y="7963"/>
                </a:lnTo>
                <a:lnTo>
                  <a:pt x="11577" y="8134"/>
                </a:lnTo>
                <a:lnTo>
                  <a:pt x="11504" y="8305"/>
                </a:lnTo>
                <a:lnTo>
                  <a:pt x="11406" y="8451"/>
                </a:lnTo>
                <a:lnTo>
                  <a:pt x="11260" y="8549"/>
                </a:lnTo>
                <a:lnTo>
                  <a:pt x="11113" y="8647"/>
                </a:lnTo>
                <a:lnTo>
                  <a:pt x="10942" y="8696"/>
                </a:lnTo>
                <a:lnTo>
                  <a:pt x="10771" y="8720"/>
                </a:lnTo>
                <a:lnTo>
                  <a:pt x="10600" y="8696"/>
                </a:lnTo>
                <a:lnTo>
                  <a:pt x="10429" y="8647"/>
                </a:lnTo>
                <a:lnTo>
                  <a:pt x="10283" y="8549"/>
                </a:lnTo>
                <a:lnTo>
                  <a:pt x="10136" y="8451"/>
                </a:lnTo>
                <a:lnTo>
                  <a:pt x="10038" y="8305"/>
                </a:lnTo>
                <a:lnTo>
                  <a:pt x="9965" y="8134"/>
                </a:lnTo>
                <a:lnTo>
                  <a:pt x="9916" y="7963"/>
                </a:lnTo>
                <a:lnTo>
                  <a:pt x="9892" y="7767"/>
                </a:lnTo>
                <a:lnTo>
                  <a:pt x="9916" y="7572"/>
                </a:lnTo>
                <a:lnTo>
                  <a:pt x="9965" y="7401"/>
                </a:lnTo>
                <a:lnTo>
                  <a:pt x="10038" y="7230"/>
                </a:lnTo>
                <a:lnTo>
                  <a:pt x="10136" y="7084"/>
                </a:lnTo>
                <a:lnTo>
                  <a:pt x="10283" y="6986"/>
                </a:lnTo>
                <a:lnTo>
                  <a:pt x="10429" y="6888"/>
                </a:lnTo>
                <a:lnTo>
                  <a:pt x="10600" y="6839"/>
                </a:lnTo>
                <a:lnTo>
                  <a:pt x="10771" y="6815"/>
                </a:lnTo>
                <a:close/>
                <a:moveTo>
                  <a:pt x="11308" y="10210"/>
                </a:moveTo>
                <a:lnTo>
                  <a:pt x="11406" y="10234"/>
                </a:lnTo>
                <a:lnTo>
                  <a:pt x="11479" y="10259"/>
                </a:lnTo>
                <a:lnTo>
                  <a:pt x="11577" y="10307"/>
                </a:lnTo>
                <a:lnTo>
                  <a:pt x="11650" y="10356"/>
                </a:lnTo>
                <a:lnTo>
                  <a:pt x="11699" y="10430"/>
                </a:lnTo>
                <a:lnTo>
                  <a:pt x="11748" y="10527"/>
                </a:lnTo>
                <a:lnTo>
                  <a:pt x="11772" y="10625"/>
                </a:lnTo>
                <a:lnTo>
                  <a:pt x="11797" y="10698"/>
                </a:lnTo>
                <a:lnTo>
                  <a:pt x="11772" y="10796"/>
                </a:lnTo>
                <a:lnTo>
                  <a:pt x="11748" y="10894"/>
                </a:lnTo>
                <a:lnTo>
                  <a:pt x="11699" y="10967"/>
                </a:lnTo>
                <a:lnTo>
                  <a:pt x="11650" y="11065"/>
                </a:lnTo>
                <a:lnTo>
                  <a:pt x="11235" y="11431"/>
                </a:lnTo>
                <a:lnTo>
                  <a:pt x="10795" y="11773"/>
                </a:lnTo>
                <a:lnTo>
                  <a:pt x="10307" y="12041"/>
                </a:lnTo>
                <a:lnTo>
                  <a:pt x="9819" y="12286"/>
                </a:lnTo>
                <a:lnTo>
                  <a:pt x="9281" y="12457"/>
                </a:lnTo>
                <a:lnTo>
                  <a:pt x="8768" y="12603"/>
                </a:lnTo>
                <a:lnTo>
                  <a:pt x="8207" y="12676"/>
                </a:lnTo>
                <a:lnTo>
                  <a:pt x="7645" y="12701"/>
                </a:lnTo>
                <a:lnTo>
                  <a:pt x="7083" y="12676"/>
                </a:lnTo>
                <a:lnTo>
                  <a:pt x="6521" y="12603"/>
                </a:lnTo>
                <a:lnTo>
                  <a:pt x="6009" y="12457"/>
                </a:lnTo>
                <a:lnTo>
                  <a:pt x="5471" y="12286"/>
                </a:lnTo>
                <a:lnTo>
                  <a:pt x="4983" y="12041"/>
                </a:lnTo>
                <a:lnTo>
                  <a:pt x="4494" y="11773"/>
                </a:lnTo>
                <a:lnTo>
                  <a:pt x="4055" y="11431"/>
                </a:lnTo>
                <a:lnTo>
                  <a:pt x="3640" y="11065"/>
                </a:lnTo>
                <a:lnTo>
                  <a:pt x="3591" y="10967"/>
                </a:lnTo>
                <a:lnTo>
                  <a:pt x="3542" y="10894"/>
                </a:lnTo>
                <a:lnTo>
                  <a:pt x="3517" y="10796"/>
                </a:lnTo>
                <a:lnTo>
                  <a:pt x="3493" y="10698"/>
                </a:lnTo>
                <a:lnTo>
                  <a:pt x="3517" y="10625"/>
                </a:lnTo>
                <a:lnTo>
                  <a:pt x="3542" y="10527"/>
                </a:lnTo>
                <a:lnTo>
                  <a:pt x="3591" y="10430"/>
                </a:lnTo>
                <a:lnTo>
                  <a:pt x="3640" y="10356"/>
                </a:lnTo>
                <a:lnTo>
                  <a:pt x="3713" y="10307"/>
                </a:lnTo>
                <a:lnTo>
                  <a:pt x="3811" y="10259"/>
                </a:lnTo>
                <a:lnTo>
                  <a:pt x="3884" y="10234"/>
                </a:lnTo>
                <a:lnTo>
                  <a:pt x="3981" y="10210"/>
                </a:lnTo>
                <a:lnTo>
                  <a:pt x="4079" y="10234"/>
                </a:lnTo>
                <a:lnTo>
                  <a:pt x="4177" y="10259"/>
                </a:lnTo>
                <a:lnTo>
                  <a:pt x="4250" y="10307"/>
                </a:lnTo>
                <a:lnTo>
                  <a:pt x="4323" y="10356"/>
                </a:lnTo>
                <a:lnTo>
                  <a:pt x="4690" y="10674"/>
                </a:lnTo>
                <a:lnTo>
                  <a:pt x="5056" y="10942"/>
                </a:lnTo>
                <a:lnTo>
                  <a:pt x="5447" y="11187"/>
                </a:lnTo>
                <a:lnTo>
                  <a:pt x="5862" y="11382"/>
                </a:lnTo>
                <a:lnTo>
                  <a:pt x="6277" y="11529"/>
                </a:lnTo>
                <a:lnTo>
                  <a:pt x="6717" y="11651"/>
                </a:lnTo>
                <a:lnTo>
                  <a:pt x="7181" y="11700"/>
                </a:lnTo>
                <a:lnTo>
                  <a:pt x="7645" y="11724"/>
                </a:lnTo>
                <a:lnTo>
                  <a:pt x="8109" y="11700"/>
                </a:lnTo>
                <a:lnTo>
                  <a:pt x="8573" y="11651"/>
                </a:lnTo>
                <a:lnTo>
                  <a:pt x="9013" y="11529"/>
                </a:lnTo>
                <a:lnTo>
                  <a:pt x="9428" y="11382"/>
                </a:lnTo>
                <a:lnTo>
                  <a:pt x="9843" y="11187"/>
                </a:lnTo>
                <a:lnTo>
                  <a:pt x="10234" y="10942"/>
                </a:lnTo>
                <a:lnTo>
                  <a:pt x="10600" y="10674"/>
                </a:lnTo>
                <a:lnTo>
                  <a:pt x="10966" y="10356"/>
                </a:lnTo>
                <a:lnTo>
                  <a:pt x="11040" y="10307"/>
                </a:lnTo>
                <a:lnTo>
                  <a:pt x="11113" y="10259"/>
                </a:lnTo>
                <a:lnTo>
                  <a:pt x="11211" y="10234"/>
                </a:lnTo>
                <a:lnTo>
                  <a:pt x="11308" y="10210"/>
                </a:lnTo>
                <a:close/>
                <a:moveTo>
                  <a:pt x="7254" y="1"/>
                </a:moveTo>
                <a:lnTo>
                  <a:pt x="6863" y="50"/>
                </a:lnTo>
                <a:lnTo>
                  <a:pt x="6473" y="99"/>
                </a:lnTo>
                <a:lnTo>
                  <a:pt x="6106" y="147"/>
                </a:lnTo>
                <a:lnTo>
                  <a:pt x="5740" y="245"/>
                </a:lnTo>
                <a:lnTo>
                  <a:pt x="5374" y="343"/>
                </a:lnTo>
                <a:lnTo>
                  <a:pt x="5007" y="465"/>
                </a:lnTo>
                <a:lnTo>
                  <a:pt x="4665" y="611"/>
                </a:lnTo>
                <a:lnTo>
                  <a:pt x="4323" y="758"/>
                </a:lnTo>
                <a:lnTo>
                  <a:pt x="4006" y="929"/>
                </a:lnTo>
                <a:lnTo>
                  <a:pt x="3688" y="1100"/>
                </a:lnTo>
                <a:lnTo>
                  <a:pt x="3371" y="1295"/>
                </a:lnTo>
                <a:lnTo>
                  <a:pt x="3078" y="1515"/>
                </a:lnTo>
                <a:lnTo>
                  <a:pt x="2785" y="1735"/>
                </a:lnTo>
                <a:lnTo>
                  <a:pt x="2516" y="1979"/>
                </a:lnTo>
                <a:lnTo>
                  <a:pt x="2247" y="2248"/>
                </a:lnTo>
                <a:lnTo>
                  <a:pt x="1979" y="2516"/>
                </a:lnTo>
                <a:lnTo>
                  <a:pt x="1735" y="2785"/>
                </a:lnTo>
                <a:lnTo>
                  <a:pt x="1515" y="3078"/>
                </a:lnTo>
                <a:lnTo>
                  <a:pt x="1295" y="3371"/>
                </a:lnTo>
                <a:lnTo>
                  <a:pt x="1100" y="3689"/>
                </a:lnTo>
                <a:lnTo>
                  <a:pt x="929" y="4006"/>
                </a:lnTo>
                <a:lnTo>
                  <a:pt x="758" y="4324"/>
                </a:lnTo>
                <a:lnTo>
                  <a:pt x="611" y="4666"/>
                </a:lnTo>
                <a:lnTo>
                  <a:pt x="465" y="5008"/>
                </a:lnTo>
                <a:lnTo>
                  <a:pt x="342" y="5374"/>
                </a:lnTo>
                <a:lnTo>
                  <a:pt x="245" y="5740"/>
                </a:lnTo>
                <a:lnTo>
                  <a:pt x="147" y="6107"/>
                </a:lnTo>
                <a:lnTo>
                  <a:pt x="98" y="6473"/>
                </a:lnTo>
                <a:lnTo>
                  <a:pt x="49" y="6864"/>
                </a:lnTo>
                <a:lnTo>
                  <a:pt x="1" y="7255"/>
                </a:lnTo>
                <a:lnTo>
                  <a:pt x="1" y="7645"/>
                </a:lnTo>
                <a:lnTo>
                  <a:pt x="1" y="8036"/>
                </a:lnTo>
                <a:lnTo>
                  <a:pt x="49" y="8427"/>
                </a:lnTo>
                <a:lnTo>
                  <a:pt x="98" y="8818"/>
                </a:lnTo>
                <a:lnTo>
                  <a:pt x="147" y="9184"/>
                </a:lnTo>
                <a:lnTo>
                  <a:pt x="245" y="9550"/>
                </a:lnTo>
                <a:lnTo>
                  <a:pt x="342" y="9917"/>
                </a:lnTo>
                <a:lnTo>
                  <a:pt x="465" y="10283"/>
                </a:lnTo>
                <a:lnTo>
                  <a:pt x="611" y="10625"/>
                </a:lnTo>
                <a:lnTo>
                  <a:pt x="758" y="10967"/>
                </a:lnTo>
                <a:lnTo>
                  <a:pt x="929" y="11284"/>
                </a:lnTo>
                <a:lnTo>
                  <a:pt x="1100" y="11602"/>
                </a:lnTo>
                <a:lnTo>
                  <a:pt x="1295" y="11919"/>
                </a:lnTo>
                <a:lnTo>
                  <a:pt x="1515" y="12212"/>
                </a:lnTo>
                <a:lnTo>
                  <a:pt x="1735" y="12506"/>
                </a:lnTo>
                <a:lnTo>
                  <a:pt x="1979" y="12774"/>
                </a:lnTo>
                <a:lnTo>
                  <a:pt x="2247" y="13043"/>
                </a:lnTo>
                <a:lnTo>
                  <a:pt x="2516" y="13311"/>
                </a:lnTo>
                <a:lnTo>
                  <a:pt x="2785" y="13556"/>
                </a:lnTo>
                <a:lnTo>
                  <a:pt x="3078" y="13776"/>
                </a:lnTo>
                <a:lnTo>
                  <a:pt x="3371" y="13995"/>
                </a:lnTo>
                <a:lnTo>
                  <a:pt x="3688" y="14191"/>
                </a:lnTo>
                <a:lnTo>
                  <a:pt x="4006" y="14362"/>
                </a:lnTo>
                <a:lnTo>
                  <a:pt x="4323" y="14533"/>
                </a:lnTo>
                <a:lnTo>
                  <a:pt x="4665" y="14679"/>
                </a:lnTo>
                <a:lnTo>
                  <a:pt x="5007" y="14826"/>
                </a:lnTo>
                <a:lnTo>
                  <a:pt x="5374" y="14948"/>
                </a:lnTo>
                <a:lnTo>
                  <a:pt x="5740" y="15046"/>
                </a:lnTo>
                <a:lnTo>
                  <a:pt x="6106" y="15143"/>
                </a:lnTo>
                <a:lnTo>
                  <a:pt x="6473" y="15192"/>
                </a:lnTo>
                <a:lnTo>
                  <a:pt x="6863" y="15241"/>
                </a:lnTo>
                <a:lnTo>
                  <a:pt x="7254" y="15290"/>
                </a:lnTo>
                <a:lnTo>
                  <a:pt x="8036" y="15290"/>
                </a:lnTo>
                <a:lnTo>
                  <a:pt x="8426" y="15241"/>
                </a:lnTo>
                <a:lnTo>
                  <a:pt x="8817" y="15192"/>
                </a:lnTo>
                <a:lnTo>
                  <a:pt x="9184" y="15143"/>
                </a:lnTo>
                <a:lnTo>
                  <a:pt x="9550" y="15046"/>
                </a:lnTo>
                <a:lnTo>
                  <a:pt x="9916" y="14948"/>
                </a:lnTo>
                <a:lnTo>
                  <a:pt x="10283" y="14826"/>
                </a:lnTo>
                <a:lnTo>
                  <a:pt x="10625" y="14679"/>
                </a:lnTo>
                <a:lnTo>
                  <a:pt x="10966" y="14533"/>
                </a:lnTo>
                <a:lnTo>
                  <a:pt x="11284" y="14362"/>
                </a:lnTo>
                <a:lnTo>
                  <a:pt x="11601" y="14191"/>
                </a:lnTo>
                <a:lnTo>
                  <a:pt x="11919" y="13995"/>
                </a:lnTo>
                <a:lnTo>
                  <a:pt x="12212" y="13776"/>
                </a:lnTo>
                <a:lnTo>
                  <a:pt x="12505" y="13556"/>
                </a:lnTo>
                <a:lnTo>
                  <a:pt x="12774" y="13311"/>
                </a:lnTo>
                <a:lnTo>
                  <a:pt x="13042" y="13043"/>
                </a:lnTo>
                <a:lnTo>
                  <a:pt x="13311" y="12774"/>
                </a:lnTo>
                <a:lnTo>
                  <a:pt x="13555" y="12506"/>
                </a:lnTo>
                <a:lnTo>
                  <a:pt x="13775" y="12212"/>
                </a:lnTo>
                <a:lnTo>
                  <a:pt x="13995" y="11919"/>
                </a:lnTo>
                <a:lnTo>
                  <a:pt x="14190" y="11602"/>
                </a:lnTo>
                <a:lnTo>
                  <a:pt x="14361" y="11284"/>
                </a:lnTo>
                <a:lnTo>
                  <a:pt x="14532" y="10967"/>
                </a:lnTo>
                <a:lnTo>
                  <a:pt x="14679" y="10625"/>
                </a:lnTo>
                <a:lnTo>
                  <a:pt x="14825" y="10283"/>
                </a:lnTo>
                <a:lnTo>
                  <a:pt x="14947" y="9917"/>
                </a:lnTo>
                <a:lnTo>
                  <a:pt x="15045" y="9550"/>
                </a:lnTo>
                <a:lnTo>
                  <a:pt x="15143" y="9184"/>
                </a:lnTo>
                <a:lnTo>
                  <a:pt x="15192" y="8818"/>
                </a:lnTo>
                <a:lnTo>
                  <a:pt x="15240" y="8427"/>
                </a:lnTo>
                <a:lnTo>
                  <a:pt x="15289" y="8036"/>
                </a:lnTo>
                <a:lnTo>
                  <a:pt x="15289" y="7645"/>
                </a:lnTo>
                <a:lnTo>
                  <a:pt x="15289" y="7255"/>
                </a:lnTo>
                <a:lnTo>
                  <a:pt x="15240" y="6864"/>
                </a:lnTo>
                <a:lnTo>
                  <a:pt x="15192" y="6473"/>
                </a:lnTo>
                <a:lnTo>
                  <a:pt x="15143" y="6107"/>
                </a:lnTo>
                <a:lnTo>
                  <a:pt x="15045" y="5740"/>
                </a:lnTo>
                <a:lnTo>
                  <a:pt x="14947" y="5374"/>
                </a:lnTo>
                <a:lnTo>
                  <a:pt x="14825" y="5008"/>
                </a:lnTo>
                <a:lnTo>
                  <a:pt x="14679" y="4666"/>
                </a:lnTo>
                <a:lnTo>
                  <a:pt x="14532" y="4324"/>
                </a:lnTo>
                <a:lnTo>
                  <a:pt x="14361" y="4006"/>
                </a:lnTo>
                <a:lnTo>
                  <a:pt x="14190" y="3689"/>
                </a:lnTo>
                <a:lnTo>
                  <a:pt x="13995" y="3371"/>
                </a:lnTo>
                <a:lnTo>
                  <a:pt x="13775" y="3078"/>
                </a:lnTo>
                <a:lnTo>
                  <a:pt x="13555" y="2785"/>
                </a:lnTo>
                <a:lnTo>
                  <a:pt x="13311" y="2516"/>
                </a:lnTo>
                <a:lnTo>
                  <a:pt x="13042" y="2248"/>
                </a:lnTo>
                <a:lnTo>
                  <a:pt x="12774" y="1979"/>
                </a:lnTo>
                <a:lnTo>
                  <a:pt x="12505" y="1735"/>
                </a:lnTo>
                <a:lnTo>
                  <a:pt x="12212" y="1515"/>
                </a:lnTo>
                <a:lnTo>
                  <a:pt x="11919" y="1295"/>
                </a:lnTo>
                <a:lnTo>
                  <a:pt x="11601" y="1100"/>
                </a:lnTo>
                <a:lnTo>
                  <a:pt x="11284" y="929"/>
                </a:lnTo>
                <a:lnTo>
                  <a:pt x="10966" y="758"/>
                </a:lnTo>
                <a:lnTo>
                  <a:pt x="10625" y="611"/>
                </a:lnTo>
                <a:lnTo>
                  <a:pt x="10283" y="465"/>
                </a:lnTo>
                <a:lnTo>
                  <a:pt x="9916" y="343"/>
                </a:lnTo>
                <a:lnTo>
                  <a:pt x="9550" y="245"/>
                </a:lnTo>
                <a:lnTo>
                  <a:pt x="9184" y="147"/>
                </a:lnTo>
                <a:lnTo>
                  <a:pt x="8817" y="99"/>
                </a:lnTo>
                <a:lnTo>
                  <a:pt x="8426" y="50"/>
                </a:lnTo>
                <a:lnTo>
                  <a:pt x="8036"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24" name="Shape 453"/>
          <p:cNvSpPr/>
          <p:nvPr/>
        </p:nvSpPr>
        <p:spPr>
          <a:xfrm>
            <a:off x="3744257" y="3325746"/>
            <a:ext cx="291886" cy="291886"/>
          </a:xfrm>
          <a:custGeom>
            <a:avLst/>
            <a:gdLst/>
            <a:ahLst/>
            <a:cxnLst/>
            <a:rect l="0" t="0" r="0" b="0"/>
            <a:pathLst>
              <a:path w="15290" h="15290" extrusionOk="0">
                <a:moveTo>
                  <a:pt x="4519" y="6815"/>
                </a:moveTo>
                <a:lnTo>
                  <a:pt x="4690" y="6839"/>
                </a:lnTo>
                <a:lnTo>
                  <a:pt x="4861" y="6888"/>
                </a:lnTo>
                <a:lnTo>
                  <a:pt x="5007" y="6986"/>
                </a:lnTo>
                <a:lnTo>
                  <a:pt x="5154" y="7084"/>
                </a:lnTo>
                <a:lnTo>
                  <a:pt x="5251" y="7230"/>
                </a:lnTo>
                <a:lnTo>
                  <a:pt x="5325" y="7401"/>
                </a:lnTo>
                <a:lnTo>
                  <a:pt x="5374" y="7572"/>
                </a:lnTo>
                <a:lnTo>
                  <a:pt x="5398" y="7767"/>
                </a:lnTo>
                <a:lnTo>
                  <a:pt x="5374" y="7963"/>
                </a:lnTo>
                <a:lnTo>
                  <a:pt x="5325" y="8134"/>
                </a:lnTo>
                <a:lnTo>
                  <a:pt x="5251" y="8305"/>
                </a:lnTo>
                <a:lnTo>
                  <a:pt x="5154" y="8451"/>
                </a:lnTo>
                <a:lnTo>
                  <a:pt x="5007" y="8549"/>
                </a:lnTo>
                <a:lnTo>
                  <a:pt x="4861" y="8647"/>
                </a:lnTo>
                <a:lnTo>
                  <a:pt x="4690" y="8696"/>
                </a:lnTo>
                <a:lnTo>
                  <a:pt x="4519" y="8720"/>
                </a:lnTo>
                <a:lnTo>
                  <a:pt x="4348" y="8696"/>
                </a:lnTo>
                <a:lnTo>
                  <a:pt x="4177" y="8647"/>
                </a:lnTo>
                <a:lnTo>
                  <a:pt x="4030" y="8549"/>
                </a:lnTo>
                <a:lnTo>
                  <a:pt x="3884" y="8451"/>
                </a:lnTo>
                <a:lnTo>
                  <a:pt x="3786" y="8305"/>
                </a:lnTo>
                <a:lnTo>
                  <a:pt x="3713" y="8134"/>
                </a:lnTo>
                <a:lnTo>
                  <a:pt x="3664" y="7963"/>
                </a:lnTo>
                <a:lnTo>
                  <a:pt x="3640" y="7767"/>
                </a:lnTo>
                <a:lnTo>
                  <a:pt x="3664" y="7572"/>
                </a:lnTo>
                <a:lnTo>
                  <a:pt x="3713" y="7401"/>
                </a:lnTo>
                <a:lnTo>
                  <a:pt x="3786" y="7230"/>
                </a:lnTo>
                <a:lnTo>
                  <a:pt x="3884" y="7084"/>
                </a:lnTo>
                <a:lnTo>
                  <a:pt x="4030" y="6986"/>
                </a:lnTo>
                <a:lnTo>
                  <a:pt x="4177" y="6888"/>
                </a:lnTo>
                <a:lnTo>
                  <a:pt x="4348" y="6839"/>
                </a:lnTo>
                <a:lnTo>
                  <a:pt x="4519" y="6815"/>
                </a:lnTo>
                <a:close/>
                <a:moveTo>
                  <a:pt x="10771" y="6815"/>
                </a:moveTo>
                <a:lnTo>
                  <a:pt x="10942" y="6839"/>
                </a:lnTo>
                <a:lnTo>
                  <a:pt x="11113" y="6888"/>
                </a:lnTo>
                <a:lnTo>
                  <a:pt x="11260" y="6986"/>
                </a:lnTo>
                <a:lnTo>
                  <a:pt x="11406" y="7084"/>
                </a:lnTo>
                <a:lnTo>
                  <a:pt x="11504" y="7230"/>
                </a:lnTo>
                <a:lnTo>
                  <a:pt x="11577" y="7401"/>
                </a:lnTo>
                <a:lnTo>
                  <a:pt x="11626" y="7572"/>
                </a:lnTo>
                <a:lnTo>
                  <a:pt x="11650" y="7767"/>
                </a:lnTo>
                <a:lnTo>
                  <a:pt x="11626" y="7963"/>
                </a:lnTo>
                <a:lnTo>
                  <a:pt x="11577" y="8134"/>
                </a:lnTo>
                <a:lnTo>
                  <a:pt x="11504" y="8305"/>
                </a:lnTo>
                <a:lnTo>
                  <a:pt x="11406" y="8451"/>
                </a:lnTo>
                <a:lnTo>
                  <a:pt x="11260" y="8549"/>
                </a:lnTo>
                <a:lnTo>
                  <a:pt x="11113" y="8647"/>
                </a:lnTo>
                <a:lnTo>
                  <a:pt x="10942" y="8696"/>
                </a:lnTo>
                <a:lnTo>
                  <a:pt x="10771" y="8720"/>
                </a:lnTo>
                <a:lnTo>
                  <a:pt x="10600" y="8696"/>
                </a:lnTo>
                <a:lnTo>
                  <a:pt x="10429" y="8647"/>
                </a:lnTo>
                <a:lnTo>
                  <a:pt x="10283" y="8549"/>
                </a:lnTo>
                <a:lnTo>
                  <a:pt x="10136" y="8451"/>
                </a:lnTo>
                <a:lnTo>
                  <a:pt x="10038" y="8305"/>
                </a:lnTo>
                <a:lnTo>
                  <a:pt x="9965" y="8134"/>
                </a:lnTo>
                <a:lnTo>
                  <a:pt x="9916" y="7963"/>
                </a:lnTo>
                <a:lnTo>
                  <a:pt x="9892" y="7767"/>
                </a:lnTo>
                <a:lnTo>
                  <a:pt x="9916" y="7572"/>
                </a:lnTo>
                <a:lnTo>
                  <a:pt x="9965" y="7401"/>
                </a:lnTo>
                <a:lnTo>
                  <a:pt x="10038" y="7230"/>
                </a:lnTo>
                <a:lnTo>
                  <a:pt x="10136" y="7084"/>
                </a:lnTo>
                <a:lnTo>
                  <a:pt x="10283" y="6986"/>
                </a:lnTo>
                <a:lnTo>
                  <a:pt x="10429" y="6888"/>
                </a:lnTo>
                <a:lnTo>
                  <a:pt x="10600" y="6839"/>
                </a:lnTo>
                <a:lnTo>
                  <a:pt x="10771" y="6815"/>
                </a:lnTo>
                <a:close/>
                <a:moveTo>
                  <a:pt x="7645" y="10063"/>
                </a:moveTo>
                <a:lnTo>
                  <a:pt x="8207" y="10112"/>
                </a:lnTo>
                <a:lnTo>
                  <a:pt x="8768" y="10185"/>
                </a:lnTo>
                <a:lnTo>
                  <a:pt x="9281" y="10307"/>
                </a:lnTo>
                <a:lnTo>
                  <a:pt x="9819" y="10503"/>
                </a:lnTo>
                <a:lnTo>
                  <a:pt x="10307" y="10747"/>
                </a:lnTo>
                <a:lnTo>
                  <a:pt x="10796" y="11016"/>
                </a:lnTo>
                <a:lnTo>
                  <a:pt x="11235" y="11358"/>
                </a:lnTo>
                <a:lnTo>
                  <a:pt x="11650" y="11724"/>
                </a:lnTo>
                <a:lnTo>
                  <a:pt x="11699" y="11797"/>
                </a:lnTo>
                <a:lnTo>
                  <a:pt x="11748" y="11895"/>
                </a:lnTo>
                <a:lnTo>
                  <a:pt x="11772" y="11993"/>
                </a:lnTo>
                <a:lnTo>
                  <a:pt x="11797" y="12066"/>
                </a:lnTo>
                <a:lnTo>
                  <a:pt x="11772" y="12164"/>
                </a:lnTo>
                <a:lnTo>
                  <a:pt x="11748" y="12261"/>
                </a:lnTo>
                <a:lnTo>
                  <a:pt x="11699" y="12335"/>
                </a:lnTo>
                <a:lnTo>
                  <a:pt x="11650" y="12432"/>
                </a:lnTo>
                <a:lnTo>
                  <a:pt x="11577" y="12481"/>
                </a:lnTo>
                <a:lnTo>
                  <a:pt x="11479" y="12530"/>
                </a:lnTo>
                <a:lnTo>
                  <a:pt x="11406" y="12554"/>
                </a:lnTo>
                <a:lnTo>
                  <a:pt x="11211" y="12554"/>
                </a:lnTo>
                <a:lnTo>
                  <a:pt x="11113" y="12530"/>
                </a:lnTo>
                <a:lnTo>
                  <a:pt x="11040" y="12481"/>
                </a:lnTo>
                <a:lnTo>
                  <a:pt x="10966" y="12432"/>
                </a:lnTo>
                <a:lnTo>
                  <a:pt x="10600" y="12115"/>
                </a:lnTo>
                <a:lnTo>
                  <a:pt x="10234" y="11846"/>
                </a:lnTo>
                <a:lnTo>
                  <a:pt x="9843" y="11602"/>
                </a:lnTo>
                <a:lnTo>
                  <a:pt x="9428" y="11406"/>
                </a:lnTo>
                <a:lnTo>
                  <a:pt x="9013" y="11260"/>
                </a:lnTo>
                <a:lnTo>
                  <a:pt x="8573" y="11138"/>
                </a:lnTo>
                <a:lnTo>
                  <a:pt x="8109" y="11065"/>
                </a:lnTo>
                <a:lnTo>
                  <a:pt x="7645" y="11040"/>
                </a:lnTo>
                <a:lnTo>
                  <a:pt x="7181" y="11065"/>
                </a:lnTo>
                <a:lnTo>
                  <a:pt x="6717" y="11138"/>
                </a:lnTo>
                <a:lnTo>
                  <a:pt x="6277" y="11260"/>
                </a:lnTo>
                <a:lnTo>
                  <a:pt x="5862" y="11406"/>
                </a:lnTo>
                <a:lnTo>
                  <a:pt x="5447" y="11602"/>
                </a:lnTo>
                <a:lnTo>
                  <a:pt x="5056" y="11846"/>
                </a:lnTo>
                <a:lnTo>
                  <a:pt x="4690" y="12115"/>
                </a:lnTo>
                <a:lnTo>
                  <a:pt x="4323" y="12432"/>
                </a:lnTo>
                <a:lnTo>
                  <a:pt x="4250" y="12481"/>
                </a:lnTo>
                <a:lnTo>
                  <a:pt x="4177" y="12530"/>
                </a:lnTo>
                <a:lnTo>
                  <a:pt x="4079" y="12554"/>
                </a:lnTo>
                <a:lnTo>
                  <a:pt x="3884" y="12554"/>
                </a:lnTo>
                <a:lnTo>
                  <a:pt x="3811" y="12530"/>
                </a:lnTo>
                <a:lnTo>
                  <a:pt x="3713" y="12481"/>
                </a:lnTo>
                <a:lnTo>
                  <a:pt x="3640" y="12432"/>
                </a:lnTo>
                <a:lnTo>
                  <a:pt x="3591" y="12335"/>
                </a:lnTo>
                <a:lnTo>
                  <a:pt x="3542" y="12261"/>
                </a:lnTo>
                <a:lnTo>
                  <a:pt x="3517" y="12164"/>
                </a:lnTo>
                <a:lnTo>
                  <a:pt x="3493" y="12066"/>
                </a:lnTo>
                <a:lnTo>
                  <a:pt x="3517" y="11993"/>
                </a:lnTo>
                <a:lnTo>
                  <a:pt x="3542" y="11895"/>
                </a:lnTo>
                <a:lnTo>
                  <a:pt x="3591" y="11797"/>
                </a:lnTo>
                <a:lnTo>
                  <a:pt x="3640" y="11724"/>
                </a:lnTo>
                <a:lnTo>
                  <a:pt x="4055" y="11358"/>
                </a:lnTo>
                <a:lnTo>
                  <a:pt x="4494" y="11016"/>
                </a:lnTo>
                <a:lnTo>
                  <a:pt x="4983" y="10747"/>
                </a:lnTo>
                <a:lnTo>
                  <a:pt x="5471" y="10503"/>
                </a:lnTo>
                <a:lnTo>
                  <a:pt x="6009" y="10307"/>
                </a:lnTo>
                <a:lnTo>
                  <a:pt x="6521" y="10185"/>
                </a:lnTo>
                <a:lnTo>
                  <a:pt x="7083" y="10112"/>
                </a:lnTo>
                <a:lnTo>
                  <a:pt x="7645" y="10063"/>
                </a:lnTo>
                <a:close/>
                <a:moveTo>
                  <a:pt x="7254" y="1"/>
                </a:moveTo>
                <a:lnTo>
                  <a:pt x="6863" y="50"/>
                </a:lnTo>
                <a:lnTo>
                  <a:pt x="6473" y="99"/>
                </a:lnTo>
                <a:lnTo>
                  <a:pt x="6106" y="147"/>
                </a:lnTo>
                <a:lnTo>
                  <a:pt x="5740" y="245"/>
                </a:lnTo>
                <a:lnTo>
                  <a:pt x="5374" y="343"/>
                </a:lnTo>
                <a:lnTo>
                  <a:pt x="5007" y="465"/>
                </a:lnTo>
                <a:lnTo>
                  <a:pt x="4665" y="611"/>
                </a:lnTo>
                <a:lnTo>
                  <a:pt x="4323" y="758"/>
                </a:lnTo>
                <a:lnTo>
                  <a:pt x="4006" y="929"/>
                </a:lnTo>
                <a:lnTo>
                  <a:pt x="3688" y="1100"/>
                </a:lnTo>
                <a:lnTo>
                  <a:pt x="3371" y="1295"/>
                </a:lnTo>
                <a:lnTo>
                  <a:pt x="3078" y="1515"/>
                </a:lnTo>
                <a:lnTo>
                  <a:pt x="2785" y="1735"/>
                </a:lnTo>
                <a:lnTo>
                  <a:pt x="2516" y="1979"/>
                </a:lnTo>
                <a:lnTo>
                  <a:pt x="2247" y="2248"/>
                </a:lnTo>
                <a:lnTo>
                  <a:pt x="1979" y="2516"/>
                </a:lnTo>
                <a:lnTo>
                  <a:pt x="1735" y="2785"/>
                </a:lnTo>
                <a:lnTo>
                  <a:pt x="1515" y="3078"/>
                </a:lnTo>
                <a:lnTo>
                  <a:pt x="1295" y="3371"/>
                </a:lnTo>
                <a:lnTo>
                  <a:pt x="1100" y="3689"/>
                </a:lnTo>
                <a:lnTo>
                  <a:pt x="929" y="4006"/>
                </a:lnTo>
                <a:lnTo>
                  <a:pt x="758" y="4324"/>
                </a:lnTo>
                <a:lnTo>
                  <a:pt x="611" y="4666"/>
                </a:lnTo>
                <a:lnTo>
                  <a:pt x="465" y="5008"/>
                </a:lnTo>
                <a:lnTo>
                  <a:pt x="342" y="5374"/>
                </a:lnTo>
                <a:lnTo>
                  <a:pt x="245" y="5740"/>
                </a:lnTo>
                <a:lnTo>
                  <a:pt x="147" y="6107"/>
                </a:lnTo>
                <a:lnTo>
                  <a:pt x="98" y="6473"/>
                </a:lnTo>
                <a:lnTo>
                  <a:pt x="49" y="6864"/>
                </a:lnTo>
                <a:lnTo>
                  <a:pt x="1" y="7255"/>
                </a:lnTo>
                <a:lnTo>
                  <a:pt x="1" y="7645"/>
                </a:lnTo>
                <a:lnTo>
                  <a:pt x="1" y="8036"/>
                </a:lnTo>
                <a:lnTo>
                  <a:pt x="49" y="8427"/>
                </a:lnTo>
                <a:lnTo>
                  <a:pt x="98" y="8818"/>
                </a:lnTo>
                <a:lnTo>
                  <a:pt x="147" y="9184"/>
                </a:lnTo>
                <a:lnTo>
                  <a:pt x="245" y="9550"/>
                </a:lnTo>
                <a:lnTo>
                  <a:pt x="342" y="9917"/>
                </a:lnTo>
                <a:lnTo>
                  <a:pt x="465" y="10283"/>
                </a:lnTo>
                <a:lnTo>
                  <a:pt x="611" y="10625"/>
                </a:lnTo>
                <a:lnTo>
                  <a:pt x="758" y="10967"/>
                </a:lnTo>
                <a:lnTo>
                  <a:pt x="929" y="11284"/>
                </a:lnTo>
                <a:lnTo>
                  <a:pt x="1100" y="11602"/>
                </a:lnTo>
                <a:lnTo>
                  <a:pt x="1295" y="11919"/>
                </a:lnTo>
                <a:lnTo>
                  <a:pt x="1515" y="12212"/>
                </a:lnTo>
                <a:lnTo>
                  <a:pt x="1735" y="12506"/>
                </a:lnTo>
                <a:lnTo>
                  <a:pt x="1979" y="12774"/>
                </a:lnTo>
                <a:lnTo>
                  <a:pt x="2247" y="13043"/>
                </a:lnTo>
                <a:lnTo>
                  <a:pt x="2516" y="13311"/>
                </a:lnTo>
                <a:lnTo>
                  <a:pt x="2785" y="13556"/>
                </a:lnTo>
                <a:lnTo>
                  <a:pt x="3078" y="13776"/>
                </a:lnTo>
                <a:lnTo>
                  <a:pt x="3371" y="13995"/>
                </a:lnTo>
                <a:lnTo>
                  <a:pt x="3688" y="14191"/>
                </a:lnTo>
                <a:lnTo>
                  <a:pt x="4006" y="14362"/>
                </a:lnTo>
                <a:lnTo>
                  <a:pt x="4323" y="14533"/>
                </a:lnTo>
                <a:lnTo>
                  <a:pt x="4665" y="14679"/>
                </a:lnTo>
                <a:lnTo>
                  <a:pt x="5007" y="14826"/>
                </a:lnTo>
                <a:lnTo>
                  <a:pt x="5374" y="14948"/>
                </a:lnTo>
                <a:lnTo>
                  <a:pt x="5740" y="15046"/>
                </a:lnTo>
                <a:lnTo>
                  <a:pt x="6106" y="15143"/>
                </a:lnTo>
                <a:lnTo>
                  <a:pt x="6473" y="15192"/>
                </a:lnTo>
                <a:lnTo>
                  <a:pt x="6863" y="15241"/>
                </a:lnTo>
                <a:lnTo>
                  <a:pt x="7254" y="15290"/>
                </a:lnTo>
                <a:lnTo>
                  <a:pt x="8036" y="15290"/>
                </a:lnTo>
                <a:lnTo>
                  <a:pt x="8426" y="15241"/>
                </a:lnTo>
                <a:lnTo>
                  <a:pt x="8817" y="15192"/>
                </a:lnTo>
                <a:lnTo>
                  <a:pt x="9184" y="15143"/>
                </a:lnTo>
                <a:lnTo>
                  <a:pt x="9550" y="15046"/>
                </a:lnTo>
                <a:lnTo>
                  <a:pt x="9916" y="14948"/>
                </a:lnTo>
                <a:lnTo>
                  <a:pt x="10283" y="14826"/>
                </a:lnTo>
                <a:lnTo>
                  <a:pt x="10625" y="14679"/>
                </a:lnTo>
                <a:lnTo>
                  <a:pt x="10966" y="14533"/>
                </a:lnTo>
                <a:lnTo>
                  <a:pt x="11284" y="14362"/>
                </a:lnTo>
                <a:lnTo>
                  <a:pt x="11601" y="14191"/>
                </a:lnTo>
                <a:lnTo>
                  <a:pt x="11919" y="13995"/>
                </a:lnTo>
                <a:lnTo>
                  <a:pt x="12212" y="13776"/>
                </a:lnTo>
                <a:lnTo>
                  <a:pt x="12505" y="13556"/>
                </a:lnTo>
                <a:lnTo>
                  <a:pt x="12774" y="13311"/>
                </a:lnTo>
                <a:lnTo>
                  <a:pt x="13042" y="13043"/>
                </a:lnTo>
                <a:lnTo>
                  <a:pt x="13311" y="12774"/>
                </a:lnTo>
                <a:lnTo>
                  <a:pt x="13555" y="12506"/>
                </a:lnTo>
                <a:lnTo>
                  <a:pt x="13775" y="12212"/>
                </a:lnTo>
                <a:lnTo>
                  <a:pt x="13995" y="11919"/>
                </a:lnTo>
                <a:lnTo>
                  <a:pt x="14190" y="11602"/>
                </a:lnTo>
                <a:lnTo>
                  <a:pt x="14361" y="11284"/>
                </a:lnTo>
                <a:lnTo>
                  <a:pt x="14532" y="10967"/>
                </a:lnTo>
                <a:lnTo>
                  <a:pt x="14679" y="10625"/>
                </a:lnTo>
                <a:lnTo>
                  <a:pt x="14825" y="10283"/>
                </a:lnTo>
                <a:lnTo>
                  <a:pt x="14947" y="9917"/>
                </a:lnTo>
                <a:lnTo>
                  <a:pt x="15045" y="9550"/>
                </a:lnTo>
                <a:lnTo>
                  <a:pt x="15143" y="9184"/>
                </a:lnTo>
                <a:lnTo>
                  <a:pt x="15192" y="8818"/>
                </a:lnTo>
                <a:lnTo>
                  <a:pt x="15241" y="8427"/>
                </a:lnTo>
                <a:lnTo>
                  <a:pt x="15289" y="8036"/>
                </a:lnTo>
                <a:lnTo>
                  <a:pt x="15289" y="7645"/>
                </a:lnTo>
                <a:lnTo>
                  <a:pt x="15289" y="7255"/>
                </a:lnTo>
                <a:lnTo>
                  <a:pt x="15241" y="6864"/>
                </a:lnTo>
                <a:lnTo>
                  <a:pt x="15192" y="6473"/>
                </a:lnTo>
                <a:lnTo>
                  <a:pt x="15143" y="6107"/>
                </a:lnTo>
                <a:lnTo>
                  <a:pt x="15045" y="5740"/>
                </a:lnTo>
                <a:lnTo>
                  <a:pt x="14947" y="5374"/>
                </a:lnTo>
                <a:lnTo>
                  <a:pt x="14825" y="5008"/>
                </a:lnTo>
                <a:lnTo>
                  <a:pt x="14679" y="4666"/>
                </a:lnTo>
                <a:lnTo>
                  <a:pt x="14532" y="4324"/>
                </a:lnTo>
                <a:lnTo>
                  <a:pt x="14361" y="4006"/>
                </a:lnTo>
                <a:lnTo>
                  <a:pt x="14190" y="3689"/>
                </a:lnTo>
                <a:lnTo>
                  <a:pt x="13995" y="3371"/>
                </a:lnTo>
                <a:lnTo>
                  <a:pt x="13775" y="3078"/>
                </a:lnTo>
                <a:lnTo>
                  <a:pt x="13555" y="2785"/>
                </a:lnTo>
                <a:lnTo>
                  <a:pt x="13311" y="2516"/>
                </a:lnTo>
                <a:lnTo>
                  <a:pt x="13042" y="2248"/>
                </a:lnTo>
                <a:lnTo>
                  <a:pt x="12774" y="1979"/>
                </a:lnTo>
                <a:lnTo>
                  <a:pt x="12505" y="1735"/>
                </a:lnTo>
                <a:lnTo>
                  <a:pt x="12212" y="1515"/>
                </a:lnTo>
                <a:lnTo>
                  <a:pt x="11919" y="1295"/>
                </a:lnTo>
                <a:lnTo>
                  <a:pt x="11601" y="1100"/>
                </a:lnTo>
                <a:lnTo>
                  <a:pt x="11284" y="929"/>
                </a:lnTo>
                <a:lnTo>
                  <a:pt x="10966" y="758"/>
                </a:lnTo>
                <a:lnTo>
                  <a:pt x="10625" y="611"/>
                </a:lnTo>
                <a:lnTo>
                  <a:pt x="10283" y="465"/>
                </a:lnTo>
                <a:lnTo>
                  <a:pt x="9916" y="343"/>
                </a:lnTo>
                <a:lnTo>
                  <a:pt x="9550" y="245"/>
                </a:lnTo>
                <a:lnTo>
                  <a:pt x="9184" y="147"/>
                </a:lnTo>
                <a:lnTo>
                  <a:pt x="8817" y="99"/>
                </a:lnTo>
                <a:lnTo>
                  <a:pt x="8426" y="50"/>
                </a:lnTo>
                <a:lnTo>
                  <a:pt x="8036"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25" name="Shape 454"/>
          <p:cNvSpPr/>
          <p:nvPr/>
        </p:nvSpPr>
        <p:spPr>
          <a:xfrm>
            <a:off x="4259032" y="3325746"/>
            <a:ext cx="291886" cy="291886"/>
          </a:xfrm>
          <a:custGeom>
            <a:avLst/>
            <a:gdLst/>
            <a:ahLst/>
            <a:cxnLst/>
            <a:rect l="0" t="0" r="0" b="0"/>
            <a:pathLst>
              <a:path w="15290" h="15290" extrusionOk="0">
                <a:moveTo>
                  <a:pt x="4519" y="6815"/>
                </a:moveTo>
                <a:lnTo>
                  <a:pt x="4690" y="6839"/>
                </a:lnTo>
                <a:lnTo>
                  <a:pt x="4861" y="6888"/>
                </a:lnTo>
                <a:lnTo>
                  <a:pt x="5007" y="6986"/>
                </a:lnTo>
                <a:lnTo>
                  <a:pt x="5154" y="7084"/>
                </a:lnTo>
                <a:lnTo>
                  <a:pt x="5252" y="7230"/>
                </a:lnTo>
                <a:lnTo>
                  <a:pt x="5325" y="7401"/>
                </a:lnTo>
                <a:lnTo>
                  <a:pt x="5374" y="7572"/>
                </a:lnTo>
                <a:lnTo>
                  <a:pt x="5398" y="7767"/>
                </a:lnTo>
                <a:lnTo>
                  <a:pt x="5374" y="7963"/>
                </a:lnTo>
                <a:lnTo>
                  <a:pt x="5325" y="8134"/>
                </a:lnTo>
                <a:lnTo>
                  <a:pt x="5252" y="8305"/>
                </a:lnTo>
                <a:lnTo>
                  <a:pt x="5154" y="8451"/>
                </a:lnTo>
                <a:lnTo>
                  <a:pt x="5007" y="8549"/>
                </a:lnTo>
                <a:lnTo>
                  <a:pt x="4861" y="8647"/>
                </a:lnTo>
                <a:lnTo>
                  <a:pt x="4690" y="8696"/>
                </a:lnTo>
                <a:lnTo>
                  <a:pt x="4519" y="8720"/>
                </a:lnTo>
                <a:lnTo>
                  <a:pt x="4348" y="8696"/>
                </a:lnTo>
                <a:lnTo>
                  <a:pt x="4177" y="8647"/>
                </a:lnTo>
                <a:lnTo>
                  <a:pt x="4030" y="8549"/>
                </a:lnTo>
                <a:lnTo>
                  <a:pt x="3884" y="8451"/>
                </a:lnTo>
                <a:lnTo>
                  <a:pt x="3786" y="8305"/>
                </a:lnTo>
                <a:lnTo>
                  <a:pt x="3713" y="8134"/>
                </a:lnTo>
                <a:lnTo>
                  <a:pt x="3664" y="7963"/>
                </a:lnTo>
                <a:lnTo>
                  <a:pt x="3640" y="7767"/>
                </a:lnTo>
                <a:lnTo>
                  <a:pt x="3664" y="7572"/>
                </a:lnTo>
                <a:lnTo>
                  <a:pt x="3713" y="7401"/>
                </a:lnTo>
                <a:lnTo>
                  <a:pt x="3786" y="7230"/>
                </a:lnTo>
                <a:lnTo>
                  <a:pt x="3884" y="7084"/>
                </a:lnTo>
                <a:lnTo>
                  <a:pt x="4030" y="6986"/>
                </a:lnTo>
                <a:lnTo>
                  <a:pt x="4177" y="6888"/>
                </a:lnTo>
                <a:lnTo>
                  <a:pt x="4348" y="6839"/>
                </a:lnTo>
                <a:lnTo>
                  <a:pt x="4519" y="6815"/>
                </a:lnTo>
                <a:close/>
                <a:moveTo>
                  <a:pt x="10771" y="6815"/>
                </a:moveTo>
                <a:lnTo>
                  <a:pt x="10942" y="6839"/>
                </a:lnTo>
                <a:lnTo>
                  <a:pt x="11113" y="6888"/>
                </a:lnTo>
                <a:lnTo>
                  <a:pt x="11260" y="6986"/>
                </a:lnTo>
                <a:lnTo>
                  <a:pt x="11406" y="7084"/>
                </a:lnTo>
                <a:lnTo>
                  <a:pt x="11504" y="7230"/>
                </a:lnTo>
                <a:lnTo>
                  <a:pt x="11577" y="7401"/>
                </a:lnTo>
                <a:lnTo>
                  <a:pt x="11626" y="7572"/>
                </a:lnTo>
                <a:lnTo>
                  <a:pt x="11650" y="7767"/>
                </a:lnTo>
                <a:lnTo>
                  <a:pt x="11626" y="7963"/>
                </a:lnTo>
                <a:lnTo>
                  <a:pt x="11577" y="8134"/>
                </a:lnTo>
                <a:lnTo>
                  <a:pt x="11504" y="8305"/>
                </a:lnTo>
                <a:lnTo>
                  <a:pt x="11406" y="8451"/>
                </a:lnTo>
                <a:lnTo>
                  <a:pt x="11260" y="8549"/>
                </a:lnTo>
                <a:lnTo>
                  <a:pt x="11113" y="8647"/>
                </a:lnTo>
                <a:lnTo>
                  <a:pt x="10942" y="8696"/>
                </a:lnTo>
                <a:lnTo>
                  <a:pt x="10771" y="8720"/>
                </a:lnTo>
                <a:lnTo>
                  <a:pt x="10600" y="8696"/>
                </a:lnTo>
                <a:lnTo>
                  <a:pt x="10429" y="8647"/>
                </a:lnTo>
                <a:lnTo>
                  <a:pt x="10283" y="8549"/>
                </a:lnTo>
                <a:lnTo>
                  <a:pt x="10136" y="8451"/>
                </a:lnTo>
                <a:lnTo>
                  <a:pt x="10038" y="8305"/>
                </a:lnTo>
                <a:lnTo>
                  <a:pt x="9965" y="8134"/>
                </a:lnTo>
                <a:lnTo>
                  <a:pt x="9916" y="7963"/>
                </a:lnTo>
                <a:lnTo>
                  <a:pt x="9892" y="7767"/>
                </a:lnTo>
                <a:lnTo>
                  <a:pt x="9916" y="7572"/>
                </a:lnTo>
                <a:lnTo>
                  <a:pt x="9965" y="7401"/>
                </a:lnTo>
                <a:lnTo>
                  <a:pt x="10038" y="7230"/>
                </a:lnTo>
                <a:lnTo>
                  <a:pt x="10136" y="7084"/>
                </a:lnTo>
                <a:lnTo>
                  <a:pt x="10283" y="6986"/>
                </a:lnTo>
                <a:lnTo>
                  <a:pt x="10429" y="6888"/>
                </a:lnTo>
                <a:lnTo>
                  <a:pt x="10600" y="6839"/>
                </a:lnTo>
                <a:lnTo>
                  <a:pt x="10771" y="6815"/>
                </a:lnTo>
                <a:close/>
                <a:moveTo>
                  <a:pt x="11699" y="10503"/>
                </a:moveTo>
                <a:lnTo>
                  <a:pt x="11797" y="10527"/>
                </a:lnTo>
                <a:lnTo>
                  <a:pt x="11895" y="10576"/>
                </a:lnTo>
                <a:lnTo>
                  <a:pt x="11968" y="10625"/>
                </a:lnTo>
                <a:lnTo>
                  <a:pt x="12041" y="10674"/>
                </a:lnTo>
                <a:lnTo>
                  <a:pt x="12090" y="10771"/>
                </a:lnTo>
                <a:lnTo>
                  <a:pt x="12114" y="10845"/>
                </a:lnTo>
                <a:lnTo>
                  <a:pt x="12139" y="10942"/>
                </a:lnTo>
                <a:lnTo>
                  <a:pt x="12139" y="11040"/>
                </a:lnTo>
                <a:lnTo>
                  <a:pt x="12114" y="11138"/>
                </a:lnTo>
                <a:lnTo>
                  <a:pt x="12090" y="11236"/>
                </a:lnTo>
                <a:lnTo>
                  <a:pt x="12041" y="11309"/>
                </a:lnTo>
                <a:lnTo>
                  <a:pt x="11968" y="11382"/>
                </a:lnTo>
                <a:lnTo>
                  <a:pt x="11895" y="11431"/>
                </a:lnTo>
                <a:lnTo>
                  <a:pt x="11797" y="11455"/>
                </a:lnTo>
                <a:lnTo>
                  <a:pt x="7792" y="12701"/>
                </a:lnTo>
                <a:lnTo>
                  <a:pt x="7645" y="12725"/>
                </a:lnTo>
                <a:lnTo>
                  <a:pt x="7498" y="12701"/>
                </a:lnTo>
                <a:lnTo>
                  <a:pt x="7352" y="12628"/>
                </a:lnTo>
                <a:lnTo>
                  <a:pt x="7254" y="12530"/>
                </a:lnTo>
                <a:lnTo>
                  <a:pt x="7181" y="12383"/>
                </a:lnTo>
                <a:lnTo>
                  <a:pt x="7157" y="12286"/>
                </a:lnTo>
                <a:lnTo>
                  <a:pt x="7157" y="12188"/>
                </a:lnTo>
                <a:lnTo>
                  <a:pt x="7181" y="12090"/>
                </a:lnTo>
                <a:lnTo>
                  <a:pt x="7205" y="12017"/>
                </a:lnTo>
                <a:lnTo>
                  <a:pt x="7254" y="11919"/>
                </a:lnTo>
                <a:lnTo>
                  <a:pt x="7327" y="11871"/>
                </a:lnTo>
                <a:lnTo>
                  <a:pt x="7401" y="11797"/>
                </a:lnTo>
                <a:lnTo>
                  <a:pt x="7498" y="11773"/>
                </a:lnTo>
                <a:lnTo>
                  <a:pt x="11504" y="10527"/>
                </a:lnTo>
                <a:lnTo>
                  <a:pt x="11602" y="10503"/>
                </a:lnTo>
                <a:close/>
                <a:moveTo>
                  <a:pt x="7254" y="1"/>
                </a:moveTo>
                <a:lnTo>
                  <a:pt x="6863" y="50"/>
                </a:lnTo>
                <a:lnTo>
                  <a:pt x="6473" y="99"/>
                </a:lnTo>
                <a:lnTo>
                  <a:pt x="6106" y="147"/>
                </a:lnTo>
                <a:lnTo>
                  <a:pt x="5740" y="245"/>
                </a:lnTo>
                <a:lnTo>
                  <a:pt x="5374" y="343"/>
                </a:lnTo>
                <a:lnTo>
                  <a:pt x="5007" y="465"/>
                </a:lnTo>
                <a:lnTo>
                  <a:pt x="4665" y="611"/>
                </a:lnTo>
                <a:lnTo>
                  <a:pt x="4323" y="758"/>
                </a:lnTo>
                <a:lnTo>
                  <a:pt x="4006" y="929"/>
                </a:lnTo>
                <a:lnTo>
                  <a:pt x="3688" y="1100"/>
                </a:lnTo>
                <a:lnTo>
                  <a:pt x="3371" y="1295"/>
                </a:lnTo>
                <a:lnTo>
                  <a:pt x="3078" y="1515"/>
                </a:lnTo>
                <a:lnTo>
                  <a:pt x="2785" y="1735"/>
                </a:lnTo>
                <a:lnTo>
                  <a:pt x="2516" y="1979"/>
                </a:lnTo>
                <a:lnTo>
                  <a:pt x="2247" y="2248"/>
                </a:lnTo>
                <a:lnTo>
                  <a:pt x="1979" y="2516"/>
                </a:lnTo>
                <a:lnTo>
                  <a:pt x="1735" y="2785"/>
                </a:lnTo>
                <a:lnTo>
                  <a:pt x="1515" y="3078"/>
                </a:lnTo>
                <a:lnTo>
                  <a:pt x="1295" y="3371"/>
                </a:lnTo>
                <a:lnTo>
                  <a:pt x="1100" y="3689"/>
                </a:lnTo>
                <a:lnTo>
                  <a:pt x="929" y="4006"/>
                </a:lnTo>
                <a:lnTo>
                  <a:pt x="758" y="4324"/>
                </a:lnTo>
                <a:lnTo>
                  <a:pt x="611" y="4666"/>
                </a:lnTo>
                <a:lnTo>
                  <a:pt x="465" y="5008"/>
                </a:lnTo>
                <a:lnTo>
                  <a:pt x="342" y="5374"/>
                </a:lnTo>
                <a:lnTo>
                  <a:pt x="245" y="5740"/>
                </a:lnTo>
                <a:lnTo>
                  <a:pt x="147" y="6107"/>
                </a:lnTo>
                <a:lnTo>
                  <a:pt x="98" y="6473"/>
                </a:lnTo>
                <a:lnTo>
                  <a:pt x="49" y="6864"/>
                </a:lnTo>
                <a:lnTo>
                  <a:pt x="1" y="7255"/>
                </a:lnTo>
                <a:lnTo>
                  <a:pt x="1" y="7645"/>
                </a:lnTo>
                <a:lnTo>
                  <a:pt x="1" y="8036"/>
                </a:lnTo>
                <a:lnTo>
                  <a:pt x="49" y="8427"/>
                </a:lnTo>
                <a:lnTo>
                  <a:pt x="98" y="8818"/>
                </a:lnTo>
                <a:lnTo>
                  <a:pt x="147" y="9184"/>
                </a:lnTo>
                <a:lnTo>
                  <a:pt x="245" y="9550"/>
                </a:lnTo>
                <a:lnTo>
                  <a:pt x="342" y="9917"/>
                </a:lnTo>
                <a:lnTo>
                  <a:pt x="465" y="10283"/>
                </a:lnTo>
                <a:lnTo>
                  <a:pt x="611" y="10625"/>
                </a:lnTo>
                <a:lnTo>
                  <a:pt x="758" y="10967"/>
                </a:lnTo>
                <a:lnTo>
                  <a:pt x="929" y="11284"/>
                </a:lnTo>
                <a:lnTo>
                  <a:pt x="1100" y="11602"/>
                </a:lnTo>
                <a:lnTo>
                  <a:pt x="1295" y="11919"/>
                </a:lnTo>
                <a:lnTo>
                  <a:pt x="1515" y="12212"/>
                </a:lnTo>
                <a:lnTo>
                  <a:pt x="1735" y="12506"/>
                </a:lnTo>
                <a:lnTo>
                  <a:pt x="1979" y="12774"/>
                </a:lnTo>
                <a:lnTo>
                  <a:pt x="2247" y="13043"/>
                </a:lnTo>
                <a:lnTo>
                  <a:pt x="2516" y="13311"/>
                </a:lnTo>
                <a:lnTo>
                  <a:pt x="2785" y="13556"/>
                </a:lnTo>
                <a:lnTo>
                  <a:pt x="3078" y="13776"/>
                </a:lnTo>
                <a:lnTo>
                  <a:pt x="3371" y="13995"/>
                </a:lnTo>
                <a:lnTo>
                  <a:pt x="3688" y="14191"/>
                </a:lnTo>
                <a:lnTo>
                  <a:pt x="4006" y="14362"/>
                </a:lnTo>
                <a:lnTo>
                  <a:pt x="4323" y="14533"/>
                </a:lnTo>
                <a:lnTo>
                  <a:pt x="4665" y="14679"/>
                </a:lnTo>
                <a:lnTo>
                  <a:pt x="5007" y="14826"/>
                </a:lnTo>
                <a:lnTo>
                  <a:pt x="5374" y="14948"/>
                </a:lnTo>
                <a:lnTo>
                  <a:pt x="5740" y="15046"/>
                </a:lnTo>
                <a:lnTo>
                  <a:pt x="6106" y="15143"/>
                </a:lnTo>
                <a:lnTo>
                  <a:pt x="6473" y="15192"/>
                </a:lnTo>
                <a:lnTo>
                  <a:pt x="6863" y="15241"/>
                </a:lnTo>
                <a:lnTo>
                  <a:pt x="7254" y="15290"/>
                </a:lnTo>
                <a:lnTo>
                  <a:pt x="8036" y="15290"/>
                </a:lnTo>
                <a:lnTo>
                  <a:pt x="8427" y="15241"/>
                </a:lnTo>
                <a:lnTo>
                  <a:pt x="8817" y="15192"/>
                </a:lnTo>
                <a:lnTo>
                  <a:pt x="9184" y="15143"/>
                </a:lnTo>
                <a:lnTo>
                  <a:pt x="9550" y="15046"/>
                </a:lnTo>
                <a:lnTo>
                  <a:pt x="9916" y="14948"/>
                </a:lnTo>
                <a:lnTo>
                  <a:pt x="10283" y="14826"/>
                </a:lnTo>
                <a:lnTo>
                  <a:pt x="10625" y="14679"/>
                </a:lnTo>
                <a:lnTo>
                  <a:pt x="10967" y="14533"/>
                </a:lnTo>
                <a:lnTo>
                  <a:pt x="11284" y="14362"/>
                </a:lnTo>
                <a:lnTo>
                  <a:pt x="11602" y="14191"/>
                </a:lnTo>
                <a:lnTo>
                  <a:pt x="11919" y="13995"/>
                </a:lnTo>
                <a:lnTo>
                  <a:pt x="12212" y="13776"/>
                </a:lnTo>
                <a:lnTo>
                  <a:pt x="12505" y="13556"/>
                </a:lnTo>
                <a:lnTo>
                  <a:pt x="12774" y="13311"/>
                </a:lnTo>
                <a:lnTo>
                  <a:pt x="13042" y="13043"/>
                </a:lnTo>
                <a:lnTo>
                  <a:pt x="13311" y="12774"/>
                </a:lnTo>
                <a:lnTo>
                  <a:pt x="13555" y="12506"/>
                </a:lnTo>
                <a:lnTo>
                  <a:pt x="13775" y="12212"/>
                </a:lnTo>
                <a:lnTo>
                  <a:pt x="13995" y="11919"/>
                </a:lnTo>
                <a:lnTo>
                  <a:pt x="14190" y="11602"/>
                </a:lnTo>
                <a:lnTo>
                  <a:pt x="14361" y="11284"/>
                </a:lnTo>
                <a:lnTo>
                  <a:pt x="14532" y="10967"/>
                </a:lnTo>
                <a:lnTo>
                  <a:pt x="14679" y="10625"/>
                </a:lnTo>
                <a:lnTo>
                  <a:pt x="14825" y="10283"/>
                </a:lnTo>
                <a:lnTo>
                  <a:pt x="14947" y="9917"/>
                </a:lnTo>
                <a:lnTo>
                  <a:pt x="15045" y="9550"/>
                </a:lnTo>
                <a:lnTo>
                  <a:pt x="15143" y="9184"/>
                </a:lnTo>
                <a:lnTo>
                  <a:pt x="15192" y="8818"/>
                </a:lnTo>
                <a:lnTo>
                  <a:pt x="15241" y="8427"/>
                </a:lnTo>
                <a:lnTo>
                  <a:pt x="15289" y="8036"/>
                </a:lnTo>
                <a:lnTo>
                  <a:pt x="15289" y="7645"/>
                </a:lnTo>
                <a:lnTo>
                  <a:pt x="15289" y="7255"/>
                </a:lnTo>
                <a:lnTo>
                  <a:pt x="15241" y="6864"/>
                </a:lnTo>
                <a:lnTo>
                  <a:pt x="15192" y="6473"/>
                </a:lnTo>
                <a:lnTo>
                  <a:pt x="15143" y="6107"/>
                </a:lnTo>
                <a:lnTo>
                  <a:pt x="15045" y="5740"/>
                </a:lnTo>
                <a:lnTo>
                  <a:pt x="14947" y="5374"/>
                </a:lnTo>
                <a:lnTo>
                  <a:pt x="14825" y="5008"/>
                </a:lnTo>
                <a:lnTo>
                  <a:pt x="14679" y="4666"/>
                </a:lnTo>
                <a:lnTo>
                  <a:pt x="14532" y="4324"/>
                </a:lnTo>
                <a:lnTo>
                  <a:pt x="14361" y="4006"/>
                </a:lnTo>
                <a:lnTo>
                  <a:pt x="14190" y="3689"/>
                </a:lnTo>
                <a:lnTo>
                  <a:pt x="13995" y="3371"/>
                </a:lnTo>
                <a:lnTo>
                  <a:pt x="13775" y="3078"/>
                </a:lnTo>
                <a:lnTo>
                  <a:pt x="13555" y="2785"/>
                </a:lnTo>
                <a:lnTo>
                  <a:pt x="13311" y="2516"/>
                </a:lnTo>
                <a:lnTo>
                  <a:pt x="13042" y="2248"/>
                </a:lnTo>
                <a:lnTo>
                  <a:pt x="12774" y="1979"/>
                </a:lnTo>
                <a:lnTo>
                  <a:pt x="12505" y="1735"/>
                </a:lnTo>
                <a:lnTo>
                  <a:pt x="12212" y="1515"/>
                </a:lnTo>
                <a:lnTo>
                  <a:pt x="11919" y="1295"/>
                </a:lnTo>
                <a:lnTo>
                  <a:pt x="11602" y="1100"/>
                </a:lnTo>
                <a:lnTo>
                  <a:pt x="11284" y="929"/>
                </a:lnTo>
                <a:lnTo>
                  <a:pt x="10967" y="758"/>
                </a:lnTo>
                <a:lnTo>
                  <a:pt x="10625" y="611"/>
                </a:lnTo>
                <a:lnTo>
                  <a:pt x="10283" y="465"/>
                </a:lnTo>
                <a:lnTo>
                  <a:pt x="9916" y="343"/>
                </a:lnTo>
                <a:lnTo>
                  <a:pt x="9550" y="245"/>
                </a:lnTo>
                <a:lnTo>
                  <a:pt x="9184" y="147"/>
                </a:lnTo>
                <a:lnTo>
                  <a:pt x="8817" y="99"/>
                </a:lnTo>
                <a:lnTo>
                  <a:pt x="8427" y="50"/>
                </a:lnTo>
                <a:lnTo>
                  <a:pt x="8036"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126" name="Shape 455"/>
          <p:cNvGrpSpPr/>
          <p:nvPr/>
        </p:nvGrpSpPr>
        <p:grpSpPr>
          <a:xfrm>
            <a:off x="4841631" y="3275229"/>
            <a:ext cx="155736" cy="388863"/>
            <a:chOff x="3386850" y="2264625"/>
            <a:chExt cx="203950" cy="509250"/>
          </a:xfrm>
        </p:grpSpPr>
        <p:sp>
          <p:nvSpPr>
            <p:cNvPr id="127" name="Shape 456"/>
            <p:cNvSpPr/>
            <p:nvPr/>
          </p:nvSpPr>
          <p:spPr>
            <a:xfrm>
              <a:off x="3386850" y="2370850"/>
              <a:ext cx="203950" cy="403025"/>
            </a:xfrm>
            <a:custGeom>
              <a:avLst/>
              <a:gdLst/>
              <a:ahLst/>
              <a:cxnLst/>
              <a:rect l="0" t="0" r="0" b="0"/>
              <a:pathLst>
                <a:path w="8158" h="16121" extrusionOk="0">
                  <a:moveTo>
                    <a:pt x="3249" y="1"/>
                  </a:moveTo>
                  <a:lnTo>
                    <a:pt x="3004" y="50"/>
                  </a:lnTo>
                  <a:lnTo>
                    <a:pt x="2785" y="99"/>
                  </a:lnTo>
                  <a:lnTo>
                    <a:pt x="2565" y="172"/>
                  </a:lnTo>
                  <a:lnTo>
                    <a:pt x="2369" y="269"/>
                  </a:lnTo>
                  <a:lnTo>
                    <a:pt x="2174" y="367"/>
                  </a:lnTo>
                  <a:lnTo>
                    <a:pt x="1979" y="465"/>
                  </a:lnTo>
                  <a:lnTo>
                    <a:pt x="1808" y="587"/>
                  </a:lnTo>
                  <a:lnTo>
                    <a:pt x="1637" y="734"/>
                  </a:lnTo>
                  <a:lnTo>
                    <a:pt x="1490" y="880"/>
                  </a:lnTo>
                  <a:lnTo>
                    <a:pt x="1344" y="1027"/>
                  </a:lnTo>
                  <a:lnTo>
                    <a:pt x="1075" y="1369"/>
                  </a:lnTo>
                  <a:lnTo>
                    <a:pt x="855" y="1784"/>
                  </a:lnTo>
                  <a:lnTo>
                    <a:pt x="660" y="2199"/>
                  </a:lnTo>
                  <a:lnTo>
                    <a:pt x="489" y="2687"/>
                  </a:lnTo>
                  <a:lnTo>
                    <a:pt x="342" y="3176"/>
                  </a:lnTo>
                  <a:lnTo>
                    <a:pt x="245" y="3738"/>
                  </a:lnTo>
                  <a:lnTo>
                    <a:pt x="147" y="4299"/>
                  </a:lnTo>
                  <a:lnTo>
                    <a:pt x="74" y="4910"/>
                  </a:lnTo>
                  <a:lnTo>
                    <a:pt x="49" y="5545"/>
                  </a:lnTo>
                  <a:lnTo>
                    <a:pt x="25" y="6204"/>
                  </a:lnTo>
                  <a:lnTo>
                    <a:pt x="0" y="6888"/>
                  </a:lnTo>
                  <a:lnTo>
                    <a:pt x="25" y="7035"/>
                  </a:lnTo>
                  <a:lnTo>
                    <a:pt x="49" y="7181"/>
                  </a:lnTo>
                  <a:lnTo>
                    <a:pt x="98" y="7328"/>
                  </a:lnTo>
                  <a:lnTo>
                    <a:pt x="171" y="7425"/>
                  </a:lnTo>
                  <a:lnTo>
                    <a:pt x="269" y="7523"/>
                  </a:lnTo>
                  <a:lnTo>
                    <a:pt x="391" y="7596"/>
                  </a:lnTo>
                  <a:lnTo>
                    <a:pt x="513" y="7645"/>
                  </a:lnTo>
                  <a:lnTo>
                    <a:pt x="660" y="7670"/>
                  </a:lnTo>
                  <a:lnTo>
                    <a:pt x="806" y="7645"/>
                  </a:lnTo>
                  <a:lnTo>
                    <a:pt x="928" y="7596"/>
                  </a:lnTo>
                  <a:lnTo>
                    <a:pt x="1051" y="7523"/>
                  </a:lnTo>
                  <a:lnTo>
                    <a:pt x="1148" y="7425"/>
                  </a:lnTo>
                  <a:lnTo>
                    <a:pt x="1222" y="7328"/>
                  </a:lnTo>
                  <a:lnTo>
                    <a:pt x="1270" y="7181"/>
                  </a:lnTo>
                  <a:lnTo>
                    <a:pt x="1295" y="7035"/>
                  </a:lnTo>
                  <a:lnTo>
                    <a:pt x="1319" y="6888"/>
                  </a:lnTo>
                  <a:lnTo>
                    <a:pt x="1344" y="6278"/>
                  </a:lnTo>
                  <a:lnTo>
                    <a:pt x="1417" y="5569"/>
                  </a:lnTo>
                  <a:lnTo>
                    <a:pt x="1515" y="4861"/>
                  </a:lnTo>
                  <a:lnTo>
                    <a:pt x="1637" y="4153"/>
                  </a:lnTo>
                  <a:lnTo>
                    <a:pt x="1759" y="3542"/>
                  </a:lnTo>
                  <a:lnTo>
                    <a:pt x="1881" y="3029"/>
                  </a:lnTo>
                  <a:lnTo>
                    <a:pt x="2003" y="2687"/>
                  </a:lnTo>
                  <a:lnTo>
                    <a:pt x="2052" y="2614"/>
                  </a:lnTo>
                  <a:lnTo>
                    <a:pt x="2101" y="2590"/>
                  </a:lnTo>
                  <a:lnTo>
                    <a:pt x="2101" y="2639"/>
                  </a:lnTo>
                  <a:lnTo>
                    <a:pt x="2125" y="2736"/>
                  </a:lnTo>
                  <a:lnTo>
                    <a:pt x="2125" y="3151"/>
                  </a:lnTo>
                  <a:lnTo>
                    <a:pt x="2076" y="4568"/>
                  </a:lnTo>
                  <a:lnTo>
                    <a:pt x="1954" y="6595"/>
                  </a:lnTo>
                  <a:lnTo>
                    <a:pt x="1832" y="8866"/>
                  </a:lnTo>
                  <a:lnTo>
                    <a:pt x="1539" y="13165"/>
                  </a:lnTo>
                  <a:lnTo>
                    <a:pt x="1392" y="15119"/>
                  </a:lnTo>
                  <a:lnTo>
                    <a:pt x="1392" y="15290"/>
                  </a:lnTo>
                  <a:lnTo>
                    <a:pt x="1417" y="15461"/>
                  </a:lnTo>
                  <a:lnTo>
                    <a:pt x="1466" y="15607"/>
                  </a:lnTo>
                  <a:lnTo>
                    <a:pt x="1563" y="15754"/>
                  </a:lnTo>
                  <a:lnTo>
                    <a:pt x="1661" y="15900"/>
                  </a:lnTo>
                  <a:lnTo>
                    <a:pt x="1783" y="15998"/>
                  </a:lnTo>
                  <a:lnTo>
                    <a:pt x="1930" y="16071"/>
                  </a:lnTo>
                  <a:lnTo>
                    <a:pt x="2101" y="16120"/>
                  </a:lnTo>
                  <a:lnTo>
                    <a:pt x="2394" y="16120"/>
                  </a:lnTo>
                  <a:lnTo>
                    <a:pt x="2516" y="16071"/>
                  </a:lnTo>
                  <a:lnTo>
                    <a:pt x="2662" y="15998"/>
                  </a:lnTo>
                  <a:lnTo>
                    <a:pt x="2785" y="15925"/>
                  </a:lnTo>
                  <a:lnTo>
                    <a:pt x="2882" y="15803"/>
                  </a:lnTo>
                  <a:lnTo>
                    <a:pt x="2956" y="15680"/>
                  </a:lnTo>
                  <a:lnTo>
                    <a:pt x="3029" y="15534"/>
                  </a:lnTo>
                  <a:lnTo>
                    <a:pt x="3053" y="15387"/>
                  </a:lnTo>
                  <a:lnTo>
                    <a:pt x="3713" y="8549"/>
                  </a:lnTo>
                  <a:lnTo>
                    <a:pt x="3737" y="8476"/>
                  </a:lnTo>
                  <a:lnTo>
                    <a:pt x="3786" y="8354"/>
                  </a:lnTo>
                  <a:lnTo>
                    <a:pt x="3835" y="8305"/>
                  </a:lnTo>
                  <a:lnTo>
                    <a:pt x="3884" y="8231"/>
                  </a:lnTo>
                  <a:lnTo>
                    <a:pt x="3981" y="8207"/>
                  </a:lnTo>
                  <a:lnTo>
                    <a:pt x="4079" y="8183"/>
                  </a:lnTo>
                  <a:lnTo>
                    <a:pt x="4177" y="8207"/>
                  </a:lnTo>
                  <a:lnTo>
                    <a:pt x="4274" y="8231"/>
                  </a:lnTo>
                  <a:lnTo>
                    <a:pt x="4323" y="8305"/>
                  </a:lnTo>
                  <a:lnTo>
                    <a:pt x="4372" y="8354"/>
                  </a:lnTo>
                  <a:lnTo>
                    <a:pt x="4421" y="8476"/>
                  </a:lnTo>
                  <a:lnTo>
                    <a:pt x="4445" y="8549"/>
                  </a:lnTo>
                  <a:lnTo>
                    <a:pt x="5105" y="15387"/>
                  </a:lnTo>
                  <a:lnTo>
                    <a:pt x="5129" y="15534"/>
                  </a:lnTo>
                  <a:lnTo>
                    <a:pt x="5202" y="15680"/>
                  </a:lnTo>
                  <a:lnTo>
                    <a:pt x="5276" y="15803"/>
                  </a:lnTo>
                  <a:lnTo>
                    <a:pt x="5373" y="15925"/>
                  </a:lnTo>
                  <a:lnTo>
                    <a:pt x="5496" y="15998"/>
                  </a:lnTo>
                  <a:lnTo>
                    <a:pt x="5642" y="16071"/>
                  </a:lnTo>
                  <a:lnTo>
                    <a:pt x="5764" y="16120"/>
                  </a:lnTo>
                  <a:lnTo>
                    <a:pt x="6057" y="16120"/>
                  </a:lnTo>
                  <a:lnTo>
                    <a:pt x="6228" y="16071"/>
                  </a:lnTo>
                  <a:lnTo>
                    <a:pt x="6375" y="15998"/>
                  </a:lnTo>
                  <a:lnTo>
                    <a:pt x="6497" y="15900"/>
                  </a:lnTo>
                  <a:lnTo>
                    <a:pt x="6595" y="15754"/>
                  </a:lnTo>
                  <a:lnTo>
                    <a:pt x="6692" y="15607"/>
                  </a:lnTo>
                  <a:lnTo>
                    <a:pt x="6741" y="15461"/>
                  </a:lnTo>
                  <a:lnTo>
                    <a:pt x="6766" y="15290"/>
                  </a:lnTo>
                  <a:lnTo>
                    <a:pt x="6766" y="15119"/>
                  </a:lnTo>
                  <a:lnTo>
                    <a:pt x="6619" y="13165"/>
                  </a:lnTo>
                  <a:lnTo>
                    <a:pt x="6350" y="8915"/>
                  </a:lnTo>
                  <a:lnTo>
                    <a:pt x="6204" y="6619"/>
                  </a:lnTo>
                  <a:lnTo>
                    <a:pt x="6106" y="4617"/>
                  </a:lnTo>
                  <a:lnTo>
                    <a:pt x="6057" y="3176"/>
                  </a:lnTo>
                  <a:lnTo>
                    <a:pt x="6057" y="2761"/>
                  </a:lnTo>
                  <a:lnTo>
                    <a:pt x="6057" y="2590"/>
                  </a:lnTo>
                  <a:lnTo>
                    <a:pt x="6106" y="2590"/>
                  </a:lnTo>
                  <a:lnTo>
                    <a:pt x="6155" y="2687"/>
                  </a:lnTo>
                  <a:lnTo>
                    <a:pt x="6253" y="3005"/>
                  </a:lnTo>
                  <a:lnTo>
                    <a:pt x="6399" y="3493"/>
                  </a:lnTo>
                  <a:lnTo>
                    <a:pt x="6521" y="4128"/>
                  </a:lnTo>
                  <a:lnTo>
                    <a:pt x="6643" y="4837"/>
                  </a:lnTo>
                  <a:lnTo>
                    <a:pt x="6741" y="5569"/>
                  </a:lnTo>
                  <a:lnTo>
                    <a:pt x="6814" y="6278"/>
                  </a:lnTo>
                  <a:lnTo>
                    <a:pt x="6839" y="6888"/>
                  </a:lnTo>
                  <a:lnTo>
                    <a:pt x="6863" y="7035"/>
                  </a:lnTo>
                  <a:lnTo>
                    <a:pt x="6888" y="7181"/>
                  </a:lnTo>
                  <a:lnTo>
                    <a:pt x="6936" y="7328"/>
                  </a:lnTo>
                  <a:lnTo>
                    <a:pt x="7010" y="7425"/>
                  </a:lnTo>
                  <a:lnTo>
                    <a:pt x="7107" y="7523"/>
                  </a:lnTo>
                  <a:lnTo>
                    <a:pt x="7230" y="7596"/>
                  </a:lnTo>
                  <a:lnTo>
                    <a:pt x="7352" y="7645"/>
                  </a:lnTo>
                  <a:lnTo>
                    <a:pt x="7498" y="7670"/>
                  </a:lnTo>
                  <a:lnTo>
                    <a:pt x="7645" y="7645"/>
                  </a:lnTo>
                  <a:lnTo>
                    <a:pt x="7767" y="7596"/>
                  </a:lnTo>
                  <a:lnTo>
                    <a:pt x="7889" y="7523"/>
                  </a:lnTo>
                  <a:lnTo>
                    <a:pt x="7987" y="7425"/>
                  </a:lnTo>
                  <a:lnTo>
                    <a:pt x="8060" y="7328"/>
                  </a:lnTo>
                  <a:lnTo>
                    <a:pt x="8109" y="7181"/>
                  </a:lnTo>
                  <a:lnTo>
                    <a:pt x="8133" y="7035"/>
                  </a:lnTo>
                  <a:lnTo>
                    <a:pt x="8158" y="6888"/>
                  </a:lnTo>
                  <a:lnTo>
                    <a:pt x="8133" y="5520"/>
                  </a:lnTo>
                  <a:lnTo>
                    <a:pt x="8109" y="4885"/>
                  </a:lnTo>
                  <a:lnTo>
                    <a:pt x="8060" y="4299"/>
                  </a:lnTo>
                  <a:lnTo>
                    <a:pt x="7987" y="3713"/>
                  </a:lnTo>
                  <a:lnTo>
                    <a:pt x="7889" y="3176"/>
                  </a:lnTo>
                  <a:lnTo>
                    <a:pt x="7767" y="2663"/>
                  </a:lnTo>
                  <a:lnTo>
                    <a:pt x="7620" y="2174"/>
                  </a:lnTo>
                  <a:lnTo>
                    <a:pt x="7425" y="1759"/>
                  </a:lnTo>
                  <a:lnTo>
                    <a:pt x="7205" y="1369"/>
                  </a:lnTo>
                  <a:lnTo>
                    <a:pt x="7083" y="1173"/>
                  </a:lnTo>
                  <a:lnTo>
                    <a:pt x="6936" y="1002"/>
                  </a:lnTo>
                  <a:lnTo>
                    <a:pt x="6790" y="856"/>
                  </a:lnTo>
                  <a:lnTo>
                    <a:pt x="6643" y="709"/>
                  </a:lnTo>
                  <a:lnTo>
                    <a:pt x="6472" y="563"/>
                  </a:lnTo>
                  <a:lnTo>
                    <a:pt x="6277" y="440"/>
                  </a:lnTo>
                  <a:lnTo>
                    <a:pt x="6082" y="343"/>
                  </a:lnTo>
                  <a:lnTo>
                    <a:pt x="5886" y="245"/>
                  </a:lnTo>
                  <a:lnTo>
                    <a:pt x="5666" y="172"/>
                  </a:lnTo>
                  <a:lnTo>
                    <a:pt x="5422" y="99"/>
                  </a:lnTo>
                  <a:lnTo>
                    <a:pt x="5178" y="50"/>
                  </a:lnTo>
                  <a:lnTo>
                    <a:pt x="4909" y="1"/>
                  </a:lnTo>
                  <a:lnTo>
                    <a:pt x="4714" y="74"/>
                  </a:lnTo>
                  <a:lnTo>
                    <a:pt x="4519" y="147"/>
                  </a:lnTo>
                  <a:lnTo>
                    <a:pt x="4299" y="196"/>
                  </a:lnTo>
                  <a:lnTo>
                    <a:pt x="3859" y="196"/>
                  </a:lnTo>
                  <a:lnTo>
                    <a:pt x="3664" y="147"/>
                  </a:lnTo>
                  <a:lnTo>
                    <a:pt x="3444" y="99"/>
                  </a:lnTo>
                  <a:lnTo>
                    <a:pt x="324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28" name="Shape 457"/>
            <p:cNvSpPr/>
            <p:nvPr/>
          </p:nvSpPr>
          <p:spPr>
            <a:xfrm>
              <a:off x="3446075" y="2264625"/>
              <a:ext cx="85500" cy="94050"/>
            </a:xfrm>
            <a:custGeom>
              <a:avLst/>
              <a:gdLst/>
              <a:ahLst/>
              <a:cxnLst/>
              <a:rect l="0" t="0" r="0" b="0"/>
              <a:pathLst>
                <a:path w="3420" h="3762" extrusionOk="0">
                  <a:moveTo>
                    <a:pt x="1539" y="0"/>
                  </a:moveTo>
                  <a:lnTo>
                    <a:pt x="1368" y="25"/>
                  </a:lnTo>
                  <a:lnTo>
                    <a:pt x="1197" y="49"/>
                  </a:lnTo>
                  <a:lnTo>
                    <a:pt x="1051" y="122"/>
                  </a:lnTo>
                  <a:lnTo>
                    <a:pt x="904" y="171"/>
                  </a:lnTo>
                  <a:lnTo>
                    <a:pt x="757" y="269"/>
                  </a:lnTo>
                  <a:lnTo>
                    <a:pt x="611" y="342"/>
                  </a:lnTo>
                  <a:lnTo>
                    <a:pt x="489" y="464"/>
                  </a:lnTo>
                  <a:lnTo>
                    <a:pt x="391" y="586"/>
                  </a:lnTo>
                  <a:lnTo>
                    <a:pt x="293" y="708"/>
                  </a:lnTo>
                  <a:lnTo>
                    <a:pt x="196" y="855"/>
                  </a:lnTo>
                  <a:lnTo>
                    <a:pt x="122" y="1002"/>
                  </a:lnTo>
                  <a:lnTo>
                    <a:pt x="74" y="1148"/>
                  </a:lnTo>
                  <a:lnTo>
                    <a:pt x="25" y="1319"/>
                  </a:lnTo>
                  <a:lnTo>
                    <a:pt x="0" y="1514"/>
                  </a:lnTo>
                  <a:lnTo>
                    <a:pt x="0" y="1710"/>
                  </a:lnTo>
                  <a:lnTo>
                    <a:pt x="0" y="1905"/>
                  </a:lnTo>
                  <a:lnTo>
                    <a:pt x="25" y="2101"/>
                  </a:lnTo>
                  <a:lnTo>
                    <a:pt x="74" y="2272"/>
                  </a:lnTo>
                  <a:lnTo>
                    <a:pt x="122" y="2467"/>
                  </a:lnTo>
                  <a:lnTo>
                    <a:pt x="196" y="2638"/>
                  </a:lnTo>
                  <a:lnTo>
                    <a:pt x="293" y="2809"/>
                  </a:lnTo>
                  <a:lnTo>
                    <a:pt x="391" y="2980"/>
                  </a:lnTo>
                  <a:lnTo>
                    <a:pt x="489" y="3126"/>
                  </a:lnTo>
                  <a:lnTo>
                    <a:pt x="611" y="3273"/>
                  </a:lnTo>
                  <a:lnTo>
                    <a:pt x="757" y="3395"/>
                  </a:lnTo>
                  <a:lnTo>
                    <a:pt x="904" y="3493"/>
                  </a:lnTo>
                  <a:lnTo>
                    <a:pt x="1051" y="3590"/>
                  </a:lnTo>
                  <a:lnTo>
                    <a:pt x="1197" y="3664"/>
                  </a:lnTo>
                  <a:lnTo>
                    <a:pt x="1368" y="3713"/>
                  </a:lnTo>
                  <a:lnTo>
                    <a:pt x="1539" y="3761"/>
                  </a:lnTo>
                  <a:lnTo>
                    <a:pt x="1881" y="3761"/>
                  </a:lnTo>
                  <a:lnTo>
                    <a:pt x="2052" y="3713"/>
                  </a:lnTo>
                  <a:lnTo>
                    <a:pt x="2223" y="3664"/>
                  </a:lnTo>
                  <a:lnTo>
                    <a:pt x="2369" y="3590"/>
                  </a:lnTo>
                  <a:lnTo>
                    <a:pt x="2516" y="3493"/>
                  </a:lnTo>
                  <a:lnTo>
                    <a:pt x="2662" y="3395"/>
                  </a:lnTo>
                  <a:lnTo>
                    <a:pt x="2809" y="3273"/>
                  </a:lnTo>
                  <a:lnTo>
                    <a:pt x="2931" y="3126"/>
                  </a:lnTo>
                  <a:lnTo>
                    <a:pt x="3029" y="2980"/>
                  </a:lnTo>
                  <a:lnTo>
                    <a:pt x="3127" y="2809"/>
                  </a:lnTo>
                  <a:lnTo>
                    <a:pt x="3224" y="2638"/>
                  </a:lnTo>
                  <a:lnTo>
                    <a:pt x="3297" y="2467"/>
                  </a:lnTo>
                  <a:lnTo>
                    <a:pt x="3346" y="2272"/>
                  </a:lnTo>
                  <a:lnTo>
                    <a:pt x="3395" y="2101"/>
                  </a:lnTo>
                  <a:lnTo>
                    <a:pt x="3420" y="1905"/>
                  </a:lnTo>
                  <a:lnTo>
                    <a:pt x="3420" y="1710"/>
                  </a:lnTo>
                  <a:lnTo>
                    <a:pt x="3420" y="1514"/>
                  </a:lnTo>
                  <a:lnTo>
                    <a:pt x="3395" y="1319"/>
                  </a:lnTo>
                  <a:lnTo>
                    <a:pt x="3346" y="1148"/>
                  </a:lnTo>
                  <a:lnTo>
                    <a:pt x="3297" y="1002"/>
                  </a:lnTo>
                  <a:lnTo>
                    <a:pt x="3224" y="855"/>
                  </a:lnTo>
                  <a:lnTo>
                    <a:pt x="3127" y="708"/>
                  </a:lnTo>
                  <a:lnTo>
                    <a:pt x="3029" y="586"/>
                  </a:lnTo>
                  <a:lnTo>
                    <a:pt x="2931" y="464"/>
                  </a:lnTo>
                  <a:lnTo>
                    <a:pt x="2809" y="342"/>
                  </a:lnTo>
                  <a:lnTo>
                    <a:pt x="2662" y="269"/>
                  </a:lnTo>
                  <a:lnTo>
                    <a:pt x="2516" y="171"/>
                  </a:lnTo>
                  <a:lnTo>
                    <a:pt x="2369" y="122"/>
                  </a:lnTo>
                  <a:lnTo>
                    <a:pt x="2223" y="49"/>
                  </a:lnTo>
                  <a:lnTo>
                    <a:pt x="2052" y="25"/>
                  </a:lnTo>
                  <a:lnTo>
                    <a:pt x="188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29" name="Shape 458"/>
          <p:cNvGrpSpPr/>
          <p:nvPr/>
        </p:nvGrpSpPr>
        <p:grpSpPr>
          <a:xfrm>
            <a:off x="5885071" y="3324653"/>
            <a:ext cx="127750" cy="290015"/>
            <a:chOff x="4753325" y="2329350"/>
            <a:chExt cx="167300" cy="379800"/>
          </a:xfrm>
        </p:grpSpPr>
        <p:sp>
          <p:nvSpPr>
            <p:cNvPr id="130" name="Shape 459"/>
            <p:cNvSpPr/>
            <p:nvPr/>
          </p:nvSpPr>
          <p:spPr>
            <a:xfrm>
              <a:off x="4753325" y="2424600"/>
              <a:ext cx="167300" cy="284550"/>
            </a:xfrm>
            <a:custGeom>
              <a:avLst/>
              <a:gdLst/>
              <a:ahLst/>
              <a:cxnLst/>
              <a:rect l="0" t="0" r="0" b="0"/>
              <a:pathLst>
                <a:path w="6692" h="11382" extrusionOk="0">
                  <a:moveTo>
                    <a:pt x="4030" y="0"/>
                  </a:moveTo>
                  <a:lnTo>
                    <a:pt x="3883" y="73"/>
                  </a:lnTo>
                  <a:lnTo>
                    <a:pt x="3712" y="122"/>
                  </a:lnTo>
                  <a:lnTo>
                    <a:pt x="3517" y="171"/>
                  </a:lnTo>
                  <a:lnTo>
                    <a:pt x="3175" y="171"/>
                  </a:lnTo>
                  <a:lnTo>
                    <a:pt x="3004" y="147"/>
                  </a:lnTo>
                  <a:lnTo>
                    <a:pt x="2833" y="73"/>
                  </a:lnTo>
                  <a:lnTo>
                    <a:pt x="2662" y="24"/>
                  </a:lnTo>
                  <a:lnTo>
                    <a:pt x="2418" y="24"/>
                  </a:lnTo>
                  <a:lnTo>
                    <a:pt x="2174" y="98"/>
                  </a:lnTo>
                  <a:lnTo>
                    <a:pt x="1954" y="171"/>
                  </a:lnTo>
                  <a:lnTo>
                    <a:pt x="1710" y="318"/>
                  </a:lnTo>
                  <a:lnTo>
                    <a:pt x="1490" y="489"/>
                  </a:lnTo>
                  <a:lnTo>
                    <a:pt x="1246" y="684"/>
                  </a:lnTo>
                  <a:lnTo>
                    <a:pt x="1050" y="928"/>
                  </a:lnTo>
                  <a:lnTo>
                    <a:pt x="855" y="1197"/>
                  </a:lnTo>
                  <a:lnTo>
                    <a:pt x="660" y="1514"/>
                  </a:lnTo>
                  <a:lnTo>
                    <a:pt x="513" y="1856"/>
                  </a:lnTo>
                  <a:lnTo>
                    <a:pt x="366" y="2223"/>
                  </a:lnTo>
                  <a:lnTo>
                    <a:pt x="244" y="2638"/>
                  </a:lnTo>
                  <a:lnTo>
                    <a:pt x="122" y="3102"/>
                  </a:lnTo>
                  <a:lnTo>
                    <a:pt x="49" y="3590"/>
                  </a:lnTo>
                  <a:lnTo>
                    <a:pt x="0" y="4103"/>
                  </a:lnTo>
                  <a:lnTo>
                    <a:pt x="0" y="4665"/>
                  </a:lnTo>
                  <a:lnTo>
                    <a:pt x="0" y="4787"/>
                  </a:lnTo>
                  <a:lnTo>
                    <a:pt x="25" y="4909"/>
                  </a:lnTo>
                  <a:lnTo>
                    <a:pt x="73" y="5007"/>
                  </a:lnTo>
                  <a:lnTo>
                    <a:pt x="147" y="5104"/>
                  </a:lnTo>
                  <a:lnTo>
                    <a:pt x="220" y="5178"/>
                  </a:lnTo>
                  <a:lnTo>
                    <a:pt x="318" y="5251"/>
                  </a:lnTo>
                  <a:lnTo>
                    <a:pt x="415" y="5275"/>
                  </a:lnTo>
                  <a:lnTo>
                    <a:pt x="537" y="5300"/>
                  </a:lnTo>
                  <a:lnTo>
                    <a:pt x="660" y="5275"/>
                  </a:lnTo>
                  <a:lnTo>
                    <a:pt x="757" y="5251"/>
                  </a:lnTo>
                  <a:lnTo>
                    <a:pt x="855" y="5178"/>
                  </a:lnTo>
                  <a:lnTo>
                    <a:pt x="928" y="5104"/>
                  </a:lnTo>
                  <a:lnTo>
                    <a:pt x="1001" y="5007"/>
                  </a:lnTo>
                  <a:lnTo>
                    <a:pt x="1026" y="4909"/>
                  </a:lnTo>
                  <a:lnTo>
                    <a:pt x="1050" y="4787"/>
                  </a:lnTo>
                  <a:lnTo>
                    <a:pt x="1075" y="4665"/>
                  </a:lnTo>
                  <a:lnTo>
                    <a:pt x="1099" y="4201"/>
                  </a:lnTo>
                  <a:lnTo>
                    <a:pt x="1148" y="3737"/>
                  </a:lnTo>
                  <a:lnTo>
                    <a:pt x="1221" y="3322"/>
                  </a:lnTo>
                  <a:lnTo>
                    <a:pt x="1319" y="2931"/>
                  </a:lnTo>
                  <a:lnTo>
                    <a:pt x="1441" y="2589"/>
                  </a:lnTo>
                  <a:lnTo>
                    <a:pt x="1539" y="2345"/>
                  </a:lnTo>
                  <a:lnTo>
                    <a:pt x="1636" y="2174"/>
                  </a:lnTo>
                  <a:lnTo>
                    <a:pt x="1685" y="2149"/>
                  </a:lnTo>
                  <a:lnTo>
                    <a:pt x="1710" y="2149"/>
                  </a:lnTo>
                  <a:lnTo>
                    <a:pt x="1734" y="2247"/>
                  </a:lnTo>
                  <a:lnTo>
                    <a:pt x="1734" y="2516"/>
                  </a:lnTo>
                  <a:lnTo>
                    <a:pt x="1685" y="3493"/>
                  </a:lnTo>
                  <a:lnTo>
                    <a:pt x="1612" y="4836"/>
                  </a:lnTo>
                  <a:lnTo>
                    <a:pt x="1490" y="6374"/>
                  </a:lnTo>
                  <a:lnTo>
                    <a:pt x="1246" y="9256"/>
                  </a:lnTo>
                  <a:lnTo>
                    <a:pt x="1148" y="10551"/>
                  </a:lnTo>
                  <a:lnTo>
                    <a:pt x="1148" y="10697"/>
                  </a:lnTo>
                  <a:lnTo>
                    <a:pt x="1148" y="10844"/>
                  </a:lnTo>
                  <a:lnTo>
                    <a:pt x="1197" y="10966"/>
                  </a:lnTo>
                  <a:lnTo>
                    <a:pt x="1270" y="11088"/>
                  </a:lnTo>
                  <a:lnTo>
                    <a:pt x="1343" y="11186"/>
                  </a:lnTo>
                  <a:lnTo>
                    <a:pt x="1465" y="11284"/>
                  </a:lnTo>
                  <a:lnTo>
                    <a:pt x="1588" y="11357"/>
                  </a:lnTo>
                  <a:lnTo>
                    <a:pt x="1710" y="11381"/>
                  </a:lnTo>
                  <a:lnTo>
                    <a:pt x="1954" y="11381"/>
                  </a:lnTo>
                  <a:lnTo>
                    <a:pt x="2076" y="11357"/>
                  </a:lnTo>
                  <a:lnTo>
                    <a:pt x="2174" y="11284"/>
                  </a:lnTo>
                  <a:lnTo>
                    <a:pt x="2271" y="11210"/>
                  </a:lnTo>
                  <a:lnTo>
                    <a:pt x="2345" y="11137"/>
                  </a:lnTo>
                  <a:lnTo>
                    <a:pt x="2418" y="11039"/>
                  </a:lnTo>
                  <a:lnTo>
                    <a:pt x="2467" y="10917"/>
                  </a:lnTo>
                  <a:lnTo>
                    <a:pt x="2516" y="10795"/>
                  </a:lnTo>
                  <a:lnTo>
                    <a:pt x="3053" y="7034"/>
                  </a:lnTo>
                  <a:lnTo>
                    <a:pt x="3053" y="6985"/>
                  </a:lnTo>
                  <a:lnTo>
                    <a:pt x="3102" y="6887"/>
                  </a:lnTo>
                  <a:lnTo>
                    <a:pt x="3151" y="6839"/>
                  </a:lnTo>
                  <a:lnTo>
                    <a:pt x="3200" y="6790"/>
                  </a:lnTo>
                  <a:lnTo>
                    <a:pt x="3273" y="6765"/>
                  </a:lnTo>
                  <a:lnTo>
                    <a:pt x="3346" y="6741"/>
                  </a:lnTo>
                  <a:lnTo>
                    <a:pt x="3419" y="6765"/>
                  </a:lnTo>
                  <a:lnTo>
                    <a:pt x="3493" y="6790"/>
                  </a:lnTo>
                  <a:lnTo>
                    <a:pt x="3541" y="6839"/>
                  </a:lnTo>
                  <a:lnTo>
                    <a:pt x="3590" y="6887"/>
                  </a:lnTo>
                  <a:lnTo>
                    <a:pt x="3639" y="6985"/>
                  </a:lnTo>
                  <a:lnTo>
                    <a:pt x="3639" y="7034"/>
                  </a:lnTo>
                  <a:lnTo>
                    <a:pt x="4176" y="10795"/>
                  </a:lnTo>
                  <a:lnTo>
                    <a:pt x="4225" y="10917"/>
                  </a:lnTo>
                  <a:lnTo>
                    <a:pt x="4274" y="11039"/>
                  </a:lnTo>
                  <a:lnTo>
                    <a:pt x="4347" y="11137"/>
                  </a:lnTo>
                  <a:lnTo>
                    <a:pt x="4421" y="11210"/>
                  </a:lnTo>
                  <a:lnTo>
                    <a:pt x="4518" y="11284"/>
                  </a:lnTo>
                  <a:lnTo>
                    <a:pt x="4616" y="11357"/>
                  </a:lnTo>
                  <a:lnTo>
                    <a:pt x="4738" y="11381"/>
                  </a:lnTo>
                  <a:lnTo>
                    <a:pt x="4982" y="11381"/>
                  </a:lnTo>
                  <a:lnTo>
                    <a:pt x="5104" y="11357"/>
                  </a:lnTo>
                  <a:lnTo>
                    <a:pt x="5227" y="11284"/>
                  </a:lnTo>
                  <a:lnTo>
                    <a:pt x="5349" y="11186"/>
                  </a:lnTo>
                  <a:lnTo>
                    <a:pt x="5422" y="11088"/>
                  </a:lnTo>
                  <a:lnTo>
                    <a:pt x="5495" y="10966"/>
                  </a:lnTo>
                  <a:lnTo>
                    <a:pt x="5544" y="10844"/>
                  </a:lnTo>
                  <a:lnTo>
                    <a:pt x="5544" y="10697"/>
                  </a:lnTo>
                  <a:lnTo>
                    <a:pt x="5544" y="10551"/>
                  </a:lnTo>
                  <a:lnTo>
                    <a:pt x="5202" y="6399"/>
                  </a:lnTo>
                  <a:lnTo>
                    <a:pt x="5007" y="3517"/>
                  </a:lnTo>
                  <a:lnTo>
                    <a:pt x="4958" y="2540"/>
                  </a:lnTo>
                  <a:lnTo>
                    <a:pt x="4958" y="2247"/>
                  </a:lnTo>
                  <a:lnTo>
                    <a:pt x="4982" y="2149"/>
                  </a:lnTo>
                  <a:lnTo>
                    <a:pt x="5007" y="2149"/>
                  </a:lnTo>
                  <a:lnTo>
                    <a:pt x="5056" y="2174"/>
                  </a:lnTo>
                  <a:lnTo>
                    <a:pt x="5153" y="2320"/>
                  </a:lnTo>
                  <a:lnTo>
                    <a:pt x="5251" y="2564"/>
                  </a:lnTo>
                  <a:lnTo>
                    <a:pt x="5349" y="2906"/>
                  </a:lnTo>
                  <a:lnTo>
                    <a:pt x="5446" y="3297"/>
                  </a:lnTo>
                  <a:lnTo>
                    <a:pt x="5544" y="3737"/>
                  </a:lnTo>
                  <a:lnTo>
                    <a:pt x="5593" y="4201"/>
                  </a:lnTo>
                  <a:lnTo>
                    <a:pt x="5617" y="4665"/>
                  </a:lnTo>
                  <a:lnTo>
                    <a:pt x="5642" y="4787"/>
                  </a:lnTo>
                  <a:lnTo>
                    <a:pt x="5666" y="4909"/>
                  </a:lnTo>
                  <a:lnTo>
                    <a:pt x="5691" y="5007"/>
                  </a:lnTo>
                  <a:lnTo>
                    <a:pt x="5764" y="5104"/>
                  </a:lnTo>
                  <a:lnTo>
                    <a:pt x="5837" y="5178"/>
                  </a:lnTo>
                  <a:lnTo>
                    <a:pt x="5935" y="5251"/>
                  </a:lnTo>
                  <a:lnTo>
                    <a:pt x="6033" y="5275"/>
                  </a:lnTo>
                  <a:lnTo>
                    <a:pt x="6155" y="5300"/>
                  </a:lnTo>
                  <a:lnTo>
                    <a:pt x="6277" y="5275"/>
                  </a:lnTo>
                  <a:lnTo>
                    <a:pt x="6374" y="5251"/>
                  </a:lnTo>
                  <a:lnTo>
                    <a:pt x="6472" y="5178"/>
                  </a:lnTo>
                  <a:lnTo>
                    <a:pt x="6545" y="5104"/>
                  </a:lnTo>
                  <a:lnTo>
                    <a:pt x="6619" y="5007"/>
                  </a:lnTo>
                  <a:lnTo>
                    <a:pt x="6668" y="4909"/>
                  </a:lnTo>
                  <a:lnTo>
                    <a:pt x="6692" y="4787"/>
                  </a:lnTo>
                  <a:lnTo>
                    <a:pt x="6692" y="4665"/>
                  </a:lnTo>
                  <a:lnTo>
                    <a:pt x="6692" y="4103"/>
                  </a:lnTo>
                  <a:lnTo>
                    <a:pt x="6643" y="3566"/>
                  </a:lnTo>
                  <a:lnTo>
                    <a:pt x="6570" y="3077"/>
                  </a:lnTo>
                  <a:lnTo>
                    <a:pt x="6472" y="2638"/>
                  </a:lnTo>
                  <a:lnTo>
                    <a:pt x="6374" y="2223"/>
                  </a:lnTo>
                  <a:lnTo>
                    <a:pt x="6228" y="1832"/>
                  </a:lnTo>
                  <a:lnTo>
                    <a:pt x="6081" y="1490"/>
                  </a:lnTo>
                  <a:lnTo>
                    <a:pt x="5910" y="1172"/>
                  </a:lnTo>
                  <a:lnTo>
                    <a:pt x="5715" y="904"/>
                  </a:lnTo>
                  <a:lnTo>
                    <a:pt x="5520" y="659"/>
                  </a:lnTo>
                  <a:lnTo>
                    <a:pt x="5300" y="464"/>
                  </a:lnTo>
                  <a:lnTo>
                    <a:pt x="5056" y="293"/>
                  </a:lnTo>
                  <a:lnTo>
                    <a:pt x="4811" y="171"/>
                  </a:lnTo>
                  <a:lnTo>
                    <a:pt x="4567" y="73"/>
                  </a:lnTo>
                  <a:lnTo>
                    <a:pt x="4299" y="24"/>
                  </a:lnTo>
                  <a:lnTo>
                    <a:pt x="403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31" name="Shape 460"/>
            <p:cNvSpPr/>
            <p:nvPr/>
          </p:nvSpPr>
          <p:spPr>
            <a:xfrm>
              <a:off x="4798500" y="2329350"/>
              <a:ext cx="76950" cy="84275"/>
            </a:xfrm>
            <a:custGeom>
              <a:avLst/>
              <a:gdLst/>
              <a:ahLst/>
              <a:cxnLst/>
              <a:rect l="0" t="0" r="0" b="0"/>
              <a:pathLst>
                <a:path w="3078" h="3371" extrusionOk="0">
                  <a:moveTo>
                    <a:pt x="1539" y="0"/>
                  </a:moveTo>
                  <a:lnTo>
                    <a:pt x="1222" y="24"/>
                  </a:lnTo>
                  <a:lnTo>
                    <a:pt x="953" y="98"/>
                  </a:lnTo>
                  <a:lnTo>
                    <a:pt x="684" y="220"/>
                  </a:lnTo>
                  <a:lnTo>
                    <a:pt x="464" y="415"/>
                  </a:lnTo>
                  <a:lnTo>
                    <a:pt x="367" y="513"/>
                  </a:lnTo>
                  <a:lnTo>
                    <a:pt x="269" y="635"/>
                  </a:lnTo>
                  <a:lnTo>
                    <a:pt x="196" y="757"/>
                  </a:lnTo>
                  <a:lnTo>
                    <a:pt x="123" y="879"/>
                  </a:lnTo>
                  <a:lnTo>
                    <a:pt x="74" y="1026"/>
                  </a:lnTo>
                  <a:lnTo>
                    <a:pt x="49" y="1172"/>
                  </a:lnTo>
                  <a:lnTo>
                    <a:pt x="25" y="1343"/>
                  </a:lnTo>
                  <a:lnTo>
                    <a:pt x="0" y="1514"/>
                  </a:lnTo>
                  <a:lnTo>
                    <a:pt x="25" y="1685"/>
                  </a:lnTo>
                  <a:lnTo>
                    <a:pt x="49" y="1856"/>
                  </a:lnTo>
                  <a:lnTo>
                    <a:pt x="123" y="2198"/>
                  </a:lnTo>
                  <a:lnTo>
                    <a:pt x="269" y="2516"/>
                  </a:lnTo>
                  <a:lnTo>
                    <a:pt x="464" y="2784"/>
                  </a:lnTo>
                  <a:lnTo>
                    <a:pt x="562" y="2906"/>
                  </a:lnTo>
                  <a:lnTo>
                    <a:pt x="684" y="3029"/>
                  </a:lnTo>
                  <a:lnTo>
                    <a:pt x="806" y="3126"/>
                  </a:lnTo>
                  <a:lnTo>
                    <a:pt x="953" y="3199"/>
                  </a:lnTo>
                  <a:lnTo>
                    <a:pt x="1075" y="3273"/>
                  </a:lnTo>
                  <a:lnTo>
                    <a:pt x="1222" y="3322"/>
                  </a:lnTo>
                  <a:lnTo>
                    <a:pt x="1393" y="3346"/>
                  </a:lnTo>
                  <a:lnTo>
                    <a:pt x="1539" y="3370"/>
                  </a:lnTo>
                  <a:lnTo>
                    <a:pt x="1686" y="3346"/>
                  </a:lnTo>
                  <a:lnTo>
                    <a:pt x="1857" y="3322"/>
                  </a:lnTo>
                  <a:lnTo>
                    <a:pt x="2003" y="3273"/>
                  </a:lnTo>
                  <a:lnTo>
                    <a:pt x="2125" y="3199"/>
                  </a:lnTo>
                  <a:lnTo>
                    <a:pt x="2272" y="3126"/>
                  </a:lnTo>
                  <a:lnTo>
                    <a:pt x="2394" y="3029"/>
                  </a:lnTo>
                  <a:lnTo>
                    <a:pt x="2516" y="2906"/>
                  </a:lnTo>
                  <a:lnTo>
                    <a:pt x="2614" y="2784"/>
                  </a:lnTo>
                  <a:lnTo>
                    <a:pt x="2809" y="2516"/>
                  </a:lnTo>
                  <a:lnTo>
                    <a:pt x="2956" y="2198"/>
                  </a:lnTo>
                  <a:lnTo>
                    <a:pt x="3029" y="1856"/>
                  </a:lnTo>
                  <a:lnTo>
                    <a:pt x="3053" y="1685"/>
                  </a:lnTo>
                  <a:lnTo>
                    <a:pt x="3078" y="1514"/>
                  </a:lnTo>
                  <a:lnTo>
                    <a:pt x="3053" y="1343"/>
                  </a:lnTo>
                  <a:lnTo>
                    <a:pt x="3029" y="1172"/>
                  </a:lnTo>
                  <a:lnTo>
                    <a:pt x="3004" y="1026"/>
                  </a:lnTo>
                  <a:lnTo>
                    <a:pt x="2956" y="879"/>
                  </a:lnTo>
                  <a:lnTo>
                    <a:pt x="2882" y="757"/>
                  </a:lnTo>
                  <a:lnTo>
                    <a:pt x="2809" y="635"/>
                  </a:lnTo>
                  <a:lnTo>
                    <a:pt x="2711" y="513"/>
                  </a:lnTo>
                  <a:lnTo>
                    <a:pt x="2614" y="415"/>
                  </a:lnTo>
                  <a:lnTo>
                    <a:pt x="2394" y="220"/>
                  </a:lnTo>
                  <a:lnTo>
                    <a:pt x="2125" y="98"/>
                  </a:lnTo>
                  <a:lnTo>
                    <a:pt x="1857" y="24"/>
                  </a:lnTo>
                  <a:lnTo>
                    <a:pt x="153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32" name="Shape 461"/>
          <p:cNvGrpSpPr/>
          <p:nvPr/>
        </p:nvGrpSpPr>
        <p:grpSpPr>
          <a:xfrm>
            <a:off x="5367999" y="3277081"/>
            <a:ext cx="132446" cy="385141"/>
            <a:chOff x="4076175" y="2267050"/>
            <a:chExt cx="173450" cy="504375"/>
          </a:xfrm>
        </p:grpSpPr>
        <p:sp>
          <p:nvSpPr>
            <p:cNvPr id="133" name="Shape 462"/>
            <p:cNvSpPr/>
            <p:nvPr/>
          </p:nvSpPr>
          <p:spPr>
            <a:xfrm>
              <a:off x="4122600" y="2267050"/>
              <a:ext cx="80600" cy="91625"/>
            </a:xfrm>
            <a:custGeom>
              <a:avLst/>
              <a:gdLst/>
              <a:ahLst/>
              <a:cxnLst/>
              <a:rect l="0" t="0" r="0" b="0"/>
              <a:pathLst>
                <a:path w="3224" h="3665" extrusionOk="0">
                  <a:moveTo>
                    <a:pt x="1441" y="1"/>
                  </a:moveTo>
                  <a:lnTo>
                    <a:pt x="1295" y="25"/>
                  </a:lnTo>
                  <a:lnTo>
                    <a:pt x="1124" y="74"/>
                  </a:lnTo>
                  <a:lnTo>
                    <a:pt x="977" y="123"/>
                  </a:lnTo>
                  <a:lnTo>
                    <a:pt x="855" y="172"/>
                  </a:lnTo>
                  <a:lnTo>
                    <a:pt x="708" y="245"/>
                  </a:lnTo>
                  <a:lnTo>
                    <a:pt x="586" y="343"/>
                  </a:lnTo>
                  <a:lnTo>
                    <a:pt x="464" y="441"/>
                  </a:lnTo>
                  <a:lnTo>
                    <a:pt x="366" y="563"/>
                  </a:lnTo>
                  <a:lnTo>
                    <a:pt x="269" y="685"/>
                  </a:lnTo>
                  <a:lnTo>
                    <a:pt x="195" y="831"/>
                  </a:lnTo>
                  <a:lnTo>
                    <a:pt x="122" y="978"/>
                  </a:lnTo>
                  <a:lnTo>
                    <a:pt x="73" y="1124"/>
                  </a:lnTo>
                  <a:lnTo>
                    <a:pt x="25" y="1295"/>
                  </a:lnTo>
                  <a:lnTo>
                    <a:pt x="0" y="1466"/>
                  </a:lnTo>
                  <a:lnTo>
                    <a:pt x="0" y="1662"/>
                  </a:lnTo>
                  <a:lnTo>
                    <a:pt x="0" y="1833"/>
                  </a:lnTo>
                  <a:lnTo>
                    <a:pt x="25" y="2028"/>
                  </a:lnTo>
                  <a:lnTo>
                    <a:pt x="73" y="2223"/>
                  </a:lnTo>
                  <a:lnTo>
                    <a:pt x="122" y="2394"/>
                  </a:lnTo>
                  <a:lnTo>
                    <a:pt x="195" y="2565"/>
                  </a:lnTo>
                  <a:lnTo>
                    <a:pt x="269" y="2736"/>
                  </a:lnTo>
                  <a:lnTo>
                    <a:pt x="366" y="2883"/>
                  </a:lnTo>
                  <a:lnTo>
                    <a:pt x="464" y="3029"/>
                  </a:lnTo>
                  <a:lnTo>
                    <a:pt x="586" y="3176"/>
                  </a:lnTo>
                  <a:lnTo>
                    <a:pt x="708" y="3298"/>
                  </a:lnTo>
                  <a:lnTo>
                    <a:pt x="855" y="3396"/>
                  </a:lnTo>
                  <a:lnTo>
                    <a:pt x="977" y="3493"/>
                  </a:lnTo>
                  <a:lnTo>
                    <a:pt x="1124" y="3567"/>
                  </a:lnTo>
                  <a:lnTo>
                    <a:pt x="1295" y="3616"/>
                  </a:lnTo>
                  <a:lnTo>
                    <a:pt x="1441" y="3640"/>
                  </a:lnTo>
                  <a:lnTo>
                    <a:pt x="1612" y="3664"/>
                  </a:lnTo>
                  <a:lnTo>
                    <a:pt x="1783" y="3640"/>
                  </a:lnTo>
                  <a:lnTo>
                    <a:pt x="1930" y="3616"/>
                  </a:lnTo>
                  <a:lnTo>
                    <a:pt x="2100" y="3567"/>
                  </a:lnTo>
                  <a:lnTo>
                    <a:pt x="2247" y="3493"/>
                  </a:lnTo>
                  <a:lnTo>
                    <a:pt x="2369" y="3396"/>
                  </a:lnTo>
                  <a:lnTo>
                    <a:pt x="2516" y="3298"/>
                  </a:lnTo>
                  <a:lnTo>
                    <a:pt x="2638" y="3176"/>
                  </a:lnTo>
                  <a:lnTo>
                    <a:pt x="2760" y="3029"/>
                  </a:lnTo>
                  <a:lnTo>
                    <a:pt x="2858" y="2883"/>
                  </a:lnTo>
                  <a:lnTo>
                    <a:pt x="2955" y="2736"/>
                  </a:lnTo>
                  <a:lnTo>
                    <a:pt x="3029" y="2565"/>
                  </a:lnTo>
                  <a:lnTo>
                    <a:pt x="3102" y="2394"/>
                  </a:lnTo>
                  <a:lnTo>
                    <a:pt x="3151" y="2223"/>
                  </a:lnTo>
                  <a:lnTo>
                    <a:pt x="3200" y="2028"/>
                  </a:lnTo>
                  <a:lnTo>
                    <a:pt x="3224" y="1833"/>
                  </a:lnTo>
                  <a:lnTo>
                    <a:pt x="3224" y="1662"/>
                  </a:lnTo>
                  <a:lnTo>
                    <a:pt x="3224" y="1466"/>
                  </a:lnTo>
                  <a:lnTo>
                    <a:pt x="3200" y="1295"/>
                  </a:lnTo>
                  <a:lnTo>
                    <a:pt x="3151" y="1124"/>
                  </a:lnTo>
                  <a:lnTo>
                    <a:pt x="3102" y="978"/>
                  </a:lnTo>
                  <a:lnTo>
                    <a:pt x="3029" y="831"/>
                  </a:lnTo>
                  <a:lnTo>
                    <a:pt x="2955" y="685"/>
                  </a:lnTo>
                  <a:lnTo>
                    <a:pt x="2858" y="563"/>
                  </a:lnTo>
                  <a:lnTo>
                    <a:pt x="2760" y="441"/>
                  </a:lnTo>
                  <a:lnTo>
                    <a:pt x="2638" y="343"/>
                  </a:lnTo>
                  <a:lnTo>
                    <a:pt x="2516" y="245"/>
                  </a:lnTo>
                  <a:lnTo>
                    <a:pt x="2369" y="172"/>
                  </a:lnTo>
                  <a:lnTo>
                    <a:pt x="2247" y="123"/>
                  </a:lnTo>
                  <a:lnTo>
                    <a:pt x="2100" y="74"/>
                  </a:lnTo>
                  <a:lnTo>
                    <a:pt x="1930" y="25"/>
                  </a:lnTo>
                  <a:lnTo>
                    <a:pt x="178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34" name="Shape 463"/>
            <p:cNvSpPr/>
            <p:nvPr/>
          </p:nvSpPr>
          <p:spPr>
            <a:xfrm>
              <a:off x="4076175" y="2370250"/>
              <a:ext cx="173450" cy="401175"/>
            </a:xfrm>
            <a:custGeom>
              <a:avLst/>
              <a:gdLst/>
              <a:ahLst/>
              <a:cxnLst/>
              <a:rect l="0" t="0" r="0" b="0"/>
              <a:pathLst>
                <a:path w="6938" h="16047" extrusionOk="0">
                  <a:moveTo>
                    <a:pt x="2736" y="0"/>
                  </a:moveTo>
                  <a:lnTo>
                    <a:pt x="2541" y="49"/>
                  </a:lnTo>
                  <a:lnTo>
                    <a:pt x="2346" y="123"/>
                  </a:lnTo>
                  <a:lnTo>
                    <a:pt x="2175" y="196"/>
                  </a:lnTo>
                  <a:lnTo>
                    <a:pt x="2028" y="293"/>
                  </a:lnTo>
                  <a:lnTo>
                    <a:pt x="1711" y="489"/>
                  </a:lnTo>
                  <a:lnTo>
                    <a:pt x="1442" y="758"/>
                  </a:lnTo>
                  <a:lnTo>
                    <a:pt x="1173" y="1075"/>
                  </a:lnTo>
                  <a:lnTo>
                    <a:pt x="953" y="1417"/>
                  </a:lnTo>
                  <a:lnTo>
                    <a:pt x="758" y="1808"/>
                  </a:lnTo>
                  <a:lnTo>
                    <a:pt x="587" y="2223"/>
                  </a:lnTo>
                  <a:lnTo>
                    <a:pt x="441" y="2711"/>
                  </a:lnTo>
                  <a:lnTo>
                    <a:pt x="318" y="3200"/>
                  </a:lnTo>
                  <a:lnTo>
                    <a:pt x="221" y="3737"/>
                  </a:lnTo>
                  <a:lnTo>
                    <a:pt x="147" y="4323"/>
                  </a:lnTo>
                  <a:lnTo>
                    <a:pt x="74" y="4909"/>
                  </a:lnTo>
                  <a:lnTo>
                    <a:pt x="25" y="5544"/>
                  </a:lnTo>
                  <a:lnTo>
                    <a:pt x="1" y="6204"/>
                  </a:lnTo>
                  <a:lnTo>
                    <a:pt x="1" y="6888"/>
                  </a:lnTo>
                  <a:lnTo>
                    <a:pt x="25" y="7034"/>
                  </a:lnTo>
                  <a:lnTo>
                    <a:pt x="50" y="7181"/>
                  </a:lnTo>
                  <a:lnTo>
                    <a:pt x="99" y="7327"/>
                  </a:lnTo>
                  <a:lnTo>
                    <a:pt x="172" y="7425"/>
                  </a:lnTo>
                  <a:lnTo>
                    <a:pt x="245" y="7523"/>
                  </a:lnTo>
                  <a:lnTo>
                    <a:pt x="318" y="7596"/>
                  </a:lnTo>
                  <a:lnTo>
                    <a:pt x="416" y="7645"/>
                  </a:lnTo>
                  <a:lnTo>
                    <a:pt x="636" y="7645"/>
                  </a:lnTo>
                  <a:lnTo>
                    <a:pt x="734" y="7596"/>
                  </a:lnTo>
                  <a:lnTo>
                    <a:pt x="807" y="7523"/>
                  </a:lnTo>
                  <a:lnTo>
                    <a:pt x="880" y="7425"/>
                  </a:lnTo>
                  <a:lnTo>
                    <a:pt x="929" y="7327"/>
                  </a:lnTo>
                  <a:lnTo>
                    <a:pt x="953" y="7181"/>
                  </a:lnTo>
                  <a:lnTo>
                    <a:pt x="978" y="6888"/>
                  </a:lnTo>
                  <a:lnTo>
                    <a:pt x="1002" y="6521"/>
                  </a:lnTo>
                  <a:lnTo>
                    <a:pt x="1027" y="6106"/>
                  </a:lnTo>
                  <a:lnTo>
                    <a:pt x="1149" y="5105"/>
                  </a:lnTo>
                  <a:lnTo>
                    <a:pt x="1295" y="4103"/>
                  </a:lnTo>
                  <a:lnTo>
                    <a:pt x="1369" y="3664"/>
                  </a:lnTo>
                  <a:lnTo>
                    <a:pt x="1466" y="3298"/>
                  </a:lnTo>
                  <a:lnTo>
                    <a:pt x="1417" y="3102"/>
                  </a:lnTo>
                  <a:lnTo>
                    <a:pt x="1393" y="2907"/>
                  </a:lnTo>
                  <a:lnTo>
                    <a:pt x="1393" y="2711"/>
                  </a:lnTo>
                  <a:lnTo>
                    <a:pt x="1417" y="2540"/>
                  </a:lnTo>
                  <a:lnTo>
                    <a:pt x="1442" y="2394"/>
                  </a:lnTo>
                  <a:lnTo>
                    <a:pt x="1515" y="2247"/>
                  </a:lnTo>
                  <a:lnTo>
                    <a:pt x="1588" y="2125"/>
                  </a:lnTo>
                  <a:lnTo>
                    <a:pt x="1662" y="2052"/>
                  </a:lnTo>
                  <a:lnTo>
                    <a:pt x="1588" y="2150"/>
                  </a:lnTo>
                  <a:lnTo>
                    <a:pt x="1540" y="2296"/>
                  </a:lnTo>
                  <a:lnTo>
                    <a:pt x="1491" y="2492"/>
                  </a:lnTo>
                  <a:lnTo>
                    <a:pt x="1491" y="2687"/>
                  </a:lnTo>
                  <a:lnTo>
                    <a:pt x="1515" y="2882"/>
                  </a:lnTo>
                  <a:lnTo>
                    <a:pt x="1564" y="3078"/>
                  </a:lnTo>
                  <a:lnTo>
                    <a:pt x="1613" y="3175"/>
                  </a:lnTo>
                  <a:lnTo>
                    <a:pt x="1686" y="3273"/>
                  </a:lnTo>
                  <a:lnTo>
                    <a:pt x="1759" y="3346"/>
                  </a:lnTo>
                  <a:lnTo>
                    <a:pt x="1857" y="3420"/>
                  </a:lnTo>
                  <a:lnTo>
                    <a:pt x="1906" y="3786"/>
                  </a:lnTo>
                  <a:lnTo>
                    <a:pt x="1930" y="3981"/>
                  </a:lnTo>
                  <a:lnTo>
                    <a:pt x="1955" y="4201"/>
                  </a:lnTo>
                  <a:lnTo>
                    <a:pt x="1930" y="4445"/>
                  </a:lnTo>
                  <a:lnTo>
                    <a:pt x="1906" y="4738"/>
                  </a:lnTo>
                  <a:lnTo>
                    <a:pt x="1833" y="5032"/>
                  </a:lnTo>
                  <a:lnTo>
                    <a:pt x="1711" y="5398"/>
                  </a:lnTo>
                  <a:lnTo>
                    <a:pt x="1515" y="5911"/>
                  </a:lnTo>
                  <a:lnTo>
                    <a:pt x="1369" y="6399"/>
                  </a:lnTo>
                  <a:lnTo>
                    <a:pt x="1271" y="6839"/>
                  </a:lnTo>
                  <a:lnTo>
                    <a:pt x="1222" y="7230"/>
                  </a:lnTo>
                  <a:lnTo>
                    <a:pt x="1173" y="7620"/>
                  </a:lnTo>
                  <a:lnTo>
                    <a:pt x="1173" y="8011"/>
                  </a:lnTo>
                  <a:lnTo>
                    <a:pt x="1198" y="8817"/>
                  </a:lnTo>
                  <a:lnTo>
                    <a:pt x="1247" y="9989"/>
                  </a:lnTo>
                  <a:lnTo>
                    <a:pt x="1295" y="11162"/>
                  </a:lnTo>
                  <a:lnTo>
                    <a:pt x="1320" y="13238"/>
                  </a:lnTo>
                  <a:lnTo>
                    <a:pt x="1344" y="14728"/>
                  </a:lnTo>
                  <a:lnTo>
                    <a:pt x="1344" y="15314"/>
                  </a:lnTo>
                  <a:lnTo>
                    <a:pt x="1369" y="15533"/>
                  </a:lnTo>
                  <a:lnTo>
                    <a:pt x="1417" y="15704"/>
                  </a:lnTo>
                  <a:lnTo>
                    <a:pt x="1491" y="15827"/>
                  </a:lnTo>
                  <a:lnTo>
                    <a:pt x="1588" y="15924"/>
                  </a:lnTo>
                  <a:lnTo>
                    <a:pt x="1662" y="15998"/>
                  </a:lnTo>
                  <a:lnTo>
                    <a:pt x="1735" y="16022"/>
                  </a:lnTo>
                  <a:lnTo>
                    <a:pt x="1833" y="16046"/>
                  </a:lnTo>
                  <a:lnTo>
                    <a:pt x="1955" y="16046"/>
                  </a:lnTo>
                  <a:lnTo>
                    <a:pt x="2077" y="15998"/>
                  </a:lnTo>
                  <a:lnTo>
                    <a:pt x="2175" y="15949"/>
                  </a:lnTo>
                  <a:lnTo>
                    <a:pt x="2248" y="15875"/>
                  </a:lnTo>
                  <a:lnTo>
                    <a:pt x="2321" y="15802"/>
                  </a:lnTo>
                  <a:lnTo>
                    <a:pt x="2394" y="15680"/>
                  </a:lnTo>
                  <a:lnTo>
                    <a:pt x="2419" y="15533"/>
                  </a:lnTo>
                  <a:lnTo>
                    <a:pt x="2468" y="15387"/>
                  </a:lnTo>
                  <a:lnTo>
                    <a:pt x="3152" y="8548"/>
                  </a:lnTo>
                  <a:lnTo>
                    <a:pt x="3152" y="8451"/>
                  </a:lnTo>
                  <a:lnTo>
                    <a:pt x="3200" y="8280"/>
                  </a:lnTo>
                  <a:lnTo>
                    <a:pt x="3249" y="8182"/>
                  </a:lnTo>
                  <a:lnTo>
                    <a:pt x="3298" y="8084"/>
                  </a:lnTo>
                  <a:lnTo>
                    <a:pt x="3371" y="8011"/>
                  </a:lnTo>
                  <a:lnTo>
                    <a:pt x="3469" y="7987"/>
                  </a:lnTo>
                  <a:lnTo>
                    <a:pt x="3567" y="8011"/>
                  </a:lnTo>
                  <a:lnTo>
                    <a:pt x="3640" y="8084"/>
                  </a:lnTo>
                  <a:lnTo>
                    <a:pt x="3689" y="8182"/>
                  </a:lnTo>
                  <a:lnTo>
                    <a:pt x="3738" y="8280"/>
                  </a:lnTo>
                  <a:lnTo>
                    <a:pt x="3787" y="8451"/>
                  </a:lnTo>
                  <a:lnTo>
                    <a:pt x="3787" y="8548"/>
                  </a:lnTo>
                  <a:lnTo>
                    <a:pt x="4470" y="15387"/>
                  </a:lnTo>
                  <a:lnTo>
                    <a:pt x="4519" y="15533"/>
                  </a:lnTo>
                  <a:lnTo>
                    <a:pt x="4544" y="15680"/>
                  </a:lnTo>
                  <a:lnTo>
                    <a:pt x="4617" y="15802"/>
                  </a:lnTo>
                  <a:lnTo>
                    <a:pt x="4690" y="15875"/>
                  </a:lnTo>
                  <a:lnTo>
                    <a:pt x="4763" y="15949"/>
                  </a:lnTo>
                  <a:lnTo>
                    <a:pt x="4861" y="15998"/>
                  </a:lnTo>
                  <a:lnTo>
                    <a:pt x="4983" y="16046"/>
                  </a:lnTo>
                  <a:lnTo>
                    <a:pt x="5105" y="16046"/>
                  </a:lnTo>
                  <a:lnTo>
                    <a:pt x="5203" y="16022"/>
                  </a:lnTo>
                  <a:lnTo>
                    <a:pt x="5276" y="15998"/>
                  </a:lnTo>
                  <a:lnTo>
                    <a:pt x="5350" y="15924"/>
                  </a:lnTo>
                  <a:lnTo>
                    <a:pt x="5447" y="15827"/>
                  </a:lnTo>
                  <a:lnTo>
                    <a:pt x="5521" y="15704"/>
                  </a:lnTo>
                  <a:lnTo>
                    <a:pt x="5569" y="15533"/>
                  </a:lnTo>
                  <a:lnTo>
                    <a:pt x="5594" y="15314"/>
                  </a:lnTo>
                  <a:lnTo>
                    <a:pt x="5594" y="14728"/>
                  </a:lnTo>
                  <a:lnTo>
                    <a:pt x="5618" y="13238"/>
                  </a:lnTo>
                  <a:lnTo>
                    <a:pt x="5643" y="11162"/>
                  </a:lnTo>
                  <a:lnTo>
                    <a:pt x="5692" y="9989"/>
                  </a:lnTo>
                  <a:lnTo>
                    <a:pt x="5740" y="8817"/>
                  </a:lnTo>
                  <a:lnTo>
                    <a:pt x="5765" y="8011"/>
                  </a:lnTo>
                  <a:lnTo>
                    <a:pt x="5765" y="7620"/>
                  </a:lnTo>
                  <a:lnTo>
                    <a:pt x="5716" y="7230"/>
                  </a:lnTo>
                  <a:lnTo>
                    <a:pt x="5667" y="6839"/>
                  </a:lnTo>
                  <a:lnTo>
                    <a:pt x="5569" y="6399"/>
                  </a:lnTo>
                  <a:lnTo>
                    <a:pt x="5423" y="5911"/>
                  </a:lnTo>
                  <a:lnTo>
                    <a:pt x="5227" y="5398"/>
                  </a:lnTo>
                  <a:lnTo>
                    <a:pt x="5105" y="5032"/>
                  </a:lnTo>
                  <a:lnTo>
                    <a:pt x="5032" y="4738"/>
                  </a:lnTo>
                  <a:lnTo>
                    <a:pt x="5008" y="4445"/>
                  </a:lnTo>
                  <a:lnTo>
                    <a:pt x="4983" y="4201"/>
                  </a:lnTo>
                  <a:lnTo>
                    <a:pt x="5008" y="3981"/>
                  </a:lnTo>
                  <a:lnTo>
                    <a:pt x="5032" y="3786"/>
                  </a:lnTo>
                  <a:lnTo>
                    <a:pt x="5081" y="3420"/>
                  </a:lnTo>
                  <a:lnTo>
                    <a:pt x="5179" y="3346"/>
                  </a:lnTo>
                  <a:lnTo>
                    <a:pt x="5252" y="3273"/>
                  </a:lnTo>
                  <a:lnTo>
                    <a:pt x="5325" y="3175"/>
                  </a:lnTo>
                  <a:lnTo>
                    <a:pt x="5374" y="3078"/>
                  </a:lnTo>
                  <a:lnTo>
                    <a:pt x="5423" y="2882"/>
                  </a:lnTo>
                  <a:lnTo>
                    <a:pt x="5447" y="2687"/>
                  </a:lnTo>
                  <a:lnTo>
                    <a:pt x="5447" y="2492"/>
                  </a:lnTo>
                  <a:lnTo>
                    <a:pt x="5398" y="2296"/>
                  </a:lnTo>
                  <a:lnTo>
                    <a:pt x="5350" y="2150"/>
                  </a:lnTo>
                  <a:lnTo>
                    <a:pt x="5276" y="2052"/>
                  </a:lnTo>
                  <a:lnTo>
                    <a:pt x="5350" y="2125"/>
                  </a:lnTo>
                  <a:lnTo>
                    <a:pt x="5423" y="2247"/>
                  </a:lnTo>
                  <a:lnTo>
                    <a:pt x="5496" y="2394"/>
                  </a:lnTo>
                  <a:lnTo>
                    <a:pt x="5521" y="2540"/>
                  </a:lnTo>
                  <a:lnTo>
                    <a:pt x="5545" y="2711"/>
                  </a:lnTo>
                  <a:lnTo>
                    <a:pt x="5545" y="2907"/>
                  </a:lnTo>
                  <a:lnTo>
                    <a:pt x="5521" y="3102"/>
                  </a:lnTo>
                  <a:lnTo>
                    <a:pt x="5472" y="3298"/>
                  </a:lnTo>
                  <a:lnTo>
                    <a:pt x="5569" y="3664"/>
                  </a:lnTo>
                  <a:lnTo>
                    <a:pt x="5643" y="4103"/>
                  </a:lnTo>
                  <a:lnTo>
                    <a:pt x="5789" y="5105"/>
                  </a:lnTo>
                  <a:lnTo>
                    <a:pt x="5911" y="6106"/>
                  </a:lnTo>
                  <a:lnTo>
                    <a:pt x="5936" y="6521"/>
                  </a:lnTo>
                  <a:lnTo>
                    <a:pt x="5960" y="6888"/>
                  </a:lnTo>
                  <a:lnTo>
                    <a:pt x="5985" y="7181"/>
                  </a:lnTo>
                  <a:lnTo>
                    <a:pt x="6009" y="7327"/>
                  </a:lnTo>
                  <a:lnTo>
                    <a:pt x="6058" y="7425"/>
                  </a:lnTo>
                  <a:lnTo>
                    <a:pt x="6131" y="7523"/>
                  </a:lnTo>
                  <a:lnTo>
                    <a:pt x="6204" y="7596"/>
                  </a:lnTo>
                  <a:lnTo>
                    <a:pt x="6302" y="7645"/>
                  </a:lnTo>
                  <a:lnTo>
                    <a:pt x="6522" y="7645"/>
                  </a:lnTo>
                  <a:lnTo>
                    <a:pt x="6620" y="7596"/>
                  </a:lnTo>
                  <a:lnTo>
                    <a:pt x="6693" y="7523"/>
                  </a:lnTo>
                  <a:lnTo>
                    <a:pt x="6766" y="7425"/>
                  </a:lnTo>
                  <a:lnTo>
                    <a:pt x="6839" y="7327"/>
                  </a:lnTo>
                  <a:lnTo>
                    <a:pt x="6888" y="7181"/>
                  </a:lnTo>
                  <a:lnTo>
                    <a:pt x="6913" y="7034"/>
                  </a:lnTo>
                  <a:lnTo>
                    <a:pt x="6937" y="6888"/>
                  </a:lnTo>
                  <a:lnTo>
                    <a:pt x="6937" y="6204"/>
                  </a:lnTo>
                  <a:lnTo>
                    <a:pt x="6913" y="5544"/>
                  </a:lnTo>
                  <a:lnTo>
                    <a:pt x="6864" y="4909"/>
                  </a:lnTo>
                  <a:lnTo>
                    <a:pt x="6791" y="4323"/>
                  </a:lnTo>
                  <a:lnTo>
                    <a:pt x="6717" y="3737"/>
                  </a:lnTo>
                  <a:lnTo>
                    <a:pt x="6620" y="3200"/>
                  </a:lnTo>
                  <a:lnTo>
                    <a:pt x="6497" y="2711"/>
                  </a:lnTo>
                  <a:lnTo>
                    <a:pt x="6351" y="2223"/>
                  </a:lnTo>
                  <a:lnTo>
                    <a:pt x="6180" y="1808"/>
                  </a:lnTo>
                  <a:lnTo>
                    <a:pt x="5985" y="1417"/>
                  </a:lnTo>
                  <a:lnTo>
                    <a:pt x="5765" y="1075"/>
                  </a:lnTo>
                  <a:lnTo>
                    <a:pt x="5496" y="758"/>
                  </a:lnTo>
                  <a:lnTo>
                    <a:pt x="5227" y="489"/>
                  </a:lnTo>
                  <a:lnTo>
                    <a:pt x="4910" y="293"/>
                  </a:lnTo>
                  <a:lnTo>
                    <a:pt x="4763" y="196"/>
                  </a:lnTo>
                  <a:lnTo>
                    <a:pt x="4592" y="123"/>
                  </a:lnTo>
                  <a:lnTo>
                    <a:pt x="4397" y="49"/>
                  </a:lnTo>
                  <a:lnTo>
                    <a:pt x="4202" y="0"/>
                  </a:lnTo>
                  <a:lnTo>
                    <a:pt x="4031" y="98"/>
                  </a:lnTo>
                  <a:lnTo>
                    <a:pt x="3860" y="147"/>
                  </a:lnTo>
                  <a:lnTo>
                    <a:pt x="3664" y="196"/>
                  </a:lnTo>
                  <a:lnTo>
                    <a:pt x="3469" y="220"/>
                  </a:lnTo>
                  <a:lnTo>
                    <a:pt x="3274" y="196"/>
                  </a:lnTo>
                  <a:lnTo>
                    <a:pt x="3078" y="147"/>
                  </a:lnTo>
                  <a:lnTo>
                    <a:pt x="2907" y="98"/>
                  </a:lnTo>
                  <a:lnTo>
                    <a:pt x="273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135" name="Shape 464"/>
          <p:cNvSpPr/>
          <p:nvPr/>
        </p:nvSpPr>
        <p:spPr>
          <a:xfrm>
            <a:off x="6318133" y="3317823"/>
            <a:ext cx="291886" cy="307731"/>
          </a:xfrm>
          <a:custGeom>
            <a:avLst/>
            <a:gdLst/>
            <a:ahLst/>
            <a:cxnLst/>
            <a:rect l="0" t="0" r="0" b="0"/>
            <a:pathLst>
              <a:path w="15290" h="16120" extrusionOk="0">
                <a:moveTo>
                  <a:pt x="7645" y="1"/>
                </a:moveTo>
                <a:lnTo>
                  <a:pt x="7303" y="25"/>
                </a:lnTo>
                <a:lnTo>
                  <a:pt x="7010" y="98"/>
                </a:lnTo>
                <a:lnTo>
                  <a:pt x="6766" y="172"/>
                </a:lnTo>
                <a:lnTo>
                  <a:pt x="6546" y="294"/>
                </a:lnTo>
                <a:lnTo>
                  <a:pt x="6351" y="391"/>
                </a:lnTo>
                <a:lnTo>
                  <a:pt x="6204" y="538"/>
                </a:lnTo>
                <a:lnTo>
                  <a:pt x="6058" y="660"/>
                </a:lnTo>
                <a:lnTo>
                  <a:pt x="5960" y="782"/>
                </a:lnTo>
                <a:lnTo>
                  <a:pt x="5569" y="856"/>
                </a:lnTo>
                <a:lnTo>
                  <a:pt x="5203" y="978"/>
                </a:lnTo>
                <a:lnTo>
                  <a:pt x="4885" y="1149"/>
                </a:lnTo>
                <a:lnTo>
                  <a:pt x="4617" y="1320"/>
                </a:lnTo>
                <a:lnTo>
                  <a:pt x="4372" y="1539"/>
                </a:lnTo>
                <a:lnTo>
                  <a:pt x="4177" y="1759"/>
                </a:lnTo>
                <a:lnTo>
                  <a:pt x="4030" y="2028"/>
                </a:lnTo>
                <a:lnTo>
                  <a:pt x="3908" y="2296"/>
                </a:lnTo>
                <a:lnTo>
                  <a:pt x="3811" y="2565"/>
                </a:lnTo>
                <a:lnTo>
                  <a:pt x="3737" y="2834"/>
                </a:lnTo>
                <a:lnTo>
                  <a:pt x="3689" y="3127"/>
                </a:lnTo>
                <a:lnTo>
                  <a:pt x="3640" y="3420"/>
                </a:lnTo>
                <a:lnTo>
                  <a:pt x="3640" y="3713"/>
                </a:lnTo>
                <a:lnTo>
                  <a:pt x="3640" y="3982"/>
                </a:lnTo>
                <a:lnTo>
                  <a:pt x="3689" y="4495"/>
                </a:lnTo>
                <a:lnTo>
                  <a:pt x="3689" y="4519"/>
                </a:lnTo>
                <a:lnTo>
                  <a:pt x="3566" y="4568"/>
                </a:lnTo>
                <a:lnTo>
                  <a:pt x="3469" y="4666"/>
                </a:lnTo>
                <a:lnTo>
                  <a:pt x="3395" y="4812"/>
                </a:lnTo>
                <a:lnTo>
                  <a:pt x="3322" y="4983"/>
                </a:lnTo>
                <a:lnTo>
                  <a:pt x="3273" y="5178"/>
                </a:lnTo>
                <a:lnTo>
                  <a:pt x="3249" y="5398"/>
                </a:lnTo>
                <a:lnTo>
                  <a:pt x="3224" y="5642"/>
                </a:lnTo>
                <a:lnTo>
                  <a:pt x="3249" y="5887"/>
                </a:lnTo>
                <a:lnTo>
                  <a:pt x="3298" y="6155"/>
                </a:lnTo>
                <a:lnTo>
                  <a:pt x="3347" y="6400"/>
                </a:lnTo>
                <a:lnTo>
                  <a:pt x="3444" y="6619"/>
                </a:lnTo>
                <a:lnTo>
                  <a:pt x="3542" y="6790"/>
                </a:lnTo>
                <a:lnTo>
                  <a:pt x="3640" y="6961"/>
                </a:lnTo>
                <a:lnTo>
                  <a:pt x="3762" y="7059"/>
                </a:lnTo>
                <a:lnTo>
                  <a:pt x="3884" y="7132"/>
                </a:lnTo>
                <a:lnTo>
                  <a:pt x="4030" y="7132"/>
                </a:lnTo>
                <a:lnTo>
                  <a:pt x="4104" y="7108"/>
                </a:lnTo>
                <a:lnTo>
                  <a:pt x="4275" y="7523"/>
                </a:lnTo>
                <a:lnTo>
                  <a:pt x="4494" y="7889"/>
                </a:lnTo>
                <a:lnTo>
                  <a:pt x="4714" y="8256"/>
                </a:lnTo>
                <a:lnTo>
                  <a:pt x="4983" y="8598"/>
                </a:lnTo>
                <a:lnTo>
                  <a:pt x="5252" y="8891"/>
                </a:lnTo>
                <a:lnTo>
                  <a:pt x="5545" y="9159"/>
                </a:lnTo>
                <a:lnTo>
                  <a:pt x="5862" y="9404"/>
                </a:lnTo>
                <a:lnTo>
                  <a:pt x="6180" y="9623"/>
                </a:lnTo>
                <a:lnTo>
                  <a:pt x="6180" y="10698"/>
                </a:lnTo>
                <a:lnTo>
                  <a:pt x="5667" y="10747"/>
                </a:lnTo>
                <a:lnTo>
                  <a:pt x="5081" y="10845"/>
                </a:lnTo>
                <a:lnTo>
                  <a:pt x="4519" y="10967"/>
                </a:lnTo>
                <a:lnTo>
                  <a:pt x="3957" y="11089"/>
                </a:lnTo>
                <a:lnTo>
                  <a:pt x="3420" y="11260"/>
                </a:lnTo>
                <a:lnTo>
                  <a:pt x="2931" y="11455"/>
                </a:lnTo>
                <a:lnTo>
                  <a:pt x="2467" y="11675"/>
                </a:lnTo>
                <a:lnTo>
                  <a:pt x="2028" y="11919"/>
                </a:lnTo>
                <a:lnTo>
                  <a:pt x="1637" y="12188"/>
                </a:lnTo>
                <a:lnTo>
                  <a:pt x="1271" y="12456"/>
                </a:lnTo>
                <a:lnTo>
                  <a:pt x="953" y="12774"/>
                </a:lnTo>
                <a:lnTo>
                  <a:pt x="684" y="13116"/>
                </a:lnTo>
                <a:lnTo>
                  <a:pt x="440" y="13458"/>
                </a:lnTo>
                <a:lnTo>
                  <a:pt x="269" y="13849"/>
                </a:lnTo>
                <a:lnTo>
                  <a:pt x="123" y="14239"/>
                </a:lnTo>
                <a:lnTo>
                  <a:pt x="49" y="14679"/>
                </a:lnTo>
                <a:lnTo>
                  <a:pt x="1" y="15119"/>
                </a:lnTo>
                <a:lnTo>
                  <a:pt x="49" y="15167"/>
                </a:lnTo>
                <a:lnTo>
                  <a:pt x="245" y="15265"/>
                </a:lnTo>
                <a:lnTo>
                  <a:pt x="416" y="15338"/>
                </a:lnTo>
                <a:lnTo>
                  <a:pt x="636" y="15436"/>
                </a:lnTo>
                <a:lnTo>
                  <a:pt x="904" y="15534"/>
                </a:lnTo>
                <a:lnTo>
                  <a:pt x="1271" y="15607"/>
                </a:lnTo>
                <a:lnTo>
                  <a:pt x="1710" y="15705"/>
                </a:lnTo>
                <a:lnTo>
                  <a:pt x="2223" y="15802"/>
                </a:lnTo>
                <a:lnTo>
                  <a:pt x="2834" y="15876"/>
                </a:lnTo>
                <a:lnTo>
                  <a:pt x="3566" y="15973"/>
                </a:lnTo>
                <a:lnTo>
                  <a:pt x="4397" y="16022"/>
                </a:lnTo>
                <a:lnTo>
                  <a:pt x="5325" y="16071"/>
                </a:lnTo>
                <a:lnTo>
                  <a:pt x="6399" y="16096"/>
                </a:lnTo>
                <a:lnTo>
                  <a:pt x="7621" y="16120"/>
                </a:lnTo>
                <a:lnTo>
                  <a:pt x="8817" y="16096"/>
                </a:lnTo>
                <a:lnTo>
                  <a:pt x="9892" y="16071"/>
                </a:lnTo>
                <a:lnTo>
                  <a:pt x="10844" y="16022"/>
                </a:lnTo>
                <a:lnTo>
                  <a:pt x="11675" y="15973"/>
                </a:lnTo>
                <a:lnTo>
                  <a:pt x="12408" y="15876"/>
                </a:lnTo>
                <a:lnTo>
                  <a:pt x="13018" y="15802"/>
                </a:lnTo>
                <a:lnTo>
                  <a:pt x="13555" y="15705"/>
                </a:lnTo>
                <a:lnTo>
                  <a:pt x="13995" y="15607"/>
                </a:lnTo>
                <a:lnTo>
                  <a:pt x="14361" y="15534"/>
                </a:lnTo>
                <a:lnTo>
                  <a:pt x="14654" y="15436"/>
                </a:lnTo>
                <a:lnTo>
                  <a:pt x="14874" y="15338"/>
                </a:lnTo>
                <a:lnTo>
                  <a:pt x="15045" y="15265"/>
                </a:lnTo>
                <a:lnTo>
                  <a:pt x="15216" y="15167"/>
                </a:lnTo>
                <a:lnTo>
                  <a:pt x="15289" y="15119"/>
                </a:lnTo>
                <a:lnTo>
                  <a:pt x="15241" y="14655"/>
                </a:lnTo>
                <a:lnTo>
                  <a:pt x="15167" y="14215"/>
                </a:lnTo>
                <a:lnTo>
                  <a:pt x="15045" y="13800"/>
                </a:lnTo>
                <a:lnTo>
                  <a:pt x="14874" y="13409"/>
                </a:lnTo>
                <a:lnTo>
                  <a:pt x="14630" y="13043"/>
                </a:lnTo>
                <a:lnTo>
                  <a:pt x="14361" y="12701"/>
                </a:lnTo>
                <a:lnTo>
                  <a:pt x="14044" y="12408"/>
                </a:lnTo>
                <a:lnTo>
                  <a:pt x="13678" y="12115"/>
                </a:lnTo>
                <a:lnTo>
                  <a:pt x="13287" y="11846"/>
                </a:lnTo>
                <a:lnTo>
                  <a:pt x="12847" y="11626"/>
                </a:lnTo>
                <a:lnTo>
                  <a:pt x="12359" y="11406"/>
                </a:lnTo>
                <a:lnTo>
                  <a:pt x="11846" y="11235"/>
                </a:lnTo>
                <a:lnTo>
                  <a:pt x="11284" y="11064"/>
                </a:lnTo>
                <a:lnTo>
                  <a:pt x="10698" y="10942"/>
                </a:lnTo>
                <a:lnTo>
                  <a:pt x="10063" y="10820"/>
                </a:lnTo>
                <a:lnTo>
                  <a:pt x="9428" y="10747"/>
                </a:lnTo>
                <a:lnTo>
                  <a:pt x="9110" y="10722"/>
                </a:lnTo>
                <a:lnTo>
                  <a:pt x="9110" y="9623"/>
                </a:lnTo>
                <a:lnTo>
                  <a:pt x="9428" y="9404"/>
                </a:lnTo>
                <a:lnTo>
                  <a:pt x="9745" y="9159"/>
                </a:lnTo>
                <a:lnTo>
                  <a:pt x="10039" y="8891"/>
                </a:lnTo>
                <a:lnTo>
                  <a:pt x="10332" y="8598"/>
                </a:lnTo>
                <a:lnTo>
                  <a:pt x="10576" y="8256"/>
                </a:lnTo>
                <a:lnTo>
                  <a:pt x="10796" y="7889"/>
                </a:lnTo>
                <a:lnTo>
                  <a:pt x="11015" y="7523"/>
                </a:lnTo>
                <a:lnTo>
                  <a:pt x="11186" y="7108"/>
                </a:lnTo>
                <a:lnTo>
                  <a:pt x="11260" y="7132"/>
                </a:lnTo>
                <a:lnTo>
                  <a:pt x="11406" y="7132"/>
                </a:lnTo>
                <a:lnTo>
                  <a:pt x="11528" y="7059"/>
                </a:lnTo>
                <a:lnTo>
                  <a:pt x="11650" y="6961"/>
                </a:lnTo>
                <a:lnTo>
                  <a:pt x="11748" y="6790"/>
                </a:lnTo>
                <a:lnTo>
                  <a:pt x="11846" y="6619"/>
                </a:lnTo>
                <a:lnTo>
                  <a:pt x="11944" y="6400"/>
                </a:lnTo>
                <a:lnTo>
                  <a:pt x="11992" y="6155"/>
                </a:lnTo>
                <a:lnTo>
                  <a:pt x="12041" y="5887"/>
                </a:lnTo>
                <a:lnTo>
                  <a:pt x="12066" y="5642"/>
                </a:lnTo>
                <a:lnTo>
                  <a:pt x="12041" y="5398"/>
                </a:lnTo>
                <a:lnTo>
                  <a:pt x="12017" y="5203"/>
                </a:lnTo>
                <a:lnTo>
                  <a:pt x="11968" y="5007"/>
                </a:lnTo>
                <a:lnTo>
                  <a:pt x="11919" y="4836"/>
                </a:lnTo>
                <a:lnTo>
                  <a:pt x="11846" y="4690"/>
                </a:lnTo>
                <a:lnTo>
                  <a:pt x="11748" y="4592"/>
                </a:lnTo>
                <a:lnTo>
                  <a:pt x="11626" y="4519"/>
                </a:lnTo>
                <a:lnTo>
                  <a:pt x="11699" y="4153"/>
                </a:lnTo>
                <a:lnTo>
                  <a:pt x="11724" y="3811"/>
                </a:lnTo>
                <a:lnTo>
                  <a:pt x="11724" y="3493"/>
                </a:lnTo>
                <a:lnTo>
                  <a:pt x="11724" y="3200"/>
                </a:lnTo>
                <a:lnTo>
                  <a:pt x="11699" y="2907"/>
                </a:lnTo>
                <a:lnTo>
                  <a:pt x="11650" y="2638"/>
                </a:lnTo>
                <a:lnTo>
                  <a:pt x="11577" y="2394"/>
                </a:lnTo>
                <a:lnTo>
                  <a:pt x="11504" y="2150"/>
                </a:lnTo>
                <a:lnTo>
                  <a:pt x="11406" y="1930"/>
                </a:lnTo>
                <a:lnTo>
                  <a:pt x="11309" y="1710"/>
                </a:lnTo>
                <a:lnTo>
                  <a:pt x="11186" y="1515"/>
                </a:lnTo>
                <a:lnTo>
                  <a:pt x="11040" y="1344"/>
                </a:lnTo>
                <a:lnTo>
                  <a:pt x="10893" y="1173"/>
                </a:lnTo>
                <a:lnTo>
                  <a:pt x="10747" y="1026"/>
                </a:lnTo>
                <a:lnTo>
                  <a:pt x="10429" y="758"/>
                </a:lnTo>
                <a:lnTo>
                  <a:pt x="10063" y="562"/>
                </a:lnTo>
                <a:lnTo>
                  <a:pt x="9697" y="367"/>
                </a:lnTo>
                <a:lnTo>
                  <a:pt x="9330" y="245"/>
                </a:lnTo>
                <a:lnTo>
                  <a:pt x="8964" y="147"/>
                </a:lnTo>
                <a:lnTo>
                  <a:pt x="8598" y="74"/>
                </a:lnTo>
                <a:lnTo>
                  <a:pt x="8256" y="25"/>
                </a:lnTo>
                <a:lnTo>
                  <a:pt x="793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136" name="Shape 465"/>
          <p:cNvGrpSpPr/>
          <p:nvPr/>
        </p:nvGrpSpPr>
        <p:grpSpPr>
          <a:xfrm>
            <a:off x="6817999" y="3323241"/>
            <a:ext cx="320788" cy="296544"/>
            <a:chOff x="5975075" y="2327500"/>
            <a:chExt cx="420100" cy="388350"/>
          </a:xfrm>
        </p:grpSpPr>
        <p:sp>
          <p:nvSpPr>
            <p:cNvPr id="137" name="Shape 466"/>
            <p:cNvSpPr/>
            <p:nvPr/>
          </p:nvSpPr>
          <p:spPr>
            <a:xfrm>
              <a:off x="5975075" y="2474650"/>
              <a:ext cx="98325" cy="220450"/>
            </a:xfrm>
            <a:custGeom>
              <a:avLst/>
              <a:gdLst/>
              <a:ahLst/>
              <a:cxnLst/>
              <a:rect l="0" t="0" r="0" b="0"/>
              <a:pathLst>
                <a:path w="3933" h="8818" extrusionOk="0">
                  <a:moveTo>
                    <a:pt x="2418" y="1002"/>
                  </a:moveTo>
                  <a:lnTo>
                    <a:pt x="2565" y="1027"/>
                  </a:lnTo>
                  <a:lnTo>
                    <a:pt x="2687" y="1075"/>
                  </a:lnTo>
                  <a:lnTo>
                    <a:pt x="2809" y="1124"/>
                  </a:lnTo>
                  <a:lnTo>
                    <a:pt x="2907" y="1222"/>
                  </a:lnTo>
                  <a:lnTo>
                    <a:pt x="3005" y="1320"/>
                  </a:lnTo>
                  <a:lnTo>
                    <a:pt x="3078" y="1442"/>
                  </a:lnTo>
                  <a:lnTo>
                    <a:pt x="3102" y="1564"/>
                  </a:lnTo>
                  <a:lnTo>
                    <a:pt x="3127" y="1710"/>
                  </a:lnTo>
                  <a:lnTo>
                    <a:pt x="3102" y="1857"/>
                  </a:lnTo>
                  <a:lnTo>
                    <a:pt x="3078" y="1979"/>
                  </a:lnTo>
                  <a:lnTo>
                    <a:pt x="3005" y="2101"/>
                  </a:lnTo>
                  <a:lnTo>
                    <a:pt x="2907" y="2223"/>
                  </a:lnTo>
                  <a:lnTo>
                    <a:pt x="2809" y="2297"/>
                  </a:lnTo>
                  <a:lnTo>
                    <a:pt x="2687" y="2370"/>
                  </a:lnTo>
                  <a:lnTo>
                    <a:pt x="2565" y="2394"/>
                  </a:lnTo>
                  <a:lnTo>
                    <a:pt x="2418" y="2419"/>
                  </a:lnTo>
                  <a:lnTo>
                    <a:pt x="2272" y="2394"/>
                  </a:lnTo>
                  <a:lnTo>
                    <a:pt x="2150" y="2370"/>
                  </a:lnTo>
                  <a:lnTo>
                    <a:pt x="2028" y="2297"/>
                  </a:lnTo>
                  <a:lnTo>
                    <a:pt x="1930" y="2223"/>
                  </a:lnTo>
                  <a:lnTo>
                    <a:pt x="1832" y="2101"/>
                  </a:lnTo>
                  <a:lnTo>
                    <a:pt x="1759" y="1979"/>
                  </a:lnTo>
                  <a:lnTo>
                    <a:pt x="1735" y="1857"/>
                  </a:lnTo>
                  <a:lnTo>
                    <a:pt x="1710" y="1710"/>
                  </a:lnTo>
                  <a:lnTo>
                    <a:pt x="1735" y="1564"/>
                  </a:lnTo>
                  <a:lnTo>
                    <a:pt x="1759" y="1442"/>
                  </a:lnTo>
                  <a:lnTo>
                    <a:pt x="1832" y="1320"/>
                  </a:lnTo>
                  <a:lnTo>
                    <a:pt x="1930" y="1222"/>
                  </a:lnTo>
                  <a:lnTo>
                    <a:pt x="2028" y="1124"/>
                  </a:lnTo>
                  <a:lnTo>
                    <a:pt x="2150" y="1075"/>
                  </a:lnTo>
                  <a:lnTo>
                    <a:pt x="2272" y="1027"/>
                  </a:lnTo>
                  <a:lnTo>
                    <a:pt x="2418" y="1002"/>
                  </a:lnTo>
                  <a:close/>
                  <a:moveTo>
                    <a:pt x="1" y="1"/>
                  </a:moveTo>
                  <a:lnTo>
                    <a:pt x="1" y="8817"/>
                  </a:lnTo>
                  <a:lnTo>
                    <a:pt x="3933" y="8817"/>
                  </a:lnTo>
                  <a:lnTo>
                    <a:pt x="393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38" name="Shape 467"/>
            <p:cNvSpPr/>
            <p:nvPr/>
          </p:nvSpPr>
          <p:spPr>
            <a:xfrm>
              <a:off x="6088025" y="2327500"/>
              <a:ext cx="307150" cy="388350"/>
            </a:xfrm>
            <a:custGeom>
              <a:avLst/>
              <a:gdLst/>
              <a:ahLst/>
              <a:cxnLst/>
              <a:rect l="0" t="0" r="0" b="0"/>
              <a:pathLst>
                <a:path w="12286" h="15534" extrusionOk="0">
                  <a:moveTo>
                    <a:pt x="6326" y="1"/>
                  </a:moveTo>
                  <a:lnTo>
                    <a:pt x="5960" y="25"/>
                  </a:lnTo>
                  <a:lnTo>
                    <a:pt x="5716" y="74"/>
                  </a:lnTo>
                  <a:lnTo>
                    <a:pt x="5520" y="147"/>
                  </a:lnTo>
                  <a:lnTo>
                    <a:pt x="5374" y="221"/>
                  </a:lnTo>
                  <a:lnTo>
                    <a:pt x="4983" y="1466"/>
                  </a:lnTo>
                  <a:lnTo>
                    <a:pt x="4788" y="2028"/>
                  </a:lnTo>
                  <a:lnTo>
                    <a:pt x="4592" y="2541"/>
                  </a:lnTo>
                  <a:lnTo>
                    <a:pt x="4397" y="3005"/>
                  </a:lnTo>
                  <a:lnTo>
                    <a:pt x="4202" y="3396"/>
                  </a:lnTo>
                  <a:lnTo>
                    <a:pt x="4031" y="3689"/>
                  </a:lnTo>
                  <a:lnTo>
                    <a:pt x="3884" y="3933"/>
                  </a:lnTo>
                  <a:lnTo>
                    <a:pt x="3664" y="4153"/>
                  </a:lnTo>
                  <a:lnTo>
                    <a:pt x="3322" y="4495"/>
                  </a:lnTo>
                  <a:lnTo>
                    <a:pt x="2516" y="5252"/>
                  </a:lnTo>
                  <a:lnTo>
                    <a:pt x="1442" y="6229"/>
                  </a:lnTo>
                  <a:lnTo>
                    <a:pt x="1" y="6229"/>
                  </a:lnTo>
                  <a:lnTo>
                    <a:pt x="1" y="13433"/>
                  </a:lnTo>
                  <a:lnTo>
                    <a:pt x="1515" y="13433"/>
                  </a:lnTo>
                  <a:lnTo>
                    <a:pt x="2004" y="13678"/>
                  </a:lnTo>
                  <a:lnTo>
                    <a:pt x="2687" y="13971"/>
                  </a:lnTo>
                  <a:lnTo>
                    <a:pt x="3567" y="14313"/>
                  </a:lnTo>
                  <a:lnTo>
                    <a:pt x="4544" y="14679"/>
                  </a:lnTo>
                  <a:lnTo>
                    <a:pt x="5594" y="14997"/>
                  </a:lnTo>
                  <a:lnTo>
                    <a:pt x="6131" y="15143"/>
                  </a:lnTo>
                  <a:lnTo>
                    <a:pt x="6668" y="15265"/>
                  </a:lnTo>
                  <a:lnTo>
                    <a:pt x="7181" y="15387"/>
                  </a:lnTo>
                  <a:lnTo>
                    <a:pt x="7694" y="15461"/>
                  </a:lnTo>
                  <a:lnTo>
                    <a:pt x="8158" y="15509"/>
                  </a:lnTo>
                  <a:lnTo>
                    <a:pt x="8622" y="15534"/>
                  </a:lnTo>
                  <a:lnTo>
                    <a:pt x="9404" y="15534"/>
                  </a:lnTo>
                  <a:lnTo>
                    <a:pt x="9819" y="15509"/>
                  </a:lnTo>
                  <a:lnTo>
                    <a:pt x="10210" y="15461"/>
                  </a:lnTo>
                  <a:lnTo>
                    <a:pt x="10552" y="15363"/>
                  </a:lnTo>
                  <a:lnTo>
                    <a:pt x="10723" y="15314"/>
                  </a:lnTo>
                  <a:lnTo>
                    <a:pt x="10845" y="15265"/>
                  </a:lnTo>
                  <a:lnTo>
                    <a:pt x="10967" y="15192"/>
                  </a:lnTo>
                  <a:lnTo>
                    <a:pt x="11064" y="15094"/>
                  </a:lnTo>
                  <a:lnTo>
                    <a:pt x="11113" y="14997"/>
                  </a:lnTo>
                  <a:lnTo>
                    <a:pt x="11162" y="14874"/>
                  </a:lnTo>
                  <a:lnTo>
                    <a:pt x="11235" y="14166"/>
                  </a:lnTo>
                  <a:lnTo>
                    <a:pt x="11211" y="13995"/>
                  </a:lnTo>
                  <a:lnTo>
                    <a:pt x="11162" y="13849"/>
                  </a:lnTo>
                  <a:lnTo>
                    <a:pt x="11064" y="13702"/>
                  </a:lnTo>
                  <a:lnTo>
                    <a:pt x="10918" y="13580"/>
                  </a:lnTo>
                  <a:lnTo>
                    <a:pt x="11040" y="13556"/>
                  </a:lnTo>
                  <a:lnTo>
                    <a:pt x="11162" y="13507"/>
                  </a:lnTo>
                  <a:lnTo>
                    <a:pt x="11284" y="13458"/>
                  </a:lnTo>
                  <a:lnTo>
                    <a:pt x="11382" y="13360"/>
                  </a:lnTo>
                  <a:lnTo>
                    <a:pt x="11455" y="13263"/>
                  </a:lnTo>
                  <a:lnTo>
                    <a:pt x="11528" y="13140"/>
                  </a:lnTo>
                  <a:lnTo>
                    <a:pt x="11577" y="12994"/>
                  </a:lnTo>
                  <a:lnTo>
                    <a:pt x="11602" y="12872"/>
                  </a:lnTo>
                  <a:lnTo>
                    <a:pt x="11675" y="11993"/>
                  </a:lnTo>
                  <a:lnTo>
                    <a:pt x="11675" y="11870"/>
                  </a:lnTo>
                  <a:lnTo>
                    <a:pt x="11675" y="11773"/>
                  </a:lnTo>
                  <a:lnTo>
                    <a:pt x="11651" y="11651"/>
                  </a:lnTo>
                  <a:lnTo>
                    <a:pt x="11602" y="11553"/>
                  </a:lnTo>
                  <a:lnTo>
                    <a:pt x="11480" y="11382"/>
                  </a:lnTo>
                  <a:lnTo>
                    <a:pt x="11406" y="11309"/>
                  </a:lnTo>
                  <a:lnTo>
                    <a:pt x="11333" y="11235"/>
                  </a:lnTo>
                  <a:lnTo>
                    <a:pt x="11455" y="11211"/>
                  </a:lnTo>
                  <a:lnTo>
                    <a:pt x="11553" y="11162"/>
                  </a:lnTo>
                  <a:lnTo>
                    <a:pt x="11651" y="11089"/>
                  </a:lnTo>
                  <a:lnTo>
                    <a:pt x="11748" y="10991"/>
                  </a:lnTo>
                  <a:lnTo>
                    <a:pt x="11822" y="10893"/>
                  </a:lnTo>
                  <a:lnTo>
                    <a:pt x="11870" y="10796"/>
                  </a:lnTo>
                  <a:lnTo>
                    <a:pt x="11919" y="10674"/>
                  </a:lnTo>
                  <a:lnTo>
                    <a:pt x="11944" y="10527"/>
                  </a:lnTo>
                  <a:lnTo>
                    <a:pt x="12017" y="9672"/>
                  </a:lnTo>
                  <a:lnTo>
                    <a:pt x="12017" y="9550"/>
                  </a:lnTo>
                  <a:lnTo>
                    <a:pt x="12017" y="9428"/>
                  </a:lnTo>
                  <a:lnTo>
                    <a:pt x="11993" y="9306"/>
                  </a:lnTo>
                  <a:lnTo>
                    <a:pt x="11944" y="9208"/>
                  </a:lnTo>
                  <a:lnTo>
                    <a:pt x="11895" y="9111"/>
                  </a:lnTo>
                  <a:lnTo>
                    <a:pt x="11822" y="9037"/>
                  </a:lnTo>
                  <a:lnTo>
                    <a:pt x="11748" y="8964"/>
                  </a:lnTo>
                  <a:lnTo>
                    <a:pt x="11651" y="8891"/>
                  </a:lnTo>
                  <a:lnTo>
                    <a:pt x="11748" y="8866"/>
                  </a:lnTo>
                  <a:lnTo>
                    <a:pt x="11846" y="8793"/>
                  </a:lnTo>
                  <a:lnTo>
                    <a:pt x="11944" y="8720"/>
                  </a:lnTo>
                  <a:lnTo>
                    <a:pt x="12017" y="8647"/>
                  </a:lnTo>
                  <a:lnTo>
                    <a:pt x="12090" y="8549"/>
                  </a:lnTo>
                  <a:lnTo>
                    <a:pt x="12139" y="8451"/>
                  </a:lnTo>
                  <a:lnTo>
                    <a:pt x="12163" y="8329"/>
                  </a:lnTo>
                  <a:lnTo>
                    <a:pt x="12188" y="8207"/>
                  </a:lnTo>
                  <a:lnTo>
                    <a:pt x="12286" y="7328"/>
                  </a:lnTo>
                  <a:lnTo>
                    <a:pt x="12261" y="7206"/>
                  </a:lnTo>
                  <a:lnTo>
                    <a:pt x="12237" y="7083"/>
                  </a:lnTo>
                  <a:lnTo>
                    <a:pt x="12188" y="6986"/>
                  </a:lnTo>
                  <a:lnTo>
                    <a:pt x="12139" y="6888"/>
                  </a:lnTo>
                  <a:lnTo>
                    <a:pt x="12066" y="6790"/>
                  </a:lnTo>
                  <a:lnTo>
                    <a:pt x="11968" y="6717"/>
                  </a:lnTo>
                  <a:lnTo>
                    <a:pt x="11748" y="6571"/>
                  </a:lnTo>
                  <a:lnTo>
                    <a:pt x="11504" y="6448"/>
                  </a:lnTo>
                  <a:lnTo>
                    <a:pt x="11211" y="6351"/>
                  </a:lnTo>
                  <a:lnTo>
                    <a:pt x="10893" y="6278"/>
                  </a:lnTo>
                  <a:lnTo>
                    <a:pt x="10576" y="6229"/>
                  </a:lnTo>
                  <a:lnTo>
                    <a:pt x="9892" y="6131"/>
                  </a:lnTo>
                  <a:lnTo>
                    <a:pt x="8842" y="6033"/>
                  </a:lnTo>
                  <a:lnTo>
                    <a:pt x="7596" y="5960"/>
                  </a:lnTo>
                  <a:lnTo>
                    <a:pt x="6326" y="5887"/>
                  </a:lnTo>
                  <a:lnTo>
                    <a:pt x="6497" y="5594"/>
                  </a:lnTo>
                  <a:lnTo>
                    <a:pt x="6644" y="5252"/>
                  </a:lnTo>
                  <a:lnTo>
                    <a:pt x="6790" y="4885"/>
                  </a:lnTo>
                  <a:lnTo>
                    <a:pt x="6888" y="4495"/>
                  </a:lnTo>
                  <a:lnTo>
                    <a:pt x="6986" y="4104"/>
                  </a:lnTo>
                  <a:lnTo>
                    <a:pt x="7083" y="3689"/>
                  </a:lnTo>
                  <a:lnTo>
                    <a:pt x="7181" y="2883"/>
                  </a:lnTo>
                  <a:lnTo>
                    <a:pt x="7254" y="2150"/>
                  </a:lnTo>
                  <a:lnTo>
                    <a:pt x="7303" y="1539"/>
                  </a:lnTo>
                  <a:lnTo>
                    <a:pt x="7303" y="978"/>
                  </a:lnTo>
                  <a:lnTo>
                    <a:pt x="7303" y="807"/>
                  </a:lnTo>
                  <a:lnTo>
                    <a:pt x="7230" y="611"/>
                  </a:lnTo>
                  <a:lnTo>
                    <a:pt x="7157" y="465"/>
                  </a:lnTo>
                  <a:lnTo>
                    <a:pt x="7035" y="318"/>
                  </a:lnTo>
                  <a:lnTo>
                    <a:pt x="6888" y="172"/>
                  </a:lnTo>
                  <a:lnTo>
                    <a:pt x="6717" y="98"/>
                  </a:lnTo>
                  <a:lnTo>
                    <a:pt x="6522" y="25"/>
                  </a:lnTo>
                  <a:lnTo>
                    <a:pt x="6326"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39" name="Shape 468"/>
          <p:cNvGrpSpPr/>
          <p:nvPr/>
        </p:nvGrpSpPr>
        <p:grpSpPr>
          <a:xfrm>
            <a:off x="7394727" y="3314383"/>
            <a:ext cx="196780" cy="320788"/>
            <a:chOff x="6730350" y="2315900"/>
            <a:chExt cx="257700" cy="420100"/>
          </a:xfrm>
        </p:grpSpPr>
        <p:sp>
          <p:nvSpPr>
            <p:cNvPr id="140" name="Shape 469"/>
            <p:cNvSpPr/>
            <p:nvPr/>
          </p:nvSpPr>
          <p:spPr>
            <a:xfrm>
              <a:off x="6807900" y="2671250"/>
              <a:ext cx="102600" cy="22625"/>
            </a:xfrm>
            <a:custGeom>
              <a:avLst/>
              <a:gdLst/>
              <a:ahLst/>
              <a:cxnLst/>
              <a:rect l="0" t="0" r="0" b="0"/>
              <a:pathLst>
                <a:path w="4104" h="905" extrusionOk="0">
                  <a:moveTo>
                    <a:pt x="1" y="1"/>
                  </a:moveTo>
                  <a:lnTo>
                    <a:pt x="1" y="905"/>
                  </a:lnTo>
                  <a:lnTo>
                    <a:pt x="4104" y="905"/>
                  </a:lnTo>
                  <a:lnTo>
                    <a:pt x="410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41" name="Shape 470"/>
            <p:cNvSpPr/>
            <p:nvPr/>
          </p:nvSpPr>
          <p:spPr>
            <a:xfrm>
              <a:off x="6807900" y="2636450"/>
              <a:ext cx="102600" cy="22625"/>
            </a:xfrm>
            <a:custGeom>
              <a:avLst/>
              <a:gdLst/>
              <a:ahLst/>
              <a:cxnLst/>
              <a:rect l="0" t="0" r="0" b="0"/>
              <a:pathLst>
                <a:path w="4104" h="905" extrusionOk="0">
                  <a:moveTo>
                    <a:pt x="1" y="1"/>
                  </a:moveTo>
                  <a:lnTo>
                    <a:pt x="1" y="905"/>
                  </a:lnTo>
                  <a:lnTo>
                    <a:pt x="4104" y="905"/>
                  </a:lnTo>
                  <a:lnTo>
                    <a:pt x="410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42" name="Shape 471"/>
            <p:cNvSpPr/>
            <p:nvPr/>
          </p:nvSpPr>
          <p:spPr>
            <a:xfrm>
              <a:off x="6807900" y="2706075"/>
              <a:ext cx="102600" cy="29925"/>
            </a:xfrm>
            <a:custGeom>
              <a:avLst/>
              <a:gdLst/>
              <a:ahLst/>
              <a:cxnLst/>
              <a:rect l="0" t="0" r="0" b="0"/>
              <a:pathLst>
                <a:path w="4104" h="1197" extrusionOk="0">
                  <a:moveTo>
                    <a:pt x="1" y="0"/>
                  </a:moveTo>
                  <a:lnTo>
                    <a:pt x="1" y="171"/>
                  </a:lnTo>
                  <a:lnTo>
                    <a:pt x="25" y="318"/>
                  </a:lnTo>
                  <a:lnTo>
                    <a:pt x="98" y="464"/>
                  </a:lnTo>
                  <a:lnTo>
                    <a:pt x="196" y="586"/>
                  </a:lnTo>
                  <a:lnTo>
                    <a:pt x="343" y="660"/>
                  </a:lnTo>
                  <a:lnTo>
                    <a:pt x="1881" y="1172"/>
                  </a:lnTo>
                  <a:lnTo>
                    <a:pt x="2052" y="1197"/>
                  </a:lnTo>
                  <a:lnTo>
                    <a:pt x="2223" y="1172"/>
                  </a:lnTo>
                  <a:lnTo>
                    <a:pt x="3762" y="660"/>
                  </a:lnTo>
                  <a:lnTo>
                    <a:pt x="3908" y="586"/>
                  </a:lnTo>
                  <a:lnTo>
                    <a:pt x="4006" y="464"/>
                  </a:lnTo>
                  <a:lnTo>
                    <a:pt x="4079" y="318"/>
                  </a:lnTo>
                  <a:lnTo>
                    <a:pt x="4104" y="171"/>
                  </a:lnTo>
                  <a:lnTo>
                    <a:pt x="410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43" name="Shape 472"/>
            <p:cNvSpPr/>
            <p:nvPr/>
          </p:nvSpPr>
          <p:spPr>
            <a:xfrm>
              <a:off x="6811575" y="2463675"/>
              <a:ext cx="95275" cy="160600"/>
            </a:xfrm>
            <a:custGeom>
              <a:avLst/>
              <a:gdLst/>
              <a:ahLst/>
              <a:cxnLst/>
              <a:rect l="0" t="0" r="0" b="0"/>
              <a:pathLst>
                <a:path w="3811" h="6424" extrusionOk="0">
                  <a:moveTo>
                    <a:pt x="1905" y="0"/>
                  </a:moveTo>
                  <a:lnTo>
                    <a:pt x="928" y="831"/>
                  </a:lnTo>
                  <a:lnTo>
                    <a:pt x="855" y="879"/>
                  </a:lnTo>
                  <a:lnTo>
                    <a:pt x="782" y="904"/>
                  </a:lnTo>
                  <a:lnTo>
                    <a:pt x="684" y="879"/>
                  </a:lnTo>
                  <a:lnTo>
                    <a:pt x="611" y="831"/>
                  </a:lnTo>
                  <a:lnTo>
                    <a:pt x="0" y="318"/>
                  </a:lnTo>
                  <a:lnTo>
                    <a:pt x="1319" y="6423"/>
                  </a:lnTo>
                  <a:lnTo>
                    <a:pt x="2491" y="6423"/>
                  </a:lnTo>
                  <a:lnTo>
                    <a:pt x="3810" y="318"/>
                  </a:lnTo>
                  <a:lnTo>
                    <a:pt x="3200" y="831"/>
                  </a:lnTo>
                  <a:lnTo>
                    <a:pt x="3126" y="879"/>
                  </a:lnTo>
                  <a:lnTo>
                    <a:pt x="3029" y="904"/>
                  </a:lnTo>
                  <a:lnTo>
                    <a:pt x="2955" y="879"/>
                  </a:lnTo>
                  <a:lnTo>
                    <a:pt x="2882" y="831"/>
                  </a:lnTo>
                  <a:lnTo>
                    <a:pt x="190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44" name="Shape 473"/>
            <p:cNvSpPr/>
            <p:nvPr/>
          </p:nvSpPr>
          <p:spPr>
            <a:xfrm>
              <a:off x="6730350" y="2315900"/>
              <a:ext cx="257700" cy="308375"/>
            </a:xfrm>
            <a:custGeom>
              <a:avLst/>
              <a:gdLst/>
              <a:ahLst/>
              <a:cxnLst/>
              <a:rect l="0" t="0" r="0" b="0"/>
              <a:pathLst>
                <a:path w="10308" h="12335" extrusionOk="0">
                  <a:moveTo>
                    <a:pt x="5154" y="1"/>
                  </a:moveTo>
                  <a:lnTo>
                    <a:pt x="4617" y="25"/>
                  </a:lnTo>
                  <a:lnTo>
                    <a:pt x="4128" y="98"/>
                  </a:lnTo>
                  <a:lnTo>
                    <a:pt x="3615" y="245"/>
                  </a:lnTo>
                  <a:lnTo>
                    <a:pt x="3151" y="416"/>
                  </a:lnTo>
                  <a:lnTo>
                    <a:pt x="2712" y="636"/>
                  </a:lnTo>
                  <a:lnTo>
                    <a:pt x="2272" y="880"/>
                  </a:lnTo>
                  <a:lnTo>
                    <a:pt x="1881" y="1173"/>
                  </a:lnTo>
                  <a:lnTo>
                    <a:pt x="1515" y="1515"/>
                  </a:lnTo>
                  <a:lnTo>
                    <a:pt x="1198" y="1881"/>
                  </a:lnTo>
                  <a:lnTo>
                    <a:pt x="880" y="2272"/>
                  </a:lnTo>
                  <a:lnTo>
                    <a:pt x="636" y="2687"/>
                  </a:lnTo>
                  <a:lnTo>
                    <a:pt x="416" y="3151"/>
                  </a:lnTo>
                  <a:lnTo>
                    <a:pt x="245" y="3615"/>
                  </a:lnTo>
                  <a:lnTo>
                    <a:pt x="123" y="4104"/>
                  </a:lnTo>
                  <a:lnTo>
                    <a:pt x="50" y="4617"/>
                  </a:lnTo>
                  <a:lnTo>
                    <a:pt x="1" y="5154"/>
                  </a:lnTo>
                  <a:lnTo>
                    <a:pt x="25" y="5423"/>
                  </a:lnTo>
                  <a:lnTo>
                    <a:pt x="50" y="5691"/>
                  </a:lnTo>
                  <a:lnTo>
                    <a:pt x="123" y="6204"/>
                  </a:lnTo>
                  <a:lnTo>
                    <a:pt x="245" y="6693"/>
                  </a:lnTo>
                  <a:lnTo>
                    <a:pt x="416" y="7132"/>
                  </a:lnTo>
                  <a:lnTo>
                    <a:pt x="636" y="7572"/>
                  </a:lnTo>
                  <a:lnTo>
                    <a:pt x="856" y="7963"/>
                  </a:lnTo>
                  <a:lnTo>
                    <a:pt x="1100" y="8353"/>
                  </a:lnTo>
                  <a:lnTo>
                    <a:pt x="1369" y="8744"/>
                  </a:lnTo>
                  <a:lnTo>
                    <a:pt x="1906" y="9526"/>
                  </a:lnTo>
                  <a:lnTo>
                    <a:pt x="2150" y="9941"/>
                  </a:lnTo>
                  <a:lnTo>
                    <a:pt x="2394" y="10356"/>
                  </a:lnTo>
                  <a:lnTo>
                    <a:pt x="2614" y="10796"/>
                  </a:lnTo>
                  <a:lnTo>
                    <a:pt x="2810" y="11284"/>
                  </a:lnTo>
                  <a:lnTo>
                    <a:pt x="2980" y="11797"/>
                  </a:lnTo>
                  <a:lnTo>
                    <a:pt x="3103" y="12334"/>
                  </a:lnTo>
                  <a:lnTo>
                    <a:pt x="4079" y="12334"/>
                  </a:lnTo>
                  <a:lnTo>
                    <a:pt x="3249" y="8500"/>
                  </a:lnTo>
                  <a:lnTo>
                    <a:pt x="2663" y="5642"/>
                  </a:lnTo>
                  <a:lnTo>
                    <a:pt x="2663" y="5520"/>
                  </a:lnTo>
                  <a:lnTo>
                    <a:pt x="2712" y="5423"/>
                  </a:lnTo>
                  <a:lnTo>
                    <a:pt x="2785" y="5374"/>
                  </a:lnTo>
                  <a:lnTo>
                    <a:pt x="2883" y="5349"/>
                  </a:lnTo>
                  <a:lnTo>
                    <a:pt x="2956" y="5349"/>
                  </a:lnTo>
                  <a:lnTo>
                    <a:pt x="3054" y="5398"/>
                  </a:lnTo>
                  <a:lnTo>
                    <a:pt x="4031" y="6253"/>
                  </a:lnTo>
                  <a:lnTo>
                    <a:pt x="4983" y="5398"/>
                  </a:lnTo>
                  <a:lnTo>
                    <a:pt x="5081" y="5349"/>
                  </a:lnTo>
                  <a:lnTo>
                    <a:pt x="5227" y="5349"/>
                  </a:lnTo>
                  <a:lnTo>
                    <a:pt x="5325" y="5398"/>
                  </a:lnTo>
                  <a:lnTo>
                    <a:pt x="6278" y="6253"/>
                  </a:lnTo>
                  <a:lnTo>
                    <a:pt x="7254" y="5398"/>
                  </a:lnTo>
                  <a:lnTo>
                    <a:pt x="7352" y="5349"/>
                  </a:lnTo>
                  <a:lnTo>
                    <a:pt x="7425" y="5349"/>
                  </a:lnTo>
                  <a:lnTo>
                    <a:pt x="7523" y="5374"/>
                  </a:lnTo>
                  <a:lnTo>
                    <a:pt x="7596" y="5423"/>
                  </a:lnTo>
                  <a:lnTo>
                    <a:pt x="7645" y="5520"/>
                  </a:lnTo>
                  <a:lnTo>
                    <a:pt x="7645" y="5642"/>
                  </a:lnTo>
                  <a:lnTo>
                    <a:pt x="7059" y="8500"/>
                  </a:lnTo>
                  <a:lnTo>
                    <a:pt x="6229" y="12334"/>
                  </a:lnTo>
                  <a:lnTo>
                    <a:pt x="7206" y="12334"/>
                  </a:lnTo>
                  <a:lnTo>
                    <a:pt x="7328" y="11797"/>
                  </a:lnTo>
                  <a:lnTo>
                    <a:pt x="7499" y="11284"/>
                  </a:lnTo>
                  <a:lnTo>
                    <a:pt x="7694" y="10796"/>
                  </a:lnTo>
                  <a:lnTo>
                    <a:pt x="7914" y="10356"/>
                  </a:lnTo>
                  <a:lnTo>
                    <a:pt x="8158" y="9941"/>
                  </a:lnTo>
                  <a:lnTo>
                    <a:pt x="8402" y="9526"/>
                  </a:lnTo>
                  <a:lnTo>
                    <a:pt x="8940" y="8744"/>
                  </a:lnTo>
                  <a:lnTo>
                    <a:pt x="9208" y="8353"/>
                  </a:lnTo>
                  <a:lnTo>
                    <a:pt x="9453" y="7963"/>
                  </a:lnTo>
                  <a:lnTo>
                    <a:pt x="9672" y="7572"/>
                  </a:lnTo>
                  <a:lnTo>
                    <a:pt x="9892" y="7132"/>
                  </a:lnTo>
                  <a:lnTo>
                    <a:pt x="10063" y="6693"/>
                  </a:lnTo>
                  <a:lnTo>
                    <a:pt x="10185" y="6204"/>
                  </a:lnTo>
                  <a:lnTo>
                    <a:pt x="10259" y="5691"/>
                  </a:lnTo>
                  <a:lnTo>
                    <a:pt x="10283" y="5423"/>
                  </a:lnTo>
                  <a:lnTo>
                    <a:pt x="10307" y="5154"/>
                  </a:lnTo>
                  <a:lnTo>
                    <a:pt x="10259" y="4617"/>
                  </a:lnTo>
                  <a:lnTo>
                    <a:pt x="10185" y="4104"/>
                  </a:lnTo>
                  <a:lnTo>
                    <a:pt x="10063" y="3615"/>
                  </a:lnTo>
                  <a:lnTo>
                    <a:pt x="9892" y="3151"/>
                  </a:lnTo>
                  <a:lnTo>
                    <a:pt x="9672" y="2687"/>
                  </a:lnTo>
                  <a:lnTo>
                    <a:pt x="9428" y="2272"/>
                  </a:lnTo>
                  <a:lnTo>
                    <a:pt x="9111" y="1881"/>
                  </a:lnTo>
                  <a:lnTo>
                    <a:pt x="8793" y="1515"/>
                  </a:lnTo>
                  <a:lnTo>
                    <a:pt x="8427" y="1173"/>
                  </a:lnTo>
                  <a:lnTo>
                    <a:pt x="8036" y="880"/>
                  </a:lnTo>
                  <a:lnTo>
                    <a:pt x="7596" y="636"/>
                  </a:lnTo>
                  <a:lnTo>
                    <a:pt x="7157" y="416"/>
                  </a:lnTo>
                  <a:lnTo>
                    <a:pt x="6693" y="245"/>
                  </a:lnTo>
                  <a:lnTo>
                    <a:pt x="6180" y="98"/>
                  </a:lnTo>
                  <a:lnTo>
                    <a:pt x="5691" y="25"/>
                  </a:lnTo>
                  <a:lnTo>
                    <a:pt x="515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45" name="Shape 474"/>
          <p:cNvGrpSpPr/>
          <p:nvPr/>
        </p:nvGrpSpPr>
        <p:grpSpPr>
          <a:xfrm>
            <a:off x="2810703" y="3804404"/>
            <a:ext cx="99803" cy="363684"/>
            <a:chOff x="727175" y="2957625"/>
            <a:chExt cx="130700" cy="476275"/>
          </a:xfrm>
        </p:grpSpPr>
        <p:sp>
          <p:nvSpPr>
            <p:cNvPr id="146" name="Shape 475"/>
            <p:cNvSpPr/>
            <p:nvPr/>
          </p:nvSpPr>
          <p:spPr>
            <a:xfrm>
              <a:off x="727175" y="2957625"/>
              <a:ext cx="130700" cy="476275"/>
            </a:xfrm>
            <a:custGeom>
              <a:avLst/>
              <a:gdLst/>
              <a:ahLst/>
              <a:cxnLst/>
              <a:rect l="0" t="0" r="0" b="0"/>
              <a:pathLst>
                <a:path w="5228" h="19051" extrusionOk="0">
                  <a:moveTo>
                    <a:pt x="2614" y="489"/>
                  </a:moveTo>
                  <a:lnTo>
                    <a:pt x="2858" y="538"/>
                  </a:lnTo>
                  <a:lnTo>
                    <a:pt x="3102" y="611"/>
                  </a:lnTo>
                  <a:lnTo>
                    <a:pt x="3322" y="709"/>
                  </a:lnTo>
                  <a:lnTo>
                    <a:pt x="3493" y="880"/>
                  </a:lnTo>
                  <a:lnTo>
                    <a:pt x="3664" y="1051"/>
                  </a:lnTo>
                  <a:lnTo>
                    <a:pt x="3762" y="1270"/>
                  </a:lnTo>
                  <a:lnTo>
                    <a:pt x="3835" y="1490"/>
                  </a:lnTo>
                  <a:lnTo>
                    <a:pt x="3859" y="1759"/>
                  </a:lnTo>
                  <a:lnTo>
                    <a:pt x="3859" y="14483"/>
                  </a:lnTo>
                  <a:lnTo>
                    <a:pt x="3884" y="14581"/>
                  </a:lnTo>
                  <a:lnTo>
                    <a:pt x="3908" y="14679"/>
                  </a:lnTo>
                  <a:lnTo>
                    <a:pt x="3957" y="14776"/>
                  </a:lnTo>
                  <a:lnTo>
                    <a:pt x="4030" y="14850"/>
                  </a:lnTo>
                  <a:lnTo>
                    <a:pt x="4177" y="14996"/>
                  </a:lnTo>
                  <a:lnTo>
                    <a:pt x="4324" y="15167"/>
                  </a:lnTo>
                  <a:lnTo>
                    <a:pt x="4446" y="15363"/>
                  </a:lnTo>
                  <a:lnTo>
                    <a:pt x="4543" y="15558"/>
                  </a:lnTo>
                  <a:lnTo>
                    <a:pt x="4641" y="15778"/>
                  </a:lnTo>
                  <a:lnTo>
                    <a:pt x="4690" y="15973"/>
                  </a:lnTo>
                  <a:lnTo>
                    <a:pt x="4714" y="16193"/>
                  </a:lnTo>
                  <a:lnTo>
                    <a:pt x="4739" y="16437"/>
                  </a:lnTo>
                  <a:lnTo>
                    <a:pt x="4714" y="16633"/>
                  </a:lnTo>
                  <a:lnTo>
                    <a:pt x="4690" y="16852"/>
                  </a:lnTo>
                  <a:lnTo>
                    <a:pt x="4641" y="17048"/>
                  </a:lnTo>
                  <a:lnTo>
                    <a:pt x="4568" y="17243"/>
                  </a:lnTo>
                  <a:lnTo>
                    <a:pt x="4470" y="17438"/>
                  </a:lnTo>
                  <a:lnTo>
                    <a:pt x="4372" y="17609"/>
                  </a:lnTo>
                  <a:lnTo>
                    <a:pt x="4250" y="17780"/>
                  </a:lnTo>
                  <a:lnTo>
                    <a:pt x="4104" y="17927"/>
                  </a:lnTo>
                  <a:lnTo>
                    <a:pt x="3957" y="18073"/>
                  </a:lnTo>
                  <a:lnTo>
                    <a:pt x="3811" y="18196"/>
                  </a:lnTo>
                  <a:lnTo>
                    <a:pt x="3615" y="18293"/>
                  </a:lnTo>
                  <a:lnTo>
                    <a:pt x="3444" y="18391"/>
                  </a:lnTo>
                  <a:lnTo>
                    <a:pt x="3249" y="18464"/>
                  </a:lnTo>
                  <a:lnTo>
                    <a:pt x="3029" y="18513"/>
                  </a:lnTo>
                  <a:lnTo>
                    <a:pt x="2834" y="18538"/>
                  </a:lnTo>
                  <a:lnTo>
                    <a:pt x="2614" y="18562"/>
                  </a:lnTo>
                  <a:lnTo>
                    <a:pt x="2394" y="18538"/>
                  </a:lnTo>
                  <a:lnTo>
                    <a:pt x="2174" y="18513"/>
                  </a:lnTo>
                  <a:lnTo>
                    <a:pt x="1979" y="18464"/>
                  </a:lnTo>
                  <a:lnTo>
                    <a:pt x="1784" y="18391"/>
                  </a:lnTo>
                  <a:lnTo>
                    <a:pt x="1613" y="18293"/>
                  </a:lnTo>
                  <a:lnTo>
                    <a:pt x="1417" y="18196"/>
                  </a:lnTo>
                  <a:lnTo>
                    <a:pt x="1271" y="18073"/>
                  </a:lnTo>
                  <a:lnTo>
                    <a:pt x="1124" y="17927"/>
                  </a:lnTo>
                  <a:lnTo>
                    <a:pt x="978" y="17780"/>
                  </a:lnTo>
                  <a:lnTo>
                    <a:pt x="855" y="17609"/>
                  </a:lnTo>
                  <a:lnTo>
                    <a:pt x="758" y="17438"/>
                  </a:lnTo>
                  <a:lnTo>
                    <a:pt x="660" y="17243"/>
                  </a:lnTo>
                  <a:lnTo>
                    <a:pt x="587" y="17048"/>
                  </a:lnTo>
                  <a:lnTo>
                    <a:pt x="538" y="16852"/>
                  </a:lnTo>
                  <a:lnTo>
                    <a:pt x="514" y="16633"/>
                  </a:lnTo>
                  <a:lnTo>
                    <a:pt x="489" y="16437"/>
                  </a:lnTo>
                  <a:lnTo>
                    <a:pt x="514" y="16193"/>
                  </a:lnTo>
                  <a:lnTo>
                    <a:pt x="538" y="15973"/>
                  </a:lnTo>
                  <a:lnTo>
                    <a:pt x="587" y="15778"/>
                  </a:lnTo>
                  <a:lnTo>
                    <a:pt x="684" y="15558"/>
                  </a:lnTo>
                  <a:lnTo>
                    <a:pt x="782" y="15363"/>
                  </a:lnTo>
                  <a:lnTo>
                    <a:pt x="904" y="15167"/>
                  </a:lnTo>
                  <a:lnTo>
                    <a:pt x="1051" y="14996"/>
                  </a:lnTo>
                  <a:lnTo>
                    <a:pt x="1197" y="14850"/>
                  </a:lnTo>
                  <a:lnTo>
                    <a:pt x="1271" y="14776"/>
                  </a:lnTo>
                  <a:lnTo>
                    <a:pt x="1319" y="14679"/>
                  </a:lnTo>
                  <a:lnTo>
                    <a:pt x="1344" y="14581"/>
                  </a:lnTo>
                  <a:lnTo>
                    <a:pt x="1368" y="14483"/>
                  </a:lnTo>
                  <a:lnTo>
                    <a:pt x="1368" y="1759"/>
                  </a:lnTo>
                  <a:lnTo>
                    <a:pt x="1393" y="1490"/>
                  </a:lnTo>
                  <a:lnTo>
                    <a:pt x="1466" y="1270"/>
                  </a:lnTo>
                  <a:lnTo>
                    <a:pt x="1564" y="1051"/>
                  </a:lnTo>
                  <a:lnTo>
                    <a:pt x="1735" y="880"/>
                  </a:lnTo>
                  <a:lnTo>
                    <a:pt x="1906" y="709"/>
                  </a:lnTo>
                  <a:lnTo>
                    <a:pt x="2125" y="611"/>
                  </a:lnTo>
                  <a:lnTo>
                    <a:pt x="2370" y="538"/>
                  </a:lnTo>
                  <a:lnTo>
                    <a:pt x="2614" y="489"/>
                  </a:lnTo>
                  <a:close/>
                  <a:moveTo>
                    <a:pt x="2614" y="0"/>
                  </a:moveTo>
                  <a:lnTo>
                    <a:pt x="2443" y="25"/>
                  </a:lnTo>
                  <a:lnTo>
                    <a:pt x="2272" y="49"/>
                  </a:lnTo>
                  <a:lnTo>
                    <a:pt x="2101" y="98"/>
                  </a:lnTo>
                  <a:lnTo>
                    <a:pt x="1930" y="147"/>
                  </a:lnTo>
                  <a:lnTo>
                    <a:pt x="1784" y="220"/>
                  </a:lnTo>
                  <a:lnTo>
                    <a:pt x="1637" y="318"/>
                  </a:lnTo>
                  <a:lnTo>
                    <a:pt x="1515" y="416"/>
                  </a:lnTo>
                  <a:lnTo>
                    <a:pt x="1393" y="513"/>
                  </a:lnTo>
                  <a:lnTo>
                    <a:pt x="1271" y="635"/>
                  </a:lnTo>
                  <a:lnTo>
                    <a:pt x="1173" y="782"/>
                  </a:lnTo>
                  <a:lnTo>
                    <a:pt x="1075" y="928"/>
                  </a:lnTo>
                  <a:lnTo>
                    <a:pt x="1002" y="1075"/>
                  </a:lnTo>
                  <a:lnTo>
                    <a:pt x="953" y="1246"/>
                  </a:lnTo>
                  <a:lnTo>
                    <a:pt x="904" y="1393"/>
                  </a:lnTo>
                  <a:lnTo>
                    <a:pt x="880" y="1588"/>
                  </a:lnTo>
                  <a:lnTo>
                    <a:pt x="880" y="1759"/>
                  </a:lnTo>
                  <a:lnTo>
                    <a:pt x="880" y="14483"/>
                  </a:lnTo>
                  <a:lnTo>
                    <a:pt x="684" y="14679"/>
                  </a:lnTo>
                  <a:lnTo>
                    <a:pt x="514" y="14874"/>
                  </a:lnTo>
                  <a:lnTo>
                    <a:pt x="367" y="15094"/>
                  </a:lnTo>
                  <a:lnTo>
                    <a:pt x="245" y="15338"/>
                  </a:lnTo>
                  <a:lnTo>
                    <a:pt x="147" y="15607"/>
                  </a:lnTo>
                  <a:lnTo>
                    <a:pt x="74" y="15875"/>
                  </a:lnTo>
                  <a:lnTo>
                    <a:pt x="25" y="16144"/>
                  </a:lnTo>
                  <a:lnTo>
                    <a:pt x="1" y="16437"/>
                  </a:lnTo>
                  <a:lnTo>
                    <a:pt x="25" y="16681"/>
                  </a:lnTo>
                  <a:lnTo>
                    <a:pt x="49" y="16950"/>
                  </a:lnTo>
                  <a:lnTo>
                    <a:pt x="123" y="17194"/>
                  </a:lnTo>
                  <a:lnTo>
                    <a:pt x="196" y="17438"/>
                  </a:lnTo>
                  <a:lnTo>
                    <a:pt x="318" y="17683"/>
                  </a:lnTo>
                  <a:lnTo>
                    <a:pt x="440" y="17878"/>
                  </a:lnTo>
                  <a:lnTo>
                    <a:pt x="611" y="18098"/>
                  </a:lnTo>
                  <a:lnTo>
                    <a:pt x="758" y="18269"/>
                  </a:lnTo>
                  <a:lnTo>
                    <a:pt x="953" y="18440"/>
                  </a:lnTo>
                  <a:lnTo>
                    <a:pt x="1149" y="18586"/>
                  </a:lnTo>
                  <a:lnTo>
                    <a:pt x="1368" y="18733"/>
                  </a:lnTo>
                  <a:lnTo>
                    <a:pt x="1588" y="18831"/>
                  </a:lnTo>
                  <a:lnTo>
                    <a:pt x="1832" y="18928"/>
                  </a:lnTo>
                  <a:lnTo>
                    <a:pt x="2077" y="18977"/>
                  </a:lnTo>
                  <a:lnTo>
                    <a:pt x="2345" y="19026"/>
                  </a:lnTo>
                  <a:lnTo>
                    <a:pt x="2614" y="19050"/>
                  </a:lnTo>
                  <a:lnTo>
                    <a:pt x="2883" y="19026"/>
                  </a:lnTo>
                  <a:lnTo>
                    <a:pt x="3151" y="18977"/>
                  </a:lnTo>
                  <a:lnTo>
                    <a:pt x="3395" y="18928"/>
                  </a:lnTo>
                  <a:lnTo>
                    <a:pt x="3640" y="18831"/>
                  </a:lnTo>
                  <a:lnTo>
                    <a:pt x="3859" y="18733"/>
                  </a:lnTo>
                  <a:lnTo>
                    <a:pt x="4079" y="18586"/>
                  </a:lnTo>
                  <a:lnTo>
                    <a:pt x="4275" y="18440"/>
                  </a:lnTo>
                  <a:lnTo>
                    <a:pt x="4470" y="18269"/>
                  </a:lnTo>
                  <a:lnTo>
                    <a:pt x="4617" y="18098"/>
                  </a:lnTo>
                  <a:lnTo>
                    <a:pt x="4788" y="17878"/>
                  </a:lnTo>
                  <a:lnTo>
                    <a:pt x="4910" y="17683"/>
                  </a:lnTo>
                  <a:lnTo>
                    <a:pt x="5032" y="17438"/>
                  </a:lnTo>
                  <a:lnTo>
                    <a:pt x="5105" y="17194"/>
                  </a:lnTo>
                  <a:lnTo>
                    <a:pt x="5178" y="16950"/>
                  </a:lnTo>
                  <a:lnTo>
                    <a:pt x="5203" y="16681"/>
                  </a:lnTo>
                  <a:lnTo>
                    <a:pt x="5227" y="16437"/>
                  </a:lnTo>
                  <a:lnTo>
                    <a:pt x="5203" y="16144"/>
                  </a:lnTo>
                  <a:lnTo>
                    <a:pt x="5154" y="15875"/>
                  </a:lnTo>
                  <a:lnTo>
                    <a:pt x="5081" y="15607"/>
                  </a:lnTo>
                  <a:lnTo>
                    <a:pt x="4983" y="15338"/>
                  </a:lnTo>
                  <a:lnTo>
                    <a:pt x="4861" y="15094"/>
                  </a:lnTo>
                  <a:lnTo>
                    <a:pt x="4714" y="14874"/>
                  </a:lnTo>
                  <a:lnTo>
                    <a:pt x="4543" y="14679"/>
                  </a:lnTo>
                  <a:lnTo>
                    <a:pt x="4348" y="14483"/>
                  </a:lnTo>
                  <a:lnTo>
                    <a:pt x="4348" y="1759"/>
                  </a:lnTo>
                  <a:lnTo>
                    <a:pt x="4348" y="1588"/>
                  </a:lnTo>
                  <a:lnTo>
                    <a:pt x="4324" y="1393"/>
                  </a:lnTo>
                  <a:lnTo>
                    <a:pt x="4275" y="1246"/>
                  </a:lnTo>
                  <a:lnTo>
                    <a:pt x="4226" y="1075"/>
                  </a:lnTo>
                  <a:lnTo>
                    <a:pt x="4153" y="928"/>
                  </a:lnTo>
                  <a:lnTo>
                    <a:pt x="4055" y="782"/>
                  </a:lnTo>
                  <a:lnTo>
                    <a:pt x="3957" y="635"/>
                  </a:lnTo>
                  <a:lnTo>
                    <a:pt x="3835" y="513"/>
                  </a:lnTo>
                  <a:lnTo>
                    <a:pt x="3713" y="416"/>
                  </a:lnTo>
                  <a:lnTo>
                    <a:pt x="3591" y="318"/>
                  </a:lnTo>
                  <a:lnTo>
                    <a:pt x="3444" y="220"/>
                  </a:lnTo>
                  <a:lnTo>
                    <a:pt x="3298" y="147"/>
                  </a:lnTo>
                  <a:lnTo>
                    <a:pt x="3127" y="98"/>
                  </a:lnTo>
                  <a:lnTo>
                    <a:pt x="2956" y="49"/>
                  </a:lnTo>
                  <a:lnTo>
                    <a:pt x="2785" y="25"/>
                  </a:lnTo>
                  <a:lnTo>
                    <a:pt x="261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47" name="Shape 476"/>
            <p:cNvSpPr/>
            <p:nvPr/>
          </p:nvSpPr>
          <p:spPr>
            <a:xfrm>
              <a:off x="751600" y="3090125"/>
              <a:ext cx="81850" cy="319350"/>
            </a:xfrm>
            <a:custGeom>
              <a:avLst/>
              <a:gdLst/>
              <a:ahLst/>
              <a:cxnLst/>
              <a:rect l="0" t="0" r="0" b="0"/>
              <a:pathLst>
                <a:path w="3274" h="12774" extrusionOk="0">
                  <a:moveTo>
                    <a:pt x="880" y="0"/>
                  </a:moveTo>
                  <a:lnTo>
                    <a:pt x="880" y="9183"/>
                  </a:lnTo>
                  <a:lnTo>
                    <a:pt x="855" y="9379"/>
                  </a:lnTo>
                  <a:lnTo>
                    <a:pt x="782" y="9574"/>
                  </a:lnTo>
                  <a:lnTo>
                    <a:pt x="684" y="9745"/>
                  </a:lnTo>
                  <a:lnTo>
                    <a:pt x="538" y="9916"/>
                  </a:lnTo>
                  <a:lnTo>
                    <a:pt x="416" y="10038"/>
                  </a:lnTo>
                  <a:lnTo>
                    <a:pt x="318" y="10160"/>
                  </a:lnTo>
                  <a:lnTo>
                    <a:pt x="220" y="10307"/>
                  </a:lnTo>
                  <a:lnTo>
                    <a:pt x="147" y="10453"/>
                  </a:lnTo>
                  <a:lnTo>
                    <a:pt x="74" y="10624"/>
                  </a:lnTo>
                  <a:lnTo>
                    <a:pt x="49" y="10795"/>
                  </a:lnTo>
                  <a:lnTo>
                    <a:pt x="1" y="10966"/>
                  </a:lnTo>
                  <a:lnTo>
                    <a:pt x="1" y="11137"/>
                  </a:lnTo>
                  <a:lnTo>
                    <a:pt x="1" y="11284"/>
                  </a:lnTo>
                  <a:lnTo>
                    <a:pt x="25" y="11455"/>
                  </a:lnTo>
                  <a:lnTo>
                    <a:pt x="74" y="11601"/>
                  </a:lnTo>
                  <a:lnTo>
                    <a:pt x="123" y="11772"/>
                  </a:lnTo>
                  <a:lnTo>
                    <a:pt x="196" y="11894"/>
                  </a:lnTo>
                  <a:lnTo>
                    <a:pt x="294" y="12041"/>
                  </a:lnTo>
                  <a:lnTo>
                    <a:pt x="367" y="12163"/>
                  </a:lnTo>
                  <a:lnTo>
                    <a:pt x="489" y="12285"/>
                  </a:lnTo>
                  <a:lnTo>
                    <a:pt x="587" y="12383"/>
                  </a:lnTo>
                  <a:lnTo>
                    <a:pt x="733" y="12480"/>
                  </a:lnTo>
                  <a:lnTo>
                    <a:pt x="855" y="12554"/>
                  </a:lnTo>
                  <a:lnTo>
                    <a:pt x="1002" y="12627"/>
                  </a:lnTo>
                  <a:lnTo>
                    <a:pt x="1148" y="12700"/>
                  </a:lnTo>
                  <a:lnTo>
                    <a:pt x="1319" y="12725"/>
                  </a:lnTo>
                  <a:lnTo>
                    <a:pt x="1466" y="12749"/>
                  </a:lnTo>
                  <a:lnTo>
                    <a:pt x="1637" y="12773"/>
                  </a:lnTo>
                  <a:lnTo>
                    <a:pt x="1808" y="12749"/>
                  </a:lnTo>
                  <a:lnTo>
                    <a:pt x="1954" y="12725"/>
                  </a:lnTo>
                  <a:lnTo>
                    <a:pt x="2125" y="12700"/>
                  </a:lnTo>
                  <a:lnTo>
                    <a:pt x="2272" y="12627"/>
                  </a:lnTo>
                  <a:lnTo>
                    <a:pt x="2418" y="12554"/>
                  </a:lnTo>
                  <a:lnTo>
                    <a:pt x="2541" y="12480"/>
                  </a:lnTo>
                  <a:lnTo>
                    <a:pt x="2687" y="12383"/>
                  </a:lnTo>
                  <a:lnTo>
                    <a:pt x="2785" y="12285"/>
                  </a:lnTo>
                  <a:lnTo>
                    <a:pt x="2907" y="12163"/>
                  </a:lnTo>
                  <a:lnTo>
                    <a:pt x="2980" y="12041"/>
                  </a:lnTo>
                  <a:lnTo>
                    <a:pt x="3078" y="11894"/>
                  </a:lnTo>
                  <a:lnTo>
                    <a:pt x="3151" y="11772"/>
                  </a:lnTo>
                  <a:lnTo>
                    <a:pt x="3200" y="11601"/>
                  </a:lnTo>
                  <a:lnTo>
                    <a:pt x="3249" y="11455"/>
                  </a:lnTo>
                  <a:lnTo>
                    <a:pt x="3273" y="11284"/>
                  </a:lnTo>
                  <a:lnTo>
                    <a:pt x="3273" y="11137"/>
                  </a:lnTo>
                  <a:lnTo>
                    <a:pt x="3273" y="10966"/>
                  </a:lnTo>
                  <a:lnTo>
                    <a:pt x="3224" y="10795"/>
                  </a:lnTo>
                  <a:lnTo>
                    <a:pt x="3200" y="10624"/>
                  </a:lnTo>
                  <a:lnTo>
                    <a:pt x="3127" y="10453"/>
                  </a:lnTo>
                  <a:lnTo>
                    <a:pt x="3053" y="10307"/>
                  </a:lnTo>
                  <a:lnTo>
                    <a:pt x="2956" y="10160"/>
                  </a:lnTo>
                  <a:lnTo>
                    <a:pt x="2858" y="10038"/>
                  </a:lnTo>
                  <a:lnTo>
                    <a:pt x="2736" y="9916"/>
                  </a:lnTo>
                  <a:lnTo>
                    <a:pt x="2589" y="9745"/>
                  </a:lnTo>
                  <a:lnTo>
                    <a:pt x="2492" y="9574"/>
                  </a:lnTo>
                  <a:lnTo>
                    <a:pt x="2418" y="9379"/>
                  </a:lnTo>
                  <a:lnTo>
                    <a:pt x="2394" y="9183"/>
                  </a:lnTo>
                  <a:lnTo>
                    <a:pt x="2394" y="8255"/>
                  </a:lnTo>
                  <a:lnTo>
                    <a:pt x="2052" y="8255"/>
                  </a:lnTo>
                  <a:lnTo>
                    <a:pt x="1954" y="8231"/>
                  </a:lnTo>
                  <a:lnTo>
                    <a:pt x="1881" y="8182"/>
                  </a:lnTo>
                  <a:lnTo>
                    <a:pt x="1832" y="8109"/>
                  </a:lnTo>
                  <a:lnTo>
                    <a:pt x="1808" y="8011"/>
                  </a:lnTo>
                  <a:lnTo>
                    <a:pt x="1832" y="7913"/>
                  </a:lnTo>
                  <a:lnTo>
                    <a:pt x="1881" y="7840"/>
                  </a:lnTo>
                  <a:lnTo>
                    <a:pt x="1954" y="7791"/>
                  </a:lnTo>
                  <a:lnTo>
                    <a:pt x="2052" y="7767"/>
                  </a:lnTo>
                  <a:lnTo>
                    <a:pt x="2394" y="7767"/>
                  </a:lnTo>
                  <a:lnTo>
                    <a:pt x="2394" y="6912"/>
                  </a:lnTo>
                  <a:lnTo>
                    <a:pt x="2052" y="6912"/>
                  </a:lnTo>
                  <a:lnTo>
                    <a:pt x="1954" y="6888"/>
                  </a:lnTo>
                  <a:lnTo>
                    <a:pt x="1881" y="6839"/>
                  </a:lnTo>
                  <a:lnTo>
                    <a:pt x="1832" y="6765"/>
                  </a:lnTo>
                  <a:lnTo>
                    <a:pt x="1808" y="6668"/>
                  </a:lnTo>
                  <a:lnTo>
                    <a:pt x="1832" y="6570"/>
                  </a:lnTo>
                  <a:lnTo>
                    <a:pt x="1881" y="6497"/>
                  </a:lnTo>
                  <a:lnTo>
                    <a:pt x="1954" y="6448"/>
                  </a:lnTo>
                  <a:lnTo>
                    <a:pt x="2052" y="6423"/>
                  </a:lnTo>
                  <a:lnTo>
                    <a:pt x="2394" y="6423"/>
                  </a:lnTo>
                  <a:lnTo>
                    <a:pt x="2394" y="5569"/>
                  </a:lnTo>
                  <a:lnTo>
                    <a:pt x="2052" y="5569"/>
                  </a:lnTo>
                  <a:lnTo>
                    <a:pt x="1954" y="5544"/>
                  </a:lnTo>
                  <a:lnTo>
                    <a:pt x="1881" y="5495"/>
                  </a:lnTo>
                  <a:lnTo>
                    <a:pt x="1832" y="5422"/>
                  </a:lnTo>
                  <a:lnTo>
                    <a:pt x="1808" y="5324"/>
                  </a:lnTo>
                  <a:lnTo>
                    <a:pt x="1832" y="5227"/>
                  </a:lnTo>
                  <a:lnTo>
                    <a:pt x="1881" y="5153"/>
                  </a:lnTo>
                  <a:lnTo>
                    <a:pt x="1954" y="5105"/>
                  </a:lnTo>
                  <a:lnTo>
                    <a:pt x="2052" y="5080"/>
                  </a:lnTo>
                  <a:lnTo>
                    <a:pt x="2394" y="5080"/>
                  </a:lnTo>
                  <a:lnTo>
                    <a:pt x="2394" y="4225"/>
                  </a:lnTo>
                  <a:lnTo>
                    <a:pt x="2052" y="4225"/>
                  </a:lnTo>
                  <a:lnTo>
                    <a:pt x="1954" y="4201"/>
                  </a:lnTo>
                  <a:lnTo>
                    <a:pt x="1881" y="4152"/>
                  </a:lnTo>
                  <a:lnTo>
                    <a:pt x="1832" y="4079"/>
                  </a:lnTo>
                  <a:lnTo>
                    <a:pt x="1808" y="3981"/>
                  </a:lnTo>
                  <a:lnTo>
                    <a:pt x="1832" y="3883"/>
                  </a:lnTo>
                  <a:lnTo>
                    <a:pt x="1881" y="3810"/>
                  </a:lnTo>
                  <a:lnTo>
                    <a:pt x="1954" y="3761"/>
                  </a:lnTo>
                  <a:lnTo>
                    <a:pt x="2052" y="3737"/>
                  </a:lnTo>
                  <a:lnTo>
                    <a:pt x="2394" y="3737"/>
                  </a:lnTo>
                  <a:lnTo>
                    <a:pt x="2394" y="2882"/>
                  </a:lnTo>
                  <a:lnTo>
                    <a:pt x="2052" y="2882"/>
                  </a:lnTo>
                  <a:lnTo>
                    <a:pt x="1954" y="2858"/>
                  </a:lnTo>
                  <a:lnTo>
                    <a:pt x="1881" y="2809"/>
                  </a:lnTo>
                  <a:lnTo>
                    <a:pt x="1832" y="2736"/>
                  </a:lnTo>
                  <a:lnTo>
                    <a:pt x="1808" y="2638"/>
                  </a:lnTo>
                  <a:lnTo>
                    <a:pt x="1832" y="2540"/>
                  </a:lnTo>
                  <a:lnTo>
                    <a:pt x="1881" y="2467"/>
                  </a:lnTo>
                  <a:lnTo>
                    <a:pt x="1954" y="2418"/>
                  </a:lnTo>
                  <a:lnTo>
                    <a:pt x="2052" y="2394"/>
                  </a:lnTo>
                  <a:lnTo>
                    <a:pt x="2394" y="2394"/>
                  </a:lnTo>
                  <a:lnTo>
                    <a:pt x="2394" y="1539"/>
                  </a:lnTo>
                  <a:lnTo>
                    <a:pt x="2052" y="1539"/>
                  </a:lnTo>
                  <a:lnTo>
                    <a:pt x="1954" y="1514"/>
                  </a:lnTo>
                  <a:lnTo>
                    <a:pt x="1881" y="1466"/>
                  </a:lnTo>
                  <a:lnTo>
                    <a:pt x="1832" y="1392"/>
                  </a:lnTo>
                  <a:lnTo>
                    <a:pt x="1808" y="1295"/>
                  </a:lnTo>
                  <a:lnTo>
                    <a:pt x="1832" y="1197"/>
                  </a:lnTo>
                  <a:lnTo>
                    <a:pt x="1881" y="1124"/>
                  </a:lnTo>
                  <a:lnTo>
                    <a:pt x="1954" y="1075"/>
                  </a:lnTo>
                  <a:lnTo>
                    <a:pt x="2052" y="1050"/>
                  </a:lnTo>
                  <a:lnTo>
                    <a:pt x="2394" y="1050"/>
                  </a:lnTo>
                  <a:lnTo>
                    <a:pt x="239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148" name="Shape 477"/>
          <p:cNvSpPr/>
          <p:nvPr/>
        </p:nvSpPr>
        <p:spPr>
          <a:xfrm>
            <a:off x="3737270" y="3790175"/>
            <a:ext cx="305860" cy="392586"/>
          </a:xfrm>
          <a:custGeom>
            <a:avLst/>
            <a:gdLst/>
            <a:ahLst/>
            <a:cxnLst/>
            <a:rect l="0" t="0" r="0" b="0"/>
            <a:pathLst>
              <a:path w="16022" h="20565" extrusionOk="0">
                <a:moveTo>
                  <a:pt x="14434" y="1588"/>
                </a:moveTo>
                <a:lnTo>
                  <a:pt x="14434" y="17683"/>
                </a:lnTo>
                <a:lnTo>
                  <a:pt x="1588" y="17683"/>
                </a:lnTo>
                <a:lnTo>
                  <a:pt x="1588" y="1588"/>
                </a:lnTo>
                <a:close/>
                <a:moveTo>
                  <a:pt x="8011" y="18293"/>
                </a:moveTo>
                <a:lnTo>
                  <a:pt x="8182" y="18318"/>
                </a:lnTo>
                <a:lnTo>
                  <a:pt x="8328" y="18366"/>
                </a:lnTo>
                <a:lnTo>
                  <a:pt x="8475" y="18440"/>
                </a:lnTo>
                <a:lnTo>
                  <a:pt x="8597" y="18537"/>
                </a:lnTo>
                <a:lnTo>
                  <a:pt x="8695" y="18660"/>
                </a:lnTo>
                <a:lnTo>
                  <a:pt x="8768" y="18806"/>
                </a:lnTo>
                <a:lnTo>
                  <a:pt x="8817" y="18953"/>
                </a:lnTo>
                <a:lnTo>
                  <a:pt x="8841" y="19124"/>
                </a:lnTo>
                <a:lnTo>
                  <a:pt x="8817" y="19295"/>
                </a:lnTo>
                <a:lnTo>
                  <a:pt x="8768" y="19441"/>
                </a:lnTo>
                <a:lnTo>
                  <a:pt x="8695" y="19588"/>
                </a:lnTo>
                <a:lnTo>
                  <a:pt x="8597" y="19710"/>
                </a:lnTo>
                <a:lnTo>
                  <a:pt x="8475" y="19807"/>
                </a:lnTo>
                <a:lnTo>
                  <a:pt x="8328" y="19881"/>
                </a:lnTo>
                <a:lnTo>
                  <a:pt x="8182" y="19930"/>
                </a:lnTo>
                <a:lnTo>
                  <a:pt x="8011" y="19954"/>
                </a:lnTo>
                <a:lnTo>
                  <a:pt x="7840" y="19930"/>
                </a:lnTo>
                <a:lnTo>
                  <a:pt x="7693" y="19881"/>
                </a:lnTo>
                <a:lnTo>
                  <a:pt x="7547" y="19807"/>
                </a:lnTo>
                <a:lnTo>
                  <a:pt x="7425" y="19710"/>
                </a:lnTo>
                <a:lnTo>
                  <a:pt x="7327" y="19588"/>
                </a:lnTo>
                <a:lnTo>
                  <a:pt x="7254" y="19441"/>
                </a:lnTo>
                <a:lnTo>
                  <a:pt x="7205" y="19295"/>
                </a:lnTo>
                <a:lnTo>
                  <a:pt x="7181" y="19124"/>
                </a:lnTo>
                <a:lnTo>
                  <a:pt x="7205" y="18953"/>
                </a:lnTo>
                <a:lnTo>
                  <a:pt x="7254" y="18806"/>
                </a:lnTo>
                <a:lnTo>
                  <a:pt x="7327" y="18660"/>
                </a:lnTo>
                <a:lnTo>
                  <a:pt x="7425" y="18537"/>
                </a:lnTo>
                <a:lnTo>
                  <a:pt x="7547" y="18440"/>
                </a:lnTo>
                <a:lnTo>
                  <a:pt x="7693" y="18366"/>
                </a:lnTo>
                <a:lnTo>
                  <a:pt x="7840" y="18318"/>
                </a:lnTo>
                <a:lnTo>
                  <a:pt x="8011" y="18293"/>
                </a:lnTo>
                <a:close/>
                <a:moveTo>
                  <a:pt x="1270" y="0"/>
                </a:moveTo>
                <a:lnTo>
                  <a:pt x="1026" y="25"/>
                </a:lnTo>
                <a:lnTo>
                  <a:pt x="782" y="98"/>
                </a:lnTo>
                <a:lnTo>
                  <a:pt x="562" y="220"/>
                </a:lnTo>
                <a:lnTo>
                  <a:pt x="367" y="367"/>
                </a:lnTo>
                <a:lnTo>
                  <a:pt x="220" y="562"/>
                </a:lnTo>
                <a:lnTo>
                  <a:pt x="98" y="782"/>
                </a:lnTo>
                <a:lnTo>
                  <a:pt x="25" y="1026"/>
                </a:lnTo>
                <a:lnTo>
                  <a:pt x="0" y="1295"/>
                </a:lnTo>
                <a:lnTo>
                  <a:pt x="0" y="19270"/>
                </a:lnTo>
                <a:lnTo>
                  <a:pt x="25" y="19539"/>
                </a:lnTo>
                <a:lnTo>
                  <a:pt x="98" y="19783"/>
                </a:lnTo>
                <a:lnTo>
                  <a:pt x="220" y="20003"/>
                </a:lnTo>
                <a:lnTo>
                  <a:pt x="367" y="20198"/>
                </a:lnTo>
                <a:lnTo>
                  <a:pt x="562" y="20345"/>
                </a:lnTo>
                <a:lnTo>
                  <a:pt x="782" y="20467"/>
                </a:lnTo>
                <a:lnTo>
                  <a:pt x="1026" y="20540"/>
                </a:lnTo>
                <a:lnTo>
                  <a:pt x="1270" y="20565"/>
                </a:lnTo>
                <a:lnTo>
                  <a:pt x="14752" y="20565"/>
                </a:lnTo>
                <a:lnTo>
                  <a:pt x="14996" y="20540"/>
                </a:lnTo>
                <a:lnTo>
                  <a:pt x="15240" y="20467"/>
                </a:lnTo>
                <a:lnTo>
                  <a:pt x="15460" y="20345"/>
                </a:lnTo>
                <a:lnTo>
                  <a:pt x="15655" y="20198"/>
                </a:lnTo>
                <a:lnTo>
                  <a:pt x="15802" y="20003"/>
                </a:lnTo>
                <a:lnTo>
                  <a:pt x="15924" y="19783"/>
                </a:lnTo>
                <a:lnTo>
                  <a:pt x="15997" y="19539"/>
                </a:lnTo>
                <a:lnTo>
                  <a:pt x="16022" y="19270"/>
                </a:lnTo>
                <a:lnTo>
                  <a:pt x="16022" y="1295"/>
                </a:lnTo>
                <a:lnTo>
                  <a:pt x="15997" y="1026"/>
                </a:lnTo>
                <a:lnTo>
                  <a:pt x="15924" y="782"/>
                </a:lnTo>
                <a:lnTo>
                  <a:pt x="15802" y="562"/>
                </a:lnTo>
                <a:lnTo>
                  <a:pt x="15655" y="367"/>
                </a:lnTo>
                <a:lnTo>
                  <a:pt x="15460" y="220"/>
                </a:lnTo>
                <a:lnTo>
                  <a:pt x="15240" y="98"/>
                </a:lnTo>
                <a:lnTo>
                  <a:pt x="14996" y="25"/>
                </a:lnTo>
                <a:lnTo>
                  <a:pt x="1475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49" name="Shape 478"/>
          <p:cNvSpPr/>
          <p:nvPr/>
        </p:nvSpPr>
        <p:spPr>
          <a:xfrm>
            <a:off x="3262129" y="3790175"/>
            <a:ext cx="226598" cy="392586"/>
          </a:xfrm>
          <a:custGeom>
            <a:avLst/>
            <a:gdLst/>
            <a:ahLst/>
            <a:cxnLst/>
            <a:rect l="0" t="0" r="0" b="0"/>
            <a:pathLst>
              <a:path w="11870" h="20565" extrusionOk="0">
                <a:moveTo>
                  <a:pt x="6301" y="977"/>
                </a:moveTo>
                <a:lnTo>
                  <a:pt x="6423" y="1002"/>
                </a:lnTo>
                <a:lnTo>
                  <a:pt x="6497" y="1075"/>
                </a:lnTo>
                <a:lnTo>
                  <a:pt x="6570" y="1148"/>
                </a:lnTo>
                <a:lnTo>
                  <a:pt x="6594" y="1270"/>
                </a:lnTo>
                <a:lnTo>
                  <a:pt x="6570" y="1368"/>
                </a:lnTo>
                <a:lnTo>
                  <a:pt x="6497" y="1466"/>
                </a:lnTo>
                <a:lnTo>
                  <a:pt x="6423" y="1515"/>
                </a:lnTo>
                <a:lnTo>
                  <a:pt x="6301" y="1539"/>
                </a:lnTo>
                <a:lnTo>
                  <a:pt x="5569" y="1539"/>
                </a:lnTo>
                <a:lnTo>
                  <a:pt x="5446" y="1515"/>
                </a:lnTo>
                <a:lnTo>
                  <a:pt x="5373" y="1466"/>
                </a:lnTo>
                <a:lnTo>
                  <a:pt x="5300" y="1368"/>
                </a:lnTo>
                <a:lnTo>
                  <a:pt x="5276" y="1270"/>
                </a:lnTo>
                <a:lnTo>
                  <a:pt x="5300" y="1148"/>
                </a:lnTo>
                <a:lnTo>
                  <a:pt x="5373" y="1075"/>
                </a:lnTo>
                <a:lnTo>
                  <a:pt x="5446" y="1002"/>
                </a:lnTo>
                <a:lnTo>
                  <a:pt x="5569" y="977"/>
                </a:lnTo>
                <a:close/>
                <a:moveTo>
                  <a:pt x="10575" y="2565"/>
                </a:moveTo>
                <a:lnTo>
                  <a:pt x="10575" y="16706"/>
                </a:lnTo>
                <a:lnTo>
                  <a:pt x="1295" y="16706"/>
                </a:lnTo>
                <a:lnTo>
                  <a:pt x="1295" y="2565"/>
                </a:lnTo>
                <a:close/>
                <a:moveTo>
                  <a:pt x="5935" y="17780"/>
                </a:moveTo>
                <a:lnTo>
                  <a:pt x="6106" y="17805"/>
                </a:lnTo>
                <a:lnTo>
                  <a:pt x="6277" y="17854"/>
                </a:lnTo>
                <a:lnTo>
                  <a:pt x="6423" y="17927"/>
                </a:lnTo>
                <a:lnTo>
                  <a:pt x="6545" y="18025"/>
                </a:lnTo>
                <a:lnTo>
                  <a:pt x="6643" y="18147"/>
                </a:lnTo>
                <a:lnTo>
                  <a:pt x="6716" y="18293"/>
                </a:lnTo>
                <a:lnTo>
                  <a:pt x="6765" y="18464"/>
                </a:lnTo>
                <a:lnTo>
                  <a:pt x="6790" y="18635"/>
                </a:lnTo>
                <a:lnTo>
                  <a:pt x="6765" y="18806"/>
                </a:lnTo>
                <a:lnTo>
                  <a:pt x="6716" y="18977"/>
                </a:lnTo>
                <a:lnTo>
                  <a:pt x="6643" y="19124"/>
                </a:lnTo>
                <a:lnTo>
                  <a:pt x="6545" y="19246"/>
                </a:lnTo>
                <a:lnTo>
                  <a:pt x="6423" y="19343"/>
                </a:lnTo>
                <a:lnTo>
                  <a:pt x="6277" y="19417"/>
                </a:lnTo>
                <a:lnTo>
                  <a:pt x="6106" y="19465"/>
                </a:lnTo>
                <a:lnTo>
                  <a:pt x="5935" y="19490"/>
                </a:lnTo>
                <a:lnTo>
                  <a:pt x="5764" y="19465"/>
                </a:lnTo>
                <a:lnTo>
                  <a:pt x="5593" y="19417"/>
                </a:lnTo>
                <a:lnTo>
                  <a:pt x="5446" y="19343"/>
                </a:lnTo>
                <a:lnTo>
                  <a:pt x="5324" y="19246"/>
                </a:lnTo>
                <a:lnTo>
                  <a:pt x="5227" y="19124"/>
                </a:lnTo>
                <a:lnTo>
                  <a:pt x="5153" y="18977"/>
                </a:lnTo>
                <a:lnTo>
                  <a:pt x="5105" y="18806"/>
                </a:lnTo>
                <a:lnTo>
                  <a:pt x="5080" y="18635"/>
                </a:lnTo>
                <a:lnTo>
                  <a:pt x="5105" y="18464"/>
                </a:lnTo>
                <a:lnTo>
                  <a:pt x="5153" y="18293"/>
                </a:lnTo>
                <a:lnTo>
                  <a:pt x="5227" y="18147"/>
                </a:lnTo>
                <a:lnTo>
                  <a:pt x="5324" y="18025"/>
                </a:lnTo>
                <a:lnTo>
                  <a:pt x="5446" y="17927"/>
                </a:lnTo>
                <a:lnTo>
                  <a:pt x="5593" y="17854"/>
                </a:lnTo>
                <a:lnTo>
                  <a:pt x="5764" y="17805"/>
                </a:lnTo>
                <a:lnTo>
                  <a:pt x="5935" y="17780"/>
                </a:lnTo>
                <a:close/>
                <a:moveTo>
                  <a:pt x="1295" y="0"/>
                </a:moveTo>
                <a:lnTo>
                  <a:pt x="1026" y="25"/>
                </a:lnTo>
                <a:lnTo>
                  <a:pt x="782" y="98"/>
                </a:lnTo>
                <a:lnTo>
                  <a:pt x="562" y="220"/>
                </a:lnTo>
                <a:lnTo>
                  <a:pt x="366" y="367"/>
                </a:lnTo>
                <a:lnTo>
                  <a:pt x="220" y="562"/>
                </a:lnTo>
                <a:lnTo>
                  <a:pt x="98" y="782"/>
                </a:lnTo>
                <a:lnTo>
                  <a:pt x="25" y="1026"/>
                </a:lnTo>
                <a:lnTo>
                  <a:pt x="0" y="1295"/>
                </a:lnTo>
                <a:lnTo>
                  <a:pt x="0" y="19270"/>
                </a:lnTo>
                <a:lnTo>
                  <a:pt x="25" y="19539"/>
                </a:lnTo>
                <a:lnTo>
                  <a:pt x="98" y="19783"/>
                </a:lnTo>
                <a:lnTo>
                  <a:pt x="220" y="20003"/>
                </a:lnTo>
                <a:lnTo>
                  <a:pt x="366" y="20198"/>
                </a:lnTo>
                <a:lnTo>
                  <a:pt x="562" y="20345"/>
                </a:lnTo>
                <a:lnTo>
                  <a:pt x="782" y="20467"/>
                </a:lnTo>
                <a:lnTo>
                  <a:pt x="1026" y="20540"/>
                </a:lnTo>
                <a:lnTo>
                  <a:pt x="1295" y="20565"/>
                </a:lnTo>
                <a:lnTo>
                  <a:pt x="10575" y="20565"/>
                </a:lnTo>
                <a:lnTo>
                  <a:pt x="10844" y="20540"/>
                </a:lnTo>
                <a:lnTo>
                  <a:pt x="11088" y="20467"/>
                </a:lnTo>
                <a:lnTo>
                  <a:pt x="11308" y="20345"/>
                </a:lnTo>
                <a:lnTo>
                  <a:pt x="11503" y="20198"/>
                </a:lnTo>
                <a:lnTo>
                  <a:pt x="11650" y="20003"/>
                </a:lnTo>
                <a:lnTo>
                  <a:pt x="11772" y="19783"/>
                </a:lnTo>
                <a:lnTo>
                  <a:pt x="11845" y="19539"/>
                </a:lnTo>
                <a:lnTo>
                  <a:pt x="11870" y="19270"/>
                </a:lnTo>
                <a:lnTo>
                  <a:pt x="11870" y="1295"/>
                </a:lnTo>
                <a:lnTo>
                  <a:pt x="11845" y="1026"/>
                </a:lnTo>
                <a:lnTo>
                  <a:pt x="11772" y="782"/>
                </a:lnTo>
                <a:lnTo>
                  <a:pt x="11650" y="562"/>
                </a:lnTo>
                <a:lnTo>
                  <a:pt x="11503" y="367"/>
                </a:lnTo>
                <a:lnTo>
                  <a:pt x="11308" y="220"/>
                </a:lnTo>
                <a:lnTo>
                  <a:pt x="11088" y="98"/>
                </a:lnTo>
                <a:lnTo>
                  <a:pt x="10844" y="25"/>
                </a:lnTo>
                <a:lnTo>
                  <a:pt x="1057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150" name="Shape 479"/>
          <p:cNvGrpSpPr/>
          <p:nvPr/>
        </p:nvGrpSpPr>
        <p:grpSpPr>
          <a:xfrm>
            <a:off x="4228059" y="3816049"/>
            <a:ext cx="353432" cy="340375"/>
            <a:chOff x="2583325" y="2972875"/>
            <a:chExt cx="462850" cy="445750"/>
          </a:xfrm>
        </p:grpSpPr>
        <p:sp>
          <p:nvSpPr>
            <p:cNvPr id="151" name="Shape 480"/>
            <p:cNvSpPr/>
            <p:nvPr/>
          </p:nvSpPr>
          <p:spPr>
            <a:xfrm>
              <a:off x="2701775" y="3323350"/>
              <a:ext cx="225950" cy="95275"/>
            </a:xfrm>
            <a:custGeom>
              <a:avLst/>
              <a:gdLst/>
              <a:ahLst/>
              <a:cxnLst/>
              <a:rect l="0" t="0" r="0" b="0"/>
              <a:pathLst>
                <a:path w="9038" h="3811" extrusionOk="0">
                  <a:moveTo>
                    <a:pt x="2956" y="1"/>
                  </a:moveTo>
                  <a:lnTo>
                    <a:pt x="2956" y="2956"/>
                  </a:lnTo>
                  <a:lnTo>
                    <a:pt x="685" y="2956"/>
                  </a:lnTo>
                  <a:lnTo>
                    <a:pt x="514" y="3005"/>
                  </a:lnTo>
                  <a:lnTo>
                    <a:pt x="367" y="3103"/>
                  </a:lnTo>
                  <a:lnTo>
                    <a:pt x="245" y="3200"/>
                  </a:lnTo>
                  <a:lnTo>
                    <a:pt x="147" y="3322"/>
                  </a:lnTo>
                  <a:lnTo>
                    <a:pt x="50" y="3469"/>
                  </a:lnTo>
                  <a:lnTo>
                    <a:pt x="1" y="3640"/>
                  </a:lnTo>
                  <a:lnTo>
                    <a:pt x="1" y="3811"/>
                  </a:lnTo>
                  <a:lnTo>
                    <a:pt x="9037" y="3811"/>
                  </a:lnTo>
                  <a:lnTo>
                    <a:pt x="9037" y="3640"/>
                  </a:lnTo>
                  <a:lnTo>
                    <a:pt x="8988" y="3469"/>
                  </a:lnTo>
                  <a:lnTo>
                    <a:pt x="8891" y="3322"/>
                  </a:lnTo>
                  <a:lnTo>
                    <a:pt x="8793" y="3200"/>
                  </a:lnTo>
                  <a:lnTo>
                    <a:pt x="8671" y="3103"/>
                  </a:lnTo>
                  <a:lnTo>
                    <a:pt x="8524" y="3005"/>
                  </a:lnTo>
                  <a:lnTo>
                    <a:pt x="8353" y="2956"/>
                  </a:lnTo>
                  <a:lnTo>
                    <a:pt x="6082" y="2956"/>
                  </a:lnTo>
                  <a:lnTo>
                    <a:pt x="6082"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52" name="Shape 481"/>
            <p:cNvSpPr/>
            <p:nvPr/>
          </p:nvSpPr>
          <p:spPr>
            <a:xfrm>
              <a:off x="2583325" y="2972875"/>
              <a:ext cx="462850" cy="337075"/>
            </a:xfrm>
            <a:custGeom>
              <a:avLst/>
              <a:gdLst/>
              <a:ahLst/>
              <a:cxnLst/>
              <a:rect l="0" t="0" r="0" b="0"/>
              <a:pathLst>
                <a:path w="18514" h="13483" extrusionOk="0">
                  <a:moveTo>
                    <a:pt x="17048" y="1466"/>
                  </a:moveTo>
                  <a:lnTo>
                    <a:pt x="17048" y="12017"/>
                  </a:lnTo>
                  <a:lnTo>
                    <a:pt x="1466" y="12017"/>
                  </a:lnTo>
                  <a:lnTo>
                    <a:pt x="1466" y="1466"/>
                  </a:lnTo>
                  <a:close/>
                  <a:moveTo>
                    <a:pt x="391" y="1"/>
                  </a:moveTo>
                  <a:lnTo>
                    <a:pt x="318" y="50"/>
                  </a:lnTo>
                  <a:lnTo>
                    <a:pt x="220" y="74"/>
                  </a:lnTo>
                  <a:lnTo>
                    <a:pt x="147" y="148"/>
                  </a:lnTo>
                  <a:lnTo>
                    <a:pt x="98" y="221"/>
                  </a:lnTo>
                  <a:lnTo>
                    <a:pt x="49" y="294"/>
                  </a:lnTo>
                  <a:lnTo>
                    <a:pt x="25" y="392"/>
                  </a:lnTo>
                  <a:lnTo>
                    <a:pt x="1" y="489"/>
                  </a:lnTo>
                  <a:lnTo>
                    <a:pt x="1" y="12994"/>
                  </a:lnTo>
                  <a:lnTo>
                    <a:pt x="25" y="13092"/>
                  </a:lnTo>
                  <a:lnTo>
                    <a:pt x="49" y="13189"/>
                  </a:lnTo>
                  <a:lnTo>
                    <a:pt x="98" y="13263"/>
                  </a:lnTo>
                  <a:lnTo>
                    <a:pt x="147" y="13336"/>
                  </a:lnTo>
                  <a:lnTo>
                    <a:pt x="220" y="13409"/>
                  </a:lnTo>
                  <a:lnTo>
                    <a:pt x="318" y="13434"/>
                  </a:lnTo>
                  <a:lnTo>
                    <a:pt x="391" y="13483"/>
                  </a:lnTo>
                  <a:lnTo>
                    <a:pt x="18123" y="13483"/>
                  </a:lnTo>
                  <a:lnTo>
                    <a:pt x="18196" y="13434"/>
                  </a:lnTo>
                  <a:lnTo>
                    <a:pt x="18293" y="13409"/>
                  </a:lnTo>
                  <a:lnTo>
                    <a:pt x="18367" y="13336"/>
                  </a:lnTo>
                  <a:lnTo>
                    <a:pt x="18416" y="13263"/>
                  </a:lnTo>
                  <a:lnTo>
                    <a:pt x="18464" y="13189"/>
                  </a:lnTo>
                  <a:lnTo>
                    <a:pt x="18489" y="13092"/>
                  </a:lnTo>
                  <a:lnTo>
                    <a:pt x="18513" y="12994"/>
                  </a:lnTo>
                  <a:lnTo>
                    <a:pt x="18513" y="489"/>
                  </a:lnTo>
                  <a:lnTo>
                    <a:pt x="18489" y="392"/>
                  </a:lnTo>
                  <a:lnTo>
                    <a:pt x="18464" y="294"/>
                  </a:lnTo>
                  <a:lnTo>
                    <a:pt x="18416" y="221"/>
                  </a:lnTo>
                  <a:lnTo>
                    <a:pt x="18367" y="148"/>
                  </a:lnTo>
                  <a:lnTo>
                    <a:pt x="18293" y="74"/>
                  </a:lnTo>
                  <a:lnTo>
                    <a:pt x="18196" y="50"/>
                  </a:lnTo>
                  <a:lnTo>
                    <a:pt x="1812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53" name="Shape 482"/>
          <p:cNvGrpSpPr/>
          <p:nvPr/>
        </p:nvGrpSpPr>
        <p:grpSpPr>
          <a:xfrm>
            <a:off x="4730660" y="3866886"/>
            <a:ext cx="377677" cy="238720"/>
            <a:chOff x="3241525" y="3039450"/>
            <a:chExt cx="494600" cy="312625"/>
          </a:xfrm>
        </p:grpSpPr>
        <p:sp>
          <p:nvSpPr>
            <p:cNvPr id="154" name="Shape 483"/>
            <p:cNvSpPr/>
            <p:nvPr/>
          </p:nvSpPr>
          <p:spPr>
            <a:xfrm>
              <a:off x="3241525" y="3039450"/>
              <a:ext cx="494600" cy="312625"/>
            </a:xfrm>
            <a:custGeom>
              <a:avLst/>
              <a:gdLst/>
              <a:ahLst/>
              <a:cxnLst/>
              <a:rect l="0" t="0" r="0" b="0"/>
              <a:pathLst>
                <a:path w="19784" h="12505" extrusionOk="0">
                  <a:moveTo>
                    <a:pt x="9892" y="977"/>
                  </a:moveTo>
                  <a:lnTo>
                    <a:pt x="10356" y="1001"/>
                  </a:lnTo>
                  <a:lnTo>
                    <a:pt x="10796" y="1050"/>
                  </a:lnTo>
                  <a:lnTo>
                    <a:pt x="11235" y="1124"/>
                  </a:lnTo>
                  <a:lnTo>
                    <a:pt x="11675" y="1221"/>
                  </a:lnTo>
                  <a:lnTo>
                    <a:pt x="12090" y="1343"/>
                  </a:lnTo>
                  <a:lnTo>
                    <a:pt x="12505" y="1490"/>
                  </a:lnTo>
                  <a:lnTo>
                    <a:pt x="12920" y="1661"/>
                  </a:lnTo>
                  <a:lnTo>
                    <a:pt x="13311" y="1832"/>
                  </a:lnTo>
                  <a:lnTo>
                    <a:pt x="13702" y="2027"/>
                  </a:lnTo>
                  <a:lnTo>
                    <a:pt x="14068" y="2223"/>
                  </a:lnTo>
                  <a:lnTo>
                    <a:pt x="14752" y="2662"/>
                  </a:lnTo>
                  <a:lnTo>
                    <a:pt x="15412" y="3126"/>
                  </a:lnTo>
                  <a:lnTo>
                    <a:pt x="15973" y="3590"/>
                  </a:lnTo>
                  <a:lnTo>
                    <a:pt x="16462" y="4005"/>
                  </a:lnTo>
                  <a:lnTo>
                    <a:pt x="16901" y="4421"/>
                  </a:lnTo>
                  <a:lnTo>
                    <a:pt x="17292" y="4811"/>
                  </a:lnTo>
                  <a:lnTo>
                    <a:pt x="17634" y="5178"/>
                  </a:lnTo>
                  <a:lnTo>
                    <a:pt x="18196" y="5813"/>
                  </a:lnTo>
                  <a:lnTo>
                    <a:pt x="18562" y="6252"/>
                  </a:lnTo>
                  <a:lnTo>
                    <a:pt x="18196" y="6692"/>
                  </a:lnTo>
                  <a:lnTo>
                    <a:pt x="17634" y="7327"/>
                  </a:lnTo>
                  <a:lnTo>
                    <a:pt x="17292" y="7693"/>
                  </a:lnTo>
                  <a:lnTo>
                    <a:pt x="16901" y="8084"/>
                  </a:lnTo>
                  <a:lnTo>
                    <a:pt x="16462" y="8499"/>
                  </a:lnTo>
                  <a:lnTo>
                    <a:pt x="15973" y="8915"/>
                  </a:lnTo>
                  <a:lnTo>
                    <a:pt x="15412" y="9379"/>
                  </a:lnTo>
                  <a:lnTo>
                    <a:pt x="14752" y="9843"/>
                  </a:lnTo>
                  <a:lnTo>
                    <a:pt x="14068" y="10282"/>
                  </a:lnTo>
                  <a:lnTo>
                    <a:pt x="13702" y="10478"/>
                  </a:lnTo>
                  <a:lnTo>
                    <a:pt x="13311" y="10673"/>
                  </a:lnTo>
                  <a:lnTo>
                    <a:pt x="12920" y="10844"/>
                  </a:lnTo>
                  <a:lnTo>
                    <a:pt x="12505" y="11015"/>
                  </a:lnTo>
                  <a:lnTo>
                    <a:pt x="12090" y="11161"/>
                  </a:lnTo>
                  <a:lnTo>
                    <a:pt x="11675" y="11284"/>
                  </a:lnTo>
                  <a:lnTo>
                    <a:pt x="11235" y="11381"/>
                  </a:lnTo>
                  <a:lnTo>
                    <a:pt x="10796" y="11455"/>
                  </a:lnTo>
                  <a:lnTo>
                    <a:pt x="10356" y="11503"/>
                  </a:lnTo>
                  <a:lnTo>
                    <a:pt x="9892" y="11528"/>
                  </a:lnTo>
                  <a:lnTo>
                    <a:pt x="9477" y="11528"/>
                  </a:lnTo>
                  <a:lnTo>
                    <a:pt x="9086" y="11479"/>
                  </a:lnTo>
                  <a:lnTo>
                    <a:pt x="8695" y="11430"/>
                  </a:lnTo>
                  <a:lnTo>
                    <a:pt x="8304" y="11332"/>
                  </a:lnTo>
                  <a:lnTo>
                    <a:pt x="7914" y="11235"/>
                  </a:lnTo>
                  <a:lnTo>
                    <a:pt x="7523" y="11113"/>
                  </a:lnTo>
                  <a:lnTo>
                    <a:pt x="7157" y="10990"/>
                  </a:lnTo>
                  <a:lnTo>
                    <a:pt x="6790" y="10844"/>
                  </a:lnTo>
                  <a:lnTo>
                    <a:pt x="6448" y="10673"/>
                  </a:lnTo>
                  <a:lnTo>
                    <a:pt x="6082" y="10502"/>
                  </a:lnTo>
                  <a:lnTo>
                    <a:pt x="5423" y="10111"/>
                  </a:lnTo>
                  <a:lnTo>
                    <a:pt x="4788" y="9696"/>
                  </a:lnTo>
                  <a:lnTo>
                    <a:pt x="4201" y="9232"/>
                  </a:lnTo>
                  <a:lnTo>
                    <a:pt x="3640" y="8792"/>
                  </a:lnTo>
                  <a:lnTo>
                    <a:pt x="3127" y="8328"/>
                  </a:lnTo>
                  <a:lnTo>
                    <a:pt x="2663" y="7889"/>
                  </a:lnTo>
                  <a:lnTo>
                    <a:pt x="2272" y="7474"/>
                  </a:lnTo>
                  <a:lnTo>
                    <a:pt x="1613" y="6741"/>
                  </a:lnTo>
                  <a:lnTo>
                    <a:pt x="1222" y="6252"/>
                  </a:lnTo>
                  <a:lnTo>
                    <a:pt x="1613" y="5764"/>
                  </a:lnTo>
                  <a:lnTo>
                    <a:pt x="2272" y="5031"/>
                  </a:lnTo>
                  <a:lnTo>
                    <a:pt x="2663" y="4616"/>
                  </a:lnTo>
                  <a:lnTo>
                    <a:pt x="3127" y="4176"/>
                  </a:lnTo>
                  <a:lnTo>
                    <a:pt x="3640" y="3712"/>
                  </a:lnTo>
                  <a:lnTo>
                    <a:pt x="4201" y="3273"/>
                  </a:lnTo>
                  <a:lnTo>
                    <a:pt x="4788" y="2833"/>
                  </a:lnTo>
                  <a:lnTo>
                    <a:pt x="5423" y="2394"/>
                  </a:lnTo>
                  <a:lnTo>
                    <a:pt x="6082" y="2003"/>
                  </a:lnTo>
                  <a:lnTo>
                    <a:pt x="6448" y="1832"/>
                  </a:lnTo>
                  <a:lnTo>
                    <a:pt x="6790" y="1661"/>
                  </a:lnTo>
                  <a:lnTo>
                    <a:pt x="7157" y="1514"/>
                  </a:lnTo>
                  <a:lnTo>
                    <a:pt x="7523" y="1392"/>
                  </a:lnTo>
                  <a:lnTo>
                    <a:pt x="7914" y="1270"/>
                  </a:lnTo>
                  <a:lnTo>
                    <a:pt x="8304" y="1172"/>
                  </a:lnTo>
                  <a:lnTo>
                    <a:pt x="8695" y="1075"/>
                  </a:lnTo>
                  <a:lnTo>
                    <a:pt x="9086" y="1026"/>
                  </a:lnTo>
                  <a:lnTo>
                    <a:pt x="9477" y="977"/>
                  </a:lnTo>
                  <a:close/>
                  <a:moveTo>
                    <a:pt x="9892" y="0"/>
                  </a:moveTo>
                  <a:lnTo>
                    <a:pt x="9404" y="25"/>
                  </a:lnTo>
                  <a:lnTo>
                    <a:pt x="8915" y="73"/>
                  </a:lnTo>
                  <a:lnTo>
                    <a:pt x="8451" y="147"/>
                  </a:lnTo>
                  <a:lnTo>
                    <a:pt x="7963" y="244"/>
                  </a:lnTo>
                  <a:lnTo>
                    <a:pt x="7523" y="366"/>
                  </a:lnTo>
                  <a:lnTo>
                    <a:pt x="7059" y="513"/>
                  </a:lnTo>
                  <a:lnTo>
                    <a:pt x="6619" y="684"/>
                  </a:lnTo>
                  <a:lnTo>
                    <a:pt x="6204" y="879"/>
                  </a:lnTo>
                  <a:lnTo>
                    <a:pt x="5765" y="1075"/>
                  </a:lnTo>
                  <a:lnTo>
                    <a:pt x="5374" y="1295"/>
                  </a:lnTo>
                  <a:lnTo>
                    <a:pt x="4959" y="1539"/>
                  </a:lnTo>
                  <a:lnTo>
                    <a:pt x="4592" y="1783"/>
                  </a:lnTo>
                  <a:lnTo>
                    <a:pt x="3860" y="2296"/>
                  </a:lnTo>
                  <a:lnTo>
                    <a:pt x="3176" y="2833"/>
                  </a:lnTo>
                  <a:lnTo>
                    <a:pt x="2565" y="3370"/>
                  </a:lnTo>
                  <a:lnTo>
                    <a:pt x="2028" y="3883"/>
                  </a:lnTo>
                  <a:lnTo>
                    <a:pt x="1539" y="4372"/>
                  </a:lnTo>
                  <a:lnTo>
                    <a:pt x="1149" y="4836"/>
                  </a:lnTo>
                  <a:lnTo>
                    <a:pt x="562" y="5520"/>
                  </a:lnTo>
                  <a:lnTo>
                    <a:pt x="318" y="5837"/>
                  </a:lnTo>
                  <a:lnTo>
                    <a:pt x="1" y="6252"/>
                  </a:lnTo>
                  <a:lnTo>
                    <a:pt x="318" y="6668"/>
                  </a:lnTo>
                  <a:lnTo>
                    <a:pt x="562" y="6985"/>
                  </a:lnTo>
                  <a:lnTo>
                    <a:pt x="1149" y="7669"/>
                  </a:lnTo>
                  <a:lnTo>
                    <a:pt x="1539" y="8133"/>
                  </a:lnTo>
                  <a:lnTo>
                    <a:pt x="2028" y="8621"/>
                  </a:lnTo>
                  <a:lnTo>
                    <a:pt x="2565" y="9134"/>
                  </a:lnTo>
                  <a:lnTo>
                    <a:pt x="3176" y="9672"/>
                  </a:lnTo>
                  <a:lnTo>
                    <a:pt x="3860" y="10209"/>
                  </a:lnTo>
                  <a:lnTo>
                    <a:pt x="4592" y="10722"/>
                  </a:lnTo>
                  <a:lnTo>
                    <a:pt x="4959" y="10966"/>
                  </a:lnTo>
                  <a:lnTo>
                    <a:pt x="5374" y="11210"/>
                  </a:lnTo>
                  <a:lnTo>
                    <a:pt x="5765" y="11430"/>
                  </a:lnTo>
                  <a:lnTo>
                    <a:pt x="6204" y="11625"/>
                  </a:lnTo>
                  <a:lnTo>
                    <a:pt x="6619" y="11821"/>
                  </a:lnTo>
                  <a:lnTo>
                    <a:pt x="7059" y="11992"/>
                  </a:lnTo>
                  <a:lnTo>
                    <a:pt x="7523" y="12138"/>
                  </a:lnTo>
                  <a:lnTo>
                    <a:pt x="7963" y="12260"/>
                  </a:lnTo>
                  <a:lnTo>
                    <a:pt x="8451" y="12358"/>
                  </a:lnTo>
                  <a:lnTo>
                    <a:pt x="8915" y="12431"/>
                  </a:lnTo>
                  <a:lnTo>
                    <a:pt x="9404" y="12480"/>
                  </a:lnTo>
                  <a:lnTo>
                    <a:pt x="9892" y="12505"/>
                  </a:lnTo>
                  <a:lnTo>
                    <a:pt x="10380" y="12480"/>
                  </a:lnTo>
                  <a:lnTo>
                    <a:pt x="10869" y="12431"/>
                  </a:lnTo>
                  <a:lnTo>
                    <a:pt x="11333" y="12358"/>
                  </a:lnTo>
                  <a:lnTo>
                    <a:pt x="11821" y="12260"/>
                  </a:lnTo>
                  <a:lnTo>
                    <a:pt x="12261" y="12138"/>
                  </a:lnTo>
                  <a:lnTo>
                    <a:pt x="12725" y="11992"/>
                  </a:lnTo>
                  <a:lnTo>
                    <a:pt x="13165" y="11821"/>
                  </a:lnTo>
                  <a:lnTo>
                    <a:pt x="13580" y="11625"/>
                  </a:lnTo>
                  <a:lnTo>
                    <a:pt x="14019" y="11430"/>
                  </a:lnTo>
                  <a:lnTo>
                    <a:pt x="14410" y="11210"/>
                  </a:lnTo>
                  <a:lnTo>
                    <a:pt x="14825" y="10966"/>
                  </a:lnTo>
                  <a:lnTo>
                    <a:pt x="15192" y="10722"/>
                  </a:lnTo>
                  <a:lnTo>
                    <a:pt x="15924" y="10209"/>
                  </a:lnTo>
                  <a:lnTo>
                    <a:pt x="16608" y="9672"/>
                  </a:lnTo>
                  <a:lnTo>
                    <a:pt x="17219" y="9134"/>
                  </a:lnTo>
                  <a:lnTo>
                    <a:pt x="17756" y="8621"/>
                  </a:lnTo>
                  <a:lnTo>
                    <a:pt x="18245" y="8133"/>
                  </a:lnTo>
                  <a:lnTo>
                    <a:pt x="18635" y="7669"/>
                  </a:lnTo>
                  <a:lnTo>
                    <a:pt x="19222" y="6985"/>
                  </a:lnTo>
                  <a:lnTo>
                    <a:pt x="19466" y="6668"/>
                  </a:lnTo>
                  <a:lnTo>
                    <a:pt x="19783" y="6252"/>
                  </a:lnTo>
                  <a:lnTo>
                    <a:pt x="19466" y="5837"/>
                  </a:lnTo>
                  <a:lnTo>
                    <a:pt x="19222" y="5520"/>
                  </a:lnTo>
                  <a:lnTo>
                    <a:pt x="18635" y="4836"/>
                  </a:lnTo>
                  <a:lnTo>
                    <a:pt x="18245" y="4372"/>
                  </a:lnTo>
                  <a:lnTo>
                    <a:pt x="17756" y="3883"/>
                  </a:lnTo>
                  <a:lnTo>
                    <a:pt x="17219" y="3370"/>
                  </a:lnTo>
                  <a:lnTo>
                    <a:pt x="16608" y="2833"/>
                  </a:lnTo>
                  <a:lnTo>
                    <a:pt x="15924" y="2296"/>
                  </a:lnTo>
                  <a:lnTo>
                    <a:pt x="15192" y="1783"/>
                  </a:lnTo>
                  <a:lnTo>
                    <a:pt x="14825" y="1539"/>
                  </a:lnTo>
                  <a:lnTo>
                    <a:pt x="14410" y="1295"/>
                  </a:lnTo>
                  <a:lnTo>
                    <a:pt x="14019" y="1075"/>
                  </a:lnTo>
                  <a:lnTo>
                    <a:pt x="13580" y="879"/>
                  </a:lnTo>
                  <a:lnTo>
                    <a:pt x="13165" y="684"/>
                  </a:lnTo>
                  <a:lnTo>
                    <a:pt x="12725" y="513"/>
                  </a:lnTo>
                  <a:lnTo>
                    <a:pt x="12261" y="366"/>
                  </a:lnTo>
                  <a:lnTo>
                    <a:pt x="11821" y="244"/>
                  </a:lnTo>
                  <a:lnTo>
                    <a:pt x="11333" y="147"/>
                  </a:lnTo>
                  <a:lnTo>
                    <a:pt x="10869" y="73"/>
                  </a:lnTo>
                  <a:lnTo>
                    <a:pt x="10380" y="25"/>
                  </a:lnTo>
                  <a:lnTo>
                    <a:pt x="989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55" name="Shape 484"/>
            <p:cNvSpPr/>
            <p:nvPr/>
          </p:nvSpPr>
          <p:spPr>
            <a:xfrm>
              <a:off x="3384400" y="3091350"/>
              <a:ext cx="208850" cy="208825"/>
            </a:xfrm>
            <a:custGeom>
              <a:avLst/>
              <a:gdLst/>
              <a:ahLst/>
              <a:cxnLst/>
              <a:rect l="0" t="0" r="0" b="0"/>
              <a:pathLst>
                <a:path w="8354" h="8353" extrusionOk="0">
                  <a:moveTo>
                    <a:pt x="4177" y="0"/>
                  </a:moveTo>
                  <a:lnTo>
                    <a:pt x="3762" y="24"/>
                  </a:lnTo>
                  <a:lnTo>
                    <a:pt x="3347" y="73"/>
                  </a:lnTo>
                  <a:lnTo>
                    <a:pt x="2931" y="195"/>
                  </a:lnTo>
                  <a:lnTo>
                    <a:pt x="2541" y="318"/>
                  </a:lnTo>
                  <a:lnTo>
                    <a:pt x="2174" y="513"/>
                  </a:lnTo>
                  <a:lnTo>
                    <a:pt x="1832" y="708"/>
                  </a:lnTo>
                  <a:lnTo>
                    <a:pt x="1515" y="953"/>
                  </a:lnTo>
                  <a:lnTo>
                    <a:pt x="1222" y="1221"/>
                  </a:lnTo>
                  <a:lnTo>
                    <a:pt x="953" y="1514"/>
                  </a:lnTo>
                  <a:lnTo>
                    <a:pt x="709" y="1832"/>
                  </a:lnTo>
                  <a:lnTo>
                    <a:pt x="514" y="2174"/>
                  </a:lnTo>
                  <a:lnTo>
                    <a:pt x="318" y="2540"/>
                  </a:lnTo>
                  <a:lnTo>
                    <a:pt x="196" y="2931"/>
                  </a:lnTo>
                  <a:lnTo>
                    <a:pt x="74" y="3346"/>
                  </a:lnTo>
                  <a:lnTo>
                    <a:pt x="25" y="3761"/>
                  </a:lnTo>
                  <a:lnTo>
                    <a:pt x="1" y="4176"/>
                  </a:lnTo>
                  <a:lnTo>
                    <a:pt x="25" y="4592"/>
                  </a:lnTo>
                  <a:lnTo>
                    <a:pt x="74" y="5007"/>
                  </a:lnTo>
                  <a:lnTo>
                    <a:pt x="196" y="5422"/>
                  </a:lnTo>
                  <a:lnTo>
                    <a:pt x="318" y="5813"/>
                  </a:lnTo>
                  <a:lnTo>
                    <a:pt x="514" y="6179"/>
                  </a:lnTo>
                  <a:lnTo>
                    <a:pt x="709" y="6521"/>
                  </a:lnTo>
                  <a:lnTo>
                    <a:pt x="953" y="6839"/>
                  </a:lnTo>
                  <a:lnTo>
                    <a:pt x="1222" y="7132"/>
                  </a:lnTo>
                  <a:lnTo>
                    <a:pt x="1515" y="7400"/>
                  </a:lnTo>
                  <a:lnTo>
                    <a:pt x="1832" y="7644"/>
                  </a:lnTo>
                  <a:lnTo>
                    <a:pt x="2174" y="7840"/>
                  </a:lnTo>
                  <a:lnTo>
                    <a:pt x="2541" y="8035"/>
                  </a:lnTo>
                  <a:lnTo>
                    <a:pt x="2931" y="8157"/>
                  </a:lnTo>
                  <a:lnTo>
                    <a:pt x="3347" y="8279"/>
                  </a:lnTo>
                  <a:lnTo>
                    <a:pt x="3762" y="8328"/>
                  </a:lnTo>
                  <a:lnTo>
                    <a:pt x="4177" y="8353"/>
                  </a:lnTo>
                  <a:lnTo>
                    <a:pt x="4592" y="8328"/>
                  </a:lnTo>
                  <a:lnTo>
                    <a:pt x="5007" y="8279"/>
                  </a:lnTo>
                  <a:lnTo>
                    <a:pt x="5423" y="8157"/>
                  </a:lnTo>
                  <a:lnTo>
                    <a:pt x="5813" y="8035"/>
                  </a:lnTo>
                  <a:lnTo>
                    <a:pt x="6180" y="7840"/>
                  </a:lnTo>
                  <a:lnTo>
                    <a:pt x="6522" y="7644"/>
                  </a:lnTo>
                  <a:lnTo>
                    <a:pt x="6839" y="7400"/>
                  </a:lnTo>
                  <a:lnTo>
                    <a:pt x="7132" y="7132"/>
                  </a:lnTo>
                  <a:lnTo>
                    <a:pt x="7401" y="6839"/>
                  </a:lnTo>
                  <a:lnTo>
                    <a:pt x="7645" y="6521"/>
                  </a:lnTo>
                  <a:lnTo>
                    <a:pt x="7840" y="6179"/>
                  </a:lnTo>
                  <a:lnTo>
                    <a:pt x="8036" y="5813"/>
                  </a:lnTo>
                  <a:lnTo>
                    <a:pt x="8158" y="5422"/>
                  </a:lnTo>
                  <a:lnTo>
                    <a:pt x="8280" y="5007"/>
                  </a:lnTo>
                  <a:lnTo>
                    <a:pt x="8329" y="4592"/>
                  </a:lnTo>
                  <a:lnTo>
                    <a:pt x="8353" y="4176"/>
                  </a:lnTo>
                  <a:lnTo>
                    <a:pt x="8329" y="3737"/>
                  </a:lnTo>
                  <a:lnTo>
                    <a:pt x="8256" y="3297"/>
                  </a:lnTo>
                  <a:lnTo>
                    <a:pt x="8134" y="3517"/>
                  </a:lnTo>
                  <a:lnTo>
                    <a:pt x="8011" y="3688"/>
                  </a:lnTo>
                  <a:lnTo>
                    <a:pt x="7840" y="3859"/>
                  </a:lnTo>
                  <a:lnTo>
                    <a:pt x="7645" y="4005"/>
                  </a:lnTo>
                  <a:lnTo>
                    <a:pt x="7425" y="4128"/>
                  </a:lnTo>
                  <a:lnTo>
                    <a:pt x="7205" y="4201"/>
                  </a:lnTo>
                  <a:lnTo>
                    <a:pt x="6961" y="4250"/>
                  </a:lnTo>
                  <a:lnTo>
                    <a:pt x="6717" y="4274"/>
                  </a:lnTo>
                  <a:lnTo>
                    <a:pt x="6546" y="4274"/>
                  </a:lnTo>
                  <a:lnTo>
                    <a:pt x="6375" y="4250"/>
                  </a:lnTo>
                  <a:lnTo>
                    <a:pt x="6204" y="4201"/>
                  </a:lnTo>
                  <a:lnTo>
                    <a:pt x="6058" y="4152"/>
                  </a:lnTo>
                  <a:lnTo>
                    <a:pt x="5887" y="4079"/>
                  </a:lnTo>
                  <a:lnTo>
                    <a:pt x="5764" y="3981"/>
                  </a:lnTo>
                  <a:lnTo>
                    <a:pt x="5618" y="3883"/>
                  </a:lnTo>
                  <a:lnTo>
                    <a:pt x="5496" y="3786"/>
                  </a:lnTo>
                  <a:lnTo>
                    <a:pt x="5398" y="3664"/>
                  </a:lnTo>
                  <a:lnTo>
                    <a:pt x="5300" y="3517"/>
                  </a:lnTo>
                  <a:lnTo>
                    <a:pt x="5203" y="3395"/>
                  </a:lnTo>
                  <a:lnTo>
                    <a:pt x="5129" y="3224"/>
                  </a:lnTo>
                  <a:lnTo>
                    <a:pt x="5081" y="3077"/>
                  </a:lnTo>
                  <a:lnTo>
                    <a:pt x="5032" y="2906"/>
                  </a:lnTo>
                  <a:lnTo>
                    <a:pt x="5007" y="2735"/>
                  </a:lnTo>
                  <a:lnTo>
                    <a:pt x="5007" y="2564"/>
                  </a:lnTo>
                  <a:lnTo>
                    <a:pt x="5007" y="2394"/>
                  </a:lnTo>
                  <a:lnTo>
                    <a:pt x="5032" y="2223"/>
                  </a:lnTo>
                  <a:lnTo>
                    <a:pt x="5081" y="2052"/>
                  </a:lnTo>
                  <a:lnTo>
                    <a:pt x="5129" y="1905"/>
                  </a:lnTo>
                  <a:lnTo>
                    <a:pt x="5203" y="1759"/>
                  </a:lnTo>
                  <a:lnTo>
                    <a:pt x="5300" y="1612"/>
                  </a:lnTo>
                  <a:lnTo>
                    <a:pt x="5398" y="1490"/>
                  </a:lnTo>
                  <a:lnTo>
                    <a:pt x="5496" y="1368"/>
                  </a:lnTo>
                  <a:lnTo>
                    <a:pt x="5618" y="1246"/>
                  </a:lnTo>
                  <a:lnTo>
                    <a:pt x="5764" y="1148"/>
                  </a:lnTo>
                  <a:lnTo>
                    <a:pt x="5887" y="1075"/>
                  </a:lnTo>
                  <a:lnTo>
                    <a:pt x="6033" y="1001"/>
                  </a:lnTo>
                  <a:lnTo>
                    <a:pt x="6204" y="928"/>
                  </a:lnTo>
                  <a:lnTo>
                    <a:pt x="6375" y="879"/>
                  </a:lnTo>
                  <a:lnTo>
                    <a:pt x="6522" y="855"/>
                  </a:lnTo>
                  <a:lnTo>
                    <a:pt x="6717" y="855"/>
                  </a:lnTo>
                  <a:lnTo>
                    <a:pt x="6448" y="659"/>
                  </a:lnTo>
                  <a:lnTo>
                    <a:pt x="6155" y="489"/>
                  </a:lnTo>
                  <a:lnTo>
                    <a:pt x="5838" y="342"/>
                  </a:lnTo>
                  <a:lnTo>
                    <a:pt x="5545" y="220"/>
                  </a:lnTo>
                  <a:lnTo>
                    <a:pt x="5203" y="122"/>
                  </a:lnTo>
                  <a:lnTo>
                    <a:pt x="4885" y="49"/>
                  </a:lnTo>
                  <a:lnTo>
                    <a:pt x="4519" y="24"/>
                  </a:lnTo>
                  <a:lnTo>
                    <a:pt x="417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156" name="Shape 485"/>
          <p:cNvSpPr/>
          <p:nvPr/>
        </p:nvSpPr>
        <p:spPr>
          <a:xfrm>
            <a:off x="5787034" y="3824216"/>
            <a:ext cx="324530" cy="324511"/>
          </a:xfrm>
          <a:custGeom>
            <a:avLst/>
            <a:gdLst/>
            <a:ahLst/>
            <a:cxnLst/>
            <a:rect l="0" t="0" r="0" b="0"/>
            <a:pathLst>
              <a:path w="17000" h="16999" extrusionOk="0">
                <a:moveTo>
                  <a:pt x="8769" y="5740"/>
                </a:moveTo>
                <a:lnTo>
                  <a:pt x="9037" y="5788"/>
                </a:lnTo>
                <a:lnTo>
                  <a:pt x="9282" y="5862"/>
                </a:lnTo>
                <a:lnTo>
                  <a:pt x="9550" y="5935"/>
                </a:lnTo>
                <a:lnTo>
                  <a:pt x="9794" y="6057"/>
                </a:lnTo>
                <a:lnTo>
                  <a:pt x="10014" y="6204"/>
                </a:lnTo>
                <a:lnTo>
                  <a:pt x="10234" y="6350"/>
                </a:lnTo>
                <a:lnTo>
                  <a:pt x="10454" y="6546"/>
                </a:lnTo>
                <a:lnTo>
                  <a:pt x="10649" y="6765"/>
                </a:lnTo>
                <a:lnTo>
                  <a:pt x="10796" y="6985"/>
                </a:lnTo>
                <a:lnTo>
                  <a:pt x="10942" y="7205"/>
                </a:lnTo>
                <a:lnTo>
                  <a:pt x="11064" y="7449"/>
                </a:lnTo>
                <a:lnTo>
                  <a:pt x="11138" y="7718"/>
                </a:lnTo>
                <a:lnTo>
                  <a:pt x="11211" y="7962"/>
                </a:lnTo>
                <a:lnTo>
                  <a:pt x="11260" y="8231"/>
                </a:lnTo>
                <a:lnTo>
                  <a:pt x="11260" y="8499"/>
                </a:lnTo>
                <a:lnTo>
                  <a:pt x="11260" y="8768"/>
                </a:lnTo>
                <a:lnTo>
                  <a:pt x="11211" y="9037"/>
                </a:lnTo>
                <a:lnTo>
                  <a:pt x="11138" y="9281"/>
                </a:lnTo>
                <a:lnTo>
                  <a:pt x="11064" y="9550"/>
                </a:lnTo>
                <a:lnTo>
                  <a:pt x="10942" y="9794"/>
                </a:lnTo>
                <a:lnTo>
                  <a:pt x="10796" y="10014"/>
                </a:lnTo>
                <a:lnTo>
                  <a:pt x="10649" y="10233"/>
                </a:lnTo>
                <a:lnTo>
                  <a:pt x="10454" y="10453"/>
                </a:lnTo>
                <a:lnTo>
                  <a:pt x="10234" y="10649"/>
                </a:lnTo>
                <a:lnTo>
                  <a:pt x="10014" y="10795"/>
                </a:lnTo>
                <a:lnTo>
                  <a:pt x="9794" y="10942"/>
                </a:lnTo>
                <a:lnTo>
                  <a:pt x="9550" y="11064"/>
                </a:lnTo>
                <a:lnTo>
                  <a:pt x="9282" y="11137"/>
                </a:lnTo>
                <a:lnTo>
                  <a:pt x="9037" y="11210"/>
                </a:lnTo>
                <a:lnTo>
                  <a:pt x="8769" y="11259"/>
                </a:lnTo>
                <a:lnTo>
                  <a:pt x="8231" y="11259"/>
                </a:lnTo>
                <a:lnTo>
                  <a:pt x="7963" y="11210"/>
                </a:lnTo>
                <a:lnTo>
                  <a:pt x="7719" y="11137"/>
                </a:lnTo>
                <a:lnTo>
                  <a:pt x="7450" y="11064"/>
                </a:lnTo>
                <a:lnTo>
                  <a:pt x="7206" y="10942"/>
                </a:lnTo>
                <a:lnTo>
                  <a:pt x="6986" y="10795"/>
                </a:lnTo>
                <a:lnTo>
                  <a:pt x="6766" y="10649"/>
                </a:lnTo>
                <a:lnTo>
                  <a:pt x="6546" y="10453"/>
                </a:lnTo>
                <a:lnTo>
                  <a:pt x="6351" y="10233"/>
                </a:lnTo>
                <a:lnTo>
                  <a:pt x="6204" y="10014"/>
                </a:lnTo>
                <a:lnTo>
                  <a:pt x="6058" y="9794"/>
                </a:lnTo>
                <a:lnTo>
                  <a:pt x="5936" y="9550"/>
                </a:lnTo>
                <a:lnTo>
                  <a:pt x="5862" y="9281"/>
                </a:lnTo>
                <a:lnTo>
                  <a:pt x="5789" y="9037"/>
                </a:lnTo>
                <a:lnTo>
                  <a:pt x="5740" y="8768"/>
                </a:lnTo>
                <a:lnTo>
                  <a:pt x="5740" y="8499"/>
                </a:lnTo>
                <a:lnTo>
                  <a:pt x="5740" y="8231"/>
                </a:lnTo>
                <a:lnTo>
                  <a:pt x="5789" y="7962"/>
                </a:lnTo>
                <a:lnTo>
                  <a:pt x="5862" y="7718"/>
                </a:lnTo>
                <a:lnTo>
                  <a:pt x="5936" y="7449"/>
                </a:lnTo>
                <a:lnTo>
                  <a:pt x="6058" y="7205"/>
                </a:lnTo>
                <a:lnTo>
                  <a:pt x="6204" y="6985"/>
                </a:lnTo>
                <a:lnTo>
                  <a:pt x="6351" y="6765"/>
                </a:lnTo>
                <a:lnTo>
                  <a:pt x="6546" y="6546"/>
                </a:lnTo>
                <a:lnTo>
                  <a:pt x="6766" y="6350"/>
                </a:lnTo>
                <a:lnTo>
                  <a:pt x="6986" y="6204"/>
                </a:lnTo>
                <a:lnTo>
                  <a:pt x="7206" y="6057"/>
                </a:lnTo>
                <a:lnTo>
                  <a:pt x="7450" y="5935"/>
                </a:lnTo>
                <a:lnTo>
                  <a:pt x="7719" y="5862"/>
                </a:lnTo>
                <a:lnTo>
                  <a:pt x="7963" y="5788"/>
                </a:lnTo>
                <a:lnTo>
                  <a:pt x="8231" y="5740"/>
                </a:lnTo>
                <a:close/>
                <a:moveTo>
                  <a:pt x="7914" y="0"/>
                </a:moveTo>
                <a:lnTo>
                  <a:pt x="7743" y="25"/>
                </a:lnTo>
                <a:lnTo>
                  <a:pt x="7596" y="73"/>
                </a:lnTo>
                <a:lnTo>
                  <a:pt x="7474" y="147"/>
                </a:lnTo>
                <a:lnTo>
                  <a:pt x="7328" y="244"/>
                </a:lnTo>
                <a:lnTo>
                  <a:pt x="7230" y="342"/>
                </a:lnTo>
                <a:lnTo>
                  <a:pt x="7132" y="489"/>
                </a:lnTo>
                <a:lnTo>
                  <a:pt x="7084" y="635"/>
                </a:lnTo>
                <a:lnTo>
                  <a:pt x="7035" y="782"/>
                </a:lnTo>
                <a:lnTo>
                  <a:pt x="6839" y="2540"/>
                </a:lnTo>
                <a:lnTo>
                  <a:pt x="6497" y="2638"/>
                </a:lnTo>
                <a:lnTo>
                  <a:pt x="6131" y="2784"/>
                </a:lnTo>
                <a:lnTo>
                  <a:pt x="5789" y="2931"/>
                </a:lnTo>
                <a:lnTo>
                  <a:pt x="5447" y="3102"/>
                </a:lnTo>
                <a:lnTo>
                  <a:pt x="4079" y="2027"/>
                </a:lnTo>
                <a:lnTo>
                  <a:pt x="3933" y="1930"/>
                </a:lnTo>
                <a:lnTo>
                  <a:pt x="3786" y="1881"/>
                </a:lnTo>
                <a:lnTo>
                  <a:pt x="3640" y="1832"/>
                </a:lnTo>
                <a:lnTo>
                  <a:pt x="3493" y="1832"/>
                </a:lnTo>
                <a:lnTo>
                  <a:pt x="3322" y="1856"/>
                </a:lnTo>
                <a:lnTo>
                  <a:pt x="3176" y="1905"/>
                </a:lnTo>
                <a:lnTo>
                  <a:pt x="3029" y="1978"/>
                </a:lnTo>
                <a:lnTo>
                  <a:pt x="2907" y="2076"/>
                </a:lnTo>
                <a:lnTo>
                  <a:pt x="2077" y="2907"/>
                </a:lnTo>
                <a:lnTo>
                  <a:pt x="1979" y="3029"/>
                </a:lnTo>
                <a:lnTo>
                  <a:pt x="1906" y="3175"/>
                </a:lnTo>
                <a:lnTo>
                  <a:pt x="1857" y="3322"/>
                </a:lnTo>
                <a:lnTo>
                  <a:pt x="1833" y="3493"/>
                </a:lnTo>
                <a:lnTo>
                  <a:pt x="1833" y="3639"/>
                </a:lnTo>
                <a:lnTo>
                  <a:pt x="1881" y="3786"/>
                </a:lnTo>
                <a:lnTo>
                  <a:pt x="1930" y="3932"/>
                </a:lnTo>
                <a:lnTo>
                  <a:pt x="2028" y="4079"/>
                </a:lnTo>
                <a:lnTo>
                  <a:pt x="3103" y="5447"/>
                </a:lnTo>
                <a:lnTo>
                  <a:pt x="2932" y="5788"/>
                </a:lnTo>
                <a:lnTo>
                  <a:pt x="2785" y="6130"/>
                </a:lnTo>
                <a:lnTo>
                  <a:pt x="2639" y="6497"/>
                </a:lnTo>
                <a:lnTo>
                  <a:pt x="2541" y="6839"/>
                </a:lnTo>
                <a:lnTo>
                  <a:pt x="782" y="7034"/>
                </a:lnTo>
                <a:lnTo>
                  <a:pt x="636" y="7083"/>
                </a:lnTo>
                <a:lnTo>
                  <a:pt x="489" y="7132"/>
                </a:lnTo>
                <a:lnTo>
                  <a:pt x="343" y="7229"/>
                </a:lnTo>
                <a:lnTo>
                  <a:pt x="245" y="7327"/>
                </a:lnTo>
                <a:lnTo>
                  <a:pt x="147" y="7474"/>
                </a:lnTo>
                <a:lnTo>
                  <a:pt x="74" y="7596"/>
                </a:lnTo>
                <a:lnTo>
                  <a:pt x="25" y="7742"/>
                </a:lnTo>
                <a:lnTo>
                  <a:pt x="1" y="7913"/>
                </a:lnTo>
                <a:lnTo>
                  <a:pt x="1" y="9086"/>
                </a:lnTo>
                <a:lnTo>
                  <a:pt x="25" y="9257"/>
                </a:lnTo>
                <a:lnTo>
                  <a:pt x="74" y="9403"/>
                </a:lnTo>
                <a:lnTo>
                  <a:pt x="147" y="9525"/>
                </a:lnTo>
                <a:lnTo>
                  <a:pt x="245" y="9672"/>
                </a:lnTo>
                <a:lnTo>
                  <a:pt x="343" y="9769"/>
                </a:lnTo>
                <a:lnTo>
                  <a:pt x="489" y="9867"/>
                </a:lnTo>
                <a:lnTo>
                  <a:pt x="636" y="9916"/>
                </a:lnTo>
                <a:lnTo>
                  <a:pt x="782" y="9965"/>
                </a:lnTo>
                <a:lnTo>
                  <a:pt x="2541" y="10160"/>
                </a:lnTo>
                <a:lnTo>
                  <a:pt x="2639" y="10502"/>
                </a:lnTo>
                <a:lnTo>
                  <a:pt x="2785" y="10868"/>
                </a:lnTo>
                <a:lnTo>
                  <a:pt x="2932" y="11210"/>
                </a:lnTo>
                <a:lnTo>
                  <a:pt x="3103" y="11552"/>
                </a:lnTo>
                <a:lnTo>
                  <a:pt x="2028" y="12920"/>
                </a:lnTo>
                <a:lnTo>
                  <a:pt x="1930" y="13067"/>
                </a:lnTo>
                <a:lnTo>
                  <a:pt x="1881" y="13213"/>
                </a:lnTo>
                <a:lnTo>
                  <a:pt x="1833" y="13360"/>
                </a:lnTo>
                <a:lnTo>
                  <a:pt x="1833" y="13506"/>
                </a:lnTo>
                <a:lnTo>
                  <a:pt x="1857" y="13677"/>
                </a:lnTo>
                <a:lnTo>
                  <a:pt x="1906" y="13824"/>
                </a:lnTo>
                <a:lnTo>
                  <a:pt x="1979" y="13970"/>
                </a:lnTo>
                <a:lnTo>
                  <a:pt x="2077" y="14092"/>
                </a:lnTo>
                <a:lnTo>
                  <a:pt x="2907" y="14923"/>
                </a:lnTo>
                <a:lnTo>
                  <a:pt x="3029" y="15020"/>
                </a:lnTo>
                <a:lnTo>
                  <a:pt x="3176" y="15094"/>
                </a:lnTo>
                <a:lnTo>
                  <a:pt x="3322" y="15142"/>
                </a:lnTo>
                <a:lnTo>
                  <a:pt x="3493" y="15167"/>
                </a:lnTo>
                <a:lnTo>
                  <a:pt x="3640" y="15167"/>
                </a:lnTo>
                <a:lnTo>
                  <a:pt x="3786" y="15118"/>
                </a:lnTo>
                <a:lnTo>
                  <a:pt x="3933" y="15069"/>
                </a:lnTo>
                <a:lnTo>
                  <a:pt x="4079" y="14996"/>
                </a:lnTo>
                <a:lnTo>
                  <a:pt x="5447" y="13897"/>
                </a:lnTo>
                <a:lnTo>
                  <a:pt x="5789" y="14068"/>
                </a:lnTo>
                <a:lnTo>
                  <a:pt x="6131" y="14214"/>
                </a:lnTo>
                <a:lnTo>
                  <a:pt x="6497" y="14361"/>
                </a:lnTo>
                <a:lnTo>
                  <a:pt x="6839" y="14459"/>
                </a:lnTo>
                <a:lnTo>
                  <a:pt x="7035" y="16217"/>
                </a:lnTo>
                <a:lnTo>
                  <a:pt x="7084" y="16364"/>
                </a:lnTo>
                <a:lnTo>
                  <a:pt x="7132" y="16510"/>
                </a:lnTo>
                <a:lnTo>
                  <a:pt x="7230" y="16657"/>
                </a:lnTo>
                <a:lnTo>
                  <a:pt x="7328" y="16754"/>
                </a:lnTo>
                <a:lnTo>
                  <a:pt x="7474" y="16852"/>
                </a:lnTo>
                <a:lnTo>
                  <a:pt x="7596" y="16925"/>
                </a:lnTo>
                <a:lnTo>
                  <a:pt x="7743" y="16974"/>
                </a:lnTo>
                <a:lnTo>
                  <a:pt x="7914" y="16999"/>
                </a:lnTo>
                <a:lnTo>
                  <a:pt x="9086" y="16999"/>
                </a:lnTo>
                <a:lnTo>
                  <a:pt x="9257" y="16974"/>
                </a:lnTo>
                <a:lnTo>
                  <a:pt x="9404" y="16925"/>
                </a:lnTo>
                <a:lnTo>
                  <a:pt x="9526" y="16852"/>
                </a:lnTo>
                <a:lnTo>
                  <a:pt x="9672" y="16754"/>
                </a:lnTo>
                <a:lnTo>
                  <a:pt x="9770" y="16657"/>
                </a:lnTo>
                <a:lnTo>
                  <a:pt x="9868" y="16510"/>
                </a:lnTo>
                <a:lnTo>
                  <a:pt x="9917" y="16364"/>
                </a:lnTo>
                <a:lnTo>
                  <a:pt x="9965" y="16217"/>
                </a:lnTo>
                <a:lnTo>
                  <a:pt x="10161" y="14459"/>
                </a:lnTo>
                <a:lnTo>
                  <a:pt x="10503" y="14361"/>
                </a:lnTo>
                <a:lnTo>
                  <a:pt x="10869" y="14214"/>
                </a:lnTo>
                <a:lnTo>
                  <a:pt x="11211" y="14068"/>
                </a:lnTo>
                <a:lnTo>
                  <a:pt x="11553" y="13897"/>
                </a:lnTo>
                <a:lnTo>
                  <a:pt x="12921" y="14996"/>
                </a:lnTo>
                <a:lnTo>
                  <a:pt x="13067" y="15069"/>
                </a:lnTo>
                <a:lnTo>
                  <a:pt x="13214" y="15118"/>
                </a:lnTo>
                <a:lnTo>
                  <a:pt x="13360" y="15167"/>
                </a:lnTo>
                <a:lnTo>
                  <a:pt x="13507" y="15167"/>
                </a:lnTo>
                <a:lnTo>
                  <a:pt x="13678" y="15142"/>
                </a:lnTo>
                <a:lnTo>
                  <a:pt x="13824" y="15094"/>
                </a:lnTo>
                <a:lnTo>
                  <a:pt x="13971" y="15020"/>
                </a:lnTo>
                <a:lnTo>
                  <a:pt x="14093" y="14923"/>
                </a:lnTo>
                <a:lnTo>
                  <a:pt x="14923" y="14092"/>
                </a:lnTo>
                <a:lnTo>
                  <a:pt x="15021" y="13970"/>
                </a:lnTo>
                <a:lnTo>
                  <a:pt x="15094" y="13824"/>
                </a:lnTo>
                <a:lnTo>
                  <a:pt x="15143" y="13677"/>
                </a:lnTo>
                <a:lnTo>
                  <a:pt x="15168" y="13506"/>
                </a:lnTo>
                <a:lnTo>
                  <a:pt x="15168" y="13360"/>
                </a:lnTo>
                <a:lnTo>
                  <a:pt x="15119" y="13213"/>
                </a:lnTo>
                <a:lnTo>
                  <a:pt x="15070" y="13067"/>
                </a:lnTo>
                <a:lnTo>
                  <a:pt x="14997" y="12920"/>
                </a:lnTo>
                <a:lnTo>
                  <a:pt x="13898" y="11552"/>
                </a:lnTo>
                <a:lnTo>
                  <a:pt x="14068" y="11210"/>
                </a:lnTo>
                <a:lnTo>
                  <a:pt x="14215" y="10868"/>
                </a:lnTo>
                <a:lnTo>
                  <a:pt x="14362" y="10502"/>
                </a:lnTo>
                <a:lnTo>
                  <a:pt x="14459" y="10160"/>
                </a:lnTo>
                <a:lnTo>
                  <a:pt x="16218" y="9965"/>
                </a:lnTo>
                <a:lnTo>
                  <a:pt x="16364" y="9916"/>
                </a:lnTo>
                <a:lnTo>
                  <a:pt x="16511" y="9867"/>
                </a:lnTo>
                <a:lnTo>
                  <a:pt x="16657" y="9769"/>
                </a:lnTo>
                <a:lnTo>
                  <a:pt x="16755" y="9672"/>
                </a:lnTo>
                <a:lnTo>
                  <a:pt x="16853" y="9525"/>
                </a:lnTo>
                <a:lnTo>
                  <a:pt x="16926" y="9403"/>
                </a:lnTo>
                <a:lnTo>
                  <a:pt x="16975" y="9257"/>
                </a:lnTo>
                <a:lnTo>
                  <a:pt x="16999" y="9086"/>
                </a:lnTo>
                <a:lnTo>
                  <a:pt x="16999" y="7913"/>
                </a:lnTo>
                <a:lnTo>
                  <a:pt x="16975" y="7742"/>
                </a:lnTo>
                <a:lnTo>
                  <a:pt x="16926" y="7596"/>
                </a:lnTo>
                <a:lnTo>
                  <a:pt x="16853" y="7474"/>
                </a:lnTo>
                <a:lnTo>
                  <a:pt x="16755" y="7327"/>
                </a:lnTo>
                <a:lnTo>
                  <a:pt x="16657" y="7229"/>
                </a:lnTo>
                <a:lnTo>
                  <a:pt x="16511" y="7132"/>
                </a:lnTo>
                <a:lnTo>
                  <a:pt x="16364" y="7083"/>
                </a:lnTo>
                <a:lnTo>
                  <a:pt x="16218" y="7034"/>
                </a:lnTo>
                <a:lnTo>
                  <a:pt x="14459" y="6839"/>
                </a:lnTo>
                <a:lnTo>
                  <a:pt x="14362" y="6497"/>
                </a:lnTo>
                <a:lnTo>
                  <a:pt x="14215" y="6130"/>
                </a:lnTo>
                <a:lnTo>
                  <a:pt x="14068" y="5788"/>
                </a:lnTo>
                <a:lnTo>
                  <a:pt x="13898" y="5447"/>
                </a:lnTo>
                <a:lnTo>
                  <a:pt x="14997" y="4079"/>
                </a:lnTo>
                <a:lnTo>
                  <a:pt x="15070" y="3932"/>
                </a:lnTo>
                <a:lnTo>
                  <a:pt x="15119" y="3786"/>
                </a:lnTo>
                <a:lnTo>
                  <a:pt x="15168" y="3639"/>
                </a:lnTo>
                <a:lnTo>
                  <a:pt x="15168" y="3493"/>
                </a:lnTo>
                <a:lnTo>
                  <a:pt x="15143" y="3322"/>
                </a:lnTo>
                <a:lnTo>
                  <a:pt x="15094" y="3175"/>
                </a:lnTo>
                <a:lnTo>
                  <a:pt x="15021" y="3029"/>
                </a:lnTo>
                <a:lnTo>
                  <a:pt x="14923" y="2907"/>
                </a:lnTo>
                <a:lnTo>
                  <a:pt x="14093" y="2076"/>
                </a:lnTo>
                <a:lnTo>
                  <a:pt x="13971" y="1978"/>
                </a:lnTo>
                <a:lnTo>
                  <a:pt x="13824" y="1905"/>
                </a:lnTo>
                <a:lnTo>
                  <a:pt x="13678" y="1856"/>
                </a:lnTo>
                <a:lnTo>
                  <a:pt x="13507" y="1832"/>
                </a:lnTo>
                <a:lnTo>
                  <a:pt x="13360" y="1832"/>
                </a:lnTo>
                <a:lnTo>
                  <a:pt x="13214" y="1881"/>
                </a:lnTo>
                <a:lnTo>
                  <a:pt x="13067" y="1930"/>
                </a:lnTo>
                <a:lnTo>
                  <a:pt x="12921" y="2027"/>
                </a:lnTo>
                <a:lnTo>
                  <a:pt x="11553" y="3102"/>
                </a:lnTo>
                <a:lnTo>
                  <a:pt x="11211" y="2931"/>
                </a:lnTo>
                <a:lnTo>
                  <a:pt x="10869" y="2784"/>
                </a:lnTo>
                <a:lnTo>
                  <a:pt x="10503" y="2638"/>
                </a:lnTo>
                <a:lnTo>
                  <a:pt x="10161" y="2540"/>
                </a:lnTo>
                <a:lnTo>
                  <a:pt x="9965" y="782"/>
                </a:lnTo>
                <a:lnTo>
                  <a:pt x="9917" y="635"/>
                </a:lnTo>
                <a:lnTo>
                  <a:pt x="9868" y="489"/>
                </a:lnTo>
                <a:lnTo>
                  <a:pt x="9770" y="342"/>
                </a:lnTo>
                <a:lnTo>
                  <a:pt x="9672" y="244"/>
                </a:lnTo>
                <a:lnTo>
                  <a:pt x="9526" y="147"/>
                </a:lnTo>
                <a:lnTo>
                  <a:pt x="9404" y="73"/>
                </a:lnTo>
                <a:lnTo>
                  <a:pt x="9257" y="25"/>
                </a:lnTo>
                <a:lnTo>
                  <a:pt x="908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157" name="Shape 486"/>
          <p:cNvGrpSpPr/>
          <p:nvPr/>
        </p:nvGrpSpPr>
        <p:grpSpPr>
          <a:xfrm>
            <a:off x="6268303" y="3841706"/>
            <a:ext cx="390734" cy="289080"/>
            <a:chOff x="5255200" y="3006475"/>
            <a:chExt cx="511700" cy="378575"/>
          </a:xfrm>
        </p:grpSpPr>
        <p:sp>
          <p:nvSpPr>
            <p:cNvPr id="158" name="Shape 487"/>
            <p:cNvSpPr/>
            <p:nvPr/>
          </p:nvSpPr>
          <p:spPr>
            <a:xfrm>
              <a:off x="5255200" y="3006475"/>
              <a:ext cx="349900" cy="349875"/>
            </a:xfrm>
            <a:custGeom>
              <a:avLst/>
              <a:gdLst/>
              <a:ahLst/>
              <a:cxnLst/>
              <a:rect l="0" t="0" r="0" b="0"/>
              <a:pathLst>
                <a:path w="13996" h="13995" extrusionOk="0">
                  <a:moveTo>
                    <a:pt x="6986" y="4714"/>
                  </a:moveTo>
                  <a:lnTo>
                    <a:pt x="7206" y="4738"/>
                  </a:lnTo>
                  <a:lnTo>
                    <a:pt x="7425" y="4763"/>
                  </a:lnTo>
                  <a:lnTo>
                    <a:pt x="7645" y="4812"/>
                  </a:lnTo>
                  <a:lnTo>
                    <a:pt x="7841" y="4885"/>
                  </a:lnTo>
                  <a:lnTo>
                    <a:pt x="8060" y="4983"/>
                  </a:lnTo>
                  <a:lnTo>
                    <a:pt x="8256" y="5105"/>
                  </a:lnTo>
                  <a:lnTo>
                    <a:pt x="8427" y="5227"/>
                  </a:lnTo>
                  <a:lnTo>
                    <a:pt x="8598" y="5398"/>
                  </a:lnTo>
                  <a:lnTo>
                    <a:pt x="8769" y="5569"/>
                  </a:lnTo>
                  <a:lnTo>
                    <a:pt x="8891" y="5740"/>
                  </a:lnTo>
                  <a:lnTo>
                    <a:pt x="9013" y="5935"/>
                  </a:lnTo>
                  <a:lnTo>
                    <a:pt x="9111" y="6155"/>
                  </a:lnTo>
                  <a:lnTo>
                    <a:pt x="9184" y="6350"/>
                  </a:lnTo>
                  <a:lnTo>
                    <a:pt x="9233" y="6570"/>
                  </a:lnTo>
                  <a:lnTo>
                    <a:pt x="9257" y="6790"/>
                  </a:lnTo>
                  <a:lnTo>
                    <a:pt x="9257" y="7010"/>
                  </a:lnTo>
                  <a:lnTo>
                    <a:pt x="9257" y="7229"/>
                  </a:lnTo>
                  <a:lnTo>
                    <a:pt x="9233" y="7425"/>
                  </a:lnTo>
                  <a:lnTo>
                    <a:pt x="9184" y="7645"/>
                  </a:lnTo>
                  <a:lnTo>
                    <a:pt x="9111" y="7864"/>
                  </a:lnTo>
                  <a:lnTo>
                    <a:pt x="9013" y="8060"/>
                  </a:lnTo>
                  <a:lnTo>
                    <a:pt x="8891" y="8255"/>
                  </a:lnTo>
                  <a:lnTo>
                    <a:pt x="8769" y="8451"/>
                  </a:lnTo>
                  <a:lnTo>
                    <a:pt x="8598" y="8622"/>
                  </a:lnTo>
                  <a:lnTo>
                    <a:pt x="8427" y="8768"/>
                  </a:lnTo>
                  <a:lnTo>
                    <a:pt x="8256" y="8915"/>
                  </a:lnTo>
                  <a:lnTo>
                    <a:pt x="8060" y="9012"/>
                  </a:lnTo>
                  <a:lnTo>
                    <a:pt x="7841" y="9110"/>
                  </a:lnTo>
                  <a:lnTo>
                    <a:pt x="7645" y="9183"/>
                  </a:lnTo>
                  <a:lnTo>
                    <a:pt x="7425" y="9232"/>
                  </a:lnTo>
                  <a:lnTo>
                    <a:pt x="7206" y="9257"/>
                  </a:lnTo>
                  <a:lnTo>
                    <a:pt x="6986" y="9281"/>
                  </a:lnTo>
                  <a:lnTo>
                    <a:pt x="6766" y="9257"/>
                  </a:lnTo>
                  <a:lnTo>
                    <a:pt x="6546" y="9232"/>
                  </a:lnTo>
                  <a:lnTo>
                    <a:pt x="6351" y="9183"/>
                  </a:lnTo>
                  <a:lnTo>
                    <a:pt x="6131" y="9110"/>
                  </a:lnTo>
                  <a:lnTo>
                    <a:pt x="5936" y="9012"/>
                  </a:lnTo>
                  <a:lnTo>
                    <a:pt x="5740" y="8915"/>
                  </a:lnTo>
                  <a:lnTo>
                    <a:pt x="5545" y="8768"/>
                  </a:lnTo>
                  <a:lnTo>
                    <a:pt x="5374" y="8622"/>
                  </a:lnTo>
                  <a:lnTo>
                    <a:pt x="5227" y="8451"/>
                  </a:lnTo>
                  <a:lnTo>
                    <a:pt x="5081" y="8255"/>
                  </a:lnTo>
                  <a:lnTo>
                    <a:pt x="4983" y="8060"/>
                  </a:lnTo>
                  <a:lnTo>
                    <a:pt x="4885" y="7864"/>
                  </a:lnTo>
                  <a:lnTo>
                    <a:pt x="4812" y="7645"/>
                  </a:lnTo>
                  <a:lnTo>
                    <a:pt x="4763" y="7425"/>
                  </a:lnTo>
                  <a:lnTo>
                    <a:pt x="4714" y="7229"/>
                  </a:lnTo>
                  <a:lnTo>
                    <a:pt x="4714" y="7010"/>
                  </a:lnTo>
                  <a:lnTo>
                    <a:pt x="4714" y="6790"/>
                  </a:lnTo>
                  <a:lnTo>
                    <a:pt x="4763" y="6570"/>
                  </a:lnTo>
                  <a:lnTo>
                    <a:pt x="4812" y="6350"/>
                  </a:lnTo>
                  <a:lnTo>
                    <a:pt x="4885" y="6155"/>
                  </a:lnTo>
                  <a:lnTo>
                    <a:pt x="4983" y="5935"/>
                  </a:lnTo>
                  <a:lnTo>
                    <a:pt x="5081" y="5740"/>
                  </a:lnTo>
                  <a:lnTo>
                    <a:pt x="5227" y="5569"/>
                  </a:lnTo>
                  <a:lnTo>
                    <a:pt x="5374" y="5398"/>
                  </a:lnTo>
                  <a:lnTo>
                    <a:pt x="5545" y="5227"/>
                  </a:lnTo>
                  <a:lnTo>
                    <a:pt x="5740" y="5105"/>
                  </a:lnTo>
                  <a:lnTo>
                    <a:pt x="5936" y="4983"/>
                  </a:lnTo>
                  <a:lnTo>
                    <a:pt x="6131" y="4885"/>
                  </a:lnTo>
                  <a:lnTo>
                    <a:pt x="6351" y="4812"/>
                  </a:lnTo>
                  <a:lnTo>
                    <a:pt x="6546" y="4763"/>
                  </a:lnTo>
                  <a:lnTo>
                    <a:pt x="6766" y="4738"/>
                  </a:lnTo>
                  <a:lnTo>
                    <a:pt x="6986" y="4714"/>
                  </a:lnTo>
                  <a:close/>
                  <a:moveTo>
                    <a:pt x="6497" y="0"/>
                  </a:moveTo>
                  <a:lnTo>
                    <a:pt x="6375" y="25"/>
                  </a:lnTo>
                  <a:lnTo>
                    <a:pt x="6253" y="49"/>
                  </a:lnTo>
                  <a:lnTo>
                    <a:pt x="6131" y="122"/>
                  </a:lnTo>
                  <a:lnTo>
                    <a:pt x="6033" y="196"/>
                  </a:lnTo>
                  <a:lnTo>
                    <a:pt x="5936" y="293"/>
                  </a:lnTo>
                  <a:lnTo>
                    <a:pt x="5862" y="391"/>
                  </a:lnTo>
                  <a:lnTo>
                    <a:pt x="5813" y="513"/>
                  </a:lnTo>
                  <a:lnTo>
                    <a:pt x="5789" y="635"/>
                  </a:lnTo>
                  <a:lnTo>
                    <a:pt x="5618" y="2076"/>
                  </a:lnTo>
                  <a:lnTo>
                    <a:pt x="5325" y="2174"/>
                  </a:lnTo>
                  <a:lnTo>
                    <a:pt x="5032" y="2296"/>
                  </a:lnTo>
                  <a:lnTo>
                    <a:pt x="4763" y="2418"/>
                  </a:lnTo>
                  <a:lnTo>
                    <a:pt x="4495" y="2565"/>
                  </a:lnTo>
                  <a:lnTo>
                    <a:pt x="3347" y="1661"/>
                  </a:lnTo>
                  <a:lnTo>
                    <a:pt x="3225" y="1588"/>
                  </a:lnTo>
                  <a:lnTo>
                    <a:pt x="3103" y="1539"/>
                  </a:lnTo>
                  <a:lnTo>
                    <a:pt x="2980" y="1514"/>
                  </a:lnTo>
                  <a:lnTo>
                    <a:pt x="2736" y="1514"/>
                  </a:lnTo>
                  <a:lnTo>
                    <a:pt x="2590" y="1563"/>
                  </a:lnTo>
                  <a:lnTo>
                    <a:pt x="2492" y="1637"/>
                  </a:lnTo>
                  <a:lnTo>
                    <a:pt x="2394" y="1710"/>
                  </a:lnTo>
                  <a:lnTo>
                    <a:pt x="1710" y="2394"/>
                  </a:lnTo>
                  <a:lnTo>
                    <a:pt x="1613" y="2491"/>
                  </a:lnTo>
                  <a:lnTo>
                    <a:pt x="1564" y="2614"/>
                  </a:lnTo>
                  <a:lnTo>
                    <a:pt x="1515" y="2736"/>
                  </a:lnTo>
                  <a:lnTo>
                    <a:pt x="1491" y="2858"/>
                  </a:lnTo>
                  <a:lnTo>
                    <a:pt x="1491" y="3004"/>
                  </a:lnTo>
                  <a:lnTo>
                    <a:pt x="1515" y="3126"/>
                  </a:lnTo>
                  <a:lnTo>
                    <a:pt x="1564" y="3249"/>
                  </a:lnTo>
                  <a:lnTo>
                    <a:pt x="1637" y="3346"/>
                  </a:lnTo>
                  <a:lnTo>
                    <a:pt x="2541" y="4494"/>
                  </a:lnTo>
                  <a:lnTo>
                    <a:pt x="2394" y="4763"/>
                  </a:lnTo>
                  <a:lnTo>
                    <a:pt x="2272" y="5056"/>
                  </a:lnTo>
                  <a:lnTo>
                    <a:pt x="2174" y="5349"/>
                  </a:lnTo>
                  <a:lnTo>
                    <a:pt x="2077" y="5642"/>
                  </a:lnTo>
                  <a:lnTo>
                    <a:pt x="636" y="5789"/>
                  </a:lnTo>
                  <a:lnTo>
                    <a:pt x="514" y="5837"/>
                  </a:lnTo>
                  <a:lnTo>
                    <a:pt x="392" y="5886"/>
                  </a:lnTo>
                  <a:lnTo>
                    <a:pt x="269" y="5959"/>
                  </a:lnTo>
                  <a:lnTo>
                    <a:pt x="172" y="6033"/>
                  </a:lnTo>
                  <a:lnTo>
                    <a:pt x="99" y="6155"/>
                  </a:lnTo>
                  <a:lnTo>
                    <a:pt x="50" y="6253"/>
                  </a:lnTo>
                  <a:lnTo>
                    <a:pt x="1" y="6399"/>
                  </a:lnTo>
                  <a:lnTo>
                    <a:pt x="1" y="6521"/>
                  </a:lnTo>
                  <a:lnTo>
                    <a:pt x="1" y="7474"/>
                  </a:lnTo>
                  <a:lnTo>
                    <a:pt x="1" y="7620"/>
                  </a:lnTo>
                  <a:lnTo>
                    <a:pt x="50" y="7742"/>
                  </a:lnTo>
                  <a:lnTo>
                    <a:pt x="99" y="7864"/>
                  </a:lnTo>
                  <a:lnTo>
                    <a:pt x="172" y="7962"/>
                  </a:lnTo>
                  <a:lnTo>
                    <a:pt x="269" y="8060"/>
                  </a:lnTo>
                  <a:lnTo>
                    <a:pt x="392" y="8133"/>
                  </a:lnTo>
                  <a:lnTo>
                    <a:pt x="514" y="8182"/>
                  </a:lnTo>
                  <a:lnTo>
                    <a:pt x="636" y="8206"/>
                  </a:lnTo>
                  <a:lnTo>
                    <a:pt x="2077" y="8377"/>
                  </a:lnTo>
                  <a:lnTo>
                    <a:pt x="2174" y="8670"/>
                  </a:lnTo>
                  <a:lnTo>
                    <a:pt x="2272" y="8939"/>
                  </a:lnTo>
                  <a:lnTo>
                    <a:pt x="2394" y="9232"/>
                  </a:lnTo>
                  <a:lnTo>
                    <a:pt x="2541" y="9501"/>
                  </a:lnTo>
                  <a:lnTo>
                    <a:pt x="1637" y="10649"/>
                  </a:lnTo>
                  <a:lnTo>
                    <a:pt x="1564" y="10771"/>
                  </a:lnTo>
                  <a:lnTo>
                    <a:pt x="1515" y="10893"/>
                  </a:lnTo>
                  <a:lnTo>
                    <a:pt x="1491" y="11015"/>
                  </a:lnTo>
                  <a:lnTo>
                    <a:pt x="1491" y="11137"/>
                  </a:lnTo>
                  <a:lnTo>
                    <a:pt x="1515" y="11259"/>
                  </a:lnTo>
                  <a:lnTo>
                    <a:pt x="1564" y="11381"/>
                  </a:lnTo>
                  <a:lnTo>
                    <a:pt x="1613" y="11504"/>
                  </a:lnTo>
                  <a:lnTo>
                    <a:pt x="1710" y="11601"/>
                  </a:lnTo>
                  <a:lnTo>
                    <a:pt x="2394" y="12285"/>
                  </a:lnTo>
                  <a:lnTo>
                    <a:pt x="2492" y="12383"/>
                  </a:lnTo>
                  <a:lnTo>
                    <a:pt x="2590" y="12432"/>
                  </a:lnTo>
                  <a:lnTo>
                    <a:pt x="2736" y="12480"/>
                  </a:lnTo>
                  <a:lnTo>
                    <a:pt x="2858" y="12505"/>
                  </a:lnTo>
                  <a:lnTo>
                    <a:pt x="2980" y="12505"/>
                  </a:lnTo>
                  <a:lnTo>
                    <a:pt x="3103" y="12456"/>
                  </a:lnTo>
                  <a:lnTo>
                    <a:pt x="3225" y="12407"/>
                  </a:lnTo>
                  <a:lnTo>
                    <a:pt x="3347" y="12358"/>
                  </a:lnTo>
                  <a:lnTo>
                    <a:pt x="4495" y="11455"/>
                  </a:lnTo>
                  <a:lnTo>
                    <a:pt x="4763" y="11577"/>
                  </a:lnTo>
                  <a:lnTo>
                    <a:pt x="5032" y="11723"/>
                  </a:lnTo>
                  <a:lnTo>
                    <a:pt x="5325" y="11821"/>
                  </a:lnTo>
                  <a:lnTo>
                    <a:pt x="5618" y="11919"/>
                  </a:lnTo>
                  <a:lnTo>
                    <a:pt x="5789" y="13360"/>
                  </a:lnTo>
                  <a:lnTo>
                    <a:pt x="5813" y="13482"/>
                  </a:lnTo>
                  <a:lnTo>
                    <a:pt x="5862" y="13604"/>
                  </a:lnTo>
                  <a:lnTo>
                    <a:pt x="5936" y="13726"/>
                  </a:lnTo>
                  <a:lnTo>
                    <a:pt x="6033" y="13824"/>
                  </a:lnTo>
                  <a:lnTo>
                    <a:pt x="6131" y="13897"/>
                  </a:lnTo>
                  <a:lnTo>
                    <a:pt x="6253" y="13946"/>
                  </a:lnTo>
                  <a:lnTo>
                    <a:pt x="6375" y="13995"/>
                  </a:lnTo>
                  <a:lnTo>
                    <a:pt x="7596" y="13995"/>
                  </a:lnTo>
                  <a:lnTo>
                    <a:pt x="7743" y="13946"/>
                  </a:lnTo>
                  <a:lnTo>
                    <a:pt x="7841" y="13897"/>
                  </a:lnTo>
                  <a:lnTo>
                    <a:pt x="7963" y="13824"/>
                  </a:lnTo>
                  <a:lnTo>
                    <a:pt x="8036" y="13726"/>
                  </a:lnTo>
                  <a:lnTo>
                    <a:pt x="8109" y="13604"/>
                  </a:lnTo>
                  <a:lnTo>
                    <a:pt x="8158" y="13482"/>
                  </a:lnTo>
                  <a:lnTo>
                    <a:pt x="8183" y="13360"/>
                  </a:lnTo>
                  <a:lnTo>
                    <a:pt x="8353" y="11919"/>
                  </a:lnTo>
                  <a:lnTo>
                    <a:pt x="8647" y="11821"/>
                  </a:lnTo>
                  <a:lnTo>
                    <a:pt x="8940" y="11723"/>
                  </a:lnTo>
                  <a:lnTo>
                    <a:pt x="9233" y="11577"/>
                  </a:lnTo>
                  <a:lnTo>
                    <a:pt x="9501" y="11455"/>
                  </a:lnTo>
                  <a:lnTo>
                    <a:pt x="10649" y="12358"/>
                  </a:lnTo>
                  <a:lnTo>
                    <a:pt x="10747" y="12407"/>
                  </a:lnTo>
                  <a:lnTo>
                    <a:pt x="10869" y="12456"/>
                  </a:lnTo>
                  <a:lnTo>
                    <a:pt x="10991" y="12505"/>
                  </a:lnTo>
                  <a:lnTo>
                    <a:pt x="11138" y="12505"/>
                  </a:lnTo>
                  <a:lnTo>
                    <a:pt x="11260" y="12480"/>
                  </a:lnTo>
                  <a:lnTo>
                    <a:pt x="11382" y="12432"/>
                  </a:lnTo>
                  <a:lnTo>
                    <a:pt x="11504" y="12383"/>
                  </a:lnTo>
                  <a:lnTo>
                    <a:pt x="11602" y="12285"/>
                  </a:lnTo>
                  <a:lnTo>
                    <a:pt x="12286" y="11601"/>
                  </a:lnTo>
                  <a:lnTo>
                    <a:pt x="12359" y="11504"/>
                  </a:lnTo>
                  <a:lnTo>
                    <a:pt x="12432" y="11381"/>
                  </a:lnTo>
                  <a:lnTo>
                    <a:pt x="12457" y="11259"/>
                  </a:lnTo>
                  <a:lnTo>
                    <a:pt x="12481" y="11137"/>
                  </a:lnTo>
                  <a:lnTo>
                    <a:pt x="12481" y="11015"/>
                  </a:lnTo>
                  <a:lnTo>
                    <a:pt x="12457" y="10893"/>
                  </a:lnTo>
                  <a:lnTo>
                    <a:pt x="12408" y="10771"/>
                  </a:lnTo>
                  <a:lnTo>
                    <a:pt x="12334" y="10649"/>
                  </a:lnTo>
                  <a:lnTo>
                    <a:pt x="11431" y="9501"/>
                  </a:lnTo>
                  <a:lnTo>
                    <a:pt x="11577" y="9232"/>
                  </a:lnTo>
                  <a:lnTo>
                    <a:pt x="11699" y="8939"/>
                  </a:lnTo>
                  <a:lnTo>
                    <a:pt x="11822" y="8670"/>
                  </a:lnTo>
                  <a:lnTo>
                    <a:pt x="11895" y="8377"/>
                  </a:lnTo>
                  <a:lnTo>
                    <a:pt x="13360" y="8206"/>
                  </a:lnTo>
                  <a:lnTo>
                    <a:pt x="13482" y="8182"/>
                  </a:lnTo>
                  <a:lnTo>
                    <a:pt x="13604" y="8133"/>
                  </a:lnTo>
                  <a:lnTo>
                    <a:pt x="13702" y="8060"/>
                  </a:lnTo>
                  <a:lnTo>
                    <a:pt x="13800" y="7962"/>
                  </a:lnTo>
                  <a:lnTo>
                    <a:pt x="13873" y="7864"/>
                  </a:lnTo>
                  <a:lnTo>
                    <a:pt x="13946" y="7742"/>
                  </a:lnTo>
                  <a:lnTo>
                    <a:pt x="13971" y="7620"/>
                  </a:lnTo>
                  <a:lnTo>
                    <a:pt x="13995" y="7474"/>
                  </a:lnTo>
                  <a:lnTo>
                    <a:pt x="13995" y="6521"/>
                  </a:lnTo>
                  <a:lnTo>
                    <a:pt x="13971" y="6399"/>
                  </a:lnTo>
                  <a:lnTo>
                    <a:pt x="13946" y="6253"/>
                  </a:lnTo>
                  <a:lnTo>
                    <a:pt x="13873" y="6155"/>
                  </a:lnTo>
                  <a:lnTo>
                    <a:pt x="13800" y="6033"/>
                  </a:lnTo>
                  <a:lnTo>
                    <a:pt x="13702" y="5959"/>
                  </a:lnTo>
                  <a:lnTo>
                    <a:pt x="13604" y="5886"/>
                  </a:lnTo>
                  <a:lnTo>
                    <a:pt x="13482" y="5837"/>
                  </a:lnTo>
                  <a:lnTo>
                    <a:pt x="13360" y="5789"/>
                  </a:lnTo>
                  <a:lnTo>
                    <a:pt x="11895" y="5642"/>
                  </a:lnTo>
                  <a:lnTo>
                    <a:pt x="11822" y="5349"/>
                  </a:lnTo>
                  <a:lnTo>
                    <a:pt x="11699" y="5056"/>
                  </a:lnTo>
                  <a:lnTo>
                    <a:pt x="11577" y="4763"/>
                  </a:lnTo>
                  <a:lnTo>
                    <a:pt x="11431" y="4494"/>
                  </a:lnTo>
                  <a:lnTo>
                    <a:pt x="12334" y="3346"/>
                  </a:lnTo>
                  <a:lnTo>
                    <a:pt x="12408" y="3249"/>
                  </a:lnTo>
                  <a:lnTo>
                    <a:pt x="12457" y="3126"/>
                  </a:lnTo>
                  <a:lnTo>
                    <a:pt x="12481" y="3004"/>
                  </a:lnTo>
                  <a:lnTo>
                    <a:pt x="12481" y="2858"/>
                  </a:lnTo>
                  <a:lnTo>
                    <a:pt x="12457" y="2736"/>
                  </a:lnTo>
                  <a:lnTo>
                    <a:pt x="12432" y="2614"/>
                  </a:lnTo>
                  <a:lnTo>
                    <a:pt x="12359" y="2491"/>
                  </a:lnTo>
                  <a:lnTo>
                    <a:pt x="12286" y="2394"/>
                  </a:lnTo>
                  <a:lnTo>
                    <a:pt x="11602" y="1710"/>
                  </a:lnTo>
                  <a:lnTo>
                    <a:pt x="11504" y="1637"/>
                  </a:lnTo>
                  <a:lnTo>
                    <a:pt x="11382" y="1563"/>
                  </a:lnTo>
                  <a:lnTo>
                    <a:pt x="11260" y="1514"/>
                  </a:lnTo>
                  <a:lnTo>
                    <a:pt x="10991" y="1514"/>
                  </a:lnTo>
                  <a:lnTo>
                    <a:pt x="10869" y="1539"/>
                  </a:lnTo>
                  <a:lnTo>
                    <a:pt x="10747" y="1588"/>
                  </a:lnTo>
                  <a:lnTo>
                    <a:pt x="10649" y="1661"/>
                  </a:lnTo>
                  <a:lnTo>
                    <a:pt x="9501" y="2565"/>
                  </a:lnTo>
                  <a:lnTo>
                    <a:pt x="9233" y="2418"/>
                  </a:lnTo>
                  <a:lnTo>
                    <a:pt x="8940" y="2296"/>
                  </a:lnTo>
                  <a:lnTo>
                    <a:pt x="8647" y="2174"/>
                  </a:lnTo>
                  <a:lnTo>
                    <a:pt x="8353" y="2076"/>
                  </a:lnTo>
                  <a:lnTo>
                    <a:pt x="8183" y="635"/>
                  </a:lnTo>
                  <a:lnTo>
                    <a:pt x="8158" y="513"/>
                  </a:lnTo>
                  <a:lnTo>
                    <a:pt x="8109" y="391"/>
                  </a:lnTo>
                  <a:lnTo>
                    <a:pt x="8036" y="293"/>
                  </a:lnTo>
                  <a:lnTo>
                    <a:pt x="7963" y="196"/>
                  </a:lnTo>
                  <a:lnTo>
                    <a:pt x="7841" y="122"/>
                  </a:lnTo>
                  <a:lnTo>
                    <a:pt x="7743" y="49"/>
                  </a:lnTo>
                  <a:lnTo>
                    <a:pt x="7596" y="25"/>
                  </a:lnTo>
                  <a:lnTo>
                    <a:pt x="747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59" name="Shape 488"/>
            <p:cNvSpPr/>
            <p:nvPr/>
          </p:nvSpPr>
          <p:spPr>
            <a:xfrm>
              <a:off x="5567825" y="3185975"/>
              <a:ext cx="199075" cy="199075"/>
            </a:xfrm>
            <a:custGeom>
              <a:avLst/>
              <a:gdLst/>
              <a:ahLst/>
              <a:cxnLst/>
              <a:rect l="0" t="0" r="0" b="0"/>
              <a:pathLst>
                <a:path w="7963" h="7963" extrusionOk="0">
                  <a:moveTo>
                    <a:pt x="3933" y="2296"/>
                  </a:moveTo>
                  <a:lnTo>
                    <a:pt x="4103" y="2321"/>
                  </a:lnTo>
                  <a:lnTo>
                    <a:pt x="4274" y="2321"/>
                  </a:lnTo>
                  <a:lnTo>
                    <a:pt x="4421" y="2370"/>
                  </a:lnTo>
                  <a:lnTo>
                    <a:pt x="4592" y="2419"/>
                  </a:lnTo>
                  <a:lnTo>
                    <a:pt x="4738" y="2492"/>
                  </a:lnTo>
                  <a:lnTo>
                    <a:pt x="4885" y="2565"/>
                  </a:lnTo>
                  <a:lnTo>
                    <a:pt x="5032" y="2663"/>
                  </a:lnTo>
                  <a:lnTo>
                    <a:pt x="5154" y="2785"/>
                  </a:lnTo>
                  <a:lnTo>
                    <a:pt x="5276" y="2883"/>
                  </a:lnTo>
                  <a:lnTo>
                    <a:pt x="5373" y="3029"/>
                  </a:lnTo>
                  <a:lnTo>
                    <a:pt x="5447" y="3151"/>
                  </a:lnTo>
                  <a:lnTo>
                    <a:pt x="5520" y="3298"/>
                  </a:lnTo>
                  <a:lnTo>
                    <a:pt x="5593" y="3444"/>
                  </a:lnTo>
                  <a:lnTo>
                    <a:pt x="5618" y="3615"/>
                  </a:lnTo>
                  <a:lnTo>
                    <a:pt x="5642" y="3762"/>
                  </a:lnTo>
                  <a:lnTo>
                    <a:pt x="5667" y="3933"/>
                  </a:lnTo>
                  <a:lnTo>
                    <a:pt x="5667" y="4079"/>
                  </a:lnTo>
                  <a:lnTo>
                    <a:pt x="5642" y="4250"/>
                  </a:lnTo>
                  <a:lnTo>
                    <a:pt x="5618" y="4421"/>
                  </a:lnTo>
                  <a:lnTo>
                    <a:pt x="5569" y="4568"/>
                  </a:lnTo>
                  <a:lnTo>
                    <a:pt x="5496" y="4739"/>
                  </a:lnTo>
                  <a:lnTo>
                    <a:pt x="5398" y="4885"/>
                  </a:lnTo>
                  <a:lnTo>
                    <a:pt x="5300" y="5007"/>
                  </a:lnTo>
                  <a:lnTo>
                    <a:pt x="5203" y="5154"/>
                  </a:lnTo>
                  <a:lnTo>
                    <a:pt x="5080" y="5252"/>
                  </a:lnTo>
                  <a:lnTo>
                    <a:pt x="4958" y="5349"/>
                  </a:lnTo>
                  <a:lnTo>
                    <a:pt x="4812" y="5447"/>
                  </a:lnTo>
                  <a:lnTo>
                    <a:pt x="4665" y="5520"/>
                  </a:lnTo>
                  <a:lnTo>
                    <a:pt x="4519" y="5569"/>
                  </a:lnTo>
                  <a:lnTo>
                    <a:pt x="4372" y="5618"/>
                  </a:lnTo>
                  <a:lnTo>
                    <a:pt x="4201" y="5642"/>
                  </a:lnTo>
                  <a:lnTo>
                    <a:pt x="4055" y="5667"/>
                  </a:lnTo>
                  <a:lnTo>
                    <a:pt x="3884" y="5642"/>
                  </a:lnTo>
                  <a:lnTo>
                    <a:pt x="3713" y="5642"/>
                  </a:lnTo>
                  <a:lnTo>
                    <a:pt x="3566" y="5594"/>
                  </a:lnTo>
                  <a:lnTo>
                    <a:pt x="3395" y="5545"/>
                  </a:lnTo>
                  <a:lnTo>
                    <a:pt x="3249" y="5471"/>
                  </a:lnTo>
                  <a:lnTo>
                    <a:pt x="3102" y="5398"/>
                  </a:lnTo>
                  <a:lnTo>
                    <a:pt x="2956" y="5300"/>
                  </a:lnTo>
                  <a:lnTo>
                    <a:pt x="2833" y="5178"/>
                  </a:lnTo>
                  <a:lnTo>
                    <a:pt x="2711" y="5081"/>
                  </a:lnTo>
                  <a:lnTo>
                    <a:pt x="2614" y="4934"/>
                  </a:lnTo>
                  <a:lnTo>
                    <a:pt x="2540" y="4812"/>
                  </a:lnTo>
                  <a:lnTo>
                    <a:pt x="2467" y="4665"/>
                  </a:lnTo>
                  <a:lnTo>
                    <a:pt x="2394" y="4519"/>
                  </a:lnTo>
                  <a:lnTo>
                    <a:pt x="2369" y="4348"/>
                  </a:lnTo>
                  <a:lnTo>
                    <a:pt x="2321" y="4201"/>
                  </a:lnTo>
                  <a:lnTo>
                    <a:pt x="2321" y="4030"/>
                  </a:lnTo>
                  <a:lnTo>
                    <a:pt x="2321" y="3884"/>
                  </a:lnTo>
                  <a:lnTo>
                    <a:pt x="2345" y="3713"/>
                  </a:lnTo>
                  <a:lnTo>
                    <a:pt x="2369" y="3542"/>
                  </a:lnTo>
                  <a:lnTo>
                    <a:pt x="2418" y="3395"/>
                  </a:lnTo>
                  <a:lnTo>
                    <a:pt x="2492" y="3224"/>
                  </a:lnTo>
                  <a:lnTo>
                    <a:pt x="2589" y="3078"/>
                  </a:lnTo>
                  <a:lnTo>
                    <a:pt x="2687" y="2956"/>
                  </a:lnTo>
                  <a:lnTo>
                    <a:pt x="2785" y="2809"/>
                  </a:lnTo>
                  <a:lnTo>
                    <a:pt x="2907" y="2712"/>
                  </a:lnTo>
                  <a:lnTo>
                    <a:pt x="3029" y="2614"/>
                  </a:lnTo>
                  <a:lnTo>
                    <a:pt x="3175" y="2516"/>
                  </a:lnTo>
                  <a:lnTo>
                    <a:pt x="3322" y="2443"/>
                  </a:lnTo>
                  <a:lnTo>
                    <a:pt x="3468" y="2394"/>
                  </a:lnTo>
                  <a:lnTo>
                    <a:pt x="3615" y="2345"/>
                  </a:lnTo>
                  <a:lnTo>
                    <a:pt x="3786" y="2321"/>
                  </a:lnTo>
                  <a:lnTo>
                    <a:pt x="3933" y="2296"/>
                  </a:lnTo>
                  <a:close/>
                  <a:moveTo>
                    <a:pt x="3053" y="1"/>
                  </a:moveTo>
                  <a:lnTo>
                    <a:pt x="2980" y="25"/>
                  </a:lnTo>
                  <a:lnTo>
                    <a:pt x="2443" y="196"/>
                  </a:lnTo>
                  <a:lnTo>
                    <a:pt x="2369" y="220"/>
                  </a:lnTo>
                  <a:lnTo>
                    <a:pt x="2296" y="269"/>
                  </a:lnTo>
                  <a:lnTo>
                    <a:pt x="2198" y="391"/>
                  </a:lnTo>
                  <a:lnTo>
                    <a:pt x="2150" y="538"/>
                  </a:lnTo>
                  <a:lnTo>
                    <a:pt x="2150" y="611"/>
                  </a:lnTo>
                  <a:lnTo>
                    <a:pt x="2150" y="684"/>
                  </a:lnTo>
                  <a:lnTo>
                    <a:pt x="2394" y="1832"/>
                  </a:lnTo>
                  <a:lnTo>
                    <a:pt x="2223" y="1954"/>
                  </a:lnTo>
                  <a:lnTo>
                    <a:pt x="2076" y="2101"/>
                  </a:lnTo>
                  <a:lnTo>
                    <a:pt x="1002" y="1686"/>
                  </a:lnTo>
                  <a:lnTo>
                    <a:pt x="928" y="1686"/>
                  </a:lnTo>
                  <a:lnTo>
                    <a:pt x="831" y="1661"/>
                  </a:lnTo>
                  <a:lnTo>
                    <a:pt x="684" y="1710"/>
                  </a:lnTo>
                  <a:lnTo>
                    <a:pt x="562" y="1784"/>
                  </a:lnTo>
                  <a:lnTo>
                    <a:pt x="513" y="1832"/>
                  </a:lnTo>
                  <a:lnTo>
                    <a:pt x="464" y="1906"/>
                  </a:lnTo>
                  <a:lnTo>
                    <a:pt x="220" y="2394"/>
                  </a:lnTo>
                  <a:lnTo>
                    <a:pt x="196" y="2467"/>
                  </a:lnTo>
                  <a:lnTo>
                    <a:pt x="171" y="2541"/>
                  </a:lnTo>
                  <a:lnTo>
                    <a:pt x="196" y="2712"/>
                  </a:lnTo>
                  <a:lnTo>
                    <a:pt x="245" y="2834"/>
                  </a:lnTo>
                  <a:lnTo>
                    <a:pt x="293" y="2907"/>
                  </a:lnTo>
                  <a:lnTo>
                    <a:pt x="367" y="2956"/>
                  </a:lnTo>
                  <a:lnTo>
                    <a:pt x="1344" y="3591"/>
                  </a:lnTo>
                  <a:lnTo>
                    <a:pt x="1319" y="3786"/>
                  </a:lnTo>
                  <a:lnTo>
                    <a:pt x="1295" y="4006"/>
                  </a:lnTo>
                  <a:lnTo>
                    <a:pt x="245" y="4494"/>
                  </a:lnTo>
                  <a:lnTo>
                    <a:pt x="196" y="4519"/>
                  </a:lnTo>
                  <a:lnTo>
                    <a:pt x="123" y="4568"/>
                  </a:lnTo>
                  <a:lnTo>
                    <a:pt x="49" y="4714"/>
                  </a:lnTo>
                  <a:lnTo>
                    <a:pt x="0" y="4861"/>
                  </a:lnTo>
                  <a:lnTo>
                    <a:pt x="25" y="4934"/>
                  </a:lnTo>
                  <a:lnTo>
                    <a:pt x="25" y="5007"/>
                  </a:lnTo>
                  <a:lnTo>
                    <a:pt x="220" y="5545"/>
                  </a:lnTo>
                  <a:lnTo>
                    <a:pt x="245" y="5594"/>
                  </a:lnTo>
                  <a:lnTo>
                    <a:pt x="293" y="5667"/>
                  </a:lnTo>
                  <a:lnTo>
                    <a:pt x="391" y="5764"/>
                  </a:lnTo>
                  <a:lnTo>
                    <a:pt x="538" y="5813"/>
                  </a:lnTo>
                  <a:lnTo>
                    <a:pt x="684" y="5813"/>
                  </a:lnTo>
                  <a:lnTo>
                    <a:pt x="1832" y="5569"/>
                  </a:lnTo>
                  <a:lnTo>
                    <a:pt x="1954" y="5740"/>
                  </a:lnTo>
                  <a:lnTo>
                    <a:pt x="2101" y="5887"/>
                  </a:lnTo>
                  <a:lnTo>
                    <a:pt x="1710" y="6986"/>
                  </a:lnTo>
                  <a:lnTo>
                    <a:pt x="1686" y="7059"/>
                  </a:lnTo>
                  <a:lnTo>
                    <a:pt x="1686" y="7132"/>
                  </a:lnTo>
                  <a:lnTo>
                    <a:pt x="1710" y="7279"/>
                  </a:lnTo>
                  <a:lnTo>
                    <a:pt x="1783" y="7401"/>
                  </a:lnTo>
                  <a:lnTo>
                    <a:pt x="1857" y="7450"/>
                  </a:lnTo>
                  <a:lnTo>
                    <a:pt x="1905" y="7499"/>
                  </a:lnTo>
                  <a:lnTo>
                    <a:pt x="2418" y="7743"/>
                  </a:lnTo>
                  <a:lnTo>
                    <a:pt x="2492" y="7792"/>
                  </a:lnTo>
                  <a:lnTo>
                    <a:pt x="2711" y="7792"/>
                  </a:lnTo>
                  <a:lnTo>
                    <a:pt x="2858" y="7718"/>
                  </a:lnTo>
                  <a:lnTo>
                    <a:pt x="2907" y="7669"/>
                  </a:lnTo>
                  <a:lnTo>
                    <a:pt x="2956" y="7621"/>
                  </a:lnTo>
                  <a:lnTo>
                    <a:pt x="3591" y="6644"/>
                  </a:lnTo>
                  <a:lnTo>
                    <a:pt x="3810" y="6668"/>
                  </a:lnTo>
                  <a:lnTo>
                    <a:pt x="4006" y="6668"/>
                  </a:lnTo>
                  <a:lnTo>
                    <a:pt x="4494" y="7718"/>
                  </a:lnTo>
                  <a:lnTo>
                    <a:pt x="4543" y="7792"/>
                  </a:lnTo>
                  <a:lnTo>
                    <a:pt x="4592" y="7840"/>
                  </a:lnTo>
                  <a:lnTo>
                    <a:pt x="4714" y="7914"/>
                  </a:lnTo>
                  <a:lnTo>
                    <a:pt x="4861" y="7963"/>
                  </a:lnTo>
                  <a:lnTo>
                    <a:pt x="4934" y="7963"/>
                  </a:lnTo>
                  <a:lnTo>
                    <a:pt x="5007" y="7938"/>
                  </a:lnTo>
                  <a:lnTo>
                    <a:pt x="5544" y="7767"/>
                  </a:lnTo>
                  <a:lnTo>
                    <a:pt x="5618" y="7743"/>
                  </a:lnTo>
                  <a:lnTo>
                    <a:pt x="5667" y="7694"/>
                  </a:lnTo>
                  <a:lnTo>
                    <a:pt x="5764" y="7572"/>
                  </a:lnTo>
                  <a:lnTo>
                    <a:pt x="5838" y="7425"/>
                  </a:lnTo>
                  <a:lnTo>
                    <a:pt x="5838" y="7352"/>
                  </a:lnTo>
                  <a:lnTo>
                    <a:pt x="5838" y="7279"/>
                  </a:lnTo>
                  <a:lnTo>
                    <a:pt x="5593" y="6131"/>
                  </a:lnTo>
                  <a:lnTo>
                    <a:pt x="5740" y="6009"/>
                  </a:lnTo>
                  <a:lnTo>
                    <a:pt x="5911" y="5862"/>
                  </a:lnTo>
                  <a:lnTo>
                    <a:pt x="6985" y="6277"/>
                  </a:lnTo>
                  <a:lnTo>
                    <a:pt x="7059" y="6277"/>
                  </a:lnTo>
                  <a:lnTo>
                    <a:pt x="7132" y="6302"/>
                  </a:lnTo>
                  <a:lnTo>
                    <a:pt x="7278" y="6253"/>
                  </a:lnTo>
                  <a:lnTo>
                    <a:pt x="7425" y="6180"/>
                  </a:lnTo>
                  <a:lnTo>
                    <a:pt x="7474" y="6131"/>
                  </a:lnTo>
                  <a:lnTo>
                    <a:pt x="7523" y="6058"/>
                  </a:lnTo>
                  <a:lnTo>
                    <a:pt x="7767" y="5545"/>
                  </a:lnTo>
                  <a:lnTo>
                    <a:pt x="7791" y="5496"/>
                  </a:lnTo>
                  <a:lnTo>
                    <a:pt x="7816" y="5398"/>
                  </a:lnTo>
                  <a:lnTo>
                    <a:pt x="7791" y="5252"/>
                  </a:lnTo>
                  <a:lnTo>
                    <a:pt x="7718" y="5129"/>
                  </a:lnTo>
                  <a:lnTo>
                    <a:pt x="7669" y="5056"/>
                  </a:lnTo>
                  <a:lnTo>
                    <a:pt x="7620" y="5007"/>
                  </a:lnTo>
                  <a:lnTo>
                    <a:pt x="6643" y="4372"/>
                  </a:lnTo>
                  <a:lnTo>
                    <a:pt x="6668" y="4177"/>
                  </a:lnTo>
                  <a:lnTo>
                    <a:pt x="6668" y="3957"/>
                  </a:lnTo>
                  <a:lnTo>
                    <a:pt x="7718" y="3469"/>
                  </a:lnTo>
                  <a:lnTo>
                    <a:pt x="7791" y="3444"/>
                  </a:lnTo>
                  <a:lnTo>
                    <a:pt x="7865" y="3395"/>
                  </a:lnTo>
                  <a:lnTo>
                    <a:pt x="7938" y="3249"/>
                  </a:lnTo>
                  <a:lnTo>
                    <a:pt x="7962" y="3102"/>
                  </a:lnTo>
                  <a:lnTo>
                    <a:pt x="7962" y="3029"/>
                  </a:lnTo>
                  <a:lnTo>
                    <a:pt x="7962" y="2956"/>
                  </a:lnTo>
                  <a:lnTo>
                    <a:pt x="7767" y="2419"/>
                  </a:lnTo>
                  <a:lnTo>
                    <a:pt x="7743" y="2345"/>
                  </a:lnTo>
                  <a:lnTo>
                    <a:pt x="7694" y="2296"/>
                  </a:lnTo>
                  <a:lnTo>
                    <a:pt x="7572" y="2199"/>
                  </a:lnTo>
                  <a:lnTo>
                    <a:pt x="7449" y="2150"/>
                  </a:lnTo>
                  <a:lnTo>
                    <a:pt x="7278" y="2150"/>
                  </a:lnTo>
                  <a:lnTo>
                    <a:pt x="6155" y="2394"/>
                  </a:lnTo>
                  <a:lnTo>
                    <a:pt x="6033" y="2223"/>
                  </a:lnTo>
                  <a:lnTo>
                    <a:pt x="5886" y="2077"/>
                  </a:lnTo>
                  <a:lnTo>
                    <a:pt x="6277" y="978"/>
                  </a:lnTo>
                  <a:lnTo>
                    <a:pt x="6302" y="904"/>
                  </a:lnTo>
                  <a:lnTo>
                    <a:pt x="6302" y="831"/>
                  </a:lnTo>
                  <a:lnTo>
                    <a:pt x="6277" y="684"/>
                  </a:lnTo>
                  <a:lnTo>
                    <a:pt x="6179" y="562"/>
                  </a:lnTo>
                  <a:lnTo>
                    <a:pt x="6131" y="489"/>
                  </a:lnTo>
                  <a:lnTo>
                    <a:pt x="6082" y="465"/>
                  </a:lnTo>
                  <a:lnTo>
                    <a:pt x="5569" y="196"/>
                  </a:lnTo>
                  <a:lnTo>
                    <a:pt x="5496" y="172"/>
                  </a:lnTo>
                  <a:lnTo>
                    <a:pt x="5276" y="172"/>
                  </a:lnTo>
                  <a:lnTo>
                    <a:pt x="5129" y="245"/>
                  </a:lnTo>
                  <a:lnTo>
                    <a:pt x="5080" y="294"/>
                  </a:lnTo>
                  <a:lnTo>
                    <a:pt x="5032" y="343"/>
                  </a:lnTo>
                  <a:lnTo>
                    <a:pt x="4397" y="1319"/>
                  </a:lnTo>
                  <a:lnTo>
                    <a:pt x="4177" y="1295"/>
                  </a:lnTo>
                  <a:lnTo>
                    <a:pt x="3981" y="1295"/>
                  </a:lnTo>
                  <a:lnTo>
                    <a:pt x="3493" y="245"/>
                  </a:lnTo>
                  <a:lnTo>
                    <a:pt x="3444" y="172"/>
                  </a:lnTo>
                  <a:lnTo>
                    <a:pt x="3395" y="123"/>
                  </a:lnTo>
                  <a:lnTo>
                    <a:pt x="3273" y="49"/>
                  </a:lnTo>
                  <a:lnTo>
                    <a:pt x="3127"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60" name="Shape 489"/>
          <p:cNvGrpSpPr/>
          <p:nvPr/>
        </p:nvGrpSpPr>
        <p:grpSpPr>
          <a:xfrm>
            <a:off x="5276157" y="3824926"/>
            <a:ext cx="316130" cy="322640"/>
            <a:chOff x="3955900" y="2984500"/>
            <a:chExt cx="414000" cy="422525"/>
          </a:xfrm>
        </p:grpSpPr>
        <p:sp>
          <p:nvSpPr>
            <p:cNvPr id="161" name="Shape 490"/>
            <p:cNvSpPr/>
            <p:nvPr/>
          </p:nvSpPr>
          <p:spPr>
            <a:xfrm>
              <a:off x="3955900" y="2984500"/>
              <a:ext cx="315700" cy="315675"/>
            </a:xfrm>
            <a:custGeom>
              <a:avLst/>
              <a:gdLst/>
              <a:ahLst/>
              <a:cxnLst/>
              <a:rect l="0" t="0" r="0" b="0"/>
              <a:pathLst>
                <a:path w="12628" h="12627" extrusionOk="0">
                  <a:moveTo>
                    <a:pt x="6302" y="977"/>
                  </a:moveTo>
                  <a:lnTo>
                    <a:pt x="6863" y="1026"/>
                  </a:lnTo>
                  <a:lnTo>
                    <a:pt x="7376" y="1099"/>
                  </a:lnTo>
                  <a:lnTo>
                    <a:pt x="7889" y="1221"/>
                  </a:lnTo>
                  <a:lnTo>
                    <a:pt x="8378" y="1417"/>
                  </a:lnTo>
                  <a:lnTo>
                    <a:pt x="8842" y="1636"/>
                  </a:lnTo>
                  <a:lnTo>
                    <a:pt x="9281" y="1905"/>
                  </a:lnTo>
                  <a:lnTo>
                    <a:pt x="9697" y="2198"/>
                  </a:lnTo>
                  <a:lnTo>
                    <a:pt x="10087" y="2540"/>
                  </a:lnTo>
                  <a:lnTo>
                    <a:pt x="10429" y="2931"/>
                  </a:lnTo>
                  <a:lnTo>
                    <a:pt x="10722" y="3346"/>
                  </a:lnTo>
                  <a:lnTo>
                    <a:pt x="10991" y="3786"/>
                  </a:lnTo>
                  <a:lnTo>
                    <a:pt x="11211" y="4250"/>
                  </a:lnTo>
                  <a:lnTo>
                    <a:pt x="11406" y="4738"/>
                  </a:lnTo>
                  <a:lnTo>
                    <a:pt x="11528" y="5251"/>
                  </a:lnTo>
                  <a:lnTo>
                    <a:pt x="11626" y="5764"/>
                  </a:lnTo>
                  <a:lnTo>
                    <a:pt x="11650" y="6326"/>
                  </a:lnTo>
                  <a:lnTo>
                    <a:pt x="11626" y="6863"/>
                  </a:lnTo>
                  <a:lnTo>
                    <a:pt x="11528" y="7400"/>
                  </a:lnTo>
                  <a:lnTo>
                    <a:pt x="11406" y="7913"/>
                  </a:lnTo>
                  <a:lnTo>
                    <a:pt x="11211" y="8402"/>
                  </a:lnTo>
                  <a:lnTo>
                    <a:pt x="10991" y="8866"/>
                  </a:lnTo>
                  <a:lnTo>
                    <a:pt x="10722" y="9305"/>
                  </a:lnTo>
                  <a:lnTo>
                    <a:pt x="10429" y="9696"/>
                  </a:lnTo>
                  <a:lnTo>
                    <a:pt x="10087" y="10087"/>
                  </a:lnTo>
                  <a:lnTo>
                    <a:pt x="9697" y="10429"/>
                  </a:lnTo>
                  <a:lnTo>
                    <a:pt x="9281" y="10746"/>
                  </a:lnTo>
                  <a:lnTo>
                    <a:pt x="8842" y="11015"/>
                  </a:lnTo>
                  <a:lnTo>
                    <a:pt x="8378" y="11235"/>
                  </a:lnTo>
                  <a:lnTo>
                    <a:pt x="7889" y="11406"/>
                  </a:lnTo>
                  <a:lnTo>
                    <a:pt x="7376" y="11552"/>
                  </a:lnTo>
                  <a:lnTo>
                    <a:pt x="6863" y="11625"/>
                  </a:lnTo>
                  <a:lnTo>
                    <a:pt x="6302" y="11650"/>
                  </a:lnTo>
                  <a:lnTo>
                    <a:pt x="5764" y="11625"/>
                  </a:lnTo>
                  <a:lnTo>
                    <a:pt x="5227" y="11552"/>
                  </a:lnTo>
                  <a:lnTo>
                    <a:pt x="4714" y="11406"/>
                  </a:lnTo>
                  <a:lnTo>
                    <a:pt x="4226" y="11235"/>
                  </a:lnTo>
                  <a:lnTo>
                    <a:pt x="3762" y="11015"/>
                  </a:lnTo>
                  <a:lnTo>
                    <a:pt x="3322" y="10746"/>
                  </a:lnTo>
                  <a:lnTo>
                    <a:pt x="2931" y="10429"/>
                  </a:lnTo>
                  <a:lnTo>
                    <a:pt x="2541" y="10087"/>
                  </a:lnTo>
                  <a:lnTo>
                    <a:pt x="2199" y="9696"/>
                  </a:lnTo>
                  <a:lnTo>
                    <a:pt x="1881" y="9305"/>
                  </a:lnTo>
                  <a:lnTo>
                    <a:pt x="1613" y="8866"/>
                  </a:lnTo>
                  <a:lnTo>
                    <a:pt x="1393" y="8402"/>
                  </a:lnTo>
                  <a:lnTo>
                    <a:pt x="1222" y="7913"/>
                  </a:lnTo>
                  <a:lnTo>
                    <a:pt x="1075" y="7400"/>
                  </a:lnTo>
                  <a:lnTo>
                    <a:pt x="1002" y="6863"/>
                  </a:lnTo>
                  <a:lnTo>
                    <a:pt x="978" y="6326"/>
                  </a:lnTo>
                  <a:lnTo>
                    <a:pt x="1002" y="5764"/>
                  </a:lnTo>
                  <a:lnTo>
                    <a:pt x="1075" y="5251"/>
                  </a:lnTo>
                  <a:lnTo>
                    <a:pt x="1222" y="4738"/>
                  </a:lnTo>
                  <a:lnTo>
                    <a:pt x="1393" y="4250"/>
                  </a:lnTo>
                  <a:lnTo>
                    <a:pt x="1613" y="3786"/>
                  </a:lnTo>
                  <a:lnTo>
                    <a:pt x="1881" y="3346"/>
                  </a:lnTo>
                  <a:lnTo>
                    <a:pt x="2199" y="2931"/>
                  </a:lnTo>
                  <a:lnTo>
                    <a:pt x="2541" y="2540"/>
                  </a:lnTo>
                  <a:lnTo>
                    <a:pt x="2931" y="2198"/>
                  </a:lnTo>
                  <a:lnTo>
                    <a:pt x="3322" y="1905"/>
                  </a:lnTo>
                  <a:lnTo>
                    <a:pt x="3762" y="1636"/>
                  </a:lnTo>
                  <a:lnTo>
                    <a:pt x="4226" y="1417"/>
                  </a:lnTo>
                  <a:lnTo>
                    <a:pt x="4714" y="1221"/>
                  </a:lnTo>
                  <a:lnTo>
                    <a:pt x="5227" y="1099"/>
                  </a:lnTo>
                  <a:lnTo>
                    <a:pt x="5764" y="1026"/>
                  </a:lnTo>
                  <a:lnTo>
                    <a:pt x="6302" y="977"/>
                  </a:lnTo>
                  <a:close/>
                  <a:moveTo>
                    <a:pt x="6302" y="0"/>
                  </a:moveTo>
                  <a:lnTo>
                    <a:pt x="5984" y="24"/>
                  </a:lnTo>
                  <a:lnTo>
                    <a:pt x="5667" y="49"/>
                  </a:lnTo>
                  <a:lnTo>
                    <a:pt x="5349" y="73"/>
                  </a:lnTo>
                  <a:lnTo>
                    <a:pt x="5032" y="147"/>
                  </a:lnTo>
                  <a:lnTo>
                    <a:pt x="4739" y="220"/>
                  </a:lnTo>
                  <a:lnTo>
                    <a:pt x="4446" y="293"/>
                  </a:lnTo>
                  <a:lnTo>
                    <a:pt x="4153" y="391"/>
                  </a:lnTo>
                  <a:lnTo>
                    <a:pt x="3859" y="513"/>
                  </a:lnTo>
                  <a:lnTo>
                    <a:pt x="3566" y="635"/>
                  </a:lnTo>
                  <a:lnTo>
                    <a:pt x="3298" y="782"/>
                  </a:lnTo>
                  <a:lnTo>
                    <a:pt x="3029" y="928"/>
                  </a:lnTo>
                  <a:lnTo>
                    <a:pt x="2785" y="1075"/>
                  </a:lnTo>
                  <a:lnTo>
                    <a:pt x="2296" y="1441"/>
                  </a:lnTo>
                  <a:lnTo>
                    <a:pt x="1857" y="1856"/>
                  </a:lnTo>
                  <a:lnTo>
                    <a:pt x="1442" y="2296"/>
                  </a:lnTo>
                  <a:lnTo>
                    <a:pt x="1075" y="2784"/>
                  </a:lnTo>
                  <a:lnTo>
                    <a:pt x="904" y="3053"/>
                  </a:lnTo>
                  <a:lnTo>
                    <a:pt x="758" y="3322"/>
                  </a:lnTo>
                  <a:lnTo>
                    <a:pt x="611" y="3590"/>
                  </a:lnTo>
                  <a:lnTo>
                    <a:pt x="489" y="3859"/>
                  </a:lnTo>
                  <a:lnTo>
                    <a:pt x="391" y="4152"/>
                  </a:lnTo>
                  <a:lnTo>
                    <a:pt x="294" y="4445"/>
                  </a:lnTo>
                  <a:lnTo>
                    <a:pt x="196" y="4738"/>
                  </a:lnTo>
                  <a:lnTo>
                    <a:pt x="123" y="5056"/>
                  </a:lnTo>
                  <a:lnTo>
                    <a:pt x="74" y="5349"/>
                  </a:lnTo>
                  <a:lnTo>
                    <a:pt x="25" y="5666"/>
                  </a:lnTo>
                  <a:lnTo>
                    <a:pt x="1" y="5984"/>
                  </a:lnTo>
                  <a:lnTo>
                    <a:pt x="1" y="6326"/>
                  </a:lnTo>
                  <a:lnTo>
                    <a:pt x="1" y="6643"/>
                  </a:lnTo>
                  <a:lnTo>
                    <a:pt x="25" y="6961"/>
                  </a:lnTo>
                  <a:lnTo>
                    <a:pt x="74" y="7278"/>
                  </a:lnTo>
                  <a:lnTo>
                    <a:pt x="123" y="7596"/>
                  </a:lnTo>
                  <a:lnTo>
                    <a:pt x="196" y="7889"/>
                  </a:lnTo>
                  <a:lnTo>
                    <a:pt x="294" y="8206"/>
                  </a:lnTo>
                  <a:lnTo>
                    <a:pt x="391" y="8499"/>
                  </a:lnTo>
                  <a:lnTo>
                    <a:pt x="489" y="8768"/>
                  </a:lnTo>
                  <a:lnTo>
                    <a:pt x="611" y="9061"/>
                  </a:lnTo>
                  <a:lnTo>
                    <a:pt x="758" y="9330"/>
                  </a:lnTo>
                  <a:lnTo>
                    <a:pt x="904" y="9598"/>
                  </a:lnTo>
                  <a:lnTo>
                    <a:pt x="1075" y="9843"/>
                  </a:lnTo>
                  <a:lnTo>
                    <a:pt x="1442" y="10331"/>
                  </a:lnTo>
                  <a:lnTo>
                    <a:pt x="1857" y="10771"/>
                  </a:lnTo>
                  <a:lnTo>
                    <a:pt x="2296" y="11186"/>
                  </a:lnTo>
                  <a:lnTo>
                    <a:pt x="2785" y="11552"/>
                  </a:lnTo>
                  <a:lnTo>
                    <a:pt x="3029" y="11723"/>
                  </a:lnTo>
                  <a:lnTo>
                    <a:pt x="3298" y="11870"/>
                  </a:lnTo>
                  <a:lnTo>
                    <a:pt x="3566" y="12016"/>
                  </a:lnTo>
                  <a:lnTo>
                    <a:pt x="3859" y="12138"/>
                  </a:lnTo>
                  <a:lnTo>
                    <a:pt x="4153" y="12236"/>
                  </a:lnTo>
                  <a:lnTo>
                    <a:pt x="4446" y="12334"/>
                  </a:lnTo>
                  <a:lnTo>
                    <a:pt x="4739" y="12431"/>
                  </a:lnTo>
                  <a:lnTo>
                    <a:pt x="5032" y="12505"/>
                  </a:lnTo>
                  <a:lnTo>
                    <a:pt x="5349" y="12553"/>
                  </a:lnTo>
                  <a:lnTo>
                    <a:pt x="5667" y="12602"/>
                  </a:lnTo>
                  <a:lnTo>
                    <a:pt x="5984" y="12627"/>
                  </a:lnTo>
                  <a:lnTo>
                    <a:pt x="6644" y="12627"/>
                  </a:lnTo>
                  <a:lnTo>
                    <a:pt x="6961" y="12602"/>
                  </a:lnTo>
                  <a:lnTo>
                    <a:pt x="7279" y="12553"/>
                  </a:lnTo>
                  <a:lnTo>
                    <a:pt x="7572" y="12505"/>
                  </a:lnTo>
                  <a:lnTo>
                    <a:pt x="7889" y="12431"/>
                  </a:lnTo>
                  <a:lnTo>
                    <a:pt x="8182" y="12334"/>
                  </a:lnTo>
                  <a:lnTo>
                    <a:pt x="8475" y="12236"/>
                  </a:lnTo>
                  <a:lnTo>
                    <a:pt x="8768" y="12138"/>
                  </a:lnTo>
                  <a:lnTo>
                    <a:pt x="9037" y="12016"/>
                  </a:lnTo>
                  <a:lnTo>
                    <a:pt x="9306" y="11870"/>
                  </a:lnTo>
                  <a:lnTo>
                    <a:pt x="9574" y="11723"/>
                  </a:lnTo>
                  <a:lnTo>
                    <a:pt x="9843" y="11552"/>
                  </a:lnTo>
                  <a:lnTo>
                    <a:pt x="10332" y="11186"/>
                  </a:lnTo>
                  <a:lnTo>
                    <a:pt x="10771" y="10771"/>
                  </a:lnTo>
                  <a:lnTo>
                    <a:pt x="11186" y="10331"/>
                  </a:lnTo>
                  <a:lnTo>
                    <a:pt x="11553" y="9843"/>
                  </a:lnTo>
                  <a:lnTo>
                    <a:pt x="11699" y="9598"/>
                  </a:lnTo>
                  <a:lnTo>
                    <a:pt x="11846" y="9330"/>
                  </a:lnTo>
                  <a:lnTo>
                    <a:pt x="11992" y="9061"/>
                  </a:lnTo>
                  <a:lnTo>
                    <a:pt x="12114" y="8768"/>
                  </a:lnTo>
                  <a:lnTo>
                    <a:pt x="12237" y="8499"/>
                  </a:lnTo>
                  <a:lnTo>
                    <a:pt x="12334" y="8206"/>
                  </a:lnTo>
                  <a:lnTo>
                    <a:pt x="12432" y="7889"/>
                  </a:lnTo>
                  <a:lnTo>
                    <a:pt x="12481" y="7596"/>
                  </a:lnTo>
                  <a:lnTo>
                    <a:pt x="12554" y="7278"/>
                  </a:lnTo>
                  <a:lnTo>
                    <a:pt x="12578" y="6961"/>
                  </a:lnTo>
                  <a:lnTo>
                    <a:pt x="12603" y="6643"/>
                  </a:lnTo>
                  <a:lnTo>
                    <a:pt x="12627" y="6326"/>
                  </a:lnTo>
                  <a:lnTo>
                    <a:pt x="12603" y="5984"/>
                  </a:lnTo>
                  <a:lnTo>
                    <a:pt x="12578" y="5666"/>
                  </a:lnTo>
                  <a:lnTo>
                    <a:pt x="12554" y="5349"/>
                  </a:lnTo>
                  <a:lnTo>
                    <a:pt x="12481" y="5056"/>
                  </a:lnTo>
                  <a:lnTo>
                    <a:pt x="12432" y="4738"/>
                  </a:lnTo>
                  <a:lnTo>
                    <a:pt x="12334" y="4445"/>
                  </a:lnTo>
                  <a:lnTo>
                    <a:pt x="12237" y="4152"/>
                  </a:lnTo>
                  <a:lnTo>
                    <a:pt x="12114" y="3859"/>
                  </a:lnTo>
                  <a:lnTo>
                    <a:pt x="11992" y="3590"/>
                  </a:lnTo>
                  <a:lnTo>
                    <a:pt x="11846" y="3322"/>
                  </a:lnTo>
                  <a:lnTo>
                    <a:pt x="11699" y="3053"/>
                  </a:lnTo>
                  <a:lnTo>
                    <a:pt x="11553" y="2784"/>
                  </a:lnTo>
                  <a:lnTo>
                    <a:pt x="11186" y="2296"/>
                  </a:lnTo>
                  <a:lnTo>
                    <a:pt x="10771" y="1856"/>
                  </a:lnTo>
                  <a:lnTo>
                    <a:pt x="10332" y="1441"/>
                  </a:lnTo>
                  <a:lnTo>
                    <a:pt x="9843" y="1075"/>
                  </a:lnTo>
                  <a:lnTo>
                    <a:pt x="9574" y="928"/>
                  </a:lnTo>
                  <a:lnTo>
                    <a:pt x="9306" y="782"/>
                  </a:lnTo>
                  <a:lnTo>
                    <a:pt x="9037" y="635"/>
                  </a:lnTo>
                  <a:lnTo>
                    <a:pt x="8768" y="513"/>
                  </a:lnTo>
                  <a:lnTo>
                    <a:pt x="8475" y="391"/>
                  </a:lnTo>
                  <a:lnTo>
                    <a:pt x="8182" y="293"/>
                  </a:lnTo>
                  <a:lnTo>
                    <a:pt x="7889" y="220"/>
                  </a:lnTo>
                  <a:lnTo>
                    <a:pt x="7572" y="147"/>
                  </a:lnTo>
                  <a:lnTo>
                    <a:pt x="7279" y="73"/>
                  </a:lnTo>
                  <a:lnTo>
                    <a:pt x="6961" y="49"/>
                  </a:lnTo>
                  <a:lnTo>
                    <a:pt x="6644" y="24"/>
                  </a:lnTo>
                  <a:lnTo>
                    <a:pt x="630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62" name="Shape 491"/>
            <p:cNvSpPr/>
            <p:nvPr/>
          </p:nvSpPr>
          <p:spPr>
            <a:xfrm>
              <a:off x="3992525" y="3021125"/>
              <a:ext cx="242425" cy="242425"/>
            </a:xfrm>
            <a:custGeom>
              <a:avLst/>
              <a:gdLst/>
              <a:ahLst/>
              <a:cxnLst/>
              <a:rect l="0" t="0" r="0" b="0"/>
              <a:pathLst>
                <a:path w="9697" h="9697" extrusionOk="0">
                  <a:moveTo>
                    <a:pt x="4934" y="1466"/>
                  </a:moveTo>
                  <a:lnTo>
                    <a:pt x="5008" y="1490"/>
                  </a:lnTo>
                  <a:lnTo>
                    <a:pt x="5081" y="1539"/>
                  </a:lnTo>
                  <a:lnTo>
                    <a:pt x="5154" y="1588"/>
                  </a:lnTo>
                  <a:lnTo>
                    <a:pt x="5203" y="1637"/>
                  </a:lnTo>
                  <a:lnTo>
                    <a:pt x="5252" y="1734"/>
                  </a:lnTo>
                  <a:lnTo>
                    <a:pt x="5276" y="1808"/>
                  </a:lnTo>
                  <a:lnTo>
                    <a:pt x="5276" y="1905"/>
                  </a:lnTo>
                  <a:lnTo>
                    <a:pt x="5276" y="1979"/>
                  </a:lnTo>
                  <a:lnTo>
                    <a:pt x="5252" y="2076"/>
                  </a:lnTo>
                  <a:lnTo>
                    <a:pt x="5203" y="2150"/>
                  </a:lnTo>
                  <a:lnTo>
                    <a:pt x="5154" y="2198"/>
                  </a:lnTo>
                  <a:lnTo>
                    <a:pt x="5081" y="2247"/>
                  </a:lnTo>
                  <a:lnTo>
                    <a:pt x="5008" y="2296"/>
                  </a:lnTo>
                  <a:lnTo>
                    <a:pt x="4934" y="2321"/>
                  </a:lnTo>
                  <a:lnTo>
                    <a:pt x="4837" y="2345"/>
                  </a:lnTo>
                  <a:lnTo>
                    <a:pt x="4593" y="2345"/>
                  </a:lnTo>
                  <a:lnTo>
                    <a:pt x="4348" y="2394"/>
                  </a:lnTo>
                  <a:lnTo>
                    <a:pt x="4104" y="2443"/>
                  </a:lnTo>
                  <a:lnTo>
                    <a:pt x="3860" y="2540"/>
                  </a:lnTo>
                  <a:lnTo>
                    <a:pt x="3640" y="2638"/>
                  </a:lnTo>
                  <a:lnTo>
                    <a:pt x="3445" y="2760"/>
                  </a:lnTo>
                  <a:lnTo>
                    <a:pt x="3249" y="2907"/>
                  </a:lnTo>
                  <a:lnTo>
                    <a:pt x="3054" y="3078"/>
                  </a:lnTo>
                  <a:lnTo>
                    <a:pt x="2907" y="3249"/>
                  </a:lnTo>
                  <a:lnTo>
                    <a:pt x="2761" y="3444"/>
                  </a:lnTo>
                  <a:lnTo>
                    <a:pt x="2639" y="3664"/>
                  </a:lnTo>
                  <a:lnTo>
                    <a:pt x="2517" y="3884"/>
                  </a:lnTo>
                  <a:lnTo>
                    <a:pt x="2443" y="4103"/>
                  </a:lnTo>
                  <a:lnTo>
                    <a:pt x="2370" y="4348"/>
                  </a:lnTo>
                  <a:lnTo>
                    <a:pt x="2346" y="4592"/>
                  </a:lnTo>
                  <a:lnTo>
                    <a:pt x="2321" y="4861"/>
                  </a:lnTo>
                  <a:lnTo>
                    <a:pt x="2321" y="4934"/>
                  </a:lnTo>
                  <a:lnTo>
                    <a:pt x="2297" y="5032"/>
                  </a:lnTo>
                  <a:lnTo>
                    <a:pt x="2248" y="5105"/>
                  </a:lnTo>
                  <a:lnTo>
                    <a:pt x="2199" y="5154"/>
                  </a:lnTo>
                  <a:lnTo>
                    <a:pt x="2126" y="5227"/>
                  </a:lnTo>
                  <a:lnTo>
                    <a:pt x="2053" y="5251"/>
                  </a:lnTo>
                  <a:lnTo>
                    <a:pt x="1979" y="5276"/>
                  </a:lnTo>
                  <a:lnTo>
                    <a:pt x="1882" y="5300"/>
                  </a:lnTo>
                  <a:lnTo>
                    <a:pt x="1808" y="5276"/>
                  </a:lnTo>
                  <a:lnTo>
                    <a:pt x="1711" y="5251"/>
                  </a:lnTo>
                  <a:lnTo>
                    <a:pt x="1637" y="5227"/>
                  </a:lnTo>
                  <a:lnTo>
                    <a:pt x="1564" y="5154"/>
                  </a:lnTo>
                  <a:lnTo>
                    <a:pt x="1515" y="5105"/>
                  </a:lnTo>
                  <a:lnTo>
                    <a:pt x="1491" y="5032"/>
                  </a:lnTo>
                  <a:lnTo>
                    <a:pt x="1466" y="4934"/>
                  </a:lnTo>
                  <a:lnTo>
                    <a:pt x="1442" y="4861"/>
                  </a:lnTo>
                  <a:lnTo>
                    <a:pt x="1466" y="4494"/>
                  </a:lnTo>
                  <a:lnTo>
                    <a:pt x="1515" y="4177"/>
                  </a:lnTo>
                  <a:lnTo>
                    <a:pt x="1588" y="3835"/>
                  </a:lnTo>
                  <a:lnTo>
                    <a:pt x="1711" y="3542"/>
                  </a:lnTo>
                  <a:lnTo>
                    <a:pt x="1857" y="3224"/>
                  </a:lnTo>
                  <a:lnTo>
                    <a:pt x="2028" y="2956"/>
                  </a:lnTo>
                  <a:lnTo>
                    <a:pt x="2223" y="2687"/>
                  </a:lnTo>
                  <a:lnTo>
                    <a:pt x="2443" y="2443"/>
                  </a:lnTo>
                  <a:lnTo>
                    <a:pt x="2688" y="2223"/>
                  </a:lnTo>
                  <a:lnTo>
                    <a:pt x="2956" y="2028"/>
                  </a:lnTo>
                  <a:lnTo>
                    <a:pt x="3225" y="1857"/>
                  </a:lnTo>
                  <a:lnTo>
                    <a:pt x="3518" y="1710"/>
                  </a:lnTo>
                  <a:lnTo>
                    <a:pt x="3835" y="1612"/>
                  </a:lnTo>
                  <a:lnTo>
                    <a:pt x="4153" y="1515"/>
                  </a:lnTo>
                  <a:lnTo>
                    <a:pt x="4495" y="1466"/>
                  </a:lnTo>
                  <a:close/>
                  <a:moveTo>
                    <a:pt x="4837" y="0"/>
                  </a:moveTo>
                  <a:lnTo>
                    <a:pt x="4348" y="25"/>
                  </a:lnTo>
                  <a:lnTo>
                    <a:pt x="3860" y="98"/>
                  </a:lnTo>
                  <a:lnTo>
                    <a:pt x="3396" y="220"/>
                  </a:lnTo>
                  <a:lnTo>
                    <a:pt x="2956" y="391"/>
                  </a:lnTo>
                  <a:lnTo>
                    <a:pt x="2541" y="587"/>
                  </a:lnTo>
                  <a:lnTo>
                    <a:pt x="2150" y="831"/>
                  </a:lnTo>
                  <a:lnTo>
                    <a:pt x="1759" y="1124"/>
                  </a:lnTo>
                  <a:lnTo>
                    <a:pt x="1418" y="1441"/>
                  </a:lnTo>
                  <a:lnTo>
                    <a:pt x="1100" y="1783"/>
                  </a:lnTo>
                  <a:lnTo>
                    <a:pt x="831" y="2150"/>
                  </a:lnTo>
                  <a:lnTo>
                    <a:pt x="587" y="2540"/>
                  </a:lnTo>
                  <a:lnTo>
                    <a:pt x="392" y="2980"/>
                  </a:lnTo>
                  <a:lnTo>
                    <a:pt x="221" y="3420"/>
                  </a:lnTo>
                  <a:lnTo>
                    <a:pt x="99" y="3884"/>
                  </a:lnTo>
                  <a:lnTo>
                    <a:pt x="25" y="4348"/>
                  </a:lnTo>
                  <a:lnTo>
                    <a:pt x="1" y="4861"/>
                  </a:lnTo>
                  <a:lnTo>
                    <a:pt x="25" y="5349"/>
                  </a:lnTo>
                  <a:lnTo>
                    <a:pt x="99" y="5838"/>
                  </a:lnTo>
                  <a:lnTo>
                    <a:pt x="221" y="6302"/>
                  </a:lnTo>
                  <a:lnTo>
                    <a:pt x="392" y="6741"/>
                  </a:lnTo>
                  <a:lnTo>
                    <a:pt x="587" y="7156"/>
                  </a:lnTo>
                  <a:lnTo>
                    <a:pt x="831" y="7547"/>
                  </a:lnTo>
                  <a:lnTo>
                    <a:pt x="1100" y="7938"/>
                  </a:lnTo>
                  <a:lnTo>
                    <a:pt x="1418" y="8280"/>
                  </a:lnTo>
                  <a:lnTo>
                    <a:pt x="1759" y="8597"/>
                  </a:lnTo>
                  <a:lnTo>
                    <a:pt x="2150" y="8866"/>
                  </a:lnTo>
                  <a:lnTo>
                    <a:pt x="2541" y="9110"/>
                  </a:lnTo>
                  <a:lnTo>
                    <a:pt x="2956" y="9306"/>
                  </a:lnTo>
                  <a:lnTo>
                    <a:pt x="3396" y="9477"/>
                  </a:lnTo>
                  <a:lnTo>
                    <a:pt x="3860" y="9599"/>
                  </a:lnTo>
                  <a:lnTo>
                    <a:pt x="4348" y="9672"/>
                  </a:lnTo>
                  <a:lnTo>
                    <a:pt x="4837" y="9696"/>
                  </a:lnTo>
                  <a:lnTo>
                    <a:pt x="5350" y="9672"/>
                  </a:lnTo>
                  <a:lnTo>
                    <a:pt x="5814" y="9599"/>
                  </a:lnTo>
                  <a:lnTo>
                    <a:pt x="6278" y="9477"/>
                  </a:lnTo>
                  <a:lnTo>
                    <a:pt x="6717" y="9306"/>
                  </a:lnTo>
                  <a:lnTo>
                    <a:pt x="7157" y="9110"/>
                  </a:lnTo>
                  <a:lnTo>
                    <a:pt x="7548" y="8866"/>
                  </a:lnTo>
                  <a:lnTo>
                    <a:pt x="7914" y="8597"/>
                  </a:lnTo>
                  <a:lnTo>
                    <a:pt x="8256" y="8280"/>
                  </a:lnTo>
                  <a:lnTo>
                    <a:pt x="8573" y="7938"/>
                  </a:lnTo>
                  <a:lnTo>
                    <a:pt x="8867" y="7547"/>
                  </a:lnTo>
                  <a:lnTo>
                    <a:pt x="9111" y="7156"/>
                  </a:lnTo>
                  <a:lnTo>
                    <a:pt x="9306" y="6741"/>
                  </a:lnTo>
                  <a:lnTo>
                    <a:pt x="9477" y="6302"/>
                  </a:lnTo>
                  <a:lnTo>
                    <a:pt x="9599" y="5838"/>
                  </a:lnTo>
                  <a:lnTo>
                    <a:pt x="9673" y="5349"/>
                  </a:lnTo>
                  <a:lnTo>
                    <a:pt x="9697" y="4861"/>
                  </a:lnTo>
                  <a:lnTo>
                    <a:pt x="9673" y="4348"/>
                  </a:lnTo>
                  <a:lnTo>
                    <a:pt x="9599" y="3884"/>
                  </a:lnTo>
                  <a:lnTo>
                    <a:pt x="9477" y="3420"/>
                  </a:lnTo>
                  <a:lnTo>
                    <a:pt x="9306" y="2980"/>
                  </a:lnTo>
                  <a:lnTo>
                    <a:pt x="9111" y="2540"/>
                  </a:lnTo>
                  <a:lnTo>
                    <a:pt x="8867" y="2150"/>
                  </a:lnTo>
                  <a:lnTo>
                    <a:pt x="8573" y="1783"/>
                  </a:lnTo>
                  <a:lnTo>
                    <a:pt x="8256" y="1441"/>
                  </a:lnTo>
                  <a:lnTo>
                    <a:pt x="7914" y="1124"/>
                  </a:lnTo>
                  <a:lnTo>
                    <a:pt x="7548" y="831"/>
                  </a:lnTo>
                  <a:lnTo>
                    <a:pt x="7157" y="587"/>
                  </a:lnTo>
                  <a:lnTo>
                    <a:pt x="6717" y="391"/>
                  </a:lnTo>
                  <a:lnTo>
                    <a:pt x="6278" y="220"/>
                  </a:lnTo>
                  <a:lnTo>
                    <a:pt x="5814" y="98"/>
                  </a:lnTo>
                  <a:lnTo>
                    <a:pt x="5350" y="25"/>
                  </a:lnTo>
                  <a:lnTo>
                    <a:pt x="483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63" name="Shape 492"/>
            <p:cNvSpPr/>
            <p:nvPr/>
          </p:nvSpPr>
          <p:spPr>
            <a:xfrm>
              <a:off x="4215400" y="3253150"/>
              <a:ext cx="154500" cy="153875"/>
            </a:xfrm>
            <a:custGeom>
              <a:avLst/>
              <a:gdLst/>
              <a:ahLst/>
              <a:cxnLst/>
              <a:rect l="0" t="0" r="0" b="0"/>
              <a:pathLst>
                <a:path w="6180" h="6155" extrusionOk="0">
                  <a:moveTo>
                    <a:pt x="1075" y="0"/>
                  </a:moveTo>
                  <a:lnTo>
                    <a:pt x="831" y="269"/>
                  </a:lnTo>
                  <a:lnTo>
                    <a:pt x="562" y="537"/>
                  </a:lnTo>
                  <a:lnTo>
                    <a:pt x="293" y="782"/>
                  </a:lnTo>
                  <a:lnTo>
                    <a:pt x="0" y="1026"/>
                  </a:lnTo>
                  <a:lnTo>
                    <a:pt x="4983" y="6008"/>
                  </a:lnTo>
                  <a:lnTo>
                    <a:pt x="5056" y="6057"/>
                  </a:lnTo>
                  <a:lnTo>
                    <a:pt x="5129" y="6106"/>
                  </a:lnTo>
                  <a:lnTo>
                    <a:pt x="5227" y="6130"/>
                  </a:lnTo>
                  <a:lnTo>
                    <a:pt x="5325" y="6155"/>
                  </a:lnTo>
                  <a:lnTo>
                    <a:pt x="5422" y="6130"/>
                  </a:lnTo>
                  <a:lnTo>
                    <a:pt x="5496" y="6106"/>
                  </a:lnTo>
                  <a:lnTo>
                    <a:pt x="5593" y="6057"/>
                  </a:lnTo>
                  <a:lnTo>
                    <a:pt x="5667" y="6008"/>
                  </a:lnTo>
                  <a:lnTo>
                    <a:pt x="6033" y="5642"/>
                  </a:lnTo>
                  <a:lnTo>
                    <a:pt x="6106" y="5569"/>
                  </a:lnTo>
                  <a:lnTo>
                    <a:pt x="6155" y="5471"/>
                  </a:lnTo>
                  <a:lnTo>
                    <a:pt x="6179" y="5373"/>
                  </a:lnTo>
                  <a:lnTo>
                    <a:pt x="6179" y="5300"/>
                  </a:lnTo>
                  <a:lnTo>
                    <a:pt x="6179" y="5202"/>
                  </a:lnTo>
                  <a:lnTo>
                    <a:pt x="6155" y="5105"/>
                  </a:lnTo>
                  <a:lnTo>
                    <a:pt x="6106" y="5031"/>
                  </a:lnTo>
                  <a:lnTo>
                    <a:pt x="6033" y="4934"/>
                  </a:lnTo>
                  <a:lnTo>
                    <a:pt x="107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164" name="Shape 493"/>
          <p:cNvSpPr/>
          <p:nvPr/>
        </p:nvSpPr>
        <p:spPr>
          <a:xfrm>
            <a:off x="2685802" y="4362302"/>
            <a:ext cx="353413" cy="277893"/>
          </a:xfrm>
          <a:custGeom>
            <a:avLst/>
            <a:gdLst/>
            <a:ahLst/>
            <a:cxnLst/>
            <a:rect l="0" t="0" r="0" b="0"/>
            <a:pathLst>
              <a:path w="18513" h="14557" extrusionOk="0">
                <a:moveTo>
                  <a:pt x="9159" y="2125"/>
                </a:moveTo>
                <a:lnTo>
                  <a:pt x="9403" y="2150"/>
                </a:lnTo>
                <a:lnTo>
                  <a:pt x="9672" y="2198"/>
                </a:lnTo>
                <a:lnTo>
                  <a:pt x="9916" y="2272"/>
                </a:lnTo>
                <a:lnTo>
                  <a:pt x="10160" y="2345"/>
                </a:lnTo>
                <a:lnTo>
                  <a:pt x="10404" y="2443"/>
                </a:lnTo>
                <a:lnTo>
                  <a:pt x="10624" y="2565"/>
                </a:lnTo>
                <a:lnTo>
                  <a:pt x="10820" y="2687"/>
                </a:lnTo>
                <a:lnTo>
                  <a:pt x="10893" y="2760"/>
                </a:lnTo>
                <a:lnTo>
                  <a:pt x="10942" y="2858"/>
                </a:lnTo>
                <a:lnTo>
                  <a:pt x="10942" y="2956"/>
                </a:lnTo>
                <a:lnTo>
                  <a:pt x="10917" y="3078"/>
                </a:lnTo>
                <a:lnTo>
                  <a:pt x="10844" y="3151"/>
                </a:lnTo>
                <a:lnTo>
                  <a:pt x="10771" y="3200"/>
                </a:lnTo>
                <a:lnTo>
                  <a:pt x="10698" y="3224"/>
                </a:lnTo>
                <a:lnTo>
                  <a:pt x="10600" y="3175"/>
                </a:lnTo>
                <a:lnTo>
                  <a:pt x="10404" y="3053"/>
                </a:lnTo>
                <a:lnTo>
                  <a:pt x="10209" y="2956"/>
                </a:lnTo>
                <a:lnTo>
                  <a:pt x="10014" y="2882"/>
                </a:lnTo>
                <a:lnTo>
                  <a:pt x="9794" y="2809"/>
                </a:lnTo>
                <a:lnTo>
                  <a:pt x="9574" y="2760"/>
                </a:lnTo>
                <a:lnTo>
                  <a:pt x="9354" y="2711"/>
                </a:lnTo>
                <a:lnTo>
                  <a:pt x="9110" y="2687"/>
                </a:lnTo>
                <a:lnTo>
                  <a:pt x="8646" y="2687"/>
                </a:lnTo>
                <a:lnTo>
                  <a:pt x="8426" y="2711"/>
                </a:lnTo>
                <a:lnTo>
                  <a:pt x="8206" y="2760"/>
                </a:lnTo>
                <a:lnTo>
                  <a:pt x="7987" y="2809"/>
                </a:lnTo>
                <a:lnTo>
                  <a:pt x="7767" y="2882"/>
                </a:lnTo>
                <a:lnTo>
                  <a:pt x="7547" y="2956"/>
                </a:lnTo>
                <a:lnTo>
                  <a:pt x="7352" y="3053"/>
                </a:lnTo>
                <a:lnTo>
                  <a:pt x="7181" y="3175"/>
                </a:lnTo>
                <a:lnTo>
                  <a:pt x="7107" y="3200"/>
                </a:lnTo>
                <a:lnTo>
                  <a:pt x="7059" y="3224"/>
                </a:lnTo>
                <a:lnTo>
                  <a:pt x="7010" y="3200"/>
                </a:lnTo>
                <a:lnTo>
                  <a:pt x="6936" y="3175"/>
                </a:lnTo>
                <a:lnTo>
                  <a:pt x="6888" y="3127"/>
                </a:lnTo>
                <a:lnTo>
                  <a:pt x="6863" y="3078"/>
                </a:lnTo>
                <a:lnTo>
                  <a:pt x="6839" y="2956"/>
                </a:lnTo>
                <a:lnTo>
                  <a:pt x="6839" y="2858"/>
                </a:lnTo>
                <a:lnTo>
                  <a:pt x="6888" y="2760"/>
                </a:lnTo>
                <a:lnTo>
                  <a:pt x="6936" y="2687"/>
                </a:lnTo>
                <a:lnTo>
                  <a:pt x="7156" y="2565"/>
                </a:lnTo>
                <a:lnTo>
                  <a:pt x="7376" y="2443"/>
                </a:lnTo>
                <a:lnTo>
                  <a:pt x="7620" y="2345"/>
                </a:lnTo>
                <a:lnTo>
                  <a:pt x="7864" y="2272"/>
                </a:lnTo>
                <a:lnTo>
                  <a:pt x="8109" y="2198"/>
                </a:lnTo>
                <a:lnTo>
                  <a:pt x="8377" y="2150"/>
                </a:lnTo>
                <a:lnTo>
                  <a:pt x="8622" y="2125"/>
                </a:lnTo>
                <a:close/>
                <a:moveTo>
                  <a:pt x="3761" y="5373"/>
                </a:moveTo>
                <a:lnTo>
                  <a:pt x="3884" y="5398"/>
                </a:lnTo>
                <a:lnTo>
                  <a:pt x="4030" y="5447"/>
                </a:lnTo>
                <a:lnTo>
                  <a:pt x="4128" y="5496"/>
                </a:lnTo>
                <a:lnTo>
                  <a:pt x="4250" y="5569"/>
                </a:lnTo>
                <a:lnTo>
                  <a:pt x="4323" y="5691"/>
                </a:lnTo>
                <a:lnTo>
                  <a:pt x="4372" y="5789"/>
                </a:lnTo>
                <a:lnTo>
                  <a:pt x="4421" y="5911"/>
                </a:lnTo>
                <a:lnTo>
                  <a:pt x="4445" y="6057"/>
                </a:lnTo>
                <a:lnTo>
                  <a:pt x="4421" y="6204"/>
                </a:lnTo>
                <a:lnTo>
                  <a:pt x="4372" y="6326"/>
                </a:lnTo>
                <a:lnTo>
                  <a:pt x="4323" y="6448"/>
                </a:lnTo>
                <a:lnTo>
                  <a:pt x="4250" y="6546"/>
                </a:lnTo>
                <a:lnTo>
                  <a:pt x="4128" y="6619"/>
                </a:lnTo>
                <a:lnTo>
                  <a:pt x="4030" y="6692"/>
                </a:lnTo>
                <a:lnTo>
                  <a:pt x="3884" y="6717"/>
                </a:lnTo>
                <a:lnTo>
                  <a:pt x="3761" y="6741"/>
                </a:lnTo>
                <a:lnTo>
                  <a:pt x="3615" y="6717"/>
                </a:lnTo>
                <a:lnTo>
                  <a:pt x="3493" y="6692"/>
                </a:lnTo>
                <a:lnTo>
                  <a:pt x="3371" y="6619"/>
                </a:lnTo>
                <a:lnTo>
                  <a:pt x="3273" y="6546"/>
                </a:lnTo>
                <a:lnTo>
                  <a:pt x="3200" y="6448"/>
                </a:lnTo>
                <a:lnTo>
                  <a:pt x="3126" y="6326"/>
                </a:lnTo>
                <a:lnTo>
                  <a:pt x="3102" y="6204"/>
                </a:lnTo>
                <a:lnTo>
                  <a:pt x="3078" y="6057"/>
                </a:lnTo>
                <a:lnTo>
                  <a:pt x="3102" y="5911"/>
                </a:lnTo>
                <a:lnTo>
                  <a:pt x="3126" y="5789"/>
                </a:lnTo>
                <a:lnTo>
                  <a:pt x="3200" y="5691"/>
                </a:lnTo>
                <a:lnTo>
                  <a:pt x="3273" y="5569"/>
                </a:lnTo>
                <a:lnTo>
                  <a:pt x="3371" y="5496"/>
                </a:lnTo>
                <a:lnTo>
                  <a:pt x="3493" y="5447"/>
                </a:lnTo>
                <a:lnTo>
                  <a:pt x="3615" y="5398"/>
                </a:lnTo>
                <a:lnTo>
                  <a:pt x="3761" y="5373"/>
                </a:lnTo>
                <a:close/>
                <a:moveTo>
                  <a:pt x="17609" y="6741"/>
                </a:moveTo>
                <a:lnTo>
                  <a:pt x="17609" y="6790"/>
                </a:lnTo>
                <a:lnTo>
                  <a:pt x="17585" y="6888"/>
                </a:lnTo>
                <a:lnTo>
                  <a:pt x="17560" y="6937"/>
                </a:lnTo>
                <a:lnTo>
                  <a:pt x="17512" y="7010"/>
                </a:lnTo>
                <a:lnTo>
                  <a:pt x="17365" y="7132"/>
                </a:lnTo>
                <a:lnTo>
                  <a:pt x="17365" y="7132"/>
                </a:lnTo>
                <a:lnTo>
                  <a:pt x="17389" y="7010"/>
                </a:lnTo>
                <a:lnTo>
                  <a:pt x="17414" y="6863"/>
                </a:lnTo>
                <a:lnTo>
                  <a:pt x="17463" y="6790"/>
                </a:lnTo>
                <a:lnTo>
                  <a:pt x="17512" y="6766"/>
                </a:lnTo>
                <a:lnTo>
                  <a:pt x="17560" y="6741"/>
                </a:lnTo>
                <a:close/>
                <a:moveTo>
                  <a:pt x="4836" y="0"/>
                </a:moveTo>
                <a:lnTo>
                  <a:pt x="4738" y="196"/>
                </a:lnTo>
                <a:lnTo>
                  <a:pt x="4641" y="391"/>
                </a:lnTo>
                <a:lnTo>
                  <a:pt x="4543" y="684"/>
                </a:lnTo>
                <a:lnTo>
                  <a:pt x="4445" y="1002"/>
                </a:lnTo>
                <a:lnTo>
                  <a:pt x="4396" y="1393"/>
                </a:lnTo>
                <a:lnTo>
                  <a:pt x="4372" y="1783"/>
                </a:lnTo>
                <a:lnTo>
                  <a:pt x="4372" y="2003"/>
                </a:lnTo>
                <a:lnTo>
                  <a:pt x="4421" y="2223"/>
                </a:lnTo>
                <a:lnTo>
                  <a:pt x="4079" y="2443"/>
                </a:lnTo>
                <a:lnTo>
                  <a:pt x="3688" y="2736"/>
                </a:lnTo>
                <a:lnTo>
                  <a:pt x="3273" y="3151"/>
                </a:lnTo>
                <a:lnTo>
                  <a:pt x="2833" y="3615"/>
                </a:lnTo>
                <a:lnTo>
                  <a:pt x="2418" y="4128"/>
                </a:lnTo>
                <a:lnTo>
                  <a:pt x="2027" y="4665"/>
                </a:lnTo>
                <a:lnTo>
                  <a:pt x="1856" y="4958"/>
                </a:lnTo>
                <a:lnTo>
                  <a:pt x="1710" y="5251"/>
                </a:lnTo>
                <a:lnTo>
                  <a:pt x="1563" y="5544"/>
                </a:lnTo>
                <a:lnTo>
                  <a:pt x="1466" y="5813"/>
                </a:lnTo>
                <a:lnTo>
                  <a:pt x="562" y="5813"/>
                </a:lnTo>
                <a:lnTo>
                  <a:pt x="464" y="5838"/>
                </a:lnTo>
                <a:lnTo>
                  <a:pt x="342" y="5862"/>
                </a:lnTo>
                <a:lnTo>
                  <a:pt x="244" y="5911"/>
                </a:lnTo>
                <a:lnTo>
                  <a:pt x="171" y="5984"/>
                </a:lnTo>
                <a:lnTo>
                  <a:pt x="98" y="6057"/>
                </a:lnTo>
                <a:lnTo>
                  <a:pt x="49" y="6155"/>
                </a:lnTo>
                <a:lnTo>
                  <a:pt x="25" y="6277"/>
                </a:lnTo>
                <a:lnTo>
                  <a:pt x="0" y="6375"/>
                </a:lnTo>
                <a:lnTo>
                  <a:pt x="0" y="8622"/>
                </a:lnTo>
                <a:lnTo>
                  <a:pt x="25" y="8744"/>
                </a:lnTo>
                <a:lnTo>
                  <a:pt x="49" y="8842"/>
                </a:lnTo>
                <a:lnTo>
                  <a:pt x="98" y="8939"/>
                </a:lnTo>
                <a:lnTo>
                  <a:pt x="171" y="9013"/>
                </a:lnTo>
                <a:lnTo>
                  <a:pt x="244" y="9086"/>
                </a:lnTo>
                <a:lnTo>
                  <a:pt x="342" y="9135"/>
                </a:lnTo>
                <a:lnTo>
                  <a:pt x="464" y="9183"/>
                </a:lnTo>
                <a:lnTo>
                  <a:pt x="1514" y="9183"/>
                </a:lnTo>
                <a:lnTo>
                  <a:pt x="1588" y="9379"/>
                </a:lnTo>
                <a:lnTo>
                  <a:pt x="1685" y="9599"/>
                </a:lnTo>
                <a:lnTo>
                  <a:pt x="1930" y="10014"/>
                </a:lnTo>
                <a:lnTo>
                  <a:pt x="2223" y="10405"/>
                </a:lnTo>
                <a:lnTo>
                  <a:pt x="2589" y="10795"/>
                </a:lnTo>
                <a:lnTo>
                  <a:pt x="2980" y="11162"/>
                </a:lnTo>
                <a:lnTo>
                  <a:pt x="3419" y="11504"/>
                </a:lnTo>
                <a:lnTo>
                  <a:pt x="3908" y="11821"/>
                </a:lnTo>
                <a:lnTo>
                  <a:pt x="4421" y="12065"/>
                </a:lnTo>
                <a:lnTo>
                  <a:pt x="4421" y="14557"/>
                </a:lnTo>
                <a:lnTo>
                  <a:pt x="5105" y="14557"/>
                </a:lnTo>
                <a:lnTo>
                  <a:pt x="6326" y="12896"/>
                </a:lnTo>
                <a:lnTo>
                  <a:pt x="6936" y="13067"/>
                </a:lnTo>
                <a:lnTo>
                  <a:pt x="7571" y="13164"/>
                </a:lnTo>
                <a:lnTo>
                  <a:pt x="8231" y="13238"/>
                </a:lnTo>
                <a:lnTo>
                  <a:pt x="8890" y="13262"/>
                </a:lnTo>
                <a:lnTo>
                  <a:pt x="9550" y="13238"/>
                </a:lnTo>
                <a:lnTo>
                  <a:pt x="10209" y="13164"/>
                </a:lnTo>
                <a:lnTo>
                  <a:pt x="10844" y="13067"/>
                </a:lnTo>
                <a:lnTo>
                  <a:pt x="11455" y="12896"/>
                </a:lnTo>
                <a:lnTo>
                  <a:pt x="12627" y="14557"/>
                </a:lnTo>
                <a:lnTo>
                  <a:pt x="13384" y="14557"/>
                </a:lnTo>
                <a:lnTo>
                  <a:pt x="13384" y="12065"/>
                </a:lnTo>
                <a:lnTo>
                  <a:pt x="13726" y="11919"/>
                </a:lnTo>
                <a:lnTo>
                  <a:pt x="14044" y="11748"/>
                </a:lnTo>
                <a:lnTo>
                  <a:pt x="14337" y="11577"/>
                </a:lnTo>
                <a:lnTo>
                  <a:pt x="14630" y="11382"/>
                </a:lnTo>
                <a:lnTo>
                  <a:pt x="14898" y="11162"/>
                </a:lnTo>
                <a:lnTo>
                  <a:pt x="15143" y="10942"/>
                </a:lnTo>
                <a:lnTo>
                  <a:pt x="15387" y="10698"/>
                </a:lnTo>
                <a:lnTo>
                  <a:pt x="15607" y="10429"/>
                </a:lnTo>
                <a:lnTo>
                  <a:pt x="15778" y="10160"/>
                </a:lnTo>
                <a:lnTo>
                  <a:pt x="15949" y="9892"/>
                </a:lnTo>
                <a:lnTo>
                  <a:pt x="16119" y="9599"/>
                </a:lnTo>
                <a:lnTo>
                  <a:pt x="16242" y="9281"/>
                </a:lnTo>
                <a:lnTo>
                  <a:pt x="16364" y="8964"/>
                </a:lnTo>
                <a:lnTo>
                  <a:pt x="16437" y="8622"/>
                </a:lnTo>
                <a:lnTo>
                  <a:pt x="16510" y="8280"/>
                </a:lnTo>
                <a:lnTo>
                  <a:pt x="16559" y="7938"/>
                </a:lnTo>
                <a:lnTo>
                  <a:pt x="16974" y="7938"/>
                </a:lnTo>
                <a:lnTo>
                  <a:pt x="17096" y="7913"/>
                </a:lnTo>
                <a:lnTo>
                  <a:pt x="17316" y="8109"/>
                </a:lnTo>
                <a:lnTo>
                  <a:pt x="17536" y="8231"/>
                </a:lnTo>
                <a:lnTo>
                  <a:pt x="17780" y="8329"/>
                </a:lnTo>
                <a:lnTo>
                  <a:pt x="18024" y="8353"/>
                </a:lnTo>
                <a:lnTo>
                  <a:pt x="18171" y="8353"/>
                </a:lnTo>
                <a:lnTo>
                  <a:pt x="18318" y="8304"/>
                </a:lnTo>
                <a:lnTo>
                  <a:pt x="18415" y="8255"/>
                </a:lnTo>
                <a:lnTo>
                  <a:pt x="18464" y="8158"/>
                </a:lnTo>
                <a:lnTo>
                  <a:pt x="18513" y="8060"/>
                </a:lnTo>
                <a:lnTo>
                  <a:pt x="18488" y="7962"/>
                </a:lnTo>
                <a:lnTo>
                  <a:pt x="18440" y="7865"/>
                </a:lnTo>
                <a:lnTo>
                  <a:pt x="18342" y="7791"/>
                </a:lnTo>
                <a:lnTo>
                  <a:pt x="18244" y="7767"/>
                </a:lnTo>
                <a:lnTo>
                  <a:pt x="18147" y="7767"/>
                </a:lnTo>
                <a:lnTo>
                  <a:pt x="18024" y="7791"/>
                </a:lnTo>
                <a:lnTo>
                  <a:pt x="17902" y="7767"/>
                </a:lnTo>
                <a:lnTo>
                  <a:pt x="17756" y="7718"/>
                </a:lnTo>
                <a:lnTo>
                  <a:pt x="17634" y="7645"/>
                </a:lnTo>
                <a:lnTo>
                  <a:pt x="17780" y="7523"/>
                </a:lnTo>
                <a:lnTo>
                  <a:pt x="17927" y="7376"/>
                </a:lnTo>
                <a:lnTo>
                  <a:pt x="18049" y="7230"/>
                </a:lnTo>
                <a:lnTo>
                  <a:pt x="18122" y="7059"/>
                </a:lnTo>
                <a:lnTo>
                  <a:pt x="18171" y="6888"/>
                </a:lnTo>
                <a:lnTo>
                  <a:pt x="18171" y="6717"/>
                </a:lnTo>
                <a:lnTo>
                  <a:pt x="18147" y="6546"/>
                </a:lnTo>
                <a:lnTo>
                  <a:pt x="18073" y="6424"/>
                </a:lnTo>
                <a:lnTo>
                  <a:pt x="18000" y="6326"/>
                </a:lnTo>
                <a:lnTo>
                  <a:pt x="17902" y="6253"/>
                </a:lnTo>
                <a:lnTo>
                  <a:pt x="17805" y="6204"/>
                </a:lnTo>
                <a:lnTo>
                  <a:pt x="17683" y="6179"/>
                </a:lnTo>
                <a:lnTo>
                  <a:pt x="17560" y="6179"/>
                </a:lnTo>
                <a:lnTo>
                  <a:pt x="17438" y="6204"/>
                </a:lnTo>
                <a:lnTo>
                  <a:pt x="17341" y="6228"/>
                </a:lnTo>
                <a:lnTo>
                  <a:pt x="17243" y="6277"/>
                </a:lnTo>
                <a:lnTo>
                  <a:pt x="17145" y="6326"/>
                </a:lnTo>
                <a:lnTo>
                  <a:pt x="17048" y="6424"/>
                </a:lnTo>
                <a:lnTo>
                  <a:pt x="16974" y="6497"/>
                </a:lnTo>
                <a:lnTo>
                  <a:pt x="16925" y="6619"/>
                </a:lnTo>
                <a:lnTo>
                  <a:pt x="16852" y="6790"/>
                </a:lnTo>
                <a:lnTo>
                  <a:pt x="16803" y="6985"/>
                </a:lnTo>
                <a:lnTo>
                  <a:pt x="16803" y="7181"/>
                </a:lnTo>
                <a:lnTo>
                  <a:pt x="16828" y="7376"/>
                </a:lnTo>
                <a:lnTo>
                  <a:pt x="16706" y="7376"/>
                </a:lnTo>
                <a:lnTo>
                  <a:pt x="16584" y="7352"/>
                </a:lnTo>
                <a:lnTo>
                  <a:pt x="16559" y="7034"/>
                </a:lnTo>
                <a:lnTo>
                  <a:pt x="16535" y="6717"/>
                </a:lnTo>
                <a:lnTo>
                  <a:pt x="16486" y="6399"/>
                </a:lnTo>
                <a:lnTo>
                  <a:pt x="16413" y="6082"/>
                </a:lnTo>
                <a:lnTo>
                  <a:pt x="16315" y="5764"/>
                </a:lnTo>
                <a:lnTo>
                  <a:pt x="16217" y="5471"/>
                </a:lnTo>
                <a:lnTo>
                  <a:pt x="16095" y="5178"/>
                </a:lnTo>
                <a:lnTo>
                  <a:pt x="15949" y="4885"/>
                </a:lnTo>
                <a:lnTo>
                  <a:pt x="15802" y="4616"/>
                </a:lnTo>
                <a:lnTo>
                  <a:pt x="15631" y="4323"/>
                </a:lnTo>
                <a:lnTo>
                  <a:pt x="15436" y="4079"/>
                </a:lnTo>
                <a:lnTo>
                  <a:pt x="15240" y="3810"/>
                </a:lnTo>
                <a:lnTo>
                  <a:pt x="15020" y="3566"/>
                </a:lnTo>
                <a:lnTo>
                  <a:pt x="14801" y="3322"/>
                </a:lnTo>
                <a:lnTo>
                  <a:pt x="14556" y="3102"/>
                </a:lnTo>
                <a:lnTo>
                  <a:pt x="14312" y="2882"/>
                </a:lnTo>
                <a:lnTo>
                  <a:pt x="14044" y="2663"/>
                </a:lnTo>
                <a:lnTo>
                  <a:pt x="13750" y="2467"/>
                </a:lnTo>
                <a:lnTo>
                  <a:pt x="13457" y="2272"/>
                </a:lnTo>
                <a:lnTo>
                  <a:pt x="13164" y="2101"/>
                </a:lnTo>
                <a:lnTo>
                  <a:pt x="12847" y="1930"/>
                </a:lnTo>
                <a:lnTo>
                  <a:pt x="12529" y="1783"/>
                </a:lnTo>
                <a:lnTo>
                  <a:pt x="12212" y="1637"/>
                </a:lnTo>
                <a:lnTo>
                  <a:pt x="11870" y="1515"/>
                </a:lnTo>
                <a:lnTo>
                  <a:pt x="11528" y="1393"/>
                </a:lnTo>
                <a:lnTo>
                  <a:pt x="11162" y="1295"/>
                </a:lnTo>
                <a:lnTo>
                  <a:pt x="10795" y="1222"/>
                </a:lnTo>
                <a:lnTo>
                  <a:pt x="10429" y="1148"/>
                </a:lnTo>
                <a:lnTo>
                  <a:pt x="10063" y="1099"/>
                </a:lnTo>
                <a:lnTo>
                  <a:pt x="9672" y="1051"/>
                </a:lnTo>
                <a:lnTo>
                  <a:pt x="9281" y="1026"/>
                </a:lnTo>
                <a:lnTo>
                  <a:pt x="8353" y="1026"/>
                </a:lnTo>
                <a:lnTo>
                  <a:pt x="7816" y="1075"/>
                </a:lnTo>
                <a:lnTo>
                  <a:pt x="7278" y="1148"/>
                </a:lnTo>
                <a:lnTo>
                  <a:pt x="6765" y="1270"/>
                </a:lnTo>
                <a:lnTo>
                  <a:pt x="6619" y="1051"/>
                </a:lnTo>
                <a:lnTo>
                  <a:pt x="6472" y="880"/>
                </a:lnTo>
                <a:lnTo>
                  <a:pt x="6301" y="709"/>
                </a:lnTo>
                <a:lnTo>
                  <a:pt x="6155" y="562"/>
                </a:lnTo>
                <a:lnTo>
                  <a:pt x="5984" y="440"/>
                </a:lnTo>
                <a:lnTo>
                  <a:pt x="5837" y="342"/>
                </a:lnTo>
                <a:lnTo>
                  <a:pt x="5520" y="196"/>
                </a:lnTo>
                <a:lnTo>
                  <a:pt x="5251" y="98"/>
                </a:lnTo>
                <a:lnTo>
                  <a:pt x="5031" y="49"/>
                </a:lnTo>
                <a:lnTo>
                  <a:pt x="483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65" name="Shape 494"/>
          <p:cNvSpPr/>
          <p:nvPr/>
        </p:nvSpPr>
        <p:spPr>
          <a:xfrm>
            <a:off x="6855761" y="3809286"/>
            <a:ext cx="246185" cy="354368"/>
          </a:xfrm>
          <a:custGeom>
            <a:avLst/>
            <a:gdLst/>
            <a:ahLst/>
            <a:cxnLst/>
            <a:rect l="0" t="0" r="0" b="0"/>
            <a:pathLst>
              <a:path w="12896" h="18563" extrusionOk="0">
                <a:moveTo>
                  <a:pt x="6448" y="1564"/>
                </a:moveTo>
                <a:lnTo>
                  <a:pt x="6814" y="1588"/>
                </a:lnTo>
                <a:lnTo>
                  <a:pt x="7181" y="1637"/>
                </a:lnTo>
                <a:lnTo>
                  <a:pt x="7523" y="1735"/>
                </a:lnTo>
                <a:lnTo>
                  <a:pt x="7865" y="1857"/>
                </a:lnTo>
                <a:lnTo>
                  <a:pt x="8182" y="2003"/>
                </a:lnTo>
                <a:lnTo>
                  <a:pt x="8475" y="2199"/>
                </a:lnTo>
                <a:lnTo>
                  <a:pt x="8768" y="2394"/>
                </a:lnTo>
                <a:lnTo>
                  <a:pt x="9013" y="2638"/>
                </a:lnTo>
                <a:lnTo>
                  <a:pt x="9257" y="2883"/>
                </a:lnTo>
                <a:lnTo>
                  <a:pt x="9477" y="3176"/>
                </a:lnTo>
                <a:lnTo>
                  <a:pt x="9647" y="3469"/>
                </a:lnTo>
                <a:lnTo>
                  <a:pt x="9794" y="3786"/>
                </a:lnTo>
                <a:lnTo>
                  <a:pt x="9916" y="4128"/>
                </a:lnTo>
                <a:lnTo>
                  <a:pt x="10014" y="4470"/>
                </a:lnTo>
                <a:lnTo>
                  <a:pt x="10063" y="4836"/>
                </a:lnTo>
                <a:lnTo>
                  <a:pt x="10087" y="5203"/>
                </a:lnTo>
                <a:lnTo>
                  <a:pt x="10087" y="7547"/>
                </a:lnTo>
                <a:lnTo>
                  <a:pt x="2809" y="7547"/>
                </a:lnTo>
                <a:lnTo>
                  <a:pt x="2809" y="5203"/>
                </a:lnTo>
                <a:lnTo>
                  <a:pt x="2833" y="4836"/>
                </a:lnTo>
                <a:lnTo>
                  <a:pt x="2882" y="4470"/>
                </a:lnTo>
                <a:lnTo>
                  <a:pt x="2980" y="4128"/>
                </a:lnTo>
                <a:lnTo>
                  <a:pt x="3102" y="3786"/>
                </a:lnTo>
                <a:lnTo>
                  <a:pt x="3249" y="3469"/>
                </a:lnTo>
                <a:lnTo>
                  <a:pt x="3420" y="3176"/>
                </a:lnTo>
                <a:lnTo>
                  <a:pt x="3639" y="2883"/>
                </a:lnTo>
                <a:lnTo>
                  <a:pt x="3884" y="2638"/>
                </a:lnTo>
                <a:lnTo>
                  <a:pt x="4128" y="2394"/>
                </a:lnTo>
                <a:lnTo>
                  <a:pt x="4421" y="2199"/>
                </a:lnTo>
                <a:lnTo>
                  <a:pt x="4714" y="2003"/>
                </a:lnTo>
                <a:lnTo>
                  <a:pt x="5032" y="1857"/>
                </a:lnTo>
                <a:lnTo>
                  <a:pt x="5373" y="1735"/>
                </a:lnTo>
                <a:lnTo>
                  <a:pt x="5715" y="1637"/>
                </a:lnTo>
                <a:lnTo>
                  <a:pt x="6082" y="1588"/>
                </a:lnTo>
                <a:lnTo>
                  <a:pt x="6448" y="1564"/>
                </a:lnTo>
                <a:close/>
                <a:moveTo>
                  <a:pt x="6448" y="10991"/>
                </a:moveTo>
                <a:lnTo>
                  <a:pt x="6692" y="11015"/>
                </a:lnTo>
                <a:lnTo>
                  <a:pt x="6937" y="11089"/>
                </a:lnTo>
                <a:lnTo>
                  <a:pt x="7132" y="11211"/>
                </a:lnTo>
                <a:lnTo>
                  <a:pt x="7327" y="11357"/>
                </a:lnTo>
                <a:lnTo>
                  <a:pt x="7474" y="11528"/>
                </a:lnTo>
                <a:lnTo>
                  <a:pt x="7572" y="11748"/>
                </a:lnTo>
                <a:lnTo>
                  <a:pt x="7645" y="11968"/>
                </a:lnTo>
                <a:lnTo>
                  <a:pt x="7669" y="12212"/>
                </a:lnTo>
                <a:lnTo>
                  <a:pt x="7669" y="12383"/>
                </a:lnTo>
                <a:lnTo>
                  <a:pt x="7645" y="12530"/>
                </a:lnTo>
                <a:lnTo>
                  <a:pt x="7596" y="12701"/>
                </a:lnTo>
                <a:lnTo>
                  <a:pt x="7523" y="12823"/>
                </a:lnTo>
                <a:lnTo>
                  <a:pt x="7425" y="12969"/>
                </a:lnTo>
                <a:lnTo>
                  <a:pt x="7327" y="13067"/>
                </a:lnTo>
                <a:lnTo>
                  <a:pt x="7205" y="13189"/>
                </a:lnTo>
                <a:lnTo>
                  <a:pt x="7083" y="13262"/>
                </a:lnTo>
                <a:lnTo>
                  <a:pt x="7230" y="15094"/>
                </a:lnTo>
                <a:lnTo>
                  <a:pt x="5667" y="15094"/>
                </a:lnTo>
                <a:lnTo>
                  <a:pt x="5813" y="13262"/>
                </a:lnTo>
                <a:lnTo>
                  <a:pt x="5691" y="13189"/>
                </a:lnTo>
                <a:lnTo>
                  <a:pt x="5569" y="13067"/>
                </a:lnTo>
                <a:lnTo>
                  <a:pt x="5471" y="12969"/>
                </a:lnTo>
                <a:lnTo>
                  <a:pt x="5373" y="12823"/>
                </a:lnTo>
                <a:lnTo>
                  <a:pt x="5300" y="12701"/>
                </a:lnTo>
                <a:lnTo>
                  <a:pt x="5251" y="12530"/>
                </a:lnTo>
                <a:lnTo>
                  <a:pt x="5227" y="12383"/>
                </a:lnTo>
                <a:lnTo>
                  <a:pt x="5227" y="12212"/>
                </a:lnTo>
                <a:lnTo>
                  <a:pt x="5251" y="11968"/>
                </a:lnTo>
                <a:lnTo>
                  <a:pt x="5325" y="11748"/>
                </a:lnTo>
                <a:lnTo>
                  <a:pt x="5422" y="11528"/>
                </a:lnTo>
                <a:lnTo>
                  <a:pt x="5569" y="11357"/>
                </a:lnTo>
                <a:lnTo>
                  <a:pt x="5764" y="11211"/>
                </a:lnTo>
                <a:lnTo>
                  <a:pt x="5960" y="11089"/>
                </a:lnTo>
                <a:lnTo>
                  <a:pt x="6204" y="11015"/>
                </a:lnTo>
                <a:lnTo>
                  <a:pt x="6448" y="10991"/>
                </a:lnTo>
                <a:close/>
                <a:moveTo>
                  <a:pt x="6448" y="1"/>
                </a:moveTo>
                <a:lnTo>
                  <a:pt x="5911" y="25"/>
                </a:lnTo>
                <a:lnTo>
                  <a:pt x="5398" y="123"/>
                </a:lnTo>
                <a:lnTo>
                  <a:pt x="4909" y="245"/>
                </a:lnTo>
                <a:lnTo>
                  <a:pt x="4421" y="416"/>
                </a:lnTo>
                <a:lnTo>
                  <a:pt x="3981" y="636"/>
                </a:lnTo>
                <a:lnTo>
                  <a:pt x="3542" y="904"/>
                </a:lnTo>
                <a:lnTo>
                  <a:pt x="3151" y="1197"/>
                </a:lnTo>
                <a:lnTo>
                  <a:pt x="2760" y="1539"/>
                </a:lnTo>
                <a:lnTo>
                  <a:pt x="2443" y="1906"/>
                </a:lnTo>
                <a:lnTo>
                  <a:pt x="2125" y="2296"/>
                </a:lnTo>
                <a:lnTo>
                  <a:pt x="1881" y="2736"/>
                </a:lnTo>
                <a:lnTo>
                  <a:pt x="1661" y="3176"/>
                </a:lnTo>
                <a:lnTo>
                  <a:pt x="1466" y="3664"/>
                </a:lnTo>
                <a:lnTo>
                  <a:pt x="1344" y="4153"/>
                </a:lnTo>
                <a:lnTo>
                  <a:pt x="1270" y="4690"/>
                </a:lnTo>
                <a:lnTo>
                  <a:pt x="1246" y="5203"/>
                </a:lnTo>
                <a:lnTo>
                  <a:pt x="1246" y="7547"/>
                </a:lnTo>
                <a:lnTo>
                  <a:pt x="391" y="7547"/>
                </a:lnTo>
                <a:lnTo>
                  <a:pt x="293" y="7572"/>
                </a:lnTo>
                <a:lnTo>
                  <a:pt x="220" y="7621"/>
                </a:lnTo>
                <a:lnTo>
                  <a:pt x="147" y="7669"/>
                </a:lnTo>
                <a:lnTo>
                  <a:pt x="74" y="7743"/>
                </a:lnTo>
                <a:lnTo>
                  <a:pt x="49" y="7840"/>
                </a:lnTo>
                <a:lnTo>
                  <a:pt x="0" y="7914"/>
                </a:lnTo>
                <a:lnTo>
                  <a:pt x="0" y="8036"/>
                </a:lnTo>
                <a:lnTo>
                  <a:pt x="0" y="18074"/>
                </a:lnTo>
                <a:lnTo>
                  <a:pt x="0" y="18171"/>
                </a:lnTo>
                <a:lnTo>
                  <a:pt x="49" y="18269"/>
                </a:lnTo>
                <a:lnTo>
                  <a:pt x="74" y="18342"/>
                </a:lnTo>
                <a:lnTo>
                  <a:pt x="147" y="18416"/>
                </a:lnTo>
                <a:lnTo>
                  <a:pt x="220" y="18464"/>
                </a:lnTo>
                <a:lnTo>
                  <a:pt x="293" y="18513"/>
                </a:lnTo>
                <a:lnTo>
                  <a:pt x="391" y="18538"/>
                </a:lnTo>
                <a:lnTo>
                  <a:pt x="489" y="18562"/>
                </a:lnTo>
                <a:lnTo>
                  <a:pt x="12407" y="18562"/>
                </a:lnTo>
                <a:lnTo>
                  <a:pt x="12505" y="18538"/>
                </a:lnTo>
                <a:lnTo>
                  <a:pt x="12603" y="18513"/>
                </a:lnTo>
                <a:lnTo>
                  <a:pt x="12676" y="18464"/>
                </a:lnTo>
                <a:lnTo>
                  <a:pt x="12749" y="18416"/>
                </a:lnTo>
                <a:lnTo>
                  <a:pt x="12822" y="18342"/>
                </a:lnTo>
                <a:lnTo>
                  <a:pt x="12847" y="18269"/>
                </a:lnTo>
                <a:lnTo>
                  <a:pt x="12896" y="18171"/>
                </a:lnTo>
                <a:lnTo>
                  <a:pt x="12896" y="18074"/>
                </a:lnTo>
                <a:lnTo>
                  <a:pt x="12896" y="8036"/>
                </a:lnTo>
                <a:lnTo>
                  <a:pt x="12896" y="7914"/>
                </a:lnTo>
                <a:lnTo>
                  <a:pt x="12847" y="7840"/>
                </a:lnTo>
                <a:lnTo>
                  <a:pt x="12822" y="7743"/>
                </a:lnTo>
                <a:lnTo>
                  <a:pt x="12749" y="7669"/>
                </a:lnTo>
                <a:lnTo>
                  <a:pt x="12676" y="7621"/>
                </a:lnTo>
                <a:lnTo>
                  <a:pt x="12603" y="7572"/>
                </a:lnTo>
                <a:lnTo>
                  <a:pt x="12505" y="7547"/>
                </a:lnTo>
                <a:lnTo>
                  <a:pt x="11650" y="7547"/>
                </a:lnTo>
                <a:lnTo>
                  <a:pt x="11650" y="5203"/>
                </a:lnTo>
                <a:lnTo>
                  <a:pt x="11626" y="4690"/>
                </a:lnTo>
                <a:lnTo>
                  <a:pt x="11552" y="4153"/>
                </a:lnTo>
                <a:lnTo>
                  <a:pt x="11430" y="3664"/>
                </a:lnTo>
                <a:lnTo>
                  <a:pt x="11235" y="3176"/>
                </a:lnTo>
                <a:lnTo>
                  <a:pt x="11015" y="2736"/>
                </a:lnTo>
                <a:lnTo>
                  <a:pt x="10771" y="2296"/>
                </a:lnTo>
                <a:lnTo>
                  <a:pt x="10453" y="1906"/>
                </a:lnTo>
                <a:lnTo>
                  <a:pt x="10136" y="1539"/>
                </a:lnTo>
                <a:lnTo>
                  <a:pt x="9745" y="1197"/>
                </a:lnTo>
                <a:lnTo>
                  <a:pt x="9354" y="904"/>
                </a:lnTo>
                <a:lnTo>
                  <a:pt x="8939" y="636"/>
                </a:lnTo>
                <a:lnTo>
                  <a:pt x="8475" y="416"/>
                </a:lnTo>
                <a:lnTo>
                  <a:pt x="7987" y="245"/>
                </a:lnTo>
                <a:lnTo>
                  <a:pt x="7498" y="123"/>
                </a:lnTo>
                <a:lnTo>
                  <a:pt x="6985" y="25"/>
                </a:lnTo>
                <a:lnTo>
                  <a:pt x="644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166" name="Shape 495"/>
          <p:cNvGrpSpPr/>
          <p:nvPr/>
        </p:nvGrpSpPr>
        <p:grpSpPr>
          <a:xfrm>
            <a:off x="7372354" y="3820249"/>
            <a:ext cx="241527" cy="343181"/>
            <a:chOff x="6701050" y="2978375"/>
            <a:chExt cx="316300" cy="449425"/>
          </a:xfrm>
        </p:grpSpPr>
        <p:sp>
          <p:nvSpPr>
            <p:cNvPr id="167" name="Shape 496"/>
            <p:cNvSpPr/>
            <p:nvPr/>
          </p:nvSpPr>
          <p:spPr>
            <a:xfrm>
              <a:off x="6701050" y="2978375"/>
              <a:ext cx="316300" cy="78175"/>
            </a:xfrm>
            <a:custGeom>
              <a:avLst/>
              <a:gdLst/>
              <a:ahLst/>
              <a:cxnLst/>
              <a:rect l="0" t="0" r="0" b="0"/>
              <a:pathLst>
                <a:path w="12652" h="3127" extrusionOk="0">
                  <a:moveTo>
                    <a:pt x="7840" y="782"/>
                  </a:moveTo>
                  <a:lnTo>
                    <a:pt x="7865" y="807"/>
                  </a:lnTo>
                  <a:lnTo>
                    <a:pt x="7889" y="831"/>
                  </a:lnTo>
                  <a:lnTo>
                    <a:pt x="7889" y="880"/>
                  </a:lnTo>
                  <a:lnTo>
                    <a:pt x="7889" y="1417"/>
                  </a:lnTo>
                  <a:lnTo>
                    <a:pt x="4763" y="1417"/>
                  </a:lnTo>
                  <a:lnTo>
                    <a:pt x="4763" y="880"/>
                  </a:lnTo>
                  <a:lnTo>
                    <a:pt x="4763" y="831"/>
                  </a:lnTo>
                  <a:lnTo>
                    <a:pt x="4787" y="807"/>
                  </a:lnTo>
                  <a:lnTo>
                    <a:pt x="4812" y="782"/>
                  </a:lnTo>
                  <a:close/>
                  <a:moveTo>
                    <a:pt x="4861" y="1"/>
                  </a:moveTo>
                  <a:lnTo>
                    <a:pt x="4690" y="25"/>
                  </a:lnTo>
                  <a:lnTo>
                    <a:pt x="4519" y="74"/>
                  </a:lnTo>
                  <a:lnTo>
                    <a:pt x="4372" y="147"/>
                  </a:lnTo>
                  <a:lnTo>
                    <a:pt x="4250" y="269"/>
                  </a:lnTo>
                  <a:lnTo>
                    <a:pt x="4128" y="392"/>
                  </a:lnTo>
                  <a:lnTo>
                    <a:pt x="4055" y="538"/>
                  </a:lnTo>
                  <a:lnTo>
                    <a:pt x="4006" y="709"/>
                  </a:lnTo>
                  <a:lnTo>
                    <a:pt x="3982" y="880"/>
                  </a:lnTo>
                  <a:lnTo>
                    <a:pt x="3982" y="1417"/>
                  </a:lnTo>
                  <a:lnTo>
                    <a:pt x="391" y="1417"/>
                  </a:lnTo>
                  <a:lnTo>
                    <a:pt x="294" y="1466"/>
                  </a:lnTo>
                  <a:lnTo>
                    <a:pt x="220" y="1491"/>
                  </a:lnTo>
                  <a:lnTo>
                    <a:pt x="147" y="1564"/>
                  </a:lnTo>
                  <a:lnTo>
                    <a:pt x="74" y="1637"/>
                  </a:lnTo>
                  <a:lnTo>
                    <a:pt x="49" y="1710"/>
                  </a:lnTo>
                  <a:lnTo>
                    <a:pt x="1" y="1808"/>
                  </a:lnTo>
                  <a:lnTo>
                    <a:pt x="1" y="1906"/>
                  </a:lnTo>
                  <a:lnTo>
                    <a:pt x="1" y="3127"/>
                  </a:lnTo>
                  <a:lnTo>
                    <a:pt x="12652" y="3127"/>
                  </a:lnTo>
                  <a:lnTo>
                    <a:pt x="12652" y="1906"/>
                  </a:lnTo>
                  <a:lnTo>
                    <a:pt x="12652" y="1808"/>
                  </a:lnTo>
                  <a:lnTo>
                    <a:pt x="12603" y="1710"/>
                  </a:lnTo>
                  <a:lnTo>
                    <a:pt x="12578" y="1637"/>
                  </a:lnTo>
                  <a:lnTo>
                    <a:pt x="12505" y="1564"/>
                  </a:lnTo>
                  <a:lnTo>
                    <a:pt x="12432" y="1491"/>
                  </a:lnTo>
                  <a:lnTo>
                    <a:pt x="12359" y="1466"/>
                  </a:lnTo>
                  <a:lnTo>
                    <a:pt x="12261" y="1417"/>
                  </a:lnTo>
                  <a:lnTo>
                    <a:pt x="8671" y="1417"/>
                  </a:lnTo>
                  <a:lnTo>
                    <a:pt x="8671" y="880"/>
                  </a:lnTo>
                  <a:lnTo>
                    <a:pt x="8646" y="709"/>
                  </a:lnTo>
                  <a:lnTo>
                    <a:pt x="8597" y="538"/>
                  </a:lnTo>
                  <a:lnTo>
                    <a:pt x="8524" y="392"/>
                  </a:lnTo>
                  <a:lnTo>
                    <a:pt x="8402" y="269"/>
                  </a:lnTo>
                  <a:lnTo>
                    <a:pt x="8280" y="147"/>
                  </a:lnTo>
                  <a:lnTo>
                    <a:pt x="8133" y="74"/>
                  </a:lnTo>
                  <a:lnTo>
                    <a:pt x="7962" y="25"/>
                  </a:lnTo>
                  <a:lnTo>
                    <a:pt x="779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68" name="Shape 497"/>
            <p:cNvSpPr/>
            <p:nvPr/>
          </p:nvSpPr>
          <p:spPr>
            <a:xfrm>
              <a:off x="6713875" y="3068750"/>
              <a:ext cx="290650" cy="359050"/>
            </a:xfrm>
            <a:custGeom>
              <a:avLst/>
              <a:gdLst/>
              <a:ahLst/>
              <a:cxnLst/>
              <a:rect l="0" t="0" r="0" b="0"/>
              <a:pathLst>
                <a:path w="11626" h="14362" extrusionOk="0">
                  <a:moveTo>
                    <a:pt x="2614" y="1686"/>
                  </a:moveTo>
                  <a:lnTo>
                    <a:pt x="2711" y="1710"/>
                  </a:lnTo>
                  <a:lnTo>
                    <a:pt x="2785" y="1759"/>
                  </a:lnTo>
                  <a:lnTo>
                    <a:pt x="2834" y="1857"/>
                  </a:lnTo>
                  <a:lnTo>
                    <a:pt x="2858" y="1930"/>
                  </a:lnTo>
                  <a:lnTo>
                    <a:pt x="2858" y="12432"/>
                  </a:lnTo>
                  <a:lnTo>
                    <a:pt x="2834" y="12529"/>
                  </a:lnTo>
                  <a:lnTo>
                    <a:pt x="2785" y="12603"/>
                  </a:lnTo>
                  <a:lnTo>
                    <a:pt x="2711" y="12652"/>
                  </a:lnTo>
                  <a:lnTo>
                    <a:pt x="2614" y="12676"/>
                  </a:lnTo>
                  <a:lnTo>
                    <a:pt x="2516" y="12652"/>
                  </a:lnTo>
                  <a:lnTo>
                    <a:pt x="2443" y="12603"/>
                  </a:lnTo>
                  <a:lnTo>
                    <a:pt x="2394" y="12529"/>
                  </a:lnTo>
                  <a:lnTo>
                    <a:pt x="2369" y="12432"/>
                  </a:lnTo>
                  <a:lnTo>
                    <a:pt x="2369" y="1930"/>
                  </a:lnTo>
                  <a:lnTo>
                    <a:pt x="2394" y="1857"/>
                  </a:lnTo>
                  <a:lnTo>
                    <a:pt x="2443" y="1759"/>
                  </a:lnTo>
                  <a:lnTo>
                    <a:pt x="2516" y="1710"/>
                  </a:lnTo>
                  <a:lnTo>
                    <a:pt x="2614" y="1686"/>
                  </a:lnTo>
                  <a:close/>
                  <a:moveTo>
                    <a:pt x="5813" y="1686"/>
                  </a:moveTo>
                  <a:lnTo>
                    <a:pt x="5911" y="1710"/>
                  </a:lnTo>
                  <a:lnTo>
                    <a:pt x="5984" y="1759"/>
                  </a:lnTo>
                  <a:lnTo>
                    <a:pt x="6033" y="1857"/>
                  </a:lnTo>
                  <a:lnTo>
                    <a:pt x="6057" y="1930"/>
                  </a:lnTo>
                  <a:lnTo>
                    <a:pt x="6057" y="12432"/>
                  </a:lnTo>
                  <a:lnTo>
                    <a:pt x="6033" y="12529"/>
                  </a:lnTo>
                  <a:lnTo>
                    <a:pt x="5984" y="12603"/>
                  </a:lnTo>
                  <a:lnTo>
                    <a:pt x="5911" y="12652"/>
                  </a:lnTo>
                  <a:lnTo>
                    <a:pt x="5813" y="12676"/>
                  </a:lnTo>
                  <a:lnTo>
                    <a:pt x="5715" y="12652"/>
                  </a:lnTo>
                  <a:lnTo>
                    <a:pt x="5642" y="12603"/>
                  </a:lnTo>
                  <a:lnTo>
                    <a:pt x="5593" y="12529"/>
                  </a:lnTo>
                  <a:lnTo>
                    <a:pt x="5569" y="12432"/>
                  </a:lnTo>
                  <a:lnTo>
                    <a:pt x="5569" y="1930"/>
                  </a:lnTo>
                  <a:lnTo>
                    <a:pt x="5593" y="1857"/>
                  </a:lnTo>
                  <a:lnTo>
                    <a:pt x="5642" y="1759"/>
                  </a:lnTo>
                  <a:lnTo>
                    <a:pt x="5715" y="1710"/>
                  </a:lnTo>
                  <a:lnTo>
                    <a:pt x="5813" y="1686"/>
                  </a:lnTo>
                  <a:close/>
                  <a:moveTo>
                    <a:pt x="9013" y="1686"/>
                  </a:moveTo>
                  <a:lnTo>
                    <a:pt x="9110" y="1710"/>
                  </a:lnTo>
                  <a:lnTo>
                    <a:pt x="9183" y="1759"/>
                  </a:lnTo>
                  <a:lnTo>
                    <a:pt x="9232" y="1857"/>
                  </a:lnTo>
                  <a:lnTo>
                    <a:pt x="9257" y="1930"/>
                  </a:lnTo>
                  <a:lnTo>
                    <a:pt x="9257" y="12432"/>
                  </a:lnTo>
                  <a:lnTo>
                    <a:pt x="9232" y="12529"/>
                  </a:lnTo>
                  <a:lnTo>
                    <a:pt x="9183" y="12603"/>
                  </a:lnTo>
                  <a:lnTo>
                    <a:pt x="9110" y="12652"/>
                  </a:lnTo>
                  <a:lnTo>
                    <a:pt x="9013" y="12676"/>
                  </a:lnTo>
                  <a:lnTo>
                    <a:pt x="8915" y="12652"/>
                  </a:lnTo>
                  <a:lnTo>
                    <a:pt x="8842" y="12603"/>
                  </a:lnTo>
                  <a:lnTo>
                    <a:pt x="8793" y="12529"/>
                  </a:lnTo>
                  <a:lnTo>
                    <a:pt x="8768" y="12432"/>
                  </a:lnTo>
                  <a:lnTo>
                    <a:pt x="8768" y="1930"/>
                  </a:lnTo>
                  <a:lnTo>
                    <a:pt x="8793" y="1857"/>
                  </a:lnTo>
                  <a:lnTo>
                    <a:pt x="8842" y="1759"/>
                  </a:lnTo>
                  <a:lnTo>
                    <a:pt x="8915" y="1710"/>
                  </a:lnTo>
                  <a:lnTo>
                    <a:pt x="9013" y="1686"/>
                  </a:lnTo>
                  <a:close/>
                  <a:moveTo>
                    <a:pt x="0" y="0"/>
                  </a:moveTo>
                  <a:lnTo>
                    <a:pt x="0" y="13873"/>
                  </a:lnTo>
                  <a:lnTo>
                    <a:pt x="0" y="13970"/>
                  </a:lnTo>
                  <a:lnTo>
                    <a:pt x="49" y="14068"/>
                  </a:lnTo>
                  <a:lnTo>
                    <a:pt x="74" y="14141"/>
                  </a:lnTo>
                  <a:lnTo>
                    <a:pt x="147" y="14215"/>
                  </a:lnTo>
                  <a:lnTo>
                    <a:pt x="220" y="14263"/>
                  </a:lnTo>
                  <a:lnTo>
                    <a:pt x="294" y="14312"/>
                  </a:lnTo>
                  <a:lnTo>
                    <a:pt x="391" y="14337"/>
                  </a:lnTo>
                  <a:lnTo>
                    <a:pt x="489" y="14361"/>
                  </a:lnTo>
                  <a:lnTo>
                    <a:pt x="11137" y="14361"/>
                  </a:lnTo>
                  <a:lnTo>
                    <a:pt x="11235" y="14337"/>
                  </a:lnTo>
                  <a:lnTo>
                    <a:pt x="11333" y="14312"/>
                  </a:lnTo>
                  <a:lnTo>
                    <a:pt x="11406" y="14263"/>
                  </a:lnTo>
                  <a:lnTo>
                    <a:pt x="11479" y="14215"/>
                  </a:lnTo>
                  <a:lnTo>
                    <a:pt x="11553" y="14141"/>
                  </a:lnTo>
                  <a:lnTo>
                    <a:pt x="11577" y="14068"/>
                  </a:lnTo>
                  <a:lnTo>
                    <a:pt x="11626" y="13970"/>
                  </a:lnTo>
                  <a:lnTo>
                    <a:pt x="11626" y="13873"/>
                  </a:lnTo>
                  <a:lnTo>
                    <a:pt x="1162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69" name="Shape 498"/>
          <p:cNvGrpSpPr/>
          <p:nvPr/>
        </p:nvGrpSpPr>
        <p:grpSpPr>
          <a:xfrm>
            <a:off x="3203270" y="4385332"/>
            <a:ext cx="344116" cy="231275"/>
            <a:chOff x="1241275" y="3718400"/>
            <a:chExt cx="450650" cy="302875"/>
          </a:xfrm>
        </p:grpSpPr>
        <p:sp>
          <p:nvSpPr>
            <p:cNvPr id="170" name="Shape 499"/>
            <p:cNvSpPr/>
            <p:nvPr/>
          </p:nvSpPr>
          <p:spPr>
            <a:xfrm>
              <a:off x="1241275" y="3718400"/>
              <a:ext cx="450650" cy="302875"/>
            </a:xfrm>
            <a:custGeom>
              <a:avLst/>
              <a:gdLst/>
              <a:ahLst/>
              <a:cxnLst/>
              <a:rect l="0" t="0" r="0" b="0"/>
              <a:pathLst>
                <a:path w="18026" h="12115" extrusionOk="0">
                  <a:moveTo>
                    <a:pt x="17048" y="977"/>
                  </a:moveTo>
                  <a:lnTo>
                    <a:pt x="17048" y="3127"/>
                  </a:lnTo>
                  <a:lnTo>
                    <a:pt x="978" y="3127"/>
                  </a:lnTo>
                  <a:lnTo>
                    <a:pt x="978" y="977"/>
                  </a:lnTo>
                  <a:close/>
                  <a:moveTo>
                    <a:pt x="17048" y="5447"/>
                  </a:moveTo>
                  <a:lnTo>
                    <a:pt x="17048" y="11137"/>
                  </a:lnTo>
                  <a:lnTo>
                    <a:pt x="978" y="11137"/>
                  </a:lnTo>
                  <a:lnTo>
                    <a:pt x="978" y="5447"/>
                  </a:lnTo>
                  <a:close/>
                  <a:moveTo>
                    <a:pt x="978" y="1"/>
                  </a:moveTo>
                  <a:lnTo>
                    <a:pt x="782" y="25"/>
                  </a:lnTo>
                  <a:lnTo>
                    <a:pt x="587" y="74"/>
                  </a:lnTo>
                  <a:lnTo>
                    <a:pt x="416" y="172"/>
                  </a:lnTo>
                  <a:lnTo>
                    <a:pt x="294" y="294"/>
                  </a:lnTo>
                  <a:lnTo>
                    <a:pt x="172" y="440"/>
                  </a:lnTo>
                  <a:lnTo>
                    <a:pt x="74" y="611"/>
                  </a:lnTo>
                  <a:lnTo>
                    <a:pt x="25" y="782"/>
                  </a:lnTo>
                  <a:lnTo>
                    <a:pt x="1" y="977"/>
                  </a:lnTo>
                  <a:lnTo>
                    <a:pt x="1" y="11137"/>
                  </a:lnTo>
                  <a:lnTo>
                    <a:pt x="25" y="11333"/>
                  </a:lnTo>
                  <a:lnTo>
                    <a:pt x="74" y="11504"/>
                  </a:lnTo>
                  <a:lnTo>
                    <a:pt x="172" y="11675"/>
                  </a:lnTo>
                  <a:lnTo>
                    <a:pt x="294" y="11821"/>
                  </a:lnTo>
                  <a:lnTo>
                    <a:pt x="416" y="11943"/>
                  </a:lnTo>
                  <a:lnTo>
                    <a:pt x="587" y="12041"/>
                  </a:lnTo>
                  <a:lnTo>
                    <a:pt x="782" y="12090"/>
                  </a:lnTo>
                  <a:lnTo>
                    <a:pt x="978" y="12114"/>
                  </a:lnTo>
                  <a:lnTo>
                    <a:pt x="17048" y="12114"/>
                  </a:lnTo>
                  <a:lnTo>
                    <a:pt x="17243" y="12090"/>
                  </a:lnTo>
                  <a:lnTo>
                    <a:pt x="17439" y="12041"/>
                  </a:lnTo>
                  <a:lnTo>
                    <a:pt x="17610" y="11943"/>
                  </a:lnTo>
                  <a:lnTo>
                    <a:pt x="17732" y="11821"/>
                  </a:lnTo>
                  <a:lnTo>
                    <a:pt x="17854" y="11675"/>
                  </a:lnTo>
                  <a:lnTo>
                    <a:pt x="17952" y="11504"/>
                  </a:lnTo>
                  <a:lnTo>
                    <a:pt x="18001" y="11333"/>
                  </a:lnTo>
                  <a:lnTo>
                    <a:pt x="18025" y="11137"/>
                  </a:lnTo>
                  <a:lnTo>
                    <a:pt x="18025" y="977"/>
                  </a:lnTo>
                  <a:lnTo>
                    <a:pt x="18001" y="782"/>
                  </a:lnTo>
                  <a:lnTo>
                    <a:pt x="17952" y="611"/>
                  </a:lnTo>
                  <a:lnTo>
                    <a:pt x="17854" y="440"/>
                  </a:lnTo>
                  <a:lnTo>
                    <a:pt x="17732" y="294"/>
                  </a:lnTo>
                  <a:lnTo>
                    <a:pt x="17610" y="172"/>
                  </a:lnTo>
                  <a:lnTo>
                    <a:pt x="17439" y="74"/>
                  </a:lnTo>
                  <a:lnTo>
                    <a:pt x="17243" y="25"/>
                  </a:lnTo>
                  <a:lnTo>
                    <a:pt x="1704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71" name="Shape 500"/>
            <p:cNvSpPr/>
            <p:nvPr/>
          </p:nvSpPr>
          <p:spPr>
            <a:xfrm>
              <a:off x="1293175" y="3895475"/>
              <a:ext cx="174050" cy="12225"/>
            </a:xfrm>
            <a:custGeom>
              <a:avLst/>
              <a:gdLst/>
              <a:ahLst/>
              <a:cxnLst/>
              <a:rect l="0" t="0" r="0" b="0"/>
              <a:pathLst>
                <a:path w="6962" h="489" extrusionOk="0">
                  <a:moveTo>
                    <a:pt x="245" y="0"/>
                  </a:moveTo>
                  <a:lnTo>
                    <a:pt x="147" y="25"/>
                  </a:lnTo>
                  <a:lnTo>
                    <a:pt x="74" y="74"/>
                  </a:lnTo>
                  <a:lnTo>
                    <a:pt x="25" y="147"/>
                  </a:lnTo>
                  <a:lnTo>
                    <a:pt x="1" y="244"/>
                  </a:lnTo>
                  <a:lnTo>
                    <a:pt x="25" y="342"/>
                  </a:lnTo>
                  <a:lnTo>
                    <a:pt x="74" y="415"/>
                  </a:lnTo>
                  <a:lnTo>
                    <a:pt x="147" y="464"/>
                  </a:lnTo>
                  <a:lnTo>
                    <a:pt x="245" y="489"/>
                  </a:lnTo>
                  <a:lnTo>
                    <a:pt x="6717" y="489"/>
                  </a:lnTo>
                  <a:lnTo>
                    <a:pt x="6815" y="464"/>
                  </a:lnTo>
                  <a:lnTo>
                    <a:pt x="6888" y="415"/>
                  </a:lnTo>
                  <a:lnTo>
                    <a:pt x="6961" y="342"/>
                  </a:lnTo>
                  <a:lnTo>
                    <a:pt x="6961" y="244"/>
                  </a:lnTo>
                  <a:lnTo>
                    <a:pt x="6961" y="147"/>
                  </a:lnTo>
                  <a:lnTo>
                    <a:pt x="6888" y="74"/>
                  </a:lnTo>
                  <a:lnTo>
                    <a:pt x="6815" y="25"/>
                  </a:lnTo>
                  <a:lnTo>
                    <a:pt x="671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72" name="Shape 501"/>
            <p:cNvSpPr/>
            <p:nvPr/>
          </p:nvSpPr>
          <p:spPr>
            <a:xfrm>
              <a:off x="1293175" y="3935775"/>
              <a:ext cx="122750" cy="12225"/>
            </a:xfrm>
            <a:custGeom>
              <a:avLst/>
              <a:gdLst/>
              <a:ahLst/>
              <a:cxnLst/>
              <a:rect l="0" t="0" r="0" b="0"/>
              <a:pathLst>
                <a:path w="4910" h="489" extrusionOk="0">
                  <a:moveTo>
                    <a:pt x="245" y="0"/>
                  </a:moveTo>
                  <a:lnTo>
                    <a:pt x="147" y="25"/>
                  </a:lnTo>
                  <a:lnTo>
                    <a:pt x="74" y="73"/>
                  </a:lnTo>
                  <a:lnTo>
                    <a:pt x="25" y="147"/>
                  </a:lnTo>
                  <a:lnTo>
                    <a:pt x="1" y="244"/>
                  </a:lnTo>
                  <a:lnTo>
                    <a:pt x="25" y="342"/>
                  </a:lnTo>
                  <a:lnTo>
                    <a:pt x="74" y="415"/>
                  </a:lnTo>
                  <a:lnTo>
                    <a:pt x="147" y="464"/>
                  </a:lnTo>
                  <a:lnTo>
                    <a:pt x="245" y="489"/>
                  </a:lnTo>
                  <a:lnTo>
                    <a:pt x="4666" y="489"/>
                  </a:lnTo>
                  <a:lnTo>
                    <a:pt x="4763" y="464"/>
                  </a:lnTo>
                  <a:lnTo>
                    <a:pt x="4837" y="415"/>
                  </a:lnTo>
                  <a:lnTo>
                    <a:pt x="4885" y="342"/>
                  </a:lnTo>
                  <a:lnTo>
                    <a:pt x="4910" y="244"/>
                  </a:lnTo>
                  <a:lnTo>
                    <a:pt x="4885" y="147"/>
                  </a:lnTo>
                  <a:lnTo>
                    <a:pt x="4837" y="73"/>
                  </a:lnTo>
                  <a:lnTo>
                    <a:pt x="4763" y="25"/>
                  </a:lnTo>
                  <a:lnTo>
                    <a:pt x="466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73" name="Shape 502"/>
            <p:cNvSpPr/>
            <p:nvPr/>
          </p:nvSpPr>
          <p:spPr>
            <a:xfrm>
              <a:off x="1570375" y="3901575"/>
              <a:ext cx="62300" cy="40325"/>
            </a:xfrm>
            <a:custGeom>
              <a:avLst/>
              <a:gdLst/>
              <a:ahLst/>
              <a:cxnLst/>
              <a:rect l="0" t="0" r="0" b="0"/>
              <a:pathLst>
                <a:path w="2492" h="1613" extrusionOk="0">
                  <a:moveTo>
                    <a:pt x="392" y="0"/>
                  </a:moveTo>
                  <a:lnTo>
                    <a:pt x="294" y="25"/>
                  </a:lnTo>
                  <a:lnTo>
                    <a:pt x="221" y="74"/>
                  </a:lnTo>
                  <a:lnTo>
                    <a:pt x="147" y="147"/>
                  </a:lnTo>
                  <a:lnTo>
                    <a:pt x="99" y="220"/>
                  </a:lnTo>
                  <a:lnTo>
                    <a:pt x="50" y="294"/>
                  </a:lnTo>
                  <a:lnTo>
                    <a:pt x="25" y="391"/>
                  </a:lnTo>
                  <a:lnTo>
                    <a:pt x="1" y="489"/>
                  </a:lnTo>
                  <a:lnTo>
                    <a:pt x="1" y="1124"/>
                  </a:lnTo>
                  <a:lnTo>
                    <a:pt x="25" y="1222"/>
                  </a:lnTo>
                  <a:lnTo>
                    <a:pt x="50" y="1319"/>
                  </a:lnTo>
                  <a:lnTo>
                    <a:pt x="99" y="1393"/>
                  </a:lnTo>
                  <a:lnTo>
                    <a:pt x="147" y="1466"/>
                  </a:lnTo>
                  <a:lnTo>
                    <a:pt x="221" y="1515"/>
                  </a:lnTo>
                  <a:lnTo>
                    <a:pt x="294" y="1564"/>
                  </a:lnTo>
                  <a:lnTo>
                    <a:pt x="392" y="1588"/>
                  </a:lnTo>
                  <a:lnTo>
                    <a:pt x="489" y="1612"/>
                  </a:lnTo>
                  <a:lnTo>
                    <a:pt x="2004" y="1612"/>
                  </a:lnTo>
                  <a:lnTo>
                    <a:pt x="2101" y="1588"/>
                  </a:lnTo>
                  <a:lnTo>
                    <a:pt x="2199" y="1564"/>
                  </a:lnTo>
                  <a:lnTo>
                    <a:pt x="2272" y="1515"/>
                  </a:lnTo>
                  <a:lnTo>
                    <a:pt x="2345" y="1466"/>
                  </a:lnTo>
                  <a:lnTo>
                    <a:pt x="2394" y="1393"/>
                  </a:lnTo>
                  <a:lnTo>
                    <a:pt x="2443" y="1319"/>
                  </a:lnTo>
                  <a:lnTo>
                    <a:pt x="2492" y="1222"/>
                  </a:lnTo>
                  <a:lnTo>
                    <a:pt x="2492" y="1124"/>
                  </a:lnTo>
                  <a:lnTo>
                    <a:pt x="2492" y="489"/>
                  </a:lnTo>
                  <a:lnTo>
                    <a:pt x="2492" y="391"/>
                  </a:lnTo>
                  <a:lnTo>
                    <a:pt x="2443" y="294"/>
                  </a:lnTo>
                  <a:lnTo>
                    <a:pt x="2394" y="220"/>
                  </a:lnTo>
                  <a:lnTo>
                    <a:pt x="2345" y="147"/>
                  </a:lnTo>
                  <a:lnTo>
                    <a:pt x="2272" y="74"/>
                  </a:lnTo>
                  <a:lnTo>
                    <a:pt x="2199" y="25"/>
                  </a:lnTo>
                  <a:lnTo>
                    <a:pt x="210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74" name="Shape 503"/>
          <p:cNvGrpSpPr/>
          <p:nvPr/>
        </p:nvGrpSpPr>
        <p:grpSpPr>
          <a:xfrm>
            <a:off x="3722670" y="4367616"/>
            <a:ext cx="334762" cy="267165"/>
            <a:chOff x="1921475" y="3695200"/>
            <a:chExt cx="438400" cy="349875"/>
          </a:xfrm>
        </p:grpSpPr>
        <p:sp>
          <p:nvSpPr>
            <p:cNvPr id="175" name="Shape 504"/>
            <p:cNvSpPr/>
            <p:nvPr/>
          </p:nvSpPr>
          <p:spPr>
            <a:xfrm>
              <a:off x="2246900" y="3992550"/>
              <a:ext cx="52525" cy="52525"/>
            </a:xfrm>
            <a:custGeom>
              <a:avLst/>
              <a:gdLst/>
              <a:ahLst/>
              <a:cxnLst/>
              <a:rect l="0" t="0" r="0" b="0"/>
              <a:pathLst>
                <a:path w="2101" h="2101" extrusionOk="0">
                  <a:moveTo>
                    <a:pt x="831" y="1"/>
                  </a:moveTo>
                  <a:lnTo>
                    <a:pt x="636" y="74"/>
                  </a:lnTo>
                  <a:lnTo>
                    <a:pt x="465" y="171"/>
                  </a:lnTo>
                  <a:lnTo>
                    <a:pt x="318" y="294"/>
                  </a:lnTo>
                  <a:lnTo>
                    <a:pt x="172" y="440"/>
                  </a:lnTo>
                  <a:lnTo>
                    <a:pt x="74" y="636"/>
                  </a:lnTo>
                  <a:lnTo>
                    <a:pt x="25" y="831"/>
                  </a:lnTo>
                  <a:lnTo>
                    <a:pt x="1" y="1051"/>
                  </a:lnTo>
                  <a:lnTo>
                    <a:pt x="25" y="1246"/>
                  </a:lnTo>
                  <a:lnTo>
                    <a:pt x="74" y="1441"/>
                  </a:lnTo>
                  <a:lnTo>
                    <a:pt x="172" y="1637"/>
                  </a:lnTo>
                  <a:lnTo>
                    <a:pt x="318" y="1783"/>
                  </a:lnTo>
                  <a:lnTo>
                    <a:pt x="465" y="1906"/>
                  </a:lnTo>
                  <a:lnTo>
                    <a:pt x="636" y="2003"/>
                  </a:lnTo>
                  <a:lnTo>
                    <a:pt x="831" y="2076"/>
                  </a:lnTo>
                  <a:lnTo>
                    <a:pt x="1051" y="2101"/>
                  </a:lnTo>
                  <a:lnTo>
                    <a:pt x="1271" y="2076"/>
                  </a:lnTo>
                  <a:lnTo>
                    <a:pt x="1466" y="2003"/>
                  </a:lnTo>
                  <a:lnTo>
                    <a:pt x="1637" y="1906"/>
                  </a:lnTo>
                  <a:lnTo>
                    <a:pt x="1783" y="1783"/>
                  </a:lnTo>
                  <a:lnTo>
                    <a:pt x="1930" y="1637"/>
                  </a:lnTo>
                  <a:lnTo>
                    <a:pt x="2028" y="1441"/>
                  </a:lnTo>
                  <a:lnTo>
                    <a:pt x="2077" y="1246"/>
                  </a:lnTo>
                  <a:lnTo>
                    <a:pt x="2101" y="1051"/>
                  </a:lnTo>
                  <a:lnTo>
                    <a:pt x="2077" y="831"/>
                  </a:lnTo>
                  <a:lnTo>
                    <a:pt x="2028" y="636"/>
                  </a:lnTo>
                  <a:lnTo>
                    <a:pt x="1930" y="440"/>
                  </a:lnTo>
                  <a:lnTo>
                    <a:pt x="1783" y="294"/>
                  </a:lnTo>
                  <a:lnTo>
                    <a:pt x="1637" y="171"/>
                  </a:lnTo>
                  <a:lnTo>
                    <a:pt x="1466" y="74"/>
                  </a:lnTo>
                  <a:lnTo>
                    <a:pt x="127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76" name="Shape 505"/>
            <p:cNvSpPr/>
            <p:nvPr/>
          </p:nvSpPr>
          <p:spPr>
            <a:xfrm>
              <a:off x="2033800" y="3992550"/>
              <a:ext cx="52550" cy="52525"/>
            </a:xfrm>
            <a:custGeom>
              <a:avLst/>
              <a:gdLst/>
              <a:ahLst/>
              <a:cxnLst/>
              <a:rect l="0" t="0" r="0" b="0"/>
              <a:pathLst>
                <a:path w="2102" h="2101" extrusionOk="0">
                  <a:moveTo>
                    <a:pt x="831" y="1"/>
                  </a:moveTo>
                  <a:lnTo>
                    <a:pt x="636" y="74"/>
                  </a:lnTo>
                  <a:lnTo>
                    <a:pt x="465" y="171"/>
                  </a:lnTo>
                  <a:lnTo>
                    <a:pt x="318" y="294"/>
                  </a:lnTo>
                  <a:lnTo>
                    <a:pt x="172" y="440"/>
                  </a:lnTo>
                  <a:lnTo>
                    <a:pt x="74" y="636"/>
                  </a:lnTo>
                  <a:lnTo>
                    <a:pt x="25" y="831"/>
                  </a:lnTo>
                  <a:lnTo>
                    <a:pt x="1" y="1051"/>
                  </a:lnTo>
                  <a:lnTo>
                    <a:pt x="25" y="1246"/>
                  </a:lnTo>
                  <a:lnTo>
                    <a:pt x="74" y="1441"/>
                  </a:lnTo>
                  <a:lnTo>
                    <a:pt x="172" y="1637"/>
                  </a:lnTo>
                  <a:lnTo>
                    <a:pt x="318" y="1783"/>
                  </a:lnTo>
                  <a:lnTo>
                    <a:pt x="465" y="1906"/>
                  </a:lnTo>
                  <a:lnTo>
                    <a:pt x="636" y="2003"/>
                  </a:lnTo>
                  <a:lnTo>
                    <a:pt x="831" y="2076"/>
                  </a:lnTo>
                  <a:lnTo>
                    <a:pt x="1051" y="2101"/>
                  </a:lnTo>
                  <a:lnTo>
                    <a:pt x="1271" y="2076"/>
                  </a:lnTo>
                  <a:lnTo>
                    <a:pt x="1466" y="2003"/>
                  </a:lnTo>
                  <a:lnTo>
                    <a:pt x="1637" y="1906"/>
                  </a:lnTo>
                  <a:lnTo>
                    <a:pt x="1784" y="1783"/>
                  </a:lnTo>
                  <a:lnTo>
                    <a:pt x="1930" y="1637"/>
                  </a:lnTo>
                  <a:lnTo>
                    <a:pt x="2028" y="1441"/>
                  </a:lnTo>
                  <a:lnTo>
                    <a:pt x="2077" y="1246"/>
                  </a:lnTo>
                  <a:lnTo>
                    <a:pt x="2101" y="1051"/>
                  </a:lnTo>
                  <a:lnTo>
                    <a:pt x="2077" y="831"/>
                  </a:lnTo>
                  <a:lnTo>
                    <a:pt x="2028" y="636"/>
                  </a:lnTo>
                  <a:lnTo>
                    <a:pt x="1930" y="440"/>
                  </a:lnTo>
                  <a:lnTo>
                    <a:pt x="1784" y="294"/>
                  </a:lnTo>
                  <a:lnTo>
                    <a:pt x="1637" y="171"/>
                  </a:lnTo>
                  <a:lnTo>
                    <a:pt x="1466" y="74"/>
                  </a:lnTo>
                  <a:lnTo>
                    <a:pt x="127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77" name="Shape 506"/>
            <p:cNvSpPr/>
            <p:nvPr/>
          </p:nvSpPr>
          <p:spPr>
            <a:xfrm>
              <a:off x="1921475" y="3695200"/>
              <a:ext cx="438400" cy="297975"/>
            </a:xfrm>
            <a:custGeom>
              <a:avLst/>
              <a:gdLst/>
              <a:ahLst/>
              <a:cxnLst/>
              <a:rect l="0" t="0" r="0" b="0"/>
              <a:pathLst>
                <a:path w="17536" h="11919" extrusionOk="0">
                  <a:moveTo>
                    <a:pt x="15729" y="3371"/>
                  </a:moveTo>
                  <a:lnTo>
                    <a:pt x="15826" y="3395"/>
                  </a:lnTo>
                  <a:lnTo>
                    <a:pt x="15899" y="3444"/>
                  </a:lnTo>
                  <a:lnTo>
                    <a:pt x="15948" y="3517"/>
                  </a:lnTo>
                  <a:lnTo>
                    <a:pt x="15973" y="3615"/>
                  </a:lnTo>
                  <a:lnTo>
                    <a:pt x="15948" y="3713"/>
                  </a:lnTo>
                  <a:lnTo>
                    <a:pt x="13994" y="8060"/>
                  </a:lnTo>
                  <a:lnTo>
                    <a:pt x="13946" y="8133"/>
                  </a:lnTo>
                  <a:lnTo>
                    <a:pt x="13897" y="8158"/>
                  </a:lnTo>
                  <a:lnTo>
                    <a:pt x="13848" y="8207"/>
                  </a:lnTo>
                  <a:lnTo>
                    <a:pt x="13775" y="8207"/>
                  </a:lnTo>
                  <a:lnTo>
                    <a:pt x="13677" y="8182"/>
                  </a:lnTo>
                  <a:lnTo>
                    <a:pt x="13604" y="8133"/>
                  </a:lnTo>
                  <a:lnTo>
                    <a:pt x="13555" y="8036"/>
                  </a:lnTo>
                  <a:lnTo>
                    <a:pt x="13530" y="7962"/>
                  </a:lnTo>
                  <a:lnTo>
                    <a:pt x="13555" y="7865"/>
                  </a:lnTo>
                  <a:lnTo>
                    <a:pt x="15509" y="3517"/>
                  </a:lnTo>
                  <a:lnTo>
                    <a:pt x="15558" y="3420"/>
                  </a:lnTo>
                  <a:lnTo>
                    <a:pt x="15631" y="3371"/>
                  </a:lnTo>
                  <a:close/>
                  <a:moveTo>
                    <a:pt x="13628" y="3273"/>
                  </a:moveTo>
                  <a:lnTo>
                    <a:pt x="13726" y="3298"/>
                  </a:lnTo>
                  <a:lnTo>
                    <a:pt x="13824" y="3322"/>
                  </a:lnTo>
                  <a:lnTo>
                    <a:pt x="13872" y="3395"/>
                  </a:lnTo>
                  <a:lnTo>
                    <a:pt x="13897" y="3493"/>
                  </a:lnTo>
                  <a:lnTo>
                    <a:pt x="13897" y="3591"/>
                  </a:lnTo>
                  <a:lnTo>
                    <a:pt x="12602" y="8158"/>
                  </a:lnTo>
                  <a:lnTo>
                    <a:pt x="12578" y="8231"/>
                  </a:lnTo>
                  <a:lnTo>
                    <a:pt x="12505" y="8304"/>
                  </a:lnTo>
                  <a:lnTo>
                    <a:pt x="12456" y="8329"/>
                  </a:lnTo>
                  <a:lnTo>
                    <a:pt x="12358" y="8353"/>
                  </a:lnTo>
                  <a:lnTo>
                    <a:pt x="12309" y="8329"/>
                  </a:lnTo>
                  <a:lnTo>
                    <a:pt x="12212" y="8304"/>
                  </a:lnTo>
                  <a:lnTo>
                    <a:pt x="12163" y="8231"/>
                  </a:lnTo>
                  <a:lnTo>
                    <a:pt x="12138" y="8133"/>
                  </a:lnTo>
                  <a:lnTo>
                    <a:pt x="12138" y="8036"/>
                  </a:lnTo>
                  <a:lnTo>
                    <a:pt x="13433" y="3469"/>
                  </a:lnTo>
                  <a:lnTo>
                    <a:pt x="13482" y="3371"/>
                  </a:lnTo>
                  <a:lnTo>
                    <a:pt x="13530" y="3298"/>
                  </a:lnTo>
                  <a:lnTo>
                    <a:pt x="13628" y="3273"/>
                  </a:lnTo>
                  <a:close/>
                  <a:moveTo>
                    <a:pt x="11625" y="3200"/>
                  </a:moveTo>
                  <a:lnTo>
                    <a:pt x="11723" y="3224"/>
                  </a:lnTo>
                  <a:lnTo>
                    <a:pt x="11796" y="3298"/>
                  </a:lnTo>
                  <a:lnTo>
                    <a:pt x="11821" y="3371"/>
                  </a:lnTo>
                  <a:lnTo>
                    <a:pt x="11845" y="3469"/>
                  </a:lnTo>
                  <a:lnTo>
                    <a:pt x="11210" y="8280"/>
                  </a:lnTo>
                  <a:lnTo>
                    <a:pt x="11186" y="8353"/>
                  </a:lnTo>
                  <a:lnTo>
                    <a:pt x="11137" y="8426"/>
                  </a:lnTo>
                  <a:lnTo>
                    <a:pt x="11064" y="8475"/>
                  </a:lnTo>
                  <a:lnTo>
                    <a:pt x="10966" y="8500"/>
                  </a:lnTo>
                  <a:lnTo>
                    <a:pt x="10942" y="8500"/>
                  </a:lnTo>
                  <a:lnTo>
                    <a:pt x="10844" y="8451"/>
                  </a:lnTo>
                  <a:lnTo>
                    <a:pt x="10771" y="8402"/>
                  </a:lnTo>
                  <a:lnTo>
                    <a:pt x="10722" y="8304"/>
                  </a:lnTo>
                  <a:lnTo>
                    <a:pt x="10722" y="8207"/>
                  </a:lnTo>
                  <a:lnTo>
                    <a:pt x="11357" y="3420"/>
                  </a:lnTo>
                  <a:lnTo>
                    <a:pt x="11381" y="3322"/>
                  </a:lnTo>
                  <a:lnTo>
                    <a:pt x="11454" y="3249"/>
                  </a:lnTo>
                  <a:lnTo>
                    <a:pt x="11528" y="3200"/>
                  </a:lnTo>
                  <a:close/>
                  <a:moveTo>
                    <a:pt x="9525" y="3102"/>
                  </a:moveTo>
                  <a:lnTo>
                    <a:pt x="9623" y="3127"/>
                  </a:lnTo>
                  <a:lnTo>
                    <a:pt x="9696" y="3175"/>
                  </a:lnTo>
                  <a:lnTo>
                    <a:pt x="9745" y="3249"/>
                  </a:lnTo>
                  <a:lnTo>
                    <a:pt x="9769" y="3346"/>
                  </a:lnTo>
                  <a:lnTo>
                    <a:pt x="9818" y="8378"/>
                  </a:lnTo>
                  <a:lnTo>
                    <a:pt x="9794" y="8475"/>
                  </a:lnTo>
                  <a:lnTo>
                    <a:pt x="9745" y="8573"/>
                  </a:lnTo>
                  <a:lnTo>
                    <a:pt x="9672" y="8622"/>
                  </a:lnTo>
                  <a:lnTo>
                    <a:pt x="9574" y="8646"/>
                  </a:lnTo>
                  <a:lnTo>
                    <a:pt x="9476" y="8622"/>
                  </a:lnTo>
                  <a:lnTo>
                    <a:pt x="9403" y="8573"/>
                  </a:lnTo>
                  <a:lnTo>
                    <a:pt x="9354" y="8475"/>
                  </a:lnTo>
                  <a:lnTo>
                    <a:pt x="9330" y="8402"/>
                  </a:lnTo>
                  <a:lnTo>
                    <a:pt x="9281" y="3346"/>
                  </a:lnTo>
                  <a:lnTo>
                    <a:pt x="9305" y="3273"/>
                  </a:lnTo>
                  <a:lnTo>
                    <a:pt x="9354" y="3175"/>
                  </a:lnTo>
                  <a:lnTo>
                    <a:pt x="9427" y="3127"/>
                  </a:lnTo>
                  <a:lnTo>
                    <a:pt x="9525" y="3102"/>
                  </a:lnTo>
                  <a:close/>
                  <a:moveTo>
                    <a:pt x="7522" y="3029"/>
                  </a:moveTo>
                  <a:lnTo>
                    <a:pt x="7620" y="3078"/>
                  </a:lnTo>
                  <a:lnTo>
                    <a:pt x="7669" y="3151"/>
                  </a:lnTo>
                  <a:lnTo>
                    <a:pt x="7693" y="3249"/>
                  </a:lnTo>
                  <a:lnTo>
                    <a:pt x="8402" y="8500"/>
                  </a:lnTo>
                  <a:lnTo>
                    <a:pt x="8402" y="8597"/>
                  </a:lnTo>
                  <a:lnTo>
                    <a:pt x="8353" y="8671"/>
                  </a:lnTo>
                  <a:lnTo>
                    <a:pt x="8279" y="8744"/>
                  </a:lnTo>
                  <a:lnTo>
                    <a:pt x="8206" y="8768"/>
                  </a:lnTo>
                  <a:lnTo>
                    <a:pt x="8084" y="8768"/>
                  </a:lnTo>
                  <a:lnTo>
                    <a:pt x="8011" y="8720"/>
                  </a:lnTo>
                  <a:lnTo>
                    <a:pt x="7962" y="8646"/>
                  </a:lnTo>
                  <a:lnTo>
                    <a:pt x="7913" y="8573"/>
                  </a:lnTo>
                  <a:lnTo>
                    <a:pt x="7229" y="3298"/>
                  </a:lnTo>
                  <a:lnTo>
                    <a:pt x="7229" y="3200"/>
                  </a:lnTo>
                  <a:lnTo>
                    <a:pt x="7278" y="3127"/>
                  </a:lnTo>
                  <a:lnTo>
                    <a:pt x="7327" y="3053"/>
                  </a:lnTo>
                  <a:lnTo>
                    <a:pt x="7425" y="3029"/>
                  </a:lnTo>
                  <a:close/>
                  <a:moveTo>
                    <a:pt x="5446" y="2956"/>
                  </a:moveTo>
                  <a:lnTo>
                    <a:pt x="5520" y="2980"/>
                  </a:lnTo>
                  <a:lnTo>
                    <a:pt x="5593" y="3053"/>
                  </a:lnTo>
                  <a:lnTo>
                    <a:pt x="5642" y="3127"/>
                  </a:lnTo>
                  <a:lnTo>
                    <a:pt x="7009" y="8622"/>
                  </a:lnTo>
                  <a:lnTo>
                    <a:pt x="7009" y="8720"/>
                  </a:lnTo>
                  <a:lnTo>
                    <a:pt x="6985" y="8793"/>
                  </a:lnTo>
                  <a:lnTo>
                    <a:pt x="6912" y="8866"/>
                  </a:lnTo>
                  <a:lnTo>
                    <a:pt x="6814" y="8915"/>
                  </a:lnTo>
                  <a:lnTo>
                    <a:pt x="6692" y="8915"/>
                  </a:lnTo>
                  <a:lnTo>
                    <a:pt x="6619" y="8866"/>
                  </a:lnTo>
                  <a:lnTo>
                    <a:pt x="6570" y="8817"/>
                  </a:lnTo>
                  <a:lnTo>
                    <a:pt x="6521" y="8744"/>
                  </a:lnTo>
                  <a:lnTo>
                    <a:pt x="5153" y="3249"/>
                  </a:lnTo>
                  <a:lnTo>
                    <a:pt x="5153" y="3151"/>
                  </a:lnTo>
                  <a:lnTo>
                    <a:pt x="5178" y="3053"/>
                  </a:lnTo>
                  <a:lnTo>
                    <a:pt x="5251" y="3005"/>
                  </a:lnTo>
                  <a:lnTo>
                    <a:pt x="5349" y="2956"/>
                  </a:lnTo>
                  <a:close/>
                  <a:moveTo>
                    <a:pt x="391" y="0"/>
                  </a:moveTo>
                  <a:lnTo>
                    <a:pt x="293" y="25"/>
                  </a:lnTo>
                  <a:lnTo>
                    <a:pt x="220" y="74"/>
                  </a:lnTo>
                  <a:lnTo>
                    <a:pt x="147" y="123"/>
                  </a:lnTo>
                  <a:lnTo>
                    <a:pt x="73" y="196"/>
                  </a:lnTo>
                  <a:lnTo>
                    <a:pt x="25" y="294"/>
                  </a:lnTo>
                  <a:lnTo>
                    <a:pt x="0" y="367"/>
                  </a:lnTo>
                  <a:lnTo>
                    <a:pt x="0" y="489"/>
                  </a:lnTo>
                  <a:lnTo>
                    <a:pt x="0" y="587"/>
                  </a:lnTo>
                  <a:lnTo>
                    <a:pt x="25" y="660"/>
                  </a:lnTo>
                  <a:lnTo>
                    <a:pt x="73" y="758"/>
                  </a:lnTo>
                  <a:lnTo>
                    <a:pt x="147" y="831"/>
                  </a:lnTo>
                  <a:lnTo>
                    <a:pt x="220" y="880"/>
                  </a:lnTo>
                  <a:lnTo>
                    <a:pt x="293" y="929"/>
                  </a:lnTo>
                  <a:lnTo>
                    <a:pt x="391" y="953"/>
                  </a:lnTo>
                  <a:lnTo>
                    <a:pt x="489" y="977"/>
                  </a:lnTo>
                  <a:lnTo>
                    <a:pt x="3346" y="977"/>
                  </a:lnTo>
                  <a:lnTo>
                    <a:pt x="5300" y="9281"/>
                  </a:lnTo>
                  <a:lnTo>
                    <a:pt x="4518" y="11235"/>
                  </a:lnTo>
                  <a:lnTo>
                    <a:pt x="4494" y="11357"/>
                  </a:lnTo>
                  <a:lnTo>
                    <a:pt x="4494" y="11479"/>
                  </a:lnTo>
                  <a:lnTo>
                    <a:pt x="4518" y="11577"/>
                  </a:lnTo>
                  <a:lnTo>
                    <a:pt x="4567" y="11699"/>
                  </a:lnTo>
                  <a:lnTo>
                    <a:pt x="4592" y="11724"/>
                  </a:lnTo>
                  <a:lnTo>
                    <a:pt x="4811" y="11577"/>
                  </a:lnTo>
                  <a:lnTo>
                    <a:pt x="5031" y="11479"/>
                  </a:lnTo>
                  <a:lnTo>
                    <a:pt x="5275" y="11406"/>
                  </a:lnTo>
                  <a:lnTo>
                    <a:pt x="5715" y="11406"/>
                  </a:lnTo>
                  <a:lnTo>
                    <a:pt x="5886" y="11430"/>
                  </a:lnTo>
                  <a:lnTo>
                    <a:pt x="6033" y="11479"/>
                  </a:lnTo>
                  <a:lnTo>
                    <a:pt x="6179" y="11528"/>
                  </a:lnTo>
                  <a:lnTo>
                    <a:pt x="6326" y="11601"/>
                  </a:lnTo>
                  <a:lnTo>
                    <a:pt x="6448" y="11699"/>
                  </a:lnTo>
                  <a:lnTo>
                    <a:pt x="6570" y="11797"/>
                  </a:lnTo>
                  <a:lnTo>
                    <a:pt x="6692" y="11919"/>
                  </a:lnTo>
                  <a:lnTo>
                    <a:pt x="12920" y="11919"/>
                  </a:lnTo>
                  <a:lnTo>
                    <a:pt x="13042" y="11797"/>
                  </a:lnTo>
                  <a:lnTo>
                    <a:pt x="13164" y="11699"/>
                  </a:lnTo>
                  <a:lnTo>
                    <a:pt x="13286" y="11601"/>
                  </a:lnTo>
                  <a:lnTo>
                    <a:pt x="13433" y="11528"/>
                  </a:lnTo>
                  <a:lnTo>
                    <a:pt x="13579" y="11479"/>
                  </a:lnTo>
                  <a:lnTo>
                    <a:pt x="13726" y="11430"/>
                  </a:lnTo>
                  <a:lnTo>
                    <a:pt x="13897" y="11406"/>
                  </a:lnTo>
                  <a:lnTo>
                    <a:pt x="14312" y="11406"/>
                  </a:lnTo>
                  <a:lnTo>
                    <a:pt x="14556" y="11479"/>
                  </a:lnTo>
                  <a:lnTo>
                    <a:pt x="14776" y="11553"/>
                  </a:lnTo>
                  <a:lnTo>
                    <a:pt x="14971" y="11699"/>
                  </a:lnTo>
                  <a:lnTo>
                    <a:pt x="15020" y="11553"/>
                  </a:lnTo>
                  <a:lnTo>
                    <a:pt x="15045" y="11430"/>
                  </a:lnTo>
                  <a:lnTo>
                    <a:pt x="15045" y="11308"/>
                  </a:lnTo>
                  <a:lnTo>
                    <a:pt x="15020" y="11235"/>
                  </a:lnTo>
                  <a:lnTo>
                    <a:pt x="14971" y="11137"/>
                  </a:lnTo>
                  <a:lnTo>
                    <a:pt x="14898" y="11064"/>
                  </a:lnTo>
                  <a:lnTo>
                    <a:pt x="14825" y="11015"/>
                  </a:lnTo>
                  <a:lnTo>
                    <a:pt x="14752" y="10966"/>
                  </a:lnTo>
                  <a:lnTo>
                    <a:pt x="14654" y="10942"/>
                  </a:lnTo>
                  <a:lnTo>
                    <a:pt x="5691" y="10942"/>
                  </a:lnTo>
                  <a:lnTo>
                    <a:pt x="6106" y="9916"/>
                  </a:lnTo>
                  <a:lnTo>
                    <a:pt x="6252" y="9941"/>
                  </a:lnTo>
                  <a:lnTo>
                    <a:pt x="6423" y="9941"/>
                  </a:lnTo>
                  <a:lnTo>
                    <a:pt x="13848" y="9257"/>
                  </a:lnTo>
                  <a:lnTo>
                    <a:pt x="14019" y="9232"/>
                  </a:lnTo>
                  <a:lnTo>
                    <a:pt x="14190" y="9159"/>
                  </a:lnTo>
                  <a:lnTo>
                    <a:pt x="14336" y="9086"/>
                  </a:lnTo>
                  <a:lnTo>
                    <a:pt x="14507" y="8988"/>
                  </a:lnTo>
                  <a:lnTo>
                    <a:pt x="14654" y="8890"/>
                  </a:lnTo>
                  <a:lnTo>
                    <a:pt x="14776" y="8768"/>
                  </a:lnTo>
                  <a:lnTo>
                    <a:pt x="14874" y="8622"/>
                  </a:lnTo>
                  <a:lnTo>
                    <a:pt x="14971" y="8475"/>
                  </a:lnTo>
                  <a:lnTo>
                    <a:pt x="17463" y="3151"/>
                  </a:lnTo>
                  <a:lnTo>
                    <a:pt x="17511" y="3005"/>
                  </a:lnTo>
                  <a:lnTo>
                    <a:pt x="17536" y="2882"/>
                  </a:lnTo>
                  <a:lnTo>
                    <a:pt x="17511" y="2760"/>
                  </a:lnTo>
                  <a:lnTo>
                    <a:pt x="17487" y="2638"/>
                  </a:lnTo>
                  <a:lnTo>
                    <a:pt x="17414" y="2565"/>
                  </a:lnTo>
                  <a:lnTo>
                    <a:pt x="17292" y="2492"/>
                  </a:lnTo>
                  <a:lnTo>
                    <a:pt x="17169" y="2443"/>
                  </a:lnTo>
                  <a:lnTo>
                    <a:pt x="17023" y="2418"/>
                  </a:lnTo>
                  <a:lnTo>
                    <a:pt x="4592" y="2003"/>
                  </a:lnTo>
                  <a:lnTo>
                    <a:pt x="4225" y="367"/>
                  </a:lnTo>
                  <a:lnTo>
                    <a:pt x="4152" y="220"/>
                  </a:lnTo>
                  <a:lnTo>
                    <a:pt x="4054" y="98"/>
                  </a:lnTo>
                  <a:lnTo>
                    <a:pt x="3908" y="25"/>
                  </a:lnTo>
                  <a:lnTo>
                    <a:pt x="373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78" name="Shape 507"/>
          <p:cNvGrpSpPr/>
          <p:nvPr/>
        </p:nvGrpSpPr>
        <p:grpSpPr>
          <a:xfrm>
            <a:off x="4240658" y="4363417"/>
            <a:ext cx="328233" cy="275106"/>
            <a:chOff x="2599825" y="3689700"/>
            <a:chExt cx="429850" cy="360275"/>
          </a:xfrm>
        </p:grpSpPr>
        <p:sp>
          <p:nvSpPr>
            <p:cNvPr id="179" name="Shape 508"/>
            <p:cNvSpPr/>
            <p:nvPr/>
          </p:nvSpPr>
          <p:spPr>
            <a:xfrm>
              <a:off x="2599825" y="3689700"/>
              <a:ext cx="429850" cy="169150"/>
            </a:xfrm>
            <a:custGeom>
              <a:avLst/>
              <a:gdLst/>
              <a:ahLst/>
              <a:cxnLst/>
              <a:rect l="0" t="0" r="0" b="0"/>
              <a:pathLst>
                <a:path w="17194" h="6766" extrusionOk="0">
                  <a:moveTo>
                    <a:pt x="10160" y="978"/>
                  </a:moveTo>
                  <a:lnTo>
                    <a:pt x="10258" y="1002"/>
                  </a:lnTo>
                  <a:lnTo>
                    <a:pt x="10355" y="1026"/>
                  </a:lnTo>
                  <a:lnTo>
                    <a:pt x="10429" y="1075"/>
                  </a:lnTo>
                  <a:lnTo>
                    <a:pt x="10502" y="1124"/>
                  </a:lnTo>
                  <a:lnTo>
                    <a:pt x="10575" y="1197"/>
                  </a:lnTo>
                  <a:lnTo>
                    <a:pt x="10600" y="1295"/>
                  </a:lnTo>
                  <a:lnTo>
                    <a:pt x="10649" y="1368"/>
                  </a:lnTo>
                  <a:lnTo>
                    <a:pt x="10649" y="1466"/>
                  </a:lnTo>
                  <a:lnTo>
                    <a:pt x="10649" y="1881"/>
                  </a:lnTo>
                  <a:lnTo>
                    <a:pt x="6545" y="1881"/>
                  </a:lnTo>
                  <a:lnTo>
                    <a:pt x="6545" y="1466"/>
                  </a:lnTo>
                  <a:lnTo>
                    <a:pt x="6545" y="1368"/>
                  </a:lnTo>
                  <a:lnTo>
                    <a:pt x="6594" y="1295"/>
                  </a:lnTo>
                  <a:lnTo>
                    <a:pt x="6619" y="1197"/>
                  </a:lnTo>
                  <a:lnTo>
                    <a:pt x="6692" y="1124"/>
                  </a:lnTo>
                  <a:lnTo>
                    <a:pt x="6765" y="1075"/>
                  </a:lnTo>
                  <a:lnTo>
                    <a:pt x="6839" y="1026"/>
                  </a:lnTo>
                  <a:lnTo>
                    <a:pt x="6936" y="1002"/>
                  </a:lnTo>
                  <a:lnTo>
                    <a:pt x="7034" y="978"/>
                  </a:lnTo>
                  <a:close/>
                  <a:moveTo>
                    <a:pt x="7034" y="1"/>
                  </a:moveTo>
                  <a:lnTo>
                    <a:pt x="6887" y="25"/>
                  </a:lnTo>
                  <a:lnTo>
                    <a:pt x="6741" y="50"/>
                  </a:lnTo>
                  <a:lnTo>
                    <a:pt x="6472" y="123"/>
                  </a:lnTo>
                  <a:lnTo>
                    <a:pt x="6204" y="269"/>
                  </a:lnTo>
                  <a:lnTo>
                    <a:pt x="6008" y="440"/>
                  </a:lnTo>
                  <a:lnTo>
                    <a:pt x="5813" y="660"/>
                  </a:lnTo>
                  <a:lnTo>
                    <a:pt x="5691" y="904"/>
                  </a:lnTo>
                  <a:lnTo>
                    <a:pt x="5593" y="1173"/>
                  </a:lnTo>
                  <a:lnTo>
                    <a:pt x="5569" y="1320"/>
                  </a:lnTo>
                  <a:lnTo>
                    <a:pt x="5569" y="1466"/>
                  </a:lnTo>
                  <a:lnTo>
                    <a:pt x="5569" y="1881"/>
                  </a:lnTo>
                  <a:lnTo>
                    <a:pt x="391" y="1881"/>
                  </a:lnTo>
                  <a:lnTo>
                    <a:pt x="293" y="1906"/>
                  </a:lnTo>
                  <a:lnTo>
                    <a:pt x="220" y="1955"/>
                  </a:lnTo>
                  <a:lnTo>
                    <a:pt x="147" y="2028"/>
                  </a:lnTo>
                  <a:lnTo>
                    <a:pt x="73" y="2077"/>
                  </a:lnTo>
                  <a:lnTo>
                    <a:pt x="49" y="2174"/>
                  </a:lnTo>
                  <a:lnTo>
                    <a:pt x="0" y="2272"/>
                  </a:lnTo>
                  <a:lnTo>
                    <a:pt x="0" y="2370"/>
                  </a:lnTo>
                  <a:lnTo>
                    <a:pt x="0" y="5789"/>
                  </a:lnTo>
                  <a:lnTo>
                    <a:pt x="24" y="5984"/>
                  </a:lnTo>
                  <a:lnTo>
                    <a:pt x="73" y="6155"/>
                  </a:lnTo>
                  <a:lnTo>
                    <a:pt x="171" y="6326"/>
                  </a:lnTo>
                  <a:lnTo>
                    <a:pt x="293" y="6473"/>
                  </a:lnTo>
                  <a:lnTo>
                    <a:pt x="440" y="6595"/>
                  </a:lnTo>
                  <a:lnTo>
                    <a:pt x="586" y="6693"/>
                  </a:lnTo>
                  <a:lnTo>
                    <a:pt x="782" y="6741"/>
                  </a:lnTo>
                  <a:lnTo>
                    <a:pt x="977" y="6766"/>
                  </a:lnTo>
                  <a:lnTo>
                    <a:pt x="7742" y="6766"/>
                  </a:lnTo>
                  <a:lnTo>
                    <a:pt x="7742" y="6155"/>
                  </a:lnTo>
                  <a:lnTo>
                    <a:pt x="7767" y="6058"/>
                  </a:lnTo>
                  <a:lnTo>
                    <a:pt x="7791" y="5984"/>
                  </a:lnTo>
                  <a:lnTo>
                    <a:pt x="7840" y="5887"/>
                  </a:lnTo>
                  <a:lnTo>
                    <a:pt x="7889" y="5813"/>
                  </a:lnTo>
                  <a:lnTo>
                    <a:pt x="7962" y="5765"/>
                  </a:lnTo>
                  <a:lnTo>
                    <a:pt x="8060" y="5716"/>
                  </a:lnTo>
                  <a:lnTo>
                    <a:pt x="8133" y="5691"/>
                  </a:lnTo>
                  <a:lnTo>
                    <a:pt x="8231" y="5667"/>
                  </a:lnTo>
                  <a:lnTo>
                    <a:pt x="8963" y="5667"/>
                  </a:lnTo>
                  <a:lnTo>
                    <a:pt x="9061" y="5691"/>
                  </a:lnTo>
                  <a:lnTo>
                    <a:pt x="9134" y="5716"/>
                  </a:lnTo>
                  <a:lnTo>
                    <a:pt x="9232" y="5765"/>
                  </a:lnTo>
                  <a:lnTo>
                    <a:pt x="9305" y="5813"/>
                  </a:lnTo>
                  <a:lnTo>
                    <a:pt x="9354" y="5887"/>
                  </a:lnTo>
                  <a:lnTo>
                    <a:pt x="9403" y="5984"/>
                  </a:lnTo>
                  <a:lnTo>
                    <a:pt x="9427" y="6058"/>
                  </a:lnTo>
                  <a:lnTo>
                    <a:pt x="9452" y="6155"/>
                  </a:lnTo>
                  <a:lnTo>
                    <a:pt x="9452" y="6766"/>
                  </a:lnTo>
                  <a:lnTo>
                    <a:pt x="16217" y="6766"/>
                  </a:lnTo>
                  <a:lnTo>
                    <a:pt x="16412" y="6741"/>
                  </a:lnTo>
                  <a:lnTo>
                    <a:pt x="16608" y="6693"/>
                  </a:lnTo>
                  <a:lnTo>
                    <a:pt x="16754" y="6595"/>
                  </a:lnTo>
                  <a:lnTo>
                    <a:pt x="16901" y="6473"/>
                  </a:lnTo>
                  <a:lnTo>
                    <a:pt x="17023" y="6326"/>
                  </a:lnTo>
                  <a:lnTo>
                    <a:pt x="17121" y="6155"/>
                  </a:lnTo>
                  <a:lnTo>
                    <a:pt x="17169" y="5984"/>
                  </a:lnTo>
                  <a:lnTo>
                    <a:pt x="17194" y="5789"/>
                  </a:lnTo>
                  <a:lnTo>
                    <a:pt x="17194" y="2370"/>
                  </a:lnTo>
                  <a:lnTo>
                    <a:pt x="17194" y="2272"/>
                  </a:lnTo>
                  <a:lnTo>
                    <a:pt x="17145" y="2174"/>
                  </a:lnTo>
                  <a:lnTo>
                    <a:pt x="17121" y="2077"/>
                  </a:lnTo>
                  <a:lnTo>
                    <a:pt x="17047" y="2028"/>
                  </a:lnTo>
                  <a:lnTo>
                    <a:pt x="16974" y="1955"/>
                  </a:lnTo>
                  <a:lnTo>
                    <a:pt x="16901" y="1906"/>
                  </a:lnTo>
                  <a:lnTo>
                    <a:pt x="16803" y="1881"/>
                  </a:lnTo>
                  <a:lnTo>
                    <a:pt x="11625" y="1881"/>
                  </a:lnTo>
                  <a:lnTo>
                    <a:pt x="11625" y="1466"/>
                  </a:lnTo>
                  <a:lnTo>
                    <a:pt x="11625" y="1320"/>
                  </a:lnTo>
                  <a:lnTo>
                    <a:pt x="11601" y="1173"/>
                  </a:lnTo>
                  <a:lnTo>
                    <a:pt x="11503" y="904"/>
                  </a:lnTo>
                  <a:lnTo>
                    <a:pt x="11381" y="660"/>
                  </a:lnTo>
                  <a:lnTo>
                    <a:pt x="11186" y="440"/>
                  </a:lnTo>
                  <a:lnTo>
                    <a:pt x="10990" y="269"/>
                  </a:lnTo>
                  <a:lnTo>
                    <a:pt x="10722" y="123"/>
                  </a:lnTo>
                  <a:lnTo>
                    <a:pt x="10453" y="50"/>
                  </a:lnTo>
                  <a:lnTo>
                    <a:pt x="10307" y="25"/>
                  </a:lnTo>
                  <a:lnTo>
                    <a:pt x="1016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80" name="Shape 509"/>
            <p:cNvSpPr/>
            <p:nvPr/>
          </p:nvSpPr>
          <p:spPr>
            <a:xfrm>
              <a:off x="2599825" y="3861275"/>
              <a:ext cx="429850" cy="188700"/>
            </a:xfrm>
            <a:custGeom>
              <a:avLst/>
              <a:gdLst/>
              <a:ahLst/>
              <a:cxnLst/>
              <a:rect l="0" t="0" r="0" b="0"/>
              <a:pathLst>
                <a:path w="17194" h="7548" extrusionOk="0">
                  <a:moveTo>
                    <a:pt x="0" y="1"/>
                  </a:moveTo>
                  <a:lnTo>
                    <a:pt x="0" y="7059"/>
                  </a:lnTo>
                  <a:lnTo>
                    <a:pt x="0" y="7157"/>
                  </a:lnTo>
                  <a:lnTo>
                    <a:pt x="49" y="7230"/>
                  </a:lnTo>
                  <a:lnTo>
                    <a:pt x="73" y="7327"/>
                  </a:lnTo>
                  <a:lnTo>
                    <a:pt x="147" y="7401"/>
                  </a:lnTo>
                  <a:lnTo>
                    <a:pt x="220" y="7450"/>
                  </a:lnTo>
                  <a:lnTo>
                    <a:pt x="293" y="7498"/>
                  </a:lnTo>
                  <a:lnTo>
                    <a:pt x="391" y="7523"/>
                  </a:lnTo>
                  <a:lnTo>
                    <a:pt x="489" y="7547"/>
                  </a:lnTo>
                  <a:lnTo>
                    <a:pt x="16705" y="7547"/>
                  </a:lnTo>
                  <a:lnTo>
                    <a:pt x="16803" y="7523"/>
                  </a:lnTo>
                  <a:lnTo>
                    <a:pt x="16901" y="7498"/>
                  </a:lnTo>
                  <a:lnTo>
                    <a:pt x="16974" y="7450"/>
                  </a:lnTo>
                  <a:lnTo>
                    <a:pt x="17047" y="7401"/>
                  </a:lnTo>
                  <a:lnTo>
                    <a:pt x="17121" y="7327"/>
                  </a:lnTo>
                  <a:lnTo>
                    <a:pt x="17145" y="7230"/>
                  </a:lnTo>
                  <a:lnTo>
                    <a:pt x="17194" y="7157"/>
                  </a:lnTo>
                  <a:lnTo>
                    <a:pt x="17194" y="7059"/>
                  </a:lnTo>
                  <a:lnTo>
                    <a:pt x="17194" y="1"/>
                  </a:lnTo>
                  <a:lnTo>
                    <a:pt x="16974" y="172"/>
                  </a:lnTo>
                  <a:lnTo>
                    <a:pt x="16754" y="294"/>
                  </a:lnTo>
                  <a:lnTo>
                    <a:pt x="16486" y="367"/>
                  </a:lnTo>
                  <a:lnTo>
                    <a:pt x="16217" y="391"/>
                  </a:lnTo>
                  <a:lnTo>
                    <a:pt x="9452" y="391"/>
                  </a:lnTo>
                  <a:lnTo>
                    <a:pt x="9452" y="855"/>
                  </a:lnTo>
                  <a:lnTo>
                    <a:pt x="9427" y="953"/>
                  </a:lnTo>
                  <a:lnTo>
                    <a:pt x="9403" y="1051"/>
                  </a:lnTo>
                  <a:lnTo>
                    <a:pt x="9354" y="1148"/>
                  </a:lnTo>
                  <a:lnTo>
                    <a:pt x="9305" y="1197"/>
                  </a:lnTo>
                  <a:lnTo>
                    <a:pt x="9232" y="1271"/>
                  </a:lnTo>
                  <a:lnTo>
                    <a:pt x="9134" y="1319"/>
                  </a:lnTo>
                  <a:lnTo>
                    <a:pt x="9061" y="1344"/>
                  </a:lnTo>
                  <a:lnTo>
                    <a:pt x="8133" y="1344"/>
                  </a:lnTo>
                  <a:lnTo>
                    <a:pt x="8060" y="1319"/>
                  </a:lnTo>
                  <a:lnTo>
                    <a:pt x="7962" y="1271"/>
                  </a:lnTo>
                  <a:lnTo>
                    <a:pt x="7889" y="1197"/>
                  </a:lnTo>
                  <a:lnTo>
                    <a:pt x="7840" y="1148"/>
                  </a:lnTo>
                  <a:lnTo>
                    <a:pt x="7791" y="1051"/>
                  </a:lnTo>
                  <a:lnTo>
                    <a:pt x="7767" y="953"/>
                  </a:lnTo>
                  <a:lnTo>
                    <a:pt x="7742" y="855"/>
                  </a:lnTo>
                  <a:lnTo>
                    <a:pt x="7742" y="391"/>
                  </a:lnTo>
                  <a:lnTo>
                    <a:pt x="977" y="391"/>
                  </a:lnTo>
                  <a:lnTo>
                    <a:pt x="708" y="367"/>
                  </a:lnTo>
                  <a:lnTo>
                    <a:pt x="440" y="294"/>
                  </a:lnTo>
                  <a:lnTo>
                    <a:pt x="220" y="172"/>
                  </a:lnTo>
                  <a:lnTo>
                    <a:pt x="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81" name="Shape 510"/>
          <p:cNvGrpSpPr/>
          <p:nvPr/>
        </p:nvGrpSpPr>
        <p:grpSpPr>
          <a:xfrm>
            <a:off x="4771227" y="4334973"/>
            <a:ext cx="296544" cy="309602"/>
            <a:chOff x="3294650" y="3652450"/>
            <a:chExt cx="388350" cy="405450"/>
          </a:xfrm>
        </p:grpSpPr>
        <p:sp>
          <p:nvSpPr>
            <p:cNvPr id="182" name="Shape 511"/>
            <p:cNvSpPr/>
            <p:nvPr/>
          </p:nvSpPr>
          <p:spPr>
            <a:xfrm>
              <a:off x="3294650" y="3681775"/>
              <a:ext cx="376150" cy="376125"/>
            </a:xfrm>
            <a:custGeom>
              <a:avLst/>
              <a:gdLst/>
              <a:ahLst/>
              <a:cxnLst/>
              <a:rect l="0" t="0" r="0" b="0"/>
              <a:pathLst>
                <a:path w="15046" h="15045" extrusionOk="0">
                  <a:moveTo>
                    <a:pt x="7132" y="0"/>
                  </a:moveTo>
                  <a:lnTo>
                    <a:pt x="6766" y="49"/>
                  </a:lnTo>
                  <a:lnTo>
                    <a:pt x="6375" y="98"/>
                  </a:lnTo>
                  <a:lnTo>
                    <a:pt x="6009" y="147"/>
                  </a:lnTo>
                  <a:lnTo>
                    <a:pt x="5642" y="244"/>
                  </a:lnTo>
                  <a:lnTo>
                    <a:pt x="5276" y="342"/>
                  </a:lnTo>
                  <a:lnTo>
                    <a:pt x="4934" y="464"/>
                  </a:lnTo>
                  <a:lnTo>
                    <a:pt x="4592" y="586"/>
                  </a:lnTo>
                  <a:lnTo>
                    <a:pt x="4250" y="733"/>
                  </a:lnTo>
                  <a:lnTo>
                    <a:pt x="3933" y="904"/>
                  </a:lnTo>
                  <a:lnTo>
                    <a:pt x="3615" y="1099"/>
                  </a:lnTo>
                  <a:lnTo>
                    <a:pt x="3322" y="1295"/>
                  </a:lnTo>
                  <a:lnTo>
                    <a:pt x="3029" y="1490"/>
                  </a:lnTo>
                  <a:lnTo>
                    <a:pt x="2736" y="1710"/>
                  </a:lnTo>
                  <a:lnTo>
                    <a:pt x="2467" y="1954"/>
                  </a:lnTo>
                  <a:lnTo>
                    <a:pt x="2199" y="2198"/>
                  </a:lnTo>
                  <a:lnTo>
                    <a:pt x="1954" y="2467"/>
                  </a:lnTo>
                  <a:lnTo>
                    <a:pt x="1710" y="2736"/>
                  </a:lnTo>
                  <a:lnTo>
                    <a:pt x="1490" y="3029"/>
                  </a:lnTo>
                  <a:lnTo>
                    <a:pt x="1295" y="3322"/>
                  </a:lnTo>
                  <a:lnTo>
                    <a:pt x="1100" y="3615"/>
                  </a:lnTo>
                  <a:lnTo>
                    <a:pt x="904" y="3932"/>
                  </a:lnTo>
                  <a:lnTo>
                    <a:pt x="733" y="4250"/>
                  </a:lnTo>
                  <a:lnTo>
                    <a:pt x="587" y="4592"/>
                  </a:lnTo>
                  <a:lnTo>
                    <a:pt x="465" y="4934"/>
                  </a:lnTo>
                  <a:lnTo>
                    <a:pt x="342" y="5276"/>
                  </a:lnTo>
                  <a:lnTo>
                    <a:pt x="245" y="5642"/>
                  </a:lnTo>
                  <a:lnTo>
                    <a:pt x="147" y="6008"/>
                  </a:lnTo>
                  <a:lnTo>
                    <a:pt x="98" y="6375"/>
                  </a:lnTo>
                  <a:lnTo>
                    <a:pt x="49" y="6765"/>
                  </a:lnTo>
                  <a:lnTo>
                    <a:pt x="0" y="7132"/>
                  </a:lnTo>
                  <a:lnTo>
                    <a:pt x="0" y="7522"/>
                  </a:lnTo>
                  <a:lnTo>
                    <a:pt x="0" y="7913"/>
                  </a:lnTo>
                  <a:lnTo>
                    <a:pt x="49" y="8280"/>
                  </a:lnTo>
                  <a:lnTo>
                    <a:pt x="98" y="8670"/>
                  </a:lnTo>
                  <a:lnTo>
                    <a:pt x="147" y="9037"/>
                  </a:lnTo>
                  <a:lnTo>
                    <a:pt x="245" y="9403"/>
                  </a:lnTo>
                  <a:lnTo>
                    <a:pt x="342" y="9769"/>
                  </a:lnTo>
                  <a:lnTo>
                    <a:pt x="465" y="10111"/>
                  </a:lnTo>
                  <a:lnTo>
                    <a:pt x="587" y="10453"/>
                  </a:lnTo>
                  <a:lnTo>
                    <a:pt x="733" y="10795"/>
                  </a:lnTo>
                  <a:lnTo>
                    <a:pt x="904" y="11113"/>
                  </a:lnTo>
                  <a:lnTo>
                    <a:pt x="1100" y="11430"/>
                  </a:lnTo>
                  <a:lnTo>
                    <a:pt x="1295" y="11723"/>
                  </a:lnTo>
                  <a:lnTo>
                    <a:pt x="1490" y="12016"/>
                  </a:lnTo>
                  <a:lnTo>
                    <a:pt x="1710" y="12309"/>
                  </a:lnTo>
                  <a:lnTo>
                    <a:pt x="1954" y="12578"/>
                  </a:lnTo>
                  <a:lnTo>
                    <a:pt x="2199" y="12847"/>
                  </a:lnTo>
                  <a:lnTo>
                    <a:pt x="2467" y="13091"/>
                  </a:lnTo>
                  <a:lnTo>
                    <a:pt x="2736" y="13335"/>
                  </a:lnTo>
                  <a:lnTo>
                    <a:pt x="3029" y="13555"/>
                  </a:lnTo>
                  <a:lnTo>
                    <a:pt x="3322" y="13750"/>
                  </a:lnTo>
                  <a:lnTo>
                    <a:pt x="3615" y="13946"/>
                  </a:lnTo>
                  <a:lnTo>
                    <a:pt x="3933" y="14141"/>
                  </a:lnTo>
                  <a:lnTo>
                    <a:pt x="4250" y="14312"/>
                  </a:lnTo>
                  <a:lnTo>
                    <a:pt x="4592" y="14459"/>
                  </a:lnTo>
                  <a:lnTo>
                    <a:pt x="4934" y="14581"/>
                  </a:lnTo>
                  <a:lnTo>
                    <a:pt x="5276" y="14703"/>
                  </a:lnTo>
                  <a:lnTo>
                    <a:pt x="5642" y="14801"/>
                  </a:lnTo>
                  <a:lnTo>
                    <a:pt x="6009" y="14898"/>
                  </a:lnTo>
                  <a:lnTo>
                    <a:pt x="6375" y="14947"/>
                  </a:lnTo>
                  <a:lnTo>
                    <a:pt x="6766" y="14996"/>
                  </a:lnTo>
                  <a:lnTo>
                    <a:pt x="7132" y="15045"/>
                  </a:lnTo>
                  <a:lnTo>
                    <a:pt x="7914" y="15045"/>
                  </a:lnTo>
                  <a:lnTo>
                    <a:pt x="8280" y="14996"/>
                  </a:lnTo>
                  <a:lnTo>
                    <a:pt x="8671" y="14947"/>
                  </a:lnTo>
                  <a:lnTo>
                    <a:pt x="9037" y="14898"/>
                  </a:lnTo>
                  <a:lnTo>
                    <a:pt x="9403" y="14801"/>
                  </a:lnTo>
                  <a:lnTo>
                    <a:pt x="9770" y="14703"/>
                  </a:lnTo>
                  <a:lnTo>
                    <a:pt x="10112" y="14581"/>
                  </a:lnTo>
                  <a:lnTo>
                    <a:pt x="10454" y="14459"/>
                  </a:lnTo>
                  <a:lnTo>
                    <a:pt x="10795" y="14312"/>
                  </a:lnTo>
                  <a:lnTo>
                    <a:pt x="11113" y="14141"/>
                  </a:lnTo>
                  <a:lnTo>
                    <a:pt x="11430" y="13946"/>
                  </a:lnTo>
                  <a:lnTo>
                    <a:pt x="11724" y="13750"/>
                  </a:lnTo>
                  <a:lnTo>
                    <a:pt x="12017" y="13555"/>
                  </a:lnTo>
                  <a:lnTo>
                    <a:pt x="12310" y="13335"/>
                  </a:lnTo>
                  <a:lnTo>
                    <a:pt x="12578" y="13091"/>
                  </a:lnTo>
                  <a:lnTo>
                    <a:pt x="12847" y="12847"/>
                  </a:lnTo>
                  <a:lnTo>
                    <a:pt x="13091" y="12578"/>
                  </a:lnTo>
                  <a:lnTo>
                    <a:pt x="13335" y="12309"/>
                  </a:lnTo>
                  <a:lnTo>
                    <a:pt x="13555" y="12016"/>
                  </a:lnTo>
                  <a:lnTo>
                    <a:pt x="13751" y="11723"/>
                  </a:lnTo>
                  <a:lnTo>
                    <a:pt x="13946" y="11430"/>
                  </a:lnTo>
                  <a:lnTo>
                    <a:pt x="14141" y="11113"/>
                  </a:lnTo>
                  <a:lnTo>
                    <a:pt x="14312" y="10795"/>
                  </a:lnTo>
                  <a:lnTo>
                    <a:pt x="14459" y="10453"/>
                  </a:lnTo>
                  <a:lnTo>
                    <a:pt x="14581" y="10111"/>
                  </a:lnTo>
                  <a:lnTo>
                    <a:pt x="14703" y="9769"/>
                  </a:lnTo>
                  <a:lnTo>
                    <a:pt x="14801" y="9403"/>
                  </a:lnTo>
                  <a:lnTo>
                    <a:pt x="14899" y="9037"/>
                  </a:lnTo>
                  <a:lnTo>
                    <a:pt x="14947" y="8670"/>
                  </a:lnTo>
                  <a:lnTo>
                    <a:pt x="14996" y="8280"/>
                  </a:lnTo>
                  <a:lnTo>
                    <a:pt x="15045" y="7913"/>
                  </a:lnTo>
                  <a:lnTo>
                    <a:pt x="15045" y="7522"/>
                  </a:lnTo>
                  <a:lnTo>
                    <a:pt x="7523" y="7522"/>
                  </a:lnTo>
                  <a:lnTo>
                    <a:pt x="752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83" name="Shape 512"/>
            <p:cNvSpPr/>
            <p:nvPr/>
          </p:nvSpPr>
          <p:spPr>
            <a:xfrm>
              <a:off x="3494925" y="3760525"/>
              <a:ext cx="188075" cy="97100"/>
            </a:xfrm>
            <a:custGeom>
              <a:avLst/>
              <a:gdLst/>
              <a:ahLst/>
              <a:cxnLst/>
              <a:rect l="0" t="0" r="0" b="0"/>
              <a:pathLst>
                <a:path w="7523" h="3884" extrusionOk="0">
                  <a:moveTo>
                    <a:pt x="2491" y="2956"/>
                  </a:moveTo>
                  <a:lnTo>
                    <a:pt x="2491" y="3396"/>
                  </a:lnTo>
                  <a:lnTo>
                    <a:pt x="1759" y="3396"/>
                  </a:lnTo>
                  <a:lnTo>
                    <a:pt x="2491" y="2956"/>
                  </a:lnTo>
                  <a:close/>
                  <a:moveTo>
                    <a:pt x="3346" y="2443"/>
                  </a:moveTo>
                  <a:lnTo>
                    <a:pt x="3346" y="3396"/>
                  </a:lnTo>
                  <a:lnTo>
                    <a:pt x="2980" y="3396"/>
                  </a:lnTo>
                  <a:lnTo>
                    <a:pt x="2980" y="2663"/>
                  </a:lnTo>
                  <a:lnTo>
                    <a:pt x="3346" y="2443"/>
                  </a:lnTo>
                  <a:close/>
                  <a:moveTo>
                    <a:pt x="4201" y="1930"/>
                  </a:moveTo>
                  <a:lnTo>
                    <a:pt x="4201" y="3396"/>
                  </a:lnTo>
                  <a:lnTo>
                    <a:pt x="3835" y="3396"/>
                  </a:lnTo>
                  <a:lnTo>
                    <a:pt x="3835" y="2150"/>
                  </a:lnTo>
                  <a:lnTo>
                    <a:pt x="3835" y="2150"/>
                  </a:lnTo>
                  <a:lnTo>
                    <a:pt x="4201" y="1930"/>
                  </a:lnTo>
                  <a:close/>
                  <a:moveTo>
                    <a:pt x="5056" y="1393"/>
                  </a:moveTo>
                  <a:lnTo>
                    <a:pt x="5056" y="3396"/>
                  </a:lnTo>
                  <a:lnTo>
                    <a:pt x="4689" y="3396"/>
                  </a:lnTo>
                  <a:lnTo>
                    <a:pt x="4689" y="1637"/>
                  </a:lnTo>
                  <a:lnTo>
                    <a:pt x="5056" y="1393"/>
                  </a:lnTo>
                  <a:close/>
                  <a:moveTo>
                    <a:pt x="5911" y="885"/>
                  </a:moveTo>
                  <a:lnTo>
                    <a:pt x="5911" y="3396"/>
                  </a:lnTo>
                  <a:lnTo>
                    <a:pt x="5544" y="3396"/>
                  </a:lnTo>
                  <a:lnTo>
                    <a:pt x="5544" y="1100"/>
                  </a:lnTo>
                  <a:lnTo>
                    <a:pt x="5911" y="885"/>
                  </a:lnTo>
                  <a:close/>
                  <a:moveTo>
                    <a:pt x="6399" y="978"/>
                  </a:moveTo>
                  <a:lnTo>
                    <a:pt x="6619" y="1539"/>
                  </a:lnTo>
                  <a:lnTo>
                    <a:pt x="6790" y="2031"/>
                  </a:lnTo>
                  <a:lnTo>
                    <a:pt x="6790" y="3396"/>
                  </a:lnTo>
                  <a:lnTo>
                    <a:pt x="6399" y="3396"/>
                  </a:lnTo>
                  <a:lnTo>
                    <a:pt x="6399" y="978"/>
                  </a:lnTo>
                  <a:close/>
                  <a:moveTo>
                    <a:pt x="6448" y="1"/>
                  </a:moveTo>
                  <a:lnTo>
                    <a:pt x="0" y="3884"/>
                  </a:lnTo>
                  <a:lnTo>
                    <a:pt x="7523" y="3884"/>
                  </a:lnTo>
                  <a:lnTo>
                    <a:pt x="7498" y="3347"/>
                  </a:lnTo>
                  <a:lnTo>
                    <a:pt x="7449" y="2834"/>
                  </a:lnTo>
                  <a:lnTo>
                    <a:pt x="7352" y="2321"/>
                  </a:lnTo>
                  <a:lnTo>
                    <a:pt x="7229" y="1832"/>
                  </a:lnTo>
                  <a:lnTo>
                    <a:pt x="7083" y="1344"/>
                  </a:lnTo>
                  <a:lnTo>
                    <a:pt x="6912" y="880"/>
                  </a:lnTo>
                  <a:lnTo>
                    <a:pt x="6692" y="440"/>
                  </a:lnTo>
                  <a:lnTo>
                    <a:pt x="644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84" name="Shape 513"/>
            <p:cNvSpPr/>
            <p:nvPr/>
          </p:nvSpPr>
          <p:spPr>
            <a:xfrm>
              <a:off x="3494925" y="3652450"/>
              <a:ext cx="161200" cy="188100"/>
            </a:xfrm>
            <a:custGeom>
              <a:avLst/>
              <a:gdLst/>
              <a:ahLst/>
              <a:cxnLst/>
              <a:rect l="0" t="0" r="0" b="0"/>
              <a:pathLst>
                <a:path w="6448" h="7524" extrusionOk="0">
                  <a:moveTo>
                    <a:pt x="489" y="514"/>
                  </a:moveTo>
                  <a:lnTo>
                    <a:pt x="879" y="538"/>
                  </a:lnTo>
                  <a:lnTo>
                    <a:pt x="1270" y="611"/>
                  </a:lnTo>
                  <a:lnTo>
                    <a:pt x="1661" y="685"/>
                  </a:lnTo>
                  <a:lnTo>
                    <a:pt x="2052" y="782"/>
                  </a:lnTo>
                  <a:lnTo>
                    <a:pt x="2418" y="929"/>
                  </a:lnTo>
                  <a:lnTo>
                    <a:pt x="2809" y="1075"/>
                  </a:lnTo>
                  <a:lnTo>
                    <a:pt x="3151" y="1246"/>
                  </a:lnTo>
                  <a:lnTo>
                    <a:pt x="3517" y="1417"/>
                  </a:lnTo>
                  <a:lnTo>
                    <a:pt x="3835" y="1637"/>
                  </a:lnTo>
                  <a:lnTo>
                    <a:pt x="4152" y="1857"/>
                  </a:lnTo>
                  <a:lnTo>
                    <a:pt x="4445" y="2077"/>
                  </a:lnTo>
                  <a:lnTo>
                    <a:pt x="4738" y="2321"/>
                  </a:lnTo>
                  <a:lnTo>
                    <a:pt x="5031" y="2590"/>
                  </a:lnTo>
                  <a:lnTo>
                    <a:pt x="5276" y="2883"/>
                  </a:lnTo>
                  <a:lnTo>
                    <a:pt x="5520" y="3176"/>
                  </a:lnTo>
                  <a:lnTo>
                    <a:pt x="5764" y="3493"/>
                  </a:lnTo>
                  <a:lnTo>
                    <a:pt x="489" y="6668"/>
                  </a:lnTo>
                  <a:lnTo>
                    <a:pt x="489" y="514"/>
                  </a:lnTo>
                  <a:close/>
                  <a:moveTo>
                    <a:pt x="0" y="1"/>
                  </a:moveTo>
                  <a:lnTo>
                    <a:pt x="0" y="7523"/>
                  </a:lnTo>
                  <a:lnTo>
                    <a:pt x="6448" y="3640"/>
                  </a:lnTo>
                  <a:lnTo>
                    <a:pt x="6179" y="3249"/>
                  </a:lnTo>
                  <a:lnTo>
                    <a:pt x="5911" y="2858"/>
                  </a:lnTo>
                  <a:lnTo>
                    <a:pt x="5593" y="2492"/>
                  </a:lnTo>
                  <a:lnTo>
                    <a:pt x="5276" y="2150"/>
                  </a:lnTo>
                  <a:lnTo>
                    <a:pt x="4909" y="1833"/>
                  </a:lnTo>
                  <a:lnTo>
                    <a:pt x="4543" y="1540"/>
                  </a:lnTo>
                  <a:lnTo>
                    <a:pt x="4152" y="1246"/>
                  </a:lnTo>
                  <a:lnTo>
                    <a:pt x="3761" y="1002"/>
                  </a:lnTo>
                  <a:lnTo>
                    <a:pt x="3322" y="782"/>
                  </a:lnTo>
                  <a:lnTo>
                    <a:pt x="2882" y="587"/>
                  </a:lnTo>
                  <a:lnTo>
                    <a:pt x="2443" y="416"/>
                  </a:lnTo>
                  <a:lnTo>
                    <a:pt x="1978" y="270"/>
                  </a:lnTo>
                  <a:lnTo>
                    <a:pt x="1490" y="147"/>
                  </a:lnTo>
                  <a:lnTo>
                    <a:pt x="1002" y="74"/>
                  </a:lnTo>
                  <a:lnTo>
                    <a:pt x="513" y="25"/>
                  </a:lnTo>
                  <a:lnTo>
                    <a:pt x="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85" name="Shape 514"/>
          <p:cNvGrpSpPr/>
          <p:nvPr/>
        </p:nvGrpSpPr>
        <p:grpSpPr>
          <a:xfrm>
            <a:off x="5261248" y="4374145"/>
            <a:ext cx="345949" cy="253649"/>
            <a:chOff x="3936375" y="3703750"/>
            <a:chExt cx="453050" cy="332175"/>
          </a:xfrm>
        </p:grpSpPr>
        <p:sp>
          <p:nvSpPr>
            <p:cNvPr id="186" name="Shape 515"/>
            <p:cNvSpPr/>
            <p:nvPr/>
          </p:nvSpPr>
          <p:spPr>
            <a:xfrm>
              <a:off x="3936375" y="3703750"/>
              <a:ext cx="453050" cy="332175"/>
            </a:xfrm>
            <a:custGeom>
              <a:avLst/>
              <a:gdLst/>
              <a:ahLst/>
              <a:cxnLst/>
              <a:rect l="0" t="0" r="0" b="0"/>
              <a:pathLst>
                <a:path w="18122" h="13287" extrusionOk="0">
                  <a:moveTo>
                    <a:pt x="366" y="0"/>
                  </a:moveTo>
                  <a:lnTo>
                    <a:pt x="293" y="49"/>
                  </a:lnTo>
                  <a:lnTo>
                    <a:pt x="195" y="74"/>
                  </a:lnTo>
                  <a:lnTo>
                    <a:pt x="122" y="147"/>
                  </a:lnTo>
                  <a:lnTo>
                    <a:pt x="73" y="220"/>
                  </a:lnTo>
                  <a:lnTo>
                    <a:pt x="24" y="293"/>
                  </a:lnTo>
                  <a:lnTo>
                    <a:pt x="0" y="391"/>
                  </a:lnTo>
                  <a:lnTo>
                    <a:pt x="0" y="489"/>
                  </a:lnTo>
                  <a:lnTo>
                    <a:pt x="0" y="12798"/>
                  </a:lnTo>
                  <a:lnTo>
                    <a:pt x="0" y="12896"/>
                  </a:lnTo>
                  <a:lnTo>
                    <a:pt x="24" y="12993"/>
                  </a:lnTo>
                  <a:lnTo>
                    <a:pt x="73" y="13067"/>
                  </a:lnTo>
                  <a:lnTo>
                    <a:pt x="122" y="13140"/>
                  </a:lnTo>
                  <a:lnTo>
                    <a:pt x="195" y="13213"/>
                  </a:lnTo>
                  <a:lnTo>
                    <a:pt x="293" y="13238"/>
                  </a:lnTo>
                  <a:lnTo>
                    <a:pt x="366" y="13287"/>
                  </a:lnTo>
                  <a:lnTo>
                    <a:pt x="17756" y="13287"/>
                  </a:lnTo>
                  <a:lnTo>
                    <a:pt x="17829" y="13238"/>
                  </a:lnTo>
                  <a:lnTo>
                    <a:pt x="17927" y="13213"/>
                  </a:lnTo>
                  <a:lnTo>
                    <a:pt x="18000" y="13140"/>
                  </a:lnTo>
                  <a:lnTo>
                    <a:pt x="18049" y="13067"/>
                  </a:lnTo>
                  <a:lnTo>
                    <a:pt x="18098" y="12993"/>
                  </a:lnTo>
                  <a:lnTo>
                    <a:pt x="18122" y="12896"/>
                  </a:lnTo>
                  <a:lnTo>
                    <a:pt x="18122" y="12798"/>
                  </a:lnTo>
                  <a:lnTo>
                    <a:pt x="18122" y="12700"/>
                  </a:lnTo>
                  <a:lnTo>
                    <a:pt x="18098" y="12603"/>
                  </a:lnTo>
                  <a:lnTo>
                    <a:pt x="18049" y="12529"/>
                  </a:lnTo>
                  <a:lnTo>
                    <a:pt x="18000" y="12456"/>
                  </a:lnTo>
                  <a:lnTo>
                    <a:pt x="17927" y="12383"/>
                  </a:lnTo>
                  <a:lnTo>
                    <a:pt x="17829" y="12358"/>
                  </a:lnTo>
                  <a:lnTo>
                    <a:pt x="17756" y="12310"/>
                  </a:lnTo>
                  <a:lnTo>
                    <a:pt x="977" y="12310"/>
                  </a:lnTo>
                  <a:lnTo>
                    <a:pt x="977" y="489"/>
                  </a:lnTo>
                  <a:lnTo>
                    <a:pt x="953" y="391"/>
                  </a:lnTo>
                  <a:lnTo>
                    <a:pt x="928" y="293"/>
                  </a:lnTo>
                  <a:lnTo>
                    <a:pt x="879" y="220"/>
                  </a:lnTo>
                  <a:lnTo>
                    <a:pt x="830" y="147"/>
                  </a:lnTo>
                  <a:lnTo>
                    <a:pt x="757" y="74"/>
                  </a:lnTo>
                  <a:lnTo>
                    <a:pt x="659" y="49"/>
                  </a:lnTo>
                  <a:lnTo>
                    <a:pt x="58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87" name="Shape 516"/>
            <p:cNvSpPr/>
            <p:nvPr/>
          </p:nvSpPr>
          <p:spPr>
            <a:xfrm>
              <a:off x="3988875" y="3864325"/>
              <a:ext cx="77575" cy="133125"/>
            </a:xfrm>
            <a:custGeom>
              <a:avLst/>
              <a:gdLst/>
              <a:ahLst/>
              <a:cxnLst/>
              <a:rect l="0" t="0" r="0" b="0"/>
              <a:pathLst>
                <a:path w="3103" h="5325" extrusionOk="0">
                  <a:moveTo>
                    <a:pt x="489" y="1"/>
                  </a:moveTo>
                  <a:lnTo>
                    <a:pt x="391" y="25"/>
                  </a:lnTo>
                  <a:lnTo>
                    <a:pt x="294" y="50"/>
                  </a:lnTo>
                  <a:lnTo>
                    <a:pt x="196" y="98"/>
                  </a:lnTo>
                  <a:lnTo>
                    <a:pt x="147" y="147"/>
                  </a:lnTo>
                  <a:lnTo>
                    <a:pt x="74" y="220"/>
                  </a:lnTo>
                  <a:lnTo>
                    <a:pt x="25" y="294"/>
                  </a:lnTo>
                  <a:lnTo>
                    <a:pt x="0" y="391"/>
                  </a:lnTo>
                  <a:lnTo>
                    <a:pt x="0" y="489"/>
                  </a:lnTo>
                  <a:lnTo>
                    <a:pt x="0" y="5325"/>
                  </a:lnTo>
                  <a:lnTo>
                    <a:pt x="3102" y="5325"/>
                  </a:lnTo>
                  <a:lnTo>
                    <a:pt x="3102" y="489"/>
                  </a:lnTo>
                  <a:lnTo>
                    <a:pt x="3102" y="391"/>
                  </a:lnTo>
                  <a:lnTo>
                    <a:pt x="3053" y="294"/>
                  </a:lnTo>
                  <a:lnTo>
                    <a:pt x="3029" y="220"/>
                  </a:lnTo>
                  <a:lnTo>
                    <a:pt x="2956" y="147"/>
                  </a:lnTo>
                  <a:lnTo>
                    <a:pt x="2882" y="98"/>
                  </a:lnTo>
                  <a:lnTo>
                    <a:pt x="2809" y="50"/>
                  </a:lnTo>
                  <a:lnTo>
                    <a:pt x="2711" y="25"/>
                  </a:lnTo>
                  <a:lnTo>
                    <a:pt x="261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88" name="Shape 517"/>
            <p:cNvSpPr/>
            <p:nvPr/>
          </p:nvSpPr>
          <p:spPr>
            <a:xfrm>
              <a:off x="4259350" y="3864325"/>
              <a:ext cx="77575" cy="133125"/>
            </a:xfrm>
            <a:custGeom>
              <a:avLst/>
              <a:gdLst/>
              <a:ahLst/>
              <a:cxnLst/>
              <a:rect l="0" t="0" r="0" b="0"/>
              <a:pathLst>
                <a:path w="3103" h="5325" extrusionOk="0">
                  <a:moveTo>
                    <a:pt x="489" y="1"/>
                  </a:moveTo>
                  <a:lnTo>
                    <a:pt x="392" y="25"/>
                  </a:lnTo>
                  <a:lnTo>
                    <a:pt x="294" y="50"/>
                  </a:lnTo>
                  <a:lnTo>
                    <a:pt x="221" y="98"/>
                  </a:lnTo>
                  <a:lnTo>
                    <a:pt x="147" y="147"/>
                  </a:lnTo>
                  <a:lnTo>
                    <a:pt x="74" y="220"/>
                  </a:lnTo>
                  <a:lnTo>
                    <a:pt x="50" y="294"/>
                  </a:lnTo>
                  <a:lnTo>
                    <a:pt x="1" y="391"/>
                  </a:lnTo>
                  <a:lnTo>
                    <a:pt x="1" y="489"/>
                  </a:lnTo>
                  <a:lnTo>
                    <a:pt x="1" y="5325"/>
                  </a:lnTo>
                  <a:lnTo>
                    <a:pt x="3103" y="5325"/>
                  </a:lnTo>
                  <a:lnTo>
                    <a:pt x="3103" y="489"/>
                  </a:lnTo>
                  <a:lnTo>
                    <a:pt x="3103" y="391"/>
                  </a:lnTo>
                  <a:lnTo>
                    <a:pt x="3078" y="294"/>
                  </a:lnTo>
                  <a:lnTo>
                    <a:pt x="3029" y="220"/>
                  </a:lnTo>
                  <a:lnTo>
                    <a:pt x="2956" y="147"/>
                  </a:lnTo>
                  <a:lnTo>
                    <a:pt x="2907" y="98"/>
                  </a:lnTo>
                  <a:lnTo>
                    <a:pt x="2810" y="50"/>
                  </a:lnTo>
                  <a:lnTo>
                    <a:pt x="2712" y="25"/>
                  </a:lnTo>
                  <a:lnTo>
                    <a:pt x="261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89" name="Shape 518"/>
            <p:cNvSpPr/>
            <p:nvPr/>
          </p:nvSpPr>
          <p:spPr>
            <a:xfrm>
              <a:off x="4078625" y="3717800"/>
              <a:ext cx="77575" cy="279650"/>
            </a:xfrm>
            <a:custGeom>
              <a:avLst/>
              <a:gdLst/>
              <a:ahLst/>
              <a:cxnLst/>
              <a:rect l="0" t="0" r="0" b="0"/>
              <a:pathLst>
                <a:path w="3103" h="11186" extrusionOk="0">
                  <a:moveTo>
                    <a:pt x="489" y="0"/>
                  </a:moveTo>
                  <a:lnTo>
                    <a:pt x="391" y="25"/>
                  </a:lnTo>
                  <a:lnTo>
                    <a:pt x="294" y="49"/>
                  </a:lnTo>
                  <a:lnTo>
                    <a:pt x="220" y="98"/>
                  </a:lnTo>
                  <a:lnTo>
                    <a:pt x="147" y="147"/>
                  </a:lnTo>
                  <a:lnTo>
                    <a:pt x="74" y="220"/>
                  </a:lnTo>
                  <a:lnTo>
                    <a:pt x="49" y="293"/>
                  </a:lnTo>
                  <a:lnTo>
                    <a:pt x="1" y="391"/>
                  </a:lnTo>
                  <a:lnTo>
                    <a:pt x="1" y="489"/>
                  </a:lnTo>
                  <a:lnTo>
                    <a:pt x="1" y="11186"/>
                  </a:lnTo>
                  <a:lnTo>
                    <a:pt x="3102" y="11186"/>
                  </a:lnTo>
                  <a:lnTo>
                    <a:pt x="3102" y="489"/>
                  </a:lnTo>
                  <a:lnTo>
                    <a:pt x="3102" y="391"/>
                  </a:lnTo>
                  <a:lnTo>
                    <a:pt x="3078" y="293"/>
                  </a:lnTo>
                  <a:lnTo>
                    <a:pt x="3029" y="220"/>
                  </a:lnTo>
                  <a:lnTo>
                    <a:pt x="2956" y="147"/>
                  </a:lnTo>
                  <a:lnTo>
                    <a:pt x="2907" y="98"/>
                  </a:lnTo>
                  <a:lnTo>
                    <a:pt x="2809" y="49"/>
                  </a:lnTo>
                  <a:lnTo>
                    <a:pt x="2712" y="25"/>
                  </a:lnTo>
                  <a:lnTo>
                    <a:pt x="261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90" name="Shape 519"/>
            <p:cNvSpPr/>
            <p:nvPr/>
          </p:nvSpPr>
          <p:spPr>
            <a:xfrm>
              <a:off x="4168375" y="3788625"/>
              <a:ext cx="78175" cy="208825"/>
            </a:xfrm>
            <a:custGeom>
              <a:avLst/>
              <a:gdLst/>
              <a:ahLst/>
              <a:cxnLst/>
              <a:rect l="0" t="0" r="0" b="0"/>
              <a:pathLst>
                <a:path w="3127" h="8353" extrusionOk="0">
                  <a:moveTo>
                    <a:pt x="489" y="0"/>
                  </a:moveTo>
                  <a:lnTo>
                    <a:pt x="392" y="25"/>
                  </a:lnTo>
                  <a:lnTo>
                    <a:pt x="318" y="49"/>
                  </a:lnTo>
                  <a:lnTo>
                    <a:pt x="221" y="98"/>
                  </a:lnTo>
                  <a:lnTo>
                    <a:pt x="147" y="147"/>
                  </a:lnTo>
                  <a:lnTo>
                    <a:pt x="99" y="220"/>
                  </a:lnTo>
                  <a:lnTo>
                    <a:pt x="50" y="293"/>
                  </a:lnTo>
                  <a:lnTo>
                    <a:pt x="25" y="391"/>
                  </a:lnTo>
                  <a:lnTo>
                    <a:pt x="1" y="489"/>
                  </a:lnTo>
                  <a:lnTo>
                    <a:pt x="1" y="8353"/>
                  </a:lnTo>
                  <a:lnTo>
                    <a:pt x="3127" y="8353"/>
                  </a:lnTo>
                  <a:lnTo>
                    <a:pt x="3127" y="489"/>
                  </a:lnTo>
                  <a:lnTo>
                    <a:pt x="3103" y="391"/>
                  </a:lnTo>
                  <a:lnTo>
                    <a:pt x="3078" y="293"/>
                  </a:lnTo>
                  <a:lnTo>
                    <a:pt x="3029" y="220"/>
                  </a:lnTo>
                  <a:lnTo>
                    <a:pt x="2980" y="147"/>
                  </a:lnTo>
                  <a:lnTo>
                    <a:pt x="2907" y="98"/>
                  </a:lnTo>
                  <a:lnTo>
                    <a:pt x="2809" y="49"/>
                  </a:lnTo>
                  <a:lnTo>
                    <a:pt x="2736" y="25"/>
                  </a:lnTo>
                  <a:lnTo>
                    <a:pt x="263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91" name="Shape 520"/>
          <p:cNvGrpSpPr/>
          <p:nvPr/>
        </p:nvGrpSpPr>
        <p:grpSpPr>
          <a:xfrm>
            <a:off x="5775972" y="4374145"/>
            <a:ext cx="345949" cy="253649"/>
            <a:chOff x="4610450" y="3703750"/>
            <a:chExt cx="453050" cy="332175"/>
          </a:xfrm>
        </p:grpSpPr>
        <p:sp>
          <p:nvSpPr>
            <p:cNvPr id="192" name="Shape 521"/>
            <p:cNvSpPr/>
            <p:nvPr/>
          </p:nvSpPr>
          <p:spPr>
            <a:xfrm>
              <a:off x="4610450" y="3703750"/>
              <a:ext cx="453050" cy="332175"/>
            </a:xfrm>
            <a:custGeom>
              <a:avLst/>
              <a:gdLst/>
              <a:ahLst/>
              <a:cxnLst/>
              <a:rect l="0" t="0" r="0" b="0"/>
              <a:pathLst>
                <a:path w="18122" h="13287" extrusionOk="0">
                  <a:moveTo>
                    <a:pt x="366" y="0"/>
                  </a:moveTo>
                  <a:lnTo>
                    <a:pt x="293" y="49"/>
                  </a:lnTo>
                  <a:lnTo>
                    <a:pt x="195" y="74"/>
                  </a:lnTo>
                  <a:lnTo>
                    <a:pt x="122" y="147"/>
                  </a:lnTo>
                  <a:lnTo>
                    <a:pt x="73" y="220"/>
                  </a:lnTo>
                  <a:lnTo>
                    <a:pt x="25" y="293"/>
                  </a:lnTo>
                  <a:lnTo>
                    <a:pt x="0" y="391"/>
                  </a:lnTo>
                  <a:lnTo>
                    <a:pt x="0" y="489"/>
                  </a:lnTo>
                  <a:lnTo>
                    <a:pt x="0" y="12798"/>
                  </a:lnTo>
                  <a:lnTo>
                    <a:pt x="0" y="12896"/>
                  </a:lnTo>
                  <a:lnTo>
                    <a:pt x="25" y="12993"/>
                  </a:lnTo>
                  <a:lnTo>
                    <a:pt x="73" y="13067"/>
                  </a:lnTo>
                  <a:lnTo>
                    <a:pt x="122" y="13140"/>
                  </a:lnTo>
                  <a:lnTo>
                    <a:pt x="195" y="13213"/>
                  </a:lnTo>
                  <a:lnTo>
                    <a:pt x="293" y="13238"/>
                  </a:lnTo>
                  <a:lnTo>
                    <a:pt x="366" y="13287"/>
                  </a:lnTo>
                  <a:lnTo>
                    <a:pt x="17756" y="13287"/>
                  </a:lnTo>
                  <a:lnTo>
                    <a:pt x="17829" y="13238"/>
                  </a:lnTo>
                  <a:lnTo>
                    <a:pt x="17927" y="13213"/>
                  </a:lnTo>
                  <a:lnTo>
                    <a:pt x="18000" y="13140"/>
                  </a:lnTo>
                  <a:lnTo>
                    <a:pt x="18049" y="13067"/>
                  </a:lnTo>
                  <a:lnTo>
                    <a:pt x="18098" y="12993"/>
                  </a:lnTo>
                  <a:lnTo>
                    <a:pt x="18122" y="12896"/>
                  </a:lnTo>
                  <a:lnTo>
                    <a:pt x="18122" y="12798"/>
                  </a:lnTo>
                  <a:lnTo>
                    <a:pt x="18122" y="12700"/>
                  </a:lnTo>
                  <a:lnTo>
                    <a:pt x="18098" y="12603"/>
                  </a:lnTo>
                  <a:lnTo>
                    <a:pt x="18049" y="12529"/>
                  </a:lnTo>
                  <a:lnTo>
                    <a:pt x="18000" y="12456"/>
                  </a:lnTo>
                  <a:lnTo>
                    <a:pt x="17927" y="12383"/>
                  </a:lnTo>
                  <a:lnTo>
                    <a:pt x="17829" y="12358"/>
                  </a:lnTo>
                  <a:lnTo>
                    <a:pt x="17756" y="12310"/>
                  </a:lnTo>
                  <a:lnTo>
                    <a:pt x="977" y="12310"/>
                  </a:lnTo>
                  <a:lnTo>
                    <a:pt x="977" y="489"/>
                  </a:lnTo>
                  <a:lnTo>
                    <a:pt x="953" y="391"/>
                  </a:lnTo>
                  <a:lnTo>
                    <a:pt x="928" y="293"/>
                  </a:lnTo>
                  <a:lnTo>
                    <a:pt x="879" y="220"/>
                  </a:lnTo>
                  <a:lnTo>
                    <a:pt x="830" y="147"/>
                  </a:lnTo>
                  <a:lnTo>
                    <a:pt x="757" y="74"/>
                  </a:lnTo>
                  <a:lnTo>
                    <a:pt x="660" y="49"/>
                  </a:lnTo>
                  <a:lnTo>
                    <a:pt x="586"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93" name="Shape 522"/>
            <p:cNvSpPr/>
            <p:nvPr/>
          </p:nvSpPr>
          <p:spPr>
            <a:xfrm>
              <a:off x="4642200" y="3730000"/>
              <a:ext cx="389550" cy="249150"/>
            </a:xfrm>
            <a:custGeom>
              <a:avLst/>
              <a:gdLst/>
              <a:ahLst/>
              <a:cxnLst/>
              <a:rect l="0" t="0" r="0" b="0"/>
              <a:pathLst>
                <a:path w="15582" h="9966" extrusionOk="0">
                  <a:moveTo>
                    <a:pt x="14752" y="1"/>
                  </a:moveTo>
                  <a:lnTo>
                    <a:pt x="14629" y="49"/>
                  </a:lnTo>
                  <a:lnTo>
                    <a:pt x="14507" y="98"/>
                  </a:lnTo>
                  <a:lnTo>
                    <a:pt x="14410" y="196"/>
                  </a:lnTo>
                  <a:lnTo>
                    <a:pt x="14336" y="294"/>
                  </a:lnTo>
                  <a:lnTo>
                    <a:pt x="14263" y="416"/>
                  </a:lnTo>
                  <a:lnTo>
                    <a:pt x="14239" y="538"/>
                  </a:lnTo>
                  <a:lnTo>
                    <a:pt x="14214" y="684"/>
                  </a:lnTo>
                  <a:lnTo>
                    <a:pt x="14239" y="831"/>
                  </a:lnTo>
                  <a:lnTo>
                    <a:pt x="14288" y="1002"/>
                  </a:lnTo>
                  <a:lnTo>
                    <a:pt x="11308" y="4372"/>
                  </a:lnTo>
                  <a:lnTo>
                    <a:pt x="11161" y="4323"/>
                  </a:lnTo>
                  <a:lnTo>
                    <a:pt x="11015" y="4299"/>
                  </a:lnTo>
                  <a:lnTo>
                    <a:pt x="10844" y="4323"/>
                  </a:lnTo>
                  <a:lnTo>
                    <a:pt x="10087" y="3005"/>
                  </a:lnTo>
                  <a:lnTo>
                    <a:pt x="10160" y="2907"/>
                  </a:lnTo>
                  <a:lnTo>
                    <a:pt x="10209" y="2809"/>
                  </a:lnTo>
                  <a:lnTo>
                    <a:pt x="10233" y="2687"/>
                  </a:lnTo>
                  <a:lnTo>
                    <a:pt x="10233" y="2565"/>
                  </a:lnTo>
                  <a:lnTo>
                    <a:pt x="10233" y="2418"/>
                  </a:lnTo>
                  <a:lnTo>
                    <a:pt x="10184" y="2296"/>
                  </a:lnTo>
                  <a:lnTo>
                    <a:pt x="10136" y="2174"/>
                  </a:lnTo>
                  <a:lnTo>
                    <a:pt x="10038" y="2077"/>
                  </a:lnTo>
                  <a:lnTo>
                    <a:pt x="9940" y="2003"/>
                  </a:lnTo>
                  <a:lnTo>
                    <a:pt x="9818" y="1930"/>
                  </a:lnTo>
                  <a:lnTo>
                    <a:pt x="9696" y="1906"/>
                  </a:lnTo>
                  <a:lnTo>
                    <a:pt x="9549" y="1881"/>
                  </a:lnTo>
                  <a:lnTo>
                    <a:pt x="9427" y="1906"/>
                  </a:lnTo>
                  <a:lnTo>
                    <a:pt x="9281" y="1930"/>
                  </a:lnTo>
                  <a:lnTo>
                    <a:pt x="9183" y="2003"/>
                  </a:lnTo>
                  <a:lnTo>
                    <a:pt x="9085" y="2077"/>
                  </a:lnTo>
                  <a:lnTo>
                    <a:pt x="8988" y="2174"/>
                  </a:lnTo>
                  <a:lnTo>
                    <a:pt x="8939" y="2296"/>
                  </a:lnTo>
                  <a:lnTo>
                    <a:pt x="8890" y="2418"/>
                  </a:lnTo>
                  <a:lnTo>
                    <a:pt x="8866" y="2565"/>
                  </a:lnTo>
                  <a:lnTo>
                    <a:pt x="8890" y="2663"/>
                  </a:lnTo>
                  <a:lnTo>
                    <a:pt x="8914" y="2785"/>
                  </a:lnTo>
                  <a:lnTo>
                    <a:pt x="8939" y="2883"/>
                  </a:lnTo>
                  <a:lnTo>
                    <a:pt x="8988" y="2956"/>
                  </a:lnTo>
                  <a:lnTo>
                    <a:pt x="6521" y="6668"/>
                  </a:lnTo>
                  <a:lnTo>
                    <a:pt x="6399" y="6644"/>
                  </a:lnTo>
                  <a:lnTo>
                    <a:pt x="6130" y="6644"/>
                  </a:lnTo>
                  <a:lnTo>
                    <a:pt x="5959" y="6717"/>
                  </a:lnTo>
                  <a:lnTo>
                    <a:pt x="4714" y="5398"/>
                  </a:lnTo>
                  <a:lnTo>
                    <a:pt x="4763" y="5252"/>
                  </a:lnTo>
                  <a:lnTo>
                    <a:pt x="4763" y="5105"/>
                  </a:lnTo>
                  <a:lnTo>
                    <a:pt x="4763" y="4958"/>
                  </a:lnTo>
                  <a:lnTo>
                    <a:pt x="4714" y="4836"/>
                  </a:lnTo>
                  <a:lnTo>
                    <a:pt x="4665" y="4714"/>
                  </a:lnTo>
                  <a:lnTo>
                    <a:pt x="4567" y="4617"/>
                  </a:lnTo>
                  <a:lnTo>
                    <a:pt x="4470" y="4543"/>
                  </a:lnTo>
                  <a:lnTo>
                    <a:pt x="4347" y="4470"/>
                  </a:lnTo>
                  <a:lnTo>
                    <a:pt x="4225" y="4446"/>
                  </a:lnTo>
                  <a:lnTo>
                    <a:pt x="4079" y="4421"/>
                  </a:lnTo>
                  <a:lnTo>
                    <a:pt x="3957" y="4446"/>
                  </a:lnTo>
                  <a:lnTo>
                    <a:pt x="3810" y="4470"/>
                  </a:lnTo>
                  <a:lnTo>
                    <a:pt x="3712" y="4543"/>
                  </a:lnTo>
                  <a:lnTo>
                    <a:pt x="3615" y="4617"/>
                  </a:lnTo>
                  <a:lnTo>
                    <a:pt x="3517" y="4714"/>
                  </a:lnTo>
                  <a:lnTo>
                    <a:pt x="3468" y="4836"/>
                  </a:lnTo>
                  <a:lnTo>
                    <a:pt x="3419" y="4958"/>
                  </a:lnTo>
                  <a:lnTo>
                    <a:pt x="3395" y="5105"/>
                  </a:lnTo>
                  <a:lnTo>
                    <a:pt x="3419" y="5276"/>
                  </a:lnTo>
                  <a:lnTo>
                    <a:pt x="3493" y="5447"/>
                  </a:lnTo>
                  <a:lnTo>
                    <a:pt x="49" y="9574"/>
                  </a:lnTo>
                  <a:lnTo>
                    <a:pt x="0" y="9648"/>
                  </a:lnTo>
                  <a:lnTo>
                    <a:pt x="0" y="9745"/>
                  </a:lnTo>
                  <a:lnTo>
                    <a:pt x="25" y="9843"/>
                  </a:lnTo>
                  <a:lnTo>
                    <a:pt x="98" y="9916"/>
                  </a:lnTo>
                  <a:lnTo>
                    <a:pt x="171" y="9965"/>
                  </a:lnTo>
                  <a:lnTo>
                    <a:pt x="244" y="9965"/>
                  </a:lnTo>
                  <a:lnTo>
                    <a:pt x="342" y="9941"/>
                  </a:lnTo>
                  <a:lnTo>
                    <a:pt x="440" y="9892"/>
                  </a:lnTo>
                  <a:lnTo>
                    <a:pt x="3859" y="5740"/>
                  </a:lnTo>
                  <a:lnTo>
                    <a:pt x="3981" y="5789"/>
                  </a:lnTo>
                  <a:lnTo>
                    <a:pt x="4079" y="5789"/>
                  </a:lnTo>
                  <a:lnTo>
                    <a:pt x="4225" y="5764"/>
                  </a:lnTo>
                  <a:lnTo>
                    <a:pt x="4347" y="5740"/>
                  </a:lnTo>
                  <a:lnTo>
                    <a:pt x="5642" y="7083"/>
                  </a:lnTo>
                  <a:lnTo>
                    <a:pt x="5617" y="7205"/>
                  </a:lnTo>
                  <a:lnTo>
                    <a:pt x="5617" y="7328"/>
                  </a:lnTo>
                  <a:lnTo>
                    <a:pt x="5617" y="7450"/>
                  </a:lnTo>
                  <a:lnTo>
                    <a:pt x="5666" y="7572"/>
                  </a:lnTo>
                  <a:lnTo>
                    <a:pt x="5740" y="7694"/>
                  </a:lnTo>
                  <a:lnTo>
                    <a:pt x="5813" y="7792"/>
                  </a:lnTo>
                  <a:lnTo>
                    <a:pt x="5910" y="7889"/>
                  </a:lnTo>
                  <a:lnTo>
                    <a:pt x="6033" y="7938"/>
                  </a:lnTo>
                  <a:lnTo>
                    <a:pt x="6155" y="7987"/>
                  </a:lnTo>
                  <a:lnTo>
                    <a:pt x="6301" y="8011"/>
                  </a:lnTo>
                  <a:lnTo>
                    <a:pt x="6448" y="7987"/>
                  </a:lnTo>
                  <a:lnTo>
                    <a:pt x="6570" y="7938"/>
                  </a:lnTo>
                  <a:lnTo>
                    <a:pt x="6692" y="7889"/>
                  </a:lnTo>
                  <a:lnTo>
                    <a:pt x="6790" y="7792"/>
                  </a:lnTo>
                  <a:lnTo>
                    <a:pt x="6863" y="7694"/>
                  </a:lnTo>
                  <a:lnTo>
                    <a:pt x="6936" y="7572"/>
                  </a:lnTo>
                  <a:lnTo>
                    <a:pt x="6961" y="7450"/>
                  </a:lnTo>
                  <a:lnTo>
                    <a:pt x="6985" y="7328"/>
                  </a:lnTo>
                  <a:lnTo>
                    <a:pt x="6961" y="7132"/>
                  </a:lnTo>
                  <a:lnTo>
                    <a:pt x="6887" y="6986"/>
                  </a:lnTo>
                  <a:lnTo>
                    <a:pt x="9403" y="3224"/>
                  </a:lnTo>
                  <a:lnTo>
                    <a:pt x="9549" y="3249"/>
                  </a:lnTo>
                  <a:lnTo>
                    <a:pt x="9647" y="3249"/>
                  </a:lnTo>
                  <a:lnTo>
                    <a:pt x="10429" y="4617"/>
                  </a:lnTo>
                  <a:lnTo>
                    <a:pt x="10355" y="4788"/>
                  </a:lnTo>
                  <a:lnTo>
                    <a:pt x="10331" y="4885"/>
                  </a:lnTo>
                  <a:lnTo>
                    <a:pt x="10331" y="4983"/>
                  </a:lnTo>
                  <a:lnTo>
                    <a:pt x="10331" y="5129"/>
                  </a:lnTo>
                  <a:lnTo>
                    <a:pt x="10380" y="5252"/>
                  </a:lnTo>
                  <a:lnTo>
                    <a:pt x="10429" y="5374"/>
                  </a:lnTo>
                  <a:lnTo>
                    <a:pt x="10526" y="5471"/>
                  </a:lnTo>
                  <a:lnTo>
                    <a:pt x="10624" y="5569"/>
                  </a:lnTo>
                  <a:lnTo>
                    <a:pt x="10746" y="5618"/>
                  </a:lnTo>
                  <a:lnTo>
                    <a:pt x="10868" y="5667"/>
                  </a:lnTo>
                  <a:lnTo>
                    <a:pt x="11137" y="5667"/>
                  </a:lnTo>
                  <a:lnTo>
                    <a:pt x="11284" y="5618"/>
                  </a:lnTo>
                  <a:lnTo>
                    <a:pt x="11381" y="5569"/>
                  </a:lnTo>
                  <a:lnTo>
                    <a:pt x="11479" y="5471"/>
                  </a:lnTo>
                  <a:lnTo>
                    <a:pt x="11577" y="5374"/>
                  </a:lnTo>
                  <a:lnTo>
                    <a:pt x="11625" y="5252"/>
                  </a:lnTo>
                  <a:lnTo>
                    <a:pt x="11674" y="5129"/>
                  </a:lnTo>
                  <a:lnTo>
                    <a:pt x="11699" y="4983"/>
                  </a:lnTo>
                  <a:lnTo>
                    <a:pt x="11674" y="4861"/>
                  </a:lnTo>
                  <a:lnTo>
                    <a:pt x="11650" y="4739"/>
                  </a:lnTo>
                  <a:lnTo>
                    <a:pt x="14654" y="1319"/>
                  </a:lnTo>
                  <a:lnTo>
                    <a:pt x="14776" y="1344"/>
                  </a:lnTo>
                  <a:lnTo>
                    <a:pt x="14898" y="1368"/>
                  </a:lnTo>
                  <a:lnTo>
                    <a:pt x="15045" y="1344"/>
                  </a:lnTo>
                  <a:lnTo>
                    <a:pt x="15167" y="1295"/>
                  </a:lnTo>
                  <a:lnTo>
                    <a:pt x="15289" y="1246"/>
                  </a:lnTo>
                  <a:lnTo>
                    <a:pt x="15387" y="1148"/>
                  </a:lnTo>
                  <a:lnTo>
                    <a:pt x="15460" y="1051"/>
                  </a:lnTo>
                  <a:lnTo>
                    <a:pt x="15533" y="953"/>
                  </a:lnTo>
                  <a:lnTo>
                    <a:pt x="15558" y="807"/>
                  </a:lnTo>
                  <a:lnTo>
                    <a:pt x="15582" y="684"/>
                  </a:lnTo>
                  <a:lnTo>
                    <a:pt x="15558" y="538"/>
                  </a:lnTo>
                  <a:lnTo>
                    <a:pt x="15533" y="416"/>
                  </a:lnTo>
                  <a:lnTo>
                    <a:pt x="15460" y="294"/>
                  </a:lnTo>
                  <a:lnTo>
                    <a:pt x="15387" y="196"/>
                  </a:lnTo>
                  <a:lnTo>
                    <a:pt x="15289" y="98"/>
                  </a:lnTo>
                  <a:lnTo>
                    <a:pt x="15167" y="49"/>
                  </a:lnTo>
                  <a:lnTo>
                    <a:pt x="15045"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194" name="Shape 523"/>
          <p:cNvGrpSpPr/>
          <p:nvPr/>
        </p:nvGrpSpPr>
        <p:grpSpPr>
          <a:xfrm>
            <a:off x="6302817" y="4348507"/>
            <a:ext cx="321705" cy="304925"/>
            <a:chOff x="5300400" y="3670175"/>
            <a:chExt cx="421300" cy="399325"/>
          </a:xfrm>
        </p:grpSpPr>
        <p:sp>
          <p:nvSpPr>
            <p:cNvPr id="195" name="Shape 524"/>
            <p:cNvSpPr/>
            <p:nvPr/>
          </p:nvSpPr>
          <p:spPr>
            <a:xfrm>
              <a:off x="5300400" y="3708025"/>
              <a:ext cx="421300" cy="267450"/>
            </a:xfrm>
            <a:custGeom>
              <a:avLst/>
              <a:gdLst/>
              <a:ahLst/>
              <a:cxnLst/>
              <a:rect l="0" t="0" r="0" b="0"/>
              <a:pathLst>
                <a:path w="16852" h="10698" extrusionOk="0">
                  <a:moveTo>
                    <a:pt x="16364" y="489"/>
                  </a:moveTo>
                  <a:lnTo>
                    <a:pt x="16364" y="10209"/>
                  </a:lnTo>
                  <a:lnTo>
                    <a:pt x="489" y="10209"/>
                  </a:lnTo>
                  <a:lnTo>
                    <a:pt x="489" y="489"/>
                  </a:lnTo>
                  <a:close/>
                  <a:moveTo>
                    <a:pt x="391" y="0"/>
                  </a:moveTo>
                  <a:lnTo>
                    <a:pt x="293" y="25"/>
                  </a:lnTo>
                  <a:lnTo>
                    <a:pt x="196" y="74"/>
                  </a:lnTo>
                  <a:lnTo>
                    <a:pt x="122" y="147"/>
                  </a:lnTo>
                  <a:lnTo>
                    <a:pt x="73" y="220"/>
                  </a:lnTo>
                  <a:lnTo>
                    <a:pt x="25" y="293"/>
                  </a:lnTo>
                  <a:lnTo>
                    <a:pt x="0" y="391"/>
                  </a:lnTo>
                  <a:lnTo>
                    <a:pt x="0" y="489"/>
                  </a:lnTo>
                  <a:lnTo>
                    <a:pt x="0" y="10209"/>
                  </a:lnTo>
                  <a:lnTo>
                    <a:pt x="0" y="10307"/>
                  </a:lnTo>
                  <a:lnTo>
                    <a:pt x="25" y="10405"/>
                  </a:lnTo>
                  <a:lnTo>
                    <a:pt x="73" y="10478"/>
                  </a:lnTo>
                  <a:lnTo>
                    <a:pt x="122" y="10551"/>
                  </a:lnTo>
                  <a:lnTo>
                    <a:pt x="196" y="10600"/>
                  </a:lnTo>
                  <a:lnTo>
                    <a:pt x="293" y="10649"/>
                  </a:lnTo>
                  <a:lnTo>
                    <a:pt x="391" y="10673"/>
                  </a:lnTo>
                  <a:lnTo>
                    <a:pt x="489" y="10698"/>
                  </a:lnTo>
                  <a:lnTo>
                    <a:pt x="16364" y="10698"/>
                  </a:lnTo>
                  <a:lnTo>
                    <a:pt x="16461" y="10673"/>
                  </a:lnTo>
                  <a:lnTo>
                    <a:pt x="16559" y="10649"/>
                  </a:lnTo>
                  <a:lnTo>
                    <a:pt x="16657" y="10600"/>
                  </a:lnTo>
                  <a:lnTo>
                    <a:pt x="16730" y="10551"/>
                  </a:lnTo>
                  <a:lnTo>
                    <a:pt x="16779" y="10478"/>
                  </a:lnTo>
                  <a:lnTo>
                    <a:pt x="16828" y="10405"/>
                  </a:lnTo>
                  <a:lnTo>
                    <a:pt x="16852" y="10307"/>
                  </a:lnTo>
                  <a:lnTo>
                    <a:pt x="16852" y="10209"/>
                  </a:lnTo>
                  <a:lnTo>
                    <a:pt x="16852" y="489"/>
                  </a:lnTo>
                  <a:lnTo>
                    <a:pt x="16852" y="391"/>
                  </a:lnTo>
                  <a:lnTo>
                    <a:pt x="16828" y="293"/>
                  </a:lnTo>
                  <a:lnTo>
                    <a:pt x="16779" y="220"/>
                  </a:lnTo>
                  <a:lnTo>
                    <a:pt x="16730" y="147"/>
                  </a:lnTo>
                  <a:lnTo>
                    <a:pt x="16657" y="74"/>
                  </a:lnTo>
                  <a:lnTo>
                    <a:pt x="16559" y="25"/>
                  </a:lnTo>
                  <a:lnTo>
                    <a:pt x="1646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96" name="Shape 525"/>
            <p:cNvSpPr/>
            <p:nvPr/>
          </p:nvSpPr>
          <p:spPr>
            <a:xfrm>
              <a:off x="5498825" y="3670175"/>
              <a:ext cx="24450" cy="25650"/>
            </a:xfrm>
            <a:custGeom>
              <a:avLst/>
              <a:gdLst/>
              <a:ahLst/>
              <a:cxnLst/>
              <a:rect l="0" t="0" r="0" b="0"/>
              <a:pathLst>
                <a:path w="978" h="1026" extrusionOk="0">
                  <a:moveTo>
                    <a:pt x="489" y="0"/>
                  </a:moveTo>
                  <a:lnTo>
                    <a:pt x="391" y="25"/>
                  </a:lnTo>
                  <a:lnTo>
                    <a:pt x="294" y="49"/>
                  </a:lnTo>
                  <a:lnTo>
                    <a:pt x="220" y="98"/>
                  </a:lnTo>
                  <a:lnTo>
                    <a:pt x="147" y="147"/>
                  </a:lnTo>
                  <a:lnTo>
                    <a:pt x="74" y="220"/>
                  </a:lnTo>
                  <a:lnTo>
                    <a:pt x="49" y="318"/>
                  </a:lnTo>
                  <a:lnTo>
                    <a:pt x="1" y="391"/>
                  </a:lnTo>
                  <a:lnTo>
                    <a:pt x="1" y="489"/>
                  </a:lnTo>
                  <a:lnTo>
                    <a:pt x="1" y="1026"/>
                  </a:lnTo>
                  <a:lnTo>
                    <a:pt x="978" y="1026"/>
                  </a:lnTo>
                  <a:lnTo>
                    <a:pt x="978" y="489"/>
                  </a:lnTo>
                  <a:lnTo>
                    <a:pt x="978" y="391"/>
                  </a:lnTo>
                  <a:lnTo>
                    <a:pt x="929" y="318"/>
                  </a:lnTo>
                  <a:lnTo>
                    <a:pt x="904" y="220"/>
                  </a:lnTo>
                  <a:lnTo>
                    <a:pt x="831" y="147"/>
                  </a:lnTo>
                  <a:lnTo>
                    <a:pt x="758" y="98"/>
                  </a:lnTo>
                  <a:lnTo>
                    <a:pt x="684" y="49"/>
                  </a:lnTo>
                  <a:lnTo>
                    <a:pt x="587" y="25"/>
                  </a:lnTo>
                  <a:lnTo>
                    <a:pt x="48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97" name="Shape 526"/>
            <p:cNvSpPr/>
            <p:nvPr/>
          </p:nvSpPr>
          <p:spPr>
            <a:xfrm>
              <a:off x="5366325" y="3987675"/>
              <a:ext cx="61100" cy="81825"/>
            </a:xfrm>
            <a:custGeom>
              <a:avLst/>
              <a:gdLst/>
              <a:ahLst/>
              <a:cxnLst/>
              <a:rect l="0" t="0" r="0" b="0"/>
              <a:pathLst>
                <a:path w="2444" h="3273" extrusionOk="0">
                  <a:moveTo>
                    <a:pt x="1344" y="0"/>
                  </a:moveTo>
                  <a:lnTo>
                    <a:pt x="50" y="2565"/>
                  </a:lnTo>
                  <a:lnTo>
                    <a:pt x="25" y="2638"/>
                  </a:lnTo>
                  <a:lnTo>
                    <a:pt x="1" y="2736"/>
                  </a:lnTo>
                  <a:lnTo>
                    <a:pt x="1" y="2833"/>
                  </a:lnTo>
                  <a:lnTo>
                    <a:pt x="25" y="2931"/>
                  </a:lnTo>
                  <a:lnTo>
                    <a:pt x="74" y="3004"/>
                  </a:lnTo>
                  <a:lnTo>
                    <a:pt x="123" y="3102"/>
                  </a:lnTo>
                  <a:lnTo>
                    <a:pt x="196" y="3151"/>
                  </a:lnTo>
                  <a:lnTo>
                    <a:pt x="269" y="3224"/>
                  </a:lnTo>
                  <a:lnTo>
                    <a:pt x="392" y="3248"/>
                  </a:lnTo>
                  <a:lnTo>
                    <a:pt x="489" y="3273"/>
                  </a:lnTo>
                  <a:lnTo>
                    <a:pt x="636" y="3248"/>
                  </a:lnTo>
                  <a:lnTo>
                    <a:pt x="758" y="3200"/>
                  </a:lnTo>
                  <a:lnTo>
                    <a:pt x="856" y="3102"/>
                  </a:lnTo>
                  <a:lnTo>
                    <a:pt x="929" y="3004"/>
                  </a:lnTo>
                  <a:lnTo>
                    <a:pt x="244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98" name="Shape 527"/>
            <p:cNvSpPr/>
            <p:nvPr/>
          </p:nvSpPr>
          <p:spPr>
            <a:xfrm>
              <a:off x="5594700" y="3987675"/>
              <a:ext cx="61075" cy="81825"/>
            </a:xfrm>
            <a:custGeom>
              <a:avLst/>
              <a:gdLst/>
              <a:ahLst/>
              <a:cxnLst/>
              <a:rect l="0" t="0" r="0" b="0"/>
              <a:pathLst>
                <a:path w="2443" h="3273" extrusionOk="0">
                  <a:moveTo>
                    <a:pt x="0" y="0"/>
                  </a:moveTo>
                  <a:lnTo>
                    <a:pt x="1514" y="3004"/>
                  </a:lnTo>
                  <a:lnTo>
                    <a:pt x="1588" y="3102"/>
                  </a:lnTo>
                  <a:lnTo>
                    <a:pt x="1685" y="3200"/>
                  </a:lnTo>
                  <a:lnTo>
                    <a:pt x="1807" y="3248"/>
                  </a:lnTo>
                  <a:lnTo>
                    <a:pt x="1954" y="3273"/>
                  </a:lnTo>
                  <a:lnTo>
                    <a:pt x="2052" y="3248"/>
                  </a:lnTo>
                  <a:lnTo>
                    <a:pt x="2174" y="3224"/>
                  </a:lnTo>
                  <a:lnTo>
                    <a:pt x="2247" y="3151"/>
                  </a:lnTo>
                  <a:lnTo>
                    <a:pt x="2320" y="3102"/>
                  </a:lnTo>
                  <a:lnTo>
                    <a:pt x="2369" y="3004"/>
                  </a:lnTo>
                  <a:lnTo>
                    <a:pt x="2418" y="2931"/>
                  </a:lnTo>
                  <a:lnTo>
                    <a:pt x="2442" y="2833"/>
                  </a:lnTo>
                  <a:lnTo>
                    <a:pt x="2442" y="2736"/>
                  </a:lnTo>
                  <a:lnTo>
                    <a:pt x="2418" y="2638"/>
                  </a:lnTo>
                  <a:lnTo>
                    <a:pt x="2393" y="2565"/>
                  </a:lnTo>
                  <a:lnTo>
                    <a:pt x="109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199" name="Shape 528"/>
            <p:cNvSpPr/>
            <p:nvPr/>
          </p:nvSpPr>
          <p:spPr>
            <a:xfrm>
              <a:off x="5324825" y="3732450"/>
              <a:ext cx="372475" cy="218600"/>
            </a:xfrm>
            <a:custGeom>
              <a:avLst/>
              <a:gdLst/>
              <a:ahLst/>
              <a:cxnLst/>
              <a:rect l="0" t="0" r="0" b="0"/>
              <a:pathLst>
                <a:path w="14899" h="8744" extrusionOk="0">
                  <a:moveTo>
                    <a:pt x="12578" y="1319"/>
                  </a:moveTo>
                  <a:lnTo>
                    <a:pt x="12676" y="1344"/>
                  </a:lnTo>
                  <a:lnTo>
                    <a:pt x="12749" y="1392"/>
                  </a:lnTo>
                  <a:lnTo>
                    <a:pt x="12822" y="1441"/>
                  </a:lnTo>
                  <a:lnTo>
                    <a:pt x="12895" y="1515"/>
                  </a:lnTo>
                  <a:lnTo>
                    <a:pt x="12920" y="1612"/>
                  </a:lnTo>
                  <a:lnTo>
                    <a:pt x="12969" y="1710"/>
                  </a:lnTo>
                  <a:lnTo>
                    <a:pt x="12969" y="1808"/>
                  </a:lnTo>
                  <a:lnTo>
                    <a:pt x="12969" y="4079"/>
                  </a:lnTo>
                  <a:lnTo>
                    <a:pt x="12969" y="4177"/>
                  </a:lnTo>
                  <a:lnTo>
                    <a:pt x="12920" y="4274"/>
                  </a:lnTo>
                  <a:lnTo>
                    <a:pt x="12895" y="4348"/>
                  </a:lnTo>
                  <a:lnTo>
                    <a:pt x="12822" y="4421"/>
                  </a:lnTo>
                  <a:lnTo>
                    <a:pt x="12749" y="4470"/>
                  </a:lnTo>
                  <a:lnTo>
                    <a:pt x="12676" y="4519"/>
                  </a:lnTo>
                  <a:lnTo>
                    <a:pt x="12578" y="4543"/>
                  </a:lnTo>
                  <a:lnTo>
                    <a:pt x="12480" y="4567"/>
                  </a:lnTo>
                  <a:lnTo>
                    <a:pt x="12383" y="4543"/>
                  </a:lnTo>
                  <a:lnTo>
                    <a:pt x="12285" y="4519"/>
                  </a:lnTo>
                  <a:lnTo>
                    <a:pt x="12212" y="4470"/>
                  </a:lnTo>
                  <a:lnTo>
                    <a:pt x="12138" y="4421"/>
                  </a:lnTo>
                  <a:lnTo>
                    <a:pt x="12065" y="4348"/>
                  </a:lnTo>
                  <a:lnTo>
                    <a:pt x="12041" y="4274"/>
                  </a:lnTo>
                  <a:lnTo>
                    <a:pt x="11992" y="4177"/>
                  </a:lnTo>
                  <a:lnTo>
                    <a:pt x="11992" y="4079"/>
                  </a:lnTo>
                  <a:lnTo>
                    <a:pt x="11992" y="3004"/>
                  </a:lnTo>
                  <a:lnTo>
                    <a:pt x="7986" y="7010"/>
                  </a:lnTo>
                  <a:lnTo>
                    <a:pt x="7913" y="7059"/>
                  </a:lnTo>
                  <a:lnTo>
                    <a:pt x="7815" y="7107"/>
                  </a:lnTo>
                  <a:lnTo>
                    <a:pt x="7742" y="7132"/>
                  </a:lnTo>
                  <a:lnTo>
                    <a:pt x="7644" y="7156"/>
                  </a:lnTo>
                  <a:lnTo>
                    <a:pt x="7547" y="7132"/>
                  </a:lnTo>
                  <a:lnTo>
                    <a:pt x="7449" y="7107"/>
                  </a:lnTo>
                  <a:lnTo>
                    <a:pt x="7376" y="7059"/>
                  </a:lnTo>
                  <a:lnTo>
                    <a:pt x="7303" y="7010"/>
                  </a:lnTo>
                  <a:lnTo>
                    <a:pt x="5349" y="5056"/>
                  </a:lnTo>
                  <a:lnTo>
                    <a:pt x="2760" y="7620"/>
                  </a:lnTo>
                  <a:lnTo>
                    <a:pt x="2687" y="7694"/>
                  </a:lnTo>
                  <a:lnTo>
                    <a:pt x="2613" y="7742"/>
                  </a:lnTo>
                  <a:lnTo>
                    <a:pt x="2516" y="7767"/>
                  </a:lnTo>
                  <a:lnTo>
                    <a:pt x="2320" y="7767"/>
                  </a:lnTo>
                  <a:lnTo>
                    <a:pt x="2247" y="7742"/>
                  </a:lnTo>
                  <a:lnTo>
                    <a:pt x="2149" y="7694"/>
                  </a:lnTo>
                  <a:lnTo>
                    <a:pt x="2076" y="7620"/>
                  </a:lnTo>
                  <a:lnTo>
                    <a:pt x="2003" y="7547"/>
                  </a:lnTo>
                  <a:lnTo>
                    <a:pt x="1978" y="7474"/>
                  </a:lnTo>
                  <a:lnTo>
                    <a:pt x="1929" y="7376"/>
                  </a:lnTo>
                  <a:lnTo>
                    <a:pt x="1929" y="7278"/>
                  </a:lnTo>
                  <a:lnTo>
                    <a:pt x="1929" y="7205"/>
                  </a:lnTo>
                  <a:lnTo>
                    <a:pt x="1978" y="7107"/>
                  </a:lnTo>
                  <a:lnTo>
                    <a:pt x="2003" y="7010"/>
                  </a:lnTo>
                  <a:lnTo>
                    <a:pt x="2076" y="6936"/>
                  </a:lnTo>
                  <a:lnTo>
                    <a:pt x="5007" y="4006"/>
                  </a:lnTo>
                  <a:lnTo>
                    <a:pt x="5080" y="3957"/>
                  </a:lnTo>
                  <a:lnTo>
                    <a:pt x="5153" y="3908"/>
                  </a:lnTo>
                  <a:lnTo>
                    <a:pt x="5251" y="3884"/>
                  </a:lnTo>
                  <a:lnTo>
                    <a:pt x="5446" y="3884"/>
                  </a:lnTo>
                  <a:lnTo>
                    <a:pt x="5520" y="3908"/>
                  </a:lnTo>
                  <a:lnTo>
                    <a:pt x="5617" y="3957"/>
                  </a:lnTo>
                  <a:lnTo>
                    <a:pt x="5691" y="4006"/>
                  </a:lnTo>
                  <a:lnTo>
                    <a:pt x="7644" y="5960"/>
                  </a:lnTo>
                  <a:lnTo>
                    <a:pt x="11332" y="2296"/>
                  </a:lnTo>
                  <a:lnTo>
                    <a:pt x="10209" y="2296"/>
                  </a:lnTo>
                  <a:lnTo>
                    <a:pt x="10111" y="2272"/>
                  </a:lnTo>
                  <a:lnTo>
                    <a:pt x="10013" y="2247"/>
                  </a:lnTo>
                  <a:lnTo>
                    <a:pt x="9916" y="2198"/>
                  </a:lnTo>
                  <a:lnTo>
                    <a:pt x="9843" y="2150"/>
                  </a:lnTo>
                  <a:lnTo>
                    <a:pt x="9794" y="2076"/>
                  </a:lnTo>
                  <a:lnTo>
                    <a:pt x="9745" y="1979"/>
                  </a:lnTo>
                  <a:lnTo>
                    <a:pt x="9720" y="1905"/>
                  </a:lnTo>
                  <a:lnTo>
                    <a:pt x="9720" y="1808"/>
                  </a:lnTo>
                  <a:lnTo>
                    <a:pt x="9720" y="1710"/>
                  </a:lnTo>
                  <a:lnTo>
                    <a:pt x="9745" y="1612"/>
                  </a:lnTo>
                  <a:lnTo>
                    <a:pt x="9794" y="1515"/>
                  </a:lnTo>
                  <a:lnTo>
                    <a:pt x="9843" y="1441"/>
                  </a:lnTo>
                  <a:lnTo>
                    <a:pt x="9916" y="1392"/>
                  </a:lnTo>
                  <a:lnTo>
                    <a:pt x="10013" y="1344"/>
                  </a:lnTo>
                  <a:lnTo>
                    <a:pt x="10111" y="1319"/>
                  </a:lnTo>
                  <a:close/>
                  <a:moveTo>
                    <a:pt x="0" y="0"/>
                  </a:moveTo>
                  <a:lnTo>
                    <a:pt x="0" y="8744"/>
                  </a:lnTo>
                  <a:lnTo>
                    <a:pt x="14898" y="8744"/>
                  </a:lnTo>
                  <a:lnTo>
                    <a:pt x="1489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00" name="Shape 529"/>
          <p:cNvSpPr/>
          <p:nvPr/>
        </p:nvSpPr>
        <p:spPr>
          <a:xfrm>
            <a:off x="6799803" y="4322209"/>
            <a:ext cx="358090" cy="358071"/>
          </a:xfrm>
          <a:custGeom>
            <a:avLst/>
            <a:gdLst/>
            <a:ahLst/>
            <a:cxnLst/>
            <a:rect l="0" t="0" r="0" b="0"/>
            <a:pathLst>
              <a:path w="18758" h="18757" extrusionOk="0">
                <a:moveTo>
                  <a:pt x="10039" y="2467"/>
                </a:moveTo>
                <a:lnTo>
                  <a:pt x="10380" y="2491"/>
                </a:lnTo>
                <a:lnTo>
                  <a:pt x="10674" y="2516"/>
                </a:lnTo>
                <a:lnTo>
                  <a:pt x="10869" y="2540"/>
                </a:lnTo>
                <a:lnTo>
                  <a:pt x="10967" y="2564"/>
                </a:lnTo>
                <a:lnTo>
                  <a:pt x="10991" y="2589"/>
                </a:lnTo>
                <a:lnTo>
                  <a:pt x="10967" y="2638"/>
                </a:lnTo>
                <a:lnTo>
                  <a:pt x="10893" y="2784"/>
                </a:lnTo>
                <a:lnTo>
                  <a:pt x="10771" y="2955"/>
                </a:lnTo>
                <a:lnTo>
                  <a:pt x="10600" y="3151"/>
                </a:lnTo>
                <a:lnTo>
                  <a:pt x="10405" y="3322"/>
                </a:lnTo>
                <a:lnTo>
                  <a:pt x="10209" y="3468"/>
                </a:lnTo>
                <a:lnTo>
                  <a:pt x="10039" y="3590"/>
                </a:lnTo>
                <a:lnTo>
                  <a:pt x="9941" y="3615"/>
                </a:lnTo>
                <a:lnTo>
                  <a:pt x="9843" y="3639"/>
                </a:lnTo>
                <a:lnTo>
                  <a:pt x="9745" y="3663"/>
                </a:lnTo>
                <a:lnTo>
                  <a:pt x="9648" y="3737"/>
                </a:lnTo>
                <a:lnTo>
                  <a:pt x="9550" y="3810"/>
                </a:lnTo>
                <a:lnTo>
                  <a:pt x="9452" y="3883"/>
                </a:lnTo>
                <a:lnTo>
                  <a:pt x="9355" y="3957"/>
                </a:lnTo>
                <a:lnTo>
                  <a:pt x="9257" y="3981"/>
                </a:lnTo>
                <a:lnTo>
                  <a:pt x="9159" y="4005"/>
                </a:lnTo>
                <a:lnTo>
                  <a:pt x="9086" y="4005"/>
                </a:lnTo>
                <a:lnTo>
                  <a:pt x="8988" y="4054"/>
                </a:lnTo>
                <a:lnTo>
                  <a:pt x="8866" y="4128"/>
                </a:lnTo>
                <a:lnTo>
                  <a:pt x="8793" y="4201"/>
                </a:lnTo>
                <a:lnTo>
                  <a:pt x="8695" y="4274"/>
                </a:lnTo>
                <a:lnTo>
                  <a:pt x="8598" y="4323"/>
                </a:lnTo>
                <a:lnTo>
                  <a:pt x="8500" y="4372"/>
                </a:lnTo>
                <a:lnTo>
                  <a:pt x="8304" y="4372"/>
                </a:lnTo>
                <a:lnTo>
                  <a:pt x="8207" y="4323"/>
                </a:lnTo>
                <a:lnTo>
                  <a:pt x="8109" y="4274"/>
                </a:lnTo>
                <a:lnTo>
                  <a:pt x="8036" y="4201"/>
                </a:lnTo>
                <a:lnTo>
                  <a:pt x="7963" y="4103"/>
                </a:lnTo>
                <a:lnTo>
                  <a:pt x="7938" y="4005"/>
                </a:lnTo>
                <a:lnTo>
                  <a:pt x="7963" y="3908"/>
                </a:lnTo>
                <a:lnTo>
                  <a:pt x="8036" y="3810"/>
                </a:lnTo>
                <a:lnTo>
                  <a:pt x="8109" y="3712"/>
                </a:lnTo>
                <a:lnTo>
                  <a:pt x="8158" y="3615"/>
                </a:lnTo>
                <a:lnTo>
                  <a:pt x="8207" y="3517"/>
                </a:lnTo>
                <a:lnTo>
                  <a:pt x="8207" y="3419"/>
                </a:lnTo>
                <a:lnTo>
                  <a:pt x="8182" y="3273"/>
                </a:lnTo>
                <a:lnTo>
                  <a:pt x="8158" y="3199"/>
                </a:lnTo>
                <a:lnTo>
                  <a:pt x="8109" y="3151"/>
                </a:lnTo>
                <a:lnTo>
                  <a:pt x="8060" y="3102"/>
                </a:lnTo>
                <a:lnTo>
                  <a:pt x="7987" y="3077"/>
                </a:lnTo>
                <a:lnTo>
                  <a:pt x="7840" y="3053"/>
                </a:lnTo>
                <a:lnTo>
                  <a:pt x="7669" y="3028"/>
                </a:lnTo>
                <a:lnTo>
                  <a:pt x="7596" y="2980"/>
                </a:lnTo>
                <a:lnTo>
                  <a:pt x="7547" y="2955"/>
                </a:lnTo>
                <a:lnTo>
                  <a:pt x="7523" y="2906"/>
                </a:lnTo>
                <a:lnTo>
                  <a:pt x="7547" y="2833"/>
                </a:lnTo>
                <a:lnTo>
                  <a:pt x="7572" y="2760"/>
                </a:lnTo>
                <a:lnTo>
                  <a:pt x="7645" y="2662"/>
                </a:lnTo>
                <a:lnTo>
                  <a:pt x="7694" y="2638"/>
                </a:lnTo>
                <a:lnTo>
                  <a:pt x="7792" y="2589"/>
                </a:lnTo>
                <a:lnTo>
                  <a:pt x="8036" y="2540"/>
                </a:lnTo>
                <a:lnTo>
                  <a:pt x="8329" y="2491"/>
                </a:lnTo>
                <a:lnTo>
                  <a:pt x="8671" y="2467"/>
                </a:lnTo>
                <a:close/>
                <a:moveTo>
                  <a:pt x="11455" y="4763"/>
                </a:moveTo>
                <a:lnTo>
                  <a:pt x="11528" y="4787"/>
                </a:lnTo>
                <a:lnTo>
                  <a:pt x="11577" y="4811"/>
                </a:lnTo>
                <a:lnTo>
                  <a:pt x="11626" y="4885"/>
                </a:lnTo>
                <a:lnTo>
                  <a:pt x="11650" y="4958"/>
                </a:lnTo>
                <a:lnTo>
                  <a:pt x="11626" y="5031"/>
                </a:lnTo>
                <a:lnTo>
                  <a:pt x="11577" y="5153"/>
                </a:lnTo>
                <a:lnTo>
                  <a:pt x="11528" y="5251"/>
                </a:lnTo>
                <a:lnTo>
                  <a:pt x="11455" y="5324"/>
                </a:lnTo>
                <a:lnTo>
                  <a:pt x="11357" y="5398"/>
                </a:lnTo>
                <a:lnTo>
                  <a:pt x="11260" y="5471"/>
                </a:lnTo>
                <a:lnTo>
                  <a:pt x="11162" y="5520"/>
                </a:lnTo>
                <a:lnTo>
                  <a:pt x="10991" y="5520"/>
                </a:lnTo>
                <a:lnTo>
                  <a:pt x="10942" y="5471"/>
                </a:lnTo>
                <a:lnTo>
                  <a:pt x="10893" y="5398"/>
                </a:lnTo>
                <a:lnTo>
                  <a:pt x="10869" y="5324"/>
                </a:lnTo>
                <a:lnTo>
                  <a:pt x="10893" y="5251"/>
                </a:lnTo>
                <a:lnTo>
                  <a:pt x="10942" y="5153"/>
                </a:lnTo>
                <a:lnTo>
                  <a:pt x="10991" y="5031"/>
                </a:lnTo>
                <a:lnTo>
                  <a:pt x="11064" y="4958"/>
                </a:lnTo>
                <a:lnTo>
                  <a:pt x="11162" y="4885"/>
                </a:lnTo>
                <a:lnTo>
                  <a:pt x="11260" y="4811"/>
                </a:lnTo>
                <a:lnTo>
                  <a:pt x="11357" y="4787"/>
                </a:lnTo>
                <a:lnTo>
                  <a:pt x="11455" y="4763"/>
                </a:lnTo>
                <a:close/>
                <a:moveTo>
                  <a:pt x="16437" y="12260"/>
                </a:moveTo>
                <a:lnTo>
                  <a:pt x="16511" y="12285"/>
                </a:lnTo>
                <a:lnTo>
                  <a:pt x="16535" y="12334"/>
                </a:lnTo>
                <a:lnTo>
                  <a:pt x="16559" y="12407"/>
                </a:lnTo>
                <a:lnTo>
                  <a:pt x="16584" y="12578"/>
                </a:lnTo>
                <a:lnTo>
                  <a:pt x="16584" y="12651"/>
                </a:lnTo>
                <a:lnTo>
                  <a:pt x="16535" y="12749"/>
                </a:lnTo>
                <a:lnTo>
                  <a:pt x="16486" y="12871"/>
                </a:lnTo>
                <a:lnTo>
                  <a:pt x="16413" y="12944"/>
                </a:lnTo>
                <a:lnTo>
                  <a:pt x="16340" y="13042"/>
                </a:lnTo>
                <a:lnTo>
                  <a:pt x="16266" y="13140"/>
                </a:lnTo>
                <a:lnTo>
                  <a:pt x="16218" y="13237"/>
                </a:lnTo>
                <a:lnTo>
                  <a:pt x="16218" y="13335"/>
                </a:lnTo>
                <a:lnTo>
                  <a:pt x="16193" y="13482"/>
                </a:lnTo>
                <a:lnTo>
                  <a:pt x="16144" y="13555"/>
                </a:lnTo>
                <a:lnTo>
                  <a:pt x="16120" y="13628"/>
                </a:lnTo>
                <a:lnTo>
                  <a:pt x="16071" y="13653"/>
                </a:lnTo>
                <a:lnTo>
                  <a:pt x="15973" y="13653"/>
                </a:lnTo>
                <a:lnTo>
                  <a:pt x="15924" y="13628"/>
                </a:lnTo>
                <a:lnTo>
                  <a:pt x="15900" y="13555"/>
                </a:lnTo>
                <a:lnTo>
                  <a:pt x="15851" y="13433"/>
                </a:lnTo>
                <a:lnTo>
                  <a:pt x="15851" y="13286"/>
                </a:lnTo>
                <a:lnTo>
                  <a:pt x="15827" y="13140"/>
                </a:lnTo>
                <a:lnTo>
                  <a:pt x="15851" y="12969"/>
                </a:lnTo>
                <a:lnTo>
                  <a:pt x="15924" y="12798"/>
                </a:lnTo>
                <a:lnTo>
                  <a:pt x="15998" y="12627"/>
                </a:lnTo>
                <a:lnTo>
                  <a:pt x="16120" y="12480"/>
                </a:lnTo>
                <a:lnTo>
                  <a:pt x="16242" y="12383"/>
                </a:lnTo>
                <a:lnTo>
                  <a:pt x="16340" y="12309"/>
                </a:lnTo>
                <a:lnTo>
                  <a:pt x="16437" y="12260"/>
                </a:lnTo>
                <a:close/>
                <a:moveTo>
                  <a:pt x="13922" y="3615"/>
                </a:moveTo>
                <a:lnTo>
                  <a:pt x="14239" y="3639"/>
                </a:lnTo>
                <a:lnTo>
                  <a:pt x="14483" y="3639"/>
                </a:lnTo>
                <a:lnTo>
                  <a:pt x="14679" y="3688"/>
                </a:lnTo>
                <a:lnTo>
                  <a:pt x="14777" y="3712"/>
                </a:lnTo>
                <a:lnTo>
                  <a:pt x="14825" y="3737"/>
                </a:lnTo>
                <a:lnTo>
                  <a:pt x="14874" y="3761"/>
                </a:lnTo>
                <a:lnTo>
                  <a:pt x="14923" y="3737"/>
                </a:lnTo>
                <a:lnTo>
                  <a:pt x="14972" y="3712"/>
                </a:lnTo>
                <a:lnTo>
                  <a:pt x="15045" y="3688"/>
                </a:lnTo>
                <a:lnTo>
                  <a:pt x="15143" y="3663"/>
                </a:lnTo>
                <a:lnTo>
                  <a:pt x="15485" y="3639"/>
                </a:lnTo>
                <a:lnTo>
                  <a:pt x="15900" y="4103"/>
                </a:lnTo>
                <a:lnTo>
                  <a:pt x="16291" y="4616"/>
                </a:lnTo>
                <a:lnTo>
                  <a:pt x="16633" y="5153"/>
                </a:lnTo>
                <a:lnTo>
                  <a:pt x="16926" y="5715"/>
                </a:lnTo>
                <a:lnTo>
                  <a:pt x="17194" y="6301"/>
                </a:lnTo>
                <a:lnTo>
                  <a:pt x="17390" y="6912"/>
                </a:lnTo>
                <a:lnTo>
                  <a:pt x="17561" y="7547"/>
                </a:lnTo>
                <a:lnTo>
                  <a:pt x="17683" y="8182"/>
                </a:lnTo>
                <a:lnTo>
                  <a:pt x="17414" y="8157"/>
                </a:lnTo>
                <a:lnTo>
                  <a:pt x="17317" y="8133"/>
                </a:lnTo>
                <a:lnTo>
                  <a:pt x="17268" y="8084"/>
                </a:lnTo>
                <a:lnTo>
                  <a:pt x="17219" y="8060"/>
                </a:lnTo>
                <a:lnTo>
                  <a:pt x="17146" y="8035"/>
                </a:lnTo>
                <a:lnTo>
                  <a:pt x="16975" y="8011"/>
                </a:lnTo>
                <a:lnTo>
                  <a:pt x="16877" y="7986"/>
                </a:lnTo>
                <a:lnTo>
                  <a:pt x="16779" y="7938"/>
                </a:lnTo>
                <a:lnTo>
                  <a:pt x="16682" y="7889"/>
                </a:lnTo>
                <a:lnTo>
                  <a:pt x="16584" y="7815"/>
                </a:lnTo>
                <a:lnTo>
                  <a:pt x="16511" y="7742"/>
                </a:lnTo>
                <a:lnTo>
                  <a:pt x="16437" y="7693"/>
                </a:lnTo>
                <a:lnTo>
                  <a:pt x="16364" y="7693"/>
                </a:lnTo>
                <a:lnTo>
                  <a:pt x="16315" y="7718"/>
                </a:lnTo>
                <a:lnTo>
                  <a:pt x="16291" y="7767"/>
                </a:lnTo>
                <a:lnTo>
                  <a:pt x="16291" y="7840"/>
                </a:lnTo>
                <a:lnTo>
                  <a:pt x="16340" y="7913"/>
                </a:lnTo>
                <a:lnTo>
                  <a:pt x="16413" y="8011"/>
                </a:lnTo>
                <a:lnTo>
                  <a:pt x="16486" y="8084"/>
                </a:lnTo>
                <a:lnTo>
                  <a:pt x="16584" y="8133"/>
                </a:lnTo>
                <a:lnTo>
                  <a:pt x="16706" y="8182"/>
                </a:lnTo>
                <a:lnTo>
                  <a:pt x="16779" y="8182"/>
                </a:lnTo>
                <a:lnTo>
                  <a:pt x="16877" y="8206"/>
                </a:lnTo>
                <a:lnTo>
                  <a:pt x="16975" y="8255"/>
                </a:lnTo>
                <a:lnTo>
                  <a:pt x="17072" y="8304"/>
                </a:lnTo>
                <a:lnTo>
                  <a:pt x="17170" y="8377"/>
                </a:lnTo>
                <a:lnTo>
                  <a:pt x="17194" y="8426"/>
                </a:lnTo>
                <a:lnTo>
                  <a:pt x="17219" y="8475"/>
                </a:lnTo>
                <a:lnTo>
                  <a:pt x="17194" y="8621"/>
                </a:lnTo>
                <a:lnTo>
                  <a:pt x="17097" y="8792"/>
                </a:lnTo>
                <a:lnTo>
                  <a:pt x="16975" y="8963"/>
                </a:lnTo>
                <a:lnTo>
                  <a:pt x="16804" y="9110"/>
                </a:lnTo>
                <a:lnTo>
                  <a:pt x="16657" y="9232"/>
                </a:lnTo>
                <a:lnTo>
                  <a:pt x="16511" y="9305"/>
                </a:lnTo>
                <a:lnTo>
                  <a:pt x="16413" y="9330"/>
                </a:lnTo>
                <a:lnTo>
                  <a:pt x="16242" y="9354"/>
                </a:lnTo>
                <a:lnTo>
                  <a:pt x="16169" y="9378"/>
                </a:lnTo>
                <a:lnTo>
                  <a:pt x="16120" y="9427"/>
                </a:lnTo>
                <a:lnTo>
                  <a:pt x="16071" y="9452"/>
                </a:lnTo>
                <a:lnTo>
                  <a:pt x="16022" y="9476"/>
                </a:lnTo>
                <a:lnTo>
                  <a:pt x="15973" y="9452"/>
                </a:lnTo>
                <a:lnTo>
                  <a:pt x="15924" y="9427"/>
                </a:lnTo>
                <a:lnTo>
                  <a:pt x="15900" y="9378"/>
                </a:lnTo>
                <a:lnTo>
                  <a:pt x="15851" y="9305"/>
                </a:lnTo>
                <a:lnTo>
                  <a:pt x="15827" y="9134"/>
                </a:lnTo>
                <a:lnTo>
                  <a:pt x="15802" y="9037"/>
                </a:lnTo>
                <a:lnTo>
                  <a:pt x="15729" y="8890"/>
                </a:lnTo>
                <a:lnTo>
                  <a:pt x="15607" y="8743"/>
                </a:lnTo>
                <a:lnTo>
                  <a:pt x="15460" y="8573"/>
                </a:lnTo>
                <a:lnTo>
                  <a:pt x="15314" y="8402"/>
                </a:lnTo>
                <a:lnTo>
                  <a:pt x="15192" y="8255"/>
                </a:lnTo>
                <a:lnTo>
                  <a:pt x="15094" y="8108"/>
                </a:lnTo>
                <a:lnTo>
                  <a:pt x="15070" y="8011"/>
                </a:lnTo>
                <a:lnTo>
                  <a:pt x="15070" y="7938"/>
                </a:lnTo>
                <a:lnTo>
                  <a:pt x="15045" y="7889"/>
                </a:lnTo>
                <a:lnTo>
                  <a:pt x="15021" y="7889"/>
                </a:lnTo>
                <a:lnTo>
                  <a:pt x="14972" y="7913"/>
                </a:lnTo>
                <a:lnTo>
                  <a:pt x="14948" y="7962"/>
                </a:lnTo>
                <a:lnTo>
                  <a:pt x="14899" y="8035"/>
                </a:lnTo>
                <a:lnTo>
                  <a:pt x="14874" y="8182"/>
                </a:lnTo>
                <a:lnTo>
                  <a:pt x="14899" y="8279"/>
                </a:lnTo>
                <a:lnTo>
                  <a:pt x="14972" y="8402"/>
                </a:lnTo>
                <a:lnTo>
                  <a:pt x="15045" y="8548"/>
                </a:lnTo>
                <a:lnTo>
                  <a:pt x="15167" y="8670"/>
                </a:lnTo>
                <a:lnTo>
                  <a:pt x="15265" y="8792"/>
                </a:lnTo>
                <a:lnTo>
                  <a:pt x="15363" y="8914"/>
                </a:lnTo>
                <a:lnTo>
                  <a:pt x="15436" y="9037"/>
                </a:lnTo>
                <a:lnTo>
                  <a:pt x="15460" y="9134"/>
                </a:lnTo>
                <a:lnTo>
                  <a:pt x="15460" y="9232"/>
                </a:lnTo>
                <a:lnTo>
                  <a:pt x="15509" y="9330"/>
                </a:lnTo>
                <a:lnTo>
                  <a:pt x="15558" y="9427"/>
                </a:lnTo>
                <a:lnTo>
                  <a:pt x="15631" y="9525"/>
                </a:lnTo>
                <a:lnTo>
                  <a:pt x="15753" y="9598"/>
                </a:lnTo>
                <a:lnTo>
                  <a:pt x="15900" y="9647"/>
                </a:lnTo>
                <a:lnTo>
                  <a:pt x="16047" y="9696"/>
                </a:lnTo>
                <a:lnTo>
                  <a:pt x="16218" y="9720"/>
                </a:lnTo>
                <a:lnTo>
                  <a:pt x="16364" y="9720"/>
                </a:lnTo>
                <a:lnTo>
                  <a:pt x="16486" y="9769"/>
                </a:lnTo>
                <a:lnTo>
                  <a:pt x="16559" y="9818"/>
                </a:lnTo>
                <a:lnTo>
                  <a:pt x="16584" y="9867"/>
                </a:lnTo>
                <a:lnTo>
                  <a:pt x="16584" y="9916"/>
                </a:lnTo>
                <a:lnTo>
                  <a:pt x="16559" y="10013"/>
                </a:lnTo>
                <a:lnTo>
                  <a:pt x="16437" y="10209"/>
                </a:lnTo>
                <a:lnTo>
                  <a:pt x="16242" y="10429"/>
                </a:lnTo>
                <a:lnTo>
                  <a:pt x="16022" y="10673"/>
                </a:lnTo>
                <a:lnTo>
                  <a:pt x="15802" y="10917"/>
                </a:lnTo>
                <a:lnTo>
                  <a:pt x="15631" y="11186"/>
                </a:lnTo>
                <a:lnTo>
                  <a:pt x="15485" y="11430"/>
                </a:lnTo>
                <a:lnTo>
                  <a:pt x="15460" y="11528"/>
                </a:lnTo>
                <a:lnTo>
                  <a:pt x="15460" y="11625"/>
                </a:lnTo>
                <a:lnTo>
                  <a:pt x="15460" y="11772"/>
                </a:lnTo>
                <a:lnTo>
                  <a:pt x="15485" y="11918"/>
                </a:lnTo>
                <a:lnTo>
                  <a:pt x="15509" y="12016"/>
                </a:lnTo>
                <a:lnTo>
                  <a:pt x="15558" y="12089"/>
                </a:lnTo>
                <a:lnTo>
                  <a:pt x="15583" y="12138"/>
                </a:lnTo>
                <a:lnTo>
                  <a:pt x="15607" y="12212"/>
                </a:lnTo>
                <a:lnTo>
                  <a:pt x="15631" y="12383"/>
                </a:lnTo>
                <a:lnTo>
                  <a:pt x="15607" y="12480"/>
                </a:lnTo>
                <a:lnTo>
                  <a:pt x="15509" y="12651"/>
                </a:lnTo>
                <a:lnTo>
                  <a:pt x="15363" y="12847"/>
                </a:lnTo>
                <a:lnTo>
                  <a:pt x="15167" y="13042"/>
                </a:lnTo>
                <a:lnTo>
                  <a:pt x="14972" y="13237"/>
                </a:lnTo>
                <a:lnTo>
                  <a:pt x="14825" y="13433"/>
                </a:lnTo>
                <a:lnTo>
                  <a:pt x="14728" y="13604"/>
                </a:lnTo>
                <a:lnTo>
                  <a:pt x="14679" y="13701"/>
                </a:lnTo>
                <a:lnTo>
                  <a:pt x="14654" y="13823"/>
                </a:lnTo>
                <a:lnTo>
                  <a:pt x="14581" y="13970"/>
                </a:lnTo>
                <a:lnTo>
                  <a:pt x="14459" y="14117"/>
                </a:lnTo>
                <a:lnTo>
                  <a:pt x="14313" y="14288"/>
                </a:lnTo>
                <a:lnTo>
                  <a:pt x="14142" y="14434"/>
                </a:lnTo>
                <a:lnTo>
                  <a:pt x="13995" y="14556"/>
                </a:lnTo>
                <a:lnTo>
                  <a:pt x="13848" y="14629"/>
                </a:lnTo>
                <a:lnTo>
                  <a:pt x="13726" y="14654"/>
                </a:lnTo>
                <a:lnTo>
                  <a:pt x="13653" y="14654"/>
                </a:lnTo>
                <a:lnTo>
                  <a:pt x="13555" y="14605"/>
                </a:lnTo>
                <a:lnTo>
                  <a:pt x="13458" y="14556"/>
                </a:lnTo>
                <a:lnTo>
                  <a:pt x="13360" y="14483"/>
                </a:lnTo>
                <a:lnTo>
                  <a:pt x="13287" y="14385"/>
                </a:lnTo>
                <a:lnTo>
                  <a:pt x="13213" y="14288"/>
                </a:lnTo>
                <a:lnTo>
                  <a:pt x="13189" y="14190"/>
                </a:lnTo>
                <a:lnTo>
                  <a:pt x="13165" y="14092"/>
                </a:lnTo>
                <a:lnTo>
                  <a:pt x="13140" y="13921"/>
                </a:lnTo>
                <a:lnTo>
                  <a:pt x="13116" y="13848"/>
                </a:lnTo>
                <a:lnTo>
                  <a:pt x="13067" y="13799"/>
                </a:lnTo>
                <a:lnTo>
                  <a:pt x="13043" y="13750"/>
                </a:lnTo>
                <a:lnTo>
                  <a:pt x="12994" y="13677"/>
                </a:lnTo>
                <a:lnTo>
                  <a:pt x="12969" y="13530"/>
                </a:lnTo>
                <a:lnTo>
                  <a:pt x="12945" y="13359"/>
                </a:lnTo>
                <a:lnTo>
                  <a:pt x="12920" y="13286"/>
                </a:lnTo>
                <a:lnTo>
                  <a:pt x="12872" y="13237"/>
                </a:lnTo>
                <a:lnTo>
                  <a:pt x="12847" y="13164"/>
                </a:lnTo>
                <a:lnTo>
                  <a:pt x="12823" y="13066"/>
                </a:lnTo>
                <a:lnTo>
                  <a:pt x="12798" y="12920"/>
                </a:lnTo>
                <a:lnTo>
                  <a:pt x="12774" y="12749"/>
                </a:lnTo>
                <a:lnTo>
                  <a:pt x="12798" y="12602"/>
                </a:lnTo>
                <a:lnTo>
                  <a:pt x="12823" y="12456"/>
                </a:lnTo>
                <a:lnTo>
                  <a:pt x="12847" y="12358"/>
                </a:lnTo>
                <a:lnTo>
                  <a:pt x="12872" y="12285"/>
                </a:lnTo>
                <a:lnTo>
                  <a:pt x="12920" y="12236"/>
                </a:lnTo>
                <a:lnTo>
                  <a:pt x="12945" y="12163"/>
                </a:lnTo>
                <a:lnTo>
                  <a:pt x="12969" y="11992"/>
                </a:lnTo>
                <a:lnTo>
                  <a:pt x="12945" y="11894"/>
                </a:lnTo>
                <a:lnTo>
                  <a:pt x="12896" y="11772"/>
                </a:lnTo>
                <a:lnTo>
                  <a:pt x="12798" y="11650"/>
                </a:lnTo>
                <a:lnTo>
                  <a:pt x="12701" y="11528"/>
                </a:lnTo>
                <a:lnTo>
                  <a:pt x="12578" y="11381"/>
                </a:lnTo>
                <a:lnTo>
                  <a:pt x="12481" y="11210"/>
                </a:lnTo>
                <a:lnTo>
                  <a:pt x="12432" y="11015"/>
                </a:lnTo>
                <a:lnTo>
                  <a:pt x="12408" y="10844"/>
                </a:lnTo>
                <a:lnTo>
                  <a:pt x="12408" y="10697"/>
                </a:lnTo>
                <a:lnTo>
                  <a:pt x="12383" y="10551"/>
                </a:lnTo>
                <a:lnTo>
                  <a:pt x="12334" y="10453"/>
                </a:lnTo>
                <a:lnTo>
                  <a:pt x="12310" y="10380"/>
                </a:lnTo>
                <a:lnTo>
                  <a:pt x="12261" y="10331"/>
                </a:lnTo>
                <a:lnTo>
                  <a:pt x="12188" y="10307"/>
                </a:lnTo>
                <a:lnTo>
                  <a:pt x="12017" y="10282"/>
                </a:lnTo>
                <a:lnTo>
                  <a:pt x="11870" y="10307"/>
                </a:lnTo>
                <a:lnTo>
                  <a:pt x="11797" y="10331"/>
                </a:lnTo>
                <a:lnTo>
                  <a:pt x="11748" y="10380"/>
                </a:lnTo>
                <a:lnTo>
                  <a:pt x="11675" y="10429"/>
                </a:lnTo>
                <a:lnTo>
                  <a:pt x="11553" y="10453"/>
                </a:lnTo>
                <a:lnTo>
                  <a:pt x="11406" y="10478"/>
                </a:lnTo>
                <a:lnTo>
                  <a:pt x="11260" y="10478"/>
                </a:lnTo>
                <a:lnTo>
                  <a:pt x="11089" y="10453"/>
                </a:lnTo>
                <a:lnTo>
                  <a:pt x="10893" y="10355"/>
                </a:lnTo>
                <a:lnTo>
                  <a:pt x="10674" y="10233"/>
                </a:lnTo>
                <a:lnTo>
                  <a:pt x="10503" y="10087"/>
                </a:lnTo>
                <a:lnTo>
                  <a:pt x="10429" y="10013"/>
                </a:lnTo>
                <a:lnTo>
                  <a:pt x="10356" y="9891"/>
                </a:lnTo>
                <a:lnTo>
                  <a:pt x="10234" y="9598"/>
                </a:lnTo>
                <a:lnTo>
                  <a:pt x="10161" y="9281"/>
                </a:lnTo>
                <a:lnTo>
                  <a:pt x="10112" y="8963"/>
                </a:lnTo>
                <a:lnTo>
                  <a:pt x="10136" y="8792"/>
                </a:lnTo>
                <a:lnTo>
                  <a:pt x="10161" y="8621"/>
                </a:lnTo>
                <a:lnTo>
                  <a:pt x="10258" y="8279"/>
                </a:lnTo>
                <a:lnTo>
                  <a:pt x="10332" y="8108"/>
                </a:lnTo>
                <a:lnTo>
                  <a:pt x="10405" y="7962"/>
                </a:lnTo>
                <a:lnTo>
                  <a:pt x="10503" y="7815"/>
                </a:lnTo>
                <a:lnTo>
                  <a:pt x="10600" y="7718"/>
                </a:lnTo>
                <a:lnTo>
                  <a:pt x="10796" y="7522"/>
                </a:lnTo>
                <a:lnTo>
                  <a:pt x="10991" y="7376"/>
                </a:lnTo>
                <a:lnTo>
                  <a:pt x="11162" y="7278"/>
                </a:lnTo>
                <a:lnTo>
                  <a:pt x="11260" y="7229"/>
                </a:lnTo>
                <a:lnTo>
                  <a:pt x="11431" y="7205"/>
                </a:lnTo>
                <a:lnTo>
                  <a:pt x="11504" y="7180"/>
                </a:lnTo>
                <a:lnTo>
                  <a:pt x="11553" y="7132"/>
                </a:lnTo>
                <a:lnTo>
                  <a:pt x="11626" y="7107"/>
                </a:lnTo>
                <a:lnTo>
                  <a:pt x="11724" y="7083"/>
                </a:lnTo>
                <a:lnTo>
                  <a:pt x="11870" y="7058"/>
                </a:lnTo>
                <a:lnTo>
                  <a:pt x="12188" y="7058"/>
                </a:lnTo>
                <a:lnTo>
                  <a:pt x="12359" y="7107"/>
                </a:lnTo>
                <a:lnTo>
                  <a:pt x="12481" y="7156"/>
                </a:lnTo>
                <a:lnTo>
                  <a:pt x="12603" y="7229"/>
                </a:lnTo>
                <a:lnTo>
                  <a:pt x="12676" y="7303"/>
                </a:lnTo>
                <a:lnTo>
                  <a:pt x="12774" y="7376"/>
                </a:lnTo>
                <a:lnTo>
                  <a:pt x="12896" y="7425"/>
                </a:lnTo>
                <a:lnTo>
                  <a:pt x="12969" y="7425"/>
                </a:lnTo>
                <a:lnTo>
                  <a:pt x="13140" y="7449"/>
                </a:lnTo>
                <a:lnTo>
                  <a:pt x="13213" y="7498"/>
                </a:lnTo>
                <a:lnTo>
                  <a:pt x="13262" y="7522"/>
                </a:lnTo>
                <a:lnTo>
                  <a:pt x="13311" y="7547"/>
                </a:lnTo>
                <a:lnTo>
                  <a:pt x="13360" y="7571"/>
                </a:lnTo>
                <a:lnTo>
                  <a:pt x="13409" y="7547"/>
                </a:lnTo>
                <a:lnTo>
                  <a:pt x="13458" y="7522"/>
                </a:lnTo>
                <a:lnTo>
                  <a:pt x="13507" y="7498"/>
                </a:lnTo>
                <a:lnTo>
                  <a:pt x="13580" y="7449"/>
                </a:lnTo>
                <a:lnTo>
                  <a:pt x="13726" y="7425"/>
                </a:lnTo>
                <a:lnTo>
                  <a:pt x="13897" y="7449"/>
                </a:lnTo>
                <a:lnTo>
                  <a:pt x="13971" y="7498"/>
                </a:lnTo>
                <a:lnTo>
                  <a:pt x="14019" y="7522"/>
                </a:lnTo>
                <a:lnTo>
                  <a:pt x="14093" y="7571"/>
                </a:lnTo>
                <a:lnTo>
                  <a:pt x="14190" y="7596"/>
                </a:lnTo>
                <a:lnTo>
                  <a:pt x="14337" y="7620"/>
                </a:lnTo>
                <a:lnTo>
                  <a:pt x="14654" y="7620"/>
                </a:lnTo>
                <a:lnTo>
                  <a:pt x="14801" y="7596"/>
                </a:lnTo>
                <a:lnTo>
                  <a:pt x="14899" y="7571"/>
                </a:lnTo>
                <a:lnTo>
                  <a:pt x="14972" y="7522"/>
                </a:lnTo>
                <a:lnTo>
                  <a:pt x="15021" y="7473"/>
                </a:lnTo>
                <a:lnTo>
                  <a:pt x="15045" y="7400"/>
                </a:lnTo>
                <a:lnTo>
                  <a:pt x="15070" y="7229"/>
                </a:lnTo>
                <a:lnTo>
                  <a:pt x="15070" y="7205"/>
                </a:lnTo>
                <a:lnTo>
                  <a:pt x="15045" y="7156"/>
                </a:lnTo>
                <a:lnTo>
                  <a:pt x="14948" y="7107"/>
                </a:lnTo>
                <a:lnTo>
                  <a:pt x="14825" y="7058"/>
                </a:lnTo>
                <a:lnTo>
                  <a:pt x="14679" y="7058"/>
                </a:lnTo>
                <a:lnTo>
                  <a:pt x="14532" y="7034"/>
                </a:lnTo>
                <a:lnTo>
                  <a:pt x="14361" y="6985"/>
                </a:lnTo>
                <a:lnTo>
                  <a:pt x="14215" y="6936"/>
                </a:lnTo>
                <a:lnTo>
                  <a:pt x="14117" y="6863"/>
                </a:lnTo>
                <a:lnTo>
                  <a:pt x="14019" y="6790"/>
                </a:lnTo>
                <a:lnTo>
                  <a:pt x="13922" y="6716"/>
                </a:lnTo>
                <a:lnTo>
                  <a:pt x="13824" y="6692"/>
                </a:lnTo>
                <a:lnTo>
                  <a:pt x="13726" y="6668"/>
                </a:lnTo>
                <a:lnTo>
                  <a:pt x="13653" y="6643"/>
                </a:lnTo>
                <a:lnTo>
                  <a:pt x="13555" y="6619"/>
                </a:lnTo>
                <a:lnTo>
                  <a:pt x="13458" y="6545"/>
                </a:lnTo>
                <a:lnTo>
                  <a:pt x="13360" y="6472"/>
                </a:lnTo>
                <a:lnTo>
                  <a:pt x="13287" y="6399"/>
                </a:lnTo>
                <a:lnTo>
                  <a:pt x="13189" y="6374"/>
                </a:lnTo>
                <a:lnTo>
                  <a:pt x="13116" y="6350"/>
                </a:lnTo>
                <a:lnTo>
                  <a:pt x="13067" y="6374"/>
                </a:lnTo>
                <a:lnTo>
                  <a:pt x="13018" y="6399"/>
                </a:lnTo>
                <a:lnTo>
                  <a:pt x="12945" y="6399"/>
                </a:lnTo>
                <a:lnTo>
                  <a:pt x="12872" y="6350"/>
                </a:lnTo>
                <a:lnTo>
                  <a:pt x="12774" y="6277"/>
                </a:lnTo>
                <a:lnTo>
                  <a:pt x="12701" y="6228"/>
                </a:lnTo>
                <a:lnTo>
                  <a:pt x="12627" y="6179"/>
                </a:lnTo>
                <a:lnTo>
                  <a:pt x="12505" y="6179"/>
                </a:lnTo>
                <a:lnTo>
                  <a:pt x="12456" y="6228"/>
                </a:lnTo>
                <a:lnTo>
                  <a:pt x="12383" y="6252"/>
                </a:lnTo>
                <a:lnTo>
                  <a:pt x="12212" y="6277"/>
                </a:lnTo>
                <a:lnTo>
                  <a:pt x="12114" y="6326"/>
                </a:lnTo>
                <a:lnTo>
                  <a:pt x="11968" y="6399"/>
                </a:lnTo>
                <a:lnTo>
                  <a:pt x="11797" y="6521"/>
                </a:lnTo>
                <a:lnTo>
                  <a:pt x="11650" y="6668"/>
                </a:lnTo>
                <a:lnTo>
                  <a:pt x="11479" y="6814"/>
                </a:lnTo>
                <a:lnTo>
                  <a:pt x="11309" y="6936"/>
                </a:lnTo>
                <a:lnTo>
                  <a:pt x="11186" y="7009"/>
                </a:lnTo>
                <a:lnTo>
                  <a:pt x="11064" y="7058"/>
                </a:lnTo>
                <a:lnTo>
                  <a:pt x="10918" y="7009"/>
                </a:lnTo>
                <a:lnTo>
                  <a:pt x="10844" y="6985"/>
                </a:lnTo>
                <a:lnTo>
                  <a:pt x="10796" y="6961"/>
                </a:lnTo>
                <a:lnTo>
                  <a:pt x="10747" y="6912"/>
                </a:lnTo>
                <a:lnTo>
                  <a:pt x="10722" y="6838"/>
                </a:lnTo>
                <a:lnTo>
                  <a:pt x="10698" y="6668"/>
                </a:lnTo>
                <a:lnTo>
                  <a:pt x="10722" y="6497"/>
                </a:lnTo>
                <a:lnTo>
                  <a:pt x="10747" y="6423"/>
                </a:lnTo>
                <a:lnTo>
                  <a:pt x="10796" y="6374"/>
                </a:lnTo>
                <a:lnTo>
                  <a:pt x="10844" y="6350"/>
                </a:lnTo>
                <a:lnTo>
                  <a:pt x="10967" y="6326"/>
                </a:lnTo>
                <a:lnTo>
                  <a:pt x="11113" y="6301"/>
                </a:lnTo>
                <a:lnTo>
                  <a:pt x="11260" y="6277"/>
                </a:lnTo>
                <a:lnTo>
                  <a:pt x="11406" y="6277"/>
                </a:lnTo>
                <a:lnTo>
                  <a:pt x="11528" y="6228"/>
                </a:lnTo>
                <a:lnTo>
                  <a:pt x="11602" y="6179"/>
                </a:lnTo>
                <a:lnTo>
                  <a:pt x="11626" y="6130"/>
                </a:lnTo>
                <a:lnTo>
                  <a:pt x="11650" y="6106"/>
                </a:lnTo>
                <a:lnTo>
                  <a:pt x="11602" y="5935"/>
                </a:lnTo>
                <a:lnTo>
                  <a:pt x="11577" y="5862"/>
                </a:lnTo>
                <a:lnTo>
                  <a:pt x="11553" y="5813"/>
                </a:lnTo>
                <a:lnTo>
                  <a:pt x="11504" y="5764"/>
                </a:lnTo>
                <a:lnTo>
                  <a:pt x="11504" y="5715"/>
                </a:lnTo>
                <a:lnTo>
                  <a:pt x="11504" y="5666"/>
                </a:lnTo>
                <a:lnTo>
                  <a:pt x="11553" y="5617"/>
                </a:lnTo>
                <a:lnTo>
                  <a:pt x="11602" y="5593"/>
                </a:lnTo>
                <a:lnTo>
                  <a:pt x="11675" y="5544"/>
                </a:lnTo>
                <a:lnTo>
                  <a:pt x="11821" y="5520"/>
                </a:lnTo>
                <a:lnTo>
                  <a:pt x="11919" y="5520"/>
                </a:lnTo>
                <a:lnTo>
                  <a:pt x="12017" y="5471"/>
                </a:lnTo>
                <a:lnTo>
                  <a:pt x="12114" y="5398"/>
                </a:lnTo>
                <a:lnTo>
                  <a:pt x="12212" y="5324"/>
                </a:lnTo>
                <a:lnTo>
                  <a:pt x="12285" y="5251"/>
                </a:lnTo>
                <a:lnTo>
                  <a:pt x="12359" y="5153"/>
                </a:lnTo>
                <a:lnTo>
                  <a:pt x="12383" y="5031"/>
                </a:lnTo>
                <a:lnTo>
                  <a:pt x="12408" y="4958"/>
                </a:lnTo>
                <a:lnTo>
                  <a:pt x="12383" y="4787"/>
                </a:lnTo>
                <a:lnTo>
                  <a:pt x="12334" y="4714"/>
                </a:lnTo>
                <a:lnTo>
                  <a:pt x="12310" y="4665"/>
                </a:lnTo>
                <a:lnTo>
                  <a:pt x="12310" y="4640"/>
                </a:lnTo>
                <a:lnTo>
                  <a:pt x="12310" y="4592"/>
                </a:lnTo>
                <a:lnTo>
                  <a:pt x="12383" y="4469"/>
                </a:lnTo>
                <a:lnTo>
                  <a:pt x="12505" y="4298"/>
                </a:lnTo>
                <a:lnTo>
                  <a:pt x="12701" y="4103"/>
                </a:lnTo>
                <a:lnTo>
                  <a:pt x="12798" y="4005"/>
                </a:lnTo>
                <a:lnTo>
                  <a:pt x="12945" y="3908"/>
                </a:lnTo>
                <a:lnTo>
                  <a:pt x="13091" y="3834"/>
                </a:lnTo>
                <a:lnTo>
                  <a:pt x="13262" y="3761"/>
                </a:lnTo>
                <a:lnTo>
                  <a:pt x="13604" y="3663"/>
                </a:lnTo>
                <a:lnTo>
                  <a:pt x="13775" y="3639"/>
                </a:lnTo>
                <a:lnTo>
                  <a:pt x="13922" y="3615"/>
                </a:lnTo>
                <a:close/>
                <a:moveTo>
                  <a:pt x="6888" y="2467"/>
                </a:moveTo>
                <a:lnTo>
                  <a:pt x="6986" y="2491"/>
                </a:lnTo>
                <a:lnTo>
                  <a:pt x="7083" y="2516"/>
                </a:lnTo>
                <a:lnTo>
                  <a:pt x="7132" y="2540"/>
                </a:lnTo>
                <a:lnTo>
                  <a:pt x="7181" y="2589"/>
                </a:lnTo>
                <a:lnTo>
                  <a:pt x="7181" y="2638"/>
                </a:lnTo>
                <a:lnTo>
                  <a:pt x="7181" y="2711"/>
                </a:lnTo>
                <a:lnTo>
                  <a:pt x="7132" y="2784"/>
                </a:lnTo>
                <a:lnTo>
                  <a:pt x="7083" y="2858"/>
                </a:lnTo>
                <a:lnTo>
                  <a:pt x="6937" y="3028"/>
                </a:lnTo>
                <a:lnTo>
                  <a:pt x="6864" y="3175"/>
                </a:lnTo>
                <a:lnTo>
                  <a:pt x="6839" y="3322"/>
                </a:lnTo>
                <a:lnTo>
                  <a:pt x="6864" y="3395"/>
                </a:lnTo>
                <a:lnTo>
                  <a:pt x="6888" y="3419"/>
                </a:lnTo>
                <a:lnTo>
                  <a:pt x="6961" y="3517"/>
                </a:lnTo>
                <a:lnTo>
                  <a:pt x="7010" y="3615"/>
                </a:lnTo>
                <a:lnTo>
                  <a:pt x="7059" y="3712"/>
                </a:lnTo>
                <a:lnTo>
                  <a:pt x="7083" y="3810"/>
                </a:lnTo>
                <a:lnTo>
                  <a:pt x="7059" y="3908"/>
                </a:lnTo>
                <a:lnTo>
                  <a:pt x="7010" y="4005"/>
                </a:lnTo>
                <a:lnTo>
                  <a:pt x="6961" y="4103"/>
                </a:lnTo>
                <a:lnTo>
                  <a:pt x="6888" y="4201"/>
                </a:lnTo>
                <a:lnTo>
                  <a:pt x="6839" y="4225"/>
                </a:lnTo>
                <a:lnTo>
                  <a:pt x="6644" y="4225"/>
                </a:lnTo>
                <a:lnTo>
                  <a:pt x="6473" y="4128"/>
                </a:lnTo>
                <a:lnTo>
                  <a:pt x="6302" y="4005"/>
                </a:lnTo>
                <a:lnTo>
                  <a:pt x="6155" y="3859"/>
                </a:lnTo>
                <a:lnTo>
                  <a:pt x="5984" y="3786"/>
                </a:lnTo>
                <a:lnTo>
                  <a:pt x="5838" y="3761"/>
                </a:lnTo>
                <a:lnTo>
                  <a:pt x="5789" y="3786"/>
                </a:lnTo>
                <a:lnTo>
                  <a:pt x="5740" y="3810"/>
                </a:lnTo>
                <a:lnTo>
                  <a:pt x="5642" y="3883"/>
                </a:lnTo>
                <a:lnTo>
                  <a:pt x="5545" y="3957"/>
                </a:lnTo>
                <a:lnTo>
                  <a:pt x="5447" y="3981"/>
                </a:lnTo>
                <a:lnTo>
                  <a:pt x="5349" y="4005"/>
                </a:lnTo>
                <a:lnTo>
                  <a:pt x="5203" y="4030"/>
                </a:lnTo>
                <a:lnTo>
                  <a:pt x="5129" y="4054"/>
                </a:lnTo>
                <a:lnTo>
                  <a:pt x="5081" y="4103"/>
                </a:lnTo>
                <a:lnTo>
                  <a:pt x="5032" y="4128"/>
                </a:lnTo>
                <a:lnTo>
                  <a:pt x="4959" y="4152"/>
                </a:lnTo>
                <a:lnTo>
                  <a:pt x="4788" y="4201"/>
                </a:lnTo>
                <a:lnTo>
                  <a:pt x="4690" y="4201"/>
                </a:lnTo>
                <a:lnTo>
                  <a:pt x="4592" y="4250"/>
                </a:lnTo>
                <a:lnTo>
                  <a:pt x="4494" y="4298"/>
                </a:lnTo>
                <a:lnTo>
                  <a:pt x="4397" y="4372"/>
                </a:lnTo>
                <a:lnTo>
                  <a:pt x="4372" y="4421"/>
                </a:lnTo>
                <a:lnTo>
                  <a:pt x="4372" y="4494"/>
                </a:lnTo>
                <a:lnTo>
                  <a:pt x="4372" y="4616"/>
                </a:lnTo>
                <a:lnTo>
                  <a:pt x="4470" y="4787"/>
                </a:lnTo>
                <a:lnTo>
                  <a:pt x="4592" y="4958"/>
                </a:lnTo>
                <a:lnTo>
                  <a:pt x="4690" y="5031"/>
                </a:lnTo>
                <a:lnTo>
                  <a:pt x="4788" y="5056"/>
                </a:lnTo>
                <a:lnTo>
                  <a:pt x="4885" y="5080"/>
                </a:lnTo>
                <a:lnTo>
                  <a:pt x="5007" y="5080"/>
                </a:lnTo>
                <a:lnTo>
                  <a:pt x="5129" y="5056"/>
                </a:lnTo>
                <a:lnTo>
                  <a:pt x="5227" y="5007"/>
                </a:lnTo>
                <a:lnTo>
                  <a:pt x="5349" y="4933"/>
                </a:lnTo>
                <a:lnTo>
                  <a:pt x="5447" y="4860"/>
                </a:lnTo>
                <a:lnTo>
                  <a:pt x="5642" y="4665"/>
                </a:lnTo>
                <a:lnTo>
                  <a:pt x="5838" y="4518"/>
                </a:lnTo>
                <a:lnTo>
                  <a:pt x="6009" y="4421"/>
                </a:lnTo>
                <a:lnTo>
                  <a:pt x="6131" y="4372"/>
                </a:lnTo>
                <a:lnTo>
                  <a:pt x="6204" y="4396"/>
                </a:lnTo>
                <a:lnTo>
                  <a:pt x="6253" y="4445"/>
                </a:lnTo>
                <a:lnTo>
                  <a:pt x="6302" y="4494"/>
                </a:lnTo>
                <a:lnTo>
                  <a:pt x="6302" y="4567"/>
                </a:lnTo>
                <a:lnTo>
                  <a:pt x="6326" y="4640"/>
                </a:lnTo>
                <a:lnTo>
                  <a:pt x="6375" y="4714"/>
                </a:lnTo>
                <a:lnTo>
                  <a:pt x="6424" y="4738"/>
                </a:lnTo>
                <a:lnTo>
                  <a:pt x="6497" y="4763"/>
                </a:lnTo>
                <a:lnTo>
                  <a:pt x="6595" y="4787"/>
                </a:lnTo>
                <a:lnTo>
                  <a:pt x="6693" y="4811"/>
                </a:lnTo>
                <a:lnTo>
                  <a:pt x="6790" y="4885"/>
                </a:lnTo>
                <a:lnTo>
                  <a:pt x="6888" y="4958"/>
                </a:lnTo>
                <a:lnTo>
                  <a:pt x="6937" y="5031"/>
                </a:lnTo>
                <a:lnTo>
                  <a:pt x="6961" y="5153"/>
                </a:lnTo>
                <a:lnTo>
                  <a:pt x="6937" y="5251"/>
                </a:lnTo>
                <a:lnTo>
                  <a:pt x="6888" y="5324"/>
                </a:lnTo>
                <a:lnTo>
                  <a:pt x="6790" y="5398"/>
                </a:lnTo>
                <a:lnTo>
                  <a:pt x="6693" y="5471"/>
                </a:lnTo>
                <a:lnTo>
                  <a:pt x="6595" y="5520"/>
                </a:lnTo>
                <a:lnTo>
                  <a:pt x="6497" y="5520"/>
                </a:lnTo>
                <a:lnTo>
                  <a:pt x="6399" y="5544"/>
                </a:lnTo>
                <a:lnTo>
                  <a:pt x="6253" y="5642"/>
                </a:lnTo>
                <a:lnTo>
                  <a:pt x="6082" y="5764"/>
                </a:lnTo>
                <a:lnTo>
                  <a:pt x="5935" y="5910"/>
                </a:lnTo>
                <a:lnTo>
                  <a:pt x="5764" y="6057"/>
                </a:lnTo>
                <a:lnTo>
                  <a:pt x="5594" y="6179"/>
                </a:lnTo>
                <a:lnTo>
                  <a:pt x="5471" y="6252"/>
                </a:lnTo>
                <a:lnTo>
                  <a:pt x="5349" y="6277"/>
                </a:lnTo>
                <a:lnTo>
                  <a:pt x="5227" y="6326"/>
                </a:lnTo>
                <a:lnTo>
                  <a:pt x="5056" y="6448"/>
                </a:lnTo>
                <a:lnTo>
                  <a:pt x="4812" y="6643"/>
                </a:lnTo>
                <a:lnTo>
                  <a:pt x="4568" y="6887"/>
                </a:lnTo>
                <a:lnTo>
                  <a:pt x="4226" y="7229"/>
                </a:lnTo>
                <a:lnTo>
                  <a:pt x="4104" y="7327"/>
                </a:lnTo>
                <a:lnTo>
                  <a:pt x="3957" y="7449"/>
                </a:lnTo>
                <a:lnTo>
                  <a:pt x="3640" y="7644"/>
                </a:lnTo>
                <a:lnTo>
                  <a:pt x="3347" y="7767"/>
                </a:lnTo>
                <a:lnTo>
                  <a:pt x="3200" y="7791"/>
                </a:lnTo>
                <a:lnTo>
                  <a:pt x="3078" y="7815"/>
                </a:lnTo>
                <a:lnTo>
                  <a:pt x="2834" y="7815"/>
                </a:lnTo>
                <a:lnTo>
                  <a:pt x="2614" y="7864"/>
                </a:lnTo>
                <a:lnTo>
                  <a:pt x="2443" y="7938"/>
                </a:lnTo>
                <a:lnTo>
                  <a:pt x="2321" y="8011"/>
                </a:lnTo>
                <a:lnTo>
                  <a:pt x="2248" y="8084"/>
                </a:lnTo>
                <a:lnTo>
                  <a:pt x="2174" y="8182"/>
                </a:lnTo>
                <a:lnTo>
                  <a:pt x="2125" y="8279"/>
                </a:lnTo>
                <a:lnTo>
                  <a:pt x="2125" y="8377"/>
                </a:lnTo>
                <a:lnTo>
                  <a:pt x="2125" y="8475"/>
                </a:lnTo>
                <a:lnTo>
                  <a:pt x="2174" y="8573"/>
                </a:lnTo>
                <a:lnTo>
                  <a:pt x="2248" y="8670"/>
                </a:lnTo>
                <a:lnTo>
                  <a:pt x="2321" y="8768"/>
                </a:lnTo>
                <a:lnTo>
                  <a:pt x="2394" y="8841"/>
                </a:lnTo>
                <a:lnTo>
                  <a:pt x="2492" y="8890"/>
                </a:lnTo>
                <a:lnTo>
                  <a:pt x="2614" y="8939"/>
                </a:lnTo>
                <a:lnTo>
                  <a:pt x="2687" y="8939"/>
                </a:lnTo>
                <a:lnTo>
                  <a:pt x="2809" y="8988"/>
                </a:lnTo>
                <a:lnTo>
                  <a:pt x="2956" y="9085"/>
                </a:lnTo>
                <a:lnTo>
                  <a:pt x="3151" y="9232"/>
                </a:lnTo>
                <a:lnTo>
                  <a:pt x="3371" y="9427"/>
                </a:lnTo>
                <a:lnTo>
                  <a:pt x="3566" y="9623"/>
                </a:lnTo>
                <a:lnTo>
                  <a:pt x="3762" y="9769"/>
                </a:lnTo>
                <a:lnTo>
                  <a:pt x="3908" y="9867"/>
                </a:lnTo>
                <a:lnTo>
                  <a:pt x="4030" y="9891"/>
                </a:lnTo>
                <a:lnTo>
                  <a:pt x="4177" y="9867"/>
                </a:lnTo>
                <a:lnTo>
                  <a:pt x="4250" y="9843"/>
                </a:lnTo>
                <a:lnTo>
                  <a:pt x="4324" y="9818"/>
                </a:lnTo>
                <a:lnTo>
                  <a:pt x="4372" y="9769"/>
                </a:lnTo>
                <a:lnTo>
                  <a:pt x="4494" y="9745"/>
                </a:lnTo>
                <a:lnTo>
                  <a:pt x="4641" y="9720"/>
                </a:lnTo>
                <a:lnTo>
                  <a:pt x="4959" y="9720"/>
                </a:lnTo>
                <a:lnTo>
                  <a:pt x="5105" y="9769"/>
                </a:lnTo>
                <a:lnTo>
                  <a:pt x="5252" y="9818"/>
                </a:lnTo>
                <a:lnTo>
                  <a:pt x="5349" y="9916"/>
                </a:lnTo>
                <a:lnTo>
                  <a:pt x="5447" y="9989"/>
                </a:lnTo>
                <a:lnTo>
                  <a:pt x="5545" y="10038"/>
                </a:lnTo>
                <a:lnTo>
                  <a:pt x="5642" y="10087"/>
                </a:lnTo>
                <a:lnTo>
                  <a:pt x="5740" y="10087"/>
                </a:lnTo>
                <a:lnTo>
                  <a:pt x="5838" y="10136"/>
                </a:lnTo>
                <a:lnTo>
                  <a:pt x="5984" y="10209"/>
                </a:lnTo>
                <a:lnTo>
                  <a:pt x="6155" y="10331"/>
                </a:lnTo>
                <a:lnTo>
                  <a:pt x="6302" y="10478"/>
                </a:lnTo>
                <a:lnTo>
                  <a:pt x="6473" y="10624"/>
                </a:lnTo>
                <a:lnTo>
                  <a:pt x="6644" y="10746"/>
                </a:lnTo>
                <a:lnTo>
                  <a:pt x="6790" y="10819"/>
                </a:lnTo>
                <a:lnTo>
                  <a:pt x="6888" y="10844"/>
                </a:lnTo>
                <a:lnTo>
                  <a:pt x="6961" y="10868"/>
                </a:lnTo>
                <a:lnTo>
                  <a:pt x="7083" y="10917"/>
                </a:lnTo>
                <a:lnTo>
                  <a:pt x="7181" y="10966"/>
                </a:lnTo>
                <a:lnTo>
                  <a:pt x="7254" y="11039"/>
                </a:lnTo>
                <a:lnTo>
                  <a:pt x="7352" y="11113"/>
                </a:lnTo>
                <a:lnTo>
                  <a:pt x="7450" y="11186"/>
                </a:lnTo>
                <a:lnTo>
                  <a:pt x="7547" y="11210"/>
                </a:lnTo>
                <a:lnTo>
                  <a:pt x="7645" y="11235"/>
                </a:lnTo>
                <a:lnTo>
                  <a:pt x="7743" y="11259"/>
                </a:lnTo>
                <a:lnTo>
                  <a:pt x="7840" y="11283"/>
                </a:lnTo>
                <a:lnTo>
                  <a:pt x="7938" y="11357"/>
                </a:lnTo>
                <a:lnTo>
                  <a:pt x="8036" y="11430"/>
                </a:lnTo>
                <a:lnTo>
                  <a:pt x="8109" y="11528"/>
                </a:lnTo>
                <a:lnTo>
                  <a:pt x="8158" y="11625"/>
                </a:lnTo>
                <a:lnTo>
                  <a:pt x="8207" y="11723"/>
                </a:lnTo>
                <a:lnTo>
                  <a:pt x="8207" y="11796"/>
                </a:lnTo>
                <a:lnTo>
                  <a:pt x="8207" y="11894"/>
                </a:lnTo>
                <a:lnTo>
                  <a:pt x="8158" y="11992"/>
                </a:lnTo>
                <a:lnTo>
                  <a:pt x="8109" y="12089"/>
                </a:lnTo>
                <a:lnTo>
                  <a:pt x="8036" y="12187"/>
                </a:lnTo>
                <a:lnTo>
                  <a:pt x="7963" y="12285"/>
                </a:lnTo>
                <a:lnTo>
                  <a:pt x="7889" y="12383"/>
                </a:lnTo>
                <a:lnTo>
                  <a:pt x="7840" y="12480"/>
                </a:lnTo>
                <a:lnTo>
                  <a:pt x="7840" y="12578"/>
                </a:lnTo>
                <a:lnTo>
                  <a:pt x="7816" y="12676"/>
                </a:lnTo>
                <a:lnTo>
                  <a:pt x="7718" y="12822"/>
                </a:lnTo>
                <a:lnTo>
                  <a:pt x="7596" y="12969"/>
                </a:lnTo>
                <a:lnTo>
                  <a:pt x="7450" y="13140"/>
                </a:lnTo>
                <a:lnTo>
                  <a:pt x="7303" y="13311"/>
                </a:lnTo>
                <a:lnTo>
                  <a:pt x="7181" y="13457"/>
                </a:lnTo>
                <a:lnTo>
                  <a:pt x="7108" y="13604"/>
                </a:lnTo>
                <a:lnTo>
                  <a:pt x="7083" y="13701"/>
                </a:lnTo>
                <a:lnTo>
                  <a:pt x="7034" y="13823"/>
                </a:lnTo>
                <a:lnTo>
                  <a:pt x="6961" y="13970"/>
                </a:lnTo>
                <a:lnTo>
                  <a:pt x="6839" y="14117"/>
                </a:lnTo>
                <a:lnTo>
                  <a:pt x="6693" y="14288"/>
                </a:lnTo>
                <a:lnTo>
                  <a:pt x="6546" y="14434"/>
                </a:lnTo>
                <a:lnTo>
                  <a:pt x="6424" y="14605"/>
                </a:lnTo>
                <a:lnTo>
                  <a:pt x="6351" y="14752"/>
                </a:lnTo>
                <a:lnTo>
                  <a:pt x="6302" y="14849"/>
                </a:lnTo>
                <a:lnTo>
                  <a:pt x="6277" y="14947"/>
                </a:lnTo>
                <a:lnTo>
                  <a:pt x="6229" y="15069"/>
                </a:lnTo>
                <a:lnTo>
                  <a:pt x="6131" y="15216"/>
                </a:lnTo>
                <a:lnTo>
                  <a:pt x="6033" y="15338"/>
                </a:lnTo>
                <a:lnTo>
                  <a:pt x="5911" y="15460"/>
                </a:lnTo>
                <a:lnTo>
                  <a:pt x="5813" y="15582"/>
                </a:lnTo>
                <a:lnTo>
                  <a:pt x="5764" y="15704"/>
                </a:lnTo>
                <a:lnTo>
                  <a:pt x="5740" y="15802"/>
                </a:lnTo>
                <a:lnTo>
                  <a:pt x="5764" y="15973"/>
                </a:lnTo>
                <a:lnTo>
                  <a:pt x="5789" y="16046"/>
                </a:lnTo>
                <a:lnTo>
                  <a:pt x="5838" y="16095"/>
                </a:lnTo>
                <a:lnTo>
                  <a:pt x="5862" y="16144"/>
                </a:lnTo>
                <a:lnTo>
                  <a:pt x="5911" y="16217"/>
                </a:lnTo>
                <a:lnTo>
                  <a:pt x="5935" y="16388"/>
                </a:lnTo>
                <a:lnTo>
                  <a:pt x="5911" y="16461"/>
                </a:lnTo>
                <a:lnTo>
                  <a:pt x="5862" y="16510"/>
                </a:lnTo>
                <a:lnTo>
                  <a:pt x="5813" y="16559"/>
                </a:lnTo>
                <a:lnTo>
                  <a:pt x="5642" y="16559"/>
                </a:lnTo>
                <a:lnTo>
                  <a:pt x="5545" y="16510"/>
                </a:lnTo>
                <a:lnTo>
                  <a:pt x="5447" y="16461"/>
                </a:lnTo>
                <a:lnTo>
                  <a:pt x="5349" y="16388"/>
                </a:lnTo>
                <a:lnTo>
                  <a:pt x="5276" y="16266"/>
                </a:lnTo>
                <a:lnTo>
                  <a:pt x="5227" y="16119"/>
                </a:lnTo>
                <a:lnTo>
                  <a:pt x="5178" y="15973"/>
                </a:lnTo>
                <a:lnTo>
                  <a:pt x="5178" y="15802"/>
                </a:lnTo>
                <a:lnTo>
                  <a:pt x="5154" y="15655"/>
                </a:lnTo>
                <a:lnTo>
                  <a:pt x="5105" y="15484"/>
                </a:lnTo>
                <a:lnTo>
                  <a:pt x="5056" y="15338"/>
                </a:lnTo>
                <a:lnTo>
                  <a:pt x="4983" y="15240"/>
                </a:lnTo>
                <a:lnTo>
                  <a:pt x="4934" y="15191"/>
                </a:lnTo>
                <a:lnTo>
                  <a:pt x="4910" y="15093"/>
                </a:lnTo>
                <a:lnTo>
                  <a:pt x="4836" y="14849"/>
                </a:lnTo>
                <a:lnTo>
                  <a:pt x="4812" y="14556"/>
                </a:lnTo>
                <a:lnTo>
                  <a:pt x="4788" y="14214"/>
                </a:lnTo>
                <a:lnTo>
                  <a:pt x="4788" y="13970"/>
                </a:lnTo>
                <a:lnTo>
                  <a:pt x="4788" y="13799"/>
                </a:lnTo>
                <a:lnTo>
                  <a:pt x="4739" y="13604"/>
                </a:lnTo>
                <a:lnTo>
                  <a:pt x="4714" y="13433"/>
                </a:lnTo>
                <a:lnTo>
                  <a:pt x="4641" y="13237"/>
                </a:lnTo>
                <a:lnTo>
                  <a:pt x="4568" y="13066"/>
                </a:lnTo>
                <a:lnTo>
                  <a:pt x="4494" y="12920"/>
                </a:lnTo>
                <a:lnTo>
                  <a:pt x="4397" y="12773"/>
                </a:lnTo>
                <a:lnTo>
                  <a:pt x="4324" y="12676"/>
                </a:lnTo>
                <a:lnTo>
                  <a:pt x="4128" y="12456"/>
                </a:lnTo>
                <a:lnTo>
                  <a:pt x="3982" y="12260"/>
                </a:lnTo>
                <a:lnTo>
                  <a:pt x="3884" y="12114"/>
                </a:lnTo>
                <a:lnTo>
                  <a:pt x="3835" y="11992"/>
                </a:lnTo>
                <a:lnTo>
                  <a:pt x="3811" y="11845"/>
                </a:lnTo>
                <a:lnTo>
                  <a:pt x="3786" y="11772"/>
                </a:lnTo>
                <a:lnTo>
                  <a:pt x="3737" y="11723"/>
                </a:lnTo>
                <a:lnTo>
                  <a:pt x="3713" y="11650"/>
                </a:lnTo>
                <a:lnTo>
                  <a:pt x="3664" y="11528"/>
                </a:lnTo>
                <a:lnTo>
                  <a:pt x="3664" y="11381"/>
                </a:lnTo>
                <a:lnTo>
                  <a:pt x="3640" y="11235"/>
                </a:lnTo>
                <a:lnTo>
                  <a:pt x="3664" y="11088"/>
                </a:lnTo>
                <a:lnTo>
                  <a:pt x="3664" y="10942"/>
                </a:lnTo>
                <a:lnTo>
                  <a:pt x="3713" y="10819"/>
                </a:lnTo>
                <a:lnTo>
                  <a:pt x="3737" y="10771"/>
                </a:lnTo>
                <a:lnTo>
                  <a:pt x="3786" y="10697"/>
                </a:lnTo>
                <a:lnTo>
                  <a:pt x="3811" y="10648"/>
                </a:lnTo>
                <a:lnTo>
                  <a:pt x="3835" y="10478"/>
                </a:lnTo>
                <a:lnTo>
                  <a:pt x="3811" y="10307"/>
                </a:lnTo>
                <a:lnTo>
                  <a:pt x="3786" y="10233"/>
                </a:lnTo>
                <a:lnTo>
                  <a:pt x="3737" y="10184"/>
                </a:lnTo>
                <a:lnTo>
                  <a:pt x="3689" y="10160"/>
                </a:lnTo>
                <a:lnTo>
                  <a:pt x="3615" y="10111"/>
                </a:lnTo>
                <a:lnTo>
                  <a:pt x="3444" y="10087"/>
                </a:lnTo>
                <a:lnTo>
                  <a:pt x="3347" y="10062"/>
                </a:lnTo>
                <a:lnTo>
                  <a:pt x="3200" y="9989"/>
                </a:lnTo>
                <a:lnTo>
                  <a:pt x="3054" y="9867"/>
                </a:lnTo>
                <a:lnTo>
                  <a:pt x="2883" y="9720"/>
                </a:lnTo>
                <a:lnTo>
                  <a:pt x="2712" y="9574"/>
                </a:lnTo>
                <a:lnTo>
                  <a:pt x="2565" y="9452"/>
                </a:lnTo>
                <a:lnTo>
                  <a:pt x="2419" y="9354"/>
                </a:lnTo>
                <a:lnTo>
                  <a:pt x="2321" y="9330"/>
                </a:lnTo>
                <a:lnTo>
                  <a:pt x="2199" y="9281"/>
                </a:lnTo>
                <a:lnTo>
                  <a:pt x="2003" y="9159"/>
                </a:lnTo>
                <a:lnTo>
                  <a:pt x="1784" y="8988"/>
                </a:lnTo>
                <a:lnTo>
                  <a:pt x="1539" y="8768"/>
                </a:lnTo>
                <a:lnTo>
                  <a:pt x="1246" y="8402"/>
                </a:lnTo>
                <a:lnTo>
                  <a:pt x="1078" y="8185"/>
                </a:lnTo>
                <a:lnTo>
                  <a:pt x="1124" y="7840"/>
                </a:lnTo>
                <a:lnTo>
                  <a:pt x="1197" y="7473"/>
                </a:lnTo>
                <a:lnTo>
                  <a:pt x="1295" y="7132"/>
                </a:lnTo>
                <a:lnTo>
                  <a:pt x="1393" y="6790"/>
                </a:lnTo>
                <a:lnTo>
                  <a:pt x="1515" y="6448"/>
                </a:lnTo>
                <a:lnTo>
                  <a:pt x="1637" y="6106"/>
                </a:lnTo>
                <a:lnTo>
                  <a:pt x="1784" y="5788"/>
                </a:lnTo>
                <a:lnTo>
                  <a:pt x="1954" y="5471"/>
                </a:lnTo>
                <a:lnTo>
                  <a:pt x="2125" y="5153"/>
                </a:lnTo>
                <a:lnTo>
                  <a:pt x="2296" y="4860"/>
                </a:lnTo>
                <a:lnTo>
                  <a:pt x="2516" y="4567"/>
                </a:lnTo>
                <a:lnTo>
                  <a:pt x="2712" y="4298"/>
                </a:lnTo>
                <a:lnTo>
                  <a:pt x="3151" y="3737"/>
                </a:lnTo>
                <a:lnTo>
                  <a:pt x="3664" y="3248"/>
                </a:lnTo>
                <a:lnTo>
                  <a:pt x="4079" y="3248"/>
                </a:lnTo>
                <a:lnTo>
                  <a:pt x="4299" y="3297"/>
                </a:lnTo>
                <a:lnTo>
                  <a:pt x="4470" y="3346"/>
                </a:lnTo>
                <a:lnTo>
                  <a:pt x="4592" y="3419"/>
                </a:lnTo>
                <a:lnTo>
                  <a:pt x="4690" y="3493"/>
                </a:lnTo>
                <a:lnTo>
                  <a:pt x="4788" y="3517"/>
                </a:lnTo>
                <a:lnTo>
                  <a:pt x="4885" y="3493"/>
                </a:lnTo>
                <a:lnTo>
                  <a:pt x="4983" y="3419"/>
                </a:lnTo>
                <a:lnTo>
                  <a:pt x="5056" y="3346"/>
                </a:lnTo>
                <a:lnTo>
                  <a:pt x="5178" y="3297"/>
                </a:lnTo>
                <a:lnTo>
                  <a:pt x="5276" y="3248"/>
                </a:lnTo>
                <a:lnTo>
                  <a:pt x="5349" y="3248"/>
                </a:lnTo>
                <a:lnTo>
                  <a:pt x="5471" y="3199"/>
                </a:lnTo>
                <a:lnTo>
                  <a:pt x="5594" y="3126"/>
                </a:lnTo>
                <a:lnTo>
                  <a:pt x="5764" y="3004"/>
                </a:lnTo>
                <a:lnTo>
                  <a:pt x="5935" y="2858"/>
                </a:lnTo>
                <a:lnTo>
                  <a:pt x="6131" y="2711"/>
                </a:lnTo>
                <a:lnTo>
                  <a:pt x="6375" y="2589"/>
                </a:lnTo>
                <a:lnTo>
                  <a:pt x="6619" y="2516"/>
                </a:lnTo>
                <a:lnTo>
                  <a:pt x="6888" y="2467"/>
                </a:lnTo>
                <a:close/>
                <a:moveTo>
                  <a:pt x="9379" y="0"/>
                </a:moveTo>
                <a:lnTo>
                  <a:pt x="8891" y="24"/>
                </a:lnTo>
                <a:lnTo>
                  <a:pt x="8427" y="49"/>
                </a:lnTo>
                <a:lnTo>
                  <a:pt x="7963" y="122"/>
                </a:lnTo>
                <a:lnTo>
                  <a:pt x="7499" y="195"/>
                </a:lnTo>
                <a:lnTo>
                  <a:pt x="7034" y="293"/>
                </a:lnTo>
                <a:lnTo>
                  <a:pt x="6595" y="440"/>
                </a:lnTo>
                <a:lnTo>
                  <a:pt x="6155" y="586"/>
                </a:lnTo>
                <a:lnTo>
                  <a:pt x="5740" y="733"/>
                </a:lnTo>
                <a:lnTo>
                  <a:pt x="5325" y="928"/>
                </a:lnTo>
                <a:lnTo>
                  <a:pt x="4910" y="1148"/>
                </a:lnTo>
                <a:lnTo>
                  <a:pt x="4519" y="1368"/>
                </a:lnTo>
                <a:lnTo>
                  <a:pt x="4128" y="1612"/>
                </a:lnTo>
                <a:lnTo>
                  <a:pt x="3762" y="1881"/>
                </a:lnTo>
                <a:lnTo>
                  <a:pt x="3420" y="2149"/>
                </a:lnTo>
                <a:lnTo>
                  <a:pt x="3078" y="2442"/>
                </a:lnTo>
                <a:lnTo>
                  <a:pt x="2760" y="2760"/>
                </a:lnTo>
                <a:lnTo>
                  <a:pt x="2443" y="3077"/>
                </a:lnTo>
                <a:lnTo>
                  <a:pt x="2150" y="3419"/>
                </a:lnTo>
                <a:lnTo>
                  <a:pt x="1881" y="3761"/>
                </a:lnTo>
                <a:lnTo>
                  <a:pt x="1613" y="4128"/>
                </a:lnTo>
                <a:lnTo>
                  <a:pt x="1368" y="4518"/>
                </a:lnTo>
                <a:lnTo>
                  <a:pt x="1149" y="4909"/>
                </a:lnTo>
                <a:lnTo>
                  <a:pt x="929" y="5324"/>
                </a:lnTo>
                <a:lnTo>
                  <a:pt x="733" y="5739"/>
                </a:lnTo>
                <a:lnTo>
                  <a:pt x="587" y="6155"/>
                </a:lnTo>
                <a:lnTo>
                  <a:pt x="440" y="6594"/>
                </a:lnTo>
                <a:lnTo>
                  <a:pt x="294" y="7034"/>
                </a:lnTo>
                <a:lnTo>
                  <a:pt x="196" y="7498"/>
                </a:lnTo>
                <a:lnTo>
                  <a:pt x="123" y="7962"/>
                </a:lnTo>
                <a:lnTo>
                  <a:pt x="49" y="8426"/>
                </a:lnTo>
                <a:lnTo>
                  <a:pt x="25" y="8890"/>
                </a:lnTo>
                <a:lnTo>
                  <a:pt x="1" y="9378"/>
                </a:lnTo>
                <a:lnTo>
                  <a:pt x="25" y="9867"/>
                </a:lnTo>
                <a:lnTo>
                  <a:pt x="49" y="10331"/>
                </a:lnTo>
                <a:lnTo>
                  <a:pt x="123" y="10795"/>
                </a:lnTo>
                <a:lnTo>
                  <a:pt x="196" y="11259"/>
                </a:lnTo>
                <a:lnTo>
                  <a:pt x="294" y="11723"/>
                </a:lnTo>
                <a:lnTo>
                  <a:pt x="440" y="12163"/>
                </a:lnTo>
                <a:lnTo>
                  <a:pt x="587" y="12602"/>
                </a:lnTo>
                <a:lnTo>
                  <a:pt x="733" y="13018"/>
                </a:lnTo>
                <a:lnTo>
                  <a:pt x="929" y="13433"/>
                </a:lnTo>
                <a:lnTo>
                  <a:pt x="1149" y="13848"/>
                </a:lnTo>
                <a:lnTo>
                  <a:pt x="1368" y="14239"/>
                </a:lnTo>
                <a:lnTo>
                  <a:pt x="1613" y="14629"/>
                </a:lnTo>
                <a:lnTo>
                  <a:pt x="1881" y="14996"/>
                </a:lnTo>
                <a:lnTo>
                  <a:pt x="2150" y="15338"/>
                </a:lnTo>
                <a:lnTo>
                  <a:pt x="2443" y="15680"/>
                </a:lnTo>
                <a:lnTo>
                  <a:pt x="2760" y="15997"/>
                </a:lnTo>
                <a:lnTo>
                  <a:pt x="3078" y="16315"/>
                </a:lnTo>
                <a:lnTo>
                  <a:pt x="3420" y="16608"/>
                </a:lnTo>
                <a:lnTo>
                  <a:pt x="3762" y="16876"/>
                </a:lnTo>
                <a:lnTo>
                  <a:pt x="4128" y="17145"/>
                </a:lnTo>
                <a:lnTo>
                  <a:pt x="4519" y="17389"/>
                </a:lnTo>
                <a:lnTo>
                  <a:pt x="4910" y="17609"/>
                </a:lnTo>
                <a:lnTo>
                  <a:pt x="5325" y="17829"/>
                </a:lnTo>
                <a:lnTo>
                  <a:pt x="5740" y="18024"/>
                </a:lnTo>
                <a:lnTo>
                  <a:pt x="6155" y="18171"/>
                </a:lnTo>
                <a:lnTo>
                  <a:pt x="6595" y="18317"/>
                </a:lnTo>
                <a:lnTo>
                  <a:pt x="7034" y="18464"/>
                </a:lnTo>
                <a:lnTo>
                  <a:pt x="7499" y="18562"/>
                </a:lnTo>
                <a:lnTo>
                  <a:pt x="7963" y="18635"/>
                </a:lnTo>
                <a:lnTo>
                  <a:pt x="8427" y="18708"/>
                </a:lnTo>
                <a:lnTo>
                  <a:pt x="8891" y="18733"/>
                </a:lnTo>
                <a:lnTo>
                  <a:pt x="9379" y="18757"/>
                </a:lnTo>
                <a:lnTo>
                  <a:pt x="9868" y="18733"/>
                </a:lnTo>
                <a:lnTo>
                  <a:pt x="10332" y="18708"/>
                </a:lnTo>
                <a:lnTo>
                  <a:pt x="10796" y="18635"/>
                </a:lnTo>
                <a:lnTo>
                  <a:pt x="11260" y="18562"/>
                </a:lnTo>
                <a:lnTo>
                  <a:pt x="11724" y="18464"/>
                </a:lnTo>
                <a:lnTo>
                  <a:pt x="12163" y="18317"/>
                </a:lnTo>
                <a:lnTo>
                  <a:pt x="12603" y="18171"/>
                </a:lnTo>
                <a:lnTo>
                  <a:pt x="13018" y="18024"/>
                </a:lnTo>
                <a:lnTo>
                  <a:pt x="13433" y="17829"/>
                </a:lnTo>
                <a:lnTo>
                  <a:pt x="13848" y="17609"/>
                </a:lnTo>
                <a:lnTo>
                  <a:pt x="14239" y="17389"/>
                </a:lnTo>
                <a:lnTo>
                  <a:pt x="14630" y="17145"/>
                </a:lnTo>
                <a:lnTo>
                  <a:pt x="14996" y="16876"/>
                </a:lnTo>
                <a:lnTo>
                  <a:pt x="15338" y="16608"/>
                </a:lnTo>
                <a:lnTo>
                  <a:pt x="15680" y="16315"/>
                </a:lnTo>
                <a:lnTo>
                  <a:pt x="15998" y="15997"/>
                </a:lnTo>
                <a:lnTo>
                  <a:pt x="16315" y="15680"/>
                </a:lnTo>
                <a:lnTo>
                  <a:pt x="16608" y="15338"/>
                </a:lnTo>
                <a:lnTo>
                  <a:pt x="16877" y="14996"/>
                </a:lnTo>
                <a:lnTo>
                  <a:pt x="17146" y="14629"/>
                </a:lnTo>
                <a:lnTo>
                  <a:pt x="17390" y="14239"/>
                </a:lnTo>
                <a:lnTo>
                  <a:pt x="17610" y="13848"/>
                </a:lnTo>
                <a:lnTo>
                  <a:pt x="17829" y="13433"/>
                </a:lnTo>
                <a:lnTo>
                  <a:pt x="18025" y="13018"/>
                </a:lnTo>
                <a:lnTo>
                  <a:pt x="18171" y="12602"/>
                </a:lnTo>
                <a:lnTo>
                  <a:pt x="18318" y="12163"/>
                </a:lnTo>
                <a:lnTo>
                  <a:pt x="18464" y="11723"/>
                </a:lnTo>
                <a:lnTo>
                  <a:pt x="18562" y="11259"/>
                </a:lnTo>
                <a:lnTo>
                  <a:pt x="18635" y="10795"/>
                </a:lnTo>
                <a:lnTo>
                  <a:pt x="18709" y="10331"/>
                </a:lnTo>
                <a:lnTo>
                  <a:pt x="18733" y="9867"/>
                </a:lnTo>
                <a:lnTo>
                  <a:pt x="18758" y="9378"/>
                </a:lnTo>
                <a:lnTo>
                  <a:pt x="18733" y="8890"/>
                </a:lnTo>
                <a:lnTo>
                  <a:pt x="18709" y="8426"/>
                </a:lnTo>
                <a:lnTo>
                  <a:pt x="18635" y="7962"/>
                </a:lnTo>
                <a:lnTo>
                  <a:pt x="18562" y="7498"/>
                </a:lnTo>
                <a:lnTo>
                  <a:pt x="18464" y="7034"/>
                </a:lnTo>
                <a:lnTo>
                  <a:pt x="18318" y="6594"/>
                </a:lnTo>
                <a:lnTo>
                  <a:pt x="18171" y="6155"/>
                </a:lnTo>
                <a:lnTo>
                  <a:pt x="18025" y="5739"/>
                </a:lnTo>
                <a:lnTo>
                  <a:pt x="17829" y="5324"/>
                </a:lnTo>
                <a:lnTo>
                  <a:pt x="17610" y="4909"/>
                </a:lnTo>
                <a:lnTo>
                  <a:pt x="17390" y="4518"/>
                </a:lnTo>
                <a:lnTo>
                  <a:pt x="17146" y="4128"/>
                </a:lnTo>
                <a:lnTo>
                  <a:pt x="16877" y="3761"/>
                </a:lnTo>
                <a:lnTo>
                  <a:pt x="16608" y="3419"/>
                </a:lnTo>
                <a:lnTo>
                  <a:pt x="16315" y="3077"/>
                </a:lnTo>
                <a:lnTo>
                  <a:pt x="15998" y="2760"/>
                </a:lnTo>
                <a:lnTo>
                  <a:pt x="15680" y="2442"/>
                </a:lnTo>
                <a:lnTo>
                  <a:pt x="15338" y="2149"/>
                </a:lnTo>
                <a:lnTo>
                  <a:pt x="14996" y="1881"/>
                </a:lnTo>
                <a:lnTo>
                  <a:pt x="14630" y="1612"/>
                </a:lnTo>
                <a:lnTo>
                  <a:pt x="14239" y="1368"/>
                </a:lnTo>
                <a:lnTo>
                  <a:pt x="13848" y="1148"/>
                </a:lnTo>
                <a:lnTo>
                  <a:pt x="13433" y="928"/>
                </a:lnTo>
                <a:lnTo>
                  <a:pt x="13018" y="733"/>
                </a:lnTo>
                <a:lnTo>
                  <a:pt x="12603" y="586"/>
                </a:lnTo>
                <a:lnTo>
                  <a:pt x="12163" y="440"/>
                </a:lnTo>
                <a:lnTo>
                  <a:pt x="11724" y="293"/>
                </a:lnTo>
                <a:lnTo>
                  <a:pt x="11260" y="195"/>
                </a:lnTo>
                <a:lnTo>
                  <a:pt x="10796" y="122"/>
                </a:lnTo>
                <a:lnTo>
                  <a:pt x="10332" y="49"/>
                </a:lnTo>
                <a:lnTo>
                  <a:pt x="9868" y="24"/>
                </a:lnTo>
                <a:lnTo>
                  <a:pt x="937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01" name="Shape 530"/>
          <p:cNvGrpSpPr/>
          <p:nvPr/>
        </p:nvGrpSpPr>
        <p:grpSpPr>
          <a:xfrm>
            <a:off x="7336923" y="4344766"/>
            <a:ext cx="312389" cy="312408"/>
            <a:chOff x="6654650" y="3665275"/>
            <a:chExt cx="409100" cy="409125"/>
          </a:xfrm>
        </p:grpSpPr>
        <p:sp>
          <p:nvSpPr>
            <p:cNvPr id="202" name="Shape 531"/>
            <p:cNvSpPr/>
            <p:nvPr/>
          </p:nvSpPr>
          <p:spPr>
            <a:xfrm>
              <a:off x="6808525" y="3819150"/>
              <a:ext cx="211875" cy="211900"/>
            </a:xfrm>
            <a:custGeom>
              <a:avLst/>
              <a:gdLst/>
              <a:ahLst/>
              <a:cxnLst/>
              <a:rect l="0" t="0" r="0" b="0"/>
              <a:pathLst>
                <a:path w="8475" h="8476" extrusionOk="0">
                  <a:moveTo>
                    <a:pt x="8157" y="0"/>
                  </a:moveTo>
                  <a:lnTo>
                    <a:pt x="7327" y="1075"/>
                  </a:lnTo>
                  <a:lnTo>
                    <a:pt x="6399" y="2150"/>
                  </a:lnTo>
                  <a:lnTo>
                    <a:pt x="5422" y="3249"/>
                  </a:lnTo>
                  <a:lnTo>
                    <a:pt x="4347" y="4348"/>
                  </a:lnTo>
                  <a:lnTo>
                    <a:pt x="3248" y="5422"/>
                  </a:lnTo>
                  <a:lnTo>
                    <a:pt x="2149" y="6399"/>
                  </a:lnTo>
                  <a:lnTo>
                    <a:pt x="1075" y="7327"/>
                  </a:lnTo>
                  <a:lnTo>
                    <a:pt x="0" y="8158"/>
                  </a:lnTo>
                  <a:lnTo>
                    <a:pt x="440" y="8280"/>
                  </a:lnTo>
                  <a:lnTo>
                    <a:pt x="855" y="8377"/>
                  </a:lnTo>
                  <a:lnTo>
                    <a:pt x="1294" y="8426"/>
                  </a:lnTo>
                  <a:lnTo>
                    <a:pt x="1734" y="8475"/>
                  </a:lnTo>
                  <a:lnTo>
                    <a:pt x="2174" y="8475"/>
                  </a:lnTo>
                  <a:lnTo>
                    <a:pt x="2613" y="8451"/>
                  </a:lnTo>
                  <a:lnTo>
                    <a:pt x="3028" y="8402"/>
                  </a:lnTo>
                  <a:lnTo>
                    <a:pt x="3468" y="8304"/>
                  </a:lnTo>
                  <a:lnTo>
                    <a:pt x="3883" y="8207"/>
                  </a:lnTo>
                  <a:lnTo>
                    <a:pt x="4323" y="8060"/>
                  </a:lnTo>
                  <a:lnTo>
                    <a:pt x="4714" y="7889"/>
                  </a:lnTo>
                  <a:lnTo>
                    <a:pt x="5129" y="7694"/>
                  </a:lnTo>
                  <a:lnTo>
                    <a:pt x="5520" y="7449"/>
                  </a:lnTo>
                  <a:lnTo>
                    <a:pt x="5886" y="7205"/>
                  </a:lnTo>
                  <a:lnTo>
                    <a:pt x="6252" y="6912"/>
                  </a:lnTo>
                  <a:lnTo>
                    <a:pt x="6594" y="6595"/>
                  </a:lnTo>
                  <a:lnTo>
                    <a:pt x="6912" y="6253"/>
                  </a:lnTo>
                  <a:lnTo>
                    <a:pt x="7205" y="5886"/>
                  </a:lnTo>
                  <a:lnTo>
                    <a:pt x="7449" y="5520"/>
                  </a:lnTo>
                  <a:lnTo>
                    <a:pt x="7693" y="5129"/>
                  </a:lnTo>
                  <a:lnTo>
                    <a:pt x="7889" y="4714"/>
                  </a:lnTo>
                  <a:lnTo>
                    <a:pt x="8060" y="4323"/>
                  </a:lnTo>
                  <a:lnTo>
                    <a:pt x="8206" y="3884"/>
                  </a:lnTo>
                  <a:lnTo>
                    <a:pt x="8304" y="3468"/>
                  </a:lnTo>
                  <a:lnTo>
                    <a:pt x="8402" y="3029"/>
                  </a:lnTo>
                  <a:lnTo>
                    <a:pt x="8450" y="2614"/>
                  </a:lnTo>
                  <a:lnTo>
                    <a:pt x="8475" y="2174"/>
                  </a:lnTo>
                  <a:lnTo>
                    <a:pt x="8475" y="1734"/>
                  </a:lnTo>
                  <a:lnTo>
                    <a:pt x="8426" y="1295"/>
                  </a:lnTo>
                  <a:lnTo>
                    <a:pt x="8377" y="855"/>
                  </a:lnTo>
                  <a:lnTo>
                    <a:pt x="8279" y="440"/>
                  </a:lnTo>
                  <a:lnTo>
                    <a:pt x="815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03" name="Shape 532"/>
            <p:cNvSpPr/>
            <p:nvPr/>
          </p:nvSpPr>
          <p:spPr>
            <a:xfrm>
              <a:off x="6654650" y="3665275"/>
              <a:ext cx="409100" cy="409125"/>
            </a:xfrm>
            <a:custGeom>
              <a:avLst/>
              <a:gdLst/>
              <a:ahLst/>
              <a:cxnLst/>
              <a:rect l="0" t="0" r="0" b="0"/>
              <a:pathLst>
                <a:path w="16364" h="16365" extrusionOk="0">
                  <a:moveTo>
                    <a:pt x="13580" y="1686"/>
                  </a:moveTo>
                  <a:lnTo>
                    <a:pt x="13677" y="1735"/>
                  </a:lnTo>
                  <a:lnTo>
                    <a:pt x="13775" y="1759"/>
                  </a:lnTo>
                  <a:lnTo>
                    <a:pt x="13848" y="1832"/>
                  </a:lnTo>
                  <a:lnTo>
                    <a:pt x="13897" y="1906"/>
                  </a:lnTo>
                  <a:lnTo>
                    <a:pt x="13946" y="1979"/>
                  </a:lnTo>
                  <a:lnTo>
                    <a:pt x="13970" y="2077"/>
                  </a:lnTo>
                  <a:lnTo>
                    <a:pt x="13995" y="2174"/>
                  </a:lnTo>
                  <a:lnTo>
                    <a:pt x="13995" y="2419"/>
                  </a:lnTo>
                  <a:lnTo>
                    <a:pt x="13922" y="2687"/>
                  </a:lnTo>
                  <a:lnTo>
                    <a:pt x="13824" y="3029"/>
                  </a:lnTo>
                  <a:lnTo>
                    <a:pt x="13677" y="3371"/>
                  </a:lnTo>
                  <a:lnTo>
                    <a:pt x="13482" y="3762"/>
                  </a:lnTo>
                  <a:lnTo>
                    <a:pt x="13238" y="4177"/>
                  </a:lnTo>
                  <a:lnTo>
                    <a:pt x="12993" y="3908"/>
                  </a:lnTo>
                  <a:lnTo>
                    <a:pt x="12749" y="3615"/>
                  </a:lnTo>
                  <a:lnTo>
                    <a:pt x="12407" y="3298"/>
                  </a:lnTo>
                  <a:lnTo>
                    <a:pt x="12041" y="3029"/>
                  </a:lnTo>
                  <a:lnTo>
                    <a:pt x="11675" y="2761"/>
                  </a:lnTo>
                  <a:lnTo>
                    <a:pt x="11308" y="2541"/>
                  </a:lnTo>
                  <a:lnTo>
                    <a:pt x="11748" y="2272"/>
                  </a:lnTo>
                  <a:lnTo>
                    <a:pt x="12187" y="2052"/>
                  </a:lnTo>
                  <a:lnTo>
                    <a:pt x="12554" y="1881"/>
                  </a:lnTo>
                  <a:lnTo>
                    <a:pt x="12920" y="1759"/>
                  </a:lnTo>
                  <a:lnTo>
                    <a:pt x="13213" y="1686"/>
                  </a:lnTo>
                  <a:close/>
                  <a:moveTo>
                    <a:pt x="9721" y="3591"/>
                  </a:moveTo>
                  <a:lnTo>
                    <a:pt x="9794" y="3615"/>
                  </a:lnTo>
                  <a:lnTo>
                    <a:pt x="9916" y="3713"/>
                  </a:lnTo>
                  <a:lnTo>
                    <a:pt x="10014" y="3835"/>
                  </a:lnTo>
                  <a:lnTo>
                    <a:pt x="10038" y="3908"/>
                  </a:lnTo>
                  <a:lnTo>
                    <a:pt x="10038" y="3982"/>
                  </a:lnTo>
                  <a:lnTo>
                    <a:pt x="10038" y="4055"/>
                  </a:lnTo>
                  <a:lnTo>
                    <a:pt x="10014" y="4128"/>
                  </a:lnTo>
                  <a:lnTo>
                    <a:pt x="9916" y="4250"/>
                  </a:lnTo>
                  <a:lnTo>
                    <a:pt x="9794" y="4348"/>
                  </a:lnTo>
                  <a:lnTo>
                    <a:pt x="9721" y="4372"/>
                  </a:lnTo>
                  <a:lnTo>
                    <a:pt x="9574" y="4372"/>
                  </a:lnTo>
                  <a:lnTo>
                    <a:pt x="9501" y="4348"/>
                  </a:lnTo>
                  <a:lnTo>
                    <a:pt x="9379" y="4250"/>
                  </a:lnTo>
                  <a:lnTo>
                    <a:pt x="9281" y="4128"/>
                  </a:lnTo>
                  <a:lnTo>
                    <a:pt x="9257" y="4055"/>
                  </a:lnTo>
                  <a:lnTo>
                    <a:pt x="9257" y="3982"/>
                  </a:lnTo>
                  <a:lnTo>
                    <a:pt x="9257" y="3908"/>
                  </a:lnTo>
                  <a:lnTo>
                    <a:pt x="9281" y="3835"/>
                  </a:lnTo>
                  <a:lnTo>
                    <a:pt x="9379" y="3713"/>
                  </a:lnTo>
                  <a:lnTo>
                    <a:pt x="9501" y="3615"/>
                  </a:lnTo>
                  <a:lnTo>
                    <a:pt x="9574" y="3591"/>
                  </a:lnTo>
                  <a:close/>
                  <a:moveTo>
                    <a:pt x="8182" y="3322"/>
                  </a:moveTo>
                  <a:lnTo>
                    <a:pt x="8304" y="3347"/>
                  </a:lnTo>
                  <a:lnTo>
                    <a:pt x="8402" y="3371"/>
                  </a:lnTo>
                  <a:lnTo>
                    <a:pt x="8500" y="3420"/>
                  </a:lnTo>
                  <a:lnTo>
                    <a:pt x="8597" y="3493"/>
                  </a:lnTo>
                  <a:lnTo>
                    <a:pt x="8671" y="3591"/>
                  </a:lnTo>
                  <a:lnTo>
                    <a:pt x="8719" y="3689"/>
                  </a:lnTo>
                  <a:lnTo>
                    <a:pt x="8768" y="3786"/>
                  </a:lnTo>
                  <a:lnTo>
                    <a:pt x="8768" y="3908"/>
                  </a:lnTo>
                  <a:lnTo>
                    <a:pt x="8768" y="4031"/>
                  </a:lnTo>
                  <a:lnTo>
                    <a:pt x="8719" y="4153"/>
                  </a:lnTo>
                  <a:lnTo>
                    <a:pt x="8671" y="4250"/>
                  </a:lnTo>
                  <a:lnTo>
                    <a:pt x="8597" y="4324"/>
                  </a:lnTo>
                  <a:lnTo>
                    <a:pt x="8500" y="4397"/>
                  </a:lnTo>
                  <a:lnTo>
                    <a:pt x="8402" y="4446"/>
                  </a:lnTo>
                  <a:lnTo>
                    <a:pt x="8304" y="4495"/>
                  </a:lnTo>
                  <a:lnTo>
                    <a:pt x="8060" y="4495"/>
                  </a:lnTo>
                  <a:lnTo>
                    <a:pt x="7962" y="4446"/>
                  </a:lnTo>
                  <a:lnTo>
                    <a:pt x="7865" y="4397"/>
                  </a:lnTo>
                  <a:lnTo>
                    <a:pt x="7767" y="4324"/>
                  </a:lnTo>
                  <a:lnTo>
                    <a:pt x="7694" y="4250"/>
                  </a:lnTo>
                  <a:lnTo>
                    <a:pt x="7645" y="4153"/>
                  </a:lnTo>
                  <a:lnTo>
                    <a:pt x="7596" y="4031"/>
                  </a:lnTo>
                  <a:lnTo>
                    <a:pt x="7596" y="3908"/>
                  </a:lnTo>
                  <a:lnTo>
                    <a:pt x="7596" y="3786"/>
                  </a:lnTo>
                  <a:lnTo>
                    <a:pt x="7645" y="3689"/>
                  </a:lnTo>
                  <a:lnTo>
                    <a:pt x="7694" y="3591"/>
                  </a:lnTo>
                  <a:lnTo>
                    <a:pt x="7767" y="3493"/>
                  </a:lnTo>
                  <a:lnTo>
                    <a:pt x="7865" y="3420"/>
                  </a:lnTo>
                  <a:lnTo>
                    <a:pt x="7962" y="3371"/>
                  </a:lnTo>
                  <a:lnTo>
                    <a:pt x="8060" y="3347"/>
                  </a:lnTo>
                  <a:lnTo>
                    <a:pt x="8182" y="3322"/>
                  </a:lnTo>
                  <a:close/>
                  <a:moveTo>
                    <a:pt x="9086" y="4763"/>
                  </a:moveTo>
                  <a:lnTo>
                    <a:pt x="9159" y="4788"/>
                  </a:lnTo>
                  <a:lnTo>
                    <a:pt x="9281" y="4885"/>
                  </a:lnTo>
                  <a:lnTo>
                    <a:pt x="9354" y="5007"/>
                  </a:lnTo>
                  <a:lnTo>
                    <a:pt x="9379" y="5081"/>
                  </a:lnTo>
                  <a:lnTo>
                    <a:pt x="9379" y="5154"/>
                  </a:lnTo>
                  <a:lnTo>
                    <a:pt x="9379" y="5227"/>
                  </a:lnTo>
                  <a:lnTo>
                    <a:pt x="9354" y="5301"/>
                  </a:lnTo>
                  <a:lnTo>
                    <a:pt x="9281" y="5423"/>
                  </a:lnTo>
                  <a:lnTo>
                    <a:pt x="9159" y="5520"/>
                  </a:lnTo>
                  <a:lnTo>
                    <a:pt x="9086" y="5545"/>
                  </a:lnTo>
                  <a:lnTo>
                    <a:pt x="8915" y="5545"/>
                  </a:lnTo>
                  <a:lnTo>
                    <a:pt x="8842" y="5520"/>
                  </a:lnTo>
                  <a:lnTo>
                    <a:pt x="8719" y="5423"/>
                  </a:lnTo>
                  <a:lnTo>
                    <a:pt x="8646" y="5301"/>
                  </a:lnTo>
                  <a:lnTo>
                    <a:pt x="8622" y="5227"/>
                  </a:lnTo>
                  <a:lnTo>
                    <a:pt x="8597" y="5154"/>
                  </a:lnTo>
                  <a:lnTo>
                    <a:pt x="8622" y="5081"/>
                  </a:lnTo>
                  <a:lnTo>
                    <a:pt x="8646" y="5007"/>
                  </a:lnTo>
                  <a:lnTo>
                    <a:pt x="8719" y="4885"/>
                  </a:lnTo>
                  <a:lnTo>
                    <a:pt x="8842" y="4788"/>
                  </a:lnTo>
                  <a:lnTo>
                    <a:pt x="8915" y="4763"/>
                  </a:lnTo>
                  <a:close/>
                  <a:moveTo>
                    <a:pt x="2540" y="11309"/>
                  </a:moveTo>
                  <a:lnTo>
                    <a:pt x="2760" y="11675"/>
                  </a:lnTo>
                  <a:lnTo>
                    <a:pt x="3029" y="12041"/>
                  </a:lnTo>
                  <a:lnTo>
                    <a:pt x="3298" y="12408"/>
                  </a:lnTo>
                  <a:lnTo>
                    <a:pt x="3615" y="12750"/>
                  </a:lnTo>
                  <a:lnTo>
                    <a:pt x="3908" y="12994"/>
                  </a:lnTo>
                  <a:lnTo>
                    <a:pt x="4177" y="13238"/>
                  </a:lnTo>
                  <a:lnTo>
                    <a:pt x="3762" y="13482"/>
                  </a:lnTo>
                  <a:lnTo>
                    <a:pt x="3371" y="13678"/>
                  </a:lnTo>
                  <a:lnTo>
                    <a:pt x="3029" y="13824"/>
                  </a:lnTo>
                  <a:lnTo>
                    <a:pt x="2687" y="13922"/>
                  </a:lnTo>
                  <a:lnTo>
                    <a:pt x="2418" y="13995"/>
                  </a:lnTo>
                  <a:lnTo>
                    <a:pt x="2174" y="13995"/>
                  </a:lnTo>
                  <a:lnTo>
                    <a:pt x="2076" y="13971"/>
                  </a:lnTo>
                  <a:lnTo>
                    <a:pt x="1979" y="13946"/>
                  </a:lnTo>
                  <a:lnTo>
                    <a:pt x="1905" y="13897"/>
                  </a:lnTo>
                  <a:lnTo>
                    <a:pt x="1832" y="13849"/>
                  </a:lnTo>
                  <a:lnTo>
                    <a:pt x="1759" y="13775"/>
                  </a:lnTo>
                  <a:lnTo>
                    <a:pt x="1734" y="13678"/>
                  </a:lnTo>
                  <a:lnTo>
                    <a:pt x="1686" y="13580"/>
                  </a:lnTo>
                  <a:lnTo>
                    <a:pt x="1686" y="13482"/>
                  </a:lnTo>
                  <a:lnTo>
                    <a:pt x="1686" y="13214"/>
                  </a:lnTo>
                  <a:lnTo>
                    <a:pt x="1759" y="12921"/>
                  </a:lnTo>
                  <a:lnTo>
                    <a:pt x="1881" y="12554"/>
                  </a:lnTo>
                  <a:lnTo>
                    <a:pt x="2052" y="12188"/>
                  </a:lnTo>
                  <a:lnTo>
                    <a:pt x="2272" y="11748"/>
                  </a:lnTo>
                  <a:lnTo>
                    <a:pt x="2540" y="11309"/>
                  </a:lnTo>
                  <a:close/>
                  <a:moveTo>
                    <a:pt x="15362" y="1"/>
                  </a:moveTo>
                  <a:lnTo>
                    <a:pt x="15094" y="25"/>
                  </a:lnTo>
                  <a:lnTo>
                    <a:pt x="14801" y="74"/>
                  </a:lnTo>
                  <a:lnTo>
                    <a:pt x="14483" y="172"/>
                  </a:lnTo>
                  <a:lnTo>
                    <a:pt x="14141" y="294"/>
                  </a:lnTo>
                  <a:lnTo>
                    <a:pt x="13775" y="440"/>
                  </a:lnTo>
                  <a:lnTo>
                    <a:pt x="13384" y="611"/>
                  </a:lnTo>
                  <a:lnTo>
                    <a:pt x="12993" y="831"/>
                  </a:lnTo>
                  <a:lnTo>
                    <a:pt x="12578" y="1051"/>
                  </a:lnTo>
                  <a:lnTo>
                    <a:pt x="11699" y="1613"/>
                  </a:lnTo>
                  <a:lnTo>
                    <a:pt x="10747" y="2272"/>
                  </a:lnTo>
                  <a:lnTo>
                    <a:pt x="10307" y="2101"/>
                  </a:lnTo>
                  <a:lnTo>
                    <a:pt x="9843" y="1955"/>
                  </a:lnTo>
                  <a:lnTo>
                    <a:pt x="9379" y="1857"/>
                  </a:lnTo>
                  <a:lnTo>
                    <a:pt x="8915" y="1784"/>
                  </a:lnTo>
                  <a:lnTo>
                    <a:pt x="8451" y="1735"/>
                  </a:lnTo>
                  <a:lnTo>
                    <a:pt x="7962" y="1735"/>
                  </a:lnTo>
                  <a:lnTo>
                    <a:pt x="7498" y="1784"/>
                  </a:lnTo>
                  <a:lnTo>
                    <a:pt x="7034" y="1832"/>
                  </a:lnTo>
                  <a:lnTo>
                    <a:pt x="6570" y="1930"/>
                  </a:lnTo>
                  <a:lnTo>
                    <a:pt x="6106" y="2077"/>
                  </a:lnTo>
                  <a:lnTo>
                    <a:pt x="5667" y="2248"/>
                  </a:lnTo>
                  <a:lnTo>
                    <a:pt x="5227" y="2443"/>
                  </a:lnTo>
                  <a:lnTo>
                    <a:pt x="4787" y="2687"/>
                  </a:lnTo>
                  <a:lnTo>
                    <a:pt x="4397" y="2980"/>
                  </a:lnTo>
                  <a:lnTo>
                    <a:pt x="4006" y="3273"/>
                  </a:lnTo>
                  <a:lnTo>
                    <a:pt x="3615" y="3615"/>
                  </a:lnTo>
                  <a:lnTo>
                    <a:pt x="3273" y="4006"/>
                  </a:lnTo>
                  <a:lnTo>
                    <a:pt x="2980" y="4397"/>
                  </a:lnTo>
                  <a:lnTo>
                    <a:pt x="2687" y="4788"/>
                  </a:lnTo>
                  <a:lnTo>
                    <a:pt x="2443" y="5227"/>
                  </a:lnTo>
                  <a:lnTo>
                    <a:pt x="2247" y="5667"/>
                  </a:lnTo>
                  <a:lnTo>
                    <a:pt x="2076" y="6107"/>
                  </a:lnTo>
                  <a:lnTo>
                    <a:pt x="1930" y="6571"/>
                  </a:lnTo>
                  <a:lnTo>
                    <a:pt x="1832" y="7035"/>
                  </a:lnTo>
                  <a:lnTo>
                    <a:pt x="1783" y="7499"/>
                  </a:lnTo>
                  <a:lnTo>
                    <a:pt x="1734" y="7963"/>
                  </a:lnTo>
                  <a:lnTo>
                    <a:pt x="1734" y="8451"/>
                  </a:lnTo>
                  <a:lnTo>
                    <a:pt x="1783" y="8915"/>
                  </a:lnTo>
                  <a:lnTo>
                    <a:pt x="1857" y="9379"/>
                  </a:lnTo>
                  <a:lnTo>
                    <a:pt x="1954" y="9843"/>
                  </a:lnTo>
                  <a:lnTo>
                    <a:pt x="2101" y="10307"/>
                  </a:lnTo>
                  <a:lnTo>
                    <a:pt x="2272" y="10747"/>
                  </a:lnTo>
                  <a:lnTo>
                    <a:pt x="1612" y="11699"/>
                  </a:lnTo>
                  <a:lnTo>
                    <a:pt x="1051" y="12579"/>
                  </a:lnTo>
                  <a:lnTo>
                    <a:pt x="831" y="12994"/>
                  </a:lnTo>
                  <a:lnTo>
                    <a:pt x="611" y="13385"/>
                  </a:lnTo>
                  <a:lnTo>
                    <a:pt x="440" y="13775"/>
                  </a:lnTo>
                  <a:lnTo>
                    <a:pt x="293" y="14142"/>
                  </a:lnTo>
                  <a:lnTo>
                    <a:pt x="171" y="14484"/>
                  </a:lnTo>
                  <a:lnTo>
                    <a:pt x="74" y="14801"/>
                  </a:lnTo>
                  <a:lnTo>
                    <a:pt x="25" y="15094"/>
                  </a:lnTo>
                  <a:lnTo>
                    <a:pt x="0" y="15363"/>
                  </a:lnTo>
                  <a:lnTo>
                    <a:pt x="0" y="15583"/>
                  </a:lnTo>
                  <a:lnTo>
                    <a:pt x="49" y="15802"/>
                  </a:lnTo>
                  <a:lnTo>
                    <a:pt x="123" y="15973"/>
                  </a:lnTo>
                  <a:lnTo>
                    <a:pt x="245" y="16120"/>
                  </a:lnTo>
                  <a:lnTo>
                    <a:pt x="342" y="16218"/>
                  </a:lnTo>
                  <a:lnTo>
                    <a:pt x="489" y="16291"/>
                  </a:lnTo>
                  <a:lnTo>
                    <a:pt x="635" y="16340"/>
                  </a:lnTo>
                  <a:lnTo>
                    <a:pt x="806" y="16364"/>
                  </a:lnTo>
                  <a:lnTo>
                    <a:pt x="1173" y="16364"/>
                  </a:lnTo>
                  <a:lnTo>
                    <a:pt x="1393" y="16315"/>
                  </a:lnTo>
                  <a:lnTo>
                    <a:pt x="1637" y="16267"/>
                  </a:lnTo>
                  <a:lnTo>
                    <a:pt x="2150" y="16120"/>
                  </a:lnTo>
                  <a:lnTo>
                    <a:pt x="2711" y="15876"/>
                  </a:lnTo>
                  <a:lnTo>
                    <a:pt x="3322" y="15583"/>
                  </a:lnTo>
                  <a:lnTo>
                    <a:pt x="3957" y="15192"/>
                  </a:lnTo>
                  <a:lnTo>
                    <a:pt x="4665" y="14752"/>
                  </a:lnTo>
                  <a:lnTo>
                    <a:pt x="5373" y="14264"/>
                  </a:lnTo>
                  <a:lnTo>
                    <a:pt x="6131" y="13702"/>
                  </a:lnTo>
                  <a:lnTo>
                    <a:pt x="6912" y="13092"/>
                  </a:lnTo>
                  <a:lnTo>
                    <a:pt x="7718" y="12432"/>
                  </a:lnTo>
                  <a:lnTo>
                    <a:pt x="8524" y="11724"/>
                  </a:lnTo>
                  <a:lnTo>
                    <a:pt x="9330" y="10967"/>
                  </a:lnTo>
                  <a:lnTo>
                    <a:pt x="10160" y="10161"/>
                  </a:lnTo>
                  <a:lnTo>
                    <a:pt x="10966" y="9330"/>
                  </a:lnTo>
                  <a:lnTo>
                    <a:pt x="11723" y="8524"/>
                  </a:lnTo>
                  <a:lnTo>
                    <a:pt x="12432" y="7718"/>
                  </a:lnTo>
                  <a:lnTo>
                    <a:pt x="13091" y="6912"/>
                  </a:lnTo>
                  <a:lnTo>
                    <a:pt x="13702" y="6131"/>
                  </a:lnTo>
                  <a:lnTo>
                    <a:pt x="14263" y="5374"/>
                  </a:lnTo>
                  <a:lnTo>
                    <a:pt x="14752" y="4666"/>
                  </a:lnTo>
                  <a:lnTo>
                    <a:pt x="15192" y="3957"/>
                  </a:lnTo>
                  <a:lnTo>
                    <a:pt x="15582" y="3322"/>
                  </a:lnTo>
                  <a:lnTo>
                    <a:pt x="15875" y="2712"/>
                  </a:lnTo>
                  <a:lnTo>
                    <a:pt x="16120" y="2150"/>
                  </a:lnTo>
                  <a:lnTo>
                    <a:pt x="16266" y="1637"/>
                  </a:lnTo>
                  <a:lnTo>
                    <a:pt x="16315" y="1393"/>
                  </a:lnTo>
                  <a:lnTo>
                    <a:pt x="16364" y="1173"/>
                  </a:lnTo>
                  <a:lnTo>
                    <a:pt x="16364" y="978"/>
                  </a:lnTo>
                  <a:lnTo>
                    <a:pt x="16364" y="807"/>
                  </a:lnTo>
                  <a:lnTo>
                    <a:pt x="16339" y="636"/>
                  </a:lnTo>
                  <a:lnTo>
                    <a:pt x="16291" y="489"/>
                  </a:lnTo>
                  <a:lnTo>
                    <a:pt x="16217" y="343"/>
                  </a:lnTo>
                  <a:lnTo>
                    <a:pt x="16120" y="245"/>
                  </a:lnTo>
                  <a:lnTo>
                    <a:pt x="15973" y="123"/>
                  </a:lnTo>
                  <a:lnTo>
                    <a:pt x="15802" y="50"/>
                  </a:lnTo>
                  <a:lnTo>
                    <a:pt x="15582"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04" name="Shape 533"/>
          <p:cNvGrpSpPr/>
          <p:nvPr/>
        </p:nvGrpSpPr>
        <p:grpSpPr>
          <a:xfrm>
            <a:off x="2691352" y="4846432"/>
            <a:ext cx="338504" cy="338523"/>
            <a:chOff x="570875" y="4322250"/>
            <a:chExt cx="443300" cy="443325"/>
          </a:xfrm>
        </p:grpSpPr>
        <p:sp>
          <p:nvSpPr>
            <p:cNvPr id="205" name="Shape 534"/>
            <p:cNvSpPr/>
            <p:nvPr/>
          </p:nvSpPr>
          <p:spPr>
            <a:xfrm>
              <a:off x="570875" y="4322250"/>
              <a:ext cx="443300" cy="443325"/>
            </a:xfrm>
            <a:custGeom>
              <a:avLst/>
              <a:gdLst/>
              <a:ahLst/>
              <a:cxnLst/>
              <a:rect l="0" t="0" r="0" b="0"/>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06" name="Shape 535"/>
            <p:cNvSpPr/>
            <p:nvPr/>
          </p:nvSpPr>
          <p:spPr>
            <a:xfrm>
              <a:off x="597725" y="4665400"/>
              <a:ext cx="73300" cy="73300"/>
            </a:xfrm>
            <a:custGeom>
              <a:avLst/>
              <a:gdLst/>
              <a:ahLst/>
              <a:cxnLst/>
              <a:rect l="0" t="0" r="0" b="0"/>
              <a:pathLst>
                <a:path w="2932" h="2932" extrusionOk="0">
                  <a:moveTo>
                    <a:pt x="2028" y="1"/>
                  </a:moveTo>
                  <a:lnTo>
                    <a:pt x="1857" y="25"/>
                  </a:lnTo>
                  <a:lnTo>
                    <a:pt x="1686" y="74"/>
                  </a:lnTo>
                  <a:lnTo>
                    <a:pt x="1515" y="147"/>
                  </a:lnTo>
                  <a:lnTo>
                    <a:pt x="1369" y="269"/>
                  </a:lnTo>
                  <a:lnTo>
                    <a:pt x="1222" y="489"/>
                  </a:lnTo>
                  <a:lnTo>
                    <a:pt x="1002" y="831"/>
                  </a:lnTo>
                  <a:lnTo>
                    <a:pt x="563" y="1735"/>
                  </a:lnTo>
                  <a:lnTo>
                    <a:pt x="172" y="2565"/>
                  </a:lnTo>
                  <a:lnTo>
                    <a:pt x="1" y="2932"/>
                  </a:lnTo>
                  <a:lnTo>
                    <a:pt x="1" y="2932"/>
                  </a:lnTo>
                  <a:lnTo>
                    <a:pt x="367" y="2761"/>
                  </a:lnTo>
                  <a:lnTo>
                    <a:pt x="1198" y="2370"/>
                  </a:lnTo>
                  <a:lnTo>
                    <a:pt x="2101" y="1930"/>
                  </a:lnTo>
                  <a:lnTo>
                    <a:pt x="2443" y="1710"/>
                  </a:lnTo>
                  <a:lnTo>
                    <a:pt x="2663" y="1564"/>
                  </a:lnTo>
                  <a:lnTo>
                    <a:pt x="2785" y="1417"/>
                  </a:lnTo>
                  <a:lnTo>
                    <a:pt x="2858" y="1246"/>
                  </a:lnTo>
                  <a:lnTo>
                    <a:pt x="2907" y="1075"/>
                  </a:lnTo>
                  <a:lnTo>
                    <a:pt x="2932" y="904"/>
                  </a:lnTo>
                  <a:lnTo>
                    <a:pt x="2907" y="733"/>
                  </a:lnTo>
                  <a:lnTo>
                    <a:pt x="2858" y="562"/>
                  </a:lnTo>
                  <a:lnTo>
                    <a:pt x="2785" y="416"/>
                  </a:lnTo>
                  <a:lnTo>
                    <a:pt x="2663" y="269"/>
                  </a:lnTo>
                  <a:lnTo>
                    <a:pt x="2517" y="147"/>
                  </a:lnTo>
                  <a:lnTo>
                    <a:pt x="2370" y="74"/>
                  </a:lnTo>
                  <a:lnTo>
                    <a:pt x="2199" y="25"/>
                  </a:lnTo>
                  <a:lnTo>
                    <a:pt x="202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07" name="Shape 536"/>
            <p:cNvSpPr/>
            <p:nvPr/>
          </p:nvSpPr>
          <p:spPr>
            <a:xfrm>
              <a:off x="654525" y="4708150"/>
              <a:ext cx="47025" cy="47025"/>
            </a:xfrm>
            <a:custGeom>
              <a:avLst/>
              <a:gdLst/>
              <a:ahLst/>
              <a:cxnLst/>
              <a:rect l="0" t="0" r="0" b="0"/>
              <a:pathLst>
                <a:path w="1881" h="1881" extrusionOk="0">
                  <a:moveTo>
                    <a:pt x="1124" y="0"/>
                  </a:moveTo>
                  <a:lnTo>
                    <a:pt x="977" y="25"/>
                  </a:lnTo>
                  <a:lnTo>
                    <a:pt x="831" y="74"/>
                  </a:lnTo>
                  <a:lnTo>
                    <a:pt x="709" y="147"/>
                  </a:lnTo>
                  <a:lnTo>
                    <a:pt x="586" y="245"/>
                  </a:lnTo>
                  <a:lnTo>
                    <a:pt x="464" y="391"/>
                  </a:lnTo>
                  <a:lnTo>
                    <a:pt x="367" y="611"/>
                  </a:lnTo>
                  <a:lnTo>
                    <a:pt x="269" y="880"/>
                  </a:lnTo>
                  <a:lnTo>
                    <a:pt x="171" y="1173"/>
                  </a:lnTo>
                  <a:lnTo>
                    <a:pt x="49" y="1686"/>
                  </a:lnTo>
                  <a:lnTo>
                    <a:pt x="0" y="1881"/>
                  </a:lnTo>
                  <a:lnTo>
                    <a:pt x="0" y="1881"/>
                  </a:lnTo>
                  <a:lnTo>
                    <a:pt x="220" y="1857"/>
                  </a:lnTo>
                  <a:lnTo>
                    <a:pt x="733" y="1710"/>
                  </a:lnTo>
                  <a:lnTo>
                    <a:pt x="1002" y="1637"/>
                  </a:lnTo>
                  <a:lnTo>
                    <a:pt x="1270" y="1539"/>
                  </a:lnTo>
                  <a:lnTo>
                    <a:pt x="1515" y="1417"/>
                  </a:lnTo>
                  <a:lnTo>
                    <a:pt x="1661" y="1319"/>
                  </a:lnTo>
                  <a:lnTo>
                    <a:pt x="1759" y="1197"/>
                  </a:lnTo>
                  <a:lnTo>
                    <a:pt x="1832" y="1051"/>
                  </a:lnTo>
                  <a:lnTo>
                    <a:pt x="1881" y="928"/>
                  </a:lnTo>
                  <a:lnTo>
                    <a:pt x="1881" y="782"/>
                  </a:lnTo>
                  <a:lnTo>
                    <a:pt x="1881" y="635"/>
                  </a:lnTo>
                  <a:lnTo>
                    <a:pt x="1832" y="489"/>
                  </a:lnTo>
                  <a:lnTo>
                    <a:pt x="1759" y="367"/>
                  </a:lnTo>
                  <a:lnTo>
                    <a:pt x="1661" y="245"/>
                  </a:lnTo>
                  <a:lnTo>
                    <a:pt x="1539" y="147"/>
                  </a:lnTo>
                  <a:lnTo>
                    <a:pt x="1417" y="74"/>
                  </a:lnTo>
                  <a:lnTo>
                    <a:pt x="1270" y="25"/>
                  </a:lnTo>
                  <a:lnTo>
                    <a:pt x="112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08" name="Shape 537"/>
            <p:cNvSpPr/>
            <p:nvPr/>
          </p:nvSpPr>
          <p:spPr>
            <a:xfrm>
              <a:off x="581250" y="4634875"/>
              <a:ext cx="47050" cy="47050"/>
            </a:xfrm>
            <a:custGeom>
              <a:avLst/>
              <a:gdLst/>
              <a:ahLst/>
              <a:cxnLst/>
              <a:rect l="0" t="0" r="0" b="0"/>
              <a:pathLst>
                <a:path w="1882" h="1882" extrusionOk="0">
                  <a:moveTo>
                    <a:pt x="953" y="1"/>
                  </a:moveTo>
                  <a:lnTo>
                    <a:pt x="831" y="49"/>
                  </a:lnTo>
                  <a:lnTo>
                    <a:pt x="684" y="123"/>
                  </a:lnTo>
                  <a:lnTo>
                    <a:pt x="562" y="220"/>
                  </a:lnTo>
                  <a:lnTo>
                    <a:pt x="465" y="367"/>
                  </a:lnTo>
                  <a:lnTo>
                    <a:pt x="342" y="611"/>
                  </a:lnTo>
                  <a:lnTo>
                    <a:pt x="245" y="880"/>
                  </a:lnTo>
                  <a:lnTo>
                    <a:pt x="171" y="1148"/>
                  </a:lnTo>
                  <a:lnTo>
                    <a:pt x="25" y="1661"/>
                  </a:lnTo>
                  <a:lnTo>
                    <a:pt x="1" y="1881"/>
                  </a:lnTo>
                  <a:lnTo>
                    <a:pt x="196" y="1832"/>
                  </a:lnTo>
                  <a:lnTo>
                    <a:pt x="709" y="1710"/>
                  </a:lnTo>
                  <a:lnTo>
                    <a:pt x="1002" y="1613"/>
                  </a:lnTo>
                  <a:lnTo>
                    <a:pt x="1271" y="1515"/>
                  </a:lnTo>
                  <a:lnTo>
                    <a:pt x="1490" y="1417"/>
                  </a:lnTo>
                  <a:lnTo>
                    <a:pt x="1637" y="1295"/>
                  </a:lnTo>
                  <a:lnTo>
                    <a:pt x="1735" y="1173"/>
                  </a:lnTo>
                  <a:lnTo>
                    <a:pt x="1808" y="1051"/>
                  </a:lnTo>
                  <a:lnTo>
                    <a:pt x="1857" y="904"/>
                  </a:lnTo>
                  <a:lnTo>
                    <a:pt x="1881" y="758"/>
                  </a:lnTo>
                  <a:lnTo>
                    <a:pt x="1857" y="611"/>
                  </a:lnTo>
                  <a:lnTo>
                    <a:pt x="1808" y="465"/>
                  </a:lnTo>
                  <a:lnTo>
                    <a:pt x="1735" y="343"/>
                  </a:lnTo>
                  <a:lnTo>
                    <a:pt x="1637" y="220"/>
                  </a:lnTo>
                  <a:lnTo>
                    <a:pt x="1515" y="123"/>
                  </a:lnTo>
                  <a:lnTo>
                    <a:pt x="1393" y="49"/>
                  </a:lnTo>
                  <a:lnTo>
                    <a:pt x="1246"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09" name="Shape 538"/>
          <p:cNvSpPr/>
          <p:nvPr/>
        </p:nvSpPr>
        <p:spPr>
          <a:xfrm>
            <a:off x="3192177" y="4912511"/>
            <a:ext cx="366490" cy="207031"/>
          </a:xfrm>
          <a:custGeom>
            <a:avLst/>
            <a:gdLst/>
            <a:ahLst/>
            <a:cxnLst/>
            <a:rect l="0" t="0" r="0" b="0"/>
            <a:pathLst>
              <a:path w="19198" h="10845" extrusionOk="0">
                <a:moveTo>
                  <a:pt x="7572" y="1"/>
                </a:moveTo>
                <a:lnTo>
                  <a:pt x="7108" y="25"/>
                </a:lnTo>
                <a:lnTo>
                  <a:pt x="6668" y="98"/>
                </a:lnTo>
                <a:lnTo>
                  <a:pt x="6229" y="196"/>
                </a:lnTo>
                <a:lnTo>
                  <a:pt x="5813" y="343"/>
                </a:lnTo>
                <a:lnTo>
                  <a:pt x="5423" y="538"/>
                </a:lnTo>
                <a:lnTo>
                  <a:pt x="5056" y="758"/>
                </a:lnTo>
                <a:lnTo>
                  <a:pt x="4714" y="1026"/>
                </a:lnTo>
                <a:lnTo>
                  <a:pt x="4397" y="1319"/>
                </a:lnTo>
                <a:lnTo>
                  <a:pt x="4104" y="1637"/>
                </a:lnTo>
                <a:lnTo>
                  <a:pt x="3835" y="1979"/>
                </a:lnTo>
                <a:lnTo>
                  <a:pt x="3615" y="2345"/>
                </a:lnTo>
                <a:lnTo>
                  <a:pt x="3420" y="2736"/>
                </a:lnTo>
                <a:lnTo>
                  <a:pt x="3273" y="3151"/>
                </a:lnTo>
                <a:lnTo>
                  <a:pt x="3151" y="3591"/>
                </a:lnTo>
                <a:lnTo>
                  <a:pt x="3102" y="4030"/>
                </a:lnTo>
                <a:lnTo>
                  <a:pt x="3078" y="4494"/>
                </a:lnTo>
                <a:lnTo>
                  <a:pt x="3078" y="4788"/>
                </a:lnTo>
                <a:lnTo>
                  <a:pt x="2712" y="4788"/>
                </a:lnTo>
                <a:lnTo>
                  <a:pt x="2419" y="4836"/>
                </a:lnTo>
                <a:lnTo>
                  <a:pt x="2125" y="4910"/>
                </a:lnTo>
                <a:lnTo>
                  <a:pt x="1832" y="5032"/>
                </a:lnTo>
                <a:lnTo>
                  <a:pt x="1588" y="5154"/>
                </a:lnTo>
                <a:lnTo>
                  <a:pt x="1320" y="5300"/>
                </a:lnTo>
                <a:lnTo>
                  <a:pt x="1100" y="5471"/>
                </a:lnTo>
                <a:lnTo>
                  <a:pt x="880" y="5667"/>
                </a:lnTo>
                <a:lnTo>
                  <a:pt x="685" y="5887"/>
                </a:lnTo>
                <a:lnTo>
                  <a:pt x="514" y="6131"/>
                </a:lnTo>
                <a:lnTo>
                  <a:pt x="367" y="6375"/>
                </a:lnTo>
                <a:lnTo>
                  <a:pt x="220" y="6644"/>
                </a:lnTo>
                <a:lnTo>
                  <a:pt x="123" y="6912"/>
                </a:lnTo>
                <a:lnTo>
                  <a:pt x="50" y="7205"/>
                </a:lnTo>
                <a:lnTo>
                  <a:pt x="1" y="7499"/>
                </a:lnTo>
                <a:lnTo>
                  <a:pt x="1" y="7816"/>
                </a:lnTo>
                <a:lnTo>
                  <a:pt x="1" y="8134"/>
                </a:lnTo>
                <a:lnTo>
                  <a:pt x="50" y="8427"/>
                </a:lnTo>
                <a:lnTo>
                  <a:pt x="123" y="8720"/>
                </a:lnTo>
                <a:lnTo>
                  <a:pt x="220" y="8988"/>
                </a:lnTo>
                <a:lnTo>
                  <a:pt x="367" y="9257"/>
                </a:lnTo>
                <a:lnTo>
                  <a:pt x="514" y="9501"/>
                </a:lnTo>
                <a:lnTo>
                  <a:pt x="685" y="9745"/>
                </a:lnTo>
                <a:lnTo>
                  <a:pt x="880" y="9965"/>
                </a:lnTo>
                <a:lnTo>
                  <a:pt x="1100" y="10161"/>
                </a:lnTo>
                <a:lnTo>
                  <a:pt x="1320" y="10332"/>
                </a:lnTo>
                <a:lnTo>
                  <a:pt x="1588" y="10478"/>
                </a:lnTo>
                <a:lnTo>
                  <a:pt x="1832" y="10600"/>
                </a:lnTo>
                <a:lnTo>
                  <a:pt x="2125" y="10722"/>
                </a:lnTo>
                <a:lnTo>
                  <a:pt x="2419" y="10796"/>
                </a:lnTo>
                <a:lnTo>
                  <a:pt x="2712" y="10844"/>
                </a:lnTo>
                <a:lnTo>
                  <a:pt x="16486" y="10844"/>
                </a:lnTo>
                <a:lnTo>
                  <a:pt x="16779" y="10796"/>
                </a:lnTo>
                <a:lnTo>
                  <a:pt x="17072" y="10722"/>
                </a:lnTo>
                <a:lnTo>
                  <a:pt x="17365" y="10600"/>
                </a:lnTo>
                <a:lnTo>
                  <a:pt x="17610" y="10478"/>
                </a:lnTo>
                <a:lnTo>
                  <a:pt x="17878" y="10332"/>
                </a:lnTo>
                <a:lnTo>
                  <a:pt x="18098" y="10161"/>
                </a:lnTo>
                <a:lnTo>
                  <a:pt x="18318" y="9965"/>
                </a:lnTo>
                <a:lnTo>
                  <a:pt x="18513" y="9745"/>
                </a:lnTo>
                <a:lnTo>
                  <a:pt x="18684" y="9501"/>
                </a:lnTo>
                <a:lnTo>
                  <a:pt x="18831" y="9257"/>
                </a:lnTo>
                <a:lnTo>
                  <a:pt x="18977" y="8988"/>
                </a:lnTo>
                <a:lnTo>
                  <a:pt x="19075" y="8720"/>
                </a:lnTo>
                <a:lnTo>
                  <a:pt x="19148" y="8427"/>
                </a:lnTo>
                <a:lnTo>
                  <a:pt x="19197" y="8134"/>
                </a:lnTo>
                <a:lnTo>
                  <a:pt x="19197" y="7816"/>
                </a:lnTo>
                <a:lnTo>
                  <a:pt x="19197" y="7499"/>
                </a:lnTo>
                <a:lnTo>
                  <a:pt x="19148" y="7205"/>
                </a:lnTo>
                <a:lnTo>
                  <a:pt x="19075" y="6912"/>
                </a:lnTo>
                <a:lnTo>
                  <a:pt x="18977" y="6644"/>
                </a:lnTo>
                <a:lnTo>
                  <a:pt x="18831" y="6375"/>
                </a:lnTo>
                <a:lnTo>
                  <a:pt x="18684" y="6131"/>
                </a:lnTo>
                <a:lnTo>
                  <a:pt x="18513" y="5887"/>
                </a:lnTo>
                <a:lnTo>
                  <a:pt x="18318" y="5667"/>
                </a:lnTo>
                <a:lnTo>
                  <a:pt x="18098" y="5471"/>
                </a:lnTo>
                <a:lnTo>
                  <a:pt x="17878" y="5300"/>
                </a:lnTo>
                <a:lnTo>
                  <a:pt x="17610" y="5154"/>
                </a:lnTo>
                <a:lnTo>
                  <a:pt x="17365" y="5032"/>
                </a:lnTo>
                <a:lnTo>
                  <a:pt x="17072" y="4910"/>
                </a:lnTo>
                <a:lnTo>
                  <a:pt x="16779" y="4836"/>
                </a:lnTo>
                <a:lnTo>
                  <a:pt x="16486" y="4788"/>
                </a:lnTo>
                <a:lnTo>
                  <a:pt x="15412" y="4788"/>
                </a:lnTo>
                <a:lnTo>
                  <a:pt x="15436" y="4494"/>
                </a:lnTo>
                <a:lnTo>
                  <a:pt x="15412" y="4201"/>
                </a:lnTo>
                <a:lnTo>
                  <a:pt x="15387" y="3933"/>
                </a:lnTo>
                <a:lnTo>
                  <a:pt x="15314" y="3664"/>
                </a:lnTo>
                <a:lnTo>
                  <a:pt x="15216" y="3420"/>
                </a:lnTo>
                <a:lnTo>
                  <a:pt x="15094" y="3176"/>
                </a:lnTo>
                <a:lnTo>
                  <a:pt x="14972" y="2956"/>
                </a:lnTo>
                <a:lnTo>
                  <a:pt x="14801" y="2736"/>
                </a:lnTo>
                <a:lnTo>
                  <a:pt x="14630" y="2541"/>
                </a:lnTo>
                <a:lnTo>
                  <a:pt x="14435" y="2370"/>
                </a:lnTo>
                <a:lnTo>
                  <a:pt x="14215" y="2199"/>
                </a:lnTo>
                <a:lnTo>
                  <a:pt x="13995" y="2077"/>
                </a:lnTo>
                <a:lnTo>
                  <a:pt x="13751" y="1954"/>
                </a:lnTo>
                <a:lnTo>
                  <a:pt x="13507" y="1857"/>
                </a:lnTo>
                <a:lnTo>
                  <a:pt x="13238" y="1784"/>
                </a:lnTo>
                <a:lnTo>
                  <a:pt x="12969" y="1759"/>
                </a:lnTo>
                <a:lnTo>
                  <a:pt x="12676" y="1735"/>
                </a:lnTo>
                <a:lnTo>
                  <a:pt x="12334" y="1759"/>
                </a:lnTo>
                <a:lnTo>
                  <a:pt x="11992" y="1832"/>
                </a:lnTo>
                <a:lnTo>
                  <a:pt x="11650" y="1930"/>
                </a:lnTo>
                <a:lnTo>
                  <a:pt x="11357" y="2077"/>
                </a:lnTo>
                <a:lnTo>
                  <a:pt x="11186" y="1857"/>
                </a:lnTo>
                <a:lnTo>
                  <a:pt x="11015" y="1637"/>
                </a:lnTo>
                <a:lnTo>
                  <a:pt x="10844" y="1417"/>
                </a:lnTo>
                <a:lnTo>
                  <a:pt x="10649" y="1222"/>
                </a:lnTo>
                <a:lnTo>
                  <a:pt x="10454" y="1051"/>
                </a:lnTo>
                <a:lnTo>
                  <a:pt x="10234" y="880"/>
                </a:lnTo>
                <a:lnTo>
                  <a:pt x="9990" y="709"/>
                </a:lnTo>
                <a:lnTo>
                  <a:pt x="9745" y="562"/>
                </a:lnTo>
                <a:lnTo>
                  <a:pt x="9501" y="440"/>
                </a:lnTo>
                <a:lnTo>
                  <a:pt x="9257" y="318"/>
                </a:lnTo>
                <a:lnTo>
                  <a:pt x="8988" y="220"/>
                </a:lnTo>
                <a:lnTo>
                  <a:pt x="8720" y="147"/>
                </a:lnTo>
                <a:lnTo>
                  <a:pt x="8427" y="74"/>
                </a:lnTo>
                <a:lnTo>
                  <a:pt x="8158" y="25"/>
                </a:lnTo>
                <a:lnTo>
                  <a:pt x="7865"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10" name="Shape 539"/>
          <p:cNvGrpSpPr/>
          <p:nvPr/>
        </p:nvGrpSpPr>
        <p:grpSpPr>
          <a:xfrm>
            <a:off x="3766959" y="4821271"/>
            <a:ext cx="246185" cy="388844"/>
            <a:chOff x="1979475" y="4289300"/>
            <a:chExt cx="322400" cy="509225"/>
          </a:xfrm>
        </p:grpSpPr>
        <p:sp>
          <p:nvSpPr>
            <p:cNvPr id="211" name="Shape 540"/>
            <p:cNvSpPr/>
            <p:nvPr/>
          </p:nvSpPr>
          <p:spPr>
            <a:xfrm>
              <a:off x="2187075" y="4509100"/>
              <a:ext cx="114800" cy="114800"/>
            </a:xfrm>
            <a:custGeom>
              <a:avLst/>
              <a:gdLst/>
              <a:ahLst/>
              <a:cxnLst/>
              <a:rect l="0" t="0" r="0" b="0"/>
              <a:pathLst>
                <a:path w="4592" h="4592" extrusionOk="0">
                  <a:moveTo>
                    <a:pt x="4396" y="0"/>
                  </a:moveTo>
                  <a:lnTo>
                    <a:pt x="3981" y="49"/>
                  </a:lnTo>
                  <a:lnTo>
                    <a:pt x="3419" y="171"/>
                  </a:lnTo>
                  <a:lnTo>
                    <a:pt x="2784" y="367"/>
                  </a:lnTo>
                  <a:lnTo>
                    <a:pt x="2100" y="587"/>
                  </a:lnTo>
                  <a:lnTo>
                    <a:pt x="1465" y="831"/>
                  </a:lnTo>
                  <a:lnTo>
                    <a:pt x="1172" y="953"/>
                  </a:lnTo>
                  <a:lnTo>
                    <a:pt x="928" y="1099"/>
                  </a:lnTo>
                  <a:lnTo>
                    <a:pt x="708" y="1246"/>
                  </a:lnTo>
                  <a:lnTo>
                    <a:pt x="562" y="1368"/>
                  </a:lnTo>
                  <a:lnTo>
                    <a:pt x="440" y="1515"/>
                  </a:lnTo>
                  <a:lnTo>
                    <a:pt x="318" y="1637"/>
                  </a:lnTo>
                  <a:lnTo>
                    <a:pt x="244" y="1808"/>
                  </a:lnTo>
                  <a:lnTo>
                    <a:pt x="171" y="1954"/>
                  </a:lnTo>
                  <a:lnTo>
                    <a:pt x="98" y="2101"/>
                  </a:lnTo>
                  <a:lnTo>
                    <a:pt x="49" y="2272"/>
                  </a:lnTo>
                  <a:lnTo>
                    <a:pt x="25" y="2443"/>
                  </a:lnTo>
                  <a:lnTo>
                    <a:pt x="0" y="2589"/>
                  </a:lnTo>
                  <a:lnTo>
                    <a:pt x="0" y="2760"/>
                  </a:lnTo>
                  <a:lnTo>
                    <a:pt x="25" y="2931"/>
                  </a:lnTo>
                  <a:lnTo>
                    <a:pt x="49" y="3102"/>
                  </a:lnTo>
                  <a:lnTo>
                    <a:pt x="98" y="3273"/>
                  </a:lnTo>
                  <a:lnTo>
                    <a:pt x="147" y="3420"/>
                  </a:lnTo>
                  <a:lnTo>
                    <a:pt x="220" y="3566"/>
                  </a:lnTo>
                  <a:lnTo>
                    <a:pt x="318" y="3737"/>
                  </a:lnTo>
                  <a:lnTo>
                    <a:pt x="415" y="3859"/>
                  </a:lnTo>
                  <a:lnTo>
                    <a:pt x="2418" y="1857"/>
                  </a:lnTo>
                  <a:lnTo>
                    <a:pt x="2491" y="1808"/>
                  </a:lnTo>
                  <a:lnTo>
                    <a:pt x="2638" y="1808"/>
                  </a:lnTo>
                  <a:lnTo>
                    <a:pt x="2711" y="1857"/>
                  </a:lnTo>
                  <a:lnTo>
                    <a:pt x="2760" y="1930"/>
                  </a:lnTo>
                  <a:lnTo>
                    <a:pt x="2784" y="2028"/>
                  </a:lnTo>
                  <a:lnTo>
                    <a:pt x="2760" y="2101"/>
                  </a:lnTo>
                  <a:lnTo>
                    <a:pt x="2711" y="2174"/>
                  </a:lnTo>
                  <a:lnTo>
                    <a:pt x="708" y="4177"/>
                  </a:lnTo>
                  <a:lnTo>
                    <a:pt x="855" y="4274"/>
                  </a:lnTo>
                  <a:lnTo>
                    <a:pt x="1001" y="4372"/>
                  </a:lnTo>
                  <a:lnTo>
                    <a:pt x="1172" y="4445"/>
                  </a:lnTo>
                  <a:lnTo>
                    <a:pt x="1319" y="4494"/>
                  </a:lnTo>
                  <a:lnTo>
                    <a:pt x="1490" y="4543"/>
                  </a:lnTo>
                  <a:lnTo>
                    <a:pt x="1661" y="4568"/>
                  </a:lnTo>
                  <a:lnTo>
                    <a:pt x="1807" y="4592"/>
                  </a:lnTo>
                  <a:lnTo>
                    <a:pt x="1978" y="4568"/>
                  </a:lnTo>
                  <a:lnTo>
                    <a:pt x="2149" y="4568"/>
                  </a:lnTo>
                  <a:lnTo>
                    <a:pt x="2320" y="4543"/>
                  </a:lnTo>
                  <a:lnTo>
                    <a:pt x="2491" y="4494"/>
                  </a:lnTo>
                  <a:lnTo>
                    <a:pt x="2638" y="4421"/>
                  </a:lnTo>
                  <a:lnTo>
                    <a:pt x="2784" y="4348"/>
                  </a:lnTo>
                  <a:lnTo>
                    <a:pt x="2931" y="4250"/>
                  </a:lnTo>
                  <a:lnTo>
                    <a:pt x="3077" y="4152"/>
                  </a:lnTo>
                  <a:lnTo>
                    <a:pt x="3200" y="4030"/>
                  </a:lnTo>
                  <a:lnTo>
                    <a:pt x="3346" y="3859"/>
                  </a:lnTo>
                  <a:lnTo>
                    <a:pt x="3493" y="3664"/>
                  </a:lnTo>
                  <a:lnTo>
                    <a:pt x="3615" y="3395"/>
                  </a:lnTo>
                  <a:lnTo>
                    <a:pt x="3761" y="3127"/>
                  </a:lnTo>
                  <a:lnTo>
                    <a:pt x="4005" y="2467"/>
                  </a:lnTo>
                  <a:lnTo>
                    <a:pt x="4225" y="1808"/>
                  </a:lnTo>
                  <a:lnTo>
                    <a:pt x="4421" y="1148"/>
                  </a:lnTo>
                  <a:lnTo>
                    <a:pt x="4543" y="611"/>
                  </a:lnTo>
                  <a:lnTo>
                    <a:pt x="4592" y="196"/>
                  </a:lnTo>
                  <a:lnTo>
                    <a:pt x="4592" y="74"/>
                  </a:lnTo>
                  <a:lnTo>
                    <a:pt x="456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12" name="Shape 541"/>
            <p:cNvSpPr/>
            <p:nvPr/>
          </p:nvSpPr>
          <p:spPr>
            <a:xfrm>
              <a:off x="1979475" y="4542675"/>
              <a:ext cx="156925" cy="156950"/>
            </a:xfrm>
            <a:custGeom>
              <a:avLst/>
              <a:gdLst/>
              <a:ahLst/>
              <a:cxnLst/>
              <a:rect l="0" t="0" r="0" b="0"/>
              <a:pathLst>
                <a:path w="6277" h="6278" extrusionOk="0">
                  <a:moveTo>
                    <a:pt x="122" y="1"/>
                  </a:moveTo>
                  <a:lnTo>
                    <a:pt x="25" y="25"/>
                  </a:lnTo>
                  <a:lnTo>
                    <a:pt x="0" y="123"/>
                  </a:lnTo>
                  <a:lnTo>
                    <a:pt x="0" y="294"/>
                  </a:lnTo>
                  <a:lnTo>
                    <a:pt x="25" y="538"/>
                  </a:lnTo>
                  <a:lnTo>
                    <a:pt x="74" y="856"/>
                  </a:lnTo>
                  <a:lnTo>
                    <a:pt x="244" y="1613"/>
                  </a:lnTo>
                  <a:lnTo>
                    <a:pt x="489" y="2492"/>
                  </a:lnTo>
                  <a:lnTo>
                    <a:pt x="806" y="3420"/>
                  </a:lnTo>
                  <a:lnTo>
                    <a:pt x="977" y="3860"/>
                  </a:lnTo>
                  <a:lnTo>
                    <a:pt x="1148" y="4275"/>
                  </a:lnTo>
                  <a:lnTo>
                    <a:pt x="1319" y="4666"/>
                  </a:lnTo>
                  <a:lnTo>
                    <a:pt x="1514" y="5007"/>
                  </a:lnTo>
                  <a:lnTo>
                    <a:pt x="1710" y="5301"/>
                  </a:lnTo>
                  <a:lnTo>
                    <a:pt x="1905" y="5520"/>
                  </a:lnTo>
                  <a:lnTo>
                    <a:pt x="2076" y="5691"/>
                  </a:lnTo>
                  <a:lnTo>
                    <a:pt x="2272" y="5838"/>
                  </a:lnTo>
                  <a:lnTo>
                    <a:pt x="2467" y="5960"/>
                  </a:lnTo>
                  <a:lnTo>
                    <a:pt x="2687" y="6058"/>
                  </a:lnTo>
                  <a:lnTo>
                    <a:pt x="2907" y="6155"/>
                  </a:lnTo>
                  <a:lnTo>
                    <a:pt x="3126" y="6204"/>
                  </a:lnTo>
                  <a:lnTo>
                    <a:pt x="3371" y="6253"/>
                  </a:lnTo>
                  <a:lnTo>
                    <a:pt x="3590" y="6277"/>
                  </a:lnTo>
                  <a:lnTo>
                    <a:pt x="3835" y="6277"/>
                  </a:lnTo>
                  <a:lnTo>
                    <a:pt x="4054" y="6253"/>
                  </a:lnTo>
                  <a:lnTo>
                    <a:pt x="4299" y="6204"/>
                  </a:lnTo>
                  <a:lnTo>
                    <a:pt x="4519" y="6155"/>
                  </a:lnTo>
                  <a:lnTo>
                    <a:pt x="4738" y="6058"/>
                  </a:lnTo>
                  <a:lnTo>
                    <a:pt x="4958" y="5960"/>
                  </a:lnTo>
                  <a:lnTo>
                    <a:pt x="5154" y="5838"/>
                  </a:lnTo>
                  <a:lnTo>
                    <a:pt x="5349" y="5691"/>
                  </a:lnTo>
                  <a:lnTo>
                    <a:pt x="2003" y="2345"/>
                  </a:lnTo>
                  <a:lnTo>
                    <a:pt x="1954" y="2272"/>
                  </a:lnTo>
                  <a:lnTo>
                    <a:pt x="1954" y="2174"/>
                  </a:lnTo>
                  <a:lnTo>
                    <a:pt x="1954" y="2101"/>
                  </a:lnTo>
                  <a:lnTo>
                    <a:pt x="2003" y="2003"/>
                  </a:lnTo>
                  <a:lnTo>
                    <a:pt x="2101" y="1955"/>
                  </a:lnTo>
                  <a:lnTo>
                    <a:pt x="2272" y="1955"/>
                  </a:lnTo>
                  <a:lnTo>
                    <a:pt x="2345" y="2003"/>
                  </a:lnTo>
                  <a:lnTo>
                    <a:pt x="5691" y="5349"/>
                  </a:lnTo>
                  <a:lnTo>
                    <a:pt x="5837" y="5154"/>
                  </a:lnTo>
                  <a:lnTo>
                    <a:pt x="5959" y="4959"/>
                  </a:lnTo>
                  <a:lnTo>
                    <a:pt x="6057" y="4739"/>
                  </a:lnTo>
                  <a:lnTo>
                    <a:pt x="6155" y="4519"/>
                  </a:lnTo>
                  <a:lnTo>
                    <a:pt x="6204" y="4299"/>
                  </a:lnTo>
                  <a:lnTo>
                    <a:pt x="6253" y="4055"/>
                  </a:lnTo>
                  <a:lnTo>
                    <a:pt x="6277" y="3835"/>
                  </a:lnTo>
                  <a:lnTo>
                    <a:pt x="6277" y="3591"/>
                  </a:lnTo>
                  <a:lnTo>
                    <a:pt x="6253" y="3371"/>
                  </a:lnTo>
                  <a:lnTo>
                    <a:pt x="6204" y="3127"/>
                  </a:lnTo>
                  <a:lnTo>
                    <a:pt x="6155" y="2907"/>
                  </a:lnTo>
                  <a:lnTo>
                    <a:pt x="6057" y="2687"/>
                  </a:lnTo>
                  <a:lnTo>
                    <a:pt x="5959" y="2467"/>
                  </a:lnTo>
                  <a:lnTo>
                    <a:pt x="5837" y="2272"/>
                  </a:lnTo>
                  <a:lnTo>
                    <a:pt x="5691" y="2077"/>
                  </a:lnTo>
                  <a:lnTo>
                    <a:pt x="5520" y="1906"/>
                  </a:lnTo>
                  <a:lnTo>
                    <a:pt x="5300" y="1710"/>
                  </a:lnTo>
                  <a:lnTo>
                    <a:pt x="5007" y="1515"/>
                  </a:lnTo>
                  <a:lnTo>
                    <a:pt x="4665" y="1320"/>
                  </a:lnTo>
                  <a:lnTo>
                    <a:pt x="4274" y="1149"/>
                  </a:lnTo>
                  <a:lnTo>
                    <a:pt x="3859" y="978"/>
                  </a:lnTo>
                  <a:lnTo>
                    <a:pt x="3419" y="807"/>
                  </a:lnTo>
                  <a:lnTo>
                    <a:pt x="2491" y="489"/>
                  </a:lnTo>
                  <a:lnTo>
                    <a:pt x="1612" y="245"/>
                  </a:lnTo>
                  <a:lnTo>
                    <a:pt x="855" y="74"/>
                  </a:lnTo>
                  <a:lnTo>
                    <a:pt x="538" y="25"/>
                  </a:lnTo>
                  <a:lnTo>
                    <a:pt x="29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13" name="Shape 542"/>
            <p:cNvSpPr/>
            <p:nvPr/>
          </p:nvSpPr>
          <p:spPr>
            <a:xfrm>
              <a:off x="2041125" y="4289300"/>
              <a:ext cx="240000" cy="509225"/>
            </a:xfrm>
            <a:custGeom>
              <a:avLst/>
              <a:gdLst/>
              <a:ahLst/>
              <a:cxnLst/>
              <a:rect l="0" t="0" r="0" b="0"/>
              <a:pathLst>
                <a:path w="9600" h="20369" extrusionOk="0">
                  <a:moveTo>
                    <a:pt x="4788" y="3664"/>
                  </a:moveTo>
                  <a:lnTo>
                    <a:pt x="5032" y="3688"/>
                  </a:lnTo>
                  <a:lnTo>
                    <a:pt x="5228" y="3761"/>
                  </a:lnTo>
                  <a:lnTo>
                    <a:pt x="5423" y="3859"/>
                  </a:lnTo>
                  <a:lnTo>
                    <a:pt x="5594" y="3981"/>
                  </a:lnTo>
                  <a:lnTo>
                    <a:pt x="5716" y="4152"/>
                  </a:lnTo>
                  <a:lnTo>
                    <a:pt x="5838" y="4347"/>
                  </a:lnTo>
                  <a:lnTo>
                    <a:pt x="5887" y="4567"/>
                  </a:lnTo>
                  <a:lnTo>
                    <a:pt x="5911" y="4787"/>
                  </a:lnTo>
                  <a:lnTo>
                    <a:pt x="5887" y="5007"/>
                  </a:lnTo>
                  <a:lnTo>
                    <a:pt x="5838" y="5227"/>
                  </a:lnTo>
                  <a:lnTo>
                    <a:pt x="5716" y="5422"/>
                  </a:lnTo>
                  <a:lnTo>
                    <a:pt x="5594" y="5569"/>
                  </a:lnTo>
                  <a:lnTo>
                    <a:pt x="5423" y="5715"/>
                  </a:lnTo>
                  <a:lnTo>
                    <a:pt x="5228" y="5813"/>
                  </a:lnTo>
                  <a:lnTo>
                    <a:pt x="5032" y="5886"/>
                  </a:lnTo>
                  <a:lnTo>
                    <a:pt x="4788" y="5911"/>
                  </a:lnTo>
                  <a:lnTo>
                    <a:pt x="4568" y="5886"/>
                  </a:lnTo>
                  <a:lnTo>
                    <a:pt x="4348" y="5813"/>
                  </a:lnTo>
                  <a:lnTo>
                    <a:pt x="4177" y="5715"/>
                  </a:lnTo>
                  <a:lnTo>
                    <a:pt x="4006" y="5569"/>
                  </a:lnTo>
                  <a:lnTo>
                    <a:pt x="3860" y="5422"/>
                  </a:lnTo>
                  <a:lnTo>
                    <a:pt x="3762" y="5227"/>
                  </a:lnTo>
                  <a:lnTo>
                    <a:pt x="3689" y="5007"/>
                  </a:lnTo>
                  <a:lnTo>
                    <a:pt x="3664" y="4787"/>
                  </a:lnTo>
                  <a:lnTo>
                    <a:pt x="3689" y="4567"/>
                  </a:lnTo>
                  <a:lnTo>
                    <a:pt x="3762" y="4347"/>
                  </a:lnTo>
                  <a:lnTo>
                    <a:pt x="3860" y="4152"/>
                  </a:lnTo>
                  <a:lnTo>
                    <a:pt x="4006" y="3981"/>
                  </a:lnTo>
                  <a:lnTo>
                    <a:pt x="4177" y="3859"/>
                  </a:lnTo>
                  <a:lnTo>
                    <a:pt x="4348" y="3761"/>
                  </a:lnTo>
                  <a:lnTo>
                    <a:pt x="4568" y="3688"/>
                  </a:lnTo>
                  <a:lnTo>
                    <a:pt x="4788" y="3664"/>
                  </a:lnTo>
                  <a:close/>
                  <a:moveTo>
                    <a:pt x="4568" y="0"/>
                  </a:moveTo>
                  <a:lnTo>
                    <a:pt x="4348" y="49"/>
                  </a:lnTo>
                  <a:lnTo>
                    <a:pt x="4153" y="122"/>
                  </a:lnTo>
                  <a:lnTo>
                    <a:pt x="3933" y="220"/>
                  </a:lnTo>
                  <a:lnTo>
                    <a:pt x="3738" y="342"/>
                  </a:lnTo>
                  <a:lnTo>
                    <a:pt x="3542" y="489"/>
                  </a:lnTo>
                  <a:lnTo>
                    <a:pt x="3347" y="684"/>
                  </a:lnTo>
                  <a:lnTo>
                    <a:pt x="3176" y="904"/>
                  </a:lnTo>
                  <a:lnTo>
                    <a:pt x="2907" y="855"/>
                  </a:lnTo>
                  <a:lnTo>
                    <a:pt x="2663" y="855"/>
                  </a:lnTo>
                  <a:lnTo>
                    <a:pt x="2394" y="904"/>
                  </a:lnTo>
                  <a:lnTo>
                    <a:pt x="2175" y="953"/>
                  </a:lnTo>
                  <a:lnTo>
                    <a:pt x="1955" y="1026"/>
                  </a:lnTo>
                  <a:lnTo>
                    <a:pt x="1759" y="1124"/>
                  </a:lnTo>
                  <a:lnTo>
                    <a:pt x="1564" y="1246"/>
                  </a:lnTo>
                  <a:lnTo>
                    <a:pt x="1393" y="1392"/>
                  </a:lnTo>
                  <a:lnTo>
                    <a:pt x="1271" y="1563"/>
                  </a:lnTo>
                  <a:lnTo>
                    <a:pt x="1124" y="1734"/>
                  </a:lnTo>
                  <a:lnTo>
                    <a:pt x="1027" y="1930"/>
                  </a:lnTo>
                  <a:lnTo>
                    <a:pt x="953" y="2149"/>
                  </a:lnTo>
                  <a:lnTo>
                    <a:pt x="905" y="2394"/>
                  </a:lnTo>
                  <a:lnTo>
                    <a:pt x="880" y="2638"/>
                  </a:lnTo>
                  <a:lnTo>
                    <a:pt x="880" y="2906"/>
                  </a:lnTo>
                  <a:lnTo>
                    <a:pt x="905" y="3175"/>
                  </a:lnTo>
                  <a:lnTo>
                    <a:pt x="685" y="3346"/>
                  </a:lnTo>
                  <a:lnTo>
                    <a:pt x="514" y="3517"/>
                  </a:lnTo>
                  <a:lnTo>
                    <a:pt x="343" y="3712"/>
                  </a:lnTo>
                  <a:lnTo>
                    <a:pt x="221" y="3932"/>
                  </a:lnTo>
                  <a:lnTo>
                    <a:pt x="123" y="4128"/>
                  </a:lnTo>
                  <a:lnTo>
                    <a:pt x="50" y="4347"/>
                  </a:lnTo>
                  <a:lnTo>
                    <a:pt x="25" y="4567"/>
                  </a:lnTo>
                  <a:lnTo>
                    <a:pt x="1" y="4787"/>
                  </a:lnTo>
                  <a:lnTo>
                    <a:pt x="25" y="5007"/>
                  </a:lnTo>
                  <a:lnTo>
                    <a:pt x="50" y="5227"/>
                  </a:lnTo>
                  <a:lnTo>
                    <a:pt x="123" y="5422"/>
                  </a:lnTo>
                  <a:lnTo>
                    <a:pt x="221" y="5642"/>
                  </a:lnTo>
                  <a:lnTo>
                    <a:pt x="343" y="5837"/>
                  </a:lnTo>
                  <a:lnTo>
                    <a:pt x="514" y="6033"/>
                  </a:lnTo>
                  <a:lnTo>
                    <a:pt x="685" y="6228"/>
                  </a:lnTo>
                  <a:lnTo>
                    <a:pt x="905" y="6399"/>
                  </a:lnTo>
                  <a:lnTo>
                    <a:pt x="880" y="6668"/>
                  </a:lnTo>
                  <a:lnTo>
                    <a:pt x="880" y="6936"/>
                  </a:lnTo>
                  <a:lnTo>
                    <a:pt x="905" y="7181"/>
                  </a:lnTo>
                  <a:lnTo>
                    <a:pt x="953" y="7400"/>
                  </a:lnTo>
                  <a:lnTo>
                    <a:pt x="1027" y="7620"/>
                  </a:lnTo>
                  <a:lnTo>
                    <a:pt x="1124" y="7816"/>
                  </a:lnTo>
                  <a:lnTo>
                    <a:pt x="1271" y="8011"/>
                  </a:lnTo>
                  <a:lnTo>
                    <a:pt x="1393" y="8182"/>
                  </a:lnTo>
                  <a:lnTo>
                    <a:pt x="1564" y="8328"/>
                  </a:lnTo>
                  <a:lnTo>
                    <a:pt x="1759" y="8451"/>
                  </a:lnTo>
                  <a:lnTo>
                    <a:pt x="1955" y="8548"/>
                  </a:lnTo>
                  <a:lnTo>
                    <a:pt x="2175" y="8621"/>
                  </a:lnTo>
                  <a:lnTo>
                    <a:pt x="2394" y="8670"/>
                  </a:lnTo>
                  <a:lnTo>
                    <a:pt x="2663" y="8695"/>
                  </a:lnTo>
                  <a:lnTo>
                    <a:pt x="2907" y="8695"/>
                  </a:lnTo>
                  <a:lnTo>
                    <a:pt x="3176" y="8670"/>
                  </a:lnTo>
                  <a:lnTo>
                    <a:pt x="3420" y="8939"/>
                  </a:lnTo>
                  <a:lnTo>
                    <a:pt x="3664" y="9159"/>
                  </a:lnTo>
                  <a:lnTo>
                    <a:pt x="3933" y="9354"/>
                  </a:lnTo>
                  <a:lnTo>
                    <a:pt x="4202" y="9476"/>
                  </a:lnTo>
                  <a:lnTo>
                    <a:pt x="4202" y="19783"/>
                  </a:lnTo>
                  <a:lnTo>
                    <a:pt x="4226" y="19905"/>
                  </a:lnTo>
                  <a:lnTo>
                    <a:pt x="4251" y="20027"/>
                  </a:lnTo>
                  <a:lnTo>
                    <a:pt x="4299" y="20125"/>
                  </a:lnTo>
                  <a:lnTo>
                    <a:pt x="4373" y="20198"/>
                  </a:lnTo>
                  <a:lnTo>
                    <a:pt x="4470" y="20271"/>
                  </a:lnTo>
                  <a:lnTo>
                    <a:pt x="4568" y="20345"/>
                  </a:lnTo>
                  <a:lnTo>
                    <a:pt x="4666" y="20369"/>
                  </a:lnTo>
                  <a:lnTo>
                    <a:pt x="4910" y="20369"/>
                  </a:lnTo>
                  <a:lnTo>
                    <a:pt x="5032" y="20345"/>
                  </a:lnTo>
                  <a:lnTo>
                    <a:pt x="5130" y="20271"/>
                  </a:lnTo>
                  <a:lnTo>
                    <a:pt x="5203" y="20198"/>
                  </a:lnTo>
                  <a:lnTo>
                    <a:pt x="5276" y="20125"/>
                  </a:lnTo>
                  <a:lnTo>
                    <a:pt x="5350" y="20027"/>
                  </a:lnTo>
                  <a:lnTo>
                    <a:pt x="5374" y="19905"/>
                  </a:lnTo>
                  <a:lnTo>
                    <a:pt x="5374" y="19783"/>
                  </a:lnTo>
                  <a:lnTo>
                    <a:pt x="5374" y="9476"/>
                  </a:lnTo>
                  <a:lnTo>
                    <a:pt x="5667" y="9354"/>
                  </a:lnTo>
                  <a:lnTo>
                    <a:pt x="5936" y="9159"/>
                  </a:lnTo>
                  <a:lnTo>
                    <a:pt x="6180" y="8939"/>
                  </a:lnTo>
                  <a:lnTo>
                    <a:pt x="6400" y="8670"/>
                  </a:lnTo>
                  <a:lnTo>
                    <a:pt x="6668" y="8695"/>
                  </a:lnTo>
                  <a:lnTo>
                    <a:pt x="6937" y="8695"/>
                  </a:lnTo>
                  <a:lnTo>
                    <a:pt x="7181" y="8670"/>
                  </a:lnTo>
                  <a:lnTo>
                    <a:pt x="7426" y="8621"/>
                  </a:lnTo>
                  <a:lnTo>
                    <a:pt x="7645" y="8548"/>
                  </a:lnTo>
                  <a:lnTo>
                    <a:pt x="7841" y="8451"/>
                  </a:lnTo>
                  <a:lnTo>
                    <a:pt x="8012" y="8328"/>
                  </a:lnTo>
                  <a:lnTo>
                    <a:pt x="8183" y="8182"/>
                  </a:lnTo>
                  <a:lnTo>
                    <a:pt x="8329" y="8011"/>
                  </a:lnTo>
                  <a:lnTo>
                    <a:pt x="8451" y="7816"/>
                  </a:lnTo>
                  <a:lnTo>
                    <a:pt x="8549" y="7620"/>
                  </a:lnTo>
                  <a:lnTo>
                    <a:pt x="8622" y="7400"/>
                  </a:lnTo>
                  <a:lnTo>
                    <a:pt x="8696" y="7181"/>
                  </a:lnTo>
                  <a:lnTo>
                    <a:pt x="8720" y="6936"/>
                  </a:lnTo>
                  <a:lnTo>
                    <a:pt x="8720" y="6668"/>
                  </a:lnTo>
                  <a:lnTo>
                    <a:pt x="8696" y="6399"/>
                  </a:lnTo>
                  <a:lnTo>
                    <a:pt x="8891" y="6228"/>
                  </a:lnTo>
                  <a:lnTo>
                    <a:pt x="9086" y="6033"/>
                  </a:lnTo>
                  <a:lnTo>
                    <a:pt x="9233" y="5837"/>
                  </a:lnTo>
                  <a:lnTo>
                    <a:pt x="9355" y="5642"/>
                  </a:lnTo>
                  <a:lnTo>
                    <a:pt x="9453" y="5422"/>
                  </a:lnTo>
                  <a:lnTo>
                    <a:pt x="9526" y="5227"/>
                  </a:lnTo>
                  <a:lnTo>
                    <a:pt x="9575" y="5007"/>
                  </a:lnTo>
                  <a:lnTo>
                    <a:pt x="9599" y="4787"/>
                  </a:lnTo>
                  <a:lnTo>
                    <a:pt x="9575" y="4567"/>
                  </a:lnTo>
                  <a:lnTo>
                    <a:pt x="9526" y="4347"/>
                  </a:lnTo>
                  <a:lnTo>
                    <a:pt x="9453" y="4128"/>
                  </a:lnTo>
                  <a:lnTo>
                    <a:pt x="9355" y="3932"/>
                  </a:lnTo>
                  <a:lnTo>
                    <a:pt x="9233" y="3712"/>
                  </a:lnTo>
                  <a:lnTo>
                    <a:pt x="9086" y="3517"/>
                  </a:lnTo>
                  <a:lnTo>
                    <a:pt x="8891" y="3346"/>
                  </a:lnTo>
                  <a:lnTo>
                    <a:pt x="8696" y="3175"/>
                  </a:lnTo>
                  <a:lnTo>
                    <a:pt x="8720" y="2906"/>
                  </a:lnTo>
                  <a:lnTo>
                    <a:pt x="8720" y="2638"/>
                  </a:lnTo>
                  <a:lnTo>
                    <a:pt x="8696" y="2394"/>
                  </a:lnTo>
                  <a:lnTo>
                    <a:pt x="8622" y="2149"/>
                  </a:lnTo>
                  <a:lnTo>
                    <a:pt x="8549" y="1930"/>
                  </a:lnTo>
                  <a:lnTo>
                    <a:pt x="8451" y="1734"/>
                  </a:lnTo>
                  <a:lnTo>
                    <a:pt x="8329" y="1563"/>
                  </a:lnTo>
                  <a:lnTo>
                    <a:pt x="8183" y="1392"/>
                  </a:lnTo>
                  <a:lnTo>
                    <a:pt x="8012" y="1246"/>
                  </a:lnTo>
                  <a:lnTo>
                    <a:pt x="7841" y="1124"/>
                  </a:lnTo>
                  <a:lnTo>
                    <a:pt x="7645" y="1026"/>
                  </a:lnTo>
                  <a:lnTo>
                    <a:pt x="7426" y="953"/>
                  </a:lnTo>
                  <a:lnTo>
                    <a:pt x="7181" y="904"/>
                  </a:lnTo>
                  <a:lnTo>
                    <a:pt x="6937" y="855"/>
                  </a:lnTo>
                  <a:lnTo>
                    <a:pt x="6668" y="855"/>
                  </a:lnTo>
                  <a:lnTo>
                    <a:pt x="6400" y="904"/>
                  </a:lnTo>
                  <a:lnTo>
                    <a:pt x="6229" y="684"/>
                  </a:lnTo>
                  <a:lnTo>
                    <a:pt x="6058" y="489"/>
                  </a:lnTo>
                  <a:lnTo>
                    <a:pt x="5863" y="342"/>
                  </a:lnTo>
                  <a:lnTo>
                    <a:pt x="5643" y="220"/>
                  </a:lnTo>
                  <a:lnTo>
                    <a:pt x="5447" y="122"/>
                  </a:lnTo>
                  <a:lnTo>
                    <a:pt x="5228" y="49"/>
                  </a:lnTo>
                  <a:lnTo>
                    <a:pt x="500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14" name="Shape 543"/>
          <p:cNvGrpSpPr/>
          <p:nvPr/>
        </p:nvGrpSpPr>
        <p:grpSpPr>
          <a:xfrm>
            <a:off x="4259767" y="4826387"/>
            <a:ext cx="290473" cy="378612"/>
            <a:chOff x="2624850" y="4296000"/>
            <a:chExt cx="380400" cy="495825"/>
          </a:xfrm>
        </p:grpSpPr>
        <p:sp>
          <p:nvSpPr>
            <p:cNvPr id="215" name="Shape 544"/>
            <p:cNvSpPr/>
            <p:nvPr/>
          </p:nvSpPr>
          <p:spPr>
            <a:xfrm>
              <a:off x="2845875" y="4296000"/>
              <a:ext cx="126425" cy="125800"/>
            </a:xfrm>
            <a:custGeom>
              <a:avLst/>
              <a:gdLst/>
              <a:ahLst/>
              <a:cxnLst/>
              <a:rect l="0" t="0" r="0" b="0"/>
              <a:pathLst>
                <a:path w="5057" h="5032" extrusionOk="0">
                  <a:moveTo>
                    <a:pt x="4812" y="1"/>
                  </a:moveTo>
                  <a:lnTo>
                    <a:pt x="4372" y="74"/>
                  </a:lnTo>
                  <a:lnTo>
                    <a:pt x="3762" y="196"/>
                  </a:lnTo>
                  <a:lnTo>
                    <a:pt x="3053" y="392"/>
                  </a:lnTo>
                  <a:lnTo>
                    <a:pt x="2321" y="636"/>
                  </a:lnTo>
                  <a:lnTo>
                    <a:pt x="1612" y="929"/>
                  </a:lnTo>
                  <a:lnTo>
                    <a:pt x="1295" y="1075"/>
                  </a:lnTo>
                  <a:lnTo>
                    <a:pt x="1026" y="1222"/>
                  </a:lnTo>
                  <a:lnTo>
                    <a:pt x="782" y="1368"/>
                  </a:lnTo>
                  <a:lnTo>
                    <a:pt x="611" y="1515"/>
                  </a:lnTo>
                  <a:lnTo>
                    <a:pt x="489" y="1662"/>
                  </a:lnTo>
                  <a:lnTo>
                    <a:pt x="367" y="1808"/>
                  </a:lnTo>
                  <a:lnTo>
                    <a:pt x="269" y="1979"/>
                  </a:lnTo>
                  <a:lnTo>
                    <a:pt x="172" y="2150"/>
                  </a:lnTo>
                  <a:lnTo>
                    <a:pt x="123" y="2321"/>
                  </a:lnTo>
                  <a:lnTo>
                    <a:pt x="74" y="2492"/>
                  </a:lnTo>
                  <a:lnTo>
                    <a:pt x="25" y="2687"/>
                  </a:lnTo>
                  <a:lnTo>
                    <a:pt x="1" y="2858"/>
                  </a:lnTo>
                  <a:lnTo>
                    <a:pt x="1" y="3054"/>
                  </a:lnTo>
                  <a:lnTo>
                    <a:pt x="25" y="3225"/>
                  </a:lnTo>
                  <a:lnTo>
                    <a:pt x="49" y="3420"/>
                  </a:lnTo>
                  <a:lnTo>
                    <a:pt x="98" y="3591"/>
                  </a:lnTo>
                  <a:lnTo>
                    <a:pt x="172" y="3762"/>
                  </a:lnTo>
                  <a:lnTo>
                    <a:pt x="245" y="3933"/>
                  </a:lnTo>
                  <a:lnTo>
                    <a:pt x="342" y="4104"/>
                  </a:lnTo>
                  <a:lnTo>
                    <a:pt x="440" y="4250"/>
                  </a:lnTo>
                  <a:lnTo>
                    <a:pt x="2638" y="2052"/>
                  </a:lnTo>
                  <a:lnTo>
                    <a:pt x="2736" y="2003"/>
                  </a:lnTo>
                  <a:lnTo>
                    <a:pt x="2809" y="1979"/>
                  </a:lnTo>
                  <a:lnTo>
                    <a:pt x="2907" y="2003"/>
                  </a:lnTo>
                  <a:lnTo>
                    <a:pt x="2980" y="2052"/>
                  </a:lnTo>
                  <a:lnTo>
                    <a:pt x="3029" y="2126"/>
                  </a:lnTo>
                  <a:lnTo>
                    <a:pt x="3053" y="2223"/>
                  </a:lnTo>
                  <a:lnTo>
                    <a:pt x="3029" y="2321"/>
                  </a:lnTo>
                  <a:lnTo>
                    <a:pt x="2980" y="2394"/>
                  </a:lnTo>
                  <a:lnTo>
                    <a:pt x="782" y="4592"/>
                  </a:lnTo>
                  <a:lnTo>
                    <a:pt x="953" y="4690"/>
                  </a:lnTo>
                  <a:lnTo>
                    <a:pt x="1100" y="4788"/>
                  </a:lnTo>
                  <a:lnTo>
                    <a:pt x="1271" y="4885"/>
                  </a:lnTo>
                  <a:lnTo>
                    <a:pt x="1466" y="4934"/>
                  </a:lnTo>
                  <a:lnTo>
                    <a:pt x="1637" y="4983"/>
                  </a:lnTo>
                  <a:lnTo>
                    <a:pt x="1808" y="5008"/>
                  </a:lnTo>
                  <a:lnTo>
                    <a:pt x="2003" y="5032"/>
                  </a:lnTo>
                  <a:lnTo>
                    <a:pt x="2174" y="5032"/>
                  </a:lnTo>
                  <a:lnTo>
                    <a:pt x="2370" y="5008"/>
                  </a:lnTo>
                  <a:lnTo>
                    <a:pt x="2541" y="4983"/>
                  </a:lnTo>
                  <a:lnTo>
                    <a:pt x="2712" y="4934"/>
                  </a:lnTo>
                  <a:lnTo>
                    <a:pt x="2907" y="4861"/>
                  </a:lnTo>
                  <a:lnTo>
                    <a:pt x="3053" y="4788"/>
                  </a:lnTo>
                  <a:lnTo>
                    <a:pt x="3224" y="4690"/>
                  </a:lnTo>
                  <a:lnTo>
                    <a:pt x="3371" y="4568"/>
                  </a:lnTo>
                  <a:lnTo>
                    <a:pt x="3517" y="4421"/>
                  </a:lnTo>
                  <a:lnTo>
                    <a:pt x="3664" y="4250"/>
                  </a:lnTo>
                  <a:lnTo>
                    <a:pt x="3835" y="4006"/>
                  </a:lnTo>
                  <a:lnTo>
                    <a:pt x="3981" y="3738"/>
                  </a:lnTo>
                  <a:lnTo>
                    <a:pt x="4128" y="3420"/>
                  </a:lnTo>
                  <a:lnTo>
                    <a:pt x="4397" y="2736"/>
                  </a:lnTo>
                  <a:lnTo>
                    <a:pt x="4641" y="1979"/>
                  </a:lnTo>
                  <a:lnTo>
                    <a:pt x="4836" y="1271"/>
                  </a:lnTo>
                  <a:lnTo>
                    <a:pt x="4983" y="660"/>
                  </a:lnTo>
                  <a:lnTo>
                    <a:pt x="5032" y="221"/>
                  </a:lnTo>
                  <a:lnTo>
                    <a:pt x="5056" y="98"/>
                  </a:lnTo>
                  <a:lnTo>
                    <a:pt x="5032" y="25"/>
                  </a:lnTo>
                  <a:lnTo>
                    <a:pt x="495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16" name="Shape 545"/>
            <p:cNvSpPr/>
            <p:nvPr/>
          </p:nvSpPr>
          <p:spPr>
            <a:xfrm>
              <a:off x="2635850" y="4316150"/>
              <a:ext cx="369400" cy="475675"/>
            </a:xfrm>
            <a:custGeom>
              <a:avLst/>
              <a:gdLst/>
              <a:ahLst/>
              <a:cxnLst/>
              <a:rect l="0" t="0" r="0" b="0"/>
              <a:pathLst>
                <a:path w="14776" h="19027" extrusionOk="0">
                  <a:moveTo>
                    <a:pt x="7400" y="1"/>
                  </a:moveTo>
                  <a:lnTo>
                    <a:pt x="7254" y="25"/>
                  </a:lnTo>
                  <a:lnTo>
                    <a:pt x="7132" y="50"/>
                  </a:lnTo>
                  <a:lnTo>
                    <a:pt x="7034" y="123"/>
                  </a:lnTo>
                  <a:lnTo>
                    <a:pt x="6936" y="196"/>
                  </a:lnTo>
                  <a:lnTo>
                    <a:pt x="6863" y="294"/>
                  </a:lnTo>
                  <a:lnTo>
                    <a:pt x="6790" y="392"/>
                  </a:lnTo>
                  <a:lnTo>
                    <a:pt x="6765" y="514"/>
                  </a:lnTo>
                  <a:lnTo>
                    <a:pt x="6741" y="636"/>
                  </a:lnTo>
                  <a:lnTo>
                    <a:pt x="6741" y="4226"/>
                  </a:lnTo>
                  <a:lnTo>
                    <a:pt x="6887" y="4592"/>
                  </a:lnTo>
                  <a:lnTo>
                    <a:pt x="7009" y="4959"/>
                  </a:lnTo>
                  <a:lnTo>
                    <a:pt x="7058" y="5325"/>
                  </a:lnTo>
                  <a:lnTo>
                    <a:pt x="7083" y="5716"/>
                  </a:lnTo>
                  <a:lnTo>
                    <a:pt x="7058" y="6107"/>
                  </a:lnTo>
                  <a:lnTo>
                    <a:pt x="7009" y="6473"/>
                  </a:lnTo>
                  <a:lnTo>
                    <a:pt x="6887" y="6864"/>
                  </a:lnTo>
                  <a:lnTo>
                    <a:pt x="6741" y="7230"/>
                  </a:lnTo>
                  <a:lnTo>
                    <a:pt x="6741" y="13629"/>
                  </a:lnTo>
                  <a:lnTo>
                    <a:pt x="6203" y="13678"/>
                  </a:lnTo>
                  <a:lnTo>
                    <a:pt x="5666" y="13775"/>
                  </a:lnTo>
                  <a:lnTo>
                    <a:pt x="5153" y="13897"/>
                  </a:lnTo>
                  <a:lnTo>
                    <a:pt x="4640" y="14044"/>
                  </a:lnTo>
                  <a:lnTo>
                    <a:pt x="4152" y="14239"/>
                  </a:lnTo>
                  <a:lnTo>
                    <a:pt x="3688" y="14459"/>
                  </a:lnTo>
                  <a:lnTo>
                    <a:pt x="3224" y="14703"/>
                  </a:lnTo>
                  <a:lnTo>
                    <a:pt x="2784" y="14972"/>
                  </a:lnTo>
                  <a:lnTo>
                    <a:pt x="2369" y="15265"/>
                  </a:lnTo>
                  <a:lnTo>
                    <a:pt x="1954" y="15583"/>
                  </a:lnTo>
                  <a:lnTo>
                    <a:pt x="1588" y="15925"/>
                  </a:lnTo>
                  <a:lnTo>
                    <a:pt x="1221" y="16291"/>
                  </a:lnTo>
                  <a:lnTo>
                    <a:pt x="879" y="16682"/>
                  </a:lnTo>
                  <a:lnTo>
                    <a:pt x="562" y="17097"/>
                  </a:lnTo>
                  <a:lnTo>
                    <a:pt x="269" y="17512"/>
                  </a:lnTo>
                  <a:lnTo>
                    <a:pt x="0" y="17952"/>
                  </a:lnTo>
                  <a:lnTo>
                    <a:pt x="293" y="18074"/>
                  </a:lnTo>
                  <a:lnTo>
                    <a:pt x="611" y="18196"/>
                  </a:lnTo>
                  <a:lnTo>
                    <a:pt x="1319" y="18391"/>
                  </a:lnTo>
                  <a:lnTo>
                    <a:pt x="2125" y="18587"/>
                  </a:lnTo>
                  <a:lnTo>
                    <a:pt x="3053" y="18733"/>
                  </a:lnTo>
                  <a:lnTo>
                    <a:pt x="4030" y="18855"/>
                  </a:lnTo>
                  <a:lnTo>
                    <a:pt x="5104" y="18953"/>
                  </a:lnTo>
                  <a:lnTo>
                    <a:pt x="6228" y="19002"/>
                  </a:lnTo>
                  <a:lnTo>
                    <a:pt x="7376" y="19026"/>
                  </a:lnTo>
                  <a:lnTo>
                    <a:pt x="8548" y="19002"/>
                  </a:lnTo>
                  <a:lnTo>
                    <a:pt x="9672" y="18953"/>
                  </a:lnTo>
                  <a:lnTo>
                    <a:pt x="10746" y="18855"/>
                  </a:lnTo>
                  <a:lnTo>
                    <a:pt x="11723" y="18733"/>
                  </a:lnTo>
                  <a:lnTo>
                    <a:pt x="12651" y="18587"/>
                  </a:lnTo>
                  <a:lnTo>
                    <a:pt x="13457" y="18391"/>
                  </a:lnTo>
                  <a:lnTo>
                    <a:pt x="14165" y="18196"/>
                  </a:lnTo>
                  <a:lnTo>
                    <a:pt x="14483" y="18074"/>
                  </a:lnTo>
                  <a:lnTo>
                    <a:pt x="14776" y="17952"/>
                  </a:lnTo>
                  <a:lnTo>
                    <a:pt x="14507" y="17512"/>
                  </a:lnTo>
                  <a:lnTo>
                    <a:pt x="14214" y="17097"/>
                  </a:lnTo>
                  <a:lnTo>
                    <a:pt x="13897" y="16682"/>
                  </a:lnTo>
                  <a:lnTo>
                    <a:pt x="13555" y="16291"/>
                  </a:lnTo>
                  <a:lnTo>
                    <a:pt x="13188" y="15925"/>
                  </a:lnTo>
                  <a:lnTo>
                    <a:pt x="12822" y="15583"/>
                  </a:lnTo>
                  <a:lnTo>
                    <a:pt x="12407" y="15265"/>
                  </a:lnTo>
                  <a:lnTo>
                    <a:pt x="11992" y="14972"/>
                  </a:lnTo>
                  <a:lnTo>
                    <a:pt x="11552" y="14703"/>
                  </a:lnTo>
                  <a:lnTo>
                    <a:pt x="11088" y="14459"/>
                  </a:lnTo>
                  <a:lnTo>
                    <a:pt x="10624" y="14239"/>
                  </a:lnTo>
                  <a:lnTo>
                    <a:pt x="10136" y="14044"/>
                  </a:lnTo>
                  <a:lnTo>
                    <a:pt x="9623" y="13897"/>
                  </a:lnTo>
                  <a:lnTo>
                    <a:pt x="9110" y="13775"/>
                  </a:lnTo>
                  <a:lnTo>
                    <a:pt x="8573" y="13678"/>
                  </a:lnTo>
                  <a:lnTo>
                    <a:pt x="8035" y="13629"/>
                  </a:lnTo>
                  <a:lnTo>
                    <a:pt x="8035" y="3347"/>
                  </a:lnTo>
                  <a:lnTo>
                    <a:pt x="7913" y="3054"/>
                  </a:lnTo>
                  <a:lnTo>
                    <a:pt x="7840" y="2761"/>
                  </a:lnTo>
                  <a:lnTo>
                    <a:pt x="7791" y="2467"/>
                  </a:lnTo>
                  <a:lnTo>
                    <a:pt x="7767" y="2174"/>
                  </a:lnTo>
                  <a:lnTo>
                    <a:pt x="7791" y="1857"/>
                  </a:lnTo>
                  <a:lnTo>
                    <a:pt x="7840" y="1564"/>
                  </a:lnTo>
                  <a:lnTo>
                    <a:pt x="7913" y="1271"/>
                  </a:lnTo>
                  <a:lnTo>
                    <a:pt x="8035" y="978"/>
                  </a:lnTo>
                  <a:lnTo>
                    <a:pt x="8035" y="636"/>
                  </a:lnTo>
                  <a:lnTo>
                    <a:pt x="8011" y="514"/>
                  </a:lnTo>
                  <a:lnTo>
                    <a:pt x="7986" y="392"/>
                  </a:lnTo>
                  <a:lnTo>
                    <a:pt x="7913" y="294"/>
                  </a:lnTo>
                  <a:lnTo>
                    <a:pt x="7840" y="196"/>
                  </a:lnTo>
                  <a:lnTo>
                    <a:pt x="7742" y="123"/>
                  </a:lnTo>
                  <a:lnTo>
                    <a:pt x="7644" y="50"/>
                  </a:lnTo>
                  <a:lnTo>
                    <a:pt x="7522" y="25"/>
                  </a:lnTo>
                  <a:lnTo>
                    <a:pt x="740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17" name="Shape 546"/>
            <p:cNvSpPr/>
            <p:nvPr/>
          </p:nvSpPr>
          <p:spPr>
            <a:xfrm>
              <a:off x="2624850" y="4357675"/>
              <a:ext cx="171600" cy="171600"/>
            </a:xfrm>
            <a:custGeom>
              <a:avLst/>
              <a:gdLst/>
              <a:ahLst/>
              <a:cxnLst/>
              <a:rect l="0" t="0" r="0" b="0"/>
              <a:pathLst>
                <a:path w="6864" h="6864" extrusionOk="0">
                  <a:moveTo>
                    <a:pt x="74" y="1"/>
                  </a:moveTo>
                  <a:lnTo>
                    <a:pt x="25" y="25"/>
                  </a:lnTo>
                  <a:lnTo>
                    <a:pt x="0" y="74"/>
                  </a:lnTo>
                  <a:lnTo>
                    <a:pt x="0" y="123"/>
                  </a:lnTo>
                  <a:lnTo>
                    <a:pt x="0" y="318"/>
                  </a:lnTo>
                  <a:lnTo>
                    <a:pt x="25" y="587"/>
                  </a:lnTo>
                  <a:lnTo>
                    <a:pt x="74" y="929"/>
                  </a:lnTo>
                  <a:lnTo>
                    <a:pt x="269" y="1759"/>
                  </a:lnTo>
                  <a:lnTo>
                    <a:pt x="538" y="2736"/>
                  </a:lnTo>
                  <a:lnTo>
                    <a:pt x="880" y="3737"/>
                  </a:lnTo>
                  <a:lnTo>
                    <a:pt x="1051" y="4226"/>
                  </a:lnTo>
                  <a:lnTo>
                    <a:pt x="1246" y="4690"/>
                  </a:lnTo>
                  <a:lnTo>
                    <a:pt x="1441" y="5105"/>
                  </a:lnTo>
                  <a:lnTo>
                    <a:pt x="1661" y="5496"/>
                  </a:lnTo>
                  <a:lnTo>
                    <a:pt x="1857" y="5813"/>
                  </a:lnTo>
                  <a:lnTo>
                    <a:pt x="2076" y="6057"/>
                  </a:lnTo>
                  <a:lnTo>
                    <a:pt x="2272" y="6228"/>
                  </a:lnTo>
                  <a:lnTo>
                    <a:pt x="2492" y="6399"/>
                  </a:lnTo>
                  <a:lnTo>
                    <a:pt x="2711" y="6521"/>
                  </a:lnTo>
                  <a:lnTo>
                    <a:pt x="2956" y="6644"/>
                  </a:lnTo>
                  <a:lnTo>
                    <a:pt x="3200" y="6741"/>
                  </a:lnTo>
                  <a:lnTo>
                    <a:pt x="3444" y="6815"/>
                  </a:lnTo>
                  <a:lnTo>
                    <a:pt x="3688" y="6863"/>
                  </a:lnTo>
                  <a:lnTo>
                    <a:pt x="4201" y="6863"/>
                  </a:lnTo>
                  <a:lnTo>
                    <a:pt x="4445" y="6839"/>
                  </a:lnTo>
                  <a:lnTo>
                    <a:pt x="4690" y="6815"/>
                  </a:lnTo>
                  <a:lnTo>
                    <a:pt x="4958" y="6741"/>
                  </a:lnTo>
                  <a:lnTo>
                    <a:pt x="5178" y="6644"/>
                  </a:lnTo>
                  <a:lnTo>
                    <a:pt x="5422" y="6521"/>
                  </a:lnTo>
                  <a:lnTo>
                    <a:pt x="5642" y="6399"/>
                  </a:lnTo>
                  <a:lnTo>
                    <a:pt x="5862" y="6228"/>
                  </a:lnTo>
                  <a:lnTo>
                    <a:pt x="2198" y="2565"/>
                  </a:lnTo>
                  <a:lnTo>
                    <a:pt x="2150" y="2492"/>
                  </a:lnTo>
                  <a:lnTo>
                    <a:pt x="2125" y="2394"/>
                  </a:lnTo>
                  <a:lnTo>
                    <a:pt x="2150" y="2296"/>
                  </a:lnTo>
                  <a:lnTo>
                    <a:pt x="2198" y="2199"/>
                  </a:lnTo>
                  <a:lnTo>
                    <a:pt x="2296" y="2150"/>
                  </a:lnTo>
                  <a:lnTo>
                    <a:pt x="2394" y="2125"/>
                  </a:lnTo>
                  <a:lnTo>
                    <a:pt x="2492" y="2150"/>
                  </a:lnTo>
                  <a:lnTo>
                    <a:pt x="2565" y="2199"/>
                  </a:lnTo>
                  <a:lnTo>
                    <a:pt x="6228" y="5862"/>
                  </a:lnTo>
                  <a:lnTo>
                    <a:pt x="6375" y="5642"/>
                  </a:lnTo>
                  <a:lnTo>
                    <a:pt x="6521" y="5422"/>
                  </a:lnTo>
                  <a:lnTo>
                    <a:pt x="6643" y="5203"/>
                  </a:lnTo>
                  <a:lnTo>
                    <a:pt x="6741" y="4958"/>
                  </a:lnTo>
                  <a:lnTo>
                    <a:pt x="6814" y="4714"/>
                  </a:lnTo>
                  <a:lnTo>
                    <a:pt x="6839" y="4446"/>
                  </a:lnTo>
                  <a:lnTo>
                    <a:pt x="6863" y="4201"/>
                  </a:lnTo>
                  <a:lnTo>
                    <a:pt x="6863" y="3933"/>
                  </a:lnTo>
                  <a:lnTo>
                    <a:pt x="6839" y="3688"/>
                  </a:lnTo>
                  <a:lnTo>
                    <a:pt x="6814" y="3444"/>
                  </a:lnTo>
                  <a:lnTo>
                    <a:pt x="6741" y="3200"/>
                  </a:lnTo>
                  <a:lnTo>
                    <a:pt x="6643" y="2956"/>
                  </a:lnTo>
                  <a:lnTo>
                    <a:pt x="6521" y="2711"/>
                  </a:lnTo>
                  <a:lnTo>
                    <a:pt x="6399" y="2492"/>
                  </a:lnTo>
                  <a:lnTo>
                    <a:pt x="6228" y="2272"/>
                  </a:lnTo>
                  <a:lnTo>
                    <a:pt x="6057" y="2076"/>
                  </a:lnTo>
                  <a:lnTo>
                    <a:pt x="5813" y="1857"/>
                  </a:lnTo>
                  <a:lnTo>
                    <a:pt x="5496" y="1661"/>
                  </a:lnTo>
                  <a:lnTo>
                    <a:pt x="5105" y="1466"/>
                  </a:lnTo>
                  <a:lnTo>
                    <a:pt x="4690" y="1246"/>
                  </a:lnTo>
                  <a:lnTo>
                    <a:pt x="4226" y="1051"/>
                  </a:lnTo>
                  <a:lnTo>
                    <a:pt x="3737" y="880"/>
                  </a:lnTo>
                  <a:lnTo>
                    <a:pt x="2736" y="538"/>
                  </a:lnTo>
                  <a:lnTo>
                    <a:pt x="1759" y="269"/>
                  </a:lnTo>
                  <a:lnTo>
                    <a:pt x="928" y="74"/>
                  </a:lnTo>
                  <a:lnTo>
                    <a:pt x="587" y="25"/>
                  </a:lnTo>
                  <a:lnTo>
                    <a:pt x="31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18" name="Shape 547"/>
          <p:cNvSpPr/>
          <p:nvPr/>
        </p:nvSpPr>
        <p:spPr>
          <a:xfrm>
            <a:off x="5279266" y="4860753"/>
            <a:ext cx="310518" cy="310537"/>
          </a:xfrm>
          <a:custGeom>
            <a:avLst/>
            <a:gdLst/>
            <a:ahLst/>
            <a:cxnLst/>
            <a:rect l="0" t="0" r="0" b="0"/>
            <a:pathLst>
              <a:path w="16266" h="16267" extrusionOk="0">
                <a:moveTo>
                  <a:pt x="11503" y="5349"/>
                </a:moveTo>
                <a:lnTo>
                  <a:pt x="11650" y="5398"/>
                </a:lnTo>
                <a:lnTo>
                  <a:pt x="11796" y="5447"/>
                </a:lnTo>
                <a:lnTo>
                  <a:pt x="11919" y="5545"/>
                </a:lnTo>
                <a:lnTo>
                  <a:pt x="12065" y="5691"/>
                </a:lnTo>
                <a:lnTo>
                  <a:pt x="12163" y="5838"/>
                </a:lnTo>
                <a:lnTo>
                  <a:pt x="12212" y="6033"/>
                </a:lnTo>
                <a:lnTo>
                  <a:pt x="12236" y="6229"/>
                </a:lnTo>
                <a:lnTo>
                  <a:pt x="12236" y="6375"/>
                </a:lnTo>
                <a:lnTo>
                  <a:pt x="12187" y="6522"/>
                </a:lnTo>
                <a:lnTo>
                  <a:pt x="12138" y="6644"/>
                </a:lnTo>
                <a:lnTo>
                  <a:pt x="12041" y="6766"/>
                </a:lnTo>
                <a:lnTo>
                  <a:pt x="7938" y="10893"/>
                </a:lnTo>
                <a:lnTo>
                  <a:pt x="7816" y="11015"/>
                </a:lnTo>
                <a:lnTo>
                  <a:pt x="7645" y="11113"/>
                </a:lnTo>
                <a:lnTo>
                  <a:pt x="7474" y="11186"/>
                </a:lnTo>
                <a:lnTo>
                  <a:pt x="7303" y="11211"/>
                </a:lnTo>
                <a:lnTo>
                  <a:pt x="7083" y="11211"/>
                </a:lnTo>
                <a:lnTo>
                  <a:pt x="6912" y="11162"/>
                </a:lnTo>
                <a:lnTo>
                  <a:pt x="6765" y="11064"/>
                </a:lnTo>
                <a:lnTo>
                  <a:pt x="6619" y="10967"/>
                </a:lnTo>
                <a:lnTo>
                  <a:pt x="4567" y="8915"/>
                </a:lnTo>
                <a:lnTo>
                  <a:pt x="4470" y="8769"/>
                </a:lnTo>
                <a:lnTo>
                  <a:pt x="4372" y="8622"/>
                </a:lnTo>
                <a:lnTo>
                  <a:pt x="4323" y="8451"/>
                </a:lnTo>
                <a:lnTo>
                  <a:pt x="4323" y="8280"/>
                </a:lnTo>
                <a:lnTo>
                  <a:pt x="4323" y="8109"/>
                </a:lnTo>
                <a:lnTo>
                  <a:pt x="4372" y="7938"/>
                </a:lnTo>
                <a:lnTo>
                  <a:pt x="4470" y="7792"/>
                </a:lnTo>
                <a:lnTo>
                  <a:pt x="4567" y="7670"/>
                </a:lnTo>
                <a:lnTo>
                  <a:pt x="4714" y="7547"/>
                </a:lnTo>
                <a:lnTo>
                  <a:pt x="4860" y="7474"/>
                </a:lnTo>
                <a:lnTo>
                  <a:pt x="5031" y="7425"/>
                </a:lnTo>
                <a:lnTo>
                  <a:pt x="5202" y="7401"/>
                </a:lnTo>
                <a:lnTo>
                  <a:pt x="5373" y="7425"/>
                </a:lnTo>
                <a:lnTo>
                  <a:pt x="5520" y="7474"/>
                </a:lnTo>
                <a:lnTo>
                  <a:pt x="5691" y="7547"/>
                </a:lnTo>
                <a:lnTo>
                  <a:pt x="5813" y="7670"/>
                </a:lnTo>
                <a:lnTo>
                  <a:pt x="7181" y="9013"/>
                </a:lnTo>
                <a:lnTo>
                  <a:pt x="10673" y="5667"/>
                </a:lnTo>
                <a:lnTo>
                  <a:pt x="10820" y="5520"/>
                </a:lnTo>
                <a:lnTo>
                  <a:pt x="10991" y="5423"/>
                </a:lnTo>
                <a:lnTo>
                  <a:pt x="11161" y="5374"/>
                </a:lnTo>
                <a:lnTo>
                  <a:pt x="11357" y="5349"/>
                </a:lnTo>
                <a:close/>
                <a:moveTo>
                  <a:pt x="7718" y="1"/>
                </a:moveTo>
                <a:lnTo>
                  <a:pt x="7303" y="50"/>
                </a:lnTo>
                <a:lnTo>
                  <a:pt x="6887" y="98"/>
                </a:lnTo>
                <a:lnTo>
                  <a:pt x="6497" y="172"/>
                </a:lnTo>
                <a:lnTo>
                  <a:pt x="6106" y="245"/>
                </a:lnTo>
                <a:lnTo>
                  <a:pt x="5715" y="367"/>
                </a:lnTo>
                <a:lnTo>
                  <a:pt x="5349" y="489"/>
                </a:lnTo>
                <a:lnTo>
                  <a:pt x="4958" y="636"/>
                </a:lnTo>
                <a:lnTo>
                  <a:pt x="4616" y="807"/>
                </a:lnTo>
                <a:lnTo>
                  <a:pt x="4250" y="978"/>
                </a:lnTo>
                <a:lnTo>
                  <a:pt x="3908" y="1173"/>
                </a:lnTo>
                <a:lnTo>
                  <a:pt x="3590" y="1393"/>
                </a:lnTo>
                <a:lnTo>
                  <a:pt x="3273" y="1613"/>
                </a:lnTo>
                <a:lnTo>
                  <a:pt x="2955" y="1857"/>
                </a:lnTo>
                <a:lnTo>
                  <a:pt x="2662" y="2125"/>
                </a:lnTo>
                <a:lnTo>
                  <a:pt x="2394" y="2394"/>
                </a:lnTo>
                <a:lnTo>
                  <a:pt x="2125" y="2663"/>
                </a:lnTo>
                <a:lnTo>
                  <a:pt x="1856" y="2956"/>
                </a:lnTo>
                <a:lnTo>
                  <a:pt x="1612" y="3273"/>
                </a:lnTo>
                <a:lnTo>
                  <a:pt x="1392" y="3591"/>
                </a:lnTo>
                <a:lnTo>
                  <a:pt x="1172" y="3908"/>
                </a:lnTo>
                <a:lnTo>
                  <a:pt x="977" y="4250"/>
                </a:lnTo>
                <a:lnTo>
                  <a:pt x="806" y="4617"/>
                </a:lnTo>
                <a:lnTo>
                  <a:pt x="635" y="4959"/>
                </a:lnTo>
                <a:lnTo>
                  <a:pt x="489" y="5349"/>
                </a:lnTo>
                <a:lnTo>
                  <a:pt x="366" y="5716"/>
                </a:lnTo>
                <a:lnTo>
                  <a:pt x="244" y="6106"/>
                </a:lnTo>
                <a:lnTo>
                  <a:pt x="171" y="6497"/>
                </a:lnTo>
                <a:lnTo>
                  <a:pt x="98" y="6888"/>
                </a:lnTo>
                <a:lnTo>
                  <a:pt x="49" y="7303"/>
                </a:lnTo>
                <a:lnTo>
                  <a:pt x="0" y="7718"/>
                </a:lnTo>
                <a:lnTo>
                  <a:pt x="0" y="8134"/>
                </a:lnTo>
                <a:lnTo>
                  <a:pt x="0" y="8549"/>
                </a:lnTo>
                <a:lnTo>
                  <a:pt x="49" y="8964"/>
                </a:lnTo>
                <a:lnTo>
                  <a:pt x="98" y="9379"/>
                </a:lnTo>
                <a:lnTo>
                  <a:pt x="171" y="9770"/>
                </a:lnTo>
                <a:lnTo>
                  <a:pt x="244" y="10161"/>
                </a:lnTo>
                <a:lnTo>
                  <a:pt x="366" y="10551"/>
                </a:lnTo>
                <a:lnTo>
                  <a:pt x="489" y="10918"/>
                </a:lnTo>
                <a:lnTo>
                  <a:pt x="635" y="11309"/>
                </a:lnTo>
                <a:lnTo>
                  <a:pt x="806" y="11650"/>
                </a:lnTo>
                <a:lnTo>
                  <a:pt x="977" y="12017"/>
                </a:lnTo>
                <a:lnTo>
                  <a:pt x="1172" y="12359"/>
                </a:lnTo>
                <a:lnTo>
                  <a:pt x="1392" y="12676"/>
                </a:lnTo>
                <a:lnTo>
                  <a:pt x="1612" y="12994"/>
                </a:lnTo>
                <a:lnTo>
                  <a:pt x="1856" y="13311"/>
                </a:lnTo>
                <a:lnTo>
                  <a:pt x="2125" y="13604"/>
                </a:lnTo>
                <a:lnTo>
                  <a:pt x="2394" y="13873"/>
                </a:lnTo>
                <a:lnTo>
                  <a:pt x="2662" y="14142"/>
                </a:lnTo>
                <a:lnTo>
                  <a:pt x="2955" y="14410"/>
                </a:lnTo>
                <a:lnTo>
                  <a:pt x="3273" y="14655"/>
                </a:lnTo>
                <a:lnTo>
                  <a:pt x="3590" y="14874"/>
                </a:lnTo>
                <a:lnTo>
                  <a:pt x="3908" y="15094"/>
                </a:lnTo>
                <a:lnTo>
                  <a:pt x="4250" y="15290"/>
                </a:lnTo>
                <a:lnTo>
                  <a:pt x="4616" y="15460"/>
                </a:lnTo>
                <a:lnTo>
                  <a:pt x="4958" y="15631"/>
                </a:lnTo>
                <a:lnTo>
                  <a:pt x="5349" y="15778"/>
                </a:lnTo>
                <a:lnTo>
                  <a:pt x="5715" y="15900"/>
                </a:lnTo>
                <a:lnTo>
                  <a:pt x="6106" y="16022"/>
                </a:lnTo>
                <a:lnTo>
                  <a:pt x="6497" y="16095"/>
                </a:lnTo>
                <a:lnTo>
                  <a:pt x="6887" y="16169"/>
                </a:lnTo>
                <a:lnTo>
                  <a:pt x="7303" y="16218"/>
                </a:lnTo>
                <a:lnTo>
                  <a:pt x="7718" y="16266"/>
                </a:lnTo>
                <a:lnTo>
                  <a:pt x="8548" y="16266"/>
                </a:lnTo>
                <a:lnTo>
                  <a:pt x="8963" y="16218"/>
                </a:lnTo>
                <a:lnTo>
                  <a:pt x="9379" y="16169"/>
                </a:lnTo>
                <a:lnTo>
                  <a:pt x="9769" y="16095"/>
                </a:lnTo>
                <a:lnTo>
                  <a:pt x="10160" y="16022"/>
                </a:lnTo>
                <a:lnTo>
                  <a:pt x="10551" y="15900"/>
                </a:lnTo>
                <a:lnTo>
                  <a:pt x="10942" y="15778"/>
                </a:lnTo>
                <a:lnTo>
                  <a:pt x="11308" y="15631"/>
                </a:lnTo>
                <a:lnTo>
                  <a:pt x="11650" y="15460"/>
                </a:lnTo>
                <a:lnTo>
                  <a:pt x="12016" y="15290"/>
                </a:lnTo>
                <a:lnTo>
                  <a:pt x="12358" y="15094"/>
                </a:lnTo>
                <a:lnTo>
                  <a:pt x="12676" y="14874"/>
                </a:lnTo>
                <a:lnTo>
                  <a:pt x="12993" y="14655"/>
                </a:lnTo>
                <a:lnTo>
                  <a:pt x="13311" y="14410"/>
                </a:lnTo>
                <a:lnTo>
                  <a:pt x="13604" y="14142"/>
                </a:lnTo>
                <a:lnTo>
                  <a:pt x="13872" y="13873"/>
                </a:lnTo>
                <a:lnTo>
                  <a:pt x="14166" y="13604"/>
                </a:lnTo>
                <a:lnTo>
                  <a:pt x="14410" y="13311"/>
                </a:lnTo>
                <a:lnTo>
                  <a:pt x="14654" y="12994"/>
                </a:lnTo>
                <a:lnTo>
                  <a:pt x="14874" y="12676"/>
                </a:lnTo>
                <a:lnTo>
                  <a:pt x="15094" y="12359"/>
                </a:lnTo>
                <a:lnTo>
                  <a:pt x="15289" y="12017"/>
                </a:lnTo>
                <a:lnTo>
                  <a:pt x="15460" y="11650"/>
                </a:lnTo>
                <a:lnTo>
                  <a:pt x="15631" y="11309"/>
                </a:lnTo>
                <a:lnTo>
                  <a:pt x="15777" y="10918"/>
                </a:lnTo>
                <a:lnTo>
                  <a:pt x="15900" y="10551"/>
                </a:lnTo>
                <a:lnTo>
                  <a:pt x="16022" y="10161"/>
                </a:lnTo>
                <a:lnTo>
                  <a:pt x="16095" y="9770"/>
                </a:lnTo>
                <a:lnTo>
                  <a:pt x="16168" y="9379"/>
                </a:lnTo>
                <a:lnTo>
                  <a:pt x="16217" y="8964"/>
                </a:lnTo>
                <a:lnTo>
                  <a:pt x="16266" y="8549"/>
                </a:lnTo>
                <a:lnTo>
                  <a:pt x="16266" y="8134"/>
                </a:lnTo>
                <a:lnTo>
                  <a:pt x="16266" y="7718"/>
                </a:lnTo>
                <a:lnTo>
                  <a:pt x="16217" y="7303"/>
                </a:lnTo>
                <a:lnTo>
                  <a:pt x="16168" y="6888"/>
                </a:lnTo>
                <a:lnTo>
                  <a:pt x="16095" y="6497"/>
                </a:lnTo>
                <a:lnTo>
                  <a:pt x="16022" y="6106"/>
                </a:lnTo>
                <a:lnTo>
                  <a:pt x="15900" y="5716"/>
                </a:lnTo>
                <a:lnTo>
                  <a:pt x="15777" y="5349"/>
                </a:lnTo>
                <a:lnTo>
                  <a:pt x="15631" y="4959"/>
                </a:lnTo>
                <a:lnTo>
                  <a:pt x="15460" y="4617"/>
                </a:lnTo>
                <a:lnTo>
                  <a:pt x="15289" y="4250"/>
                </a:lnTo>
                <a:lnTo>
                  <a:pt x="15094" y="3908"/>
                </a:lnTo>
                <a:lnTo>
                  <a:pt x="14874" y="3591"/>
                </a:lnTo>
                <a:lnTo>
                  <a:pt x="14654" y="3273"/>
                </a:lnTo>
                <a:lnTo>
                  <a:pt x="14410" y="2956"/>
                </a:lnTo>
                <a:lnTo>
                  <a:pt x="14166" y="2663"/>
                </a:lnTo>
                <a:lnTo>
                  <a:pt x="13872" y="2394"/>
                </a:lnTo>
                <a:lnTo>
                  <a:pt x="13604" y="2125"/>
                </a:lnTo>
                <a:lnTo>
                  <a:pt x="13311" y="1857"/>
                </a:lnTo>
                <a:lnTo>
                  <a:pt x="12993" y="1613"/>
                </a:lnTo>
                <a:lnTo>
                  <a:pt x="12676" y="1393"/>
                </a:lnTo>
                <a:lnTo>
                  <a:pt x="12358" y="1173"/>
                </a:lnTo>
                <a:lnTo>
                  <a:pt x="12016" y="978"/>
                </a:lnTo>
                <a:lnTo>
                  <a:pt x="11650" y="807"/>
                </a:lnTo>
                <a:lnTo>
                  <a:pt x="11308" y="636"/>
                </a:lnTo>
                <a:lnTo>
                  <a:pt x="10942" y="489"/>
                </a:lnTo>
                <a:lnTo>
                  <a:pt x="10551" y="367"/>
                </a:lnTo>
                <a:lnTo>
                  <a:pt x="10160" y="245"/>
                </a:lnTo>
                <a:lnTo>
                  <a:pt x="9769" y="172"/>
                </a:lnTo>
                <a:lnTo>
                  <a:pt x="9379" y="98"/>
                </a:lnTo>
                <a:lnTo>
                  <a:pt x="8963" y="50"/>
                </a:lnTo>
                <a:lnTo>
                  <a:pt x="854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19" name="Shape 548"/>
          <p:cNvSpPr/>
          <p:nvPr/>
        </p:nvSpPr>
        <p:spPr>
          <a:xfrm>
            <a:off x="4764491" y="4880341"/>
            <a:ext cx="310518" cy="271364"/>
          </a:xfrm>
          <a:custGeom>
            <a:avLst/>
            <a:gdLst/>
            <a:ahLst/>
            <a:cxnLst/>
            <a:rect l="0" t="0" r="0" b="0"/>
            <a:pathLst>
              <a:path w="16266" h="14215" extrusionOk="0">
                <a:moveTo>
                  <a:pt x="8597" y="4397"/>
                </a:moveTo>
                <a:lnTo>
                  <a:pt x="8719" y="4421"/>
                </a:lnTo>
                <a:lnTo>
                  <a:pt x="8866" y="4445"/>
                </a:lnTo>
                <a:lnTo>
                  <a:pt x="8988" y="4519"/>
                </a:lnTo>
                <a:lnTo>
                  <a:pt x="9085" y="4616"/>
                </a:lnTo>
                <a:lnTo>
                  <a:pt x="9159" y="4714"/>
                </a:lnTo>
                <a:lnTo>
                  <a:pt x="9208" y="4836"/>
                </a:lnTo>
                <a:lnTo>
                  <a:pt x="9232" y="4958"/>
                </a:lnTo>
                <a:lnTo>
                  <a:pt x="9256" y="5105"/>
                </a:lnTo>
                <a:lnTo>
                  <a:pt x="8963" y="8939"/>
                </a:lnTo>
                <a:lnTo>
                  <a:pt x="8939" y="9086"/>
                </a:lnTo>
                <a:lnTo>
                  <a:pt x="8890" y="9232"/>
                </a:lnTo>
                <a:lnTo>
                  <a:pt x="8817" y="9330"/>
                </a:lnTo>
                <a:lnTo>
                  <a:pt x="8719" y="9452"/>
                </a:lnTo>
                <a:lnTo>
                  <a:pt x="8597" y="9525"/>
                </a:lnTo>
                <a:lnTo>
                  <a:pt x="8475" y="9599"/>
                </a:lnTo>
                <a:lnTo>
                  <a:pt x="8353" y="9648"/>
                </a:lnTo>
                <a:lnTo>
                  <a:pt x="7913" y="9648"/>
                </a:lnTo>
                <a:lnTo>
                  <a:pt x="7791" y="9599"/>
                </a:lnTo>
                <a:lnTo>
                  <a:pt x="7669" y="9525"/>
                </a:lnTo>
                <a:lnTo>
                  <a:pt x="7547" y="9452"/>
                </a:lnTo>
                <a:lnTo>
                  <a:pt x="7449" y="9330"/>
                </a:lnTo>
                <a:lnTo>
                  <a:pt x="7376" y="9232"/>
                </a:lnTo>
                <a:lnTo>
                  <a:pt x="7327" y="9086"/>
                </a:lnTo>
                <a:lnTo>
                  <a:pt x="7303" y="8939"/>
                </a:lnTo>
                <a:lnTo>
                  <a:pt x="7010" y="5105"/>
                </a:lnTo>
                <a:lnTo>
                  <a:pt x="7034" y="4958"/>
                </a:lnTo>
                <a:lnTo>
                  <a:pt x="7058" y="4836"/>
                </a:lnTo>
                <a:lnTo>
                  <a:pt x="7107" y="4714"/>
                </a:lnTo>
                <a:lnTo>
                  <a:pt x="7180" y="4616"/>
                </a:lnTo>
                <a:lnTo>
                  <a:pt x="7278" y="4519"/>
                </a:lnTo>
                <a:lnTo>
                  <a:pt x="7400" y="4445"/>
                </a:lnTo>
                <a:lnTo>
                  <a:pt x="7547" y="4421"/>
                </a:lnTo>
                <a:lnTo>
                  <a:pt x="7669" y="4397"/>
                </a:lnTo>
                <a:close/>
                <a:moveTo>
                  <a:pt x="8133" y="10429"/>
                </a:moveTo>
                <a:lnTo>
                  <a:pt x="8328" y="10454"/>
                </a:lnTo>
                <a:lnTo>
                  <a:pt x="8499" y="10502"/>
                </a:lnTo>
                <a:lnTo>
                  <a:pt x="8670" y="10600"/>
                </a:lnTo>
                <a:lnTo>
                  <a:pt x="8817" y="10722"/>
                </a:lnTo>
                <a:lnTo>
                  <a:pt x="8939" y="10869"/>
                </a:lnTo>
                <a:lnTo>
                  <a:pt x="9037" y="11040"/>
                </a:lnTo>
                <a:lnTo>
                  <a:pt x="9085" y="11211"/>
                </a:lnTo>
                <a:lnTo>
                  <a:pt x="9110" y="11406"/>
                </a:lnTo>
                <a:lnTo>
                  <a:pt x="9085" y="11601"/>
                </a:lnTo>
                <a:lnTo>
                  <a:pt x="9037" y="11797"/>
                </a:lnTo>
                <a:lnTo>
                  <a:pt x="8939" y="11943"/>
                </a:lnTo>
                <a:lnTo>
                  <a:pt x="8817" y="12090"/>
                </a:lnTo>
                <a:lnTo>
                  <a:pt x="8670" y="12212"/>
                </a:lnTo>
                <a:lnTo>
                  <a:pt x="8499" y="12310"/>
                </a:lnTo>
                <a:lnTo>
                  <a:pt x="8328" y="12359"/>
                </a:lnTo>
                <a:lnTo>
                  <a:pt x="8133" y="12383"/>
                </a:lnTo>
                <a:lnTo>
                  <a:pt x="7938" y="12359"/>
                </a:lnTo>
                <a:lnTo>
                  <a:pt x="7742" y="12310"/>
                </a:lnTo>
                <a:lnTo>
                  <a:pt x="7596" y="12212"/>
                </a:lnTo>
                <a:lnTo>
                  <a:pt x="7449" y="12090"/>
                </a:lnTo>
                <a:lnTo>
                  <a:pt x="7327" y="11943"/>
                </a:lnTo>
                <a:lnTo>
                  <a:pt x="7229" y="11797"/>
                </a:lnTo>
                <a:lnTo>
                  <a:pt x="7180" y="11601"/>
                </a:lnTo>
                <a:lnTo>
                  <a:pt x="7156" y="11406"/>
                </a:lnTo>
                <a:lnTo>
                  <a:pt x="7180" y="11211"/>
                </a:lnTo>
                <a:lnTo>
                  <a:pt x="7229" y="11040"/>
                </a:lnTo>
                <a:lnTo>
                  <a:pt x="7327" y="10869"/>
                </a:lnTo>
                <a:lnTo>
                  <a:pt x="7449" y="10722"/>
                </a:lnTo>
                <a:lnTo>
                  <a:pt x="7596" y="10600"/>
                </a:lnTo>
                <a:lnTo>
                  <a:pt x="7742" y="10502"/>
                </a:lnTo>
                <a:lnTo>
                  <a:pt x="7938" y="10454"/>
                </a:lnTo>
                <a:lnTo>
                  <a:pt x="8133" y="10429"/>
                </a:lnTo>
                <a:close/>
                <a:moveTo>
                  <a:pt x="7986" y="0"/>
                </a:moveTo>
                <a:lnTo>
                  <a:pt x="7864" y="25"/>
                </a:lnTo>
                <a:lnTo>
                  <a:pt x="7742" y="74"/>
                </a:lnTo>
                <a:lnTo>
                  <a:pt x="7620" y="123"/>
                </a:lnTo>
                <a:lnTo>
                  <a:pt x="7522" y="196"/>
                </a:lnTo>
                <a:lnTo>
                  <a:pt x="7425" y="294"/>
                </a:lnTo>
                <a:lnTo>
                  <a:pt x="7327" y="391"/>
                </a:lnTo>
                <a:lnTo>
                  <a:pt x="7254" y="489"/>
                </a:lnTo>
                <a:lnTo>
                  <a:pt x="147" y="12700"/>
                </a:lnTo>
                <a:lnTo>
                  <a:pt x="73" y="12823"/>
                </a:lnTo>
                <a:lnTo>
                  <a:pt x="25" y="12945"/>
                </a:lnTo>
                <a:lnTo>
                  <a:pt x="0" y="13067"/>
                </a:lnTo>
                <a:lnTo>
                  <a:pt x="0" y="13213"/>
                </a:lnTo>
                <a:lnTo>
                  <a:pt x="0" y="13335"/>
                </a:lnTo>
                <a:lnTo>
                  <a:pt x="25" y="13458"/>
                </a:lnTo>
                <a:lnTo>
                  <a:pt x="73" y="13604"/>
                </a:lnTo>
                <a:lnTo>
                  <a:pt x="147" y="13726"/>
                </a:lnTo>
                <a:lnTo>
                  <a:pt x="220" y="13824"/>
                </a:lnTo>
                <a:lnTo>
                  <a:pt x="293" y="13922"/>
                </a:lnTo>
                <a:lnTo>
                  <a:pt x="391" y="14019"/>
                </a:lnTo>
                <a:lnTo>
                  <a:pt x="513" y="14093"/>
                </a:lnTo>
                <a:lnTo>
                  <a:pt x="635" y="14141"/>
                </a:lnTo>
                <a:lnTo>
                  <a:pt x="757" y="14190"/>
                </a:lnTo>
                <a:lnTo>
                  <a:pt x="879" y="14215"/>
                </a:lnTo>
                <a:lnTo>
                  <a:pt x="15387" y="14215"/>
                </a:lnTo>
                <a:lnTo>
                  <a:pt x="15509" y="14190"/>
                </a:lnTo>
                <a:lnTo>
                  <a:pt x="15631" y="14141"/>
                </a:lnTo>
                <a:lnTo>
                  <a:pt x="15753" y="14093"/>
                </a:lnTo>
                <a:lnTo>
                  <a:pt x="15875" y="14019"/>
                </a:lnTo>
                <a:lnTo>
                  <a:pt x="15973" y="13922"/>
                </a:lnTo>
                <a:lnTo>
                  <a:pt x="16046" y="13824"/>
                </a:lnTo>
                <a:lnTo>
                  <a:pt x="16119" y="13726"/>
                </a:lnTo>
                <a:lnTo>
                  <a:pt x="16193" y="13604"/>
                </a:lnTo>
                <a:lnTo>
                  <a:pt x="16241" y="13458"/>
                </a:lnTo>
                <a:lnTo>
                  <a:pt x="16266" y="13335"/>
                </a:lnTo>
                <a:lnTo>
                  <a:pt x="16266" y="13213"/>
                </a:lnTo>
                <a:lnTo>
                  <a:pt x="16266" y="13067"/>
                </a:lnTo>
                <a:lnTo>
                  <a:pt x="16241" y="12945"/>
                </a:lnTo>
                <a:lnTo>
                  <a:pt x="16193" y="12823"/>
                </a:lnTo>
                <a:lnTo>
                  <a:pt x="16119" y="12700"/>
                </a:lnTo>
                <a:lnTo>
                  <a:pt x="9012" y="489"/>
                </a:lnTo>
                <a:lnTo>
                  <a:pt x="8939" y="391"/>
                </a:lnTo>
                <a:lnTo>
                  <a:pt x="8841" y="294"/>
                </a:lnTo>
                <a:lnTo>
                  <a:pt x="8744" y="196"/>
                </a:lnTo>
                <a:lnTo>
                  <a:pt x="8646" y="123"/>
                </a:lnTo>
                <a:lnTo>
                  <a:pt x="8524" y="74"/>
                </a:lnTo>
                <a:lnTo>
                  <a:pt x="8402" y="25"/>
                </a:lnTo>
                <a:lnTo>
                  <a:pt x="825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20" name="Shape 549"/>
          <p:cNvSpPr/>
          <p:nvPr/>
        </p:nvSpPr>
        <p:spPr>
          <a:xfrm>
            <a:off x="5792628" y="4859359"/>
            <a:ext cx="313343" cy="313324"/>
          </a:xfrm>
          <a:custGeom>
            <a:avLst/>
            <a:gdLst/>
            <a:ahLst/>
            <a:cxnLst/>
            <a:rect l="0" t="0" r="0" b="0"/>
            <a:pathLst>
              <a:path w="16414" h="16413" extrusionOk="0">
                <a:moveTo>
                  <a:pt x="10088" y="5080"/>
                </a:moveTo>
                <a:lnTo>
                  <a:pt x="10234" y="5105"/>
                </a:lnTo>
                <a:lnTo>
                  <a:pt x="10307" y="5129"/>
                </a:lnTo>
                <a:lnTo>
                  <a:pt x="10356" y="5178"/>
                </a:lnTo>
                <a:lnTo>
                  <a:pt x="11235" y="6057"/>
                </a:lnTo>
                <a:lnTo>
                  <a:pt x="11284" y="6106"/>
                </a:lnTo>
                <a:lnTo>
                  <a:pt x="11309" y="6179"/>
                </a:lnTo>
                <a:lnTo>
                  <a:pt x="11333" y="6326"/>
                </a:lnTo>
                <a:lnTo>
                  <a:pt x="11309" y="6473"/>
                </a:lnTo>
                <a:lnTo>
                  <a:pt x="11284" y="6546"/>
                </a:lnTo>
                <a:lnTo>
                  <a:pt x="11235" y="6595"/>
                </a:lnTo>
                <a:lnTo>
                  <a:pt x="9892" y="7938"/>
                </a:lnTo>
                <a:lnTo>
                  <a:pt x="9843" y="7987"/>
                </a:lnTo>
                <a:lnTo>
                  <a:pt x="9819" y="8060"/>
                </a:lnTo>
                <a:lnTo>
                  <a:pt x="9795" y="8207"/>
                </a:lnTo>
                <a:lnTo>
                  <a:pt x="9819" y="8353"/>
                </a:lnTo>
                <a:lnTo>
                  <a:pt x="9843" y="8426"/>
                </a:lnTo>
                <a:lnTo>
                  <a:pt x="9892" y="8475"/>
                </a:lnTo>
                <a:lnTo>
                  <a:pt x="11235" y="9818"/>
                </a:lnTo>
                <a:lnTo>
                  <a:pt x="11284" y="9867"/>
                </a:lnTo>
                <a:lnTo>
                  <a:pt x="11309" y="9941"/>
                </a:lnTo>
                <a:lnTo>
                  <a:pt x="11333" y="10087"/>
                </a:lnTo>
                <a:lnTo>
                  <a:pt x="11309" y="10234"/>
                </a:lnTo>
                <a:lnTo>
                  <a:pt x="11284" y="10307"/>
                </a:lnTo>
                <a:lnTo>
                  <a:pt x="11235" y="10356"/>
                </a:lnTo>
                <a:lnTo>
                  <a:pt x="10356" y="11235"/>
                </a:lnTo>
                <a:lnTo>
                  <a:pt x="10307" y="11284"/>
                </a:lnTo>
                <a:lnTo>
                  <a:pt x="10234" y="11308"/>
                </a:lnTo>
                <a:lnTo>
                  <a:pt x="10088" y="11333"/>
                </a:lnTo>
                <a:lnTo>
                  <a:pt x="9941" y="11308"/>
                </a:lnTo>
                <a:lnTo>
                  <a:pt x="9868" y="11284"/>
                </a:lnTo>
                <a:lnTo>
                  <a:pt x="9819" y="11235"/>
                </a:lnTo>
                <a:lnTo>
                  <a:pt x="8476" y="9892"/>
                </a:lnTo>
                <a:lnTo>
                  <a:pt x="8427" y="9843"/>
                </a:lnTo>
                <a:lnTo>
                  <a:pt x="8354" y="9818"/>
                </a:lnTo>
                <a:lnTo>
                  <a:pt x="8207" y="9794"/>
                </a:lnTo>
                <a:lnTo>
                  <a:pt x="8061" y="9818"/>
                </a:lnTo>
                <a:lnTo>
                  <a:pt x="7987" y="9843"/>
                </a:lnTo>
                <a:lnTo>
                  <a:pt x="7938" y="9892"/>
                </a:lnTo>
                <a:lnTo>
                  <a:pt x="6595" y="11235"/>
                </a:lnTo>
                <a:lnTo>
                  <a:pt x="6546" y="11284"/>
                </a:lnTo>
                <a:lnTo>
                  <a:pt x="6473" y="11308"/>
                </a:lnTo>
                <a:lnTo>
                  <a:pt x="6326" y="11333"/>
                </a:lnTo>
                <a:lnTo>
                  <a:pt x="6180" y="11308"/>
                </a:lnTo>
                <a:lnTo>
                  <a:pt x="6107" y="11284"/>
                </a:lnTo>
                <a:lnTo>
                  <a:pt x="6058" y="11235"/>
                </a:lnTo>
                <a:lnTo>
                  <a:pt x="5179" y="10356"/>
                </a:lnTo>
                <a:lnTo>
                  <a:pt x="5130" y="10307"/>
                </a:lnTo>
                <a:lnTo>
                  <a:pt x="5105" y="10234"/>
                </a:lnTo>
                <a:lnTo>
                  <a:pt x="5081" y="10087"/>
                </a:lnTo>
                <a:lnTo>
                  <a:pt x="5105" y="9941"/>
                </a:lnTo>
                <a:lnTo>
                  <a:pt x="5130" y="9867"/>
                </a:lnTo>
                <a:lnTo>
                  <a:pt x="5179" y="9818"/>
                </a:lnTo>
                <a:lnTo>
                  <a:pt x="6522" y="8475"/>
                </a:lnTo>
                <a:lnTo>
                  <a:pt x="6571" y="8426"/>
                </a:lnTo>
                <a:lnTo>
                  <a:pt x="6595" y="8353"/>
                </a:lnTo>
                <a:lnTo>
                  <a:pt x="6620" y="8207"/>
                </a:lnTo>
                <a:lnTo>
                  <a:pt x="6595" y="8060"/>
                </a:lnTo>
                <a:lnTo>
                  <a:pt x="6571" y="7987"/>
                </a:lnTo>
                <a:lnTo>
                  <a:pt x="6522" y="7938"/>
                </a:lnTo>
                <a:lnTo>
                  <a:pt x="5179" y="6595"/>
                </a:lnTo>
                <a:lnTo>
                  <a:pt x="5130" y="6546"/>
                </a:lnTo>
                <a:lnTo>
                  <a:pt x="5105" y="6473"/>
                </a:lnTo>
                <a:lnTo>
                  <a:pt x="5081" y="6326"/>
                </a:lnTo>
                <a:lnTo>
                  <a:pt x="5105" y="6179"/>
                </a:lnTo>
                <a:lnTo>
                  <a:pt x="5130" y="6106"/>
                </a:lnTo>
                <a:lnTo>
                  <a:pt x="5179" y="6057"/>
                </a:lnTo>
                <a:lnTo>
                  <a:pt x="6058" y="5178"/>
                </a:lnTo>
                <a:lnTo>
                  <a:pt x="6107" y="5129"/>
                </a:lnTo>
                <a:lnTo>
                  <a:pt x="6180" y="5105"/>
                </a:lnTo>
                <a:lnTo>
                  <a:pt x="6326" y="5080"/>
                </a:lnTo>
                <a:lnTo>
                  <a:pt x="6473" y="5105"/>
                </a:lnTo>
                <a:lnTo>
                  <a:pt x="6546" y="5129"/>
                </a:lnTo>
                <a:lnTo>
                  <a:pt x="6595" y="5178"/>
                </a:lnTo>
                <a:lnTo>
                  <a:pt x="7938" y="6521"/>
                </a:lnTo>
                <a:lnTo>
                  <a:pt x="7987" y="6570"/>
                </a:lnTo>
                <a:lnTo>
                  <a:pt x="8061" y="6595"/>
                </a:lnTo>
                <a:lnTo>
                  <a:pt x="8207" y="6619"/>
                </a:lnTo>
                <a:lnTo>
                  <a:pt x="8354" y="6595"/>
                </a:lnTo>
                <a:lnTo>
                  <a:pt x="8427" y="6570"/>
                </a:lnTo>
                <a:lnTo>
                  <a:pt x="8476" y="6521"/>
                </a:lnTo>
                <a:lnTo>
                  <a:pt x="9819" y="5178"/>
                </a:lnTo>
                <a:lnTo>
                  <a:pt x="9868" y="5129"/>
                </a:lnTo>
                <a:lnTo>
                  <a:pt x="9941" y="5105"/>
                </a:lnTo>
                <a:lnTo>
                  <a:pt x="10088" y="5080"/>
                </a:lnTo>
                <a:close/>
                <a:moveTo>
                  <a:pt x="5130" y="0"/>
                </a:moveTo>
                <a:lnTo>
                  <a:pt x="4934" y="25"/>
                </a:lnTo>
                <a:lnTo>
                  <a:pt x="4739" y="74"/>
                </a:lnTo>
                <a:lnTo>
                  <a:pt x="4568" y="171"/>
                </a:lnTo>
                <a:lnTo>
                  <a:pt x="4397" y="293"/>
                </a:lnTo>
                <a:lnTo>
                  <a:pt x="294" y="4397"/>
                </a:lnTo>
                <a:lnTo>
                  <a:pt x="172" y="4568"/>
                </a:lnTo>
                <a:lnTo>
                  <a:pt x="74" y="4738"/>
                </a:lnTo>
                <a:lnTo>
                  <a:pt x="25" y="4934"/>
                </a:lnTo>
                <a:lnTo>
                  <a:pt x="1" y="5129"/>
                </a:lnTo>
                <a:lnTo>
                  <a:pt x="1" y="11284"/>
                </a:lnTo>
                <a:lnTo>
                  <a:pt x="25" y="11479"/>
                </a:lnTo>
                <a:lnTo>
                  <a:pt x="74" y="11675"/>
                </a:lnTo>
                <a:lnTo>
                  <a:pt x="172" y="11846"/>
                </a:lnTo>
                <a:lnTo>
                  <a:pt x="294" y="12017"/>
                </a:lnTo>
                <a:lnTo>
                  <a:pt x="4397" y="16120"/>
                </a:lnTo>
                <a:lnTo>
                  <a:pt x="4568" y="16242"/>
                </a:lnTo>
                <a:lnTo>
                  <a:pt x="4739" y="16339"/>
                </a:lnTo>
                <a:lnTo>
                  <a:pt x="4934" y="16388"/>
                </a:lnTo>
                <a:lnTo>
                  <a:pt x="5130" y="16413"/>
                </a:lnTo>
                <a:lnTo>
                  <a:pt x="11284" y="16413"/>
                </a:lnTo>
                <a:lnTo>
                  <a:pt x="11480" y="16388"/>
                </a:lnTo>
                <a:lnTo>
                  <a:pt x="11675" y="16339"/>
                </a:lnTo>
                <a:lnTo>
                  <a:pt x="11846" y="16242"/>
                </a:lnTo>
                <a:lnTo>
                  <a:pt x="12017" y="16120"/>
                </a:lnTo>
                <a:lnTo>
                  <a:pt x="16120" y="12017"/>
                </a:lnTo>
                <a:lnTo>
                  <a:pt x="16242" y="11846"/>
                </a:lnTo>
                <a:lnTo>
                  <a:pt x="16340" y="11675"/>
                </a:lnTo>
                <a:lnTo>
                  <a:pt x="16389" y="11479"/>
                </a:lnTo>
                <a:lnTo>
                  <a:pt x="16413" y="11284"/>
                </a:lnTo>
                <a:lnTo>
                  <a:pt x="16413" y="5129"/>
                </a:lnTo>
                <a:lnTo>
                  <a:pt x="16389" y="4934"/>
                </a:lnTo>
                <a:lnTo>
                  <a:pt x="16340" y="4738"/>
                </a:lnTo>
                <a:lnTo>
                  <a:pt x="16242" y="4568"/>
                </a:lnTo>
                <a:lnTo>
                  <a:pt x="16120" y="4397"/>
                </a:lnTo>
                <a:lnTo>
                  <a:pt x="12017" y="293"/>
                </a:lnTo>
                <a:lnTo>
                  <a:pt x="11846" y="171"/>
                </a:lnTo>
                <a:lnTo>
                  <a:pt x="11675" y="74"/>
                </a:lnTo>
                <a:lnTo>
                  <a:pt x="11480" y="25"/>
                </a:lnTo>
                <a:lnTo>
                  <a:pt x="1128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21" name="Shape 550"/>
          <p:cNvGrpSpPr/>
          <p:nvPr/>
        </p:nvGrpSpPr>
        <p:grpSpPr>
          <a:xfrm>
            <a:off x="6284167" y="4863689"/>
            <a:ext cx="359007" cy="304008"/>
            <a:chOff x="5275975" y="4344850"/>
            <a:chExt cx="470150" cy="398125"/>
          </a:xfrm>
        </p:grpSpPr>
        <p:sp>
          <p:nvSpPr>
            <p:cNvPr id="222" name="Shape 551"/>
            <p:cNvSpPr/>
            <p:nvPr/>
          </p:nvSpPr>
          <p:spPr>
            <a:xfrm>
              <a:off x="5661250" y="4690450"/>
              <a:ext cx="65950" cy="52525"/>
            </a:xfrm>
            <a:custGeom>
              <a:avLst/>
              <a:gdLst/>
              <a:ahLst/>
              <a:cxnLst/>
              <a:rect l="0" t="0" r="0" b="0"/>
              <a:pathLst>
                <a:path w="2638" h="2101" extrusionOk="0">
                  <a:moveTo>
                    <a:pt x="0" y="0"/>
                  </a:moveTo>
                  <a:lnTo>
                    <a:pt x="0" y="782"/>
                  </a:lnTo>
                  <a:lnTo>
                    <a:pt x="25" y="1050"/>
                  </a:lnTo>
                  <a:lnTo>
                    <a:pt x="122" y="1295"/>
                  </a:lnTo>
                  <a:lnTo>
                    <a:pt x="244" y="1514"/>
                  </a:lnTo>
                  <a:lnTo>
                    <a:pt x="391" y="1710"/>
                  </a:lnTo>
                  <a:lnTo>
                    <a:pt x="586" y="1856"/>
                  </a:lnTo>
                  <a:lnTo>
                    <a:pt x="806" y="1978"/>
                  </a:lnTo>
                  <a:lnTo>
                    <a:pt x="1050" y="2076"/>
                  </a:lnTo>
                  <a:lnTo>
                    <a:pt x="1319" y="2100"/>
                  </a:lnTo>
                  <a:lnTo>
                    <a:pt x="1588" y="2076"/>
                  </a:lnTo>
                  <a:lnTo>
                    <a:pt x="1832" y="1978"/>
                  </a:lnTo>
                  <a:lnTo>
                    <a:pt x="2052" y="1856"/>
                  </a:lnTo>
                  <a:lnTo>
                    <a:pt x="2247" y="1710"/>
                  </a:lnTo>
                  <a:lnTo>
                    <a:pt x="2418" y="1514"/>
                  </a:lnTo>
                  <a:lnTo>
                    <a:pt x="2540" y="1295"/>
                  </a:lnTo>
                  <a:lnTo>
                    <a:pt x="2613" y="1050"/>
                  </a:lnTo>
                  <a:lnTo>
                    <a:pt x="2638" y="782"/>
                  </a:lnTo>
                  <a:lnTo>
                    <a:pt x="263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23" name="Shape 552"/>
            <p:cNvSpPr/>
            <p:nvPr/>
          </p:nvSpPr>
          <p:spPr>
            <a:xfrm>
              <a:off x="5294900" y="4690450"/>
              <a:ext cx="65950" cy="52525"/>
            </a:xfrm>
            <a:custGeom>
              <a:avLst/>
              <a:gdLst/>
              <a:ahLst/>
              <a:cxnLst/>
              <a:rect l="0" t="0" r="0" b="0"/>
              <a:pathLst>
                <a:path w="2638" h="2101" extrusionOk="0">
                  <a:moveTo>
                    <a:pt x="0" y="0"/>
                  </a:moveTo>
                  <a:lnTo>
                    <a:pt x="0" y="782"/>
                  </a:lnTo>
                  <a:lnTo>
                    <a:pt x="25" y="1050"/>
                  </a:lnTo>
                  <a:lnTo>
                    <a:pt x="98" y="1295"/>
                  </a:lnTo>
                  <a:lnTo>
                    <a:pt x="220" y="1514"/>
                  </a:lnTo>
                  <a:lnTo>
                    <a:pt x="391" y="1710"/>
                  </a:lnTo>
                  <a:lnTo>
                    <a:pt x="586" y="1856"/>
                  </a:lnTo>
                  <a:lnTo>
                    <a:pt x="806" y="1978"/>
                  </a:lnTo>
                  <a:lnTo>
                    <a:pt x="1050" y="2076"/>
                  </a:lnTo>
                  <a:lnTo>
                    <a:pt x="1319" y="2100"/>
                  </a:lnTo>
                  <a:lnTo>
                    <a:pt x="1588" y="2076"/>
                  </a:lnTo>
                  <a:lnTo>
                    <a:pt x="1832" y="1978"/>
                  </a:lnTo>
                  <a:lnTo>
                    <a:pt x="2052" y="1856"/>
                  </a:lnTo>
                  <a:lnTo>
                    <a:pt x="2247" y="1710"/>
                  </a:lnTo>
                  <a:lnTo>
                    <a:pt x="2394" y="1514"/>
                  </a:lnTo>
                  <a:lnTo>
                    <a:pt x="2516" y="1295"/>
                  </a:lnTo>
                  <a:lnTo>
                    <a:pt x="2614" y="1050"/>
                  </a:lnTo>
                  <a:lnTo>
                    <a:pt x="2638" y="782"/>
                  </a:lnTo>
                  <a:lnTo>
                    <a:pt x="263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24" name="Shape 553"/>
            <p:cNvSpPr/>
            <p:nvPr/>
          </p:nvSpPr>
          <p:spPr>
            <a:xfrm>
              <a:off x="5275975" y="4344850"/>
              <a:ext cx="470150" cy="334025"/>
            </a:xfrm>
            <a:custGeom>
              <a:avLst/>
              <a:gdLst/>
              <a:ahLst/>
              <a:cxnLst/>
              <a:rect l="0" t="0" r="0" b="0"/>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25" name="Shape 554"/>
          <p:cNvSpPr/>
          <p:nvPr/>
        </p:nvSpPr>
        <p:spPr>
          <a:xfrm>
            <a:off x="6817520" y="4854701"/>
            <a:ext cx="322659" cy="322640"/>
          </a:xfrm>
          <a:custGeom>
            <a:avLst/>
            <a:gdLst/>
            <a:ahLst/>
            <a:cxnLst/>
            <a:rect l="0" t="0" r="0" b="0"/>
            <a:pathLst>
              <a:path w="16902" h="16901" extrusionOk="0">
                <a:moveTo>
                  <a:pt x="14386" y="757"/>
                </a:moveTo>
                <a:lnTo>
                  <a:pt x="14557" y="782"/>
                </a:lnTo>
                <a:lnTo>
                  <a:pt x="14728" y="806"/>
                </a:lnTo>
                <a:lnTo>
                  <a:pt x="14899" y="831"/>
                </a:lnTo>
                <a:lnTo>
                  <a:pt x="15070" y="904"/>
                </a:lnTo>
                <a:lnTo>
                  <a:pt x="15216" y="977"/>
                </a:lnTo>
                <a:lnTo>
                  <a:pt x="15363" y="1050"/>
                </a:lnTo>
                <a:lnTo>
                  <a:pt x="15509" y="1148"/>
                </a:lnTo>
                <a:lnTo>
                  <a:pt x="15631" y="1270"/>
                </a:lnTo>
                <a:lnTo>
                  <a:pt x="15729" y="1392"/>
                </a:lnTo>
                <a:lnTo>
                  <a:pt x="15827" y="1539"/>
                </a:lnTo>
                <a:lnTo>
                  <a:pt x="15925" y="1661"/>
                </a:lnTo>
                <a:lnTo>
                  <a:pt x="15998" y="1807"/>
                </a:lnTo>
                <a:lnTo>
                  <a:pt x="16047" y="1978"/>
                </a:lnTo>
                <a:lnTo>
                  <a:pt x="16095" y="2125"/>
                </a:lnTo>
                <a:lnTo>
                  <a:pt x="16120" y="2296"/>
                </a:lnTo>
                <a:lnTo>
                  <a:pt x="16144" y="2467"/>
                </a:lnTo>
                <a:lnTo>
                  <a:pt x="16120" y="2565"/>
                </a:lnTo>
                <a:lnTo>
                  <a:pt x="16071" y="2638"/>
                </a:lnTo>
                <a:lnTo>
                  <a:pt x="15998" y="2687"/>
                </a:lnTo>
                <a:lnTo>
                  <a:pt x="15900" y="2711"/>
                </a:lnTo>
                <a:lnTo>
                  <a:pt x="15802" y="2687"/>
                </a:lnTo>
                <a:lnTo>
                  <a:pt x="15729" y="2638"/>
                </a:lnTo>
                <a:lnTo>
                  <a:pt x="15680" y="2565"/>
                </a:lnTo>
                <a:lnTo>
                  <a:pt x="15656" y="2467"/>
                </a:lnTo>
                <a:lnTo>
                  <a:pt x="15631" y="2247"/>
                </a:lnTo>
                <a:lnTo>
                  <a:pt x="15558" y="2003"/>
                </a:lnTo>
                <a:lnTo>
                  <a:pt x="15436" y="1807"/>
                </a:lnTo>
                <a:lnTo>
                  <a:pt x="15290" y="1612"/>
                </a:lnTo>
                <a:lnTo>
                  <a:pt x="15094" y="1466"/>
                </a:lnTo>
                <a:lnTo>
                  <a:pt x="14874" y="1343"/>
                </a:lnTo>
                <a:lnTo>
                  <a:pt x="14630" y="1270"/>
                </a:lnTo>
                <a:lnTo>
                  <a:pt x="14386" y="1246"/>
                </a:lnTo>
                <a:lnTo>
                  <a:pt x="14288" y="1246"/>
                </a:lnTo>
                <a:lnTo>
                  <a:pt x="14215" y="1172"/>
                </a:lnTo>
                <a:lnTo>
                  <a:pt x="14166" y="1099"/>
                </a:lnTo>
                <a:lnTo>
                  <a:pt x="14142" y="1002"/>
                </a:lnTo>
                <a:lnTo>
                  <a:pt x="14166" y="904"/>
                </a:lnTo>
                <a:lnTo>
                  <a:pt x="14215" y="831"/>
                </a:lnTo>
                <a:lnTo>
                  <a:pt x="14288" y="782"/>
                </a:lnTo>
                <a:lnTo>
                  <a:pt x="14386" y="757"/>
                </a:lnTo>
                <a:close/>
                <a:moveTo>
                  <a:pt x="15460" y="0"/>
                </a:moveTo>
                <a:lnTo>
                  <a:pt x="15167" y="25"/>
                </a:lnTo>
                <a:lnTo>
                  <a:pt x="14850" y="49"/>
                </a:lnTo>
                <a:lnTo>
                  <a:pt x="14557" y="122"/>
                </a:lnTo>
                <a:lnTo>
                  <a:pt x="14117" y="244"/>
                </a:lnTo>
                <a:lnTo>
                  <a:pt x="13873" y="318"/>
                </a:lnTo>
                <a:lnTo>
                  <a:pt x="13653" y="415"/>
                </a:lnTo>
                <a:lnTo>
                  <a:pt x="13458" y="537"/>
                </a:lnTo>
                <a:lnTo>
                  <a:pt x="13287" y="660"/>
                </a:lnTo>
                <a:lnTo>
                  <a:pt x="10625" y="3346"/>
                </a:lnTo>
                <a:lnTo>
                  <a:pt x="2858" y="1221"/>
                </a:lnTo>
                <a:lnTo>
                  <a:pt x="2712" y="1197"/>
                </a:lnTo>
                <a:lnTo>
                  <a:pt x="2590" y="1221"/>
                </a:lnTo>
                <a:lnTo>
                  <a:pt x="2467" y="1270"/>
                </a:lnTo>
                <a:lnTo>
                  <a:pt x="2345" y="1343"/>
                </a:lnTo>
                <a:lnTo>
                  <a:pt x="1613" y="2101"/>
                </a:lnTo>
                <a:lnTo>
                  <a:pt x="1539" y="2198"/>
                </a:lnTo>
                <a:lnTo>
                  <a:pt x="1491" y="2296"/>
                </a:lnTo>
                <a:lnTo>
                  <a:pt x="1466" y="2418"/>
                </a:lnTo>
                <a:lnTo>
                  <a:pt x="1466" y="2516"/>
                </a:lnTo>
                <a:lnTo>
                  <a:pt x="1491" y="2613"/>
                </a:lnTo>
                <a:lnTo>
                  <a:pt x="1515" y="2687"/>
                </a:lnTo>
                <a:lnTo>
                  <a:pt x="1613" y="2833"/>
                </a:lnTo>
                <a:lnTo>
                  <a:pt x="1710" y="2907"/>
                </a:lnTo>
                <a:lnTo>
                  <a:pt x="7425" y="6619"/>
                </a:lnTo>
                <a:lnTo>
                  <a:pt x="4177" y="10893"/>
                </a:lnTo>
                <a:lnTo>
                  <a:pt x="929" y="10331"/>
                </a:lnTo>
                <a:lnTo>
                  <a:pt x="831" y="10331"/>
                </a:lnTo>
                <a:lnTo>
                  <a:pt x="709" y="10356"/>
                </a:lnTo>
                <a:lnTo>
                  <a:pt x="611" y="10404"/>
                </a:lnTo>
                <a:lnTo>
                  <a:pt x="514" y="10478"/>
                </a:lnTo>
                <a:lnTo>
                  <a:pt x="147" y="10844"/>
                </a:lnTo>
                <a:lnTo>
                  <a:pt x="74" y="10942"/>
                </a:lnTo>
                <a:lnTo>
                  <a:pt x="25" y="11064"/>
                </a:lnTo>
                <a:lnTo>
                  <a:pt x="1" y="11186"/>
                </a:lnTo>
                <a:lnTo>
                  <a:pt x="1" y="11308"/>
                </a:lnTo>
                <a:lnTo>
                  <a:pt x="50" y="11455"/>
                </a:lnTo>
                <a:lnTo>
                  <a:pt x="147" y="11601"/>
                </a:lnTo>
                <a:lnTo>
                  <a:pt x="245" y="11674"/>
                </a:lnTo>
                <a:lnTo>
                  <a:pt x="3444" y="13457"/>
                </a:lnTo>
                <a:lnTo>
                  <a:pt x="5227" y="16657"/>
                </a:lnTo>
                <a:lnTo>
                  <a:pt x="5301" y="16754"/>
                </a:lnTo>
                <a:lnTo>
                  <a:pt x="5447" y="16852"/>
                </a:lnTo>
                <a:lnTo>
                  <a:pt x="5594" y="16901"/>
                </a:lnTo>
                <a:lnTo>
                  <a:pt x="5716" y="16901"/>
                </a:lnTo>
                <a:lnTo>
                  <a:pt x="5838" y="16877"/>
                </a:lnTo>
                <a:lnTo>
                  <a:pt x="5960" y="16828"/>
                </a:lnTo>
                <a:lnTo>
                  <a:pt x="6058" y="16754"/>
                </a:lnTo>
                <a:lnTo>
                  <a:pt x="6424" y="16388"/>
                </a:lnTo>
                <a:lnTo>
                  <a:pt x="6497" y="16290"/>
                </a:lnTo>
                <a:lnTo>
                  <a:pt x="6546" y="16193"/>
                </a:lnTo>
                <a:lnTo>
                  <a:pt x="6571" y="16071"/>
                </a:lnTo>
                <a:lnTo>
                  <a:pt x="6571" y="15973"/>
                </a:lnTo>
                <a:lnTo>
                  <a:pt x="6009" y="12725"/>
                </a:lnTo>
                <a:lnTo>
                  <a:pt x="10283" y="9476"/>
                </a:lnTo>
                <a:lnTo>
                  <a:pt x="13995" y="15191"/>
                </a:lnTo>
                <a:lnTo>
                  <a:pt x="14068" y="15289"/>
                </a:lnTo>
                <a:lnTo>
                  <a:pt x="14215" y="15387"/>
                </a:lnTo>
                <a:lnTo>
                  <a:pt x="14288" y="15411"/>
                </a:lnTo>
                <a:lnTo>
                  <a:pt x="14386" y="15436"/>
                </a:lnTo>
                <a:lnTo>
                  <a:pt x="14484" y="15436"/>
                </a:lnTo>
                <a:lnTo>
                  <a:pt x="14606" y="15411"/>
                </a:lnTo>
                <a:lnTo>
                  <a:pt x="14703" y="15362"/>
                </a:lnTo>
                <a:lnTo>
                  <a:pt x="14801" y="15289"/>
                </a:lnTo>
                <a:lnTo>
                  <a:pt x="15558" y="14556"/>
                </a:lnTo>
                <a:lnTo>
                  <a:pt x="15631" y="14434"/>
                </a:lnTo>
                <a:lnTo>
                  <a:pt x="15680" y="14312"/>
                </a:lnTo>
                <a:lnTo>
                  <a:pt x="15705" y="14190"/>
                </a:lnTo>
                <a:lnTo>
                  <a:pt x="15680" y="14043"/>
                </a:lnTo>
                <a:lnTo>
                  <a:pt x="13555" y="6277"/>
                </a:lnTo>
                <a:lnTo>
                  <a:pt x="16242" y="3615"/>
                </a:lnTo>
                <a:lnTo>
                  <a:pt x="16364" y="3444"/>
                </a:lnTo>
                <a:lnTo>
                  <a:pt x="16486" y="3248"/>
                </a:lnTo>
                <a:lnTo>
                  <a:pt x="16584" y="3029"/>
                </a:lnTo>
                <a:lnTo>
                  <a:pt x="16657" y="2784"/>
                </a:lnTo>
                <a:lnTo>
                  <a:pt x="16779" y="2345"/>
                </a:lnTo>
                <a:lnTo>
                  <a:pt x="16853" y="2052"/>
                </a:lnTo>
                <a:lnTo>
                  <a:pt x="16877" y="1734"/>
                </a:lnTo>
                <a:lnTo>
                  <a:pt x="16901" y="1441"/>
                </a:lnTo>
                <a:lnTo>
                  <a:pt x="16901" y="1197"/>
                </a:lnTo>
                <a:lnTo>
                  <a:pt x="16901" y="953"/>
                </a:lnTo>
                <a:lnTo>
                  <a:pt x="16853" y="757"/>
                </a:lnTo>
                <a:lnTo>
                  <a:pt x="16779" y="586"/>
                </a:lnTo>
                <a:lnTo>
                  <a:pt x="16706" y="415"/>
                </a:lnTo>
                <a:lnTo>
                  <a:pt x="16608" y="293"/>
                </a:lnTo>
                <a:lnTo>
                  <a:pt x="16486" y="196"/>
                </a:lnTo>
                <a:lnTo>
                  <a:pt x="16315" y="122"/>
                </a:lnTo>
                <a:lnTo>
                  <a:pt x="16144" y="49"/>
                </a:lnTo>
                <a:lnTo>
                  <a:pt x="1594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26" name="Shape 555"/>
          <p:cNvGrpSpPr/>
          <p:nvPr/>
        </p:nvGrpSpPr>
        <p:grpSpPr>
          <a:xfrm>
            <a:off x="7327588" y="4838987"/>
            <a:ext cx="331059" cy="353413"/>
            <a:chOff x="6642425" y="4312500"/>
            <a:chExt cx="433550" cy="462825"/>
          </a:xfrm>
        </p:grpSpPr>
        <p:sp>
          <p:nvSpPr>
            <p:cNvPr id="227" name="Shape 556"/>
            <p:cNvSpPr/>
            <p:nvPr/>
          </p:nvSpPr>
          <p:spPr>
            <a:xfrm>
              <a:off x="6642425" y="4687375"/>
              <a:ext cx="433550" cy="39125"/>
            </a:xfrm>
            <a:custGeom>
              <a:avLst/>
              <a:gdLst/>
              <a:ahLst/>
              <a:cxnLst/>
              <a:rect l="0" t="0" r="0" b="0"/>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28" name="Shape 557"/>
            <p:cNvSpPr/>
            <p:nvPr/>
          </p:nvSpPr>
          <p:spPr>
            <a:xfrm>
              <a:off x="6642425" y="4736225"/>
              <a:ext cx="433550" cy="39100"/>
            </a:xfrm>
            <a:custGeom>
              <a:avLst/>
              <a:gdLst/>
              <a:ahLst/>
              <a:cxnLst/>
              <a:rect l="0" t="0" r="0" b="0"/>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29" name="Shape 558"/>
            <p:cNvSpPr/>
            <p:nvPr/>
          </p:nvSpPr>
          <p:spPr>
            <a:xfrm>
              <a:off x="6684575" y="4312500"/>
              <a:ext cx="349875" cy="377350"/>
            </a:xfrm>
            <a:custGeom>
              <a:avLst/>
              <a:gdLst/>
              <a:ahLst/>
              <a:cxnLst/>
              <a:rect l="0" t="0" r="0" b="0"/>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30" name="Shape 559"/>
          <p:cNvSpPr/>
          <p:nvPr/>
        </p:nvSpPr>
        <p:spPr>
          <a:xfrm>
            <a:off x="2648038" y="5405368"/>
            <a:ext cx="425211" cy="250862"/>
          </a:xfrm>
          <a:custGeom>
            <a:avLst/>
            <a:gdLst/>
            <a:ahLst/>
            <a:cxnLst/>
            <a:rect l="0" t="0" r="0" b="0"/>
            <a:pathLst>
              <a:path w="22274" h="13141" extrusionOk="0">
                <a:moveTo>
                  <a:pt x="14532" y="3786"/>
                </a:moveTo>
                <a:lnTo>
                  <a:pt x="11747" y="7084"/>
                </a:lnTo>
                <a:lnTo>
                  <a:pt x="11577" y="7035"/>
                </a:lnTo>
                <a:lnTo>
                  <a:pt x="11406" y="6986"/>
                </a:lnTo>
                <a:lnTo>
                  <a:pt x="11235" y="6937"/>
                </a:lnTo>
                <a:lnTo>
                  <a:pt x="10893" y="6937"/>
                </a:lnTo>
                <a:lnTo>
                  <a:pt x="10746" y="6961"/>
                </a:lnTo>
                <a:lnTo>
                  <a:pt x="9207" y="3786"/>
                </a:lnTo>
                <a:close/>
                <a:moveTo>
                  <a:pt x="7034" y="6082"/>
                </a:moveTo>
                <a:lnTo>
                  <a:pt x="7229" y="6302"/>
                </a:lnTo>
                <a:lnTo>
                  <a:pt x="7400" y="6522"/>
                </a:lnTo>
                <a:lnTo>
                  <a:pt x="7571" y="6766"/>
                </a:lnTo>
                <a:lnTo>
                  <a:pt x="7718" y="7010"/>
                </a:lnTo>
                <a:lnTo>
                  <a:pt x="7840" y="7279"/>
                </a:lnTo>
                <a:lnTo>
                  <a:pt x="7937" y="7572"/>
                </a:lnTo>
                <a:lnTo>
                  <a:pt x="8011" y="7841"/>
                </a:lnTo>
                <a:lnTo>
                  <a:pt x="8060" y="8134"/>
                </a:lnTo>
                <a:lnTo>
                  <a:pt x="5422" y="8134"/>
                </a:lnTo>
                <a:lnTo>
                  <a:pt x="7034" y="6082"/>
                </a:lnTo>
                <a:close/>
                <a:moveTo>
                  <a:pt x="8475" y="4275"/>
                </a:moveTo>
                <a:lnTo>
                  <a:pt x="9965" y="7352"/>
                </a:lnTo>
                <a:lnTo>
                  <a:pt x="9769" y="7523"/>
                </a:lnTo>
                <a:lnTo>
                  <a:pt x="9623" y="7743"/>
                </a:lnTo>
                <a:lnTo>
                  <a:pt x="9525" y="7963"/>
                </a:lnTo>
                <a:lnTo>
                  <a:pt x="9427" y="8183"/>
                </a:lnTo>
                <a:lnTo>
                  <a:pt x="9061" y="8183"/>
                </a:lnTo>
                <a:lnTo>
                  <a:pt x="8988" y="7767"/>
                </a:lnTo>
                <a:lnTo>
                  <a:pt x="8890" y="7377"/>
                </a:lnTo>
                <a:lnTo>
                  <a:pt x="8768" y="6986"/>
                </a:lnTo>
                <a:lnTo>
                  <a:pt x="8597" y="6619"/>
                </a:lnTo>
                <a:lnTo>
                  <a:pt x="8402" y="6253"/>
                </a:lnTo>
                <a:lnTo>
                  <a:pt x="8182" y="5936"/>
                </a:lnTo>
                <a:lnTo>
                  <a:pt x="7937" y="5618"/>
                </a:lnTo>
                <a:lnTo>
                  <a:pt x="7644" y="5325"/>
                </a:lnTo>
                <a:lnTo>
                  <a:pt x="8475" y="4275"/>
                </a:lnTo>
                <a:close/>
                <a:moveTo>
                  <a:pt x="11161" y="8012"/>
                </a:moveTo>
                <a:lnTo>
                  <a:pt x="11259" y="8060"/>
                </a:lnTo>
                <a:lnTo>
                  <a:pt x="11381" y="8109"/>
                </a:lnTo>
                <a:lnTo>
                  <a:pt x="11454" y="8183"/>
                </a:lnTo>
                <a:lnTo>
                  <a:pt x="11528" y="8280"/>
                </a:lnTo>
                <a:lnTo>
                  <a:pt x="11577" y="8378"/>
                </a:lnTo>
                <a:lnTo>
                  <a:pt x="11625" y="8476"/>
                </a:lnTo>
                <a:lnTo>
                  <a:pt x="11625" y="8598"/>
                </a:lnTo>
                <a:lnTo>
                  <a:pt x="11625" y="8695"/>
                </a:lnTo>
                <a:lnTo>
                  <a:pt x="11577" y="8818"/>
                </a:lnTo>
                <a:lnTo>
                  <a:pt x="11528" y="8915"/>
                </a:lnTo>
                <a:lnTo>
                  <a:pt x="11454" y="9013"/>
                </a:lnTo>
                <a:lnTo>
                  <a:pt x="11381" y="9062"/>
                </a:lnTo>
                <a:lnTo>
                  <a:pt x="11259" y="9135"/>
                </a:lnTo>
                <a:lnTo>
                  <a:pt x="11161" y="9159"/>
                </a:lnTo>
                <a:lnTo>
                  <a:pt x="11039" y="9184"/>
                </a:lnTo>
                <a:lnTo>
                  <a:pt x="10942" y="9159"/>
                </a:lnTo>
                <a:lnTo>
                  <a:pt x="10819" y="9135"/>
                </a:lnTo>
                <a:lnTo>
                  <a:pt x="10722" y="9062"/>
                </a:lnTo>
                <a:lnTo>
                  <a:pt x="10624" y="9013"/>
                </a:lnTo>
                <a:lnTo>
                  <a:pt x="10575" y="8915"/>
                </a:lnTo>
                <a:lnTo>
                  <a:pt x="10502" y="8818"/>
                </a:lnTo>
                <a:lnTo>
                  <a:pt x="10477" y="8695"/>
                </a:lnTo>
                <a:lnTo>
                  <a:pt x="10453" y="8598"/>
                </a:lnTo>
                <a:lnTo>
                  <a:pt x="10477" y="8476"/>
                </a:lnTo>
                <a:lnTo>
                  <a:pt x="10502" y="8378"/>
                </a:lnTo>
                <a:lnTo>
                  <a:pt x="10575" y="8280"/>
                </a:lnTo>
                <a:lnTo>
                  <a:pt x="10624" y="8183"/>
                </a:lnTo>
                <a:lnTo>
                  <a:pt x="10722" y="8109"/>
                </a:lnTo>
                <a:lnTo>
                  <a:pt x="10819" y="8060"/>
                </a:lnTo>
                <a:lnTo>
                  <a:pt x="10942" y="8012"/>
                </a:lnTo>
                <a:close/>
                <a:moveTo>
                  <a:pt x="4811" y="5081"/>
                </a:moveTo>
                <a:lnTo>
                  <a:pt x="5056" y="5105"/>
                </a:lnTo>
                <a:lnTo>
                  <a:pt x="5275" y="5154"/>
                </a:lnTo>
                <a:lnTo>
                  <a:pt x="5520" y="5203"/>
                </a:lnTo>
                <a:lnTo>
                  <a:pt x="5739" y="5276"/>
                </a:lnTo>
                <a:lnTo>
                  <a:pt x="5959" y="5374"/>
                </a:lnTo>
                <a:lnTo>
                  <a:pt x="6179" y="5472"/>
                </a:lnTo>
                <a:lnTo>
                  <a:pt x="6374" y="5569"/>
                </a:lnTo>
                <a:lnTo>
                  <a:pt x="4640" y="7816"/>
                </a:lnTo>
                <a:lnTo>
                  <a:pt x="4396" y="7816"/>
                </a:lnTo>
                <a:lnTo>
                  <a:pt x="4250" y="7865"/>
                </a:lnTo>
                <a:lnTo>
                  <a:pt x="4127" y="7938"/>
                </a:lnTo>
                <a:lnTo>
                  <a:pt x="4005" y="8036"/>
                </a:lnTo>
                <a:lnTo>
                  <a:pt x="3908" y="8158"/>
                </a:lnTo>
                <a:lnTo>
                  <a:pt x="3834" y="8280"/>
                </a:lnTo>
                <a:lnTo>
                  <a:pt x="3786" y="8427"/>
                </a:lnTo>
                <a:lnTo>
                  <a:pt x="3761" y="8598"/>
                </a:lnTo>
                <a:lnTo>
                  <a:pt x="3786" y="8744"/>
                </a:lnTo>
                <a:lnTo>
                  <a:pt x="3834" y="8891"/>
                </a:lnTo>
                <a:lnTo>
                  <a:pt x="3908" y="9037"/>
                </a:lnTo>
                <a:lnTo>
                  <a:pt x="4005" y="9135"/>
                </a:lnTo>
                <a:lnTo>
                  <a:pt x="4127" y="9233"/>
                </a:lnTo>
                <a:lnTo>
                  <a:pt x="4250" y="9306"/>
                </a:lnTo>
                <a:lnTo>
                  <a:pt x="4396" y="9355"/>
                </a:lnTo>
                <a:lnTo>
                  <a:pt x="4543" y="9379"/>
                </a:lnTo>
                <a:lnTo>
                  <a:pt x="4738" y="9355"/>
                </a:lnTo>
                <a:lnTo>
                  <a:pt x="4933" y="9282"/>
                </a:lnTo>
                <a:lnTo>
                  <a:pt x="5080" y="9159"/>
                </a:lnTo>
                <a:lnTo>
                  <a:pt x="5227" y="9013"/>
                </a:lnTo>
                <a:lnTo>
                  <a:pt x="8060" y="9013"/>
                </a:lnTo>
                <a:lnTo>
                  <a:pt x="8011" y="9330"/>
                </a:lnTo>
                <a:lnTo>
                  <a:pt x="7937" y="9648"/>
                </a:lnTo>
                <a:lnTo>
                  <a:pt x="7815" y="9965"/>
                </a:lnTo>
                <a:lnTo>
                  <a:pt x="7693" y="10259"/>
                </a:lnTo>
                <a:lnTo>
                  <a:pt x="7522" y="10527"/>
                </a:lnTo>
                <a:lnTo>
                  <a:pt x="7351" y="10771"/>
                </a:lnTo>
                <a:lnTo>
                  <a:pt x="7156" y="11016"/>
                </a:lnTo>
                <a:lnTo>
                  <a:pt x="6912" y="11235"/>
                </a:lnTo>
                <a:lnTo>
                  <a:pt x="6667" y="11431"/>
                </a:lnTo>
                <a:lnTo>
                  <a:pt x="6423" y="11626"/>
                </a:lnTo>
                <a:lnTo>
                  <a:pt x="6130" y="11773"/>
                </a:lnTo>
                <a:lnTo>
                  <a:pt x="5837" y="11895"/>
                </a:lnTo>
                <a:lnTo>
                  <a:pt x="5544" y="12017"/>
                </a:lnTo>
                <a:lnTo>
                  <a:pt x="5227" y="12090"/>
                </a:lnTo>
                <a:lnTo>
                  <a:pt x="4885" y="12139"/>
                </a:lnTo>
                <a:lnTo>
                  <a:pt x="4201" y="12139"/>
                </a:lnTo>
                <a:lnTo>
                  <a:pt x="3834" y="12066"/>
                </a:lnTo>
                <a:lnTo>
                  <a:pt x="3517" y="11993"/>
                </a:lnTo>
                <a:lnTo>
                  <a:pt x="3175" y="11870"/>
                </a:lnTo>
                <a:lnTo>
                  <a:pt x="2882" y="11724"/>
                </a:lnTo>
                <a:lnTo>
                  <a:pt x="2589" y="11553"/>
                </a:lnTo>
                <a:lnTo>
                  <a:pt x="2320" y="11333"/>
                </a:lnTo>
                <a:lnTo>
                  <a:pt x="2052" y="11113"/>
                </a:lnTo>
                <a:lnTo>
                  <a:pt x="1832" y="10869"/>
                </a:lnTo>
                <a:lnTo>
                  <a:pt x="1636" y="10576"/>
                </a:lnTo>
                <a:lnTo>
                  <a:pt x="1441" y="10283"/>
                </a:lnTo>
                <a:lnTo>
                  <a:pt x="1294" y="9990"/>
                </a:lnTo>
                <a:lnTo>
                  <a:pt x="1172" y="9672"/>
                </a:lnTo>
                <a:lnTo>
                  <a:pt x="1099" y="9330"/>
                </a:lnTo>
                <a:lnTo>
                  <a:pt x="1050" y="8964"/>
                </a:lnTo>
                <a:lnTo>
                  <a:pt x="1026" y="8598"/>
                </a:lnTo>
                <a:lnTo>
                  <a:pt x="1050" y="8256"/>
                </a:lnTo>
                <a:lnTo>
                  <a:pt x="1099" y="7889"/>
                </a:lnTo>
                <a:lnTo>
                  <a:pt x="1172" y="7548"/>
                </a:lnTo>
                <a:lnTo>
                  <a:pt x="1294" y="7230"/>
                </a:lnTo>
                <a:lnTo>
                  <a:pt x="1441" y="6913"/>
                </a:lnTo>
                <a:lnTo>
                  <a:pt x="1636" y="6644"/>
                </a:lnTo>
                <a:lnTo>
                  <a:pt x="1832" y="6351"/>
                </a:lnTo>
                <a:lnTo>
                  <a:pt x="2052" y="6107"/>
                </a:lnTo>
                <a:lnTo>
                  <a:pt x="2320" y="5887"/>
                </a:lnTo>
                <a:lnTo>
                  <a:pt x="2589" y="5667"/>
                </a:lnTo>
                <a:lnTo>
                  <a:pt x="2882" y="5496"/>
                </a:lnTo>
                <a:lnTo>
                  <a:pt x="3175" y="5349"/>
                </a:lnTo>
                <a:lnTo>
                  <a:pt x="3517" y="5227"/>
                </a:lnTo>
                <a:lnTo>
                  <a:pt x="3834" y="5154"/>
                </a:lnTo>
                <a:lnTo>
                  <a:pt x="4201" y="5081"/>
                </a:lnTo>
                <a:close/>
                <a:moveTo>
                  <a:pt x="18097" y="5081"/>
                </a:moveTo>
                <a:lnTo>
                  <a:pt x="18464" y="5154"/>
                </a:lnTo>
                <a:lnTo>
                  <a:pt x="18806" y="5227"/>
                </a:lnTo>
                <a:lnTo>
                  <a:pt x="19123" y="5349"/>
                </a:lnTo>
                <a:lnTo>
                  <a:pt x="19441" y="5496"/>
                </a:lnTo>
                <a:lnTo>
                  <a:pt x="19734" y="5667"/>
                </a:lnTo>
                <a:lnTo>
                  <a:pt x="20002" y="5887"/>
                </a:lnTo>
                <a:lnTo>
                  <a:pt x="20247" y="6107"/>
                </a:lnTo>
                <a:lnTo>
                  <a:pt x="20466" y="6351"/>
                </a:lnTo>
                <a:lnTo>
                  <a:pt x="20686" y="6644"/>
                </a:lnTo>
                <a:lnTo>
                  <a:pt x="20857" y="6913"/>
                </a:lnTo>
                <a:lnTo>
                  <a:pt x="21004" y="7230"/>
                </a:lnTo>
                <a:lnTo>
                  <a:pt x="21126" y="7548"/>
                </a:lnTo>
                <a:lnTo>
                  <a:pt x="21199" y="7889"/>
                </a:lnTo>
                <a:lnTo>
                  <a:pt x="21272" y="8256"/>
                </a:lnTo>
                <a:lnTo>
                  <a:pt x="21272" y="8598"/>
                </a:lnTo>
                <a:lnTo>
                  <a:pt x="21272" y="8964"/>
                </a:lnTo>
                <a:lnTo>
                  <a:pt x="21199" y="9330"/>
                </a:lnTo>
                <a:lnTo>
                  <a:pt x="21126" y="9672"/>
                </a:lnTo>
                <a:lnTo>
                  <a:pt x="21004" y="9990"/>
                </a:lnTo>
                <a:lnTo>
                  <a:pt x="20857" y="10283"/>
                </a:lnTo>
                <a:lnTo>
                  <a:pt x="20686" y="10576"/>
                </a:lnTo>
                <a:lnTo>
                  <a:pt x="20466" y="10869"/>
                </a:lnTo>
                <a:lnTo>
                  <a:pt x="20247" y="11113"/>
                </a:lnTo>
                <a:lnTo>
                  <a:pt x="20002" y="11333"/>
                </a:lnTo>
                <a:lnTo>
                  <a:pt x="19734" y="11553"/>
                </a:lnTo>
                <a:lnTo>
                  <a:pt x="19441" y="11724"/>
                </a:lnTo>
                <a:lnTo>
                  <a:pt x="19123" y="11870"/>
                </a:lnTo>
                <a:lnTo>
                  <a:pt x="18806" y="11993"/>
                </a:lnTo>
                <a:lnTo>
                  <a:pt x="18464" y="12066"/>
                </a:lnTo>
                <a:lnTo>
                  <a:pt x="18097" y="12139"/>
                </a:lnTo>
                <a:lnTo>
                  <a:pt x="17389" y="12139"/>
                </a:lnTo>
                <a:lnTo>
                  <a:pt x="17023" y="12066"/>
                </a:lnTo>
                <a:lnTo>
                  <a:pt x="16705" y="11993"/>
                </a:lnTo>
                <a:lnTo>
                  <a:pt x="16363" y="11870"/>
                </a:lnTo>
                <a:lnTo>
                  <a:pt x="16070" y="11724"/>
                </a:lnTo>
                <a:lnTo>
                  <a:pt x="15777" y="11553"/>
                </a:lnTo>
                <a:lnTo>
                  <a:pt x="15509" y="11333"/>
                </a:lnTo>
                <a:lnTo>
                  <a:pt x="15240" y="11113"/>
                </a:lnTo>
                <a:lnTo>
                  <a:pt x="15020" y="10869"/>
                </a:lnTo>
                <a:lnTo>
                  <a:pt x="14825" y="10576"/>
                </a:lnTo>
                <a:lnTo>
                  <a:pt x="14629" y="10283"/>
                </a:lnTo>
                <a:lnTo>
                  <a:pt x="14483" y="9990"/>
                </a:lnTo>
                <a:lnTo>
                  <a:pt x="14361" y="9672"/>
                </a:lnTo>
                <a:lnTo>
                  <a:pt x="14287" y="9330"/>
                </a:lnTo>
                <a:lnTo>
                  <a:pt x="14239" y="8964"/>
                </a:lnTo>
                <a:lnTo>
                  <a:pt x="14214" y="8598"/>
                </a:lnTo>
                <a:lnTo>
                  <a:pt x="14214" y="8354"/>
                </a:lnTo>
                <a:lnTo>
                  <a:pt x="14239" y="8109"/>
                </a:lnTo>
                <a:lnTo>
                  <a:pt x="14287" y="7889"/>
                </a:lnTo>
                <a:lnTo>
                  <a:pt x="14336" y="7645"/>
                </a:lnTo>
                <a:lnTo>
                  <a:pt x="14410" y="7425"/>
                </a:lnTo>
                <a:lnTo>
                  <a:pt x="14507" y="7206"/>
                </a:lnTo>
                <a:lnTo>
                  <a:pt x="14605" y="6986"/>
                </a:lnTo>
                <a:lnTo>
                  <a:pt x="14703" y="6790"/>
                </a:lnTo>
                <a:lnTo>
                  <a:pt x="14849" y="6595"/>
                </a:lnTo>
                <a:lnTo>
                  <a:pt x="14971" y="6424"/>
                </a:lnTo>
                <a:lnTo>
                  <a:pt x="15118" y="6229"/>
                </a:lnTo>
                <a:lnTo>
                  <a:pt x="15289" y="6082"/>
                </a:lnTo>
                <a:lnTo>
                  <a:pt x="15460" y="5911"/>
                </a:lnTo>
                <a:lnTo>
                  <a:pt x="15631" y="5765"/>
                </a:lnTo>
                <a:lnTo>
                  <a:pt x="15826" y="5643"/>
                </a:lnTo>
                <a:lnTo>
                  <a:pt x="16022" y="5520"/>
                </a:lnTo>
                <a:lnTo>
                  <a:pt x="17096" y="8134"/>
                </a:lnTo>
                <a:lnTo>
                  <a:pt x="17023" y="8231"/>
                </a:lnTo>
                <a:lnTo>
                  <a:pt x="16974" y="8354"/>
                </a:lnTo>
                <a:lnTo>
                  <a:pt x="16950" y="8476"/>
                </a:lnTo>
                <a:lnTo>
                  <a:pt x="16925" y="8598"/>
                </a:lnTo>
                <a:lnTo>
                  <a:pt x="16950" y="8744"/>
                </a:lnTo>
                <a:lnTo>
                  <a:pt x="16998" y="8891"/>
                </a:lnTo>
                <a:lnTo>
                  <a:pt x="17072" y="9037"/>
                </a:lnTo>
                <a:lnTo>
                  <a:pt x="17169" y="9135"/>
                </a:lnTo>
                <a:lnTo>
                  <a:pt x="17292" y="9233"/>
                </a:lnTo>
                <a:lnTo>
                  <a:pt x="17414" y="9306"/>
                </a:lnTo>
                <a:lnTo>
                  <a:pt x="17560" y="9355"/>
                </a:lnTo>
                <a:lnTo>
                  <a:pt x="17731" y="9379"/>
                </a:lnTo>
                <a:lnTo>
                  <a:pt x="17878" y="9355"/>
                </a:lnTo>
                <a:lnTo>
                  <a:pt x="18024" y="9306"/>
                </a:lnTo>
                <a:lnTo>
                  <a:pt x="18146" y="9233"/>
                </a:lnTo>
                <a:lnTo>
                  <a:pt x="18268" y="9135"/>
                </a:lnTo>
                <a:lnTo>
                  <a:pt x="18366" y="9037"/>
                </a:lnTo>
                <a:lnTo>
                  <a:pt x="18439" y="8891"/>
                </a:lnTo>
                <a:lnTo>
                  <a:pt x="18488" y="8744"/>
                </a:lnTo>
                <a:lnTo>
                  <a:pt x="18513" y="8598"/>
                </a:lnTo>
                <a:lnTo>
                  <a:pt x="18488" y="8451"/>
                </a:lnTo>
                <a:lnTo>
                  <a:pt x="18464" y="8329"/>
                </a:lnTo>
                <a:lnTo>
                  <a:pt x="18391" y="8207"/>
                </a:lnTo>
                <a:lnTo>
                  <a:pt x="18317" y="8085"/>
                </a:lnTo>
                <a:lnTo>
                  <a:pt x="18220" y="7987"/>
                </a:lnTo>
                <a:lnTo>
                  <a:pt x="18122" y="7914"/>
                </a:lnTo>
                <a:lnTo>
                  <a:pt x="18000" y="7865"/>
                </a:lnTo>
                <a:lnTo>
                  <a:pt x="17853" y="7816"/>
                </a:lnTo>
                <a:lnTo>
                  <a:pt x="16803" y="5203"/>
                </a:lnTo>
                <a:lnTo>
                  <a:pt x="17023" y="5154"/>
                </a:lnTo>
                <a:lnTo>
                  <a:pt x="17267" y="5105"/>
                </a:lnTo>
                <a:lnTo>
                  <a:pt x="17511" y="5081"/>
                </a:lnTo>
                <a:close/>
                <a:moveTo>
                  <a:pt x="6252" y="1"/>
                </a:moveTo>
                <a:lnTo>
                  <a:pt x="6179" y="25"/>
                </a:lnTo>
                <a:lnTo>
                  <a:pt x="6106" y="74"/>
                </a:lnTo>
                <a:lnTo>
                  <a:pt x="6057" y="123"/>
                </a:lnTo>
                <a:lnTo>
                  <a:pt x="6008" y="196"/>
                </a:lnTo>
                <a:lnTo>
                  <a:pt x="5959" y="245"/>
                </a:lnTo>
                <a:lnTo>
                  <a:pt x="5935" y="343"/>
                </a:lnTo>
                <a:lnTo>
                  <a:pt x="5935" y="416"/>
                </a:lnTo>
                <a:lnTo>
                  <a:pt x="5959" y="660"/>
                </a:lnTo>
                <a:lnTo>
                  <a:pt x="6057" y="978"/>
                </a:lnTo>
                <a:lnTo>
                  <a:pt x="6106" y="1124"/>
                </a:lnTo>
                <a:lnTo>
                  <a:pt x="6179" y="1222"/>
                </a:lnTo>
                <a:lnTo>
                  <a:pt x="6252" y="1320"/>
                </a:lnTo>
                <a:lnTo>
                  <a:pt x="6350" y="1344"/>
                </a:lnTo>
                <a:lnTo>
                  <a:pt x="7107" y="1344"/>
                </a:lnTo>
                <a:lnTo>
                  <a:pt x="8084" y="3396"/>
                </a:lnTo>
                <a:lnTo>
                  <a:pt x="6985" y="4788"/>
                </a:lnTo>
                <a:lnTo>
                  <a:pt x="6716" y="4617"/>
                </a:lnTo>
                <a:lnTo>
                  <a:pt x="6423" y="4470"/>
                </a:lnTo>
                <a:lnTo>
                  <a:pt x="6130" y="4348"/>
                </a:lnTo>
                <a:lnTo>
                  <a:pt x="5813" y="4250"/>
                </a:lnTo>
                <a:lnTo>
                  <a:pt x="5495" y="4177"/>
                </a:lnTo>
                <a:lnTo>
                  <a:pt x="5178" y="4104"/>
                </a:lnTo>
                <a:lnTo>
                  <a:pt x="4860" y="4079"/>
                </a:lnTo>
                <a:lnTo>
                  <a:pt x="4030" y="4079"/>
                </a:lnTo>
                <a:lnTo>
                  <a:pt x="3590" y="4153"/>
                </a:lnTo>
                <a:lnTo>
                  <a:pt x="3151" y="4275"/>
                </a:lnTo>
                <a:lnTo>
                  <a:pt x="2735" y="4421"/>
                </a:lnTo>
                <a:lnTo>
                  <a:pt x="2345" y="4617"/>
                </a:lnTo>
                <a:lnTo>
                  <a:pt x="1978" y="4837"/>
                </a:lnTo>
                <a:lnTo>
                  <a:pt x="1636" y="5105"/>
                </a:lnTo>
                <a:lnTo>
                  <a:pt x="1319" y="5398"/>
                </a:lnTo>
                <a:lnTo>
                  <a:pt x="1026" y="5716"/>
                </a:lnTo>
                <a:lnTo>
                  <a:pt x="782" y="6058"/>
                </a:lnTo>
                <a:lnTo>
                  <a:pt x="537" y="6449"/>
                </a:lnTo>
                <a:lnTo>
                  <a:pt x="366" y="6839"/>
                </a:lnTo>
                <a:lnTo>
                  <a:pt x="220" y="7254"/>
                </a:lnTo>
                <a:lnTo>
                  <a:pt x="98" y="7670"/>
                </a:lnTo>
                <a:lnTo>
                  <a:pt x="24" y="8134"/>
                </a:lnTo>
                <a:lnTo>
                  <a:pt x="0" y="8598"/>
                </a:lnTo>
                <a:lnTo>
                  <a:pt x="24" y="9062"/>
                </a:lnTo>
                <a:lnTo>
                  <a:pt x="98" y="9501"/>
                </a:lnTo>
                <a:lnTo>
                  <a:pt x="220" y="9941"/>
                </a:lnTo>
                <a:lnTo>
                  <a:pt x="366" y="10356"/>
                </a:lnTo>
                <a:lnTo>
                  <a:pt x="562" y="10747"/>
                </a:lnTo>
                <a:lnTo>
                  <a:pt x="782" y="11138"/>
                </a:lnTo>
                <a:lnTo>
                  <a:pt x="1050" y="11480"/>
                </a:lnTo>
                <a:lnTo>
                  <a:pt x="1343" y="11797"/>
                </a:lnTo>
                <a:lnTo>
                  <a:pt x="1661" y="12090"/>
                </a:lnTo>
                <a:lnTo>
                  <a:pt x="2003" y="12359"/>
                </a:lnTo>
                <a:lnTo>
                  <a:pt x="2369" y="12579"/>
                </a:lnTo>
                <a:lnTo>
                  <a:pt x="2760" y="12774"/>
                </a:lnTo>
                <a:lnTo>
                  <a:pt x="3175" y="12945"/>
                </a:lnTo>
                <a:lnTo>
                  <a:pt x="3615" y="13043"/>
                </a:lnTo>
                <a:lnTo>
                  <a:pt x="4079" y="13116"/>
                </a:lnTo>
                <a:lnTo>
                  <a:pt x="4518" y="13140"/>
                </a:lnTo>
                <a:lnTo>
                  <a:pt x="4982" y="13116"/>
                </a:lnTo>
                <a:lnTo>
                  <a:pt x="5397" y="13043"/>
                </a:lnTo>
                <a:lnTo>
                  <a:pt x="5813" y="12945"/>
                </a:lnTo>
                <a:lnTo>
                  <a:pt x="6228" y="12823"/>
                </a:lnTo>
                <a:lnTo>
                  <a:pt x="6594" y="12628"/>
                </a:lnTo>
                <a:lnTo>
                  <a:pt x="6961" y="12432"/>
                </a:lnTo>
                <a:lnTo>
                  <a:pt x="7302" y="12188"/>
                </a:lnTo>
                <a:lnTo>
                  <a:pt x="7620" y="11919"/>
                </a:lnTo>
                <a:lnTo>
                  <a:pt x="7913" y="11626"/>
                </a:lnTo>
                <a:lnTo>
                  <a:pt x="8182" y="11309"/>
                </a:lnTo>
                <a:lnTo>
                  <a:pt x="8402" y="10967"/>
                </a:lnTo>
                <a:lnTo>
                  <a:pt x="8597" y="10625"/>
                </a:lnTo>
                <a:lnTo>
                  <a:pt x="8768" y="10234"/>
                </a:lnTo>
                <a:lnTo>
                  <a:pt x="8890" y="9843"/>
                </a:lnTo>
                <a:lnTo>
                  <a:pt x="8988" y="9428"/>
                </a:lnTo>
                <a:lnTo>
                  <a:pt x="9061" y="9013"/>
                </a:lnTo>
                <a:lnTo>
                  <a:pt x="9427" y="9013"/>
                </a:lnTo>
                <a:lnTo>
                  <a:pt x="9525" y="9282"/>
                </a:lnTo>
                <a:lnTo>
                  <a:pt x="9647" y="9501"/>
                </a:lnTo>
                <a:lnTo>
                  <a:pt x="9818" y="9721"/>
                </a:lnTo>
                <a:lnTo>
                  <a:pt x="10013" y="9892"/>
                </a:lnTo>
                <a:lnTo>
                  <a:pt x="10233" y="10039"/>
                </a:lnTo>
                <a:lnTo>
                  <a:pt x="10477" y="10161"/>
                </a:lnTo>
                <a:lnTo>
                  <a:pt x="10746" y="10234"/>
                </a:lnTo>
                <a:lnTo>
                  <a:pt x="11186" y="10234"/>
                </a:lnTo>
                <a:lnTo>
                  <a:pt x="11357" y="10210"/>
                </a:lnTo>
                <a:lnTo>
                  <a:pt x="11503" y="10161"/>
                </a:lnTo>
                <a:lnTo>
                  <a:pt x="11674" y="10112"/>
                </a:lnTo>
                <a:lnTo>
                  <a:pt x="11821" y="10039"/>
                </a:lnTo>
                <a:lnTo>
                  <a:pt x="11943" y="9965"/>
                </a:lnTo>
                <a:lnTo>
                  <a:pt x="12065" y="9868"/>
                </a:lnTo>
                <a:lnTo>
                  <a:pt x="12187" y="9770"/>
                </a:lnTo>
                <a:lnTo>
                  <a:pt x="12309" y="9648"/>
                </a:lnTo>
                <a:lnTo>
                  <a:pt x="12382" y="9526"/>
                </a:lnTo>
                <a:lnTo>
                  <a:pt x="12480" y="9379"/>
                </a:lnTo>
                <a:lnTo>
                  <a:pt x="12553" y="9233"/>
                </a:lnTo>
                <a:lnTo>
                  <a:pt x="12602" y="9086"/>
                </a:lnTo>
                <a:lnTo>
                  <a:pt x="12651" y="8915"/>
                </a:lnTo>
                <a:lnTo>
                  <a:pt x="12676" y="8769"/>
                </a:lnTo>
                <a:lnTo>
                  <a:pt x="12676" y="8598"/>
                </a:lnTo>
                <a:lnTo>
                  <a:pt x="12651" y="8329"/>
                </a:lnTo>
                <a:lnTo>
                  <a:pt x="12602" y="8085"/>
                </a:lnTo>
                <a:lnTo>
                  <a:pt x="12505" y="7865"/>
                </a:lnTo>
                <a:lnTo>
                  <a:pt x="12358" y="7645"/>
                </a:lnTo>
                <a:lnTo>
                  <a:pt x="15411" y="4055"/>
                </a:lnTo>
                <a:lnTo>
                  <a:pt x="15631" y="4592"/>
                </a:lnTo>
                <a:lnTo>
                  <a:pt x="15362" y="4739"/>
                </a:lnTo>
                <a:lnTo>
                  <a:pt x="15093" y="4910"/>
                </a:lnTo>
                <a:lnTo>
                  <a:pt x="14849" y="5105"/>
                </a:lnTo>
                <a:lnTo>
                  <a:pt x="14605" y="5301"/>
                </a:lnTo>
                <a:lnTo>
                  <a:pt x="14385" y="5520"/>
                </a:lnTo>
                <a:lnTo>
                  <a:pt x="14190" y="5765"/>
                </a:lnTo>
                <a:lnTo>
                  <a:pt x="14019" y="6009"/>
                </a:lnTo>
                <a:lnTo>
                  <a:pt x="13848" y="6253"/>
                </a:lnTo>
                <a:lnTo>
                  <a:pt x="13701" y="6522"/>
                </a:lnTo>
                <a:lnTo>
                  <a:pt x="13579" y="6790"/>
                </a:lnTo>
                <a:lnTo>
                  <a:pt x="13457" y="7084"/>
                </a:lnTo>
                <a:lnTo>
                  <a:pt x="13359" y="7377"/>
                </a:lnTo>
                <a:lnTo>
                  <a:pt x="13286" y="7670"/>
                </a:lnTo>
                <a:lnTo>
                  <a:pt x="13237" y="7963"/>
                </a:lnTo>
                <a:lnTo>
                  <a:pt x="13213" y="8280"/>
                </a:lnTo>
                <a:lnTo>
                  <a:pt x="13188" y="8598"/>
                </a:lnTo>
                <a:lnTo>
                  <a:pt x="13213" y="9062"/>
                </a:lnTo>
                <a:lnTo>
                  <a:pt x="13286" y="9501"/>
                </a:lnTo>
                <a:lnTo>
                  <a:pt x="13408" y="9941"/>
                </a:lnTo>
                <a:lnTo>
                  <a:pt x="13555" y="10356"/>
                </a:lnTo>
                <a:lnTo>
                  <a:pt x="13750" y="10747"/>
                </a:lnTo>
                <a:lnTo>
                  <a:pt x="13970" y="11138"/>
                </a:lnTo>
                <a:lnTo>
                  <a:pt x="14239" y="11480"/>
                </a:lnTo>
                <a:lnTo>
                  <a:pt x="14532" y="11797"/>
                </a:lnTo>
                <a:lnTo>
                  <a:pt x="14849" y="12090"/>
                </a:lnTo>
                <a:lnTo>
                  <a:pt x="15191" y="12359"/>
                </a:lnTo>
                <a:lnTo>
                  <a:pt x="15582" y="12579"/>
                </a:lnTo>
                <a:lnTo>
                  <a:pt x="15973" y="12774"/>
                </a:lnTo>
                <a:lnTo>
                  <a:pt x="16388" y="12945"/>
                </a:lnTo>
                <a:lnTo>
                  <a:pt x="16827" y="13043"/>
                </a:lnTo>
                <a:lnTo>
                  <a:pt x="17267" y="13116"/>
                </a:lnTo>
                <a:lnTo>
                  <a:pt x="17756" y="13140"/>
                </a:lnTo>
                <a:lnTo>
                  <a:pt x="18195" y="13116"/>
                </a:lnTo>
                <a:lnTo>
                  <a:pt x="18659" y="13043"/>
                </a:lnTo>
                <a:lnTo>
                  <a:pt x="19099" y="12945"/>
                </a:lnTo>
                <a:lnTo>
                  <a:pt x="19514" y="12774"/>
                </a:lnTo>
                <a:lnTo>
                  <a:pt x="19905" y="12579"/>
                </a:lnTo>
                <a:lnTo>
                  <a:pt x="20271" y="12359"/>
                </a:lnTo>
                <a:lnTo>
                  <a:pt x="20613" y="12090"/>
                </a:lnTo>
                <a:lnTo>
                  <a:pt x="20931" y="11797"/>
                </a:lnTo>
                <a:lnTo>
                  <a:pt x="21224" y="11480"/>
                </a:lnTo>
                <a:lnTo>
                  <a:pt x="21492" y="11138"/>
                </a:lnTo>
                <a:lnTo>
                  <a:pt x="21712" y="10747"/>
                </a:lnTo>
                <a:lnTo>
                  <a:pt x="21907" y="10356"/>
                </a:lnTo>
                <a:lnTo>
                  <a:pt x="22054" y="9941"/>
                </a:lnTo>
                <a:lnTo>
                  <a:pt x="22176" y="9501"/>
                </a:lnTo>
                <a:lnTo>
                  <a:pt x="22249" y="9062"/>
                </a:lnTo>
                <a:lnTo>
                  <a:pt x="22274" y="8598"/>
                </a:lnTo>
                <a:lnTo>
                  <a:pt x="22249" y="8134"/>
                </a:lnTo>
                <a:lnTo>
                  <a:pt x="22176" y="7670"/>
                </a:lnTo>
                <a:lnTo>
                  <a:pt x="22054" y="7230"/>
                </a:lnTo>
                <a:lnTo>
                  <a:pt x="21907" y="6815"/>
                </a:lnTo>
                <a:lnTo>
                  <a:pt x="21712" y="6424"/>
                </a:lnTo>
                <a:lnTo>
                  <a:pt x="21492" y="6058"/>
                </a:lnTo>
                <a:lnTo>
                  <a:pt x="21224" y="5691"/>
                </a:lnTo>
                <a:lnTo>
                  <a:pt x="20931" y="5374"/>
                </a:lnTo>
                <a:lnTo>
                  <a:pt x="20613" y="5081"/>
                </a:lnTo>
                <a:lnTo>
                  <a:pt x="20271" y="4812"/>
                </a:lnTo>
                <a:lnTo>
                  <a:pt x="19905" y="4592"/>
                </a:lnTo>
                <a:lnTo>
                  <a:pt x="19514" y="4397"/>
                </a:lnTo>
                <a:lnTo>
                  <a:pt x="19099" y="4250"/>
                </a:lnTo>
                <a:lnTo>
                  <a:pt x="18659" y="4128"/>
                </a:lnTo>
                <a:lnTo>
                  <a:pt x="18195" y="4079"/>
                </a:lnTo>
                <a:lnTo>
                  <a:pt x="17756" y="4055"/>
                </a:lnTo>
                <a:lnTo>
                  <a:pt x="17414" y="4055"/>
                </a:lnTo>
                <a:lnTo>
                  <a:pt x="17072" y="4104"/>
                </a:lnTo>
                <a:lnTo>
                  <a:pt x="16754" y="4153"/>
                </a:lnTo>
                <a:lnTo>
                  <a:pt x="16412" y="4250"/>
                </a:lnTo>
                <a:lnTo>
                  <a:pt x="15240" y="1344"/>
                </a:lnTo>
                <a:lnTo>
                  <a:pt x="16144" y="1344"/>
                </a:lnTo>
                <a:lnTo>
                  <a:pt x="15997" y="1515"/>
                </a:lnTo>
                <a:lnTo>
                  <a:pt x="15924" y="1564"/>
                </a:lnTo>
                <a:lnTo>
                  <a:pt x="15899" y="1637"/>
                </a:lnTo>
                <a:lnTo>
                  <a:pt x="15875" y="1735"/>
                </a:lnTo>
                <a:lnTo>
                  <a:pt x="15875" y="1808"/>
                </a:lnTo>
                <a:lnTo>
                  <a:pt x="15875" y="1881"/>
                </a:lnTo>
                <a:lnTo>
                  <a:pt x="15899" y="1955"/>
                </a:lnTo>
                <a:lnTo>
                  <a:pt x="15924" y="2028"/>
                </a:lnTo>
                <a:lnTo>
                  <a:pt x="15997" y="2101"/>
                </a:lnTo>
                <a:lnTo>
                  <a:pt x="16046" y="2150"/>
                </a:lnTo>
                <a:lnTo>
                  <a:pt x="16119" y="2199"/>
                </a:lnTo>
                <a:lnTo>
                  <a:pt x="16192" y="2223"/>
                </a:lnTo>
                <a:lnTo>
                  <a:pt x="16363" y="2223"/>
                </a:lnTo>
                <a:lnTo>
                  <a:pt x="16437" y="2199"/>
                </a:lnTo>
                <a:lnTo>
                  <a:pt x="16510" y="2150"/>
                </a:lnTo>
                <a:lnTo>
                  <a:pt x="16583" y="2101"/>
                </a:lnTo>
                <a:lnTo>
                  <a:pt x="16754" y="1930"/>
                </a:lnTo>
                <a:lnTo>
                  <a:pt x="16852" y="1808"/>
                </a:lnTo>
                <a:lnTo>
                  <a:pt x="16925" y="1662"/>
                </a:lnTo>
                <a:lnTo>
                  <a:pt x="16998" y="1491"/>
                </a:lnTo>
                <a:lnTo>
                  <a:pt x="17047" y="1320"/>
                </a:lnTo>
                <a:lnTo>
                  <a:pt x="17047" y="1124"/>
                </a:lnTo>
                <a:lnTo>
                  <a:pt x="16998" y="953"/>
                </a:lnTo>
                <a:lnTo>
                  <a:pt x="16901" y="807"/>
                </a:lnTo>
                <a:lnTo>
                  <a:pt x="16779" y="685"/>
                </a:lnTo>
                <a:lnTo>
                  <a:pt x="16657" y="587"/>
                </a:lnTo>
                <a:lnTo>
                  <a:pt x="16486" y="538"/>
                </a:lnTo>
                <a:lnTo>
                  <a:pt x="16339" y="489"/>
                </a:lnTo>
                <a:lnTo>
                  <a:pt x="16192" y="465"/>
                </a:lnTo>
                <a:lnTo>
                  <a:pt x="14629" y="465"/>
                </a:lnTo>
                <a:lnTo>
                  <a:pt x="14507" y="489"/>
                </a:lnTo>
                <a:lnTo>
                  <a:pt x="14434" y="514"/>
                </a:lnTo>
                <a:lnTo>
                  <a:pt x="14312" y="611"/>
                </a:lnTo>
                <a:lnTo>
                  <a:pt x="14239" y="709"/>
                </a:lnTo>
                <a:lnTo>
                  <a:pt x="14214" y="807"/>
                </a:lnTo>
                <a:lnTo>
                  <a:pt x="14214" y="929"/>
                </a:lnTo>
                <a:lnTo>
                  <a:pt x="14239" y="1027"/>
                </a:lnTo>
                <a:lnTo>
                  <a:pt x="14996" y="2883"/>
                </a:lnTo>
                <a:lnTo>
                  <a:pt x="8792" y="2883"/>
                </a:lnTo>
                <a:lnTo>
                  <a:pt x="8035" y="1344"/>
                </a:lnTo>
                <a:lnTo>
                  <a:pt x="9427" y="1344"/>
                </a:lnTo>
                <a:lnTo>
                  <a:pt x="9525" y="1320"/>
                </a:lnTo>
                <a:lnTo>
                  <a:pt x="9598" y="1295"/>
                </a:lnTo>
                <a:lnTo>
                  <a:pt x="9672" y="1271"/>
                </a:lnTo>
                <a:lnTo>
                  <a:pt x="9720" y="1222"/>
                </a:lnTo>
                <a:lnTo>
                  <a:pt x="9794" y="1149"/>
                </a:lnTo>
                <a:lnTo>
                  <a:pt x="9818" y="1075"/>
                </a:lnTo>
                <a:lnTo>
                  <a:pt x="9842" y="1002"/>
                </a:lnTo>
                <a:lnTo>
                  <a:pt x="9842" y="904"/>
                </a:lnTo>
                <a:lnTo>
                  <a:pt x="9842" y="831"/>
                </a:lnTo>
                <a:lnTo>
                  <a:pt x="9818" y="734"/>
                </a:lnTo>
                <a:lnTo>
                  <a:pt x="9794" y="685"/>
                </a:lnTo>
                <a:lnTo>
                  <a:pt x="9720" y="611"/>
                </a:lnTo>
                <a:lnTo>
                  <a:pt x="9672" y="563"/>
                </a:lnTo>
                <a:lnTo>
                  <a:pt x="9598" y="514"/>
                </a:lnTo>
                <a:lnTo>
                  <a:pt x="9525" y="489"/>
                </a:lnTo>
                <a:lnTo>
                  <a:pt x="9427" y="489"/>
                </a:lnTo>
                <a:lnTo>
                  <a:pt x="635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31" name="Shape 560"/>
          <p:cNvGrpSpPr/>
          <p:nvPr/>
        </p:nvGrpSpPr>
        <p:grpSpPr>
          <a:xfrm>
            <a:off x="3205599" y="5363504"/>
            <a:ext cx="339439" cy="333846"/>
            <a:chOff x="1244325" y="4999400"/>
            <a:chExt cx="444525" cy="437200"/>
          </a:xfrm>
        </p:grpSpPr>
        <p:sp>
          <p:nvSpPr>
            <p:cNvPr id="232" name="Shape 561"/>
            <p:cNvSpPr/>
            <p:nvPr/>
          </p:nvSpPr>
          <p:spPr>
            <a:xfrm>
              <a:off x="1244325" y="5161200"/>
              <a:ext cx="374925" cy="222275"/>
            </a:xfrm>
            <a:custGeom>
              <a:avLst/>
              <a:gdLst/>
              <a:ahLst/>
              <a:cxnLst/>
              <a:rect l="0" t="0" r="0" b="0"/>
              <a:pathLst>
                <a:path w="14997" h="8891" extrusionOk="0">
                  <a:moveTo>
                    <a:pt x="2077" y="1661"/>
                  </a:moveTo>
                  <a:lnTo>
                    <a:pt x="2199" y="1685"/>
                  </a:lnTo>
                  <a:lnTo>
                    <a:pt x="2468" y="1783"/>
                  </a:lnTo>
                  <a:lnTo>
                    <a:pt x="2687" y="1930"/>
                  </a:lnTo>
                  <a:lnTo>
                    <a:pt x="2883" y="2076"/>
                  </a:lnTo>
                  <a:lnTo>
                    <a:pt x="2932" y="2443"/>
                  </a:lnTo>
                  <a:lnTo>
                    <a:pt x="3005" y="2833"/>
                  </a:lnTo>
                  <a:lnTo>
                    <a:pt x="3176" y="3664"/>
                  </a:lnTo>
                  <a:lnTo>
                    <a:pt x="3396" y="4470"/>
                  </a:lnTo>
                  <a:lnTo>
                    <a:pt x="3567" y="5154"/>
                  </a:lnTo>
                  <a:lnTo>
                    <a:pt x="3371" y="5105"/>
                  </a:lnTo>
                  <a:lnTo>
                    <a:pt x="3152" y="5031"/>
                  </a:lnTo>
                  <a:lnTo>
                    <a:pt x="2956" y="4934"/>
                  </a:lnTo>
                  <a:lnTo>
                    <a:pt x="2736" y="4812"/>
                  </a:lnTo>
                  <a:lnTo>
                    <a:pt x="2541" y="4690"/>
                  </a:lnTo>
                  <a:lnTo>
                    <a:pt x="2321" y="4543"/>
                  </a:lnTo>
                  <a:lnTo>
                    <a:pt x="2126" y="4372"/>
                  </a:lnTo>
                  <a:lnTo>
                    <a:pt x="1930" y="4201"/>
                  </a:lnTo>
                  <a:lnTo>
                    <a:pt x="1759" y="4006"/>
                  </a:lnTo>
                  <a:lnTo>
                    <a:pt x="1613" y="3810"/>
                  </a:lnTo>
                  <a:lnTo>
                    <a:pt x="1466" y="3590"/>
                  </a:lnTo>
                  <a:lnTo>
                    <a:pt x="1344" y="3395"/>
                  </a:lnTo>
                  <a:lnTo>
                    <a:pt x="1247" y="3175"/>
                  </a:lnTo>
                  <a:lnTo>
                    <a:pt x="1173" y="2931"/>
                  </a:lnTo>
                  <a:lnTo>
                    <a:pt x="1124" y="2711"/>
                  </a:lnTo>
                  <a:lnTo>
                    <a:pt x="1124" y="2491"/>
                  </a:lnTo>
                  <a:lnTo>
                    <a:pt x="1124" y="2320"/>
                  </a:lnTo>
                  <a:lnTo>
                    <a:pt x="1173" y="2174"/>
                  </a:lnTo>
                  <a:lnTo>
                    <a:pt x="1247" y="2027"/>
                  </a:lnTo>
                  <a:lnTo>
                    <a:pt x="1369" y="1905"/>
                  </a:lnTo>
                  <a:lnTo>
                    <a:pt x="1491" y="1808"/>
                  </a:lnTo>
                  <a:lnTo>
                    <a:pt x="1613" y="1734"/>
                  </a:lnTo>
                  <a:lnTo>
                    <a:pt x="1784" y="1685"/>
                  </a:lnTo>
                  <a:lnTo>
                    <a:pt x="1955" y="1661"/>
                  </a:lnTo>
                  <a:close/>
                  <a:moveTo>
                    <a:pt x="3225" y="0"/>
                  </a:moveTo>
                  <a:lnTo>
                    <a:pt x="3127" y="25"/>
                  </a:lnTo>
                  <a:lnTo>
                    <a:pt x="3029" y="98"/>
                  </a:lnTo>
                  <a:lnTo>
                    <a:pt x="2932" y="147"/>
                  </a:lnTo>
                  <a:lnTo>
                    <a:pt x="2883" y="245"/>
                  </a:lnTo>
                  <a:lnTo>
                    <a:pt x="2834" y="342"/>
                  </a:lnTo>
                  <a:lnTo>
                    <a:pt x="2785" y="440"/>
                  </a:lnTo>
                  <a:lnTo>
                    <a:pt x="2785" y="538"/>
                  </a:lnTo>
                  <a:lnTo>
                    <a:pt x="2785" y="709"/>
                  </a:lnTo>
                  <a:lnTo>
                    <a:pt x="2565" y="635"/>
                  </a:lnTo>
                  <a:lnTo>
                    <a:pt x="2370" y="586"/>
                  </a:lnTo>
                  <a:lnTo>
                    <a:pt x="2150" y="562"/>
                  </a:lnTo>
                  <a:lnTo>
                    <a:pt x="1955" y="538"/>
                  </a:lnTo>
                  <a:lnTo>
                    <a:pt x="1759" y="562"/>
                  </a:lnTo>
                  <a:lnTo>
                    <a:pt x="1564" y="586"/>
                  </a:lnTo>
                  <a:lnTo>
                    <a:pt x="1369" y="635"/>
                  </a:lnTo>
                  <a:lnTo>
                    <a:pt x="1198" y="709"/>
                  </a:lnTo>
                  <a:lnTo>
                    <a:pt x="1027" y="782"/>
                  </a:lnTo>
                  <a:lnTo>
                    <a:pt x="856" y="880"/>
                  </a:lnTo>
                  <a:lnTo>
                    <a:pt x="709" y="1002"/>
                  </a:lnTo>
                  <a:lnTo>
                    <a:pt x="563" y="1124"/>
                  </a:lnTo>
                  <a:lnTo>
                    <a:pt x="441" y="1246"/>
                  </a:lnTo>
                  <a:lnTo>
                    <a:pt x="343" y="1417"/>
                  </a:lnTo>
                  <a:lnTo>
                    <a:pt x="245" y="1563"/>
                  </a:lnTo>
                  <a:lnTo>
                    <a:pt x="147" y="1734"/>
                  </a:lnTo>
                  <a:lnTo>
                    <a:pt x="99" y="1905"/>
                  </a:lnTo>
                  <a:lnTo>
                    <a:pt x="50" y="2101"/>
                  </a:lnTo>
                  <a:lnTo>
                    <a:pt x="1" y="2296"/>
                  </a:lnTo>
                  <a:lnTo>
                    <a:pt x="1" y="2491"/>
                  </a:lnTo>
                  <a:lnTo>
                    <a:pt x="25" y="2858"/>
                  </a:lnTo>
                  <a:lnTo>
                    <a:pt x="99" y="3200"/>
                  </a:lnTo>
                  <a:lnTo>
                    <a:pt x="221" y="3566"/>
                  </a:lnTo>
                  <a:lnTo>
                    <a:pt x="367" y="3884"/>
                  </a:lnTo>
                  <a:lnTo>
                    <a:pt x="563" y="4225"/>
                  </a:lnTo>
                  <a:lnTo>
                    <a:pt x="782" y="4543"/>
                  </a:lnTo>
                  <a:lnTo>
                    <a:pt x="1027" y="4836"/>
                  </a:lnTo>
                  <a:lnTo>
                    <a:pt x="1295" y="5105"/>
                  </a:lnTo>
                  <a:lnTo>
                    <a:pt x="1588" y="5349"/>
                  </a:lnTo>
                  <a:lnTo>
                    <a:pt x="1906" y="5593"/>
                  </a:lnTo>
                  <a:lnTo>
                    <a:pt x="2248" y="5789"/>
                  </a:lnTo>
                  <a:lnTo>
                    <a:pt x="2590" y="5960"/>
                  </a:lnTo>
                  <a:lnTo>
                    <a:pt x="2932" y="6106"/>
                  </a:lnTo>
                  <a:lnTo>
                    <a:pt x="3274" y="6204"/>
                  </a:lnTo>
                  <a:lnTo>
                    <a:pt x="3616" y="6277"/>
                  </a:lnTo>
                  <a:lnTo>
                    <a:pt x="3957" y="6301"/>
                  </a:lnTo>
                  <a:lnTo>
                    <a:pt x="4080" y="6643"/>
                  </a:lnTo>
                  <a:lnTo>
                    <a:pt x="4226" y="6961"/>
                  </a:lnTo>
                  <a:lnTo>
                    <a:pt x="4519" y="7596"/>
                  </a:lnTo>
                  <a:lnTo>
                    <a:pt x="4812" y="8133"/>
                  </a:lnTo>
                  <a:lnTo>
                    <a:pt x="5081" y="8597"/>
                  </a:lnTo>
                  <a:lnTo>
                    <a:pt x="5154" y="8719"/>
                  </a:lnTo>
                  <a:lnTo>
                    <a:pt x="5276" y="8817"/>
                  </a:lnTo>
                  <a:lnTo>
                    <a:pt x="5423" y="8866"/>
                  </a:lnTo>
                  <a:lnTo>
                    <a:pt x="5569" y="8890"/>
                  </a:lnTo>
                  <a:lnTo>
                    <a:pt x="12212" y="8890"/>
                  </a:lnTo>
                  <a:lnTo>
                    <a:pt x="12359" y="8866"/>
                  </a:lnTo>
                  <a:lnTo>
                    <a:pt x="12506" y="8817"/>
                  </a:lnTo>
                  <a:lnTo>
                    <a:pt x="12628" y="8719"/>
                  </a:lnTo>
                  <a:lnTo>
                    <a:pt x="12701" y="8597"/>
                  </a:lnTo>
                  <a:lnTo>
                    <a:pt x="12994" y="8060"/>
                  </a:lnTo>
                  <a:lnTo>
                    <a:pt x="13360" y="7352"/>
                  </a:lnTo>
                  <a:lnTo>
                    <a:pt x="13727" y="6472"/>
                  </a:lnTo>
                  <a:lnTo>
                    <a:pt x="13922" y="6008"/>
                  </a:lnTo>
                  <a:lnTo>
                    <a:pt x="14117" y="5495"/>
                  </a:lnTo>
                  <a:lnTo>
                    <a:pt x="14288" y="4958"/>
                  </a:lnTo>
                  <a:lnTo>
                    <a:pt x="14459" y="4372"/>
                  </a:lnTo>
                  <a:lnTo>
                    <a:pt x="14606" y="3786"/>
                  </a:lnTo>
                  <a:lnTo>
                    <a:pt x="14752" y="3175"/>
                  </a:lnTo>
                  <a:lnTo>
                    <a:pt x="14850" y="2540"/>
                  </a:lnTo>
                  <a:lnTo>
                    <a:pt x="14923" y="1881"/>
                  </a:lnTo>
                  <a:lnTo>
                    <a:pt x="14972" y="1221"/>
                  </a:lnTo>
                  <a:lnTo>
                    <a:pt x="14997" y="538"/>
                  </a:lnTo>
                  <a:lnTo>
                    <a:pt x="14997" y="440"/>
                  </a:lnTo>
                  <a:lnTo>
                    <a:pt x="14948" y="342"/>
                  </a:lnTo>
                  <a:lnTo>
                    <a:pt x="14899" y="245"/>
                  </a:lnTo>
                  <a:lnTo>
                    <a:pt x="14850" y="147"/>
                  </a:lnTo>
                  <a:lnTo>
                    <a:pt x="14752" y="98"/>
                  </a:lnTo>
                  <a:lnTo>
                    <a:pt x="14655" y="25"/>
                  </a:lnTo>
                  <a:lnTo>
                    <a:pt x="1455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33" name="Shape 562"/>
            <p:cNvSpPr/>
            <p:nvPr/>
          </p:nvSpPr>
          <p:spPr>
            <a:xfrm>
              <a:off x="1244325" y="5397500"/>
              <a:ext cx="444525" cy="39100"/>
            </a:xfrm>
            <a:custGeom>
              <a:avLst/>
              <a:gdLst/>
              <a:ahLst/>
              <a:cxnLst/>
              <a:rect l="0" t="0" r="0" b="0"/>
              <a:pathLst>
                <a:path w="17781" h="1564" extrusionOk="0">
                  <a:moveTo>
                    <a:pt x="1" y="0"/>
                  </a:moveTo>
                  <a:lnTo>
                    <a:pt x="25" y="244"/>
                  </a:lnTo>
                  <a:lnTo>
                    <a:pt x="99" y="488"/>
                  </a:lnTo>
                  <a:lnTo>
                    <a:pt x="196" y="757"/>
                  </a:lnTo>
                  <a:lnTo>
                    <a:pt x="318" y="1001"/>
                  </a:lnTo>
                  <a:lnTo>
                    <a:pt x="489" y="1221"/>
                  </a:lnTo>
                  <a:lnTo>
                    <a:pt x="685" y="1392"/>
                  </a:lnTo>
                  <a:lnTo>
                    <a:pt x="782" y="1465"/>
                  </a:lnTo>
                  <a:lnTo>
                    <a:pt x="880" y="1514"/>
                  </a:lnTo>
                  <a:lnTo>
                    <a:pt x="1002" y="1539"/>
                  </a:lnTo>
                  <a:lnTo>
                    <a:pt x="1124" y="1563"/>
                  </a:lnTo>
                  <a:lnTo>
                    <a:pt x="16657" y="1563"/>
                  </a:lnTo>
                  <a:lnTo>
                    <a:pt x="16780" y="1539"/>
                  </a:lnTo>
                  <a:lnTo>
                    <a:pt x="16902" y="1514"/>
                  </a:lnTo>
                  <a:lnTo>
                    <a:pt x="16999" y="1465"/>
                  </a:lnTo>
                  <a:lnTo>
                    <a:pt x="17097" y="1392"/>
                  </a:lnTo>
                  <a:lnTo>
                    <a:pt x="17292" y="1221"/>
                  </a:lnTo>
                  <a:lnTo>
                    <a:pt x="17463" y="1001"/>
                  </a:lnTo>
                  <a:lnTo>
                    <a:pt x="17586" y="757"/>
                  </a:lnTo>
                  <a:lnTo>
                    <a:pt x="17683" y="488"/>
                  </a:lnTo>
                  <a:lnTo>
                    <a:pt x="17756" y="244"/>
                  </a:lnTo>
                  <a:lnTo>
                    <a:pt x="1778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34" name="Shape 563"/>
            <p:cNvSpPr/>
            <p:nvPr/>
          </p:nvSpPr>
          <p:spPr>
            <a:xfrm>
              <a:off x="1451925" y="4999400"/>
              <a:ext cx="31175" cy="129450"/>
            </a:xfrm>
            <a:custGeom>
              <a:avLst/>
              <a:gdLst/>
              <a:ahLst/>
              <a:cxnLst/>
              <a:rect l="0" t="0" r="0" b="0"/>
              <a:pathLst>
                <a:path w="1247" h="5178" extrusionOk="0">
                  <a:moveTo>
                    <a:pt x="953" y="0"/>
                  </a:moveTo>
                  <a:lnTo>
                    <a:pt x="856" y="25"/>
                  </a:lnTo>
                  <a:lnTo>
                    <a:pt x="758" y="98"/>
                  </a:lnTo>
                  <a:lnTo>
                    <a:pt x="709" y="171"/>
                  </a:lnTo>
                  <a:lnTo>
                    <a:pt x="685" y="293"/>
                  </a:lnTo>
                  <a:lnTo>
                    <a:pt x="660" y="464"/>
                  </a:lnTo>
                  <a:lnTo>
                    <a:pt x="611" y="611"/>
                  </a:lnTo>
                  <a:lnTo>
                    <a:pt x="514" y="733"/>
                  </a:lnTo>
                  <a:lnTo>
                    <a:pt x="416" y="879"/>
                  </a:lnTo>
                  <a:lnTo>
                    <a:pt x="269" y="1026"/>
                  </a:lnTo>
                  <a:lnTo>
                    <a:pt x="147" y="1246"/>
                  </a:lnTo>
                  <a:lnTo>
                    <a:pt x="74" y="1368"/>
                  </a:lnTo>
                  <a:lnTo>
                    <a:pt x="50" y="1490"/>
                  </a:lnTo>
                  <a:lnTo>
                    <a:pt x="1" y="1661"/>
                  </a:lnTo>
                  <a:lnTo>
                    <a:pt x="1" y="1832"/>
                  </a:lnTo>
                  <a:lnTo>
                    <a:pt x="1" y="2003"/>
                  </a:lnTo>
                  <a:lnTo>
                    <a:pt x="50" y="2149"/>
                  </a:lnTo>
                  <a:lnTo>
                    <a:pt x="74" y="2296"/>
                  </a:lnTo>
                  <a:lnTo>
                    <a:pt x="147" y="2394"/>
                  </a:lnTo>
                  <a:lnTo>
                    <a:pt x="269" y="2613"/>
                  </a:lnTo>
                  <a:lnTo>
                    <a:pt x="416" y="2784"/>
                  </a:lnTo>
                  <a:lnTo>
                    <a:pt x="514" y="2907"/>
                  </a:lnTo>
                  <a:lnTo>
                    <a:pt x="611" y="3029"/>
                  </a:lnTo>
                  <a:lnTo>
                    <a:pt x="660" y="3175"/>
                  </a:lnTo>
                  <a:lnTo>
                    <a:pt x="685" y="3346"/>
                  </a:lnTo>
                  <a:lnTo>
                    <a:pt x="660" y="3542"/>
                  </a:lnTo>
                  <a:lnTo>
                    <a:pt x="611" y="3688"/>
                  </a:lnTo>
                  <a:lnTo>
                    <a:pt x="514" y="3810"/>
                  </a:lnTo>
                  <a:lnTo>
                    <a:pt x="416" y="3932"/>
                  </a:lnTo>
                  <a:lnTo>
                    <a:pt x="269" y="4103"/>
                  </a:lnTo>
                  <a:lnTo>
                    <a:pt x="147" y="4299"/>
                  </a:lnTo>
                  <a:lnTo>
                    <a:pt x="74" y="4421"/>
                  </a:lnTo>
                  <a:lnTo>
                    <a:pt x="50" y="4567"/>
                  </a:lnTo>
                  <a:lnTo>
                    <a:pt x="1" y="4714"/>
                  </a:lnTo>
                  <a:lnTo>
                    <a:pt x="1" y="4885"/>
                  </a:lnTo>
                  <a:lnTo>
                    <a:pt x="25" y="5007"/>
                  </a:lnTo>
                  <a:lnTo>
                    <a:pt x="74" y="5080"/>
                  </a:lnTo>
                  <a:lnTo>
                    <a:pt x="172" y="5153"/>
                  </a:lnTo>
                  <a:lnTo>
                    <a:pt x="294" y="5178"/>
                  </a:lnTo>
                  <a:lnTo>
                    <a:pt x="392" y="5153"/>
                  </a:lnTo>
                  <a:lnTo>
                    <a:pt x="489" y="5080"/>
                  </a:lnTo>
                  <a:lnTo>
                    <a:pt x="538" y="5007"/>
                  </a:lnTo>
                  <a:lnTo>
                    <a:pt x="563" y="4885"/>
                  </a:lnTo>
                  <a:lnTo>
                    <a:pt x="587" y="4714"/>
                  </a:lnTo>
                  <a:lnTo>
                    <a:pt x="636" y="4567"/>
                  </a:lnTo>
                  <a:lnTo>
                    <a:pt x="733" y="4445"/>
                  </a:lnTo>
                  <a:lnTo>
                    <a:pt x="831" y="4299"/>
                  </a:lnTo>
                  <a:lnTo>
                    <a:pt x="978" y="4152"/>
                  </a:lnTo>
                  <a:lnTo>
                    <a:pt x="1100" y="3932"/>
                  </a:lnTo>
                  <a:lnTo>
                    <a:pt x="1149" y="3810"/>
                  </a:lnTo>
                  <a:lnTo>
                    <a:pt x="1197" y="3688"/>
                  </a:lnTo>
                  <a:lnTo>
                    <a:pt x="1222" y="3542"/>
                  </a:lnTo>
                  <a:lnTo>
                    <a:pt x="1246" y="3346"/>
                  </a:lnTo>
                  <a:lnTo>
                    <a:pt x="1222" y="3175"/>
                  </a:lnTo>
                  <a:lnTo>
                    <a:pt x="1197" y="3029"/>
                  </a:lnTo>
                  <a:lnTo>
                    <a:pt x="1149" y="2882"/>
                  </a:lnTo>
                  <a:lnTo>
                    <a:pt x="1100" y="2784"/>
                  </a:lnTo>
                  <a:lnTo>
                    <a:pt x="978" y="2565"/>
                  </a:lnTo>
                  <a:lnTo>
                    <a:pt x="831" y="2394"/>
                  </a:lnTo>
                  <a:lnTo>
                    <a:pt x="733" y="2272"/>
                  </a:lnTo>
                  <a:lnTo>
                    <a:pt x="636" y="2149"/>
                  </a:lnTo>
                  <a:lnTo>
                    <a:pt x="587" y="2003"/>
                  </a:lnTo>
                  <a:lnTo>
                    <a:pt x="563" y="1832"/>
                  </a:lnTo>
                  <a:lnTo>
                    <a:pt x="587" y="1637"/>
                  </a:lnTo>
                  <a:lnTo>
                    <a:pt x="636" y="1490"/>
                  </a:lnTo>
                  <a:lnTo>
                    <a:pt x="733" y="1368"/>
                  </a:lnTo>
                  <a:lnTo>
                    <a:pt x="831" y="1246"/>
                  </a:lnTo>
                  <a:lnTo>
                    <a:pt x="978" y="1075"/>
                  </a:lnTo>
                  <a:lnTo>
                    <a:pt x="1100" y="879"/>
                  </a:lnTo>
                  <a:lnTo>
                    <a:pt x="1149" y="757"/>
                  </a:lnTo>
                  <a:lnTo>
                    <a:pt x="1197" y="611"/>
                  </a:lnTo>
                  <a:lnTo>
                    <a:pt x="1222" y="464"/>
                  </a:lnTo>
                  <a:lnTo>
                    <a:pt x="1246" y="293"/>
                  </a:lnTo>
                  <a:lnTo>
                    <a:pt x="1222" y="171"/>
                  </a:lnTo>
                  <a:lnTo>
                    <a:pt x="1149" y="98"/>
                  </a:lnTo>
                  <a:lnTo>
                    <a:pt x="1075" y="25"/>
                  </a:lnTo>
                  <a:lnTo>
                    <a:pt x="95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35" name="Shape 564"/>
            <p:cNvSpPr/>
            <p:nvPr/>
          </p:nvSpPr>
          <p:spPr>
            <a:xfrm>
              <a:off x="1407975" y="4999400"/>
              <a:ext cx="31150" cy="129450"/>
            </a:xfrm>
            <a:custGeom>
              <a:avLst/>
              <a:gdLst/>
              <a:ahLst/>
              <a:cxnLst/>
              <a:rect l="0" t="0" r="0" b="0"/>
              <a:pathLst>
                <a:path w="1246" h="5178" extrusionOk="0">
                  <a:moveTo>
                    <a:pt x="977" y="0"/>
                  </a:moveTo>
                  <a:lnTo>
                    <a:pt x="855" y="25"/>
                  </a:lnTo>
                  <a:lnTo>
                    <a:pt x="782" y="98"/>
                  </a:lnTo>
                  <a:lnTo>
                    <a:pt x="709" y="171"/>
                  </a:lnTo>
                  <a:lnTo>
                    <a:pt x="684" y="293"/>
                  </a:lnTo>
                  <a:lnTo>
                    <a:pt x="660" y="464"/>
                  </a:lnTo>
                  <a:lnTo>
                    <a:pt x="611" y="611"/>
                  </a:lnTo>
                  <a:lnTo>
                    <a:pt x="538" y="733"/>
                  </a:lnTo>
                  <a:lnTo>
                    <a:pt x="416" y="879"/>
                  </a:lnTo>
                  <a:lnTo>
                    <a:pt x="269" y="1026"/>
                  </a:lnTo>
                  <a:lnTo>
                    <a:pt x="147" y="1246"/>
                  </a:lnTo>
                  <a:lnTo>
                    <a:pt x="98" y="1368"/>
                  </a:lnTo>
                  <a:lnTo>
                    <a:pt x="49" y="1490"/>
                  </a:lnTo>
                  <a:lnTo>
                    <a:pt x="25" y="1661"/>
                  </a:lnTo>
                  <a:lnTo>
                    <a:pt x="0" y="1832"/>
                  </a:lnTo>
                  <a:lnTo>
                    <a:pt x="25" y="2003"/>
                  </a:lnTo>
                  <a:lnTo>
                    <a:pt x="49" y="2149"/>
                  </a:lnTo>
                  <a:lnTo>
                    <a:pt x="98" y="2296"/>
                  </a:lnTo>
                  <a:lnTo>
                    <a:pt x="147" y="2394"/>
                  </a:lnTo>
                  <a:lnTo>
                    <a:pt x="269" y="2613"/>
                  </a:lnTo>
                  <a:lnTo>
                    <a:pt x="416" y="2784"/>
                  </a:lnTo>
                  <a:lnTo>
                    <a:pt x="538" y="2907"/>
                  </a:lnTo>
                  <a:lnTo>
                    <a:pt x="611" y="3029"/>
                  </a:lnTo>
                  <a:lnTo>
                    <a:pt x="660" y="3175"/>
                  </a:lnTo>
                  <a:lnTo>
                    <a:pt x="684" y="3346"/>
                  </a:lnTo>
                  <a:lnTo>
                    <a:pt x="660" y="3542"/>
                  </a:lnTo>
                  <a:lnTo>
                    <a:pt x="611" y="3688"/>
                  </a:lnTo>
                  <a:lnTo>
                    <a:pt x="538" y="3810"/>
                  </a:lnTo>
                  <a:lnTo>
                    <a:pt x="416" y="3932"/>
                  </a:lnTo>
                  <a:lnTo>
                    <a:pt x="269" y="4103"/>
                  </a:lnTo>
                  <a:lnTo>
                    <a:pt x="147" y="4299"/>
                  </a:lnTo>
                  <a:lnTo>
                    <a:pt x="98" y="4421"/>
                  </a:lnTo>
                  <a:lnTo>
                    <a:pt x="49" y="4567"/>
                  </a:lnTo>
                  <a:lnTo>
                    <a:pt x="25" y="4714"/>
                  </a:lnTo>
                  <a:lnTo>
                    <a:pt x="0" y="4885"/>
                  </a:lnTo>
                  <a:lnTo>
                    <a:pt x="25" y="5007"/>
                  </a:lnTo>
                  <a:lnTo>
                    <a:pt x="98" y="5080"/>
                  </a:lnTo>
                  <a:lnTo>
                    <a:pt x="171" y="5153"/>
                  </a:lnTo>
                  <a:lnTo>
                    <a:pt x="293" y="5178"/>
                  </a:lnTo>
                  <a:lnTo>
                    <a:pt x="391" y="5153"/>
                  </a:lnTo>
                  <a:lnTo>
                    <a:pt x="489" y="5080"/>
                  </a:lnTo>
                  <a:lnTo>
                    <a:pt x="562" y="5007"/>
                  </a:lnTo>
                  <a:lnTo>
                    <a:pt x="586" y="4885"/>
                  </a:lnTo>
                  <a:lnTo>
                    <a:pt x="586" y="4714"/>
                  </a:lnTo>
                  <a:lnTo>
                    <a:pt x="660" y="4567"/>
                  </a:lnTo>
                  <a:lnTo>
                    <a:pt x="733" y="4445"/>
                  </a:lnTo>
                  <a:lnTo>
                    <a:pt x="831" y="4299"/>
                  </a:lnTo>
                  <a:lnTo>
                    <a:pt x="977" y="4152"/>
                  </a:lnTo>
                  <a:lnTo>
                    <a:pt x="1124" y="3932"/>
                  </a:lnTo>
                  <a:lnTo>
                    <a:pt x="1173" y="3810"/>
                  </a:lnTo>
                  <a:lnTo>
                    <a:pt x="1221" y="3688"/>
                  </a:lnTo>
                  <a:lnTo>
                    <a:pt x="1246" y="3542"/>
                  </a:lnTo>
                  <a:lnTo>
                    <a:pt x="1246" y="3346"/>
                  </a:lnTo>
                  <a:lnTo>
                    <a:pt x="1246" y="3175"/>
                  </a:lnTo>
                  <a:lnTo>
                    <a:pt x="1221" y="3029"/>
                  </a:lnTo>
                  <a:lnTo>
                    <a:pt x="1173" y="2882"/>
                  </a:lnTo>
                  <a:lnTo>
                    <a:pt x="1124" y="2784"/>
                  </a:lnTo>
                  <a:lnTo>
                    <a:pt x="977" y="2565"/>
                  </a:lnTo>
                  <a:lnTo>
                    <a:pt x="831" y="2394"/>
                  </a:lnTo>
                  <a:lnTo>
                    <a:pt x="733" y="2272"/>
                  </a:lnTo>
                  <a:lnTo>
                    <a:pt x="660" y="2149"/>
                  </a:lnTo>
                  <a:lnTo>
                    <a:pt x="586" y="2003"/>
                  </a:lnTo>
                  <a:lnTo>
                    <a:pt x="586" y="1832"/>
                  </a:lnTo>
                  <a:lnTo>
                    <a:pt x="586" y="1637"/>
                  </a:lnTo>
                  <a:lnTo>
                    <a:pt x="660" y="1490"/>
                  </a:lnTo>
                  <a:lnTo>
                    <a:pt x="733" y="1368"/>
                  </a:lnTo>
                  <a:lnTo>
                    <a:pt x="831" y="1246"/>
                  </a:lnTo>
                  <a:lnTo>
                    <a:pt x="977" y="1075"/>
                  </a:lnTo>
                  <a:lnTo>
                    <a:pt x="1124" y="879"/>
                  </a:lnTo>
                  <a:lnTo>
                    <a:pt x="1173" y="757"/>
                  </a:lnTo>
                  <a:lnTo>
                    <a:pt x="1221" y="611"/>
                  </a:lnTo>
                  <a:lnTo>
                    <a:pt x="1246" y="464"/>
                  </a:lnTo>
                  <a:lnTo>
                    <a:pt x="1246" y="293"/>
                  </a:lnTo>
                  <a:lnTo>
                    <a:pt x="1221" y="171"/>
                  </a:lnTo>
                  <a:lnTo>
                    <a:pt x="1173" y="98"/>
                  </a:lnTo>
                  <a:lnTo>
                    <a:pt x="1075" y="25"/>
                  </a:lnTo>
                  <a:lnTo>
                    <a:pt x="977"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36" name="Shape 565"/>
            <p:cNvSpPr/>
            <p:nvPr/>
          </p:nvSpPr>
          <p:spPr>
            <a:xfrm>
              <a:off x="1495900" y="4999400"/>
              <a:ext cx="30550" cy="129450"/>
            </a:xfrm>
            <a:custGeom>
              <a:avLst/>
              <a:gdLst/>
              <a:ahLst/>
              <a:cxnLst/>
              <a:rect l="0" t="0" r="0" b="0"/>
              <a:pathLst>
                <a:path w="1222" h="5178" extrusionOk="0">
                  <a:moveTo>
                    <a:pt x="953" y="0"/>
                  </a:moveTo>
                  <a:lnTo>
                    <a:pt x="831" y="25"/>
                  </a:lnTo>
                  <a:lnTo>
                    <a:pt x="757" y="98"/>
                  </a:lnTo>
                  <a:lnTo>
                    <a:pt x="684" y="171"/>
                  </a:lnTo>
                  <a:lnTo>
                    <a:pt x="660" y="293"/>
                  </a:lnTo>
                  <a:lnTo>
                    <a:pt x="660" y="464"/>
                  </a:lnTo>
                  <a:lnTo>
                    <a:pt x="586" y="611"/>
                  </a:lnTo>
                  <a:lnTo>
                    <a:pt x="513" y="733"/>
                  </a:lnTo>
                  <a:lnTo>
                    <a:pt x="391" y="879"/>
                  </a:lnTo>
                  <a:lnTo>
                    <a:pt x="269" y="1026"/>
                  </a:lnTo>
                  <a:lnTo>
                    <a:pt x="122" y="1246"/>
                  </a:lnTo>
                  <a:lnTo>
                    <a:pt x="73" y="1368"/>
                  </a:lnTo>
                  <a:lnTo>
                    <a:pt x="25" y="1490"/>
                  </a:lnTo>
                  <a:lnTo>
                    <a:pt x="0" y="1661"/>
                  </a:lnTo>
                  <a:lnTo>
                    <a:pt x="0" y="1832"/>
                  </a:lnTo>
                  <a:lnTo>
                    <a:pt x="0" y="2003"/>
                  </a:lnTo>
                  <a:lnTo>
                    <a:pt x="25" y="2149"/>
                  </a:lnTo>
                  <a:lnTo>
                    <a:pt x="73" y="2296"/>
                  </a:lnTo>
                  <a:lnTo>
                    <a:pt x="122" y="2394"/>
                  </a:lnTo>
                  <a:lnTo>
                    <a:pt x="269" y="2613"/>
                  </a:lnTo>
                  <a:lnTo>
                    <a:pt x="391" y="2784"/>
                  </a:lnTo>
                  <a:lnTo>
                    <a:pt x="513" y="2907"/>
                  </a:lnTo>
                  <a:lnTo>
                    <a:pt x="586" y="3029"/>
                  </a:lnTo>
                  <a:lnTo>
                    <a:pt x="660" y="3175"/>
                  </a:lnTo>
                  <a:lnTo>
                    <a:pt x="660" y="3346"/>
                  </a:lnTo>
                  <a:lnTo>
                    <a:pt x="660" y="3542"/>
                  </a:lnTo>
                  <a:lnTo>
                    <a:pt x="586" y="3688"/>
                  </a:lnTo>
                  <a:lnTo>
                    <a:pt x="513" y="3810"/>
                  </a:lnTo>
                  <a:lnTo>
                    <a:pt x="391" y="3932"/>
                  </a:lnTo>
                  <a:lnTo>
                    <a:pt x="269" y="4103"/>
                  </a:lnTo>
                  <a:lnTo>
                    <a:pt x="122" y="4299"/>
                  </a:lnTo>
                  <a:lnTo>
                    <a:pt x="73" y="4421"/>
                  </a:lnTo>
                  <a:lnTo>
                    <a:pt x="25" y="4567"/>
                  </a:lnTo>
                  <a:lnTo>
                    <a:pt x="0" y="4714"/>
                  </a:lnTo>
                  <a:lnTo>
                    <a:pt x="0" y="4885"/>
                  </a:lnTo>
                  <a:lnTo>
                    <a:pt x="25" y="5007"/>
                  </a:lnTo>
                  <a:lnTo>
                    <a:pt x="73" y="5080"/>
                  </a:lnTo>
                  <a:lnTo>
                    <a:pt x="171" y="5153"/>
                  </a:lnTo>
                  <a:lnTo>
                    <a:pt x="269" y="5178"/>
                  </a:lnTo>
                  <a:lnTo>
                    <a:pt x="391" y="5153"/>
                  </a:lnTo>
                  <a:lnTo>
                    <a:pt x="464" y="5080"/>
                  </a:lnTo>
                  <a:lnTo>
                    <a:pt x="538" y="5007"/>
                  </a:lnTo>
                  <a:lnTo>
                    <a:pt x="562" y="4885"/>
                  </a:lnTo>
                  <a:lnTo>
                    <a:pt x="586" y="4714"/>
                  </a:lnTo>
                  <a:lnTo>
                    <a:pt x="635" y="4567"/>
                  </a:lnTo>
                  <a:lnTo>
                    <a:pt x="708" y="4445"/>
                  </a:lnTo>
                  <a:lnTo>
                    <a:pt x="831" y="4299"/>
                  </a:lnTo>
                  <a:lnTo>
                    <a:pt x="953" y="4152"/>
                  </a:lnTo>
                  <a:lnTo>
                    <a:pt x="1099" y="3932"/>
                  </a:lnTo>
                  <a:lnTo>
                    <a:pt x="1148" y="3810"/>
                  </a:lnTo>
                  <a:lnTo>
                    <a:pt x="1197" y="3688"/>
                  </a:lnTo>
                  <a:lnTo>
                    <a:pt x="1221" y="3542"/>
                  </a:lnTo>
                  <a:lnTo>
                    <a:pt x="1221" y="3346"/>
                  </a:lnTo>
                  <a:lnTo>
                    <a:pt x="1221" y="3175"/>
                  </a:lnTo>
                  <a:lnTo>
                    <a:pt x="1197" y="3029"/>
                  </a:lnTo>
                  <a:lnTo>
                    <a:pt x="1148" y="2882"/>
                  </a:lnTo>
                  <a:lnTo>
                    <a:pt x="1099" y="2784"/>
                  </a:lnTo>
                  <a:lnTo>
                    <a:pt x="953" y="2565"/>
                  </a:lnTo>
                  <a:lnTo>
                    <a:pt x="831" y="2394"/>
                  </a:lnTo>
                  <a:lnTo>
                    <a:pt x="708" y="2272"/>
                  </a:lnTo>
                  <a:lnTo>
                    <a:pt x="635" y="2149"/>
                  </a:lnTo>
                  <a:lnTo>
                    <a:pt x="586" y="2003"/>
                  </a:lnTo>
                  <a:lnTo>
                    <a:pt x="562" y="1832"/>
                  </a:lnTo>
                  <a:lnTo>
                    <a:pt x="586" y="1637"/>
                  </a:lnTo>
                  <a:lnTo>
                    <a:pt x="635" y="1490"/>
                  </a:lnTo>
                  <a:lnTo>
                    <a:pt x="708" y="1368"/>
                  </a:lnTo>
                  <a:lnTo>
                    <a:pt x="831" y="1246"/>
                  </a:lnTo>
                  <a:lnTo>
                    <a:pt x="953" y="1075"/>
                  </a:lnTo>
                  <a:lnTo>
                    <a:pt x="1099" y="879"/>
                  </a:lnTo>
                  <a:lnTo>
                    <a:pt x="1148" y="757"/>
                  </a:lnTo>
                  <a:lnTo>
                    <a:pt x="1197" y="611"/>
                  </a:lnTo>
                  <a:lnTo>
                    <a:pt x="1221" y="464"/>
                  </a:lnTo>
                  <a:lnTo>
                    <a:pt x="1221" y="293"/>
                  </a:lnTo>
                  <a:lnTo>
                    <a:pt x="1221" y="171"/>
                  </a:lnTo>
                  <a:lnTo>
                    <a:pt x="1148" y="98"/>
                  </a:lnTo>
                  <a:lnTo>
                    <a:pt x="1050" y="25"/>
                  </a:lnTo>
                  <a:lnTo>
                    <a:pt x="95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37" name="Shape 566"/>
          <p:cNvGrpSpPr/>
          <p:nvPr/>
        </p:nvGrpSpPr>
        <p:grpSpPr>
          <a:xfrm>
            <a:off x="3750637" y="5352775"/>
            <a:ext cx="278829" cy="355284"/>
            <a:chOff x="1958100" y="4985350"/>
            <a:chExt cx="365150" cy="465275"/>
          </a:xfrm>
        </p:grpSpPr>
        <p:sp>
          <p:nvSpPr>
            <p:cNvPr id="238" name="Shape 567"/>
            <p:cNvSpPr/>
            <p:nvPr/>
          </p:nvSpPr>
          <p:spPr>
            <a:xfrm>
              <a:off x="1958100" y="4985350"/>
              <a:ext cx="365150" cy="465275"/>
            </a:xfrm>
            <a:custGeom>
              <a:avLst/>
              <a:gdLst/>
              <a:ahLst/>
              <a:cxnLst/>
              <a:rect l="0" t="0" r="0" b="0"/>
              <a:pathLst>
                <a:path w="14606" h="18611" extrusionOk="0">
                  <a:moveTo>
                    <a:pt x="4152" y="1734"/>
                  </a:moveTo>
                  <a:lnTo>
                    <a:pt x="4274" y="1759"/>
                  </a:lnTo>
                  <a:lnTo>
                    <a:pt x="4397" y="1783"/>
                  </a:lnTo>
                  <a:lnTo>
                    <a:pt x="4543" y="1808"/>
                  </a:lnTo>
                  <a:lnTo>
                    <a:pt x="4812" y="1930"/>
                  </a:lnTo>
                  <a:lnTo>
                    <a:pt x="5105" y="2125"/>
                  </a:lnTo>
                  <a:lnTo>
                    <a:pt x="5398" y="2394"/>
                  </a:lnTo>
                  <a:lnTo>
                    <a:pt x="5496" y="2516"/>
                  </a:lnTo>
                  <a:lnTo>
                    <a:pt x="5593" y="2638"/>
                  </a:lnTo>
                  <a:lnTo>
                    <a:pt x="5789" y="2956"/>
                  </a:lnTo>
                  <a:lnTo>
                    <a:pt x="5935" y="3322"/>
                  </a:lnTo>
                  <a:lnTo>
                    <a:pt x="6057" y="3688"/>
                  </a:lnTo>
                  <a:lnTo>
                    <a:pt x="6155" y="4079"/>
                  </a:lnTo>
                  <a:lnTo>
                    <a:pt x="6204" y="4470"/>
                  </a:lnTo>
                  <a:lnTo>
                    <a:pt x="6277" y="4836"/>
                  </a:lnTo>
                  <a:lnTo>
                    <a:pt x="6302" y="5154"/>
                  </a:lnTo>
                  <a:lnTo>
                    <a:pt x="5984" y="5129"/>
                  </a:lnTo>
                  <a:lnTo>
                    <a:pt x="5618" y="5080"/>
                  </a:lnTo>
                  <a:lnTo>
                    <a:pt x="5227" y="5007"/>
                  </a:lnTo>
                  <a:lnTo>
                    <a:pt x="4836" y="4909"/>
                  </a:lnTo>
                  <a:lnTo>
                    <a:pt x="4470" y="4787"/>
                  </a:lnTo>
                  <a:lnTo>
                    <a:pt x="4104" y="4641"/>
                  </a:lnTo>
                  <a:lnTo>
                    <a:pt x="3786" y="4445"/>
                  </a:lnTo>
                  <a:lnTo>
                    <a:pt x="3664" y="4348"/>
                  </a:lnTo>
                  <a:lnTo>
                    <a:pt x="3542" y="4250"/>
                  </a:lnTo>
                  <a:lnTo>
                    <a:pt x="3273" y="3957"/>
                  </a:lnTo>
                  <a:lnTo>
                    <a:pt x="3078" y="3664"/>
                  </a:lnTo>
                  <a:lnTo>
                    <a:pt x="2956" y="3395"/>
                  </a:lnTo>
                  <a:lnTo>
                    <a:pt x="2931" y="3273"/>
                  </a:lnTo>
                  <a:lnTo>
                    <a:pt x="2907" y="3127"/>
                  </a:lnTo>
                  <a:lnTo>
                    <a:pt x="2882" y="3004"/>
                  </a:lnTo>
                  <a:lnTo>
                    <a:pt x="2907" y="2858"/>
                  </a:lnTo>
                  <a:lnTo>
                    <a:pt x="2931" y="2736"/>
                  </a:lnTo>
                  <a:lnTo>
                    <a:pt x="2956" y="2614"/>
                  </a:lnTo>
                  <a:lnTo>
                    <a:pt x="3004" y="2492"/>
                  </a:lnTo>
                  <a:lnTo>
                    <a:pt x="3078" y="2369"/>
                  </a:lnTo>
                  <a:lnTo>
                    <a:pt x="3273" y="2125"/>
                  </a:lnTo>
                  <a:lnTo>
                    <a:pt x="3517" y="1930"/>
                  </a:lnTo>
                  <a:lnTo>
                    <a:pt x="3639" y="1857"/>
                  </a:lnTo>
                  <a:lnTo>
                    <a:pt x="3762" y="1808"/>
                  </a:lnTo>
                  <a:lnTo>
                    <a:pt x="3884" y="1783"/>
                  </a:lnTo>
                  <a:lnTo>
                    <a:pt x="4006" y="1759"/>
                  </a:lnTo>
                  <a:lnTo>
                    <a:pt x="4152" y="1734"/>
                  </a:lnTo>
                  <a:close/>
                  <a:moveTo>
                    <a:pt x="10454" y="1734"/>
                  </a:moveTo>
                  <a:lnTo>
                    <a:pt x="10600" y="1759"/>
                  </a:lnTo>
                  <a:lnTo>
                    <a:pt x="10722" y="1783"/>
                  </a:lnTo>
                  <a:lnTo>
                    <a:pt x="10844" y="1808"/>
                  </a:lnTo>
                  <a:lnTo>
                    <a:pt x="10966" y="1857"/>
                  </a:lnTo>
                  <a:lnTo>
                    <a:pt x="11089" y="1930"/>
                  </a:lnTo>
                  <a:lnTo>
                    <a:pt x="11333" y="2125"/>
                  </a:lnTo>
                  <a:lnTo>
                    <a:pt x="11528" y="2369"/>
                  </a:lnTo>
                  <a:lnTo>
                    <a:pt x="11601" y="2492"/>
                  </a:lnTo>
                  <a:lnTo>
                    <a:pt x="11650" y="2614"/>
                  </a:lnTo>
                  <a:lnTo>
                    <a:pt x="11675" y="2736"/>
                  </a:lnTo>
                  <a:lnTo>
                    <a:pt x="11699" y="2858"/>
                  </a:lnTo>
                  <a:lnTo>
                    <a:pt x="11724" y="3004"/>
                  </a:lnTo>
                  <a:lnTo>
                    <a:pt x="11699" y="3127"/>
                  </a:lnTo>
                  <a:lnTo>
                    <a:pt x="11675" y="3273"/>
                  </a:lnTo>
                  <a:lnTo>
                    <a:pt x="11650" y="3395"/>
                  </a:lnTo>
                  <a:lnTo>
                    <a:pt x="11528" y="3664"/>
                  </a:lnTo>
                  <a:lnTo>
                    <a:pt x="11333" y="3957"/>
                  </a:lnTo>
                  <a:lnTo>
                    <a:pt x="11064" y="4250"/>
                  </a:lnTo>
                  <a:lnTo>
                    <a:pt x="10942" y="4348"/>
                  </a:lnTo>
                  <a:lnTo>
                    <a:pt x="10820" y="4445"/>
                  </a:lnTo>
                  <a:lnTo>
                    <a:pt x="10502" y="4641"/>
                  </a:lnTo>
                  <a:lnTo>
                    <a:pt x="10136" y="4787"/>
                  </a:lnTo>
                  <a:lnTo>
                    <a:pt x="9770" y="4909"/>
                  </a:lnTo>
                  <a:lnTo>
                    <a:pt x="9379" y="5007"/>
                  </a:lnTo>
                  <a:lnTo>
                    <a:pt x="8988" y="5080"/>
                  </a:lnTo>
                  <a:lnTo>
                    <a:pt x="8622" y="5129"/>
                  </a:lnTo>
                  <a:lnTo>
                    <a:pt x="8304" y="5154"/>
                  </a:lnTo>
                  <a:lnTo>
                    <a:pt x="8329" y="4836"/>
                  </a:lnTo>
                  <a:lnTo>
                    <a:pt x="8402" y="4470"/>
                  </a:lnTo>
                  <a:lnTo>
                    <a:pt x="8451" y="4079"/>
                  </a:lnTo>
                  <a:lnTo>
                    <a:pt x="8549" y="3688"/>
                  </a:lnTo>
                  <a:lnTo>
                    <a:pt x="8671" y="3322"/>
                  </a:lnTo>
                  <a:lnTo>
                    <a:pt x="8817" y="2956"/>
                  </a:lnTo>
                  <a:lnTo>
                    <a:pt x="9013" y="2638"/>
                  </a:lnTo>
                  <a:lnTo>
                    <a:pt x="9110" y="2516"/>
                  </a:lnTo>
                  <a:lnTo>
                    <a:pt x="9208" y="2394"/>
                  </a:lnTo>
                  <a:lnTo>
                    <a:pt x="9501" y="2125"/>
                  </a:lnTo>
                  <a:lnTo>
                    <a:pt x="9794" y="1930"/>
                  </a:lnTo>
                  <a:lnTo>
                    <a:pt x="10063" y="1808"/>
                  </a:lnTo>
                  <a:lnTo>
                    <a:pt x="10209" y="1783"/>
                  </a:lnTo>
                  <a:lnTo>
                    <a:pt x="10331" y="1759"/>
                  </a:lnTo>
                  <a:lnTo>
                    <a:pt x="10454" y="1734"/>
                  </a:lnTo>
                  <a:close/>
                  <a:moveTo>
                    <a:pt x="3639" y="0"/>
                  </a:moveTo>
                  <a:lnTo>
                    <a:pt x="3395" y="25"/>
                  </a:lnTo>
                  <a:lnTo>
                    <a:pt x="3151" y="74"/>
                  </a:lnTo>
                  <a:lnTo>
                    <a:pt x="2907" y="147"/>
                  </a:lnTo>
                  <a:lnTo>
                    <a:pt x="2687" y="220"/>
                  </a:lnTo>
                  <a:lnTo>
                    <a:pt x="2467" y="342"/>
                  </a:lnTo>
                  <a:lnTo>
                    <a:pt x="2272" y="464"/>
                  </a:lnTo>
                  <a:lnTo>
                    <a:pt x="2101" y="611"/>
                  </a:lnTo>
                  <a:lnTo>
                    <a:pt x="1930" y="782"/>
                  </a:lnTo>
                  <a:lnTo>
                    <a:pt x="1759" y="953"/>
                  </a:lnTo>
                  <a:lnTo>
                    <a:pt x="1612" y="1124"/>
                  </a:lnTo>
                  <a:lnTo>
                    <a:pt x="1490" y="1344"/>
                  </a:lnTo>
                  <a:lnTo>
                    <a:pt x="1368" y="1539"/>
                  </a:lnTo>
                  <a:lnTo>
                    <a:pt x="1295" y="1759"/>
                  </a:lnTo>
                  <a:lnTo>
                    <a:pt x="1222" y="2003"/>
                  </a:lnTo>
                  <a:lnTo>
                    <a:pt x="1173" y="2247"/>
                  </a:lnTo>
                  <a:lnTo>
                    <a:pt x="1148" y="2492"/>
                  </a:lnTo>
                  <a:lnTo>
                    <a:pt x="1173" y="2760"/>
                  </a:lnTo>
                  <a:lnTo>
                    <a:pt x="1197" y="3029"/>
                  </a:lnTo>
                  <a:lnTo>
                    <a:pt x="1295" y="3298"/>
                  </a:lnTo>
                  <a:lnTo>
                    <a:pt x="1393" y="3566"/>
                  </a:lnTo>
                  <a:lnTo>
                    <a:pt x="1539" y="3859"/>
                  </a:lnTo>
                  <a:lnTo>
                    <a:pt x="1734" y="4152"/>
                  </a:lnTo>
                  <a:lnTo>
                    <a:pt x="1954" y="4445"/>
                  </a:lnTo>
                  <a:lnTo>
                    <a:pt x="2223" y="4739"/>
                  </a:lnTo>
                  <a:lnTo>
                    <a:pt x="2394" y="4885"/>
                  </a:lnTo>
                  <a:lnTo>
                    <a:pt x="2565" y="5007"/>
                  </a:lnTo>
                  <a:lnTo>
                    <a:pt x="2931" y="5251"/>
                  </a:lnTo>
                  <a:lnTo>
                    <a:pt x="3346" y="5471"/>
                  </a:lnTo>
                  <a:lnTo>
                    <a:pt x="3762" y="5642"/>
                  </a:lnTo>
                  <a:lnTo>
                    <a:pt x="391" y="5642"/>
                  </a:lnTo>
                  <a:lnTo>
                    <a:pt x="318" y="5667"/>
                  </a:lnTo>
                  <a:lnTo>
                    <a:pt x="220" y="5715"/>
                  </a:lnTo>
                  <a:lnTo>
                    <a:pt x="147" y="5789"/>
                  </a:lnTo>
                  <a:lnTo>
                    <a:pt x="98" y="5838"/>
                  </a:lnTo>
                  <a:lnTo>
                    <a:pt x="49" y="5935"/>
                  </a:lnTo>
                  <a:lnTo>
                    <a:pt x="25" y="6033"/>
                  </a:lnTo>
                  <a:lnTo>
                    <a:pt x="0" y="6131"/>
                  </a:lnTo>
                  <a:lnTo>
                    <a:pt x="0" y="9599"/>
                  </a:lnTo>
                  <a:lnTo>
                    <a:pt x="5325" y="9599"/>
                  </a:lnTo>
                  <a:lnTo>
                    <a:pt x="5325" y="6009"/>
                  </a:lnTo>
                  <a:lnTo>
                    <a:pt x="5813" y="6082"/>
                  </a:lnTo>
                  <a:lnTo>
                    <a:pt x="5813" y="18611"/>
                  </a:lnTo>
                  <a:lnTo>
                    <a:pt x="8793" y="18611"/>
                  </a:lnTo>
                  <a:lnTo>
                    <a:pt x="8793" y="6082"/>
                  </a:lnTo>
                  <a:lnTo>
                    <a:pt x="9281" y="6009"/>
                  </a:lnTo>
                  <a:lnTo>
                    <a:pt x="9281" y="9599"/>
                  </a:lnTo>
                  <a:lnTo>
                    <a:pt x="14605" y="9599"/>
                  </a:lnTo>
                  <a:lnTo>
                    <a:pt x="14605" y="6131"/>
                  </a:lnTo>
                  <a:lnTo>
                    <a:pt x="14581" y="6033"/>
                  </a:lnTo>
                  <a:lnTo>
                    <a:pt x="14557" y="5935"/>
                  </a:lnTo>
                  <a:lnTo>
                    <a:pt x="14508" y="5838"/>
                  </a:lnTo>
                  <a:lnTo>
                    <a:pt x="14459" y="5789"/>
                  </a:lnTo>
                  <a:lnTo>
                    <a:pt x="14386" y="5715"/>
                  </a:lnTo>
                  <a:lnTo>
                    <a:pt x="14288" y="5667"/>
                  </a:lnTo>
                  <a:lnTo>
                    <a:pt x="14215" y="5642"/>
                  </a:lnTo>
                  <a:lnTo>
                    <a:pt x="10844" y="5642"/>
                  </a:lnTo>
                  <a:lnTo>
                    <a:pt x="11259" y="5471"/>
                  </a:lnTo>
                  <a:lnTo>
                    <a:pt x="11675" y="5251"/>
                  </a:lnTo>
                  <a:lnTo>
                    <a:pt x="12041" y="5007"/>
                  </a:lnTo>
                  <a:lnTo>
                    <a:pt x="12212" y="4885"/>
                  </a:lnTo>
                  <a:lnTo>
                    <a:pt x="12383" y="4739"/>
                  </a:lnTo>
                  <a:lnTo>
                    <a:pt x="12652" y="4445"/>
                  </a:lnTo>
                  <a:lnTo>
                    <a:pt x="12871" y="4152"/>
                  </a:lnTo>
                  <a:lnTo>
                    <a:pt x="13067" y="3859"/>
                  </a:lnTo>
                  <a:lnTo>
                    <a:pt x="13213" y="3566"/>
                  </a:lnTo>
                  <a:lnTo>
                    <a:pt x="13311" y="3298"/>
                  </a:lnTo>
                  <a:lnTo>
                    <a:pt x="13409" y="3029"/>
                  </a:lnTo>
                  <a:lnTo>
                    <a:pt x="13433" y="2760"/>
                  </a:lnTo>
                  <a:lnTo>
                    <a:pt x="13458" y="2492"/>
                  </a:lnTo>
                  <a:lnTo>
                    <a:pt x="13433" y="2247"/>
                  </a:lnTo>
                  <a:lnTo>
                    <a:pt x="13384" y="2003"/>
                  </a:lnTo>
                  <a:lnTo>
                    <a:pt x="13311" y="1759"/>
                  </a:lnTo>
                  <a:lnTo>
                    <a:pt x="13238" y="1539"/>
                  </a:lnTo>
                  <a:lnTo>
                    <a:pt x="13116" y="1344"/>
                  </a:lnTo>
                  <a:lnTo>
                    <a:pt x="12994" y="1124"/>
                  </a:lnTo>
                  <a:lnTo>
                    <a:pt x="12847" y="953"/>
                  </a:lnTo>
                  <a:lnTo>
                    <a:pt x="12676" y="782"/>
                  </a:lnTo>
                  <a:lnTo>
                    <a:pt x="12505" y="611"/>
                  </a:lnTo>
                  <a:lnTo>
                    <a:pt x="12334" y="464"/>
                  </a:lnTo>
                  <a:lnTo>
                    <a:pt x="12139" y="342"/>
                  </a:lnTo>
                  <a:lnTo>
                    <a:pt x="11919" y="220"/>
                  </a:lnTo>
                  <a:lnTo>
                    <a:pt x="11699" y="147"/>
                  </a:lnTo>
                  <a:lnTo>
                    <a:pt x="11455" y="74"/>
                  </a:lnTo>
                  <a:lnTo>
                    <a:pt x="11211" y="25"/>
                  </a:lnTo>
                  <a:lnTo>
                    <a:pt x="10966" y="0"/>
                  </a:lnTo>
                  <a:lnTo>
                    <a:pt x="10698" y="25"/>
                  </a:lnTo>
                  <a:lnTo>
                    <a:pt x="10429" y="49"/>
                  </a:lnTo>
                  <a:lnTo>
                    <a:pt x="10160" y="147"/>
                  </a:lnTo>
                  <a:lnTo>
                    <a:pt x="9892" y="245"/>
                  </a:lnTo>
                  <a:lnTo>
                    <a:pt x="9599" y="391"/>
                  </a:lnTo>
                  <a:lnTo>
                    <a:pt x="9306" y="587"/>
                  </a:lnTo>
                  <a:lnTo>
                    <a:pt x="9013" y="806"/>
                  </a:lnTo>
                  <a:lnTo>
                    <a:pt x="8719" y="1075"/>
                  </a:lnTo>
                  <a:lnTo>
                    <a:pt x="8475" y="1368"/>
                  </a:lnTo>
                  <a:lnTo>
                    <a:pt x="8280" y="1661"/>
                  </a:lnTo>
                  <a:lnTo>
                    <a:pt x="8084" y="2003"/>
                  </a:lnTo>
                  <a:lnTo>
                    <a:pt x="7914" y="2369"/>
                  </a:lnTo>
                  <a:lnTo>
                    <a:pt x="7791" y="2736"/>
                  </a:lnTo>
                  <a:lnTo>
                    <a:pt x="7669" y="3102"/>
                  </a:lnTo>
                  <a:lnTo>
                    <a:pt x="7572" y="3469"/>
                  </a:lnTo>
                  <a:lnTo>
                    <a:pt x="7498" y="3835"/>
                  </a:lnTo>
                  <a:lnTo>
                    <a:pt x="7401" y="4519"/>
                  </a:lnTo>
                  <a:lnTo>
                    <a:pt x="7327" y="5080"/>
                  </a:lnTo>
                  <a:lnTo>
                    <a:pt x="7303" y="5667"/>
                  </a:lnTo>
                  <a:lnTo>
                    <a:pt x="7279" y="5080"/>
                  </a:lnTo>
                  <a:lnTo>
                    <a:pt x="7205" y="4519"/>
                  </a:lnTo>
                  <a:lnTo>
                    <a:pt x="7108" y="3835"/>
                  </a:lnTo>
                  <a:lnTo>
                    <a:pt x="7034" y="3469"/>
                  </a:lnTo>
                  <a:lnTo>
                    <a:pt x="6937" y="3102"/>
                  </a:lnTo>
                  <a:lnTo>
                    <a:pt x="6814" y="2736"/>
                  </a:lnTo>
                  <a:lnTo>
                    <a:pt x="6692" y="2369"/>
                  </a:lnTo>
                  <a:lnTo>
                    <a:pt x="6521" y="2003"/>
                  </a:lnTo>
                  <a:lnTo>
                    <a:pt x="6326" y="1661"/>
                  </a:lnTo>
                  <a:lnTo>
                    <a:pt x="6131" y="1368"/>
                  </a:lnTo>
                  <a:lnTo>
                    <a:pt x="5886" y="1075"/>
                  </a:lnTo>
                  <a:lnTo>
                    <a:pt x="5593" y="806"/>
                  </a:lnTo>
                  <a:lnTo>
                    <a:pt x="5300" y="587"/>
                  </a:lnTo>
                  <a:lnTo>
                    <a:pt x="5007" y="391"/>
                  </a:lnTo>
                  <a:lnTo>
                    <a:pt x="4714" y="245"/>
                  </a:lnTo>
                  <a:lnTo>
                    <a:pt x="4445" y="147"/>
                  </a:lnTo>
                  <a:lnTo>
                    <a:pt x="4177" y="49"/>
                  </a:lnTo>
                  <a:lnTo>
                    <a:pt x="3908" y="25"/>
                  </a:lnTo>
                  <a:lnTo>
                    <a:pt x="3639"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39" name="Shape 568"/>
            <p:cNvSpPr/>
            <p:nvPr/>
          </p:nvSpPr>
          <p:spPr>
            <a:xfrm>
              <a:off x="1977625" y="5237525"/>
              <a:ext cx="113600" cy="213100"/>
            </a:xfrm>
            <a:custGeom>
              <a:avLst/>
              <a:gdLst/>
              <a:ahLst/>
              <a:cxnLst/>
              <a:rect l="0" t="0" r="0" b="0"/>
              <a:pathLst>
                <a:path w="4544" h="8524" extrusionOk="0">
                  <a:moveTo>
                    <a:pt x="1" y="0"/>
                  </a:moveTo>
                  <a:lnTo>
                    <a:pt x="1" y="8035"/>
                  </a:lnTo>
                  <a:lnTo>
                    <a:pt x="25" y="8133"/>
                  </a:lnTo>
                  <a:lnTo>
                    <a:pt x="50" y="8231"/>
                  </a:lnTo>
                  <a:lnTo>
                    <a:pt x="99" y="8304"/>
                  </a:lnTo>
                  <a:lnTo>
                    <a:pt x="148" y="8377"/>
                  </a:lnTo>
                  <a:lnTo>
                    <a:pt x="221" y="8426"/>
                  </a:lnTo>
                  <a:lnTo>
                    <a:pt x="318" y="8475"/>
                  </a:lnTo>
                  <a:lnTo>
                    <a:pt x="392" y="8499"/>
                  </a:lnTo>
                  <a:lnTo>
                    <a:pt x="489" y="8524"/>
                  </a:lnTo>
                  <a:lnTo>
                    <a:pt x="4544" y="8524"/>
                  </a:lnTo>
                  <a:lnTo>
                    <a:pt x="454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40" name="Shape 569"/>
            <p:cNvSpPr/>
            <p:nvPr/>
          </p:nvSpPr>
          <p:spPr>
            <a:xfrm>
              <a:off x="2190125" y="5237525"/>
              <a:ext cx="113575" cy="213100"/>
            </a:xfrm>
            <a:custGeom>
              <a:avLst/>
              <a:gdLst/>
              <a:ahLst/>
              <a:cxnLst/>
              <a:rect l="0" t="0" r="0" b="0"/>
              <a:pathLst>
                <a:path w="4543" h="8524" extrusionOk="0">
                  <a:moveTo>
                    <a:pt x="0" y="0"/>
                  </a:moveTo>
                  <a:lnTo>
                    <a:pt x="0" y="8524"/>
                  </a:lnTo>
                  <a:lnTo>
                    <a:pt x="4054" y="8524"/>
                  </a:lnTo>
                  <a:lnTo>
                    <a:pt x="4152" y="8499"/>
                  </a:lnTo>
                  <a:lnTo>
                    <a:pt x="4225" y="8475"/>
                  </a:lnTo>
                  <a:lnTo>
                    <a:pt x="4323" y="8426"/>
                  </a:lnTo>
                  <a:lnTo>
                    <a:pt x="4396" y="8377"/>
                  </a:lnTo>
                  <a:lnTo>
                    <a:pt x="4445" y="8304"/>
                  </a:lnTo>
                  <a:lnTo>
                    <a:pt x="4494" y="8231"/>
                  </a:lnTo>
                  <a:lnTo>
                    <a:pt x="4518" y="8133"/>
                  </a:lnTo>
                  <a:lnTo>
                    <a:pt x="4543" y="8035"/>
                  </a:lnTo>
                  <a:lnTo>
                    <a:pt x="454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41" name="Shape 570"/>
          <p:cNvGrpSpPr/>
          <p:nvPr/>
        </p:nvGrpSpPr>
        <p:grpSpPr>
          <a:xfrm>
            <a:off x="4244839" y="5366291"/>
            <a:ext cx="319872" cy="328711"/>
            <a:chOff x="2605300" y="5003050"/>
            <a:chExt cx="418900" cy="430475"/>
          </a:xfrm>
        </p:grpSpPr>
        <p:sp>
          <p:nvSpPr>
            <p:cNvPr id="242" name="Shape 571"/>
            <p:cNvSpPr/>
            <p:nvPr/>
          </p:nvSpPr>
          <p:spPr>
            <a:xfrm>
              <a:off x="2820225" y="5222250"/>
              <a:ext cx="202750" cy="211275"/>
            </a:xfrm>
            <a:custGeom>
              <a:avLst/>
              <a:gdLst/>
              <a:ahLst/>
              <a:cxnLst/>
              <a:rect l="0" t="0" r="0" b="0"/>
              <a:pathLst>
                <a:path w="8110" h="8451" extrusionOk="0">
                  <a:moveTo>
                    <a:pt x="1710" y="1"/>
                  </a:moveTo>
                  <a:lnTo>
                    <a:pt x="1" y="1857"/>
                  </a:lnTo>
                  <a:lnTo>
                    <a:pt x="5813" y="8158"/>
                  </a:lnTo>
                  <a:lnTo>
                    <a:pt x="5960" y="8280"/>
                  </a:lnTo>
                  <a:lnTo>
                    <a:pt x="6131" y="8378"/>
                  </a:lnTo>
                  <a:lnTo>
                    <a:pt x="6302" y="8427"/>
                  </a:lnTo>
                  <a:lnTo>
                    <a:pt x="6497" y="8451"/>
                  </a:lnTo>
                  <a:lnTo>
                    <a:pt x="6668" y="8427"/>
                  </a:lnTo>
                  <a:lnTo>
                    <a:pt x="6839" y="8378"/>
                  </a:lnTo>
                  <a:lnTo>
                    <a:pt x="7010" y="8280"/>
                  </a:lnTo>
                  <a:lnTo>
                    <a:pt x="7157" y="8158"/>
                  </a:lnTo>
                  <a:lnTo>
                    <a:pt x="7841" y="7474"/>
                  </a:lnTo>
                  <a:lnTo>
                    <a:pt x="7963" y="7328"/>
                  </a:lnTo>
                  <a:lnTo>
                    <a:pt x="8060" y="7157"/>
                  </a:lnTo>
                  <a:lnTo>
                    <a:pt x="8109" y="6986"/>
                  </a:lnTo>
                  <a:lnTo>
                    <a:pt x="8109" y="6815"/>
                  </a:lnTo>
                  <a:lnTo>
                    <a:pt x="8109" y="6619"/>
                  </a:lnTo>
                  <a:lnTo>
                    <a:pt x="8060" y="6448"/>
                  </a:lnTo>
                  <a:lnTo>
                    <a:pt x="7963" y="6277"/>
                  </a:lnTo>
                  <a:lnTo>
                    <a:pt x="7841" y="6131"/>
                  </a:lnTo>
                  <a:lnTo>
                    <a:pt x="171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43" name="Shape 572"/>
            <p:cNvSpPr/>
            <p:nvPr/>
          </p:nvSpPr>
          <p:spPr>
            <a:xfrm>
              <a:off x="2606525" y="5003050"/>
              <a:ext cx="203975" cy="208225"/>
            </a:xfrm>
            <a:custGeom>
              <a:avLst/>
              <a:gdLst/>
              <a:ahLst/>
              <a:cxnLst/>
              <a:rect l="0" t="0" r="0" b="0"/>
              <a:pathLst>
                <a:path w="8159" h="8329" extrusionOk="0">
                  <a:moveTo>
                    <a:pt x="880" y="1"/>
                  </a:moveTo>
                  <a:lnTo>
                    <a:pt x="685" y="50"/>
                  </a:lnTo>
                  <a:lnTo>
                    <a:pt x="514" y="123"/>
                  </a:lnTo>
                  <a:lnTo>
                    <a:pt x="391" y="245"/>
                  </a:lnTo>
                  <a:lnTo>
                    <a:pt x="269" y="367"/>
                  </a:lnTo>
                  <a:lnTo>
                    <a:pt x="172" y="514"/>
                  </a:lnTo>
                  <a:lnTo>
                    <a:pt x="98" y="685"/>
                  </a:lnTo>
                  <a:lnTo>
                    <a:pt x="50" y="856"/>
                  </a:lnTo>
                  <a:lnTo>
                    <a:pt x="1" y="1026"/>
                  </a:lnTo>
                  <a:lnTo>
                    <a:pt x="1" y="1222"/>
                  </a:lnTo>
                  <a:lnTo>
                    <a:pt x="1" y="1417"/>
                  </a:lnTo>
                  <a:lnTo>
                    <a:pt x="1" y="1613"/>
                  </a:lnTo>
                  <a:lnTo>
                    <a:pt x="74" y="2028"/>
                  </a:lnTo>
                  <a:lnTo>
                    <a:pt x="221" y="2492"/>
                  </a:lnTo>
                  <a:lnTo>
                    <a:pt x="391" y="2931"/>
                  </a:lnTo>
                  <a:lnTo>
                    <a:pt x="611" y="3396"/>
                  </a:lnTo>
                  <a:lnTo>
                    <a:pt x="856" y="3884"/>
                  </a:lnTo>
                  <a:lnTo>
                    <a:pt x="1124" y="4324"/>
                  </a:lnTo>
                  <a:lnTo>
                    <a:pt x="1417" y="4788"/>
                  </a:lnTo>
                  <a:lnTo>
                    <a:pt x="1710" y="5203"/>
                  </a:lnTo>
                  <a:lnTo>
                    <a:pt x="2003" y="5594"/>
                  </a:lnTo>
                  <a:lnTo>
                    <a:pt x="2296" y="5960"/>
                  </a:lnTo>
                  <a:lnTo>
                    <a:pt x="2590" y="6302"/>
                  </a:lnTo>
                  <a:lnTo>
                    <a:pt x="2858" y="6571"/>
                  </a:lnTo>
                  <a:lnTo>
                    <a:pt x="3078" y="6790"/>
                  </a:lnTo>
                  <a:lnTo>
                    <a:pt x="3322" y="6986"/>
                  </a:lnTo>
                  <a:lnTo>
                    <a:pt x="3566" y="7157"/>
                  </a:lnTo>
                  <a:lnTo>
                    <a:pt x="3811" y="7328"/>
                  </a:lnTo>
                  <a:lnTo>
                    <a:pt x="4324" y="7621"/>
                  </a:lnTo>
                  <a:lnTo>
                    <a:pt x="4836" y="7841"/>
                  </a:lnTo>
                  <a:lnTo>
                    <a:pt x="5325" y="8036"/>
                  </a:lnTo>
                  <a:lnTo>
                    <a:pt x="5740" y="8182"/>
                  </a:lnTo>
                  <a:lnTo>
                    <a:pt x="6351" y="8329"/>
                  </a:lnTo>
                  <a:lnTo>
                    <a:pt x="8158" y="6668"/>
                  </a:lnTo>
                  <a:lnTo>
                    <a:pt x="4446" y="2956"/>
                  </a:lnTo>
                  <a:lnTo>
                    <a:pt x="1735" y="245"/>
                  </a:lnTo>
                  <a:lnTo>
                    <a:pt x="1588" y="123"/>
                  </a:lnTo>
                  <a:lnTo>
                    <a:pt x="1417" y="50"/>
                  </a:lnTo>
                  <a:lnTo>
                    <a:pt x="1246"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44" name="Shape 573"/>
            <p:cNvSpPr/>
            <p:nvPr/>
          </p:nvSpPr>
          <p:spPr>
            <a:xfrm>
              <a:off x="2605300" y="5008550"/>
              <a:ext cx="418900" cy="418875"/>
            </a:xfrm>
            <a:custGeom>
              <a:avLst/>
              <a:gdLst/>
              <a:ahLst/>
              <a:cxnLst/>
              <a:rect l="0" t="0" r="0" b="0"/>
              <a:pathLst>
                <a:path w="16756" h="16755" extrusionOk="0">
                  <a:moveTo>
                    <a:pt x="13922" y="1"/>
                  </a:moveTo>
                  <a:lnTo>
                    <a:pt x="13824" y="49"/>
                  </a:lnTo>
                  <a:lnTo>
                    <a:pt x="13360" y="342"/>
                  </a:lnTo>
                  <a:lnTo>
                    <a:pt x="12261" y="1026"/>
                  </a:lnTo>
                  <a:lnTo>
                    <a:pt x="11602" y="1466"/>
                  </a:lnTo>
                  <a:lnTo>
                    <a:pt x="10942" y="1930"/>
                  </a:lnTo>
                  <a:lnTo>
                    <a:pt x="10381" y="2370"/>
                  </a:lnTo>
                  <a:lnTo>
                    <a:pt x="10112" y="2589"/>
                  </a:lnTo>
                  <a:lnTo>
                    <a:pt x="9917" y="2785"/>
                  </a:lnTo>
                  <a:lnTo>
                    <a:pt x="9795" y="2907"/>
                  </a:lnTo>
                  <a:lnTo>
                    <a:pt x="9697" y="3053"/>
                  </a:lnTo>
                  <a:lnTo>
                    <a:pt x="9599" y="3224"/>
                  </a:lnTo>
                  <a:lnTo>
                    <a:pt x="9526" y="3420"/>
                  </a:lnTo>
                  <a:lnTo>
                    <a:pt x="9404" y="3835"/>
                  </a:lnTo>
                  <a:lnTo>
                    <a:pt x="9330" y="4275"/>
                  </a:lnTo>
                  <a:lnTo>
                    <a:pt x="9282" y="4714"/>
                  </a:lnTo>
                  <a:lnTo>
                    <a:pt x="9306" y="5178"/>
                  </a:lnTo>
                  <a:lnTo>
                    <a:pt x="9355" y="5593"/>
                  </a:lnTo>
                  <a:lnTo>
                    <a:pt x="9379" y="5789"/>
                  </a:lnTo>
                  <a:lnTo>
                    <a:pt x="9453" y="5960"/>
                  </a:lnTo>
                  <a:lnTo>
                    <a:pt x="270" y="14459"/>
                  </a:lnTo>
                  <a:lnTo>
                    <a:pt x="147" y="14606"/>
                  </a:lnTo>
                  <a:lnTo>
                    <a:pt x="74" y="14776"/>
                  </a:lnTo>
                  <a:lnTo>
                    <a:pt x="1" y="14947"/>
                  </a:lnTo>
                  <a:lnTo>
                    <a:pt x="1" y="15118"/>
                  </a:lnTo>
                  <a:lnTo>
                    <a:pt x="1" y="15314"/>
                  </a:lnTo>
                  <a:lnTo>
                    <a:pt x="74" y="15485"/>
                  </a:lnTo>
                  <a:lnTo>
                    <a:pt x="147" y="15656"/>
                  </a:lnTo>
                  <a:lnTo>
                    <a:pt x="270" y="15802"/>
                  </a:lnTo>
                  <a:lnTo>
                    <a:pt x="953" y="16486"/>
                  </a:lnTo>
                  <a:lnTo>
                    <a:pt x="1100" y="16608"/>
                  </a:lnTo>
                  <a:lnTo>
                    <a:pt x="1271" y="16681"/>
                  </a:lnTo>
                  <a:lnTo>
                    <a:pt x="1442" y="16755"/>
                  </a:lnTo>
                  <a:lnTo>
                    <a:pt x="1808" y="16755"/>
                  </a:lnTo>
                  <a:lnTo>
                    <a:pt x="1979" y="16681"/>
                  </a:lnTo>
                  <a:lnTo>
                    <a:pt x="2150" y="16608"/>
                  </a:lnTo>
                  <a:lnTo>
                    <a:pt x="2297" y="16486"/>
                  </a:lnTo>
                  <a:lnTo>
                    <a:pt x="10796" y="7303"/>
                  </a:lnTo>
                  <a:lnTo>
                    <a:pt x="11162" y="7401"/>
                  </a:lnTo>
                  <a:lnTo>
                    <a:pt x="11577" y="7450"/>
                  </a:lnTo>
                  <a:lnTo>
                    <a:pt x="12041" y="7474"/>
                  </a:lnTo>
                  <a:lnTo>
                    <a:pt x="12481" y="7425"/>
                  </a:lnTo>
                  <a:lnTo>
                    <a:pt x="12921" y="7352"/>
                  </a:lnTo>
                  <a:lnTo>
                    <a:pt x="13336" y="7230"/>
                  </a:lnTo>
                  <a:lnTo>
                    <a:pt x="13531" y="7156"/>
                  </a:lnTo>
                  <a:lnTo>
                    <a:pt x="13702" y="7059"/>
                  </a:lnTo>
                  <a:lnTo>
                    <a:pt x="13849" y="6961"/>
                  </a:lnTo>
                  <a:lnTo>
                    <a:pt x="13971" y="6839"/>
                  </a:lnTo>
                  <a:lnTo>
                    <a:pt x="14166" y="6644"/>
                  </a:lnTo>
                  <a:lnTo>
                    <a:pt x="14386" y="6375"/>
                  </a:lnTo>
                  <a:lnTo>
                    <a:pt x="14826" y="5813"/>
                  </a:lnTo>
                  <a:lnTo>
                    <a:pt x="15290" y="5154"/>
                  </a:lnTo>
                  <a:lnTo>
                    <a:pt x="15729" y="4494"/>
                  </a:lnTo>
                  <a:lnTo>
                    <a:pt x="16413" y="3395"/>
                  </a:lnTo>
                  <a:lnTo>
                    <a:pt x="16706" y="2931"/>
                  </a:lnTo>
                  <a:lnTo>
                    <a:pt x="16755" y="2834"/>
                  </a:lnTo>
                  <a:lnTo>
                    <a:pt x="16755" y="2736"/>
                  </a:lnTo>
                  <a:lnTo>
                    <a:pt x="16755" y="2663"/>
                  </a:lnTo>
                  <a:lnTo>
                    <a:pt x="16706" y="2589"/>
                  </a:lnTo>
                  <a:lnTo>
                    <a:pt x="16633" y="2541"/>
                  </a:lnTo>
                  <a:lnTo>
                    <a:pt x="16462" y="2541"/>
                  </a:lnTo>
                  <a:lnTo>
                    <a:pt x="16364" y="2589"/>
                  </a:lnTo>
                  <a:lnTo>
                    <a:pt x="13653" y="4958"/>
                  </a:lnTo>
                  <a:lnTo>
                    <a:pt x="13580" y="5007"/>
                  </a:lnTo>
                  <a:lnTo>
                    <a:pt x="13458" y="5007"/>
                  </a:lnTo>
                  <a:lnTo>
                    <a:pt x="13360" y="4983"/>
                  </a:lnTo>
                  <a:lnTo>
                    <a:pt x="13238" y="4885"/>
                  </a:lnTo>
                  <a:lnTo>
                    <a:pt x="13140" y="4763"/>
                  </a:lnTo>
                  <a:lnTo>
                    <a:pt x="13092" y="4641"/>
                  </a:lnTo>
                  <a:lnTo>
                    <a:pt x="13092" y="4543"/>
                  </a:lnTo>
                  <a:lnTo>
                    <a:pt x="13140" y="4446"/>
                  </a:lnTo>
                  <a:lnTo>
                    <a:pt x="15607" y="1490"/>
                  </a:lnTo>
                  <a:lnTo>
                    <a:pt x="15656" y="1393"/>
                  </a:lnTo>
                  <a:lnTo>
                    <a:pt x="15656" y="1319"/>
                  </a:lnTo>
                  <a:lnTo>
                    <a:pt x="15656" y="1222"/>
                  </a:lnTo>
                  <a:lnTo>
                    <a:pt x="15607" y="1148"/>
                  </a:lnTo>
                  <a:lnTo>
                    <a:pt x="15534" y="1100"/>
                  </a:lnTo>
                  <a:lnTo>
                    <a:pt x="15363" y="1100"/>
                  </a:lnTo>
                  <a:lnTo>
                    <a:pt x="15265" y="1148"/>
                  </a:lnTo>
                  <a:lnTo>
                    <a:pt x="12310" y="3615"/>
                  </a:lnTo>
                  <a:lnTo>
                    <a:pt x="12212" y="3664"/>
                  </a:lnTo>
                  <a:lnTo>
                    <a:pt x="12115" y="3664"/>
                  </a:lnTo>
                  <a:lnTo>
                    <a:pt x="11993" y="3615"/>
                  </a:lnTo>
                  <a:lnTo>
                    <a:pt x="11895" y="3517"/>
                  </a:lnTo>
                  <a:lnTo>
                    <a:pt x="11797" y="3395"/>
                  </a:lnTo>
                  <a:lnTo>
                    <a:pt x="11748" y="3298"/>
                  </a:lnTo>
                  <a:lnTo>
                    <a:pt x="11748" y="3176"/>
                  </a:lnTo>
                  <a:lnTo>
                    <a:pt x="11797" y="3102"/>
                  </a:lnTo>
                  <a:lnTo>
                    <a:pt x="14166" y="391"/>
                  </a:lnTo>
                  <a:lnTo>
                    <a:pt x="14215" y="294"/>
                  </a:lnTo>
                  <a:lnTo>
                    <a:pt x="14215" y="220"/>
                  </a:lnTo>
                  <a:lnTo>
                    <a:pt x="14215" y="123"/>
                  </a:lnTo>
                  <a:lnTo>
                    <a:pt x="14166" y="49"/>
                  </a:lnTo>
                  <a:lnTo>
                    <a:pt x="1409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45" name="Shape 574"/>
          <p:cNvGrpSpPr/>
          <p:nvPr/>
        </p:nvGrpSpPr>
        <p:grpSpPr>
          <a:xfrm>
            <a:off x="4728332" y="5373297"/>
            <a:ext cx="382335" cy="314260"/>
            <a:chOff x="3238475" y="5012225"/>
            <a:chExt cx="500700" cy="411550"/>
          </a:xfrm>
        </p:grpSpPr>
        <p:sp>
          <p:nvSpPr>
            <p:cNvPr id="246" name="Shape 575"/>
            <p:cNvSpPr/>
            <p:nvPr/>
          </p:nvSpPr>
          <p:spPr>
            <a:xfrm>
              <a:off x="3238475" y="5315050"/>
              <a:ext cx="500700" cy="108725"/>
            </a:xfrm>
            <a:custGeom>
              <a:avLst/>
              <a:gdLst/>
              <a:ahLst/>
              <a:cxnLst/>
              <a:rect l="0" t="0" r="0" b="0"/>
              <a:pathLst>
                <a:path w="20028" h="4349" extrusionOk="0">
                  <a:moveTo>
                    <a:pt x="17683" y="856"/>
                  </a:moveTo>
                  <a:lnTo>
                    <a:pt x="17781" y="880"/>
                  </a:lnTo>
                  <a:lnTo>
                    <a:pt x="17854" y="929"/>
                  </a:lnTo>
                  <a:lnTo>
                    <a:pt x="17903" y="1002"/>
                  </a:lnTo>
                  <a:lnTo>
                    <a:pt x="17927" y="1100"/>
                  </a:lnTo>
                  <a:lnTo>
                    <a:pt x="17903" y="1198"/>
                  </a:lnTo>
                  <a:lnTo>
                    <a:pt x="17854" y="1271"/>
                  </a:lnTo>
                  <a:lnTo>
                    <a:pt x="17781" y="1320"/>
                  </a:lnTo>
                  <a:lnTo>
                    <a:pt x="17683" y="1344"/>
                  </a:lnTo>
                  <a:lnTo>
                    <a:pt x="2345" y="1344"/>
                  </a:lnTo>
                  <a:lnTo>
                    <a:pt x="2247" y="1320"/>
                  </a:lnTo>
                  <a:lnTo>
                    <a:pt x="2174" y="1271"/>
                  </a:lnTo>
                  <a:lnTo>
                    <a:pt x="2125" y="1198"/>
                  </a:lnTo>
                  <a:lnTo>
                    <a:pt x="2101" y="1100"/>
                  </a:lnTo>
                  <a:lnTo>
                    <a:pt x="2125" y="1002"/>
                  </a:lnTo>
                  <a:lnTo>
                    <a:pt x="2174" y="929"/>
                  </a:lnTo>
                  <a:lnTo>
                    <a:pt x="2247" y="880"/>
                  </a:lnTo>
                  <a:lnTo>
                    <a:pt x="2345" y="856"/>
                  </a:lnTo>
                  <a:close/>
                  <a:moveTo>
                    <a:pt x="367" y="1"/>
                  </a:moveTo>
                  <a:lnTo>
                    <a:pt x="269" y="25"/>
                  </a:lnTo>
                  <a:lnTo>
                    <a:pt x="196" y="74"/>
                  </a:lnTo>
                  <a:lnTo>
                    <a:pt x="123" y="123"/>
                  </a:lnTo>
                  <a:lnTo>
                    <a:pt x="74" y="196"/>
                  </a:lnTo>
                  <a:lnTo>
                    <a:pt x="49" y="270"/>
                  </a:lnTo>
                  <a:lnTo>
                    <a:pt x="25" y="343"/>
                  </a:lnTo>
                  <a:lnTo>
                    <a:pt x="1" y="441"/>
                  </a:lnTo>
                  <a:lnTo>
                    <a:pt x="25" y="514"/>
                  </a:lnTo>
                  <a:lnTo>
                    <a:pt x="49" y="587"/>
                  </a:lnTo>
                  <a:lnTo>
                    <a:pt x="74" y="660"/>
                  </a:lnTo>
                  <a:lnTo>
                    <a:pt x="123" y="734"/>
                  </a:lnTo>
                  <a:lnTo>
                    <a:pt x="196" y="782"/>
                  </a:lnTo>
                  <a:lnTo>
                    <a:pt x="269" y="831"/>
                  </a:lnTo>
                  <a:lnTo>
                    <a:pt x="367" y="856"/>
                  </a:lnTo>
                  <a:lnTo>
                    <a:pt x="440" y="856"/>
                  </a:lnTo>
                  <a:lnTo>
                    <a:pt x="489" y="880"/>
                  </a:lnTo>
                  <a:lnTo>
                    <a:pt x="562" y="905"/>
                  </a:lnTo>
                  <a:lnTo>
                    <a:pt x="709" y="1051"/>
                  </a:lnTo>
                  <a:lnTo>
                    <a:pt x="855" y="1246"/>
                  </a:lnTo>
                  <a:lnTo>
                    <a:pt x="1026" y="1491"/>
                  </a:lnTo>
                  <a:lnTo>
                    <a:pt x="1344" y="2028"/>
                  </a:lnTo>
                  <a:lnTo>
                    <a:pt x="1637" y="2516"/>
                  </a:lnTo>
                  <a:lnTo>
                    <a:pt x="1906" y="3005"/>
                  </a:lnTo>
                  <a:lnTo>
                    <a:pt x="2174" y="3469"/>
                  </a:lnTo>
                  <a:lnTo>
                    <a:pt x="2467" y="3884"/>
                  </a:lnTo>
                  <a:lnTo>
                    <a:pt x="2589" y="4055"/>
                  </a:lnTo>
                  <a:lnTo>
                    <a:pt x="2736" y="4226"/>
                  </a:lnTo>
                  <a:lnTo>
                    <a:pt x="2809" y="4275"/>
                  </a:lnTo>
                  <a:lnTo>
                    <a:pt x="2882" y="4299"/>
                  </a:lnTo>
                  <a:lnTo>
                    <a:pt x="2980" y="4324"/>
                  </a:lnTo>
                  <a:lnTo>
                    <a:pt x="3053" y="4348"/>
                  </a:lnTo>
                  <a:lnTo>
                    <a:pt x="16975" y="4348"/>
                  </a:lnTo>
                  <a:lnTo>
                    <a:pt x="17048" y="4324"/>
                  </a:lnTo>
                  <a:lnTo>
                    <a:pt x="17146" y="4299"/>
                  </a:lnTo>
                  <a:lnTo>
                    <a:pt x="17219" y="4275"/>
                  </a:lnTo>
                  <a:lnTo>
                    <a:pt x="17292" y="4226"/>
                  </a:lnTo>
                  <a:lnTo>
                    <a:pt x="17439" y="4055"/>
                  </a:lnTo>
                  <a:lnTo>
                    <a:pt x="17561" y="3884"/>
                  </a:lnTo>
                  <a:lnTo>
                    <a:pt x="17854" y="3469"/>
                  </a:lnTo>
                  <a:lnTo>
                    <a:pt x="18122" y="3005"/>
                  </a:lnTo>
                  <a:lnTo>
                    <a:pt x="18391" y="2516"/>
                  </a:lnTo>
                  <a:lnTo>
                    <a:pt x="18684" y="2028"/>
                  </a:lnTo>
                  <a:lnTo>
                    <a:pt x="19002" y="1491"/>
                  </a:lnTo>
                  <a:lnTo>
                    <a:pt x="19173" y="1246"/>
                  </a:lnTo>
                  <a:lnTo>
                    <a:pt x="19319" y="1051"/>
                  </a:lnTo>
                  <a:lnTo>
                    <a:pt x="19466" y="905"/>
                  </a:lnTo>
                  <a:lnTo>
                    <a:pt x="19539" y="880"/>
                  </a:lnTo>
                  <a:lnTo>
                    <a:pt x="19588" y="856"/>
                  </a:lnTo>
                  <a:lnTo>
                    <a:pt x="19661" y="856"/>
                  </a:lnTo>
                  <a:lnTo>
                    <a:pt x="19759" y="831"/>
                  </a:lnTo>
                  <a:lnTo>
                    <a:pt x="19832" y="782"/>
                  </a:lnTo>
                  <a:lnTo>
                    <a:pt x="19905" y="734"/>
                  </a:lnTo>
                  <a:lnTo>
                    <a:pt x="19954" y="660"/>
                  </a:lnTo>
                  <a:lnTo>
                    <a:pt x="19979" y="587"/>
                  </a:lnTo>
                  <a:lnTo>
                    <a:pt x="20003" y="514"/>
                  </a:lnTo>
                  <a:lnTo>
                    <a:pt x="20027" y="441"/>
                  </a:lnTo>
                  <a:lnTo>
                    <a:pt x="20003" y="343"/>
                  </a:lnTo>
                  <a:lnTo>
                    <a:pt x="19979" y="270"/>
                  </a:lnTo>
                  <a:lnTo>
                    <a:pt x="19954" y="196"/>
                  </a:lnTo>
                  <a:lnTo>
                    <a:pt x="19881" y="123"/>
                  </a:lnTo>
                  <a:lnTo>
                    <a:pt x="19832" y="74"/>
                  </a:lnTo>
                  <a:lnTo>
                    <a:pt x="19759" y="25"/>
                  </a:lnTo>
                  <a:lnTo>
                    <a:pt x="1966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47" name="Shape 576"/>
            <p:cNvSpPr/>
            <p:nvPr/>
          </p:nvSpPr>
          <p:spPr>
            <a:xfrm>
              <a:off x="3282450" y="5160575"/>
              <a:ext cx="412750" cy="140475"/>
            </a:xfrm>
            <a:custGeom>
              <a:avLst/>
              <a:gdLst/>
              <a:ahLst/>
              <a:cxnLst/>
              <a:rect l="0" t="0" r="0" b="0"/>
              <a:pathLst>
                <a:path w="16510" h="5619" extrusionOk="0">
                  <a:moveTo>
                    <a:pt x="8475" y="1"/>
                  </a:moveTo>
                  <a:lnTo>
                    <a:pt x="8157" y="50"/>
                  </a:lnTo>
                  <a:lnTo>
                    <a:pt x="7840" y="99"/>
                  </a:lnTo>
                  <a:lnTo>
                    <a:pt x="7522" y="172"/>
                  </a:lnTo>
                  <a:lnTo>
                    <a:pt x="7229" y="270"/>
                  </a:lnTo>
                  <a:lnTo>
                    <a:pt x="6936" y="367"/>
                  </a:lnTo>
                  <a:lnTo>
                    <a:pt x="6643" y="514"/>
                  </a:lnTo>
                  <a:lnTo>
                    <a:pt x="6374" y="660"/>
                  </a:lnTo>
                  <a:lnTo>
                    <a:pt x="6106" y="807"/>
                  </a:lnTo>
                  <a:lnTo>
                    <a:pt x="5862" y="1002"/>
                  </a:lnTo>
                  <a:lnTo>
                    <a:pt x="5617" y="1173"/>
                  </a:lnTo>
                  <a:lnTo>
                    <a:pt x="5398" y="1393"/>
                  </a:lnTo>
                  <a:lnTo>
                    <a:pt x="5202" y="1613"/>
                  </a:lnTo>
                  <a:lnTo>
                    <a:pt x="5007" y="1857"/>
                  </a:lnTo>
                  <a:lnTo>
                    <a:pt x="4811" y="2101"/>
                  </a:lnTo>
                  <a:lnTo>
                    <a:pt x="4640" y="2370"/>
                  </a:lnTo>
                  <a:lnTo>
                    <a:pt x="4372" y="2272"/>
                  </a:lnTo>
                  <a:lnTo>
                    <a:pt x="4103" y="2223"/>
                  </a:lnTo>
                  <a:lnTo>
                    <a:pt x="3834" y="2199"/>
                  </a:lnTo>
                  <a:lnTo>
                    <a:pt x="3541" y="2175"/>
                  </a:lnTo>
                  <a:lnTo>
                    <a:pt x="3199" y="2199"/>
                  </a:lnTo>
                  <a:lnTo>
                    <a:pt x="2858" y="2248"/>
                  </a:lnTo>
                  <a:lnTo>
                    <a:pt x="2516" y="2345"/>
                  </a:lnTo>
                  <a:lnTo>
                    <a:pt x="2198" y="2443"/>
                  </a:lnTo>
                  <a:lnTo>
                    <a:pt x="1881" y="2590"/>
                  </a:lnTo>
                  <a:lnTo>
                    <a:pt x="1588" y="2761"/>
                  </a:lnTo>
                  <a:lnTo>
                    <a:pt x="1319" y="2956"/>
                  </a:lnTo>
                  <a:lnTo>
                    <a:pt x="1075" y="3176"/>
                  </a:lnTo>
                  <a:lnTo>
                    <a:pt x="855" y="3420"/>
                  </a:lnTo>
                  <a:lnTo>
                    <a:pt x="635" y="3689"/>
                  </a:lnTo>
                  <a:lnTo>
                    <a:pt x="464" y="3982"/>
                  </a:lnTo>
                  <a:lnTo>
                    <a:pt x="318" y="4275"/>
                  </a:lnTo>
                  <a:lnTo>
                    <a:pt x="195" y="4592"/>
                  </a:lnTo>
                  <a:lnTo>
                    <a:pt x="98" y="4910"/>
                  </a:lnTo>
                  <a:lnTo>
                    <a:pt x="24" y="5252"/>
                  </a:lnTo>
                  <a:lnTo>
                    <a:pt x="0" y="5618"/>
                  </a:lnTo>
                  <a:lnTo>
                    <a:pt x="16510" y="5618"/>
                  </a:lnTo>
                  <a:lnTo>
                    <a:pt x="16437" y="5423"/>
                  </a:lnTo>
                  <a:lnTo>
                    <a:pt x="16339" y="5252"/>
                  </a:lnTo>
                  <a:lnTo>
                    <a:pt x="16119" y="4934"/>
                  </a:lnTo>
                  <a:lnTo>
                    <a:pt x="15851" y="4641"/>
                  </a:lnTo>
                  <a:lnTo>
                    <a:pt x="15533" y="4397"/>
                  </a:lnTo>
                  <a:lnTo>
                    <a:pt x="15362" y="4299"/>
                  </a:lnTo>
                  <a:lnTo>
                    <a:pt x="15191" y="4202"/>
                  </a:lnTo>
                  <a:lnTo>
                    <a:pt x="15020" y="4104"/>
                  </a:lnTo>
                  <a:lnTo>
                    <a:pt x="14825" y="4055"/>
                  </a:lnTo>
                  <a:lnTo>
                    <a:pt x="14629" y="3982"/>
                  </a:lnTo>
                  <a:lnTo>
                    <a:pt x="14434" y="3957"/>
                  </a:lnTo>
                  <a:lnTo>
                    <a:pt x="14214" y="3933"/>
                  </a:lnTo>
                  <a:lnTo>
                    <a:pt x="14019" y="3909"/>
                  </a:lnTo>
                  <a:lnTo>
                    <a:pt x="13775" y="3933"/>
                  </a:lnTo>
                  <a:lnTo>
                    <a:pt x="13555" y="3957"/>
                  </a:lnTo>
                  <a:lnTo>
                    <a:pt x="13457" y="3542"/>
                  </a:lnTo>
                  <a:lnTo>
                    <a:pt x="13335" y="3151"/>
                  </a:lnTo>
                  <a:lnTo>
                    <a:pt x="13164" y="2761"/>
                  </a:lnTo>
                  <a:lnTo>
                    <a:pt x="12969" y="2394"/>
                  </a:lnTo>
                  <a:lnTo>
                    <a:pt x="12749" y="2052"/>
                  </a:lnTo>
                  <a:lnTo>
                    <a:pt x="12505" y="1710"/>
                  </a:lnTo>
                  <a:lnTo>
                    <a:pt x="12212" y="1417"/>
                  </a:lnTo>
                  <a:lnTo>
                    <a:pt x="11918" y="1124"/>
                  </a:lnTo>
                  <a:lnTo>
                    <a:pt x="11577" y="880"/>
                  </a:lnTo>
                  <a:lnTo>
                    <a:pt x="11235" y="660"/>
                  </a:lnTo>
                  <a:lnTo>
                    <a:pt x="10868" y="465"/>
                  </a:lnTo>
                  <a:lnTo>
                    <a:pt x="10477" y="294"/>
                  </a:lnTo>
                  <a:lnTo>
                    <a:pt x="10087" y="172"/>
                  </a:lnTo>
                  <a:lnTo>
                    <a:pt x="9672" y="74"/>
                  </a:lnTo>
                  <a:lnTo>
                    <a:pt x="9232" y="25"/>
                  </a:lnTo>
                  <a:lnTo>
                    <a:pt x="8792"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48" name="Shape 577"/>
            <p:cNvSpPr/>
            <p:nvPr/>
          </p:nvSpPr>
          <p:spPr>
            <a:xfrm>
              <a:off x="3473550" y="5012225"/>
              <a:ext cx="30550" cy="129450"/>
            </a:xfrm>
            <a:custGeom>
              <a:avLst/>
              <a:gdLst/>
              <a:ahLst/>
              <a:cxnLst/>
              <a:rect l="0" t="0" r="0" b="0"/>
              <a:pathLst>
                <a:path w="1222" h="5178" extrusionOk="0">
                  <a:moveTo>
                    <a:pt x="953" y="0"/>
                  </a:moveTo>
                  <a:lnTo>
                    <a:pt x="831" y="24"/>
                  </a:lnTo>
                  <a:lnTo>
                    <a:pt x="758" y="98"/>
                  </a:lnTo>
                  <a:lnTo>
                    <a:pt x="684" y="171"/>
                  </a:lnTo>
                  <a:lnTo>
                    <a:pt x="660" y="293"/>
                  </a:lnTo>
                  <a:lnTo>
                    <a:pt x="635" y="464"/>
                  </a:lnTo>
                  <a:lnTo>
                    <a:pt x="587" y="611"/>
                  </a:lnTo>
                  <a:lnTo>
                    <a:pt x="513" y="733"/>
                  </a:lnTo>
                  <a:lnTo>
                    <a:pt x="391" y="879"/>
                  </a:lnTo>
                  <a:lnTo>
                    <a:pt x="269" y="1026"/>
                  </a:lnTo>
                  <a:lnTo>
                    <a:pt x="123" y="1246"/>
                  </a:lnTo>
                  <a:lnTo>
                    <a:pt x="74" y="1368"/>
                  </a:lnTo>
                  <a:lnTo>
                    <a:pt x="25" y="1490"/>
                  </a:lnTo>
                  <a:lnTo>
                    <a:pt x="0" y="1636"/>
                  </a:lnTo>
                  <a:lnTo>
                    <a:pt x="0" y="1832"/>
                  </a:lnTo>
                  <a:lnTo>
                    <a:pt x="0" y="2003"/>
                  </a:lnTo>
                  <a:lnTo>
                    <a:pt x="25" y="2149"/>
                  </a:lnTo>
                  <a:lnTo>
                    <a:pt x="74" y="2271"/>
                  </a:lnTo>
                  <a:lnTo>
                    <a:pt x="123" y="2394"/>
                  </a:lnTo>
                  <a:lnTo>
                    <a:pt x="269" y="2613"/>
                  </a:lnTo>
                  <a:lnTo>
                    <a:pt x="391" y="2784"/>
                  </a:lnTo>
                  <a:lnTo>
                    <a:pt x="513" y="2906"/>
                  </a:lnTo>
                  <a:lnTo>
                    <a:pt x="587" y="3029"/>
                  </a:lnTo>
                  <a:lnTo>
                    <a:pt x="635" y="3175"/>
                  </a:lnTo>
                  <a:lnTo>
                    <a:pt x="660" y="3346"/>
                  </a:lnTo>
                  <a:lnTo>
                    <a:pt x="635" y="3541"/>
                  </a:lnTo>
                  <a:lnTo>
                    <a:pt x="587" y="3688"/>
                  </a:lnTo>
                  <a:lnTo>
                    <a:pt x="513" y="3810"/>
                  </a:lnTo>
                  <a:lnTo>
                    <a:pt x="391" y="3932"/>
                  </a:lnTo>
                  <a:lnTo>
                    <a:pt x="269" y="4103"/>
                  </a:lnTo>
                  <a:lnTo>
                    <a:pt x="123" y="4299"/>
                  </a:lnTo>
                  <a:lnTo>
                    <a:pt x="74" y="4421"/>
                  </a:lnTo>
                  <a:lnTo>
                    <a:pt x="25" y="4567"/>
                  </a:lnTo>
                  <a:lnTo>
                    <a:pt x="0" y="4714"/>
                  </a:lnTo>
                  <a:lnTo>
                    <a:pt x="0" y="4885"/>
                  </a:lnTo>
                  <a:lnTo>
                    <a:pt x="0" y="5007"/>
                  </a:lnTo>
                  <a:lnTo>
                    <a:pt x="74" y="5080"/>
                  </a:lnTo>
                  <a:lnTo>
                    <a:pt x="171" y="5153"/>
                  </a:lnTo>
                  <a:lnTo>
                    <a:pt x="269" y="5178"/>
                  </a:lnTo>
                  <a:lnTo>
                    <a:pt x="391" y="5153"/>
                  </a:lnTo>
                  <a:lnTo>
                    <a:pt x="464" y="5080"/>
                  </a:lnTo>
                  <a:lnTo>
                    <a:pt x="538" y="5007"/>
                  </a:lnTo>
                  <a:lnTo>
                    <a:pt x="562" y="4885"/>
                  </a:lnTo>
                  <a:lnTo>
                    <a:pt x="587" y="4714"/>
                  </a:lnTo>
                  <a:lnTo>
                    <a:pt x="635" y="4567"/>
                  </a:lnTo>
                  <a:lnTo>
                    <a:pt x="709" y="4445"/>
                  </a:lnTo>
                  <a:lnTo>
                    <a:pt x="831" y="4299"/>
                  </a:lnTo>
                  <a:lnTo>
                    <a:pt x="953" y="4152"/>
                  </a:lnTo>
                  <a:lnTo>
                    <a:pt x="1099" y="3932"/>
                  </a:lnTo>
                  <a:lnTo>
                    <a:pt x="1148" y="3810"/>
                  </a:lnTo>
                  <a:lnTo>
                    <a:pt x="1197" y="3688"/>
                  </a:lnTo>
                  <a:lnTo>
                    <a:pt x="1222" y="3517"/>
                  </a:lnTo>
                  <a:lnTo>
                    <a:pt x="1222" y="3346"/>
                  </a:lnTo>
                  <a:lnTo>
                    <a:pt x="1222" y="3175"/>
                  </a:lnTo>
                  <a:lnTo>
                    <a:pt x="1197" y="3029"/>
                  </a:lnTo>
                  <a:lnTo>
                    <a:pt x="1148" y="2882"/>
                  </a:lnTo>
                  <a:lnTo>
                    <a:pt x="1099" y="2760"/>
                  </a:lnTo>
                  <a:lnTo>
                    <a:pt x="953" y="2564"/>
                  </a:lnTo>
                  <a:lnTo>
                    <a:pt x="831" y="2394"/>
                  </a:lnTo>
                  <a:lnTo>
                    <a:pt x="709" y="2271"/>
                  </a:lnTo>
                  <a:lnTo>
                    <a:pt x="635" y="2149"/>
                  </a:lnTo>
                  <a:lnTo>
                    <a:pt x="587" y="2003"/>
                  </a:lnTo>
                  <a:lnTo>
                    <a:pt x="562" y="1832"/>
                  </a:lnTo>
                  <a:lnTo>
                    <a:pt x="587" y="1636"/>
                  </a:lnTo>
                  <a:lnTo>
                    <a:pt x="635" y="1490"/>
                  </a:lnTo>
                  <a:lnTo>
                    <a:pt x="709" y="1368"/>
                  </a:lnTo>
                  <a:lnTo>
                    <a:pt x="831" y="1246"/>
                  </a:lnTo>
                  <a:lnTo>
                    <a:pt x="953" y="1075"/>
                  </a:lnTo>
                  <a:lnTo>
                    <a:pt x="1099" y="879"/>
                  </a:lnTo>
                  <a:lnTo>
                    <a:pt x="1148" y="757"/>
                  </a:lnTo>
                  <a:lnTo>
                    <a:pt x="1197" y="611"/>
                  </a:lnTo>
                  <a:lnTo>
                    <a:pt x="1222" y="464"/>
                  </a:lnTo>
                  <a:lnTo>
                    <a:pt x="1222" y="293"/>
                  </a:lnTo>
                  <a:lnTo>
                    <a:pt x="1222" y="171"/>
                  </a:lnTo>
                  <a:lnTo>
                    <a:pt x="1148" y="98"/>
                  </a:lnTo>
                  <a:lnTo>
                    <a:pt x="1051" y="24"/>
                  </a:lnTo>
                  <a:lnTo>
                    <a:pt x="95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49" name="Shape 578"/>
            <p:cNvSpPr/>
            <p:nvPr/>
          </p:nvSpPr>
          <p:spPr>
            <a:xfrm>
              <a:off x="3429575" y="5012225"/>
              <a:ext cx="31175" cy="129450"/>
            </a:xfrm>
            <a:custGeom>
              <a:avLst/>
              <a:gdLst/>
              <a:ahLst/>
              <a:cxnLst/>
              <a:rect l="0" t="0" r="0" b="0"/>
              <a:pathLst>
                <a:path w="1247" h="5178" extrusionOk="0">
                  <a:moveTo>
                    <a:pt x="953" y="0"/>
                  </a:moveTo>
                  <a:lnTo>
                    <a:pt x="856" y="24"/>
                  </a:lnTo>
                  <a:lnTo>
                    <a:pt x="758" y="98"/>
                  </a:lnTo>
                  <a:lnTo>
                    <a:pt x="709" y="171"/>
                  </a:lnTo>
                  <a:lnTo>
                    <a:pt x="685" y="293"/>
                  </a:lnTo>
                  <a:lnTo>
                    <a:pt x="660" y="464"/>
                  </a:lnTo>
                  <a:lnTo>
                    <a:pt x="612" y="611"/>
                  </a:lnTo>
                  <a:lnTo>
                    <a:pt x="514" y="733"/>
                  </a:lnTo>
                  <a:lnTo>
                    <a:pt x="416" y="879"/>
                  </a:lnTo>
                  <a:lnTo>
                    <a:pt x="270" y="1026"/>
                  </a:lnTo>
                  <a:lnTo>
                    <a:pt x="148" y="1246"/>
                  </a:lnTo>
                  <a:lnTo>
                    <a:pt x="74" y="1368"/>
                  </a:lnTo>
                  <a:lnTo>
                    <a:pt x="50" y="1490"/>
                  </a:lnTo>
                  <a:lnTo>
                    <a:pt x="1" y="1636"/>
                  </a:lnTo>
                  <a:lnTo>
                    <a:pt x="1" y="1832"/>
                  </a:lnTo>
                  <a:lnTo>
                    <a:pt x="1" y="2003"/>
                  </a:lnTo>
                  <a:lnTo>
                    <a:pt x="50" y="2149"/>
                  </a:lnTo>
                  <a:lnTo>
                    <a:pt x="74" y="2271"/>
                  </a:lnTo>
                  <a:lnTo>
                    <a:pt x="148" y="2394"/>
                  </a:lnTo>
                  <a:lnTo>
                    <a:pt x="270" y="2613"/>
                  </a:lnTo>
                  <a:lnTo>
                    <a:pt x="416" y="2784"/>
                  </a:lnTo>
                  <a:lnTo>
                    <a:pt x="514" y="2906"/>
                  </a:lnTo>
                  <a:lnTo>
                    <a:pt x="612" y="3029"/>
                  </a:lnTo>
                  <a:lnTo>
                    <a:pt x="660" y="3175"/>
                  </a:lnTo>
                  <a:lnTo>
                    <a:pt x="685" y="3346"/>
                  </a:lnTo>
                  <a:lnTo>
                    <a:pt x="660" y="3541"/>
                  </a:lnTo>
                  <a:lnTo>
                    <a:pt x="612" y="3688"/>
                  </a:lnTo>
                  <a:lnTo>
                    <a:pt x="514" y="3810"/>
                  </a:lnTo>
                  <a:lnTo>
                    <a:pt x="416" y="3932"/>
                  </a:lnTo>
                  <a:lnTo>
                    <a:pt x="270" y="4103"/>
                  </a:lnTo>
                  <a:lnTo>
                    <a:pt x="148" y="4299"/>
                  </a:lnTo>
                  <a:lnTo>
                    <a:pt x="74" y="4421"/>
                  </a:lnTo>
                  <a:lnTo>
                    <a:pt x="50" y="4567"/>
                  </a:lnTo>
                  <a:lnTo>
                    <a:pt x="1" y="4714"/>
                  </a:lnTo>
                  <a:lnTo>
                    <a:pt x="1" y="4885"/>
                  </a:lnTo>
                  <a:lnTo>
                    <a:pt x="25" y="5007"/>
                  </a:lnTo>
                  <a:lnTo>
                    <a:pt x="74" y="5080"/>
                  </a:lnTo>
                  <a:lnTo>
                    <a:pt x="172" y="5153"/>
                  </a:lnTo>
                  <a:lnTo>
                    <a:pt x="294" y="5178"/>
                  </a:lnTo>
                  <a:lnTo>
                    <a:pt x="392" y="5153"/>
                  </a:lnTo>
                  <a:lnTo>
                    <a:pt x="489" y="5080"/>
                  </a:lnTo>
                  <a:lnTo>
                    <a:pt x="538" y="5007"/>
                  </a:lnTo>
                  <a:lnTo>
                    <a:pt x="563" y="4885"/>
                  </a:lnTo>
                  <a:lnTo>
                    <a:pt x="587" y="4714"/>
                  </a:lnTo>
                  <a:lnTo>
                    <a:pt x="636" y="4567"/>
                  </a:lnTo>
                  <a:lnTo>
                    <a:pt x="734" y="4445"/>
                  </a:lnTo>
                  <a:lnTo>
                    <a:pt x="831" y="4299"/>
                  </a:lnTo>
                  <a:lnTo>
                    <a:pt x="978" y="4152"/>
                  </a:lnTo>
                  <a:lnTo>
                    <a:pt x="1100" y="3932"/>
                  </a:lnTo>
                  <a:lnTo>
                    <a:pt x="1149" y="3810"/>
                  </a:lnTo>
                  <a:lnTo>
                    <a:pt x="1198" y="3688"/>
                  </a:lnTo>
                  <a:lnTo>
                    <a:pt x="1222" y="3517"/>
                  </a:lnTo>
                  <a:lnTo>
                    <a:pt x="1247" y="3346"/>
                  </a:lnTo>
                  <a:lnTo>
                    <a:pt x="1222" y="3175"/>
                  </a:lnTo>
                  <a:lnTo>
                    <a:pt x="1198" y="3029"/>
                  </a:lnTo>
                  <a:lnTo>
                    <a:pt x="1149" y="2882"/>
                  </a:lnTo>
                  <a:lnTo>
                    <a:pt x="1100" y="2760"/>
                  </a:lnTo>
                  <a:lnTo>
                    <a:pt x="978" y="2564"/>
                  </a:lnTo>
                  <a:lnTo>
                    <a:pt x="831" y="2394"/>
                  </a:lnTo>
                  <a:lnTo>
                    <a:pt x="734" y="2271"/>
                  </a:lnTo>
                  <a:lnTo>
                    <a:pt x="636" y="2149"/>
                  </a:lnTo>
                  <a:lnTo>
                    <a:pt x="587" y="2003"/>
                  </a:lnTo>
                  <a:lnTo>
                    <a:pt x="563" y="1832"/>
                  </a:lnTo>
                  <a:lnTo>
                    <a:pt x="587" y="1636"/>
                  </a:lnTo>
                  <a:lnTo>
                    <a:pt x="636" y="1490"/>
                  </a:lnTo>
                  <a:lnTo>
                    <a:pt x="734" y="1368"/>
                  </a:lnTo>
                  <a:lnTo>
                    <a:pt x="831" y="1246"/>
                  </a:lnTo>
                  <a:lnTo>
                    <a:pt x="978" y="1075"/>
                  </a:lnTo>
                  <a:lnTo>
                    <a:pt x="1100" y="879"/>
                  </a:lnTo>
                  <a:lnTo>
                    <a:pt x="1149" y="757"/>
                  </a:lnTo>
                  <a:lnTo>
                    <a:pt x="1198" y="611"/>
                  </a:lnTo>
                  <a:lnTo>
                    <a:pt x="1222" y="464"/>
                  </a:lnTo>
                  <a:lnTo>
                    <a:pt x="1247" y="293"/>
                  </a:lnTo>
                  <a:lnTo>
                    <a:pt x="1222" y="171"/>
                  </a:lnTo>
                  <a:lnTo>
                    <a:pt x="1149" y="98"/>
                  </a:lnTo>
                  <a:lnTo>
                    <a:pt x="1076" y="24"/>
                  </a:lnTo>
                  <a:lnTo>
                    <a:pt x="95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50" name="Shape 579"/>
            <p:cNvSpPr/>
            <p:nvPr/>
          </p:nvSpPr>
          <p:spPr>
            <a:xfrm>
              <a:off x="3516900" y="5012225"/>
              <a:ext cx="31175" cy="129450"/>
            </a:xfrm>
            <a:custGeom>
              <a:avLst/>
              <a:gdLst/>
              <a:ahLst/>
              <a:cxnLst/>
              <a:rect l="0" t="0" r="0" b="0"/>
              <a:pathLst>
                <a:path w="1247" h="5178" extrusionOk="0">
                  <a:moveTo>
                    <a:pt x="953" y="0"/>
                  </a:moveTo>
                  <a:lnTo>
                    <a:pt x="855" y="24"/>
                  </a:lnTo>
                  <a:lnTo>
                    <a:pt x="758" y="98"/>
                  </a:lnTo>
                  <a:lnTo>
                    <a:pt x="709" y="171"/>
                  </a:lnTo>
                  <a:lnTo>
                    <a:pt x="684" y="293"/>
                  </a:lnTo>
                  <a:lnTo>
                    <a:pt x="660" y="464"/>
                  </a:lnTo>
                  <a:lnTo>
                    <a:pt x="611" y="611"/>
                  </a:lnTo>
                  <a:lnTo>
                    <a:pt x="513" y="733"/>
                  </a:lnTo>
                  <a:lnTo>
                    <a:pt x="416" y="879"/>
                  </a:lnTo>
                  <a:lnTo>
                    <a:pt x="269" y="1026"/>
                  </a:lnTo>
                  <a:lnTo>
                    <a:pt x="147" y="1246"/>
                  </a:lnTo>
                  <a:lnTo>
                    <a:pt x="98" y="1368"/>
                  </a:lnTo>
                  <a:lnTo>
                    <a:pt x="49" y="1490"/>
                  </a:lnTo>
                  <a:lnTo>
                    <a:pt x="25" y="1636"/>
                  </a:lnTo>
                  <a:lnTo>
                    <a:pt x="0" y="1832"/>
                  </a:lnTo>
                  <a:lnTo>
                    <a:pt x="25" y="2003"/>
                  </a:lnTo>
                  <a:lnTo>
                    <a:pt x="49" y="2149"/>
                  </a:lnTo>
                  <a:lnTo>
                    <a:pt x="98" y="2271"/>
                  </a:lnTo>
                  <a:lnTo>
                    <a:pt x="147" y="2394"/>
                  </a:lnTo>
                  <a:lnTo>
                    <a:pt x="269" y="2613"/>
                  </a:lnTo>
                  <a:lnTo>
                    <a:pt x="416" y="2784"/>
                  </a:lnTo>
                  <a:lnTo>
                    <a:pt x="513" y="2906"/>
                  </a:lnTo>
                  <a:lnTo>
                    <a:pt x="611" y="3029"/>
                  </a:lnTo>
                  <a:lnTo>
                    <a:pt x="660" y="3175"/>
                  </a:lnTo>
                  <a:lnTo>
                    <a:pt x="684" y="3346"/>
                  </a:lnTo>
                  <a:lnTo>
                    <a:pt x="660" y="3541"/>
                  </a:lnTo>
                  <a:lnTo>
                    <a:pt x="611" y="3688"/>
                  </a:lnTo>
                  <a:lnTo>
                    <a:pt x="513" y="3810"/>
                  </a:lnTo>
                  <a:lnTo>
                    <a:pt x="416" y="3932"/>
                  </a:lnTo>
                  <a:lnTo>
                    <a:pt x="269" y="4103"/>
                  </a:lnTo>
                  <a:lnTo>
                    <a:pt x="147" y="4299"/>
                  </a:lnTo>
                  <a:lnTo>
                    <a:pt x="98" y="4421"/>
                  </a:lnTo>
                  <a:lnTo>
                    <a:pt x="49" y="4567"/>
                  </a:lnTo>
                  <a:lnTo>
                    <a:pt x="25" y="4714"/>
                  </a:lnTo>
                  <a:lnTo>
                    <a:pt x="0" y="4885"/>
                  </a:lnTo>
                  <a:lnTo>
                    <a:pt x="25" y="5007"/>
                  </a:lnTo>
                  <a:lnTo>
                    <a:pt x="98" y="5080"/>
                  </a:lnTo>
                  <a:lnTo>
                    <a:pt x="171" y="5153"/>
                  </a:lnTo>
                  <a:lnTo>
                    <a:pt x="294" y="5178"/>
                  </a:lnTo>
                  <a:lnTo>
                    <a:pt x="391" y="5153"/>
                  </a:lnTo>
                  <a:lnTo>
                    <a:pt x="489" y="5080"/>
                  </a:lnTo>
                  <a:lnTo>
                    <a:pt x="538" y="5007"/>
                  </a:lnTo>
                  <a:lnTo>
                    <a:pt x="562" y="4885"/>
                  </a:lnTo>
                  <a:lnTo>
                    <a:pt x="587" y="4714"/>
                  </a:lnTo>
                  <a:lnTo>
                    <a:pt x="635" y="4567"/>
                  </a:lnTo>
                  <a:lnTo>
                    <a:pt x="733" y="4445"/>
                  </a:lnTo>
                  <a:lnTo>
                    <a:pt x="831" y="4299"/>
                  </a:lnTo>
                  <a:lnTo>
                    <a:pt x="977" y="4152"/>
                  </a:lnTo>
                  <a:lnTo>
                    <a:pt x="1099" y="3932"/>
                  </a:lnTo>
                  <a:lnTo>
                    <a:pt x="1173" y="3810"/>
                  </a:lnTo>
                  <a:lnTo>
                    <a:pt x="1197" y="3688"/>
                  </a:lnTo>
                  <a:lnTo>
                    <a:pt x="1246" y="3517"/>
                  </a:lnTo>
                  <a:lnTo>
                    <a:pt x="1246" y="3346"/>
                  </a:lnTo>
                  <a:lnTo>
                    <a:pt x="1246" y="3175"/>
                  </a:lnTo>
                  <a:lnTo>
                    <a:pt x="1197" y="3029"/>
                  </a:lnTo>
                  <a:lnTo>
                    <a:pt x="1173" y="2882"/>
                  </a:lnTo>
                  <a:lnTo>
                    <a:pt x="1099" y="2760"/>
                  </a:lnTo>
                  <a:lnTo>
                    <a:pt x="977" y="2564"/>
                  </a:lnTo>
                  <a:lnTo>
                    <a:pt x="831" y="2394"/>
                  </a:lnTo>
                  <a:lnTo>
                    <a:pt x="733" y="2271"/>
                  </a:lnTo>
                  <a:lnTo>
                    <a:pt x="635" y="2149"/>
                  </a:lnTo>
                  <a:lnTo>
                    <a:pt x="587" y="2003"/>
                  </a:lnTo>
                  <a:lnTo>
                    <a:pt x="562" y="1832"/>
                  </a:lnTo>
                  <a:lnTo>
                    <a:pt x="587" y="1636"/>
                  </a:lnTo>
                  <a:lnTo>
                    <a:pt x="635" y="1490"/>
                  </a:lnTo>
                  <a:lnTo>
                    <a:pt x="733" y="1368"/>
                  </a:lnTo>
                  <a:lnTo>
                    <a:pt x="831" y="1246"/>
                  </a:lnTo>
                  <a:lnTo>
                    <a:pt x="977" y="1075"/>
                  </a:lnTo>
                  <a:lnTo>
                    <a:pt x="1099" y="879"/>
                  </a:lnTo>
                  <a:lnTo>
                    <a:pt x="1173" y="757"/>
                  </a:lnTo>
                  <a:lnTo>
                    <a:pt x="1197" y="611"/>
                  </a:lnTo>
                  <a:lnTo>
                    <a:pt x="1246" y="464"/>
                  </a:lnTo>
                  <a:lnTo>
                    <a:pt x="1246" y="293"/>
                  </a:lnTo>
                  <a:lnTo>
                    <a:pt x="1222" y="171"/>
                  </a:lnTo>
                  <a:lnTo>
                    <a:pt x="1173" y="98"/>
                  </a:lnTo>
                  <a:lnTo>
                    <a:pt x="1075" y="24"/>
                  </a:lnTo>
                  <a:lnTo>
                    <a:pt x="953"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51" name="Shape 580"/>
          <p:cNvGrpSpPr/>
          <p:nvPr/>
        </p:nvGrpSpPr>
        <p:grpSpPr>
          <a:xfrm>
            <a:off x="5739128" y="5339717"/>
            <a:ext cx="419636" cy="381399"/>
            <a:chOff x="4562200" y="4968250"/>
            <a:chExt cx="549550" cy="499475"/>
          </a:xfrm>
        </p:grpSpPr>
        <p:sp>
          <p:nvSpPr>
            <p:cNvPr id="252" name="Shape 581"/>
            <p:cNvSpPr/>
            <p:nvPr/>
          </p:nvSpPr>
          <p:spPr>
            <a:xfrm>
              <a:off x="4842450" y="5242400"/>
              <a:ext cx="213125" cy="225325"/>
            </a:xfrm>
            <a:custGeom>
              <a:avLst/>
              <a:gdLst/>
              <a:ahLst/>
              <a:cxnLst/>
              <a:rect l="0" t="0" r="0" b="0"/>
              <a:pathLst>
                <a:path w="8525" h="9013" extrusionOk="0">
                  <a:moveTo>
                    <a:pt x="8524" y="1"/>
                  </a:moveTo>
                  <a:lnTo>
                    <a:pt x="2272" y="3542"/>
                  </a:lnTo>
                  <a:lnTo>
                    <a:pt x="2150" y="3591"/>
                  </a:lnTo>
                  <a:lnTo>
                    <a:pt x="2028" y="3615"/>
                  </a:lnTo>
                  <a:lnTo>
                    <a:pt x="1906" y="3591"/>
                  </a:lnTo>
                  <a:lnTo>
                    <a:pt x="1808" y="3566"/>
                  </a:lnTo>
                  <a:lnTo>
                    <a:pt x="1735" y="3517"/>
                  </a:lnTo>
                  <a:lnTo>
                    <a:pt x="1662" y="3444"/>
                  </a:lnTo>
                  <a:lnTo>
                    <a:pt x="1588" y="3371"/>
                  </a:lnTo>
                  <a:lnTo>
                    <a:pt x="1" y="440"/>
                  </a:lnTo>
                  <a:lnTo>
                    <a:pt x="1" y="9013"/>
                  </a:lnTo>
                  <a:lnTo>
                    <a:pt x="8524" y="4104"/>
                  </a:lnTo>
                  <a:lnTo>
                    <a:pt x="852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53" name="Shape 582"/>
            <p:cNvSpPr/>
            <p:nvPr/>
          </p:nvSpPr>
          <p:spPr>
            <a:xfrm>
              <a:off x="4617775" y="5241800"/>
              <a:ext cx="212500" cy="225925"/>
            </a:xfrm>
            <a:custGeom>
              <a:avLst/>
              <a:gdLst/>
              <a:ahLst/>
              <a:cxnLst/>
              <a:rect l="0" t="0" r="0" b="0"/>
              <a:pathLst>
                <a:path w="8500" h="9037" extrusionOk="0">
                  <a:moveTo>
                    <a:pt x="0" y="0"/>
                  </a:moveTo>
                  <a:lnTo>
                    <a:pt x="0" y="4128"/>
                  </a:lnTo>
                  <a:lnTo>
                    <a:pt x="8499" y="9037"/>
                  </a:lnTo>
                  <a:lnTo>
                    <a:pt x="8499" y="586"/>
                  </a:lnTo>
                  <a:lnTo>
                    <a:pt x="6961" y="3395"/>
                  </a:lnTo>
                  <a:lnTo>
                    <a:pt x="6887" y="3468"/>
                  </a:lnTo>
                  <a:lnTo>
                    <a:pt x="6814" y="3541"/>
                  </a:lnTo>
                  <a:lnTo>
                    <a:pt x="6741" y="3590"/>
                  </a:lnTo>
                  <a:lnTo>
                    <a:pt x="6643" y="3615"/>
                  </a:lnTo>
                  <a:lnTo>
                    <a:pt x="6521" y="3639"/>
                  </a:lnTo>
                  <a:lnTo>
                    <a:pt x="6399" y="3615"/>
                  </a:lnTo>
                  <a:lnTo>
                    <a:pt x="6277" y="3566"/>
                  </a:lnTo>
                  <a:lnTo>
                    <a:pt x="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54" name="Shape 583"/>
            <p:cNvSpPr/>
            <p:nvPr/>
          </p:nvSpPr>
          <p:spPr>
            <a:xfrm>
              <a:off x="4631200" y="4968250"/>
              <a:ext cx="411550" cy="236325"/>
            </a:xfrm>
            <a:custGeom>
              <a:avLst/>
              <a:gdLst/>
              <a:ahLst/>
              <a:cxnLst/>
              <a:rect l="0" t="0" r="0" b="0"/>
              <a:pathLst>
                <a:path w="16462" h="9453" extrusionOk="0">
                  <a:moveTo>
                    <a:pt x="8182" y="1"/>
                  </a:moveTo>
                  <a:lnTo>
                    <a:pt x="0" y="4763"/>
                  </a:lnTo>
                  <a:lnTo>
                    <a:pt x="8231" y="9452"/>
                  </a:lnTo>
                  <a:lnTo>
                    <a:pt x="16462" y="4763"/>
                  </a:lnTo>
                  <a:lnTo>
                    <a:pt x="8182"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55" name="Shape 584"/>
            <p:cNvSpPr/>
            <p:nvPr/>
          </p:nvSpPr>
          <p:spPr>
            <a:xfrm>
              <a:off x="4562200" y="5094025"/>
              <a:ext cx="274800" cy="226550"/>
            </a:xfrm>
            <a:custGeom>
              <a:avLst/>
              <a:gdLst/>
              <a:ahLst/>
              <a:cxnLst/>
              <a:rect l="0" t="0" r="0" b="0"/>
              <a:pathLst>
                <a:path w="10992" h="9062" extrusionOk="0">
                  <a:moveTo>
                    <a:pt x="2248" y="1"/>
                  </a:moveTo>
                  <a:lnTo>
                    <a:pt x="1" y="4079"/>
                  </a:lnTo>
                  <a:lnTo>
                    <a:pt x="8744" y="9062"/>
                  </a:lnTo>
                  <a:lnTo>
                    <a:pt x="10991" y="4983"/>
                  </a:lnTo>
                  <a:lnTo>
                    <a:pt x="2248"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56" name="Shape 585"/>
            <p:cNvSpPr/>
            <p:nvPr/>
          </p:nvSpPr>
          <p:spPr>
            <a:xfrm>
              <a:off x="4836975" y="5094025"/>
              <a:ext cx="274775" cy="226550"/>
            </a:xfrm>
            <a:custGeom>
              <a:avLst/>
              <a:gdLst/>
              <a:ahLst/>
              <a:cxnLst/>
              <a:rect l="0" t="0" r="0" b="0"/>
              <a:pathLst>
                <a:path w="10991" h="9062" extrusionOk="0">
                  <a:moveTo>
                    <a:pt x="8743" y="1"/>
                  </a:moveTo>
                  <a:lnTo>
                    <a:pt x="0" y="4983"/>
                  </a:lnTo>
                  <a:lnTo>
                    <a:pt x="2247" y="9062"/>
                  </a:lnTo>
                  <a:lnTo>
                    <a:pt x="10990" y="4079"/>
                  </a:lnTo>
                  <a:lnTo>
                    <a:pt x="8743"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57" name="Shape 586"/>
          <p:cNvGrpSpPr/>
          <p:nvPr/>
        </p:nvGrpSpPr>
        <p:grpSpPr>
          <a:xfrm>
            <a:off x="5288757" y="5361175"/>
            <a:ext cx="290932" cy="338027"/>
            <a:chOff x="3972400" y="4996350"/>
            <a:chExt cx="381000" cy="442675"/>
          </a:xfrm>
        </p:grpSpPr>
        <p:sp>
          <p:nvSpPr>
            <p:cNvPr id="258" name="Shape 587"/>
            <p:cNvSpPr/>
            <p:nvPr/>
          </p:nvSpPr>
          <p:spPr>
            <a:xfrm>
              <a:off x="4157400" y="4996350"/>
              <a:ext cx="86725" cy="103200"/>
            </a:xfrm>
            <a:custGeom>
              <a:avLst/>
              <a:gdLst/>
              <a:ahLst/>
              <a:cxnLst/>
              <a:rect l="0" t="0" r="0" b="0"/>
              <a:pathLst>
                <a:path w="3469" h="4128" extrusionOk="0">
                  <a:moveTo>
                    <a:pt x="3395" y="0"/>
                  </a:moveTo>
                  <a:lnTo>
                    <a:pt x="3029" y="98"/>
                  </a:lnTo>
                  <a:lnTo>
                    <a:pt x="2638" y="195"/>
                  </a:lnTo>
                  <a:lnTo>
                    <a:pt x="2149" y="342"/>
                  </a:lnTo>
                  <a:lnTo>
                    <a:pt x="1661" y="537"/>
                  </a:lnTo>
                  <a:lnTo>
                    <a:pt x="1392" y="659"/>
                  </a:lnTo>
                  <a:lnTo>
                    <a:pt x="1148" y="806"/>
                  </a:lnTo>
                  <a:lnTo>
                    <a:pt x="904" y="953"/>
                  </a:lnTo>
                  <a:lnTo>
                    <a:pt x="684" y="1124"/>
                  </a:lnTo>
                  <a:lnTo>
                    <a:pt x="489" y="1319"/>
                  </a:lnTo>
                  <a:lnTo>
                    <a:pt x="318" y="1514"/>
                  </a:lnTo>
                  <a:lnTo>
                    <a:pt x="196" y="1710"/>
                  </a:lnTo>
                  <a:lnTo>
                    <a:pt x="98" y="1929"/>
                  </a:lnTo>
                  <a:lnTo>
                    <a:pt x="49" y="2149"/>
                  </a:lnTo>
                  <a:lnTo>
                    <a:pt x="0" y="2369"/>
                  </a:lnTo>
                  <a:lnTo>
                    <a:pt x="0" y="2589"/>
                  </a:lnTo>
                  <a:lnTo>
                    <a:pt x="25" y="2784"/>
                  </a:lnTo>
                  <a:lnTo>
                    <a:pt x="49" y="2980"/>
                  </a:lnTo>
                  <a:lnTo>
                    <a:pt x="98" y="3175"/>
                  </a:lnTo>
                  <a:lnTo>
                    <a:pt x="220" y="3517"/>
                  </a:lnTo>
                  <a:lnTo>
                    <a:pt x="342" y="3786"/>
                  </a:lnTo>
                  <a:lnTo>
                    <a:pt x="489" y="4030"/>
                  </a:lnTo>
                  <a:lnTo>
                    <a:pt x="757" y="4079"/>
                  </a:lnTo>
                  <a:lnTo>
                    <a:pt x="1050" y="4103"/>
                  </a:lnTo>
                  <a:lnTo>
                    <a:pt x="1392" y="4128"/>
                  </a:lnTo>
                  <a:lnTo>
                    <a:pt x="1588" y="4103"/>
                  </a:lnTo>
                  <a:lnTo>
                    <a:pt x="1808" y="4079"/>
                  </a:lnTo>
                  <a:lnTo>
                    <a:pt x="2003" y="4030"/>
                  </a:lnTo>
                  <a:lnTo>
                    <a:pt x="2198" y="3957"/>
                  </a:lnTo>
                  <a:lnTo>
                    <a:pt x="2394" y="3859"/>
                  </a:lnTo>
                  <a:lnTo>
                    <a:pt x="2589" y="3737"/>
                  </a:lnTo>
                  <a:lnTo>
                    <a:pt x="2760" y="3590"/>
                  </a:lnTo>
                  <a:lnTo>
                    <a:pt x="2931" y="3395"/>
                  </a:lnTo>
                  <a:lnTo>
                    <a:pt x="3053" y="3175"/>
                  </a:lnTo>
                  <a:lnTo>
                    <a:pt x="3175" y="2931"/>
                  </a:lnTo>
                  <a:lnTo>
                    <a:pt x="3273" y="2662"/>
                  </a:lnTo>
                  <a:lnTo>
                    <a:pt x="3346" y="2394"/>
                  </a:lnTo>
                  <a:lnTo>
                    <a:pt x="3395" y="2125"/>
                  </a:lnTo>
                  <a:lnTo>
                    <a:pt x="3419" y="1832"/>
                  </a:lnTo>
                  <a:lnTo>
                    <a:pt x="3468" y="1294"/>
                  </a:lnTo>
                  <a:lnTo>
                    <a:pt x="3468" y="782"/>
                  </a:lnTo>
                  <a:lnTo>
                    <a:pt x="3444" y="391"/>
                  </a:lnTo>
                  <a:lnTo>
                    <a:pt x="339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59" name="Shape 588"/>
            <p:cNvSpPr/>
            <p:nvPr/>
          </p:nvSpPr>
          <p:spPr>
            <a:xfrm>
              <a:off x="3972400" y="5048250"/>
              <a:ext cx="381000" cy="390775"/>
            </a:xfrm>
            <a:custGeom>
              <a:avLst/>
              <a:gdLst/>
              <a:ahLst/>
              <a:cxnLst/>
              <a:rect l="0" t="0" r="0" b="0"/>
              <a:pathLst>
                <a:path w="15240" h="15631" extrusionOk="0">
                  <a:moveTo>
                    <a:pt x="4689" y="3810"/>
                  </a:moveTo>
                  <a:lnTo>
                    <a:pt x="4787" y="3834"/>
                  </a:lnTo>
                  <a:lnTo>
                    <a:pt x="4860" y="3908"/>
                  </a:lnTo>
                  <a:lnTo>
                    <a:pt x="4885" y="4005"/>
                  </a:lnTo>
                  <a:lnTo>
                    <a:pt x="4885" y="4103"/>
                  </a:lnTo>
                  <a:lnTo>
                    <a:pt x="4836" y="4176"/>
                  </a:lnTo>
                  <a:lnTo>
                    <a:pt x="4787" y="4250"/>
                  </a:lnTo>
                  <a:lnTo>
                    <a:pt x="4689" y="4298"/>
                  </a:lnTo>
                  <a:lnTo>
                    <a:pt x="4421" y="4347"/>
                  </a:lnTo>
                  <a:lnTo>
                    <a:pt x="4176" y="4421"/>
                  </a:lnTo>
                  <a:lnTo>
                    <a:pt x="3957" y="4518"/>
                  </a:lnTo>
                  <a:lnTo>
                    <a:pt x="3737" y="4640"/>
                  </a:lnTo>
                  <a:lnTo>
                    <a:pt x="3566" y="4787"/>
                  </a:lnTo>
                  <a:lnTo>
                    <a:pt x="3395" y="4933"/>
                  </a:lnTo>
                  <a:lnTo>
                    <a:pt x="3248" y="5080"/>
                  </a:lnTo>
                  <a:lnTo>
                    <a:pt x="3102" y="5251"/>
                  </a:lnTo>
                  <a:lnTo>
                    <a:pt x="3004" y="5422"/>
                  </a:lnTo>
                  <a:lnTo>
                    <a:pt x="2882" y="5617"/>
                  </a:lnTo>
                  <a:lnTo>
                    <a:pt x="2735" y="5984"/>
                  </a:lnTo>
                  <a:lnTo>
                    <a:pt x="2613" y="6374"/>
                  </a:lnTo>
                  <a:lnTo>
                    <a:pt x="2516" y="6765"/>
                  </a:lnTo>
                  <a:lnTo>
                    <a:pt x="2491" y="6838"/>
                  </a:lnTo>
                  <a:lnTo>
                    <a:pt x="2442" y="6912"/>
                  </a:lnTo>
                  <a:lnTo>
                    <a:pt x="2369" y="6936"/>
                  </a:lnTo>
                  <a:lnTo>
                    <a:pt x="2296" y="6961"/>
                  </a:lnTo>
                  <a:lnTo>
                    <a:pt x="2247" y="6961"/>
                  </a:lnTo>
                  <a:lnTo>
                    <a:pt x="2149" y="6912"/>
                  </a:lnTo>
                  <a:lnTo>
                    <a:pt x="2076" y="6863"/>
                  </a:lnTo>
                  <a:lnTo>
                    <a:pt x="2052" y="6765"/>
                  </a:lnTo>
                  <a:lnTo>
                    <a:pt x="2052" y="6668"/>
                  </a:lnTo>
                  <a:lnTo>
                    <a:pt x="2100" y="6374"/>
                  </a:lnTo>
                  <a:lnTo>
                    <a:pt x="2174" y="6106"/>
                  </a:lnTo>
                  <a:lnTo>
                    <a:pt x="2271" y="5837"/>
                  </a:lnTo>
                  <a:lnTo>
                    <a:pt x="2369" y="5593"/>
                  </a:lnTo>
                  <a:lnTo>
                    <a:pt x="2491" y="5349"/>
                  </a:lnTo>
                  <a:lnTo>
                    <a:pt x="2613" y="5129"/>
                  </a:lnTo>
                  <a:lnTo>
                    <a:pt x="2760" y="4933"/>
                  </a:lnTo>
                  <a:lnTo>
                    <a:pt x="2906" y="4738"/>
                  </a:lnTo>
                  <a:lnTo>
                    <a:pt x="3077" y="4567"/>
                  </a:lnTo>
                  <a:lnTo>
                    <a:pt x="3248" y="4396"/>
                  </a:lnTo>
                  <a:lnTo>
                    <a:pt x="3444" y="4250"/>
                  </a:lnTo>
                  <a:lnTo>
                    <a:pt x="3663" y="4128"/>
                  </a:lnTo>
                  <a:lnTo>
                    <a:pt x="3883" y="4030"/>
                  </a:lnTo>
                  <a:lnTo>
                    <a:pt x="4103" y="3932"/>
                  </a:lnTo>
                  <a:lnTo>
                    <a:pt x="4347" y="3859"/>
                  </a:lnTo>
                  <a:lnTo>
                    <a:pt x="4616" y="3810"/>
                  </a:lnTo>
                  <a:close/>
                  <a:moveTo>
                    <a:pt x="6374" y="0"/>
                  </a:moveTo>
                  <a:lnTo>
                    <a:pt x="6008" y="293"/>
                  </a:lnTo>
                  <a:lnTo>
                    <a:pt x="6301" y="953"/>
                  </a:lnTo>
                  <a:lnTo>
                    <a:pt x="7083" y="2687"/>
                  </a:lnTo>
                  <a:lnTo>
                    <a:pt x="6619" y="2662"/>
                  </a:lnTo>
                  <a:lnTo>
                    <a:pt x="6179" y="2638"/>
                  </a:lnTo>
                  <a:lnTo>
                    <a:pt x="5373" y="2516"/>
                  </a:lnTo>
                  <a:lnTo>
                    <a:pt x="4592" y="2516"/>
                  </a:lnTo>
                  <a:lnTo>
                    <a:pt x="4421" y="2540"/>
                  </a:lnTo>
                  <a:lnTo>
                    <a:pt x="4225" y="2589"/>
                  </a:lnTo>
                  <a:lnTo>
                    <a:pt x="4030" y="2662"/>
                  </a:lnTo>
                  <a:lnTo>
                    <a:pt x="3834" y="2735"/>
                  </a:lnTo>
                  <a:lnTo>
                    <a:pt x="3419" y="2955"/>
                  </a:lnTo>
                  <a:lnTo>
                    <a:pt x="3004" y="3175"/>
                  </a:lnTo>
                  <a:lnTo>
                    <a:pt x="2638" y="3444"/>
                  </a:lnTo>
                  <a:lnTo>
                    <a:pt x="2271" y="3712"/>
                  </a:lnTo>
                  <a:lnTo>
                    <a:pt x="1929" y="4030"/>
                  </a:lnTo>
                  <a:lnTo>
                    <a:pt x="1612" y="4347"/>
                  </a:lnTo>
                  <a:lnTo>
                    <a:pt x="1319" y="4689"/>
                  </a:lnTo>
                  <a:lnTo>
                    <a:pt x="1075" y="5056"/>
                  </a:lnTo>
                  <a:lnTo>
                    <a:pt x="830" y="5446"/>
                  </a:lnTo>
                  <a:lnTo>
                    <a:pt x="611" y="5862"/>
                  </a:lnTo>
                  <a:lnTo>
                    <a:pt x="440" y="6301"/>
                  </a:lnTo>
                  <a:lnTo>
                    <a:pt x="293" y="6741"/>
                  </a:lnTo>
                  <a:lnTo>
                    <a:pt x="171" y="7205"/>
                  </a:lnTo>
                  <a:lnTo>
                    <a:pt x="73" y="7693"/>
                  </a:lnTo>
                  <a:lnTo>
                    <a:pt x="24" y="8206"/>
                  </a:lnTo>
                  <a:lnTo>
                    <a:pt x="0" y="8719"/>
                  </a:lnTo>
                  <a:lnTo>
                    <a:pt x="24" y="9256"/>
                  </a:lnTo>
                  <a:lnTo>
                    <a:pt x="73" y="9794"/>
                  </a:lnTo>
                  <a:lnTo>
                    <a:pt x="171" y="10307"/>
                  </a:lnTo>
                  <a:lnTo>
                    <a:pt x="293" y="10795"/>
                  </a:lnTo>
                  <a:lnTo>
                    <a:pt x="464" y="11308"/>
                  </a:lnTo>
                  <a:lnTo>
                    <a:pt x="659" y="11772"/>
                  </a:lnTo>
                  <a:lnTo>
                    <a:pt x="879" y="12236"/>
                  </a:lnTo>
                  <a:lnTo>
                    <a:pt x="1123" y="12676"/>
                  </a:lnTo>
                  <a:lnTo>
                    <a:pt x="1392" y="13091"/>
                  </a:lnTo>
                  <a:lnTo>
                    <a:pt x="1710" y="13506"/>
                  </a:lnTo>
                  <a:lnTo>
                    <a:pt x="2027" y="13872"/>
                  </a:lnTo>
                  <a:lnTo>
                    <a:pt x="2393" y="14239"/>
                  </a:lnTo>
                  <a:lnTo>
                    <a:pt x="2760" y="14581"/>
                  </a:lnTo>
                  <a:lnTo>
                    <a:pt x="3151" y="14874"/>
                  </a:lnTo>
                  <a:lnTo>
                    <a:pt x="3590" y="15167"/>
                  </a:lnTo>
                  <a:lnTo>
                    <a:pt x="4030" y="15411"/>
                  </a:lnTo>
                  <a:lnTo>
                    <a:pt x="4225" y="15509"/>
                  </a:lnTo>
                  <a:lnTo>
                    <a:pt x="4421" y="15582"/>
                  </a:lnTo>
                  <a:lnTo>
                    <a:pt x="4640" y="15631"/>
                  </a:lnTo>
                  <a:lnTo>
                    <a:pt x="5275" y="15631"/>
                  </a:lnTo>
                  <a:lnTo>
                    <a:pt x="5739" y="15558"/>
                  </a:lnTo>
                  <a:lnTo>
                    <a:pt x="6668" y="15362"/>
                  </a:lnTo>
                  <a:lnTo>
                    <a:pt x="7132" y="15289"/>
                  </a:lnTo>
                  <a:lnTo>
                    <a:pt x="7376" y="15264"/>
                  </a:lnTo>
                  <a:lnTo>
                    <a:pt x="7864" y="15264"/>
                  </a:lnTo>
                  <a:lnTo>
                    <a:pt x="8108" y="15289"/>
                  </a:lnTo>
                  <a:lnTo>
                    <a:pt x="8597" y="15362"/>
                  </a:lnTo>
                  <a:lnTo>
                    <a:pt x="9549" y="15558"/>
                  </a:lnTo>
                  <a:lnTo>
                    <a:pt x="9989" y="15606"/>
                  </a:lnTo>
                  <a:lnTo>
                    <a:pt x="10209" y="15631"/>
                  </a:lnTo>
                  <a:lnTo>
                    <a:pt x="10429" y="15631"/>
                  </a:lnTo>
                  <a:lnTo>
                    <a:pt x="10648" y="15606"/>
                  </a:lnTo>
                  <a:lnTo>
                    <a:pt x="10868" y="15558"/>
                  </a:lnTo>
                  <a:lnTo>
                    <a:pt x="11064" y="15484"/>
                  </a:lnTo>
                  <a:lnTo>
                    <a:pt x="11283" y="15387"/>
                  </a:lnTo>
                  <a:lnTo>
                    <a:pt x="11723" y="15142"/>
                  </a:lnTo>
                  <a:lnTo>
                    <a:pt x="12114" y="14849"/>
                  </a:lnTo>
                  <a:lnTo>
                    <a:pt x="12529" y="14532"/>
                  </a:lnTo>
                  <a:lnTo>
                    <a:pt x="12895" y="14214"/>
                  </a:lnTo>
                  <a:lnTo>
                    <a:pt x="13237" y="13848"/>
                  </a:lnTo>
                  <a:lnTo>
                    <a:pt x="13555" y="13457"/>
                  </a:lnTo>
                  <a:lnTo>
                    <a:pt x="13872" y="13066"/>
                  </a:lnTo>
                  <a:lnTo>
                    <a:pt x="14141" y="12651"/>
                  </a:lnTo>
                  <a:lnTo>
                    <a:pt x="14385" y="12212"/>
                  </a:lnTo>
                  <a:lnTo>
                    <a:pt x="14605" y="11748"/>
                  </a:lnTo>
                  <a:lnTo>
                    <a:pt x="14800" y="11283"/>
                  </a:lnTo>
                  <a:lnTo>
                    <a:pt x="14947" y="10795"/>
                  </a:lnTo>
                  <a:lnTo>
                    <a:pt x="15069" y="10282"/>
                  </a:lnTo>
                  <a:lnTo>
                    <a:pt x="15167" y="9769"/>
                  </a:lnTo>
                  <a:lnTo>
                    <a:pt x="15216" y="9256"/>
                  </a:lnTo>
                  <a:lnTo>
                    <a:pt x="15240" y="8719"/>
                  </a:lnTo>
                  <a:lnTo>
                    <a:pt x="15216" y="8182"/>
                  </a:lnTo>
                  <a:lnTo>
                    <a:pt x="15167" y="7669"/>
                  </a:lnTo>
                  <a:lnTo>
                    <a:pt x="15069" y="7180"/>
                  </a:lnTo>
                  <a:lnTo>
                    <a:pt x="14947" y="6692"/>
                  </a:lnTo>
                  <a:lnTo>
                    <a:pt x="14776" y="6252"/>
                  </a:lnTo>
                  <a:lnTo>
                    <a:pt x="14605" y="5813"/>
                  </a:lnTo>
                  <a:lnTo>
                    <a:pt x="14385" y="5398"/>
                  </a:lnTo>
                  <a:lnTo>
                    <a:pt x="14141" y="5007"/>
                  </a:lnTo>
                  <a:lnTo>
                    <a:pt x="13848" y="4616"/>
                  </a:lnTo>
                  <a:lnTo>
                    <a:pt x="13555" y="4274"/>
                  </a:lnTo>
                  <a:lnTo>
                    <a:pt x="13213" y="3957"/>
                  </a:lnTo>
                  <a:lnTo>
                    <a:pt x="12871" y="3639"/>
                  </a:lnTo>
                  <a:lnTo>
                    <a:pt x="12505" y="3370"/>
                  </a:lnTo>
                  <a:lnTo>
                    <a:pt x="12089" y="3102"/>
                  </a:lnTo>
                  <a:lnTo>
                    <a:pt x="11674" y="2858"/>
                  </a:lnTo>
                  <a:lnTo>
                    <a:pt x="11259" y="2662"/>
                  </a:lnTo>
                  <a:lnTo>
                    <a:pt x="11064" y="2589"/>
                  </a:lnTo>
                  <a:lnTo>
                    <a:pt x="10893" y="2540"/>
                  </a:lnTo>
                  <a:lnTo>
                    <a:pt x="10697" y="2516"/>
                  </a:lnTo>
                  <a:lnTo>
                    <a:pt x="10526" y="2491"/>
                  </a:lnTo>
                  <a:lnTo>
                    <a:pt x="10111" y="2491"/>
                  </a:lnTo>
                  <a:lnTo>
                    <a:pt x="9696" y="2516"/>
                  </a:lnTo>
                  <a:lnTo>
                    <a:pt x="8841" y="2613"/>
                  </a:lnTo>
                  <a:lnTo>
                    <a:pt x="8426" y="2662"/>
                  </a:lnTo>
                  <a:lnTo>
                    <a:pt x="7986" y="2687"/>
                  </a:lnTo>
                  <a:lnTo>
                    <a:pt x="6374"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60" name="Shape 589"/>
          <p:cNvGrpSpPr/>
          <p:nvPr/>
        </p:nvGrpSpPr>
        <p:grpSpPr>
          <a:xfrm>
            <a:off x="6257593" y="5332731"/>
            <a:ext cx="412172" cy="395373"/>
            <a:chOff x="5241175" y="4959100"/>
            <a:chExt cx="539775" cy="517775"/>
          </a:xfrm>
        </p:grpSpPr>
        <p:sp>
          <p:nvSpPr>
            <p:cNvPr id="261" name="Shape 590"/>
            <p:cNvSpPr/>
            <p:nvPr/>
          </p:nvSpPr>
          <p:spPr>
            <a:xfrm>
              <a:off x="5575150" y="4959100"/>
              <a:ext cx="161225" cy="178300"/>
            </a:xfrm>
            <a:custGeom>
              <a:avLst/>
              <a:gdLst/>
              <a:ahLst/>
              <a:cxnLst/>
              <a:rect l="0" t="0" r="0" b="0"/>
              <a:pathLst>
                <a:path w="6449" h="7132" extrusionOk="0">
                  <a:moveTo>
                    <a:pt x="4641" y="0"/>
                  </a:moveTo>
                  <a:lnTo>
                    <a:pt x="4470" y="25"/>
                  </a:lnTo>
                  <a:lnTo>
                    <a:pt x="4299" y="49"/>
                  </a:lnTo>
                  <a:lnTo>
                    <a:pt x="4128" y="98"/>
                  </a:lnTo>
                  <a:lnTo>
                    <a:pt x="3957" y="147"/>
                  </a:lnTo>
                  <a:lnTo>
                    <a:pt x="3786" y="220"/>
                  </a:lnTo>
                  <a:lnTo>
                    <a:pt x="3640" y="318"/>
                  </a:lnTo>
                  <a:lnTo>
                    <a:pt x="3517" y="415"/>
                  </a:lnTo>
                  <a:lnTo>
                    <a:pt x="3395" y="538"/>
                  </a:lnTo>
                  <a:lnTo>
                    <a:pt x="3273" y="660"/>
                  </a:lnTo>
                  <a:lnTo>
                    <a:pt x="3175" y="806"/>
                  </a:lnTo>
                  <a:lnTo>
                    <a:pt x="3078" y="953"/>
                  </a:lnTo>
                  <a:lnTo>
                    <a:pt x="3005" y="1099"/>
                  </a:lnTo>
                  <a:lnTo>
                    <a:pt x="2931" y="1270"/>
                  </a:lnTo>
                  <a:lnTo>
                    <a:pt x="2907" y="1441"/>
                  </a:lnTo>
                  <a:lnTo>
                    <a:pt x="2882" y="1612"/>
                  </a:lnTo>
                  <a:lnTo>
                    <a:pt x="2858" y="1808"/>
                  </a:lnTo>
                  <a:lnTo>
                    <a:pt x="2882" y="2076"/>
                  </a:lnTo>
                  <a:lnTo>
                    <a:pt x="2956" y="2345"/>
                  </a:lnTo>
                  <a:lnTo>
                    <a:pt x="3053" y="2589"/>
                  </a:lnTo>
                  <a:lnTo>
                    <a:pt x="3175" y="2809"/>
                  </a:lnTo>
                  <a:lnTo>
                    <a:pt x="0" y="6546"/>
                  </a:lnTo>
                  <a:lnTo>
                    <a:pt x="367" y="6814"/>
                  </a:lnTo>
                  <a:lnTo>
                    <a:pt x="709" y="7132"/>
                  </a:lnTo>
                  <a:lnTo>
                    <a:pt x="3884" y="3419"/>
                  </a:lnTo>
                  <a:lnTo>
                    <a:pt x="4055" y="3493"/>
                  </a:lnTo>
                  <a:lnTo>
                    <a:pt x="4250" y="3542"/>
                  </a:lnTo>
                  <a:lnTo>
                    <a:pt x="4445" y="3566"/>
                  </a:lnTo>
                  <a:lnTo>
                    <a:pt x="4641" y="3590"/>
                  </a:lnTo>
                  <a:lnTo>
                    <a:pt x="4836" y="3566"/>
                  </a:lnTo>
                  <a:lnTo>
                    <a:pt x="5007" y="3542"/>
                  </a:lnTo>
                  <a:lnTo>
                    <a:pt x="5178" y="3517"/>
                  </a:lnTo>
                  <a:lnTo>
                    <a:pt x="5349" y="3444"/>
                  </a:lnTo>
                  <a:lnTo>
                    <a:pt x="5496" y="3371"/>
                  </a:lnTo>
                  <a:lnTo>
                    <a:pt x="5642" y="3273"/>
                  </a:lnTo>
                  <a:lnTo>
                    <a:pt x="5789" y="3175"/>
                  </a:lnTo>
                  <a:lnTo>
                    <a:pt x="5911" y="3053"/>
                  </a:lnTo>
                  <a:lnTo>
                    <a:pt x="6033" y="2931"/>
                  </a:lnTo>
                  <a:lnTo>
                    <a:pt x="6131" y="2809"/>
                  </a:lnTo>
                  <a:lnTo>
                    <a:pt x="6228" y="2638"/>
                  </a:lnTo>
                  <a:lnTo>
                    <a:pt x="6302" y="2491"/>
                  </a:lnTo>
                  <a:lnTo>
                    <a:pt x="6350" y="2320"/>
                  </a:lnTo>
                  <a:lnTo>
                    <a:pt x="6399" y="2149"/>
                  </a:lnTo>
                  <a:lnTo>
                    <a:pt x="6424" y="1979"/>
                  </a:lnTo>
                  <a:lnTo>
                    <a:pt x="6448" y="1808"/>
                  </a:lnTo>
                  <a:lnTo>
                    <a:pt x="6424" y="1612"/>
                  </a:lnTo>
                  <a:lnTo>
                    <a:pt x="6399" y="1441"/>
                  </a:lnTo>
                  <a:lnTo>
                    <a:pt x="6350" y="1270"/>
                  </a:lnTo>
                  <a:lnTo>
                    <a:pt x="6302" y="1099"/>
                  </a:lnTo>
                  <a:lnTo>
                    <a:pt x="6228" y="953"/>
                  </a:lnTo>
                  <a:lnTo>
                    <a:pt x="6131" y="806"/>
                  </a:lnTo>
                  <a:lnTo>
                    <a:pt x="6033" y="660"/>
                  </a:lnTo>
                  <a:lnTo>
                    <a:pt x="5911" y="538"/>
                  </a:lnTo>
                  <a:lnTo>
                    <a:pt x="5789" y="415"/>
                  </a:lnTo>
                  <a:lnTo>
                    <a:pt x="5642" y="318"/>
                  </a:lnTo>
                  <a:lnTo>
                    <a:pt x="5496" y="220"/>
                  </a:lnTo>
                  <a:lnTo>
                    <a:pt x="5349" y="147"/>
                  </a:lnTo>
                  <a:lnTo>
                    <a:pt x="5178" y="98"/>
                  </a:lnTo>
                  <a:lnTo>
                    <a:pt x="5007" y="49"/>
                  </a:lnTo>
                  <a:lnTo>
                    <a:pt x="4836" y="25"/>
                  </a:lnTo>
                  <a:lnTo>
                    <a:pt x="464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62" name="Shape 591"/>
            <p:cNvSpPr/>
            <p:nvPr/>
          </p:nvSpPr>
          <p:spPr>
            <a:xfrm>
              <a:off x="5330925" y="4985350"/>
              <a:ext cx="128250" cy="148400"/>
            </a:xfrm>
            <a:custGeom>
              <a:avLst/>
              <a:gdLst/>
              <a:ahLst/>
              <a:cxnLst/>
              <a:rect l="0" t="0" r="0" b="0"/>
              <a:pathLst>
                <a:path w="5130" h="5936" extrusionOk="0">
                  <a:moveTo>
                    <a:pt x="1563" y="0"/>
                  </a:moveTo>
                  <a:lnTo>
                    <a:pt x="1392" y="25"/>
                  </a:lnTo>
                  <a:lnTo>
                    <a:pt x="1221" y="74"/>
                  </a:lnTo>
                  <a:lnTo>
                    <a:pt x="1075" y="147"/>
                  </a:lnTo>
                  <a:lnTo>
                    <a:pt x="904" y="220"/>
                  </a:lnTo>
                  <a:lnTo>
                    <a:pt x="757" y="318"/>
                  </a:lnTo>
                  <a:lnTo>
                    <a:pt x="635" y="416"/>
                  </a:lnTo>
                  <a:lnTo>
                    <a:pt x="513" y="538"/>
                  </a:lnTo>
                  <a:lnTo>
                    <a:pt x="391" y="660"/>
                  </a:lnTo>
                  <a:lnTo>
                    <a:pt x="293" y="806"/>
                  </a:lnTo>
                  <a:lnTo>
                    <a:pt x="196" y="953"/>
                  </a:lnTo>
                  <a:lnTo>
                    <a:pt x="122" y="1099"/>
                  </a:lnTo>
                  <a:lnTo>
                    <a:pt x="74" y="1270"/>
                  </a:lnTo>
                  <a:lnTo>
                    <a:pt x="25" y="1466"/>
                  </a:lnTo>
                  <a:lnTo>
                    <a:pt x="0" y="1637"/>
                  </a:lnTo>
                  <a:lnTo>
                    <a:pt x="0" y="1808"/>
                  </a:lnTo>
                  <a:lnTo>
                    <a:pt x="0" y="2003"/>
                  </a:lnTo>
                  <a:lnTo>
                    <a:pt x="25" y="2174"/>
                  </a:lnTo>
                  <a:lnTo>
                    <a:pt x="74" y="2345"/>
                  </a:lnTo>
                  <a:lnTo>
                    <a:pt x="147" y="2492"/>
                  </a:lnTo>
                  <a:lnTo>
                    <a:pt x="220" y="2663"/>
                  </a:lnTo>
                  <a:lnTo>
                    <a:pt x="318" y="2785"/>
                  </a:lnTo>
                  <a:lnTo>
                    <a:pt x="415" y="2931"/>
                  </a:lnTo>
                  <a:lnTo>
                    <a:pt x="538" y="3053"/>
                  </a:lnTo>
                  <a:lnTo>
                    <a:pt x="660" y="3175"/>
                  </a:lnTo>
                  <a:lnTo>
                    <a:pt x="806" y="3273"/>
                  </a:lnTo>
                  <a:lnTo>
                    <a:pt x="953" y="3371"/>
                  </a:lnTo>
                  <a:lnTo>
                    <a:pt x="1099" y="3444"/>
                  </a:lnTo>
                  <a:lnTo>
                    <a:pt x="1270" y="3493"/>
                  </a:lnTo>
                  <a:lnTo>
                    <a:pt x="1466" y="3542"/>
                  </a:lnTo>
                  <a:lnTo>
                    <a:pt x="1710" y="3566"/>
                  </a:lnTo>
                  <a:lnTo>
                    <a:pt x="1979" y="3566"/>
                  </a:lnTo>
                  <a:lnTo>
                    <a:pt x="2223" y="3517"/>
                  </a:lnTo>
                  <a:lnTo>
                    <a:pt x="2467" y="3444"/>
                  </a:lnTo>
                  <a:lnTo>
                    <a:pt x="4396" y="5935"/>
                  </a:lnTo>
                  <a:lnTo>
                    <a:pt x="4738" y="5642"/>
                  </a:lnTo>
                  <a:lnTo>
                    <a:pt x="5129" y="5374"/>
                  </a:lnTo>
                  <a:lnTo>
                    <a:pt x="3200" y="2858"/>
                  </a:lnTo>
                  <a:lnTo>
                    <a:pt x="3322" y="2687"/>
                  </a:lnTo>
                  <a:lnTo>
                    <a:pt x="3419" y="2516"/>
                  </a:lnTo>
                  <a:lnTo>
                    <a:pt x="3493" y="2321"/>
                  </a:lnTo>
                  <a:lnTo>
                    <a:pt x="3542" y="2101"/>
                  </a:lnTo>
                  <a:lnTo>
                    <a:pt x="3566" y="1930"/>
                  </a:lnTo>
                  <a:lnTo>
                    <a:pt x="3566" y="1734"/>
                  </a:lnTo>
                  <a:lnTo>
                    <a:pt x="3566" y="1564"/>
                  </a:lnTo>
                  <a:lnTo>
                    <a:pt x="3517" y="1393"/>
                  </a:lnTo>
                  <a:lnTo>
                    <a:pt x="3468" y="1222"/>
                  </a:lnTo>
                  <a:lnTo>
                    <a:pt x="3419" y="1075"/>
                  </a:lnTo>
                  <a:lnTo>
                    <a:pt x="3346" y="904"/>
                  </a:lnTo>
                  <a:lnTo>
                    <a:pt x="3249" y="758"/>
                  </a:lnTo>
                  <a:lnTo>
                    <a:pt x="3151" y="635"/>
                  </a:lnTo>
                  <a:lnTo>
                    <a:pt x="3029" y="513"/>
                  </a:lnTo>
                  <a:lnTo>
                    <a:pt x="2907" y="391"/>
                  </a:lnTo>
                  <a:lnTo>
                    <a:pt x="2760" y="294"/>
                  </a:lnTo>
                  <a:lnTo>
                    <a:pt x="2614" y="196"/>
                  </a:lnTo>
                  <a:lnTo>
                    <a:pt x="2443" y="123"/>
                  </a:lnTo>
                  <a:lnTo>
                    <a:pt x="2272" y="74"/>
                  </a:lnTo>
                  <a:lnTo>
                    <a:pt x="2101" y="25"/>
                  </a:lnTo>
                  <a:lnTo>
                    <a:pt x="1930"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63" name="Shape 592"/>
            <p:cNvSpPr/>
            <p:nvPr/>
          </p:nvSpPr>
          <p:spPr>
            <a:xfrm>
              <a:off x="5241175" y="5241175"/>
              <a:ext cx="180125" cy="109325"/>
            </a:xfrm>
            <a:custGeom>
              <a:avLst/>
              <a:gdLst/>
              <a:ahLst/>
              <a:cxnLst/>
              <a:rect l="0" t="0" r="0" b="0"/>
              <a:pathLst>
                <a:path w="7205" h="4373" extrusionOk="0">
                  <a:moveTo>
                    <a:pt x="6839" y="1"/>
                  </a:moveTo>
                  <a:lnTo>
                    <a:pt x="3224" y="1491"/>
                  </a:lnTo>
                  <a:lnTo>
                    <a:pt x="3102" y="1368"/>
                  </a:lnTo>
                  <a:lnTo>
                    <a:pt x="2980" y="1246"/>
                  </a:lnTo>
                  <a:lnTo>
                    <a:pt x="2858" y="1124"/>
                  </a:lnTo>
                  <a:lnTo>
                    <a:pt x="2687" y="1026"/>
                  </a:lnTo>
                  <a:lnTo>
                    <a:pt x="2540" y="953"/>
                  </a:lnTo>
                  <a:lnTo>
                    <a:pt x="2369" y="880"/>
                  </a:lnTo>
                  <a:lnTo>
                    <a:pt x="2198" y="831"/>
                  </a:lnTo>
                  <a:lnTo>
                    <a:pt x="2027" y="807"/>
                  </a:lnTo>
                  <a:lnTo>
                    <a:pt x="1856" y="782"/>
                  </a:lnTo>
                  <a:lnTo>
                    <a:pt x="1685" y="807"/>
                  </a:lnTo>
                  <a:lnTo>
                    <a:pt x="1514" y="807"/>
                  </a:lnTo>
                  <a:lnTo>
                    <a:pt x="1343" y="856"/>
                  </a:lnTo>
                  <a:lnTo>
                    <a:pt x="1172" y="904"/>
                  </a:lnTo>
                  <a:lnTo>
                    <a:pt x="1026" y="978"/>
                  </a:lnTo>
                  <a:lnTo>
                    <a:pt x="879" y="1051"/>
                  </a:lnTo>
                  <a:lnTo>
                    <a:pt x="733" y="1149"/>
                  </a:lnTo>
                  <a:lnTo>
                    <a:pt x="586" y="1271"/>
                  </a:lnTo>
                  <a:lnTo>
                    <a:pt x="464" y="1393"/>
                  </a:lnTo>
                  <a:lnTo>
                    <a:pt x="342" y="1515"/>
                  </a:lnTo>
                  <a:lnTo>
                    <a:pt x="244" y="1686"/>
                  </a:lnTo>
                  <a:lnTo>
                    <a:pt x="171" y="1832"/>
                  </a:lnTo>
                  <a:lnTo>
                    <a:pt x="98" y="2003"/>
                  </a:lnTo>
                  <a:lnTo>
                    <a:pt x="49" y="2174"/>
                  </a:lnTo>
                  <a:lnTo>
                    <a:pt x="25" y="2345"/>
                  </a:lnTo>
                  <a:lnTo>
                    <a:pt x="0" y="2516"/>
                  </a:lnTo>
                  <a:lnTo>
                    <a:pt x="0" y="2687"/>
                  </a:lnTo>
                  <a:lnTo>
                    <a:pt x="25" y="2858"/>
                  </a:lnTo>
                  <a:lnTo>
                    <a:pt x="73" y="3029"/>
                  </a:lnTo>
                  <a:lnTo>
                    <a:pt x="122" y="3200"/>
                  </a:lnTo>
                  <a:lnTo>
                    <a:pt x="195" y="3347"/>
                  </a:lnTo>
                  <a:lnTo>
                    <a:pt x="269" y="3518"/>
                  </a:lnTo>
                  <a:lnTo>
                    <a:pt x="366" y="3640"/>
                  </a:lnTo>
                  <a:lnTo>
                    <a:pt x="464" y="3786"/>
                  </a:lnTo>
                  <a:lnTo>
                    <a:pt x="611" y="3908"/>
                  </a:lnTo>
                  <a:lnTo>
                    <a:pt x="733" y="4031"/>
                  </a:lnTo>
                  <a:lnTo>
                    <a:pt x="904" y="4128"/>
                  </a:lnTo>
                  <a:lnTo>
                    <a:pt x="1050" y="4201"/>
                  </a:lnTo>
                  <a:lnTo>
                    <a:pt x="1221" y="4275"/>
                  </a:lnTo>
                  <a:lnTo>
                    <a:pt x="1392" y="4324"/>
                  </a:lnTo>
                  <a:lnTo>
                    <a:pt x="1563" y="4348"/>
                  </a:lnTo>
                  <a:lnTo>
                    <a:pt x="1734" y="4372"/>
                  </a:lnTo>
                  <a:lnTo>
                    <a:pt x="1905" y="4372"/>
                  </a:lnTo>
                  <a:lnTo>
                    <a:pt x="2076" y="4348"/>
                  </a:lnTo>
                  <a:lnTo>
                    <a:pt x="2247" y="4299"/>
                  </a:lnTo>
                  <a:lnTo>
                    <a:pt x="2418" y="4250"/>
                  </a:lnTo>
                  <a:lnTo>
                    <a:pt x="2565" y="4201"/>
                  </a:lnTo>
                  <a:lnTo>
                    <a:pt x="2711" y="4104"/>
                  </a:lnTo>
                  <a:lnTo>
                    <a:pt x="2858" y="4006"/>
                  </a:lnTo>
                  <a:lnTo>
                    <a:pt x="3004" y="3908"/>
                  </a:lnTo>
                  <a:lnTo>
                    <a:pt x="3126" y="3786"/>
                  </a:lnTo>
                  <a:lnTo>
                    <a:pt x="3248" y="3640"/>
                  </a:lnTo>
                  <a:lnTo>
                    <a:pt x="3346" y="3493"/>
                  </a:lnTo>
                  <a:lnTo>
                    <a:pt x="3468" y="3200"/>
                  </a:lnTo>
                  <a:lnTo>
                    <a:pt x="3541" y="2931"/>
                  </a:lnTo>
                  <a:lnTo>
                    <a:pt x="3590" y="2638"/>
                  </a:lnTo>
                  <a:lnTo>
                    <a:pt x="3566" y="2345"/>
                  </a:lnTo>
                  <a:lnTo>
                    <a:pt x="7205" y="856"/>
                  </a:lnTo>
                  <a:lnTo>
                    <a:pt x="6985" y="440"/>
                  </a:lnTo>
                  <a:lnTo>
                    <a:pt x="6839"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64" name="Shape 593"/>
            <p:cNvSpPr/>
            <p:nvPr/>
          </p:nvSpPr>
          <p:spPr>
            <a:xfrm>
              <a:off x="5461575" y="5316900"/>
              <a:ext cx="89175" cy="159975"/>
            </a:xfrm>
            <a:custGeom>
              <a:avLst/>
              <a:gdLst/>
              <a:ahLst/>
              <a:cxnLst/>
              <a:rect l="0" t="0" r="0" b="0"/>
              <a:pathLst>
                <a:path w="3567" h="6399" extrusionOk="0">
                  <a:moveTo>
                    <a:pt x="1491" y="0"/>
                  </a:moveTo>
                  <a:lnTo>
                    <a:pt x="1393" y="2858"/>
                  </a:lnTo>
                  <a:lnTo>
                    <a:pt x="1198" y="2907"/>
                  </a:lnTo>
                  <a:lnTo>
                    <a:pt x="1002" y="3004"/>
                  </a:lnTo>
                  <a:lnTo>
                    <a:pt x="807" y="3102"/>
                  </a:lnTo>
                  <a:lnTo>
                    <a:pt x="636" y="3224"/>
                  </a:lnTo>
                  <a:lnTo>
                    <a:pt x="489" y="3346"/>
                  </a:lnTo>
                  <a:lnTo>
                    <a:pt x="392" y="3493"/>
                  </a:lnTo>
                  <a:lnTo>
                    <a:pt x="269" y="3639"/>
                  </a:lnTo>
                  <a:lnTo>
                    <a:pt x="196" y="3786"/>
                  </a:lnTo>
                  <a:lnTo>
                    <a:pt x="123" y="3932"/>
                  </a:lnTo>
                  <a:lnTo>
                    <a:pt x="74" y="4103"/>
                  </a:lnTo>
                  <a:lnTo>
                    <a:pt x="25" y="4274"/>
                  </a:lnTo>
                  <a:lnTo>
                    <a:pt x="1" y="4445"/>
                  </a:lnTo>
                  <a:lnTo>
                    <a:pt x="1" y="4616"/>
                  </a:lnTo>
                  <a:lnTo>
                    <a:pt x="1" y="4787"/>
                  </a:lnTo>
                  <a:lnTo>
                    <a:pt x="25" y="4958"/>
                  </a:lnTo>
                  <a:lnTo>
                    <a:pt x="74" y="5129"/>
                  </a:lnTo>
                  <a:lnTo>
                    <a:pt x="123" y="5276"/>
                  </a:lnTo>
                  <a:lnTo>
                    <a:pt x="196" y="5447"/>
                  </a:lnTo>
                  <a:lnTo>
                    <a:pt x="294" y="5593"/>
                  </a:lnTo>
                  <a:lnTo>
                    <a:pt x="416" y="5740"/>
                  </a:lnTo>
                  <a:lnTo>
                    <a:pt x="538" y="5886"/>
                  </a:lnTo>
                  <a:lnTo>
                    <a:pt x="660" y="6008"/>
                  </a:lnTo>
                  <a:lnTo>
                    <a:pt x="807" y="6106"/>
                  </a:lnTo>
                  <a:lnTo>
                    <a:pt x="953" y="6179"/>
                  </a:lnTo>
                  <a:lnTo>
                    <a:pt x="1124" y="6252"/>
                  </a:lnTo>
                  <a:lnTo>
                    <a:pt x="1271" y="6326"/>
                  </a:lnTo>
                  <a:lnTo>
                    <a:pt x="1442" y="6350"/>
                  </a:lnTo>
                  <a:lnTo>
                    <a:pt x="1613" y="6375"/>
                  </a:lnTo>
                  <a:lnTo>
                    <a:pt x="1784" y="6399"/>
                  </a:lnTo>
                  <a:lnTo>
                    <a:pt x="1955" y="6375"/>
                  </a:lnTo>
                  <a:lnTo>
                    <a:pt x="2126" y="6350"/>
                  </a:lnTo>
                  <a:lnTo>
                    <a:pt x="2297" y="6301"/>
                  </a:lnTo>
                  <a:lnTo>
                    <a:pt x="2468" y="6252"/>
                  </a:lnTo>
                  <a:lnTo>
                    <a:pt x="2614" y="6179"/>
                  </a:lnTo>
                  <a:lnTo>
                    <a:pt x="2785" y="6082"/>
                  </a:lnTo>
                  <a:lnTo>
                    <a:pt x="2932" y="5984"/>
                  </a:lnTo>
                  <a:lnTo>
                    <a:pt x="3054" y="5862"/>
                  </a:lnTo>
                  <a:lnTo>
                    <a:pt x="3176" y="5715"/>
                  </a:lnTo>
                  <a:lnTo>
                    <a:pt x="3273" y="5569"/>
                  </a:lnTo>
                  <a:lnTo>
                    <a:pt x="3371" y="5422"/>
                  </a:lnTo>
                  <a:lnTo>
                    <a:pt x="3444" y="5276"/>
                  </a:lnTo>
                  <a:lnTo>
                    <a:pt x="3493" y="5105"/>
                  </a:lnTo>
                  <a:lnTo>
                    <a:pt x="3542" y="4934"/>
                  </a:lnTo>
                  <a:lnTo>
                    <a:pt x="3567" y="4763"/>
                  </a:lnTo>
                  <a:lnTo>
                    <a:pt x="3567" y="4592"/>
                  </a:lnTo>
                  <a:lnTo>
                    <a:pt x="3567" y="4421"/>
                  </a:lnTo>
                  <a:lnTo>
                    <a:pt x="3542" y="4250"/>
                  </a:lnTo>
                  <a:lnTo>
                    <a:pt x="3493" y="4079"/>
                  </a:lnTo>
                  <a:lnTo>
                    <a:pt x="3420" y="3908"/>
                  </a:lnTo>
                  <a:lnTo>
                    <a:pt x="3347" y="3761"/>
                  </a:lnTo>
                  <a:lnTo>
                    <a:pt x="3273" y="3615"/>
                  </a:lnTo>
                  <a:lnTo>
                    <a:pt x="3151" y="3468"/>
                  </a:lnTo>
                  <a:lnTo>
                    <a:pt x="2980" y="3273"/>
                  </a:lnTo>
                  <a:lnTo>
                    <a:pt x="2761" y="3102"/>
                  </a:lnTo>
                  <a:lnTo>
                    <a:pt x="2541" y="2980"/>
                  </a:lnTo>
                  <a:lnTo>
                    <a:pt x="2321" y="2907"/>
                  </a:lnTo>
                  <a:lnTo>
                    <a:pt x="2419" y="25"/>
                  </a:lnTo>
                  <a:lnTo>
                    <a:pt x="2419" y="25"/>
                  </a:lnTo>
                  <a:lnTo>
                    <a:pt x="2126" y="49"/>
                  </a:lnTo>
                  <a:lnTo>
                    <a:pt x="1808" y="25"/>
                  </a:lnTo>
                  <a:lnTo>
                    <a:pt x="149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65" name="Shape 594"/>
            <p:cNvSpPr/>
            <p:nvPr/>
          </p:nvSpPr>
          <p:spPr>
            <a:xfrm>
              <a:off x="5619100" y="5194175"/>
              <a:ext cx="161850" cy="89775"/>
            </a:xfrm>
            <a:custGeom>
              <a:avLst/>
              <a:gdLst/>
              <a:ahLst/>
              <a:cxnLst/>
              <a:rect l="0" t="0" r="0" b="0"/>
              <a:pathLst>
                <a:path w="6474" h="3591" extrusionOk="0">
                  <a:moveTo>
                    <a:pt x="4592" y="0"/>
                  </a:moveTo>
                  <a:lnTo>
                    <a:pt x="4422" y="25"/>
                  </a:lnTo>
                  <a:lnTo>
                    <a:pt x="4251" y="73"/>
                  </a:lnTo>
                  <a:lnTo>
                    <a:pt x="4080" y="122"/>
                  </a:lnTo>
                  <a:lnTo>
                    <a:pt x="3884" y="196"/>
                  </a:lnTo>
                  <a:lnTo>
                    <a:pt x="3713" y="293"/>
                  </a:lnTo>
                  <a:lnTo>
                    <a:pt x="3567" y="391"/>
                  </a:lnTo>
                  <a:lnTo>
                    <a:pt x="3420" y="513"/>
                  </a:lnTo>
                  <a:lnTo>
                    <a:pt x="3298" y="660"/>
                  </a:lnTo>
                  <a:lnTo>
                    <a:pt x="3200" y="806"/>
                  </a:lnTo>
                  <a:lnTo>
                    <a:pt x="3103" y="953"/>
                  </a:lnTo>
                  <a:lnTo>
                    <a:pt x="3029" y="1124"/>
                  </a:lnTo>
                  <a:lnTo>
                    <a:pt x="99" y="757"/>
                  </a:lnTo>
                  <a:lnTo>
                    <a:pt x="74" y="1221"/>
                  </a:lnTo>
                  <a:lnTo>
                    <a:pt x="1" y="1661"/>
                  </a:lnTo>
                  <a:lnTo>
                    <a:pt x="2907" y="2027"/>
                  </a:lnTo>
                  <a:lnTo>
                    <a:pt x="2932" y="2223"/>
                  </a:lnTo>
                  <a:lnTo>
                    <a:pt x="3005" y="2418"/>
                  </a:lnTo>
                  <a:lnTo>
                    <a:pt x="3078" y="2565"/>
                  </a:lnTo>
                  <a:lnTo>
                    <a:pt x="3152" y="2736"/>
                  </a:lnTo>
                  <a:lnTo>
                    <a:pt x="3249" y="2882"/>
                  </a:lnTo>
                  <a:lnTo>
                    <a:pt x="3371" y="3004"/>
                  </a:lnTo>
                  <a:lnTo>
                    <a:pt x="3493" y="3126"/>
                  </a:lnTo>
                  <a:lnTo>
                    <a:pt x="3616" y="3248"/>
                  </a:lnTo>
                  <a:lnTo>
                    <a:pt x="3762" y="3346"/>
                  </a:lnTo>
                  <a:lnTo>
                    <a:pt x="3909" y="3419"/>
                  </a:lnTo>
                  <a:lnTo>
                    <a:pt x="4080" y="3493"/>
                  </a:lnTo>
                  <a:lnTo>
                    <a:pt x="4251" y="3541"/>
                  </a:lnTo>
                  <a:lnTo>
                    <a:pt x="4422" y="3566"/>
                  </a:lnTo>
                  <a:lnTo>
                    <a:pt x="4592" y="3590"/>
                  </a:lnTo>
                  <a:lnTo>
                    <a:pt x="4763" y="3590"/>
                  </a:lnTo>
                  <a:lnTo>
                    <a:pt x="4934" y="3566"/>
                  </a:lnTo>
                  <a:lnTo>
                    <a:pt x="5105" y="3541"/>
                  </a:lnTo>
                  <a:lnTo>
                    <a:pt x="5276" y="3468"/>
                  </a:lnTo>
                  <a:lnTo>
                    <a:pt x="5447" y="3419"/>
                  </a:lnTo>
                  <a:lnTo>
                    <a:pt x="5618" y="3322"/>
                  </a:lnTo>
                  <a:lnTo>
                    <a:pt x="5765" y="3224"/>
                  </a:lnTo>
                  <a:lnTo>
                    <a:pt x="5887" y="3102"/>
                  </a:lnTo>
                  <a:lnTo>
                    <a:pt x="6009" y="2980"/>
                  </a:lnTo>
                  <a:lnTo>
                    <a:pt x="6131" y="2858"/>
                  </a:lnTo>
                  <a:lnTo>
                    <a:pt x="6204" y="2711"/>
                  </a:lnTo>
                  <a:lnTo>
                    <a:pt x="6302" y="2565"/>
                  </a:lnTo>
                  <a:lnTo>
                    <a:pt x="6351" y="2394"/>
                  </a:lnTo>
                  <a:lnTo>
                    <a:pt x="6400" y="2223"/>
                  </a:lnTo>
                  <a:lnTo>
                    <a:pt x="6449" y="2076"/>
                  </a:lnTo>
                  <a:lnTo>
                    <a:pt x="6473" y="1881"/>
                  </a:lnTo>
                  <a:lnTo>
                    <a:pt x="6473" y="1710"/>
                  </a:lnTo>
                  <a:lnTo>
                    <a:pt x="6449" y="1539"/>
                  </a:lnTo>
                  <a:lnTo>
                    <a:pt x="6424" y="1368"/>
                  </a:lnTo>
                  <a:lnTo>
                    <a:pt x="6351" y="1197"/>
                  </a:lnTo>
                  <a:lnTo>
                    <a:pt x="6278" y="1026"/>
                  </a:lnTo>
                  <a:lnTo>
                    <a:pt x="6204" y="855"/>
                  </a:lnTo>
                  <a:lnTo>
                    <a:pt x="6107" y="708"/>
                  </a:lnTo>
                  <a:lnTo>
                    <a:pt x="5985" y="586"/>
                  </a:lnTo>
                  <a:lnTo>
                    <a:pt x="5862" y="464"/>
                  </a:lnTo>
                  <a:lnTo>
                    <a:pt x="5740" y="342"/>
                  </a:lnTo>
                  <a:lnTo>
                    <a:pt x="5594" y="269"/>
                  </a:lnTo>
                  <a:lnTo>
                    <a:pt x="5447" y="171"/>
                  </a:lnTo>
                  <a:lnTo>
                    <a:pt x="5276" y="122"/>
                  </a:lnTo>
                  <a:lnTo>
                    <a:pt x="5105" y="73"/>
                  </a:lnTo>
                  <a:lnTo>
                    <a:pt x="4934" y="25"/>
                  </a:lnTo>
                  <a:lnTo>
                    <a:pt x="4763" y="25"/>
                  </a:lnTo>
                  <a:lnTo>
                    <a:pt x="4592"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66" name="Shape 595"/>
            <p:cNvSpPr/>
            <p:nvPr/>
          </p:nvSpPr>
          <p:spPr>
            <a:xfrm>
              <a:off x="5420075" y="5116000"/>
              <a:ext cx="189300" cy="189925"/>
            </a:xfrm>
            <a:custGeom>
              <a:avLst/>
              <a:gdLst/>
              <a:ahLst/>
              <a:cxnLst/>
              <a:rect l="0" t="0" r="0" b="0"/>
              <a:pathLst>
                <a:path w="7572" h="7597" extrusionOk="0">
                  <a:moveTo>
                    <a:pt x="3786" y="1"/>
                  </a:moveTo>
                  <a:lnTo>
                    <a:pt x="3395" y="25"/>
                  </a:lnTo>
                  <a:lnTo>
                    <a:pt x="3028" y="74"/>
                  </a:lnTo>
                  <a:lnTo>
                    <a:pt x="2662" y="172"/>
                  </a:lnTo>
                  <a:lnTo>
                    <a:pt x="2320" y="294"/>
                  </a:lnTo>
                  <a:lnTo>
                    <a:pt x="1978" y="465"/>
                  </a:lnTo>
                  <a:lnTo>
                    <a:pt x="1661" y="660"/>
                  </a:lnTo>
                  <a:lnTo>
                    <a:pt x="1392" y="880"/>
                  </a:lnTo>
                  <a:lnTo>
                    <a:pt x="1123" y="1124"/>
                  </a:lnTo>
                  <a:lnTo>
                    <a:pt x="879" y="1393"/>
                  </a:lnTo>
                  <a:lnTo>
                    <a:pt x="659" y="1686"/>
                  </a:lnTo>
                  <a:lnTo>
                    <a:pt x="464" y="1979"/>
                  </a:lnTo>
                  <a:lnTo>
                    <a:pt x="293" y="2321"/>
                  </a:lnTo>
                  <a:lnTo>
                    <a:pt x="171" y="2663"/>
                  </a:lnTo>
                  <a:lnTo>
                    <a:pt x="73" y="3029"/>
                  </a:lnTo>
                  <a:lnTo>
                    <a:pt x="24" y="3420"/>
                  </a:lnTo>
                  <a:lnTo>
                    <a:pt x="0" y="3787"/>
                  </a:lnTo>
                  <a:lnTo>
                    <a:pt x="24" y="4177"/>
                  </a:lnTo>
                  <a:lnTo>
                    <a:pt x="73" y="4568"/>
                  </a:lnTo>
                  <a:lnTo>
                    <a:pt x="171" y="4934"/>
                  </a:lnTo>
                  <a:lnTo>
                    <a:pt x="293" y="5276"/>
                  </a:lnTo>
                  <a:lnTo>
                    <a:pt x="464" y="5594"/>
                  </a:lnTo>
                  <a:lnTo>
                    <a:pt x="659" y="5911"/>
                  </a:lnTo>
                  <a:lnTo>
                    <a:pt x="879" y="6204"/>
                  </a:lnTo>
                  <a:lnTo>
                    <a:pt x="1123" y="6473"/>
                  </a:lnTo>
                  <a:lnTo>
                    <a:pt x="1392" y="6717"/>
                  </a:lnTo>
                  <a:lnTo>
                    <a:pt x="1661" y="6937"/>
                  </a:lnTo>
                  <a:lnTo>
                    <a:pt x="1978" y="7133"/>
                  </a:lnTo>
                  <a:lnTo>
                    <a:pt x="2320" y="7279"/>
                  </a:lnTo>
                  <a:lnTo>
                    <a:pt x="2662" y="7426"/>
                  </a:lnTo>
                  <a:lnTo>
                    <a:pt x="3028" y="7499"/>
                  </a:lnTo>
                  <a:lnTo>
                    <a:pt x="3395" y="7572"/>
                  </a:lnTo>
                  <a:lnTo>
                    <a:pt x="3786" y="7597"/>
                  </a:lnTo>
                  <a:lnTo>
                    <a:pt x="4176" y="7572"/>
                  </a:lnTo>
                  <a:lnTo>
                    <a:pt x="4567" y="7499"/>
                  </a:lnTo>
                  <a:lnTo>
                    <a:pt x="4909" y="7426"/>
                  </a:lnTo>
                  <a:lnTo>
                    <a:pt x="5275" y="7279"/>
                  </a:lnTo>
                  <a:lnTo>
                    <a:pt x="5593" y="7133"/>
                  </a:lnTo>
                  <a:lnTo>
                    <a:pt x="5910" y="6937"/>
                  </a:lnTo>
                  <a:lnTo>
                    <a:pt x="6203" y="6717"/>
                  </a:lnTo>
                  <a:lnTo>
                    <a:pt x="6472" y="6473"/>
                  </a:lnTo>
                  <a:lnTo>
                    <a:pt x="6716" y="6204"/>
                  </a:lnTo>
                  <a:lnTo>
                    <a:pt x="6936" y="5911"/>
                  </a:lnTo>
                  <a:lnTo>
                    <a:pt x="7132" y="5594"/>
                  </a:lnTo>
                  <a:lnTo>
                    <a:pt x="7278" y="5276"/>
                  </a:lnTo>
                  <a:lnTo>
                    <a:pt x="7425" y="4934"/>
                  </a:lnTo>
                  <a:lnTo>
                    <a:pt x="7498" y="4568"/>
                  </a:lnTo>
                  <a:lnTo>
                    <a:pt x="7571" y="4177"/>
                  </a:lnTo>
                  <a:lnTo>
                    <a:pt x="7571" y="3787"/>
                  </a:lnTo>
                  <a:lnTo>
                    <a:pt x="7571" y="3420"/>
                  </a:lnTo>
                  <a:lnTo>
                    <a:pt x="7498" y="3029"/>
                  </a:lnTo>
                  <a:lnTo>
                    <a:pt x="7425" y="2663"/>
                  </a:lnTo>
                  <a:lnTo>
                    <a:pt x="7278" y="2321"/>
                  </a:lnTo>
                  <a:lnTo>
                    <a:pt x="7132" y="1979"/>
                  </a:lnTo>
                  <a:lnTo>
                    <a:pt x="6936" y="1686"/>
                  </a:lnTo>
                  <a:lnTo>
                    <a:pt x="6716" y="1393"/>
                  </a:lnTo>
                  <a:lnTo>
                    <a:pt x="6472" y="1124"/>
                  </a:lnTo>
                  <a:lnTo>
                    <a:pt x="6203" y="880"/>
                  </a:lnTo>
                  <a:lnTo>
                    <a:pt x="5910" y="660"/>
                  </a:lnTo>
                  <a:lnTo>
                    <a:pt x="5593" y="465"/>
                  </a:lnTo>
                  <a:lnTo>
                    <a:pt x="5275" y="294"/>
                  </a:lnTo>
                  <a:lnTo>
                    <a:pt x="4909" y="172"/>
                  </a:lnTo>
                  <a:lnTo>
                    <a:pt x="4567" y="74"/>
                  </a:lnTo>
                  <a:lnTo>
                    <a:pt x="4176" y="25"/>
                  </a:lnTo>
                  <a:lnTo>
                    <a:pt x="3786"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67" name="Shape 596"/>
          <p:cNvSpPr/>
          <p:nvPr/>
        </p:nvSpPr>
        <p:spPr>
          <a:xfrm>
            <a:off x="6797474" y="5430550"/>
            <a:ext cx="362748" cy="200502"/>
          </a:xfrm>
          <a:custGeom>
            <a:avLst/>
            <a:gdLst/>
            <a:ahLst/>
            <a:cxnLst/>
            <a:rect l="0" t="0" r="0" b="0"/>
            <a:pathLst>
              <a:path w="19002" h="10503" extrusionOk="0">
                <a:moveTo>
                  <a:pt x="17072" y="1100"/>
                </a:moveTo>
                <a:lnTo>
                  <a:pt x="17145" y="1124"/>
                </a:lnTo>
                <a:lnTo>
                  <a:pt x="17268" y="1197"/>
                </a:lnTo>
                <a:lnTo>
                  <a:pt x="17365" y="1320"/>
                </a:lnTo>
                <a:lnTo>
                  <a:pt x="17390" y="1393"/>
                </a:lnTo>
                <a:lnTo>
                  <a:pt x="17390" y="1490"/>
                </a:lnTo>
                <a:lnTo>
                  <a:pt x="17390" y="1564"/>
                </a:lnTo>
                <a:lnTo>
                  <a:pt x="17365" y="1637"/>
                </a:lnTo>
                <a:lnTo>
                  <a:pt x="17268" y="1759"/>
                </a:lnTo>
                <a:lnTo>
                  <a:pt x="17145" y="1832"/>
                </a:lnTo>
                <a:lnTo>
                  <a:pt x="17072" y="1857"/>
                </a:lnTo>
                <a:lnTo>
                  <a:pt x="16926" y="1857"/>
                </a:lnTo>
                <a:lnTo>
                  <a:pt x="16852" y="1832"/>
                </a:lnTo>
                <a:lnTo>
                  <a:pt x="16730" y="1759"/>
                </a:lnTo>
                <a:lnTo>
                  <a:pt x="16657" y="1637"/>
                </a:lnTo>
                <a:lnTo>
                  <a:pt x="16633" y="1564"/>
                </a:lnTo>
                <a:lnTo>
                  <a:pt x="16608" y="1490"/>
                </a:lnTo>
                <a:lnTo>
                  <a:pt x="16633" y="1393"/>
                </a:lnTo>
                <a:lnTo>
                  <a:pt x="16657" y="1320"/>
                </a:lnTo>
                <a:lnTo>
                  <a:pt x="16730" y="1197"/>
                </a:lnTo>
                <a:lnTo>
                  <a:pt x="16852" y="1124"/>
                </a:lnTo>
                <a:lnTo>
                  <a:pt x="16926" y="1100"/>
                </a:lnTo>
                <a:close/>
                <a:moveTo>
                  <a:pt x="15924" y="1"/>
                </a:moveTo>
                <a:lnTo>
                  <a:pt x="15656" y="25"/>
                </a:lnTo>
                <a:lnTo>
                  <a:pt x="15387" y="74"/>
                </a:lnTo>
                <a:lnTo>
                  <a:pt x="15192" y="123"/>
                </a:lnTo>
                <a:lnTo>
                  <a:pt x="14996" y="172"/>
                </a:lnTo>
                <a:lnTo>
                  <a:pt x="14801" y="269"/>
                </a:lnTo>
                <a:lnTo>
                  <a:pt x="14605" y="367"/>
                </a:lnTo>
                <a:lnTo>
                  <a:pt x="14435" y="489"/>
                </a:lnTo>
                <a:lnTo>
                  <a:pt x="14264" y="611"/>
                </a:lnTo>
                <a:lnTo>
                  <a:pt x="14093" y="758"/>
                </a:lnTo>
                <a:lnTo>
                  <a:pt x="13970" y="929"/>
                </a:lnTo>
                <a:lnTo>
                  <a:pt x="13824" y="1100"/>
                </a:lnTo>
                <a:lnTo>
                  <a:pt x="13726" y="1271"/>
                </a:lnTo>
                <a:lnTo>
                  <a:pt x="13629" y="1466"/>
                </a:lnTo>
                <a:lnTo>
                  <a:pt x="13531" y="1661"/>
                </a:lnTo>
                <a:lnTo>
                  <a:pt x="13482" y="1881"/>
                </a:lnTo>
                <a:lnTo>
                  <a:pt x="13433" y="2101"/>
                </a:lnTo>
                <a:lnTo>
                  <a:pt x="13409" y="2345"/>
                </a:lnTo>
                <a:lnTo>
                  <a:pt x="13409" y="2565"/>
                </a:lnTo>
                <a:lnTo>
                  <a:pt x="6668" y="4372"/>
                </a:lnTo>
                <a:lnTo>
                  <a:pt x="6986" y="4592"/>
                </a:lnTo>
                <a:lnTo>
                  <a:pt x="7303" y="4812"/>
                </a:lnTo>
                <a:lnTo>
                  <a:pt x="7621" y="5032"/>
                </a:lnTo>
                <a:lnTo>
                  <a:pt x="7938" y="5203"/>
                </a:lnTo>
                <a:lnTo>
                  <a:pt x="8280" y="5374"/>
                </a:lnTo>
                <a:lnTo>
                  <a:pt x="8597" y="5496"/>
                </a:lnTo>
                <a:lnTo>
                  <a:pt x="8939" y="5618"/>
                </a:lnTo>
                <a:lnTo>
                  <a:pt x="9257" y="5740"/>
                </a:lnTo>
                <a:lnTo>
                  <a:pt x="9599" y="5813"/>
                </a:lnTo>
                <a:lnTo>
                  <a:pt x="9941" y="5862"/>
                </a:lnTo>
                <a:lnTo>
                  <a:pt x="10258" y="5911"/>
                </a:lnTo>
                <a:lnTo>
                  <a:pt x="10600" y="5935"/>
                </a:lnTo>
                <a:lnTo>
                  <a:pt x="10942" y="5935"/>
                </a:lnTo>
                <a:lnTo>
                  <a:pt x="11284" y="5911"/>
                </a:lnTo>
                <a:lnTo>
                  <a:pt x="11626" y="5862"/>
                </a:lnTo>
                <a:lnTo>
                  <a:pt x="11968" y="5813"/>
                </a:lnTo>
                <a:lnTo>
                  <a:pt x="12285" y="5716"/>
                </a:lnTo>
                <a:lnTo>
                  <a:pt x="12603" y="5642"/>
                </a:lnTo>
                <a:lnTo>
                  <a:pt x="13140" y="5423"/>
                </a:lnTo>
                <a:lnTo>
                  <a:pt x="13629" y="5203"/>
                </a:lnTo>
                <a:lnTo>
                  <a:pt x="14044" y="4983"/>
                </a:lnTo>
                <a:lnTo>
                  <a:pt x="14386" y="4763"/>
                </a:lnTo>
                <a:lnTo>
                  <a:pt x="14630" y="4592"/>
                </a:lnTo>
                <a:lnTo>
                  <a:pt x="14850" y="4421"/>
                </a:lnTo>
                <a:lnTo>
                  <a:pt x="14923" y="4372"/>
                </a:lnTo>
                <a:lnTo>
                  <a:pt x="15021" y="4348"/>
                </a:lnTo>
                <a:lnTo>
                  <a:pt x="15118" y="4372"/>
                </a:lnTo>
                <a:lnTo>
                  <a:pt x="15192" y="4421"/>
                </a:lnTo>
                <a:lnTo>
                  <a:pt x="15240" y="4519"/>
                </a:lnTo>
                <a:lnTo>
                  <a:pt x="15240" y="4592"/>
                </a:lnTo>
                <a:lnTo>
                  <a:pt x="15240" y="4690"/>
                </a:lnTo>
                <a:lnTo>
                  <a:pt x="15167" y="4763"/>
                </a:lnTo>
                <a:lnTo>
                  <a:pt x="15045" y="4861"/>
                </a:lnTo>
                <a:lnTo>
                  <a:pt x="14752" y="5105"/>
                </a:lnTo>
                <a:lnTo>
                  <a:pt x="14312" y="5398"/>
                </a:lnTo>
                <a:lnTo>
                  <a:pt x="14019" y="5569"/>
                </a:lnTo>
                <a:lnTo>
                  <a:pt x="13702" y="5716"/>
                </a:lnTo>
                <a:lnTo>
                  <a:pt x="13213" y="5935"/>
                </a:lnTo>
                <a:lnTo>
                  <a:pt x="12969" y="6033"/>
                </a:lnTo>
                <a:lnTo>
                  <a:pt x="12676" y="6131"/>
                </a:lnTo>
                <a:lnTo>
                  <a:pt x="12090" y="6277"/>
                </a:lnTo>
                <a:lnTo>
                  <a:pt x="11797" y="6326"/>
                </a:lnTo>
                <a:lnTo>
                  <a:pt x="11479" y="6375"/>
                </a:lnTo>
                <a:lnTo>
                  <a:pt x="11137" y="6400"/>
                </a:lnTo>
                <a:lnTo>
                  <a:pt x="10796" y="6424"/>
                </a:lnTo>
                <a:lnTo>
                  <a:pt x="10429" y="6400"/>
                </a:lnTo>
                <a:lnTo>
                  <a:pt x="10063" y="6375"/>
                </a:lnTo>
                <a:lnTo>
                  <a:pt x="9696" y="6326"/>
                </a:lnTo>
                <a:lnTo>
                  <a:pt x="9306" y="6229"/>
                </a:lnTo>
                <a:lnTo>
                  <a:pt x="8915" y="6131"/>
                </a:lnTo>
                <a:lnTo>
                  <a:pt x="8500" y="5984"/>
                </a:lnTo>
                <a:lnTo>
                  <a:pt x="8085" y="5813"/>
                </a:lnTo>
                <a:lnTo>
                  <a:pt x="7669" y="5594"/>
                </a:lnTo>
                <a:lnTo>
                  <a:pt x="7572" y="5569"/>
                </a:lnTo>
                <a:lnTo>
                  <a:pt x="7376" y="5471"/>
                </a:lnTo>
                <a:lnTo>
                  <a:pt x="7254" y="5471"/>
                </a:lnTo>
                <a:lnTo>
                  <a:pt x="7132" y="5496"/>
                </a:lnTo>
                <a:lnTo>
                  <a:pt x="318" y="7694"/>
                </a:lnTo>
                <a:lnTo>
                  <a:pt x="245" y="7743"/>
                </a:lnTo>
                <a:lnTo>
                  <a:pt x="147" y="7792"/>
                </a:lnTo>
                <a:lnTo>
                  <a:pt x="98" y="7865"/>
                </a:lnTo>
                <a:lnTo>
                  <a:pt x="49" y="7938"/>
                </a:lnTo>
                <a:lnTo>
                  <a:pt x="1" y="8036"/>
                </a:lnTo>
                <a:lnTo>
                  <a:pt x="1" y="8134"/>
                </a:lnTo>
                <a:lnTo>
                  <a:pt x="1" y="8207"/>
                </a:lnTo>
                <a:lnTo>
                  <a:pt x="25" y="8305"/>
                </a:lnTo>
                <a:lnTo>
                  <a:pt x="98" y="8451"/>
                </a:lnTo>
                <a:lnTo>
                  <a:pt x="196" y="8549"/>
                </a:lnTo>
                <a:lnTo>
                  <a:pt x="318" y="8622"/>
                </a:lnTo>
                <a:lnTo>
                  <a:pt x="489" y="8646"/>
                </a:lnTo>
                <a:lnTo>
                  <a:pt x="611" y="8622"/>
                </a:lnTo>
                <a:lnTo>
                  <a:pt x="269" y="8793"/>
                </a:lnTo>
                <a:lnTo>
                  <a:pt x="171" y="8842"/>
                </a:lnTo>
                <a:lnTo>
                  <a:pt x="123" y="8915"/>
                </a:lnTo>
                <a:lnTo>
                  <a:pt x="49" y="8988"/>
                </a:lnTo>
                <a:lnTo>
                  <a:pt x="25" y="9086"/>
                </a:lnTo>
                <a:lnTo>
                  <a:pt x="1" y="9159"/>
                </a:lnTo>
                <a:lnTo>
                  <a:pt x="1" y="9257"/>
                </a:lnTo>
                <a:lnTo>
                  <a:pt x="1" y="9355"/>
                </a:lnTo>
                <a:lnTo>
                  <a:pt x="49" y="9452"/>
                </a:lnTo>
                <a:lnTo>
                  <a:pt x="123" y="9575"/>
                </a:lnTo>
                <a:lnTo>
                  <a:pt x="220" y="9648"/>
                </a:lnTo>
                <a:lnTo>
                  <a:pt x="342" y="9697"/>
                </a:lnTo>
                <a:lnTo>
                  <a:pt x="489" y="9721"/>
                </a:lnTo>
                <a:lnTo>
                  <a:pt x="587" y="9721"/>
                </a:lnTo>
                <a:lnTo>
                  <a:pt x="684" y="9672"/>
                </a:lnTo>
                <a:lnTo>
                  <a:pt x="855" y="9599"/>
                </a:lnTo>
                <a:lnTo>
                  <a:pt x="782" y="9721"/>
                </a:lnTo>
                <a:lnTo>
                  <a:pt x="758" y="9868"/>
                </a:lnTo>
                <a:lnTo>
                  <a:pt x="782" y="10014"/>
                </a:lnTo>
                <a:lnTo>
                  <a:pt x="831" y="10161"/>
                </a:lnTo>
                <a:lnTo>
                  <a:pt x="929" y="10258"/>
                </a:lnTo>
                <a:lnTo>
                  <a:pt x="1026" y="10307"/>
                </a:lnTo>
                <a:lnTo>
                  <a:pt x="1124" y="10356"/>
                </a:lnTo>
                <a:lnTo>
                  <a:pt x="1246" y="10380"/>
                </a:lnTo>
                <a:lnTo>
                  <a:pt x="1393" y="10356"/>
                </a:lnTo>
                <a:lnTo>
                  <a:pt x="1515" y="10283"/>
                </a:lnTo>
                <a:lnTo>
                  <a:pt x="6082" y="7303"/>
                </a:lnTo>
                <a:lnTo>
                  <a:pt x="6546" y="7523"/>
                </a:lnTo>
                <a:lnTo>
                  <a:pt x="7108" y="7743"/>
                </a:lnTo>
                <a:lnTo>
                  <a:pt x="7791" y="7987"/>
                </a:lnTo>
                <a:lnTo>
                  <a:pt x="8524" y="8207"/>
                </a:lnTo>
                <a:lnTo>
                  <a:pt x="9306" y="8402"/>
                </a:lnTo>
                <a:lnTo>
                  <a:pt x="10087" y="8549"/>
                </a:lnTo>
                <a:lnTo>
                  <a:pt x="10454" y="8598"/>
                </a:lnTo>
                <a:lnTo>
                  <a:pt x="10820" y="8646"/>
                </a:lnTo>
                <a:lnTo>
                  <a:pt x="11528" y="8646"/>
                </a:lnTo>
                <a:lnTo>
                  <a:pt x="12212" y="10356"/>
                </a:lnTo>
                <a:lnTo>
                  <a:pt x="12261" y="10405"/>
                </a:lnTo>
                <a:lnTo>
                  <a:pt x="12310" y="10454"/>
                </a:lnTo>
                <a:lnTo>
                  <a:pt x="12383" y="10478"/>
                </a:lnTo>
                <a:lnTo>
                  <a:pt x="12456" y="10503"/>
                </a:lnTo>
                <a:lnTo>
                  <a:pt x="13384" y="10503"/>
                </a:lnTo>
                <a:lnTo>
                  <a:pt x="13482" y="10478"/>
                </a:lnTo>
                <a:lnTo>
                  <a:pt x="13555" y="10454"/>
                </a:lnTo>
                <a:lnTo>
                  <a:pt x="13604" y="10405"/>
                </a:lnTo>
                <a:lnTo>
                  <a:pt x="13629" y="10332"/>
                </a:lnTo>
                <a:lnTo>
                  <a:pt x="13629" y="10234"/>
                </a:lnTo>
                <a:lnTo>
                  <a:pt x="13580" y="10161"/>
                </a:lnTo>
                <a:lnTo>
                  <a:pt x="13506" y="10087"/>
                </a:lnTo>
                <a:lnTo>
                  <a:pt x="13409" y="10087"/>
                </a:lnTo>
                <a:lnTo>
                  <a:pt x="12603" y="10014"/>
                </a:lnTo>
                <a:lnTo>
                  <a:pt x="12163" y="8646"/>
                </a:lnTo>
                <a:lnTo>
                  <a:pt x="12700" y="8598"/>
                </a:lnTo>
                <a:lnTo>
                  <a:pt x="13067" y="8549"/>
                </a:lnTo>
                <a:lnTo>
                  <a:pt x="13482" y="8475"/>
                </a:lnTo>
                <a:lnTo>
                  <a:pt x="13922" y="8378"/>
                </a:lnTo>
                <a:lnTo>
                  <a:pt x="14386" y="8280"/>
                </a:lnTo>
                <a:lnTo>
                  <a:pt x="14874" y="8109"/>
                </a:lnTo>
                <a:lnTo>
                  <a:pt x="15363" y="7914"/>
                </a:lnTo>
                <a:lnTo>
                  <a:pt x="15827" y="7670"/>
                </a:lnTo>
                <a:lnTo>
                  <a:pt x="16046" y="7547"/>
                </a:lnTo>
                <a:lnTo>
                  <a:pt x="16291" y="7376"/>
                </a:lnTo>
                <a:lnTo>
                  <a:pt x="16486" y="7205"/>
                </a:lnTo>
                <a:lnTo>
                  <a:pt x="16681" y="7035"/>
                </a:lnTo>
                <a:lnTo>
                  <a:pt x="16877" y="6839"/>
                </a:lnTo>
                <a:lnTo>
                  <a:pt x="17072" y="6619"/>
                </a:lnTo>
                <a:lnTo>
                  <a:pt x="17219" y="6375"/>
                </a:lnTo>
                <a:lnTo>
                  <a:pt x="17365" y="6131"/>
                </a:lnTo>
                <a:lnTo>
                  <a:pt x="17512" y="5862"/>
                </a:lnTo>
                <a:lnTo>
                  <a:pt x="17610" y="5569"/>
                </a:lnTo>
                <a:lnTo>
                  <a:pt x="17707" y="5276"/>
                </a:lnTo>
                <a:lnTo>
                  <a:pt x="17780" y="4959"/>
                </a:lnTo>
                <a:lnTo>
                  <a:pt x="17829" y="4592"/>
                </a:lnTo>
                <a:lnTo>
                  <a:pt x="17854" y="4226"/>
                </a:lnTo>
                <a:lnTo>
                  <a:pt x="17854" y="3884"/>
                </a:lnTo>
                <a:lnTo>
                  <a:pt x="17829" y="3444"/>
                </a:lnTo>
                <a:lnTo>
                  <a:pt x="17829" y="2980"/>
                </a:lnTo>
                <a:lnTo>
                  <a:pt x="17829" y="2760"/>
                </a:lnTo>
                <a:lnTo>
                  <a:pt x="17878" y="2590"/>
                </a:lnTo>
                <a:lnTo>
                  <a:pt x="18440" y="2370"/>
                </a:lnTo>
                <a:lnTo>
                  <a:pt x="18733" y="2272"/>
                </a:lnTo>
                <a:lnTo>
                  <a:pt x="18293" y="2125"/>
                </a:lnTo>
                <a:lnTo>
                  <a:pt x="18586" y="1979"/>
                </a:lnTo>
                <a:lnTo>
                  <a:pt x="18855" y="1857"/>
                </a:lnTo>
                <a:lnTo>
                  <a:pt x="18953" y="1808"/>
                </a:lnTo>
                <a:lnTo>
                  <a:pt x="19002" y="1759"/>
                </a:lnTo>
                <a:lnTo>
                  <a:pt x="19002" y="1710"/>
                </a:lnTo>
                <a:lnTo>
                  <a:pt x="18953" y="1686"/>
                </a:lnTo>
                <a:lnTo>
                  <a:pt x="18000" y="1271"/>
                </a:lnTo>
                <a:lnTo>
                  <a:pt x="17780" y="1026"/>
                </a:lnTo>
                <a:lnTo>
                  <a:pt x="17561" y="782"/>
                </a:lnTo>
                <a:lnTo>
                  <a:pt x="17243" y="514"/>
                </a:lnTo>
                <a:lnTo>
                  <a:pt x="17048" y="391"/>
                </a:lnTo>
                <a:lnTo>
                  <a:pt x="16852" y="269"/>
                </a:lnTo>
                <a:lnTo>
                  <a:pt x="16633" y="172"/>
                </a:lnTo>
                <a:lnTo>
                  <a:pt x="16413" y="98"/>
                </a:lnTo>
                <a:lnTo>
                  <a:pt x="16169" y="25"/>
                </a:lnTo>
                <a:lnTo>
                  <a:pt x="15924"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68" name="Shape 597"/>
          <p:cNvGrpSpPr/>
          <p:nvPr/>
        </p:nvGrpSpPr>
        <p:grpSpPr>
          <a:xfrm>
            <a:off x="7360232" y="5391470"/>
            <a:ext cx="264377" cy="304008"/>
            <a:chOff x="6685175" y="5036025"/>
            <a:chExt cx="346225" cy="398125"/>
          </a:xfrm>
        </p:grpSpPr>
        <p:sp>
          <p:nvSpPr>
            <p:cNvPr id="269" name="Shape 598"/>
            <p:cNvSpPr/>
            <p:nvPr/>
          </p:nvSpPr>
          <p:spPr>
            <a:xfrm>
              <a:off x="6743800" y="5036025"/>
              <a:ext cx="105650" cy="147775"/>
            </a:xfrm>
            <a:custGeom>
              <a:avLst/>
              <a:gdLst/>
              <a:ahLst/>
              <a:cxnLst/>
              <a:rect l="0" t="0" r="0" b="0"/>
              <a:pathLst>
                <a:path w="4226" h="5911" extrusionOk="0">
                  <a:moveTo>
                    <a:pt x="2931" y="1"/>
                  </a:moveTo>
                  <a:lnTo>
                    <a:pt x="2736" y="25"/>
                  </a:lnTo>
                  <a:lnTo>
                    <a:pt x="2516" y="74"/>
                  </a:lnTo>
                  <a:lnTo>
                    <a:pt x="2272" y="147"/>
                  </a:lnTo>
                  <a:lnTo>
                    <a:pt x="2027" y="269"/>
                  </a:lnTo>
                  <a:lnTo>
                    <a:pt x="1783" y="416"/>
                  </a:lnTo>
                  <a:lnTo>
                    <a:pt x="1539" y="611"/>
                  </a:lnTo>
                  <a:lnTo>
                    <a:pt x="1319" y="807"/>
                  </a:lnTo>
                  <a:lnTo>
                    <a:pt x="1075" y="1026"/>
                  </a:lnTo>
                  <a:lnTo>
                    <a:pt x="855" y="1271"/>
                  </a:lnTo>
                  <a:lnTo>
                    <a:pt x="660" y="1539"/>
                  </a:lnTo>
                  <a:lnTo>
                    <a:pt x="489" y="1808"/>
                  </a:lnTo>
                  <a:lnTo>
                    <a:pt x="318" y="2101"/>
                  </a:lnTo>
                  <a:lnTo>
                    <a:pt x="196" y="2370"/>
                  </a:lnTo>
                  <a:lnTo>
                    <a:pt x="98" y="2663"/>
                  </a:lnTo>
                  <a:lnTo>
                    <a:pt x="25" y="2956"/>
                  </a:lnTo>
                  <a:lnTo>
                    <a:pt x="0" y="3249"/>
                  </a:lnTo>
                  <a:lnTo>
                    <a:pt x="0" y="3517"/>
                  </a:lnTo>
                  <a:lnTo>
                    <a:pt x="49" y="3786"/>
                  </a:lnTo>
                  <a:lnTo>
                    <a:pt x="122" y="4055"/>
                  </a:lnTo>
                  <a:lnTo>
                    <a:pt x="196" y="4299"/>
                  </a:lnTo>
                  <a:lnTo>
                    <a:pt x="293" y="4543"/>
                  </a:lnTo>
                  <a:lnTo>
                    <a:pt x="415" y="4763"/>
                  </a:lnTo>
                  <a:lnTo>
                    <a:pt x="562" y="4958"/>
                  </a:lnTo>
                  <a:lnTo>
                    <a:pt x="708" y="5154"/>
                  </a:lnTo>
                  <a:lnTo>
                    <a:pt x="855" y="5325"/>
                  </a:lnTo>
                  <a:lnTo>
                    <a:pt x="1026" y="5471"/>
                  </a:lnTo>
                  <a:lnTo>
                    <a:pt x="1221" y="5618"/>
                  </a:lnTo>
                  <a:lnTo>
                    <a:pt x="1392" y="5716"/>
                  </a:lnTo>
                  <a:lnTo>
                    <a:pt x="1588" y="5813"/>
                  </a:lnTo>
                  <a:lnTo>
                    <a:pt x="1807" y="5862"/>
                  </a:lnTo>
                  <a:lnTo>
                    <a:pt x="2003" y="5911"/>
                  </a:lnTo>
                  <a:lnTo>
                    <a:pt x="2442" y="5911"/>
                  </a:lnTo>
                  <a:lnTo>
                    <a:pt x="2662" y="5862"/>
                  </a:lnTo>
                  <a:lnTo>
                    <a:pt x="2858" y="5789"/>
                  </a:lnTo>
                  <a:lnTo>
                    <a:pt x="3053" y="5716"/>
                  </a:lnTo>
                  <a:lnTo>
                    <a:pt x="3224" y="5593"/>
                  </a:lnTo>
                  <a:lnTo>
                    <a:pt x="3395" y="5471"/>
                  </a:lnTo>
                  <a:lnTo>
                    <a:pt x="3541" y="5300"/>
                  </a:lnTo>
                  <a:lnTo>
                    <a:pt x="3688" y="5129"/>
                  </a:lnTo>
                  <a:lnTo>
                    <a:pt x="3810" y="4934"/>
                  </a:lnTo>
                  <a:lnTo>
                    <a:pt x="3932" y="4739"/>
                  </a:lnTo>
                  <a:lnTo>
                    <a:pt x="4030" y="4519"/>
                  </a:lnTo>
                  <a:lnTo>
                    <a:pt x="4103" y="4275"/>
                  </a:lnTo>
                  <a:lnTo>
                    <a:pt x="4152" y="4030"/>
                  </a:lnTo>
                  <a:lnTo>
                    <a:pt x="4201" y="3786"/>
                  </a:lnTo>
                  <a:lnTo>
                    <a:pt x="4225" y="3517"/>
                  </a:lnTo>
                  <a:lnTo>
                    <a:pt x="4201" y="3249"/>
                  </a:lnTo>
                  <a:lnTo>
                    <a:pt x="4176" y="2980"/>
                  </a:lnTo>
                  <a:lnTo>
                    <a:pt x="4054" y="1881"/>
                  </a:lnTo>
                  <a:lnTo>
                    <a:pt x="3957" y="1368"/>
                  </a:lnTo>
                  <a:lnTo>
                    <a:pt x="3835" y="904"/>
                  </a:lnTo>
                  <a:lnTo>
                    <a:pt x="3737" y="684"/>
                  </a:lnTo>
                  <a:lnTo>
                    <a:pt x="3664" y="513"/>
                  </a:lnTo>
                  <a:lnTo>
                    <a:pt x="3541" y="342"/>
                  </a:lnTo>
                  <a:lnTo>
                    <a:pt x="3419" y="220"/>
                  </a:lnTo>
                  <a:lnTo>
                    <a:pt x="3273" y="123"/>
                  </a:lnTo>
                  <a:lnTo>
                    <a:pt x="3126" y="49"/>
                  </a:lnTo>
                  <a:lnTo>
                    <a:pt x="2931"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70" name="Shape 599"/>
            <p:cNvSpPr/>
            <p:nvPr/>
          </p:nvSpPr>
          <p:spPr>
            <a:xfrm>
              <a:off x="6685175" y="5152025"/>
              <a:ext cx="84275" cy="117275"/>
            </a:xfrm>
            <a:custGeom>
              <a:avLst/>
              <a:gdLst/>
              <a:ahLst/>
              <a:cxnLst/>
              <a:rect l="0" t="0" r="0" b="0"/>
              <a:pathLst>
                <a:path w="3371" h="4691" extrusionOk="0">
                  <a:moveTo>
                    <a:pt x="1368" y="1"/>
                  </a:moveTo>
                  <a:lnTo>
                    <a:pt x="1197" y="25"/>
                  </a:lnTo>
                  <a:lnTo>
                    <a:pt x="1026" y="99"/>
                  </a:lnTo>
                  <a:lnTo>
                    <a:pt x="855" y="172"/>
                  </a:lnTo>
                  <a:lnTo>
                    <a:pt x="709" y="270"/>
                  </a:lnTo>
                  <a:lnTo>
                    <a:pt x="562" y="392"/>
                  </a:lnTo>
                  <a:lnTo>
                    <a:pt x="440" y="538"/>
                  </a:lnTo>
                  <a:lnTo>
                    <a:pt x="318" y="685"/>
                  </a:lnTo>
                  <a:lnTo>
                    <a:pt x="220" y="856"/>
                  </a:lnTo>
                  <a:lnTo>
                    <a:pt x="147" y="1051"/>
                  </a:lnTo>
                  <a:lnTo>
                    <a:pt x="74" y="1247"/>
                  </a:lnTo>
                  <a:lnTo>
                    <a:pt x="49" y="1442"/>
                  </a:lnTo>
                  <a:lnTo>
                    <a:pt x="1" y="1662"/>
                  </a:lnTo>
                  <a:lnTo>
                    <a:pt x="1" y="1882"/>
                  </a:lnTo>
                  <a:lnTo>
                    <a:pt x="1" y="2101"/>
                  </a:lnTo>
                  <a:lnTo>
                    <a:pt x="25" y="2346"/>
                  </a:lnTo>
                  <a:lnTo>
                    <a:pt x="74" y="2565"/>
                  </a:lnTo>
                  <a:lnTo>
                    <a:pt x="147" y="2810"/>
                  </a:lnTo>
                  <a:lnTo>
                    <a:pt x="220" y="3054"/>
                  </a:lnTo>
                  <a:lnTo>
                    <a:pt x="342" y="3274"/>
                  </a:lnTo>
                  <a:lnTo>
                    <a:pt x="440" y="3493"/>
                  </a:lnTo>
                  <a:lnTo>
                    <a:pt x="587" y="3689"/>
                  </a:lnTo>
                  <a:lnTo>
                    <a:pt x="733" y="3860"/>
                  </a:lnTo>
                  <a:lnTo>
                    <a:pt x="880" y="4031"/>
                  </a:lnTo>
                  <a:lnTo>
                    <a:pt x="1051" y="4177"/>
                  </a:lnTo>
                  <a:lnTo>
                    <a:pt x="1222" y="4324"/>
                  </a:lnTo>
                  <a:lnTo>
                    <a:pt x="1393" y="4422"/>
                  </a:lnTo>
                  <a:lnTo>
                    <a:pt x="1564" y="4519"/>
                  </a:lnTo>
                  <a:lnTo>
                    <a:pt x="1759" y="4592"/>
                  </a:lnTo>
                  <a:lnTo>
                    <a:pt x="1954" y="4641"/>
                  </a:lnTo>
                  <a:lnTo>
                    <a:pt x="2125" y="4690"/>
                  </a:lnTo>
                  <a:lnTo>
                    <a:pt x="2516" y="4690"/>
                  </a:lnTo>
                  <a:lnTo>
                    <a:pt x="2687" y="4641"/>
                  </a:lnTo>
                  <a:lnTo>
                    <a:pt x="2882" y="4592"/>
                  </a:lnTo>
                  <a:lnTo>
                    <a:pt x="3029" y="4495"/>
                  </a:lnTo>
                  <a:lnTo>
                    <a:pt x="3151" y="4397"/>
                  </a:lnTo>
                  <a:lnTo>
                    <a:pt x="3249" y="4299"/>
                  </a:lnTo>
                  <a:lnTo>
                    <a:pt x="3322" y="4153"/>
                  </a:lnTo>
                  <a:lnTo>
                    <a:pt x="3371" y="4006"/>
                  </a:lnTo>
                  <a:lnTo>
                    <a:pt x="3371" y="3860"/>
                  </a:lnTo>
                  <a:lnTo>
                    <a:pt x="3371" y="3689"/>
                  </a:lnTo>
                  <a:lnTo>
                    <a:pt x="3347" y="3518"/>
                  </a:lnTo>
                  <a:lnTo>
                    <a:pt x="3249" y="3127"/>
                  </a:lnTo>
                  <a:lnTo>
                    <a:pt x="3078" y="2712"/>
                  </a:lnTo>
                  <a:lnTo>
                    <a:pt x="2712" y="1808"/>
                  </a:lnTo>
                  <a:lnTo>
                    <a:pt x="2370" y="953"/>
                  </a:lnTo>
                  <a:lnTo>
                    <a:pt x="2199" y="612"/>
                  </a:lnTo>
                  <a:lnTo>
                    <a:pt x="2028" y="343"/>
                  </a:lnTo>
                  <a:lnTo>
                    <a:pt x="1954" y="221"/>
                  </a:lnTo>
                  <a:lnTo>
                    <a:pt x="1857" y="123"/>
                  </a:lnTo>
                  <a:lnTo>
                    <a:pt x="1735" y="74"/>
                  </a:lnTo>
                  <a:lnTo>
                    <a:pt x="1637" y="25"/>
                  </a:lnTo>
                  <a:lnTo>
                    <a:pt x="1490" y="1"/>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71" name="Shape 600"/>
            <p:cNvSpPr/>
            <p:nvPr/>
          </p:nvSpPr>
          <p:spPr>
            <a:xfrm>
              <a:off x="6871400" y="5038475"/>
              <a:ext cx="105650" cy="145325"/>
            </a:xfrm>
            <a:custGeom>
              <a:avLst/>
              <a:gdLst/>
              <a:ahLst/>
              <a:cxnLst/>
              <a:rect l="0" t="0" r="0" b="0"/>
              <a:pathLst>
                <a:path w="4226" h="5813" extrusionOk="0">
                  <a:moveTo>
                    <a:pt x="1295" y="0"/>
                  </a:moveTo>
                  <a:lnTo>
                    <a:pt x="1100" y="49"/>
                  </a:lnTo>
                  <a:lnTo>
                    <a:pt x="953" y="98"/>
                  </a:lnTo>
                  <a:lnTo>
                    <a:pt x="807" y="196"/>
                  </a:lnTo>
                  <a:lnTo>
                    <a:pt x="684" y="318"/>
                  </a:lnTo>
                  <a:lnTo>
                    <a:pt x="587" y="464"/>
                  </a:lnTo>
                  <a:lnTo>
                    <a:pt x="489" y="660"/>
                  </a:lnTo>
                  <a:lnTo>
                    <a:pt x="391" y="855"/>
                  </a:lnTo>
                  <a:lnTo>
                    <a:pt x="269" y="1295"/>
                  </a:lnTo>
                  <a:lnTo>
                    <a:pt x="172" y="1808"/>
                  </a:lnTo>
                  <a:lnTo>
                    <a:pt x="49" y="2882"/>
                  </a:lnTo>
                  <a:lnTo>
                    <a:pt x="1" y="3151"/>
                  </a:lnTo>
                  <a:lnTo>
                    <a:pt x="1" y="3419"/>
                  </a:lnTo>
                  <a:lnTo>
                    <a:pt x="25" y="3688"/>
                  </a:lnTo>
                  <a:lnTo>
                    <a:pt x="74" y="3932"/>
                  </a:lnTo>
                  <a:lnTo>
                    <a:pt x="123" y="4177"/>
                  </a:lnTo>
                  <a:lnTo>
                    <a:pt x="196" y="4421"/>
                  </a:lnTo>
                  <a:lnTo>
                    <a:pt x="294" y="4641"/>
                  </a:lnTo>
                  <a:lnTo>
                    <a:pt x="416" y="4836"/>
                  </a:lnTo>
                  <a:lnTo>
                    <a:pt x="538" y="5031"/>
                  </a:lnTo>
                  <a:lnTo>
                    <a:pt x="684" y="5202"/>
                  </a:lnTo>
                  <a:lnTo>
                    <a:pt x="831" y="5373"/>
                  </a:lnTo>
                  <a:lnTo>
                    <a:pt x="1002" y="5495"/>
                  </a:lnTo>
                  <a:lnTo>
                    <a:pt x="1173" y="5618"/>
                  </a:lnTo>
                  <a:lnTo>
                    <a:pt x="1368" y="5691"/>
                  </a:lnTo>
                  <a:lnTo>
                    <a:pt x="1588" y="5764"/>
                  </a:lnTo>
                  <a:lnTo>
                    <a:pt x="1783" y="5813"/>
                  </a:lnTo>
                  <a:lnTo>
                    <a:pt x="2223" y="5813"/>
                  </a:lnTo>
                  <a:lnTo>
                    <a:pt x="2418" y="5764"/>
                  </a:lnTo>
                  <a:lnTo>
                    <a:pt x="2638" y="5715"/>
                  </a:lnTo>
                  <a:lnTo>
                    <a:pt x="2834" y="5618"/>
                  </a:lnTo>
                  <a:lnTo>
                    <a:pt x="3005" y="5520"/>
                  </a:lnTo>
                  <a:lnTo>
                    <a:pt x="3200" y="5373"/>
                  </a:lnTo>
                  <a:lnTo>
                    <a:pt x="3371" y="5227"/>
                  </a:lnTo>
                  <a:lnTo>
                    <a:pt x="3517" y="5056"/>
                  </a:lnTo>
                  <a:lnTo>
                    <a:pt x="3664" y="4860"/>
                  </a:lnTo>
                  <a:lnTo>
                    <a:pt x="3811" y="4665"/>
                  </a:lnTo>
                  <a:lnTo>
                    <a:pt x="3933" y="4445"/>
                  </a:lnTo>
                  <a:lnTo>
                    <a:pt x="4030" y="4201"/>
                  </a:lnTo>
                  <a:lnTo>
                    <a:pt x="4104" y="3957"/>
                  </a:lnTo>
                  <a:lnTo>
                    <a:pt x="4177" y="3688"/>
                  </a:lnTo>
                  <a:lnTo>
                    <a:pt x="4226" y="3419"/>
                  </a:lnTo>
                  <a:lnTo>
                    <a:pt x="4226" y="3151"/>
                  </a:lnTo>
                  <a:lnTo>
                    <a:pt x="4201" y="2858"/>
                  </a:lnTo>
                  <a:lnTo>
                    <a:pt x="4128" y="2589"/>
                  </a:lnTo>
                  <a:lnTo>
                    <a:pt x="4030" y="2296"/>
                  </a:lnTo>
                  <a:lnTo>
                    <a:pt x="3908" y="2027"/>
                  </a:lnTo>
                  <a:lnTo>
                    <a:pt x="3737" y="1734"/>
                  </a:lnTo>
                  <a:lnTo>
                    <a:pt x="3566" y="1490"/>
                  </a:lnTo>
                  <a:lnTo>
                    <a:pt x="3371" y="1221"/>
                  </a:lnTo>
                  <a:lnTo>
                    <a:pt x="3151" y="1002"/>
                  </a:lnTo>
                  <a:lnTo>
                    <a:pt x="2907" y="782"/>
                  </a:lnTo>
                  <a:lnTo>
                    <a:pt x="2687" y="586"/>
                  </a:lnTo>
                  <a:lnTo>
                    <a:pt x="2443" y="415"/>
                  </a:lnTo>
                  <a:lnTo>
                    <a:pt x="2199" y="269"/>
                  </a:lnTo>
                  <a:lnTo>
                    <a:pt x="1954" y="147"/>
                  </a:lnTo>
                  <a:lnTo>
                    <a:pt x="1710" y="74"/>
                  </a:lnTo>
                  <a:lnTo>
                    <a:pt x="1490" y="25"/>
                  </a:lnTo>
                  <a:lnTo>
                    <a:pt x="1295"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72" name="Shape 601"/>
            <p:cNvSpPr/>
            <p:nvPr/>
          </p:nvSpPr>
          <p:spPr>
            <a:xfrm>
              <a:off x="6944050" y="5155700"/>
              <a:ext cx="87350" cy="116025"/>
            </a:xfrm>
            <a:custGeom>
              <a:avLst/>
              <a:gdLst/>
              <a:ahLst/>
              <a:cxnLst/>
              <a:rect l="0" t="0" r="0" b="0"/>
              <a:pathLst>
                <a:path w="3494" h="4641" extrusionOk="0">
                  <a:moveTo>
                    <a:pt x="1979" y="0"/>
                  </a:moveTo>
                  <a:lnTo>
                    <a:pt x="1857" y="49"/>
                  </a:lnTo>
                  <a:lnTo>
                    <a:pt x="1735" y="98"/>
                  </a:lnTo>
                  <a:lnTo>
                    <a:pt x="1637" y="196"/>
                  </a:lnTo>
                  <a:lnTo>
                    <a:pt x="1540" y="294"/>
                  </a:lnTo>
                  <a:lnTo>
                    <a:pt x="1369" y="562"/>
                  </a:lnTo>
                  <a:lnTo>
                    <a:pt x="1173" y="904"/>
                  </a:lnTo>
                  <a:lnTo>
                    <a:pt x="782" y="1735"/>
                  </a:lnTo>
                  <a:lnTo>
                    <a:pt x="367" y="2614"/>
                  </a:lnTo>
                  <a:lnTo>
                    <a:pt x="196" y="3005"/>
                  </a:lnTo>
                  <a:lnTo>
                    <a:pt x="74" y="3395"/>
                  </a:lnTo>
                  <a:lnTo>
                    <a:pt x="25" y="3566"/>
                  </a:lnTo>
                  <a:lnTo>
                    <a:pt x="1" y="3737"/>
                  </a:lnTo>
                  <a:lnTo>
                    <a:pt x="25" y="3908"/>
                  </a:lnTo>
                  <a:lnTo>
                    <a:pt x="50" y="4055"/>
                  </a:lnTo>
                  <a:lnTo>
                    <a:pt x="99" y="4177"/>
                  </a:lnTo>
                  <a:lnTo>
                    <a:pt x="196" y="4299"/>
                  </a:lnTo>
                  <a:lnTo>
                    <a:pt x="318" y="4397"/>
                  </a:lnTo>
                  <a:lnTo>
                    <a:pt x="465" y="4494"/>
                  </a:lnTo>
                  <a:lnTo>
                    <a:pt x="636" y="4568"/>
                  </a:lnTo>
                  <a:lnTo>
                    <a:pt x="831" y="4616"/>
                  </a:lnTo>
                  <a:lnTo>
                    <a:pt x="1027" y="4641"/>
                  </a:lnTo>
                  <a:lnTo>
                    <a:pt x="1198" y="4641"/>
                  </a:lnTo>
                  <a:lnTo>
                    <a:pt x="1393" y="4616"/>
                  </a:lnTo>
                  <a:lnTo>
                    <a:pt x="1588" y="4568"/>
                  </a:lnTo>
                  <a:lnTo>
                    <a:pt x="1784" y="4494"/>
                  </a:lnTo>
                  <a:lnTo>
                    <a:pt x="1955" y="4421"/>
                  </a:lnTo>
                  <a:lnTo>
                    <a:pt x="2150" y="4323"/>
                  </a:lnTo>
                  <a:lnTo>
                    <a:pt x="2321" y="4201"/>
                  </a:lnTo>
                  <a:lnTo>
                    <a:pt x="2492" y="4055"/>
                  </a:lnTo>
                  <a:lnTo>
                    <a:pt x="2663" y="3884"/>
                  </a:lnTo>
                  <a:lnTo>
                    <a:pt x="2810" y="3713"/>
                  </a:lnTo>
                  <a:lnTo>
                    <a:pt x="2956" y="3517"/>
                  </a:lnTo>
                  <a:lnTo>
                    <a:pt x="3078" y="3322"/>
                  </a:lnTo>
                  <a:lnTo>
                    <a:pt x="3200" y="3102"/>
                  </a:lnTo>
                  <a:lnTo>
                    <a:pt x="3298" y="2882"/>
                  </a:lnTo>
                  <a:lnTo>
                    <a:pt x="3371" y="2638"/>
                  </a:lnTo>
                  <a:lnTo>
                    <a:pt x="3420" y="2418"/>
                  </a:lnTo>
                  <a:lnTo>
                    <a:pt x="3469" y="2174"/>
                  </a:lnTo>
                  <a:lnTo>
                    <a:pt x="3493" y="1954"/>
                  </a:lnTo>
                  <a:lnTo>
                    <a:pt x="3493" y="1735"/>
                  </a:lnTo>
                  <a:lnTo>
                    <a:pt x="3469" y="1515"/>
                  </a:lnTo>
                  <a:lnTo>
                    <a:pt x="3445" y="1319"/>
                  </a:lnTo>
                  <a:lnTo>
                    <a:pt x="3396" y="1124"/>
                  </a:lnTo>
                  <a:lnTo>
                    <a:pt x="3322" y="929"/>
                  </a:lnTo>
                  <a:lnTo>
                    <a:pt x="3249" y="758"/>
                  </a:lnTo>
                  <a:lnTo>
                    <a:pt x="3127" y="587"/>
                  </a:lnTo>
                  <a:lnTo>
                    <a:pt x="3005" y="440"/>
                  </a:lnTo>
                  <a:lnTo>
                    <a:pt x="2883" y="318"/>
                  </a:lnTo>
                  <a:lnTo>
                    <a:pt x="2736" y="196"/>
                  </a:lnTo>
                  <a:lnTo>
                    <a:pt x="2565" y="98"/>
                  </a:lnTo>
                  <a:lnTo>
                    <a:pt x="2394" y="49"/>
                  </a:lnTo>
                  <a:lnTo>
                    <a:pt x="2248"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73" name="Shape 602"/>
            <p:cNvSpPr/>
            <p:nvPr/>
          </p:nvSpPr>
          <p:spPr>
            <a:xfrm>
              <a:off x="6727300" y="5185625"/>
              <a:ext cx="263800" cy="248525"/>
            </a:xfrm>
            <a:custGeom>
              <a:avLst/>
              <a:gdLst/>
              <a:ahLst/>
              <a:cxnLst/>
              <a:rect l="0" t="0" r="0" b="0"/>
              <a:pathLst>
                <a:path w="10552" h="9941" extrusionOk="0">
                  <a:moveTo>
                    <a:pt x="5252" y="0"/>
                  </a:moveTo>
                  <a:lnTo>
                    <a:pt x="4959" y="25"/>
                  </a:lnTo>
                  <a:lnTo>
                    <a:pt x="4666" y="73"/>
                  </a:lnTo>
                  <a:lnTo>
                    <a:pt x="4372" y="171"/>
                  </a:lnTo>
                  <a:lnTo>
                    <a:pt x="4104" y="293"/>
                  </a:lnTo>
                  <a:lnTo>
                    <a:pt x="3835" y="464"/>
                  </a:lnTo>
                  <a:lnTo>
                    <a:pt x="3591" y="635"/>
                  </a:lnTo>
                  <a:lnTo>
                    <a:pt x="3371" y="855"/>
                  </a:lnTo>
                  <a:lnTo>
                    <a:pt x="3176" y="1124"/>
                  </a:lnTo>
                  <a:lnTo>
                    <a:pt x="3029" y="1343"/>
                  </a:lnTo>
                  <a:lnTo>
                    <a:pt x="2907" y="1612"/>
                  </a:lnTo>
                  <a:lnTo>
                    <a:pt x="2809" y="1856"/>
                  </a:lnTo>
                  <a:lnTo>
                    <a:pt x="2736" y="2125"/>
                  </a:lnTo>
                  <a:lnTo>
                    <a:pt x="2565" y="2662"/>
                  </a:lnTo>
                  <a:lnTo>
                    <a:pt x="2492" y="2931"/>
                  </a:lnTo>
                  <a:lnTo>
                    <a:pt x="2394" y="3200"/>
                  </a:lnTo>
                  <a:lnTo>
                    <a:pt x="2248" y="3444"/>
                  </a:lnTo>
                  <a:lnTo>
                    <a:pt x="2101" y="3688"/>
                  </a:lnTo>
                  <a:lnTo>
                    <a:pt x="1906" y="3908"/>
                  </a:lnTo>
                  <a:lnTo>
                    <a:pt x="1735" y="4103"/>
                  </a:lnTo>
                  <a:lnTo>
                    <a:pt x="1320" y="4470"/>
                  </a:lnTo>
                  <a:lnTo>
                    <a:pt x="904" y="4860"/>
                  </a:lnTo>
                  <a:lnTo>
                    <a:pt x="709" y="5080"/>
                  </a:lnTo>
                  <a:lnTo>
                    <a:pt x="514" y="5324"/>
                  </a:lnTo>
                  <a:lnTo>
                    <a:pt x="367" y="5569"/>
                  </a:lnTo>
                  <a:lnTo>
                    <a:pt x="245" y="5837"/>
                  </a:lnTo>
                  <a:lnTo>
                    <a:pt x="147" y="6130"/>
                  </a:lnTo>
                  <a:lnTo>
                    <a:pt x="74" y="6423"/>
                  </a:lnTo>
                  <a:lnTo>
                    <a:pt x="25" y="6741"/>
                  </a:lnTo>
                  <a:lnTo>
                    <a:pt x="1" y="7034"/>
                  </a:lnTo>
                  <a:lnTo>
                    <a:pt x="25" y="7327"/>
                  </a:lnTo>
                  <a:lnTo>
                    <a:pt x="50" y="7620"/>
                  </a:lnTo>
                  <a:lnTo>
                    <a:pt x="123" y="7889"/>
                  </a:lnTo>
                  <a:lnTo>
                    <a:pt x="221" y="8158"/>
                  </a:lnTo>
                  <a:lnTo>
                    <a:pt x="318" y="8426"/>
                  </a:lnTo>
                  <a:lnTo>
                    <a:pt x="440" y="8646"/>
                  </a:lnTo>
                  <a:lnTo>
                    <a:pt x="611" y="8890"/>
                  </a:lnTo>
                  <a:lnTo>
                    <a:pt x="782" y="9086"/>
                  </a:lnTo>
                  <a:lnTo>
                    <a:pt x="953" y="9281"/>
                  </a:lnTo>
                  <a:lnTo>
                    <a:pt x="1149" y="9428"/>
                  </a:lnTo>
                  <a:lnTo>
                    <a:pt x="1368" y="9574"/>
                  </a:lnTo>
                  <a:lnTo>
                    <a:pt x="1613" y="9696"/>
                  </a:lnTo>
                  <a:lnTo>
                    <a:pt x="1857" y="9794"/>
                  </a:lnTo>
                  <a:lnTo>
                    <a:pt x="2101" y="9867"/>
                  </a:lnTo>
                  <a:lnTo>
                    <a:pt x="2370" y="9916"/>
                  </a:lnTo>
                  <a:lnTo>
                    <a:pt x="2614" y="9940"/>
                  </a:lnTo>
                  <a:lnTo>
                    <a:pt x="2980" y="9916"/>
                  </a:lnTo>
                  <a:lnTo>
                    <a:pt x="3347" y="9818"/>
                  </a:lnTo>
                  <a:lnTo>
                    <a:pt x="3689" y="9696"/>
                  </a:lnTo>
                  <a:lnTo>
                    <a:pt x="4006" y="9501"/>
                  </a:lnTo>
                  <a:lnTo>
                    <a:pt x="4153" y="9403"/>
                  </a:lnTo>
                  <a:lnTo>
                    <a:pt x="4299" y="9330"/>
                  </a:lnTo>
                  <a:lnTo>
                    <a:pt x="4446" y="9305"/>
                  </a:lnTo>
                  <a:lnTo>
                    <a:pt x="4592" y="9257"/>
                  </a:lnTo>
                  <a:lnTo>
                    <a:pt x="4910" y="9232"/>
                  </a:lnTo>
                  <a:lnTo>
                    <a:pt x="5642" y="9232"/>
                  </a:lnTo>
                  <a:lnTo>
                    <a:pt x="5960" y="9257"/>
                  </a:lnTo>
                  <a:lnTo>
                    <a:pt x="6106" y="9305"/>
                  </a:lnTo>
                  <a:lnTo>
                    <a:pt x="6253" y="9330"/>
                  </a:lnTo>
                  <a:lnTo>
                    <a:pt x="6400" y="9403"/>
                  </a:lnTo>
                  <a:lnTo>
                    <a:pt x="6546" y="9501"/>
                  </a:lnTo>
                  <a:lnTo>
                    <a:pt x="6864" y="9696"/>
                  </a:lnTo>
                  <a:lnTo>
                    <a:pt x="7206" y="9818"/>
                  </a:lnTo>
                  <a:lnTo>
                    <a:pt x="7572" y="9916"/>
                  </a:lnTo>
                  <a:lnTo>
                    <a:pt x="7938" y="9940"/>
                  </a:lnTo>
                  <a:lnTo>
                    <a:pt x="8207" y="9916"/>
                  </a:lnTo>
                  <a:lnTo>
                    <a:pt x="8451" y="9867"/>
                  </a:lnTo>
                  <a:lnTo>
                    <a:pt x="8695" y="9794"/>
                  </a:lnTo>
                  <a:lnTo>
                    <a:pt x="8940" y="9696"/>
                  </a:lnTo>
                  <a:lnTo>
                    <a:pt x="9184" y="9574"/>
                  </a:lnTo>
                  <a:lnTo>
                    <a:pt x="9404" y="9428"/>
                  </a:lnTo>
                  <a:lnTo>
                    <a:pt x="9599" y="9281"/>
                  </a:lnTo>
                  <a:lnTo>
                    <a:pt x="9770" y="9086"/>
                  </a:lnTo>
                  <a:lnTo>
                    <a:pt x="9941" y="8890"/>
                  </a:lnTo>
                  <a:lnTo>
                    <a:pt x="10112" y="8646"/>
                  </a:lnTo>
                  <a:lnTo>
                    <a:pt x="10234" y="8426"/>
                  </a:lnTo>
                  <a:lnTo>
                    <a:pt x="10332" y="8158"/>
                  </a:lnTo>
                  <a:lnTo>
                    <a:pt x="10429" y="7889"/>
                  </a:lnTo>
                  <a:lnTo>
                    <a:pt x="10503" y="7620"/>
                  </a:lnTo>
                  <a:lnTo>
                    <a:pt x="10527" y="7327"/>
                  </a:lnTo>
                  <a:lnTo>
                    <a:pt x="10551" y="7034"/>
                  </a:lnTo>
                  <a:lnTo>
                    <a:pt x="10527" y="6741"/>
                  </a:lnTo>
                  <a:lnTo>
                    <a:pt x="10478" y="6423"/>
                  </a:lnTo>
                  <a:lnTo>
                    <a:pt x="10405" y="6130"/>
                  </a:lnTo>
                  <a:lnTo>
                    <a:pt x="10307" y="5837"/>
                  </a:lnTo>
                  <a:lnTo>
                    <a:pt x="10185" y="5569"/>
                  </a:lnTo>
                  <a:lnTo>
                    <a:pt x="10039" y="5324"/>
                  </a:lnTo>
                  <a:lnTo>
                    <a:pt x="9843" y="5080"/>
                  </a:lnTo>
                  <a:lnTo>
                    <a:pt x="9648" y="4860"/>
                  </a:lnTo>
                  <a:lnTo>
                    <a:pt x="9233" y="4470"/>
                  </a:lnTo>
                  <a:lnTo>
                    <a:pt x="8817" y="4103"/>
                  </a:lnTo>
                  <a:lnTo>
                    <a:pt x="8646" y="3908"/>
                  </a:lnTo>
                  <a:lnTo>
                    <a:pt x="8451" y="3688"/>
                  </a:lnTo>
                  <a:lnTo>
                    <a:pt x="8305" y="3444"/>
                  </a:lnTo>
                  <a:lnTo>
                    <a:pt x="8158" y="3200"/>
                  </a:lnTo>
                  <a:lnTo>
                    <a:pt x="8060" y="2931"/>
                  </a:lnTo>
                  <a:lnTo>
                    <a:pt x="7963" y="2662"/>
                  </a:lnTo>
                  <a:lnTo>
                    <a:pt x="7816" y="2125"/>
                  </a:lnTo>
                  <a:lnTo>
                    <a:pt x="7743" y="1856"/>
                  </a:lnTo>
                  <a:lnTo>
                    <a:pt x="7645" y="1612"/>
                  </a:lnTo>
                  <a:lnTo>
                    <a:pt x="7523" y="1343"/>
                  </a:lnTo>
                  <a:lnTo>
                    <a:pt x="7376" y="1124"/>
                  </a:lnTo>
                  <a:lnTo>
                    <a:pt x="7181" y="855"/>
                  </a:lnTo>
                  <a:lnTo>
                    <a:pt x="6961" y="635"/>
                  </a:lnTo>
                  <a:lnTo>
                    <a:pt x="6717" y="464"/>
                  </a:lnTo>
                  <a:lnTo>
                    <a:pt x="6448" y="293"/>
                  </a:lnTo>
                  <a:lnTo>
                    <a:pt x="6180" y="171"/>
                  </a:lnTo>
                  <a:lnTo>
                    <a:pt x="5887" y="73"/>
                  </a:lnTo>
                  <a:lnTo>
                    <a:pt x="5594" y="25"/>
                  </a:lnTo>
                  <a:lnTo>
                    <a:pt x="5301" y="0"/>
                  </a:lnTo>
                  <a:close/>
                </a:path>
              </a:pathLst>
            </a:custGeom>
            <a:solidFill>
              <a:srgbClr val="FFFFFF"/>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grpSp>
        <p:nvGrpSpPr>
          <p:cNvPr id="274" name="Shape 603"/>
          <p:cNvGrpSpPr/>
          <p:nvPr/>
        </p:nvGrpSpPr>
        <p:grpSpPr>
          <a:xfrm>
            <a:off x="8326881" y="3263055"/>
            <a:ext cx="432570" cy="421334"/>
            <a:chOff x="5926225" y="921350"/>
            <a:chExt cx="517800" cy="504350"/>
          </a:xfrm>
        </p:grpSpPr>
        <p:sp>
          <p:nvSpPr>
            <p:cNvPr id="275" name="Shape 604"/>
            <p:cNvSpPr/>
            <p:nvPr/>
          </p:nvSpPr>
          <p:spPr>
            <a:xfrm>
              <a:off x="5926225" y="921350"/>
              <a:ext cx="517800" cy="504350"/>
            </a:xfrm>
            <a:custGeom>
              <a:avLst/>
              <a:gdLst/>
              <a:ahLst/>
              <a:cxnLst/>
              <a:rect l="0" t="0" r="0" b="0"/>
              <a:pathLst>
                <a:path w="20712" h="20174" extrusionOk="0">
                  <a:moveTo>
                    <a:pt x="10356" y="2858"/>
                  </a:moveTo>
                  <a:lnTo>
                    <a:pt x="10722" y="2882"/>
                  </a:lnTo>
                  <a:lnTo>
                    <a:pt x="11089" y="2907"/>
                  </a:lnTo>
                  <a:lnTo>
                    <a:pt x="11455" y="2956"/>
                  </a:lnTo>
                  <a:lnTo>
                    <a:pt x="11821" y="3004"/>
                  </a:lnTo>
                  <a:lnTo>
                    <a:pt x="12163" y="3102"/>
                  </a:lnTo>
                  <a:lnTo>
                    <a:pt x="12505" y="3200"/>
                  </a:lnTo>
                  <a:lnTo>
                    <a:pt x="12847" y="3298"/>
                  </a:lnTo>
                  <a:lnTo>
                    <a:pt x="13165" y="3444"/>
                  </a:lnTo>
                  <a:lnTo>
                    <a:pt x="13482" y="3591"/>
                  </a:lnTo>
                  <a:lnTo>
                    <a:pt x="13800" y="3737"/>
                  </a:lnTo>
                  <a:lnTo>
                    <a:pt x="14093" y="3908"/>
                  </a:lnTo>
                  <a:lnTo>
                    <a:pt x="14386" y="4104"/>
                  </a:lnTo>
                  <a:lnTo>
                    <a:pt x="14679" y="4299"/>
                  </a:lnTo>
                  <a:lnTo>
                    <a:pt x="14948" y="4519"/>
                  </a:lnTo>
                  <a:lnTo>
                    <a:pt x="15216" y="4739"/>
                  </a:lnTo>
                  <a:lnTo>
                    <a:pt x="15460" y="4983"/>
                  </a:lnTo>
                  <a:lnTo>
                    <a:pt x="15705" y="5227"/>
                  </a:lnTo>
                  <a:lnTo>
                    <a:pt x="15925" y="5496"/>
                  </a:lnTo>
                  <a:lnTo>
                    <a:pt x="16144" y="5764"/>
                  </a:lnTo>
                  <a:lnTo>
                    <a:pt x="16340" y="6057"/>
                  </a:lnTo>
                  <a:lnTo>
                    <a:pt x="16535" y="6350"/>
                  </a:lnTo>
                  <a:lnTo>
                    <a:pt x="16706" y="6644"/>
                  </a:lnTo>
                  <a:lnTo>
                    <a:pt x="16853" y="6961"/>
                  </a:lnTo>
                  <a:lnTo>
                    <a:pt x="16999" y="7279"/>
                  </a:lnTo>
                  <a:lnTo>
                    <a:pt x="17146" y="7596"/>
                  </a:lnTo>
                  <a:lnTo>
                    <a:pt x="17243" y="7938"/>
                  </a:lnTo>
                  <a:lnTo>
                    <a:pt x="17341" y="8280"/>
                  </a:lnTo>
                  <a:lnTo>
                    <a:pt x="17439" y="8622"/>
                  </a:lnTo>
                  <a:lnTo>
                    <a:pt x="17488" y="8988"/>
                  </a:lnTo>
                  <a:lnTo>
                    <a:pt x="17536" y="9354"/>
                  </a:lnTo>
                  <a:lnTo>
                    <a:pt x="17561" y="9721"/>
                  </a:lnTo>
                  <a:lnTo>
                    <a:pt x="17585" y="10087"/>
                  </a:lnTo>
                  <a:lnTo>
                    <a:pt x="17561" y="10454"/>
                  </a:lnTo>
                  <a:lnTo>
                    <a:pt x="17536" y="10820"/>
                  </a:lnTo>
                  <a:lnTo>
                    <a:pt x="17488" y="11186"/>
                  </a:lnTo>
                  <a:lnTo>
                    <a:pt x="17439" y="11553"/>
                  </a:lnTo>
                  <a:lnTo>
                    <a:pt x="17341" y="11894"/>
                  </a:lnTo>
                  <a:lnTo>
                    <a:pt x="17243" y="12236"/>
                  </a:lnTo>
                  <a:lnTo>
                    <a:pt x="17146" y="12578"/>
                  </a:lnTo>
                  <a:lnTo>
                    <a:pt x="16999" y="12896"/>
                  </a:lnTo>
                  <a:lnTo>
                    <a:pt x="16853" y="13213"/>
                  </a:lnTo>
                  <a:lnTo>
                    <a:pt x="16706" y="13531"/>
                  </a:lnTo>
                  <a:lnTo>
                    <a:pt x="16535" y="13824"/>
                  </a:lnTo>
                  <a:lnTo>
                    <a:pt x="16340" y="14117"/>
                  </a:lnTo>
                  <a:lnTo>
                    <a:pt x="16144" y="14410"/>
                  </a:lnTo>
                  <a:lnTo>
                    <a:pt x="15925" y="14679"/>
                  </a:lnTo>
                  <a:lnTo>
                    <a:pt x="15705" y="14947"/>
                  </a:lnTo>
                  <a:lnTo>
                    <a:pt x="15460" y="15192"/>
                  </a:lnTo>
                  <a:lnTo>
                    <a:pt x="15216" y="15436"/>
                  </a:lnTo>
                  <a:lnTo>
                    <a:pt x="14948" y="15656"/>
                  </a:lnTo>
                  <a:lnTo>
                    <a:pt x="14679" y="15875"/>
                  </a:lnTo>
                  <a:lnTo>
                    <a:pt x="14386" y="16071"/>
                  </a:lnTo>
                  <a:lnTo>
                    <a:pt x="14093" y="16266"/>
                  </a:lnTo>
                  <a:lnTo>
                    <a:pt x="13800" y="16437"/>
                  </a:lnTo>
                  <a:lnTo>
                    <a:pt x="13482" y="16584"/>
                  </a:lnTo>
                  <a:lnTo>
                    <a:pt x="13165" y="16730"/>
                  </a:lnTo>
                  <a:lnTo>
                    <a:pt x="12847" y="16877"/>
                  </a:lnTo>
                  <a:lnTo>
                    <a:pt x="12505" y="16974"/>
                  </a:lnTo>
                  <a:lnTo>
                    <a:pt x="12163" y="17072"/>
                  </a:lnTo>
                  <a:lnTo>
                    <a:pt x="11821" y="17170"/>
                  </a:lnTo>
                  <a:lnTo>
                    <a:pt x="11455" y="17219"/>
                  </a:lnTo>
                  <a:lnTo>
                    <a:pt x="11089" y="17268"/>
                  </a:lnTo>
                  <a:lnTo>
                    <a:pt x="10722" y="17292"/>
                  </a:lnTo>
                  <a:lnTo>
                    <a:pt x="10356" y="17316"/>
                  </a:lnTo>
                  <a:lnTo>
                    <a:pt x="9990" y="17292"/>
                  </a:lnTo>
                  <a:lnTo>
                    <a:pt x="9623" y="17268"/>
                  </a:lnTo>
                  <a:lnTo>
                    <a:pt x="9257" y="17219"/>
                  </a:lnTo>
                  <a:lnTo>
                    <a:pt x="8891" y="17170"/>
                  </a:lnTo>
                  <a:lnTo>
                    <a:pt x="8549" y="17072"/>
                  </a:lnTo>
                  <a:lnTo>
                    <a:pt x="8207" y="16974"/>
                  </a:lnTo>
                  <a:lnTo>
                    <a:pt x="7865" y="16877"/>
                  </a:lnTo>
                  <a:lnTo>
                    <a:pt x="7547" y="16730"/>
                  </a:lnTo>
                  <a:lnTo>
                    <a:pt x="7230" y="16584"/>
                  </a:lnTo>
                  <a:lnTo>
                    <a:pt x="6912" y="16437"/>
                  </a:lnTo>
                  <a:lnTo>
                    <a:pt x="6619" y="16266"/>
                  </a:lnTo>
                  <a:lnTo>
                    <a:pt x="6326" y="16071"/>
                  </a:lnTo>
                  <a:lnTo>
                    <a:pt x="6033" y="15875"/>
                  </a:lnTo>
                  <a:lnTo>
                    <a:pt x="5765" y="15656"/>
                  </a:lnTo>
                  <a:lnTo>
                    <a:pt x="5496" y="15436"/>
                  </a:lnTo>
                  <a:lnTo>
                    <a:pt x="5252" y="15192"/>
                  </a:lnTo>
                  <a:lnTo>
                    <a:pt x="5007" y="14947"/>
                  </a:lnTo>
                  <a:lnTo>
                    <a:pt x="4788" y="14679"/>
                  </a:lnTo>
                  <a:lnTo>
                    <a:pt x="4568" y="14410"/>
                  </a:lnTo>
                  <a:lnTo>
                    <a:pt x="4372" y="14117"/>
                  </a:lnTo>
                  <a:lnTo>
                    <a:pt x="4177" y="13824"/>
                  </a:lnTo>
                  <a:lnTo>
                    <a:pt x="4006" y="13531"/>
                  </a:lnTo>
                  <a:lnTo>
                    <a:pt x="3860" y="13213"/>
                  </a:lnTo>
                  <a:lnTo>
                    <a:pt x="3713" y="12896"/>
                  </a:lnTo>
                  <a:lnTo>
                    <a:pt x="3566" y="12578"/>
                  </a:lnTo>
                  <a:lnTo>
                    <a:pt x="3469" y="12236"/>
                  </a:lnTo>
                  <a:lnTo>
                    <a:pt x="3371" y="11894"/>
                  </a:lnTo>
                  <a:lnTo>
                    <a:pt x="3273" y="11553"/>
                  </a:lnTo>
                  <a:lnTo>
                    <a:pt x="3225" y="11186"/>
                  </a:lnTo>
                  <a:lnTo>
                    <a:pt x="3176" y="10820"/>
                  </a:lnTo>
                  <a:lnTo>
                    <a:pt x="3151" y="10454"/>
                  </a:lnTo>
                  <a:lnTo>
                    <a:pt x="3127" y="10087"/>
                  </a:lnTo>
                  <a:lnTo>
                    <a:pt x="3151" y="9721"/>
                  </a:lnTo>
                  <a:lnTo>
                    <a:pt x="3176" y="9354"/>
                  </a:lnTo>
                  <a:lnTo>
                    <a:pt x="3225" y="8988"/>
                  </a:lnTo>
                  <a:lnTo>
                    <a:pt x="3273" y="8622"/>
                  </a:lnTo>
                  <a:lnTo>
                    <a:pt x="3371" y="8280"/>
                  </a:lnTo>
                  <a:lnTo>
                    <a:pt x="3469" y="7938"/>
                  </a:lnTo>
                  <a:lnTo>
                    <a:pt x="3566" y="7596"/>
                  </a:lnTo>
                  <a:lnTo>
                    <a:pt x="3713" y="7279"/>
                  </a:lnTo>
                  <a:lnTo>
                    <a:pt x="3860" y="6961"/>
                  </a:lnTo>
                  <a:lnTo>
                    <a:pt x="4006" y="6644"/>
                  </a:lnTo>
                  <a:lnTo>
                    <a:pt x="4177" y="6350"/>
                  </a:lnTo>
                  <a:lnTo>
                    <a:pt x="4372" y="6057"/>
                  </a:lnTo>
                  <a:lnTo>
                    <a:pt x="4568" y="5764"/>
                  </a:lnTo>
                  <a:lnTo>
                    <a:pt x="4788" y="5496"/>
                  </a:lnTo>
                  <a:lnTo>
                    <a:pt x="5007" y="5227"/>
                  </a:lnTo>
                  <a:lnTo>
                    <a:pt x="5252" y="4983"/>
                  </a:lnTo>
                  <a:lnTo>
                    <a:pt x="5496" y="4739"/>
                  </a:lnTo>
                  <a:lnTo>
                    <a:pt x="5765" y="4519"/>
                  </a:lnTo>
                  <a:lnTo>
                    <a:pt x="6033" y="4299"/>
                  </a:lnTo>
                  <a:lnTo>
                    <a:pt x="6326" y="4104"/>
                  </a:lnTo>
                  <a:lnTo>
                    <a:pt x="6619" y="3908"/>
                  </a:lnTo>
                  <a:lnTo>
                    <a:pt x="6912" y="3737"/>
                  </a:lnTo>
                  <a:lnTo>
                    <a:pt x="7230" y="3591"/>
                  </a:lnTo>
                  <a:lnTo>
                    <a:pt x="7547" y="3444"/>
                  </a:lnTo>
                  <a:lnTo>
                    <a:pt x="7865" y="3298"/>
                  </a:lnTo>
                  <a:lnTo>
                    <a:pt x="8207" y="3200"/>
                  </a:lnTo>
                  <a:lnTo>
                    <a:pt x="8549" y="3102"/>
                  </a:lnTo>
                  <a:lnTo>
                    <a:pt x="8891" y="3004"/>
                  </a:lnTo>
                  <a:lnTo>
                    <a:pt x="9257" y="2956"/>
                  </a:lnTo>
                  <a:lnTo>
                    <a:pt x="9623" y="2907"/>
                  </a:lnTo>
                  <a:lnTo>
                    <a:pt x="9990" y="2882"/>
                  </a:lnTo>
                  <a:lnTo>
                    <a:pt x="10356" y="2858"/>
                  </a:lnTo>
                  <a:close/>
                  <a:moveTo>
                    <a:pt x="8060" y="0"/>
                  </a:moveTo>
                  <a:lnTo>
                    <a:pt x="6717" y="2516"/>
                  </a:lnTo>
                  <a:lnTo>
                    <a:pt x="3908" y="2003"/>
                  </a:lnTo>
                  <a:lnTo>
                    <a:pt x="3786" y="4861"/>
                  </a:lnTo>
                  <a:lnTo>
                    <a:pt x="1026" y="5593"/>
                  </a:lnTo>
                  <a:lnTo>
                    <a:pt x="2174" y="8207"/>
                  </a:lnTo>
                  <a:lnTo>
                    <a:pt x="1" y="10087"/>
                  </a:lnTo>
                  <a:lnTo>
                    <a:pt x="2174" y="11968"/>
                  </a:lnTo>
                  <a:lnTo>
                    <a:pt x="1026" y="14581"/>
                  </a:lnTo>
                  <a:lnTo>
                    <a:pt x="3786" y="15314"/>
                  </a:lnTo>
                  <a:lnTo>
                    <a:pt x="3908" y="18171"/>
                  </a:lnTo>
                  <a:lnTo>
                    <a:pt x="6717" y="17658"/>
                  </a:lnTo>
                  <a:lnTo>
                    <a:pt x="8060" y="20174"/>
                  </a:lnTo>
                  <a:lnTo>
                    <a:pt x="10356" y="18489"/>
                  </a:lnTo>
                  <a:lnTo>
                    <a:pt x="12652" y="20174"/>
                  </a:lnTo>
                  <a:lnTo>
                    <a:pt x="13995" y="17658"/>
                  </a:lnTo>
                  <a:lnTo>
                    <a:pt x="16804" y="18171"/>
                  </a:lnTo>
                  <a:lnTo>
                    <a:pt x="16926" y="15314"/>
                  </a:lnTo>
                  <a:lnTo>
                    <a:pt x="19686" y="14581"/>
                  </a:lnTo>
                  <a:lnTo>
                    <a:pt x="18538" y="11968"/>
                  </a:lnTo>
                  <a:lnTo>
                    <a:pt x="20711" y="10087"/>
                  </a:lnTo>
                  <a:lnTo>
                    <a:pt x="18538" y="8207"/>
                  </a:lnTo>
                  <a:lnTo>
                    <a:pt x="19686" y="5593"/>
                  </a:lnTo>
                  <a:lnTo>
                    <a:pt x="16926" y="4861"/>
                  </a:lnTo>
                  <a:lnTo>
                    <a:pt x="16804" y="2003"/>
                  </a:lnTo>
                  <a:lnTo>
                    <a:pt x="13995" y="2516"/>
                  </a:lnTo>
                  <a:lnTo>
                    <a:pt x="12652" y="0"/>
                  </a:lnTo>
                  <a:lnTo>
                    <a:pt x="10356" y="1686"/>
                  </a:lnTo>
                  <a:lnTo>
                    <a:pt x="8060" y="0"/>
                  </a:lnTo>
                  <a:close/>
                </a:path>
              </a:pathLst>
            </a:custGeom>
            <a:solidFill>
              <a:srgbClr val="FFFF00"/>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solidFill>
                  <a:srgbClr val="F1C232"/>
                </a:solidFill>
                <a:latin typeface="Gulim" charset="-127"/>
              </a:endParaRPr>
            </a:p>
          </p:txBody>
        </p:sp>
        <p:sp>
          <p:nvSpPr>
            <p:cNvPr id="276" name="Shape 605"/>
            <p:cNvSpPr/>
            <p:nvPr/>
          </p:nvSpPr>
          <p:spPr>
            <a:xfrm>
              <a:off x="6016600" y="1005000"/>
              <a:ext cx="337050" cy="337050"/>
            </a:xfrm>
            <a:custGeom>
              <a:avLst/>
              <a:gdLst/>
              <a:ahLst/>
              <a:cxnLst/>
              <a:rect l="0" t="0" r="0" b="0"/>
              <a:pathLst>
                <a:path w="13482" h="13482" extrusionOk="0">
                  <a:moveTo>
                    <a:pt x="6741" y="0"/>
                  </a:moveTo>
                  <a:lnTo>
                    <a:pt x="6399" y="25"/>
                  </a:lnTo>
                  <a:lnTo>
                    <a:pt x="6057" y="49"/>
                  </a:lnTo>
                  <a:lnTo>
                    <a:pt x="5715" y="98"/>
                  </a:lnTo>
                  <a:lnTo>
                    <a:pt x="5398" y="147"/>
                  </a:lnTo>
                  <a:lnTo>
                    <a:pt x="5056" y="220"/>
                  </a:lnTo>
                  <a:lnTo>
                    <a:pt x="4738" y="318"/>
                  </a:lnTo>
                  <a:lnTo>
                    <a:pt x="4421" y="416"/>
                  </a:lnTo>
                  <a:lnTo>
                    <a:pt x="4128" y="538"/>
                  </a:lnTo>
                  <a:lnTo>
                    <a:pt x="3835" y="684"/>
                  </a:lnTo>
                  <a:lnTo>
                    <a:pt x="3542" y="831"/>
                  </a:lnTo>
                  <a:lnTo>
                    <a:pt x="3249" y="977"/>
                  </a:lnTo>
                  <a:lnTo>
                    <a:pt x="2980" y="1173"/>
                  </a:lnTo>
                  <a:lnTo>
                    <a:pt x="2711" y="1344"/>
                  </a:lnTo>
                  <a:lnTo>
                    <a:pt x="2467" y="1539"/>
                  </a:lnTo>
                  <a:lnTo>
                    <a:pt x="2223" y="1759"/>
                  </a:lnTo>
                  <a:lnTo>
                    <a:pt x="1979" y="1979"/>
                  </a:lnTo>
                  <a:lnTo>
                    <a:pt x="1759" y="2223"/>
                  </a:lnTo>
                  <a:lnTo>
                    <a:pt x="1539" y="2467"/>
                  </a:lnTo>
                  <a:lnTo>
                    <a:pt x="1344" y="2711"/>
                  </a:lnTo>
                  <a:lnTo>
                    <a:pt x="1173" y="2980"/>
                  </a:lnTo>
                  <a:lnTo>
                    <a:pt x="977" y="3249"/>
                  </a:lnTo>
                  <a:lnTo>
                    <a:pt x="831" y="3542"/>
                  </a:lnTo>
                  <a:lnTo>
                    <a:pt x="684" y="3835"/>
                  </a:lnTo>
                  <a:lnTo>
                    <a:pt x="538" y="4128"/>
                  </a:lnTo>
                  <a:lnTo>
                    <a:pt x="416" y="4421"/>
                  </a:lnTo>
                  <a:lnTo>
                    <a:pt x="318" y="4738"/>
                  </a:lnTo>
                  <a:lnTo>
                    <a:pt x="220" y="5056"/>
                  </a:lnTo>
                  <a:lnTo>
                    <a:pt x="147" y="5398"/>
                  </a:lnTo>
                  <a:lnTo>
                    <a:pt x="98" y="5715"/>
                  </a:lnTo>
                  <a:lnTo>
                    <a:pt x="49" y="6057"/>
                  </a:lnTo>
                  <a:lnTo>
                    <a:pt x="25" y="6399"/>
                  </a:lnTo>
                  <a:lnTo>
                    <a:pt x="0" y="6741"/>
                  </a:lnTo>
                  <a:lnTo>
                    <a:pt x="25" y="7083"/>
                  </a:lnTo>
                  <a:lnTo>
                    <a:pt x="49" y="7425"/>
                  </a:lnTo>
                  <a:lnTo>
                    <a:pt x="98" y="7767"/>
                  </a:lnTo>
                  <a:lnTo>
                    <a:pt x="147" y="8084"/>
                  </a:lnTo>
                  <a:lnTo>
                    <a:pt x="220" y="8426"/>
                  </a:lnTo>
                  <a:lnTo>
                    <a:pt x="318" y="8744"/>
                  </a:lnTo>
                  <a:lnTo>
                    <a:pt x="416" y="9061"/>
                  </a:lnTo>
                  <a:lnTo>
                    <a:pt x="538" y="9354"/>
                  </a:lnTo>
                  <a:lnTo>
                    <a:pt x="684" y="9648"/>
                  </a:lnTo>
                  <a:lnTo>
                    <a:pt x="831" y="9941"/>
                  </a:lnTo>
                  <a:lnTo>
                    <a:pt x="977" y="10234"/>
                  </a:lnTo>
                  <a:lnTo>
                    <a:pt x="1173" y="10502"/>
                  </a:lnTo>
                  <a:lnTo>
                    <a:pt x="1344" y="10771"/>
                  </a:lnTo>
                  <a:lnTo>
                    <a:pt x="1539" y="11015"/>
                  </a:lnTo>
                  <a:lnTo>
                    <a:pt x="1759" y="11259"/>
                  </a:lnTo>
                  <a:lnTo>
                    <a:pt x="1979" y="11504"/>
                  </a:lnTo>
                  <a:lnTo>
                    <a:pt x="2223" y="11723"/>
                  </a:lnTo>
                  <a:lnTo>
                    <a:pt x="2467" y="11943"/>
                  </a:lnTo>
                  <a:lnTo>
                    <a:pt x="2711" y="12139"/>
                  </a:lnTo>
                  <a:lnTo>
                    <a:pt x="2980" y="12310"/>
                  </a:lnTo>
                  <a:lnTo>
                    <a:pt x="3249" y="12505"/>
                  </a:lnTo>
                  <a:lnTo>
                    <a:pt x="3542" y="12652"/>
                  </a:lnTo>
                  <a:lnTo>
                    <a:pt x="3835" y="12798"/>
                  </a:lnTo>
                  <a:lnTo>
                    <a:pt x="4128" y="12945"/>
                  </a:lnTo>
                  <a:lnTo>
                    <a:pt x="4421" y="13067"/>
                  </a:lnTo>
                  <a:lnTo>
                    <a:pt x="4738" y="13164"/>
                  </a:lnTo>
                  <a:lnTo>
                    <a:pt x="5056" y="13262"/>
                  </a:lnTo>
                  <a:lnTo>
                    <a:pt x="5398" y="13335"/>
                  </a:lnTo>
                  <a:lnTo>
                    <a:pt x="5715" y="13384"/>
                  </a:lnTo>
                  <a:lnTo>
                    <a:pt x="6057" y="13433"/>
                  </a:lnTo>
                  <a:lnTo>
                    <a:pt x="6399" y="13458"/>
                  </a:lnTo>
                  <a:lnTo>
                    <a:pt x="6741" y="13482"/>
                  </a:lnTo>
                  <a:lnTo>
                    <a:pt x="7083" y="13458"/>
                  </a:lnTo>
                  <a:lnTo>
                    <a:pt x="7425" y="13433"/>
                  </a:lnTo>
                  <a:lnTo>
                    <a:pt x="7767" y="13384"/>
                  </a:lnTo>
                  <a:lnTo>
                    <a:pt x="8084" y="13335"/>
                  </a:lnTo>
                  <a:lnTo>
                    <a:pt x="8426" y="13262"/>
                  </a:lnTo>
                  <a:lnTo>
                    <a:pt x="8744" y="13164"/>
                  </a:lnTo>
                  <a:lnTo>
                    <a:pt x="9061" y="13067"/>
                  </a:lnTo>
                  <a:lnTo>
                    <a:pt x="9354" y="12945"/>
                  </a:lnTo>
                  <a:lnTo>
                    <a:pt x="9647" y="12798"/>
                  </a:lnTo>
                  <a:lnTo>
                    <a:pt x="9940" y="12652"/>
                  </a:lnTo>
                  <a:lnTo>
                    <a:pt x="10234" y="12505"/>
                  </a:lnTo>
                  <a:lnTo>
                    <a:pt x="10502" y="12310"/>
                  </a:lnTo>
                  <a:lnTo>
                    <a:pt x="10771" y="12139"/>
                  </a:lnTo>
                  <a:lnTo>
                    <a:pt x="11015" y="11943"/>
                  </a:lnTo>
                  <a:lnTo>
                    <a:pt x="11259" y="11723"/>
                  </a:lnTo>
                  <a:lnTo>
                    <a:pt x="11504" y="11504"/>
                  </a:lnTo>
                  <a:lnTo>
                    <a:pt x="11723" y="11259"/>
                  </a:lnTo>
                  <a:lnTo>
                    <a:pt x="11943" y="11015"/>
                  </a:lnTo>
                  <a:lnTo>
                    <a:pt x="12139" y="10771"/>
                  </a:lnTo>
                  <a:lnTo>
                    <a:pt x="12310" y="10502"/>
                  </a:lnTo>
                  <a:lnTo>
                    <a:pt x="12505" y="10234"/>
                  </a:lnTo>
                  <a:lnTo>
                    <a:pt x="12651" y="9941"/>
                  </a:lnTo>
                  <a:lnTo>
                    <a:pt x="12798" y="9648"/>
                  </a:lnTo>
                  <a:lnTo>
                    <a:pt x="12945" y="9354"/>
                  </a:lnTo>
                  <a:lnTo>
                    <a:pt x="13067" y="9061"/>
                  </a:lnTo>
                  <a:lnTo>
                    <a:pt x="13164" y="8744"/>
                  </a:lnTo>
                  <a:lnTo>
                    <a:pt x="13262" y="8426"/>
                  </a:lnTo>
                  <a:lnTo>
                    <a:pt x="13335" y="8084"/>
                  </a:lnTo>
                  <a:lnTo>
                    <a:pt x="13384" y="7767"/>
                  </a:lnTo>
                  <a:lnTo>
                    <a:pt x="13433" y="7425"/>
                  </a:lnTo>
                  <a:lnTo>
                    <a:pt x="13457" y="7083"/>
                  </a:lnTo>
                  <a:lnTo>
                    <a:pt x="13482" y="6741"/>
                  </a:lnTo>
                  <a:lnTo>
                    <a:pt x="13457" y="6399"/>
                  </a:lnTo>
                  <a:lnTo>
                    <a:pt x="13433" y="6057"/>
                  </a:lnTo>
                  <a:lnTo>
                    <a:pt x="13384" y="5715"/>
                  </a:lnTo>
                  <a:lnTo>
                    <a:pt x="13335" y="5398"/>
                  </a:lnTo>
                  <a:lnTo>
                    <a:pt x="13262" y="5056"/>
                  </a:lnTo>
                  <a:lnTo>
                    <a:pt x="13164" y="4738"/>
                  </a:lnTo>
                  <a:lnTo>
                    <a:pt x="13067" y="4421"/>
                  </a:lnTo>
                  <a:lnTo>
                    <a:pt x="12945" y="4128"/>
                  </a:lnTo>
                  <a:lnTo>
                    <a:pt x="12798" y="3835"/>
                  </a:lnTo>
                  <a:lnTo>
                    <a:pt x="12651" y="3542"/>
                  </a:lnTo>
                  <a:lnTo>
                    <a:pt x="12505" y="3249"/>
                  </a:lnTo>
                  <a:lnTo>
                    <a:pt x="12310" y="2980"/>
                  </a:lnTo>
                  <a:lnTo>
                    <a:pt x="12139" y="2711"/>
                  </a:lnTo>
                  <a:lnTo>
                    <a:pt x="11943" y="2467"/>
                  </a:lnTo>
                  <a:lnTo>
                    <a:pt x="11723" y="2223"/>
                  </a:lnTo>
                  <a:lnTo>
                    <a:pt x="11504" y="1979"/>
                  </a:lnTo>
                  <a:lnTo>
                    <a:pt x="11259" y="1759"/>
                  </a:lnTo>
                  <a:lnTo>
                    <a:pt x="11015" y="1539"/>
                  </a:lnTo>
                  <a:lnTo>
                    <a:pt x="10771" y="1344"/>
                  </a:lnTo>
                  <a:lnTo>
                    <a:pt x="10502" y="1173"/>
                  </a:lnTo>
                  <a:lnTo>
                    <a:pt x="10234" y="977"/>
                  </a:lnTo>
                  <a:lnTo>
                    <a:pt x="9940" y="831"/>
                  </a:lnTo>
                  <a:lnTo>
                    <a:pt x="9647" y="684"/>
                  </a:lnTo>
                  <a:lnTo>
                    <a:pt x="9354" y="538"/>
                  </a:lnTo>
                  <a:lnTo>
                    <a:pt x="9061" y="416"/>
                  </a:lnTo>
                  <a:lnTo>
                    <a:pt x="8744" y="318"/>
                  </a:lnTo>
                  <a:lnTo>
                    <a:pt x="8426" y="220"/>
                  </a:lnTo>
                  <a:lnTo>
                    <a:pt x="8084" y="147"/>
                  </a:lnTo>
                  <a:lnTo>
                    <a:pt x="7767" y="98"/>
                  </a:lnTo>
                  <a:lnTo>
                    <a:pt x="7425" y="49"/>
                  </a:lnTo>
                  <a:lnTo>
                    <a:pt x="7083" y="25"/>
                  </a:lnTo>
                  <a:lnTo>
                    <a:pt x="6741" y="0"/>
                  </a:lnTo>
                  <a:close/>
                </a:path>
              </a:pathLst>
            </a:custGeom>
            <a:solidFill>
              <a:srgbClr val="FFFF00"/>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solidFill>
                  <a:srgbClr val="F1C232"/>
                </a:solidFill>
                <a:latin typeface="Gulim" charset="-127"/>
              </a:endParaRPr>
            </a:p>
          </p:txBody>
        </p:sp>
      </p:grpSp>
      <p:sp>
        <p:nvSpPr>
          <p:cNvPr id="277" name="Shape 606"/>
          <p:cNvSpPr/>
          <p:nvPr/>
        </p:nvSpPr>
        <p:spPr>
          <a:xfrm>
            <a:off x="8520801" y="3499112"/>
            <a:ext cx="400950" cy="226498"/>
          </a:xfrm>
          <a:custGeom>
            <a:avLst/>
            <a:gdLst/>
            <a:ahLst/>
            <a:cxnLst/>
            <a:rect l="0" t="0" r="0" b="0"/>
            <a:pathLst>
              <a:path w="19198" h="10845" extrusionOk="0">
                <a:moveTo>
                  <a:pt x="7572" y="1"/>
                </a:moveTo>
                <a:lnTo>
                  <a:pt x="7108" y="25"/>
                </a:lnTo>
                <a:lnTo>
                  <a:pt x="6668" y="98"/>
                </a:lnTo>
                <a:lnTo>
                  <a:pt x="6229" y="196"/>
                </a:lnTo>
                <a:lnTo>
                  <a:pt x="5813" y="343"/>
                </a:lnTo>
                <a:lnTo>
                  <a:pt x="5423" y="538"/>
                </a:lnTo>
                <a:lnTo>
                  <a:pt x="5056" y="758"/>
                </a:lnTo>
                <a:lnTo>
                  <a:pt x="4714" y="1026"/>
                </a:lnTo>
                <a:lnTo>
                  <a:pt x="4397" y="1319"/>
                </a:lnTo>
                <a:lnTo>
                  <a:pt x="4104" y="1637"/>
                </a:lnTo>
                <a:lnTo>
                  <a:pt x="3835" y="1979"/>
                </a:lnTo>
                <a:lnTo>
                  <a:pt x="3615" y="2345"/>
                </a:lnTo>
                <a:lnTo>
                  <a:pt x="3420" y="2736"/>
                </a:lnTo>
                <a:lnTo>
                  <a:pt x="3273" y="3151"/>
                </a:lnTo>
                <a:lnTo>
                  <a:pt x="3151" y="3591"/>
                </a:lnTo>
                <a:lnTo>
                  <a:pt x="3102" y="4030"/>
                </a:lnTo>
                <a:lnTo>
                  <a:pt x="3078" y="4494"/>
                </a:lnTo>
                <a:lnTo>
                  <a:pt x="3078" y="4788"/>
                </a:lnTo>
                <a:lnTo>
                  <a:pt x="2712" y="4788"/>
                </a:lnTo>
                <a:lnTo>
                  <a:pt x="2419" y="4836"/>
                </a:lnTo>
                <a:lnTo>
                  <a:pt x="2125" y="4910"/>
                </a:lnTo>
                <a:lnTo>
                  <a:pt x="1832" y="5032"/>
                </a:lnTo>
                <a:lnTo>
                  <a:pt x="1588" y="5154"/>
                </a:lnTo>
                <a:lnTo>
                  <a:pt x="1320" y="5300"/>
                </a:lnTo>
                <a:lnTo>
                  <a:pt x="1100" y="5471"/>
                </a:lnTo>
                <a:lnTo>
                  <a:pt x="880" y="5667"/>
                </a:lnTo>
                <a:lnTo>
                  <a:pt x="685" y="5887"/>
                </a:lnTo>
                <a:lnTo>
                  <a:pt x="514" y="6131"/>
                </a:lnTo>
                <a:lnTo>
                  <a:pt x="367" y="6375"/>
                </a:lnTo>
                <a:lnTo>
                  <a:pt x="220" y="6644"/>
                </a:lnTo>
                <a:lnTo>
                  <a:pt x="123" y="6912"/>
                </a:lnTo>
                <a:lnTo>
                  <a:pt x="50" y="7205"/>
                </a:lnTo>
                <a:lnTo>
                  <a:pt x="1" y="7499"/>
                </a:lnTo>
                <a:lnTo>
                  <a:pt x="1" y="7816"/>
                </a:lnTo>
                <a:lnTo>
                  <a:pt x="1" y="8134"/>
                </a:lnTo>
                <a:lnTo>
                  <a:pt x="50" y="8427"/>
                </a:lnTo>
                <a:lnTo>
                  <a:pt x="123" y="8720"/>
                </a:lnTo>
                <a:lnTo>
                  <a:pt x="220" y="8988"/>
                </a:lnTo>
                <a:lnTo>
                  <a:pt x="367" y="9257"/>
                </a:lnTo>
                <a:lnTo>
                  <a:pt x="514" y="9501"/>
                </a:lnTo>
                <a:lnTo>
                  <a:pt x="685" y="9745"/>
                </a:lnTo>
                <a:lnTo>
                  <a:pt x="880" y="9965"/>
                </a:lnTo>
                <a:lnTo>
                  <a:pt x="1100" y="10161"/>
                </a:lnTo>
                <a:lnTo>
                  <a:pt x="1320" y="10332"/>
                </a:lnTo>
                <a:lnTo>
                  <a:pt x="1588" y="10478"/>
                </a:lnTo>
                <a:lnTo>
                  <a:pt x="1832" y="10600"/>
                </a:lnTo>
                <a:lnTo>
                  <a:pt x="2125" y="10722"/>
                </a:lnTo>
                <a:lnTo>
                  <a:pt x="2419" y="10796"/>
                </a:lnTo>
                <a:lnTo>
                  <a:pt x="2712" y="10844"/>
                </a:lnTo>
                <a:lnTo>
                  <a:pt x="16486" y="10844"/>
                </a:lnTo>
                <a:lnTo>
                  <a:pt x="16779" y="10796"/>
                </a:lnTo>
                <a:lnTo>
                  <a:pt x="17072" y="10722"/>
                </a:lnTo>
                <a:lnTo>
                  <a:pt x="17365" y="10600"/>
                </a:lnTo>
                <a:lnTo>
                  <a:pt x="17610" y="10478"/>
                </a:lnTo>
                <a:lnTo>
                  <a:pt x="17878" y="10332"/>
                </a:lnTo>
                <a:lnTo>
                  <a:pt x="18098" y="10161"/>
                </a:lnTo>
                <a:lnTo>
                  <a:pt x="18318" y="9965"/>
                </a:lnTo>
                <a:lnTo>
                  <a:pt x="18513" y="9745"/>
                </a:lnTo>
                <a:lnTo>
                  <a:pt x="18684" y="9501"/>
                </a:lnTo>
                <a:lnTo>
                  <a:pt x="18831" y="9257"/>
                </a:lnTo>
                <a:lnTo>
                  <a:pt x="18977" y="8988"/>
                </a:lnTo>
                <a:lnTo>
                  <a:pt x="19075" y="8720"/>
                </a:lnTo>
                <a:lnTo>
                  <a:pt x="19148" y="8427"/>
                </a:lnTo>
                <a:lnTo>
                  <a:pt x="19197" y="8134"/>
                </a:lnTo>
                <a:lnTo>
                  <a:pt x="19197" y="7816"/>
                </a:lnTo>
                <a:lnTo>
                  <a:pt x="19197" y="7499"/>
                </a:lnTo>
                <a:lnTo>
                  <a:pt x="19148" y="7205"/>
                </a:lnTo>
                <a:lnTo>
                  <a:pt x="19075" y="6912"/>
                </a:lnTo>
                <a:lnTo>
                  <a:pt x="18977" y="6644"/>
                </a:lnTo>
                <a:lnTo>
                  <a:pt x="18831" y="6375"/>
                </a:lnTo>
                <a:lnTo>
                  <a:pt x="18684" y="6131"/>
                </a:lnTo>
                <a:lnTo>
                  <a:pt x="18513" y="5887"/>
                </a:lnTo>
                <a:lnTo>
                  <a:pt x="18318" y="5667"/>
                </a:lnTo>
                <a:lnTo>
                  <a:pt x="18098" y="5471"/>
                </a:lnTo>
                <a:lnTo>
                  <a:pt x="17878" y="5300"/>
                </a:lnTo>
                <a:lnTo>
                  <a:pt x="17610" y="5154"/>
                </a:lnTo>
                <a:lnTo>
                  <a:pt x="17365" y="5032"/>
                </a:lnTo>
                <a:lnTo>
                  <a:pt x="17072" y="4910"/>
                </a:lnTo>
                <a:lnTo>
                  <a:pt x="16779" y="4836"/>
                </a:lnTo>
                <a:lnTo>
                  <a:pt x="16486" y="4788"/>
                </a:lnTo>
                <a:lnTo>
                  <a:pt x="15412" y="4788"/>
                </a:lnTo>
                <a:lnTo>
                  <a:pt x="15436" y="4494"/>
                </a:lnTo>
                <a:lnTo>
                  <a:pt x="15412" y="4201"/>
                </a:lnTo>
                <a:lnTo>
                  <a:pt x="15387" y="3933"/>
                </a:lnTo>
                <a:lnTo>
                  <a:pt x="15314" y="3664"/>
                </a:lnTo>
                <a:lnTo>
                  <a:pt x="15216" y="3420"/>
                </a:lnTo>
                <a:lnTo>
                  <a:pt x="15094" y="3176"/>
                </a:lnTo>
                <a:lnTo>
                  <a:pt x="14972" y="2956"/>
                </a:lnTo>
                <a:lnTo>
                  <a:pt x="14801" y="2736"/>
                </a:lnTo>
                <a:lnTo>
                  <a:pt x="14630" y="2541"/>
                </a:lnTo>
                <a:lnTo>
                  <a:pt x="14435" y="2370"/>
                </a:lnTo>
                <a:lnTo>
                  <a:pt x="14215" y="2199"/>
                </a:lnTo>
                <a:lnTo>
                  <a:pt x="13995" y="2077"/>
                </a:lnTo>
                <a:lnTo>
                  <a:pt x="13751" y="1954"/>
                </a:lnTo>
                <a:lnTo>
                  <a:pt x="13507" y="1857"/>
                </a:lnTo>
                <a:lnTo>
                  <a:pt x="13238" y="1784"/>
                </a:lnTo>
                <a:lnTo>
                  <a:pt x="12969" y="1759"/>
                </a:lnTo>
                <a:lnTo>
                  <a:pt x="12676" y="1735"/>
                </a:lnTo>
                <a:lnTo>
                  <a:pt x="12334" y="1759"/>
                </a:lnTo>
                <a:lnTo>
                  <a:pt x="11992" y="1832"/>
                </a:lnTo>
                <a:lnTo>
                  <a:pt x="11650" y="1930"/>
                </a:lnTo>
                <a:lnTo>
                  <a:pt x="11357" y="2077"/>
                </a:lnTo>
                <a:lnTo>
                  <a:pt x="11186" y="1857"/>
                </a:lnTo>
                <a:lnTo>
                  <a:pt x="11015" y="1637"/>
                </a:lnTo>
                <a:lnTo>
                  <a:pt x="10844" y="1417"/>
                </a:lnTo>
                <a:lnTo>
                  <a:pt x="10649" y="1222"/>
                </a:lnTo>
                <a:lnTo>
                  <a:pt x="10454" y="1051"/>
                </a:lnTo>
                <a:lnTo>
                  <a:pt x="10234" y="880"/>
                </a:lnTo>
                <a:lnTo>
                  <a:pt x="9990" y="709"/>
                </a:lnTo>
                <a:lnTo>
                  <a:pt x="9745" y="562"/>
                </a:lnTo>
                <a:lnTo>
                  <a:pt x="9501" y="440"/>
                </a:lnTo>
                <a:lnTo>
                  <a:pt x="9257" y="318"/>
                </a:lnTo>
                <a:lnTo>
                  <a:pt x="8988" y="220"/>
                </a:lnTo>
                <a:lnTo>
                  <a:pt x="8720" y="147"/>
                </a:lnTo>
                <a:lnTo>
                  <a:pt x="8427" y="74"/>
                </a:lnTo>
                <a:lnTo>
                  <a:pt x="8158" y="25"/>
                </a:lnTo>
                <a:lnTo>
                  <a:pt x="7865" y="1"/>
                </a:lnTo>
                <a:close/>
              </a:path>
            </a:pathLst>
          </a:custGeom>
          <a:solidFill>
            <a:srgbClr val="6D9EEB"/>
          </a:solidFill>
          <a:ln>
            <a:solidFill>
              <a:schemeClr val="bg1">
                <a:lumMod val="65000"/>
              </a:schemeClr>
            </a:solidFill>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78" name="Shape 607"/>
          <p:cNvGrpSpPr/>
          <p:nvPr/>
        </p:nvGrpSpPr>
        <p:grpSpPr>
          <a:xfrm>
            <a:off x="9211868" y="3242435"/>
            <a:ext cx="432570" cy="421334"/>
            <a:chOff x="5926225" y="921350"/>
            <a:chExt cx="517800" cy="504350"/>
          </a:xfrm>
        </p:grpSpPr>
        <p:sp>
          <p:nvSpPr>
            <p:cNvPr id="279" name="Shape 608"/>
            <p:cNvSpPr/>
            <p:nvPr/>
          </p:nvSpPr>
          <p:spPr>
            <a:xfrm>
              <a:off x="5926225" y="921350"/>
              <a:ext cx="517800" cy="504350"/>
            </a:xfrm>
            <a:custGeom>
              <a:avLst/>
              <a:gdLst/>
              <a:ahLst/>
              <a:cxnLst/>
              <a:rect l="0" t="0" r="0" b="0"/>
              <a:pathLst>
                <a:path w="20712" h="20174" extrusionOk="0">
                  <a:moveTo>
                    <a:pt x="10356" y="2858"/>
                  </a:moveTo>
                  <a:lnTo>
                    <a:pt x="10722" y="2882"/>
                  </a:lnTo>
                  <a:lnTo>
                    <a:pt x="11089" y="2907"/>
                  </a:lnTo>
                  <a:lnTo>
                    <a:pt x="11455" y="2956"/>
                  </a:lnTo>
                  <a:lnTo>
                    <a:pt x="11821" y="3004"/>
                  </a:lnTo>
                  <a:lnTo>
                    <a:pt x="12163" y="3102"/>
                  </a:lnTo>
                  <a:lnTo>
                    <a:pt x="12505" y="3200"/>
                  </a:lnTo>
                  <a:lnTo>
                    <a:pt x="12847" y="3298"/>
                  </a:lnTo>
                  <a:lnTo>
                    <a:pt x="13165" y="3444"/>
                  </a:lnTo>
                  <a:lnTo>
                    <a:pt x="13482" y="3591"/>
                  </a:lnTo>
                  <a:lnTo>
                    <a:pt x="13800" y="3737"/>
                  </a:lnTo>
                  <a:lnTo>
                    <a:pt x="14093" y="3908"/>
                  </a:lnTo>
                  <a:lnTo>
                    <a:pt x="14386" y="4104"/>
                  </a:lnTo>
                  <a:lnTo>
                    <a:pt x="14679" y="4299"/>
                  </a:lnTo>
                  <a:lnTo>
                    <a:pt x="14948" y="4519"/>
                  </a:lnTo>
                  <a:lnTo>
                    <a:pt x="15216" y="4739"/>
                  </a:lnTo>
                  <a:lnTo>
                    <a:pt x="15460" y="4983"/>
                  </a:lnTo>
                  <a:lnTo>
                    <a:pt x="15705" y="5227"/>
                  </a:lnTo>
                  <a:lnTo>
                    <a:pt x="15925" y="5496"/>
                  </a:lnTo>
                  <a:lnTo>
                    <a:pt x="16144" y="5764"/>
                  </a:lnTo>
                  <a:lnTo>
                    <a:pt x="16340" y="6057"/>
                  </a:lnTo>
                  <a:lnTo>
                    <a:pt x="16535" y="6350"/>
                  </a:lnTo>
                  <a:lnTo>
                    <a:pt x="16706" y="6644"/>
                  </a:lnTo>
                  <a:lnTo>
                    <a:pt x="16853" y="6961"/>
                  </a:lnTo>
                  <a:lnTo>
                    <a:pt x="16999" y="7279"/>
                  </a:lnTo>
                  <a:lnTo>
                    <a:pt x="17146" y="7596"/>
                  </a:lnTo>
                  <a:lnTo>
                    <a:pt x="17243" y="7938"/>
                  </a:lnTo>
                  <a:lnTo>
                    <a:pt x="17341" y="8280"/>
                  </a:lnTo>
                  <a:lnTo>
                    <a:pt x="17439" y="8622"/>
                  </a:lnTo>
                  <a:lnTo>
                    <a:pt x="17488" y="8988"/>
                  </a:lnTo>
                  <a:lnTo>
                    <a:pt x="17536" y="9354"/>
                  </a:lnTo>
                  <a:lnTo>
                    <a:pt x="17561" y="9721"/>
                  </a:lnTo>
                  <a:lnTo>
                    <a:pt x="17585" y="10087"/>
                  </a:lnTo>
                  <a:lnTo>
                    <a:pt x="17561" y="10454"/>
                  </a:lnTo>
                  <a:lnTo>
                    <a:pt x="17536" y="10820"/>
                  </a:lnTo>
                  <a:lnTo>
                    <a:pt x="17488" y="11186"/>
                  </a:lnTo>
                  <a:lnTo>
                    <a:pt x="17439" y="11553"/>
                  </a:lnTo>
                  <a:lnTo>
                    <a:pt x="17341" y="11894"/>
                  </a:lnTo>
                  <a:lnTo>
                    <a:pt x="17243" y="12236"/>
                  </a:lnTo>
                  <a:lnTo>
                    <a:pt x="17146" y="12578"/>
                  </a:lnTo>
                  <a:lnTo>
                    <a:pt x="16999" y="12896"/>
                  </a:lnTo>
                  <a:lnTo>
                    <a:pt x="16853" y="13213"/>
                  </a:lnTo>
                  <a:lnTo>
                    <a:pt x="16706" y="13531"/>
                  </a:lnTo>
                  <a:lnTo>
                    <a:pt x="16535" y="13824"/>
                  </a:lnTo>
                  <a:lnTo>
                    <a:pt x="16340" y="14117"/>
                  </a:lnTo>
                  <a:lnTo>
                    <a:pt x="16144" y="14410"/>
                  </a:lnTo>
                  <a:lnTo>
                    <a:pt x="15925" y="14679"/>
                  </a:lnTo>
                  <a:lnTo>
                    <a:pt x="15705" y="14947"/>
                  </a:lnTo>
                  <a:lnTo>
                    <a:pt x="15460" y="15192"/>
                  </a:lnTo>
                  <a:lnTo>
                    <a:pt x="15216" y="15436"/>
                  </a:lnTo>
                  <a:lnTo>
                    <a:pt x="14948" y="15656"/>
                  </a:lnTo>
                  <a:lnTo>
                    <a:pt x="14679" y="15875"/>
                  </a:lnTo>
                  <a:lnTo>
                    <a:pt x="14386" y="16071"/>
                  </a:lnTo>
                  <a:lnTo>
                    <a:pt x="14093" y="16266"/>
                  </a:lnTo>
                  <a:lnTo>
                    <a:pt x="13800" y="16437"/>
                  </a:lnTo>
                  <a:lnTo>
                    <a:pt x="13482" y="16584"/>
                  </a:lnTo>
                  <a:lnTo>
                    <a:pt x="13165" y="16730"/>
                  </a:lnTo>
                  <a:lnTo>
                    <a:pt x="12847" y="16877"/>
                  </a:lnTo>
                  <a:lnTo>
                    <a:pt x="12505" y="16974"/>
                  </a:lnTo>
                  <a:lnTo>
                    <a:pt x="12163" y="17072"/>
                  </a:lnTo>
                  <a:lnTo>
                    <a:pt x="11821" y="17170"/>
                  </a:lnTo>
                  <a:lnTo>
                    <a:pt x="11455" y="17219"/>
                  </a:lnTo>
                  <a:lnTo>
                    <a:pt x="11089" y="17268"/>
                  </a:lnTo>
                  <a:lnTo>
                    <a:pt x="10722" y="17292"/>
                  </a:lnTo>
                  <a:lnTo>
                    <a:pt x="10356" y="17316"/>
                  </a:lnTo>
                  <a:lnTo>
                    <a:pt x="9990" y="17292"/>
                  </a:lnTo>
                  <a:lnTo>
                    <a:pt x="9623" y="17268"/>
                  </a:lnTo>
                  <a:lnTo>
                    <a:pt x="9257" y="17219"/>
                  </a:lnTo>
                  <a:lnTo>
                    <a:pt x="8891" y="17170"/>
                  </a:lnTo>
                  <a:lnTo>
                    <a:pt x="8549" y="17072"/>
                  </a:lnTo>
                  <a:lnTo>
                    <a:pt x="8207" y="16974"/>
                  </a:lnTo>
                  <a:lnTo>
                    <a:pt x="7865" y="16877"/>
                  </a:lnTo>
                  <a:lnTo>
                    <a:pt x="7547" y="16730"/>
                  </a:lnTo>
                  <a:lnTo>
                    <a:pt x="7230" y="16584"/>
                  </a:lnTo>
                  <a:lnTo>
                    <a:pt x="6912" y="16437"/>
                  </a:lnTo>
                  <a:lnTo>
                    <a:pt x="6619" y="16266"/>
                  </a:lnTo>
                  <a:lnTo>
                    <a:pt x="6326" y="16071"/>
                  </a:lnTo>
                  <a:lnTo>
                    <a:pt x="6033" y="15875"/>
                  </a:lnTo>
                  <a:lnTo>
                    <a:pt x="5765" y="15656"/>
                  </a:lnTo>
                  <a:lnTo>
                    <a:pt x="5496" y="15436"/>
                  </a:lnTo>
                  <a:lnTo>
                    <a:pt x="5252" y="15192"/>
                  </a:lnTo>
                  <a:lnTo>
                    <a:pt x="5007" y="14947"/>
                  </a:lnTo>
                  <a:lnTo>
                    <a:pt x="4788" y="14679"/>
                  </a:lnTo>
                  <a:lnTo>
                    <a:pt x="4568" y="14410"/>
                  </a:lnTo>
                  <a:lnTo>
                    <a:pt x="4372" y="14117"/>
                  </a:lnTo>
                  <a:lnTo>
                    <a:pt x="4177" y="13824"/>
                  </a:lnTo>
                  <a:lnTo>
                    <a:pt x="4006" y="13531"/>
                  </a:lnTo>
                  <a:lnTo>
                    <a:pt x="3860" y="13213"/>
                  </a:lnTo>
                  <a:lnTo>
                    <a:pt x="3713" y="12896"/>
                  </a:lnTo>
                  <a:lnTo>
                    <a:pt x="3566" y="12578"/>
                  </a:lnTo>
                  <a:lnTo>
                    <a:pt x="3469" y="12236"/>
                  </a:lnTo>
                  <a:lnTo>
                    <a:pt x="3371" y="11894"/>
                  </a:lnTo>
                  <a:lnTo>
                    <a:pt x="3273" y="11553"/>
                  </a:lnTo>
                  <a:lnTo>
                    <a:pt x="3225" y="11186"/>
                  </a:lnTo>
                  <a:lnTo>
                    <a:pt x="3176" y="10820"/>
                  </a:lnTo>
                  <a:lnTo>
                    <a:pt x="3151" y="10454"/>
                  </a:lnTo>
                  <a:lnTo>
                    <a:pt x="3127" y="10087"/>
                  </a:lnTo>
                  <a:lnTo>
                    <a:pt x="3151" y="9721"/>
                  </a:lnTo>
                  <a:lnTo>
                    <a:pt x="3176" y="9354"/>
                  </a:lnTo>
                  <a:lnTo>
                    <a:pt x="3225" y="8988"/>
                  </a:lnTo>
                  <a:lnTo>
                    <a:pt x="3273" y="8622"/>
                  </a:lnTo>
                  <a:lnTo>
                    <a:pt x="3371" y="8280"/>
                  </a:lnTo>
                  <a:lnTo>
                    <a:pt x="3469" y="7938"/>
                  </a:lnTo>
                  <a:lnTo>
                    <a:pt x="3566" y="7596"/>
                  </a:lnTo>
                  <a:lnTo>
                    <a:pt x="3713" y="7279"/>
                  </a:lnTo>
                  <a:lnTo>
                    <a:pt x="3860" y="6961"/>
                  </a:lnTo>
                  <a:lnTo>
                    <a:pt x="4006" y="6644"/>
                  </a:lnTo>
                  <a:lnTo>
                    <a:pt x="4177" y="6350"/>
                  </a:lnTo>
                  <a:lnTo>
                    <a:pt x="4372" y="6057"/>
                  </a:lnTo>
                  <a:lnTo>
                    <a:pt x="4568" y="5764"/>
                  </a:lnTo>
                  <a:lnTo>
                    <a:pt x="4788" y="5496"/>
                  </a:lnTo>
                  <a:lnTo>
                    <a:pt x="5007" y="5227"/>
                  </a:lnTo>
                  <a:lnTo>
                    <a:pt x="5252" y="4983"/>
                  </a:lnTo>
                  <a:lnTo>
                    <a:pt x="5496" y="4739"/>
                  </a:lnTo>
                  <a:lnTo>
                    <a:pt x="5765" y="4519"/>
                  </a:lnTo>
                  <a:lnTo>
                    <a:pt x="6033" y="4299"/>
                  </a:lnTo>
                  <a:lnTo>
                    <a:pt x="6326" y="4104"/>
                  </a:lnTo>
                  <a:lnTo>
                    <a:pt x="6619" y="3908"/>
                  </a:lnTo>
                  <a:lnTo>
                    <a:pt x="6912" y="3737"/>
                  </a:lnTo>
                  <a:lnTo>
                    <a:pt x="7230" y="3591"/>
                  </a:lnTo>
                  <a:lnTo>
                    <a:pt x="7547" y="3444"/>
                  </a:lnTo>
                  <a:lnTo>
                    <a:pt x="7865" y="3298"/>
                  </a:lnTo>
                  <a:lnTo>
                    <a:pt x="8207" y="3200"/>
                  </a:lnTo>
                  <a:lnTo>
                    <a:pt x="8549" y="3102"/>
                  </a:lnTo>
                  <a:lnTo>
                    <a:pt x="8891" y="3004"/>
                  </a:lnTo>
                  <a:lnTo>
                    <a:pt x="9257" y="2956"/>
                  </a:lnTo>
                  <a:lnTo>
                    <a:pt x="9623" y="2907"/>
                  </a:lnTo>
                  <a:lnTo>
                    <a:pt x="9990" y="2882"/>
                  </a:lnTo>
                  <a:lnTo>
                    <a:pt x="10356" y="2858"/>
                  </a:lnTo>
                  <a:close/>
                  <a:moveTo>
                    <a:pt x="8060" y="0"/>
                  </a:moveTo>
                  <a:lnTo>
                    <a:pt x="6717" y="2516"/>
                  </a:lnTo>
                  <a:lnTo>
                    <a:pt x="3908" y="2003"/>
                  </a:lnTo>
                  <a:lnTo>
                    <a:pt x="3786" y="4861"/>
                  </a:lnTo>
                  <a:lnTo>
                    <a:pt x="1026" y="5593"/>
                  </a:lnTo>
                  <a:lnTo>
                    <a:pt x="2174" y="8207"/>
                  </a:lnTo>
                  <a:lnTo>
                    <a:pt x="1" y="10087"/>
                  </a:lnTo>
                  <a:lnTo>
                    <a:pt x="2174" y="11968"/>
                  </a:lnTo>
                  <a:lnTo>
                    <a:pt x="1026" y="14581"/>
                  </a:lnTo>
                  <a:lnTo>
                    <a:pt x="3786" y="15314"/>
                  </a:lnTo>
                  <a:lnTo>
                    <a:pt x="3908" y="18171"/>
                  </a:lnTo>
                  <a:lnTo>
                    <a:pt x="6717" y="17658"/>
                  </a:lnTo>
                  <a:lnTo>
                    <a:pt x="8060" y="20174"/>
                  </a:lnTo>
                  <a:lnTo>
                    <a:pt x="10356" y="18489"/>
                  </a:lnTo>
                  <a:lnTo>
                    <a:pt x="12652" y="20174"/>
                  </a:lnTo>
                  <a:lnTo>
                    <a:pt x="13995" y="17658"/>
                  </a:lnTo>
                  <a:lnTo>
                    <a:pt x="16804" y="18171"/>
                  </a:lnTo>
                  <a:lnTo>
                    <a:pt x="16926" y="15314"/>
                  </a:lnTo>
                  <a:lnTo>
                    <a:pt x="19686" y="14581"/>
                  </a:lnTo>
                  <a:lnTo>
                    <a:pt x="18538" y="11968"/>
                  </a:lnTo>
                  <a:lnTo>
                    <a:pt x="20711" y="10087"/>
                  </a:lnTo>
                  <a:lnTo>
                    <a:pt x="18538" y="8207"/>
                  </a:lnTo>
                  <a:lnTo>
                    <a:pt x="19686" y="5593"/>
                  </a:lnTo>
                  <a:lnTo>
                    <a:pt x="16926" y="4861"/>
                  </a:lnTo>
                  <a:lnTo>
                    <a:pt x="16804" y="2003"/>
                  </a:lnTo>
                  <a:lnTo>
                    <a:pt x="13995" y="2516"/>
                  </a:lnTo>
                  <a:lnTo>
                    <a:pt x="12652" y="0"/>
                  </a:lnTo>
                  <a:lnTo>
                    <a:pt x="10356" y="1686"/>
                  </a:lnTo>
                  <a:lnTo>
                    <a:pt x="8060" y="0"/>
                  </a:lnTo>
                  <a:close/>
                </a:path>
              </a:pathLst>
            </a:custGeom>
            <a:noFill/>
            <a:ln w="9525" cap="flat" cmpd="sng">
              <a:solidFill>
                <a:schemeClr val="bg1">
                  <a:lumMod val="65000"/>
                </a:schemeClr>
              </a:solidFill>
              <a:prstDash val="solid"/>
              <a:bevel/>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80" name="Shape 609"/>
            <p:cNvSpPr/>
            <p:nvPr/>
          </p:nvSpPr>
          <p:spPr>
            <a:xfrm>
              <a:off x="6016600" y="1005000"/>
              <a:ext cx="337050" cy="337050"/>
            </a:xfrm>
            <a:custGeom>
              <a:avLst/>
              <a:gdLst/>
              <a:ahLst/>
              <a:cxnLst/>
              <a:rect l="0" t="0" r="0" b="0"/>
              <a:pathLst>
                <a:path w="13482" h="13482" extrusionOk="0">
                  <a:moveTo>
                    <a:pt x="6741" y="0"/>
                  </a:moveTo>
                  <a:lnTo>
                    <a:pt x="6399" y="25"/>
                  </a:lnTo>
                  <a:lnTo>
                    <a:pt x="6057" y="49"/>
                  </a:lnTo>
                  <a:lnTo>
                    <a:pt x="5715" y="98"/>
                  </a:lnTo>
                  <a:lnTo>
                    <a:pt x="5398" y="147"/>
                  </a:lnTo>
                  <a:lnTo>
                    <a:pt x="5056" y="220"/>
                  </a:lnTo>
                  <a:lnTo>
                    <a:pt x="4738" y="318"/>
                  </a:lnTo>
                  <a:lnTo>
                    <a:pt x="4421" y="416"/>
                  </a:lnTo>
                  <a:lnTo>
                    <a:pt x="4128" y="538"/>
                  </a:lnTo>
                  <a:lnTo>
                    <a:pt x="3835" y="684"/>
                  </a:lnTo>
                  <a:lnTo>
                    <a:pt x="3542" y="831"/>
                  </a:lnTo>
                  <a:lnTo>
                    <a:pt x="3249" y="977"/>
                  </a:lnTo>
                  <a:lnTo>
                    <a:pt x="2980" y="1173"/>
                  </a:lnTo>
                  <a:lnTo>
                    <a:pt x="2711" y="1344"/>
                  </a:lnTo>
                  <a:lnTo>
                    <a:pt x="2467" y="1539"/>
                  </a:lnTo>
                  <a:lnTo>
                    <a:pt x="2223" y="1759"/>
                  </a:lnTo>
                  <a:lnTo>
                    <a:pt x="1979" y="1979"/>
                  </a:lnTo>
                  <a:lnTo>
                    <a:pt x="1759" y="2223"/>
                  </a:lnTo>
                  <a:lnTo>
                    <a:pt x="1539" y="2467"/>
                  </a:lnTo>
                  <a:lnTo>
                    <a:pt x="1344" y="2711"/>
                  </a:lnTo>
                  <a:lnTo>
                    <a:pt x="1173" y="2980"/>
                  </a:lnTo>
                  <a:lnTo>
                    <a:pt x="977" y="3249"/>
                  </a:lnTo>
                  <a:lnTo>
                    <a:pt x="831" y="3542"/>
                  </a:lnTo>
                  <a:lnTo>
                    <a:pt x="684" y="3835"/>
                  </a:lnTo>
                  <a:lnTo>
                    <a:pt x="538" y="4128"/>
                  </a:lnTo>
                  <a:lnTo>
                    <a:pt x="416" y="4421"/>
                  </a:lnTo>
                  <a:lnTo>
                    <a:pt x="318" y="4738"/>
                  </a:lnTo>
                  <a:lnTo>
                    <a:pt x="220" y="5056"/>
                  </a:lnTo>
                  <a:lnTo>
                    <a:pt x="147" y="5398"/>
                  </a:lnTo>
                  <a:lnTo>
                    <a:pt x="98" y="5715"/>
                  </a:lnTo>
                  <a:lnTo>
                    <a:pt x="49" y="6057"/>
                  </a:lnTo>
                  <a:lnTo>
                    <a:pt x="25" y="6399"/>
                  </a:lnTo>
                  <a:lnTo>
                    <a:pt x="0" y="6741"/>
                  </a:lnTo>
                  <a:lnTo>
                    <a:pt x="25" y="7083"/>
                  </a:lnTo>
                  <a:lnTo>
                    <a:pt x="49" y="7425"/>
                  </a:lnTo>
                  <a:lnTo>
                    <a:pt x="98" y="7767"/>
                  </a:lnTo>
                  <a:lnTo>
                    <a:pt x="147" y="8084"/>
                  </a:lnTo>
                  <a:lnTo>
                    <a:pt x="220" y="8426"/>
                  </a:lnTo>
                  <a:lnTo>
                    <a:pt x="318" y="8744"/>
                  </a:lnTo>
                  <a:lnTo>
                    <a:pt x="416" y="9061"/>
                  </a:lnTo>
                  <a:lnTo>
                    <a:pt x="538" y="9354"/>
                  </a:lnTo>
                  <a:lnTo>
                    <a:pt x="684" y="9648"/>
                  </a:lnTo>
                  <a:lnTo>
                    <a:pt x="831" y="9941"/>
                  </a:lnTo>
                  <a:lnTo>
                    <a:pt x="977" y="10234"/>
                  </a:lnTo>
                  <a:lnTo>
                    <a:pt x="1173" y="10502"/>
                  </a:lnTo>
                  <a:lnTo>
                    <a:pt x="1344" y="10771"/>
                  </a:lnTo>
                  <a:lnTo>
                    <a:pt x="1539" y="11015"/>
                  </a:lnTo>
                  <a:lnTo>
                    <a:pt x="1759" y="11259"/>
                  </a:lnTo>
                  <a:lnTo>
                    <a:pt x="1979" y="11504"/>
                  </a:lnTo>
                  <a:lnTo>
                    <a:pt x="2223" y="11723"/>
                  </a:lnTo>
                  <a:lnTo>
                    <a:pt x="2467" y="11943"/>
                  </a:lnTo>
                  <a:lnTo>
                    <a:pt x="2711" y="12139"/>
                  </a:lnTo>
                  <a:lnTo>
                    <a:pt x="2980" y="12310"/>
                  </a:lnTo>
                  <a:lnTo>
                    <a:pt x="3249" y="12505"/>
                  </a:lnTo>
                  <a:lnTo>
                    <a:pt x="3542" y="12652"/>
                  </a:lnTo>
                  <a:lnTo>
                    <a:pt x="3835" y="12798"/>
                  </a:lnTo>
                  <a:lnTo>
                    <a:pt x="4128" y="12945"/>
                  </a:lnTo>
                  <a:lnTo>
                    <a:pt x="4421" y="13067"/>
                  </a:lnTo>
                  <a:lnTo>
                    <a:pt x="4738" y="13164"/>
                  </a:lnTo>
                  <a:lnTo>
                    <a:pt x="5056" y="13262"/>
                  </a:lnTo>
                  <a:lnTo>
                    <a:pt x="5398" y="13335"/>
                  </a:lnTo>
                  <a:lnTo>
                    <a:pt x="5715" y="13384"/>
                  </a:lnTo>
                  <a:lnTo>
                    <a:pt x="6057" y="13433"/>
                  </a:lnTo>
                  <a:lnTo>
                    <a:pt x="6399" y="13458"/>
                  </a:lnTo>
                  <a:lnTo>
                    <a:pt x="6741" y="13482"/>
                  </a:lnTo>
                  <a:lnTo>
                    <a:pt x="7083" y="13458"/>
                  </a:lnTo>
                  <a:lnTo>
                    <a:pt x="7425" y="13433"/>
                  </a:lnTo>
                  <a:lnTo>
                    <a:pt x="7767" y="13384"/>
                  </a:lnTo>
                  <a:lnTo>
                    <a:pt x="8084" y="13335"/>
                  </a:lnTo>
                  <a:lnTo>
                    <a:pt x="8426" y="13262"/>
                  </a:lnTo>
                  <a:lnTo>
                    <a:pt x="8744" y="13164"/>
                  </a:lnTo>
                  <a:lnTo>
                    <a:pt x="9061" y="13067"/>
                  </a:lnTo>
                  <a:lnTo>
                    <a:pt x="9354" y="12945"/>
                  </a:lnTo>
                  <a:lnTo>
                    <a:pt x="9647" y="12798"/>
                  </a:lnTo>
                  <a:lnTo>
                    <a:pt x="9940" y="12652"/>
                  </a:lnTo>
                  <a:lnTo>
                    <a:pt x="10234" y="12505"/>
                  </a:lnTo>
                  <a:lnTo>
                    <a:pt x="10502" y="12310"/>
                  </a:lnTo>
                  <a:lnTo>
                    <a:pt x="10771" y="12139"/>
                  </a:lnTo>
                  <a:lnTo>
                    <a:pt x="11015" y="11943"/>
                  </a:lnTo>
                  <a:lnTo>
                    <a:pt x="11259" y="11723"/>
                  </a:lnTo>
                  <a:lnTo>
                    <a:pt x="11504" y="11504"/>
                  </a:lnTo>
                  <a:lnTo>
                    <a:pt x="11723" y="11259"/>
                  </a:lnTo>
                  <a:lnTo>
                    <a:pt x="11943" y="11015"/>
                  </a:lnTo>
                  <a:lnTo>
                    <a:pt x="12139" y="10771"/>
                  </a:lnTo>
                  <a:lnTo>
                    <a:pt x="12310" y="10502"/>
                  </a:lnTo>
                  <a:lnTo>
                    <a:pt x="12505" y="10234"/>
                  </a:lnTo>
                  <a:lnTo>
                    <a:pt x="12651" y="9941"/>
                  </a:lnTo>
                  <a:lnTo>
                    <a:pt x="12798" y="9648"/>
                  </a:lnTo>
                  <a:lnTo>
                    <a:pt x="12945" y="9354"/>
                  </a:lnTo>
                  <a:lnTo>
                    <a:pt x="13067" y="9061"/>
                  </a:lnTo>
                  <a:lnTo>
                    <a:pt x="13164" y="8744"/>
                  </a:lnTo>
                  <a:lnTo>
                    <a:pt x="13262" y="8426"/>
                  </a:lnTo>
                  <a:lnTo>
                    <a:pt x="13335" y="8084"/>
                  </a:lnTo>
                  <a:lnTo>
                    <a:pt x="13384" y="7767"/>
                  </a:lnTo>
                  <a:lnTo>
                    <a:pt x="13433" y="7425"/>
                  </a:lnTo>
                  <a:lnTo>
                    <a:pt x="13457" y="7083"/>
                  </a:lnTo>
                  <a:lnTo>
                    <a:pt x="13482" y="6741"/>
                  </a:lnTo>
                  <a:lnTo>
                    <a:pt x="13457" y="6399"/>
                  </a:lnTo>
                  <a:lnTo>
                    <a:pt x="13433" y="6057"/>
                  </a:lnTo>
                  <a:lnTo>
                    <a:pt x="13384" y="5715"/>
                  </a:lnTo>
                  <a:lnTo>
                    <a:pt x="13335" y="5398"/>
                  </a:lnTo>
                  <a:lnTo>
                    <a:pt x="13262" y="5056"/>
                  </a:lnTo>
                  <a:lnTo>
                    <a:pt x="13164" y="4738"/>
                  </a:lnTo>
                  <a:lnTo>
                    <a:pt x="13067" y="4421"/>
                  </a:lnTo>
                  <a:lnTo>
                    <a:pt x="12945" y="4128"/>
                  </a:lnTo>
                  <a:lnTo>
                    <a:pt x="12798" y="3835"/>
                  </a:lnTo>
                  <a:lnTo>
                    <a:pt x="12651" y="3542"/>
                  </a:lnTo>
                  <a:lnTo>
                    <a:pt x="12505" y="3249"/>
                  </a:lnTo>
                  <a:lnTo>
                    <a:pt x="12310" y="2980"/>
                  </a:lnTo>
                  <a:lnTo>
                    <a:pt x="12139" y="2711"/>
                  </a:lnTo>
                  <a:lnTo>
                    <a:pt x="11943" y="2467"/>
                  </a:lnTo>
                  <a:lnTo>
                    <a:pt x="11723" y="2223"/>
                  </a:lnTo>
                  <a:lnTo>
                    <a:pt x="11504" y="1979"/>
                  </a:lnTo>
                  <a:lnTo>
                    <a:pt x="11259" y="1759"/>
                  </a:lnTo>
                  <a:lnTo>
                    <a:pt x="11015" y="1539"/>
                  </a:lnTo>
                  <a:lnTo>
                    <a:pt x="10771" y="1344"/>
                  </a:lnTo>
                  <a:lnTo>
                    <a:pt x="10502" y="1173"/>
                  </a:lnTo>
                  <a:lnTo>
                    <a:pt x="10234" y="977"/>
                  </a:lnTo>
                  <a:lnTo>
                    <a:pt x="9940" y="831"/>
                  </a:lnTo>
                  <a:lnTo>
                    <a:pt x="9647" y="684"/>
                  </a:lnTo>
                  <a:lnTo>
                    <a:pt x="9354" y="538"/>
                  </a:lnTo>
                  <a:lnTo>
                    <a:pt x="9061" y="416"/>
                  </a:lnTo>
                  <a:lnTo>
                    <a:pt x="8744" y="318"/>
                  </a:lnTo>
                  <a:lnTo>
                    <a:pt x="8426" y="220"/>
                  </a:lnTo>
                  <a:lnTo>
                    <a:pt x="8084" y="147"/>
                  </a:lnTo>
                  <a:lnTo>
                    <a:pt x="7767" y="98"/>
                  </a:lnTo>
                  <a:lnTo>
                    <a:pt x="7425" y="49"/>
                  </a:lnTo>
                  <a:lnTo>
                    <a:pt x="7083" y="25"/>
                  </a:lnTo>
                  <a:lnTo>
                    <a:pt x="6741" y="0"/>
                  </a:lnTo>
                  <a:close/>
                </a:path>
              </a:pathLst>
            </a:custGeom>
            <a:noFill/>
            <a:ln w="9525" cap="flat" cmpd="sng">
              <a:solidFill>
                <a:schemeClr val="bg1">
                  <a:lumMod val="65000"/>
                </a:schemeClr>
              </a:solidFill>
              <a:prstDash val="solid"/>
              <a:bevel/>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81" name="Shape 610"/>
          <p:cNvSpPr/>
          <p:nvPr/>
        </p:nvSpPr>
        <p:spPr>
          <a:xfrm>
            <a:off x="9405789" y="3478492"/>
            <a:ext cx="400950" cy="226498"/>
          </a:xfrm>
          <a:custGeom>
            <a:avLst/>
            <a:gdLst/>
            <a:ahLst/>
            <a:cxnLst/>
            <a:rect l="0" t="0" r="0" b="0"/>
            <a:pathLst>
              <a:path w="19198" h="10845" extrusionOk="0">
                <a:moveTo>
                  <a:pt x="7572" y="1"/>
                </a:moveTo>
                <a:lnTo>
                  <a:pt x="7108" y="25"/>
                </a:lnTo>
                <a:lnTo>
                  <a:pt x="6668" y="98"/>
                </a:lnTo>
                <a:lnTo>
                  <a:pt x="6229" y="196"/>
                </a:lnTo>
                <a:lnTo>
                  <a:pt x="5813" y="343"/>
                </a:lnTo>
                <a:lnTo>
                  <a:pt x="5423" y="538"/>
                </a:lnTo>
                <a:lnTo>
                  <a:pt x="5056" y="758"/>
                </a:lnTo>
                <a:lnTo>
                  <a:pt x="4714" y="1026"/>
                </a:lnTo>
                <a:lnTo>
                  <a:pt x="4397" y="1319"/>
                </a:lnTo>
                <a:lnTo>
                  <a:pt x="4104" y="1637"/>
                </a:lnTo>
                <a:lnTo>
                  <a:pt x="3835" y="1979"/>
                </a:lnTo>
                <a:lnTo>
                  <a:pt x="3615" y="2345"/>
                </a:lnTo>
                <a:lnTo>
                  <a:pt x="3420" y="2736"/>
                </a:lnTo>
                <a:lnTo>
                  <a:pt x="3273" y="3151"/>
                </a:lnTo>
                <a:lnTo>
                  <a:pt x="3151" y="3591"/>
                </a:lnTo>
                <a:lnTo>
                  <a:pt x="3102" y="4030"/>
                </a:lnTo>
                <a:lnTo>
                  <a:pt x="3078" y="4494"/>
                </a:lnTo>
                <a:lnTo>
                  <a:pt x="3078" y="4788"/>
                </a:lnTo>
                <a:lnTo>
                  <a:pt x="2712" y="4788"/>
                </a:lnTo>
                <a:lnTo>
                  <a:pt x="2419" y="4836"/>
                </a:lnTo>
                <a:lnTo>
                  <a:pt x="2125" y="4910"/>
                </a:lnTo>
                <a:lnTo>
                  <a:pt x="1832" y="5032"/>
                </a:lnTo>
                <a:lnTo>
                  <a:pt x="1588" y="5154"/>
                </a:lnTo>
                <a:lnTo>
                  <a:pt x="1320" y="5300"/>
                </a:lnTo>
                <a:lnTo>
                  <a:pt x="1100" y="5471"/>
                </a:lnTo>
                <a:lnTo>
                  <a:pt x="880" y="5667"/>
                </a:lnTo>
                <a:lnTo>
                  <a:pt x="685" y="5887"/>
                </a:lnTo>
                <a:lnTo>
                  <a:pt x="514" y="6131"/>
                </a:lnTo>
                <a:lnTo>
                  <a:pt x="367" y="6375"/>
                </a:lnTo>
                <a:lnTo>
                  <a:pt x="220" y="6644"/>
                </a:lnTo>
                <a:lnTo>
                  <a:pt x="123" y="6912"/>
                </a:lnTo>
                <a:lnTo>
                  <a:pt x="50" y="7205"/>
                </a:lnTo>
                <a:lnTo>
                  <a:pt x="1" y="7499"/>
                </a:lnTo>
                <a:lnTo>
                  <a:pt x="1" y="7816"/>
                </a:lnTo>
                <a:lnTo>
                  <a:pt x="1" y="8134"/>
                </a:lnTo>
                <a:lnTo>
                  <a:pt x="50" y="8427"/>
                </a:lnTo>
                <a:lnTo>
                  <a:pt x="123" y="8720"/>
                </a:lnTo>
                <a:lnTo>
                  <a:pt x="220" y="8988"/>
                </a:lnTo>
                <a:lnTo>
                  <a:pt x="367" y="9257"/>
                </a:lnTo>
                <a:lnTo>
                  <a:pt x="514" y="9501"/>
                </a:lnTo>
                <a:lnTo>
                  <a:pt x="685" y="9745"/>
                </a:lnTo>
                <a:lnTo>
                  <a:pt x="880" y="9965"/>
                </a:lnTo>
                <a:lnTo>
                  <a:pt x="1100" y="10161"/>
                </a:lnTo>
                <a:lnTo>
                  <a:pt x="1320" y="10332"/>
                </a:lnTo>
                <a:lnTo>
                  <a:pt x="1588" y="10478"/>
                </a:lnTo>
                <a:lnTo>
                  <a:pt x="1832" y="10600"/>
                </a:lnTo>
                <a:lnTo>
                  <a:pt x="2125" y="10722"/>
                </a:lnTo>
                <a:lnTo>
                  <a:pt x="2419" y="10796"/>
                </a:lnTo>
                <a:lnTo>
                  <a:pt x="2712" y="10844"/>
                </a:lnTo>
                <a:lnTo>
                  <a:pt x="16486" y="10844"/>
                </a:lnTo>
                <a:lnTo>
                  <a:pt x="16779" y="10796"/>
                </a:lnTo>
                <a:lnTo>
                  <a:pt x="17072" y="10722"/>
                </a:lnTo>
                <a:lnTo>
                  <a:pt x="17365" y="10600"/>
                </a:lnTo>
                <a:lnTo>
                  <a:pt x="17610" y="10478"/>
                </a:lnTo>
                <a:lnTo>
                  <a:pt x="17878" y="10332"/>
                </a:lnTo>
                <a:lnTo>
                  <a:pt x="18098" y="10161"/>
                </a:lnTo>
                <a:lnTo>
                  <a:pt x="18318" y="9965"/>
                </a:lnTo>
                <a:lnTo>
                  <a:pt x="18513" y="9745"/>
                </a:lnTo>
                <a:lnTo>
                  <a:pt x="18684" y="9501"/>
                </a:lnTo>
                <a:lnTo>
                  <a:pt x="18831" y="9257"/>
                </a:lnTo>
                <a:lnTo>
                  <a:pt x="18977" y="8988"/>
                </a:lnTo>
                <a:lnTo>
                  <a:pt x="19075" y="8720"/>
                </a:lnTo>
                <a:lnTo>
                  <a:pt x="19148" y="8427"/>
                </a:lnTo>
                <a:lnTo>
                  <a:pt x="19197" y="8134"/>
                </a:lnTo>
                <a:lnTo>
                  <a:pt x="19197" y="7816"/>
                </a:lnTo>
                <a:lnTo>
                  <a:pt x="19197" y="7499"/>
                </a:lnTo>
                <a:lnTo>
                  <a:pt x="19148" y="7205"/>
                </a:lnTo>
                <a:lnTo>
                  <a:pt x="19075" y="6912"/>
                </a:lnTo>
                <a:lnTo>
                  <a:pt x="18977" y="6644"/>
                </a:lnTo>
                <a:lnTo>
                  <a:pt x="18831" y="6375"/>
                </a:lnTo>
                <a:lnTo>
                  <a:pt x="18684" y="6131"/>
                </a:lnTo>
                <a:lnTo>
                  <a:pt x="18513" y="5887"/>
                </a:lnTo>
                <a:lnTo>
                  <a:pt x="18318" y="5667"/>
                </a:lnTo>
                <a:lnTo>
                  <a:pt x="18098" y="5471"/>
                </a:lnTo>
                <a:lnTo>
                  <a:pt x="17878" y="5300"/>
                </a:lnTo>
                <a:lnTo>
                  <a:pt x="17610" y="5154"/>
                </a:lnTo>
                <a:lnTo>
                  <a:pt x="17365" y="5032"/>
                </a:lnTo>
                <a:lnTo>
                  <a:pt x="17072" y="4910"/>
                </a:lnTo>
                <a:lnTo>
                  <a:pt x="16779" y="4836"/>
                </a:lnTo>
                <a:lnTo>
                  <a:pt x="16486" y="4788"/>
                </a:lnTo>
                <a:lnTo>
                  <a:pt x="15412" y="4788"/>
                </a:lnTo>
                <a:lnTo>
                  <a:pt x="15436" y="4494"/>
                </a:lnTo>
                <a:lnTo>
                  <a:pt x="15412" y="4201"/>
                </a:lnTo>
                <a:lnTo>
                  <a:pt x="15387" y="3933"/>
                </a:lnTo>
                <a:lnTo>
                  <a:pt x="15314" y="3664"/>
                </a:lnTo>
                <a:lnTo>
                  <a:pt x="15216" y="3420"/>
                </a:lnTo>
                <a:lnTo>
                  <a:pt x="15094" y="3176"/>
                </a:lnTo>
                <a:lnTo>
                  <a:pt x="14972" y="2956"/>
                </a:lnTo>
                <a:lnTo>
                  <a:pt x="14801" y="2736"/>
                </a:lnTo>
                <a:lnTo>
                  <a:pt x="14630" y="2541"/>
                </a:lnTo>
                <a:lnTo>
                  <a:pt x="14435" y="2370"/>
                </a:lnTo>
                <a:lnTo>
                  <a:pt x="14215" y="2199"/>
                </a:lnTo>
                <a:lnTo>
                  <a:pt x="13995" y="2077"/>
                </a:lnTo>
                <a:lnTo>
                  <a:pt x="13751" y="1954"/>
                </a:lnTo>
                <a:lnTo>
                  <a:pt x="13507" y="1857"/>
                </a:lnTo>
                <a:lnTo>
                  <a:pt x="13238" y="1784"/>
                </a:lnTo>
                <a:lnTo>
                  <a:pt x="12969" y="1759"/>
                </a:lnTo>
                <a:lnTo>
                  <a:pt x="12676" y="1735"/>
                </a:lnTo>
                <a:lnTo>
                  <a:pt x="12334" y="1759"/>
                </a:lnTo>
                <a:lnTo>
                  <a:pt x="11992" y="1832"/>
                </a:lnTo>
                <a:lnTo>
                  <a:pt x="11650" y="1930"/>
                </a:lnTo>
                <a:lnTo>
                  <a:pt x="11357" y="2077"/>
                </a:lnTo>
                <a:lnTo>
                  <a:pt x="11186" y="1857"/>
                </a:lnTo>
                <a:lnTo>
                  <a:pt x="11015" y="1637"/>
                </a:lnTo>
                <a:lnTo>
                  <a:pt x="10844" y="1417"/>
                </a:lnTo>
                <a:lnTo>
                  <a:pt x="10649" y="1222"/>
                </a:lnTo>
                <a:lnTo>
                  <a:pt x="10454" y="1051"/>
                </a:lnTo>
                <a:lnTo>
                  <a:pt x="10234" y="880"/>
                </a:lnTo>
                <a:lnTo>
                  <a:pt x="9990" y="709"/>
                </a:lnTo>
                <a:lnTo>
                  <a:pt x="9745" y="562"/>
                </a:lnTo>
                <a:lnTo>
                  <a:pt x="9501" y="440"/>
                </a:lnTo>
                <a:lnTo>
                  <a:pt x="9257" y="318"/>
                </a:lnTo>
                <a:lnTo>
                  <a:pt x="8988" y="220"/>
                </a:lnTo>
                <a:lnTo>
                  <a:pt x="8720" y="147"/>
                </a:lnTo>
                <a:lnTo>
                  <a:pt x="8427" y="74"/>
                </a:lnTo>
                <a:lnTo>
                  <a:pt x="8158" y="25"/>
                </a:lnTo>
                <a:lnTo>
                  <a:pt x="7865" y="1"/>
                </a:lnTo>
                <a:close/>
              </a:path>
            </a:pathLst>
          </a:custGeom>
          <a:noFill/>
          <a:ln w="38100" cap="flat" cmpd="sng">
            <a:solidFill>
              <a:schemeClr val="bg1">
                <a:lumMod val="65000"/>
              </a:schemeClr>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nvGrpSpPr>
          <p:cNvPr id="282" name="Shape 611"/>
          <p:cNvGrpSpPr/>
          <p:nvPr/>
        </p:nvGrpSpPr>
        <p:grpSpPr>
          <a:xfrm>
            <a:off x="8327148" y="3991477"/>
            <a:ext cx="1075937" cy="1047989"/>
            <a:chOff x="5926225" y="921350"/>
            <a:chExt cx="517800" cy="504350"/>
          </a:xfrm>
        </p:grpSpPr>
        <p:sp>
          <p:nvSpPr>
            <p:cNvPr id="283" name="Shape 612"/>
            <p:cNvSpPr/>
            <p:nvPr/>
          </p:nvSpPr>
          <p:spPr>
            <a:xfrm>
              <a:off x="5926225" y="921350"/>
              <a:ext cx="517800" cy="504350"/>
            </a:xfrm>
            <a:custGeom>
              <a:avLst/>
              <a:gdLst/>
              <a:ahLst/>
              <a:cxnLst/>
              <a:rect l="0" t="0" r="0" b="0"/>
              <a:pathLst>
                <a:path w="20712" h="20174" extrusionOk="0">
                  <a:moveTo>
                    <a:pt x="10356" y="2858"/>
                  </a:moveTo>
                  <a:lnTo>
                    <a:pt x="10722" y="2882"/>
                  </a:lnTo>
                  <a:lnTo>
                    <a:pt x="11089" y="2907"/>
                  </a:lnTo>
                  <a:lnTo>
                    <a:pt x="11455" y="2956"/>
                  </a:lnTo>
                  <a:lnTo>
                    <a:pt x="11821" y="3004"/>
                  </a:lnTo>
                  <a:lnTo>
                    <a:pt x="12163" y="3102"/>
                  </a:lnTo>
                  <a:lnTo>
                    <a:pt x="12505" y="3200"/>
                  </a:lnTo>
                  <a:lnTo>
                    <a:pt x="12847" y="3298"/>
                  </a:lnTo>
                  <a:lnTo>
                    <a:pt x="13165" y="3444"/>
                  </a:lnTo>
                  <a:lnTo>
                    <a:pt x="13482" y="3591"/>
                  </a:lnTo>
                  <a:lnTo>
                    <a:pt x="13800" y="3737"/>
                  </a:lnTo>
                  <a:lnTo>
                    <a:pt x="14093" y="3908"/>
                  </a:lnTo>
                  <a:lnTo>
                    <a:pt x="14386" y="4104"/>
                  </a:lnTo>
                  <a:lnTo>
                    <a:pt x="14679" y="4299"/>
                  </a:lnTo>
                  <a:lnTo>
                    <a:pt x="14948" y="4519"/>
                  </a:lnTo>
                  <a:lnTo>
                    <a:pt x="15216" y="4739"/>
                  </a:lnTo>
                  <a:lnTo>
                    <a:pt x="15460" y="4983"/>
                  </a:lnTo>
                  <a:lnTo>
                    <a:pt x="15705" y="5227"/>
                  </a:lnTo>
                  <a:lnTo>
                    <a:pt x="15925" y="5496"/>
                  </a:lnTo>
                  <a:lnTo>
                    <a:pt x="16144" y="5764"/>
                  </a:lnTo>
                  <a:lnTo>
                    <a:pt x="16340" y="6057"/>
                  </a:lnTo>
                  <a:lnTo>
                    <a:pt x="16535" y="6350"/>
                  </a:lnTo>
                  <a:lnTo>
                    <a:pt x="16706" y="6644"/>
                  </a:lnTo>
                  <a:lnTo>
                    <a:pt x="16853" y="6961"/>
                  </a:lnTo>
                  <a:lnTo>
                    <a:pt x="16999" y="7279"/>
                  </a:lnTo>
                  <a:lnTo>
                    <a:pt x="17146" y="7596"/>
                  </a:lnTo>
                  <a:lnTo>
                    <a:pt x="17243" y="7938"/>
                  </a:lnTo>
                  <a:lnTo>
                    <a:pt x="17341" y="8280"/>
                  </a:lnTo>
                  <a:lnTo>
                    <a:pt x="17439" y="8622"/>
                  </a:lnTo>
                  <a:lnTo>
                    <a:pt x="17488" y="8988"/>
                  </a:lnTo>
                  <a:lnTo>
                    <a:pt x="17536" y="9354"/>
                  </a:lnTo>
                  <a:lnTo>
                    <a:pt x="17561" y="9721"/>
                  </a:lnTo>
                  <a:lnTo>
                    <a:pt x="17585" y="10087"/>
                  </a:lnTo>
                  <a:lnTo>
                    <a:pt x="17561" y="10454"/>
                  </a:lnTo>
                  <a:lnTo>
                    <a:pt x="17536" y="10820"/>
                  </a:lnTo>
                  <a:lnTo>
                    <a:pt x="17488" y="11186"/>
                  </a:lnTo>
                  <a:lnTo>
                    <a:pt x="17439" y="11553"/>
                  </a:lnTo>
                  <a:lnTo>
                    <a:pt x="17341" y="11894"/>
                  </a:lnTo>
                  <a:lnTo>
                    <a:pt x="17243" y="12236"/>
                  </a:lnTo>
                  <a:lnTo>
                    <a:pt x="17146" y="12578"/>
                  </a:lnTo>
                  <a:lnTo>
                    <a:pt x="16999" y="12896"/>
                  </a:lnTo>
                  <a:lnTo>
                    <a:pt x="16853" y="13213"/>
                  </a:lnTo>
                  <a:lnTo>
                    <a:pt x="16706" y="13531"/>
                  </a:lnTo>
                  <a:lnTo>
                    <a:pt x="16535" y="13824"/>
                  </a:lnTo>
                  <a:lnTo>
                    <a:pt x="16340" y="14117"/>
                  </a:lnTo>
                  <a:lnTo>
                    <a:pt x="16144" y="14410"/>
                  </a:lnTo>
                  <a:lnTo>
                    <a:pt x="15925" y="14679"/>
                  </a:lnTo>
                  <a:lnTo>
                    <a:pt x="15705" y="14947"/>
                  </a:lnTo>
                  <a:lnTo>
                    <a:pt x="15460" y="15192"/>
                  </a:lnTo>
                  <a:lnTo>
                    <a:pt x="15216" y="15436"/>
                  </a:lnTo>
                  <a:lnTo>
                    <a:pt x="14948" y="15656"/>
                  </a:lnTo>
                  <a:lnTo>
                    <a:pt x="14679" y="15875"/>
                  </a:lnTo>
                  <a:lnTo>
                    <a:pt x="14386" y="16071"/>
                  </a:lnTo>
                  <a:lnTo>
                    <a:pt x="14093" y="16266"/>
                  </a:lnTo>
                  <a:lnTo>
                    <a:pt x="13800" y="16437"/>
                  </a:lnTo>
                  <a:lnTo>
                    <a:pt x="13482" y="16584"/>
                  </a:lnTo>
                  <a:lnTo>
                    <a:pt x="13165" y="16730"/>
                  </a:lnTo>
                  <a:lnTo>
                    <a:pt x="12847" y="16877"/>
                  </a:lnTo>
                  <a:lnTo>
                    <a:pt x="12505" y="16974"/>
                  </a:lnTo>
                  <a:lnTo>
                    <a:pt x="12163" y="17072"/>
                  </a:lnTo>
                  <a:lnTo>
                    <a:pt x="11821" y="17170"/>
                  </a:lnTo>
                  <a:lnTo>
                    <a:pt x="11455" y="17219"/>
                  </a:lnTo>
                  <a:lnTo>
                    <a:pt x="11089" y="17268"/>
                  </a:lnTo>
                  <a:lnTo>
                    <a:pt x="10722" y="17292"/>
                  </a:lnTo>
                  <a:lnTo>
                    <a:pt x="10356" y="17316"/>
                  </a:lnTo>
                  <a:lnTo>
                    <a:pt x="9990" y="17292"/>
                  </a:lnTo>
                  <a:lnTo>
                    <a:pt x="9623" y="17268"/>
                  </a:lnTo>
                  <a:lnTo>
                    <a:pt x="9257" y="17219"/>
                  </a:lnTo>
                  <a:lnTo>
                    <a:pt x="8891" y="17170"/>
                  </a:lnTo>
                  <a:lnTo>
                    <a:pt x="8549" y="17072"/>
                  </a:lnTo>
                  <a:lnTo>
                    <a:pt x="8207" y="16974"/>
                  </a:lnTo>
                  <a:lnTo>
                    <a:pt x="7865" y="16877"/>
                  </a:lnTo>
                  <a:lnTo>
                    <a:pt x="7547" y="16730"/>
                  </a:lnTo>
                  <a:lnTo>
                    <a:pt x="7230" y="16584"/>
                  </a:lnTo>
                  <a:lnTo>
                    <a:pt x="6912" y="16437"/>
                  </a:lnTo>
                  <a:lnTo>
                    <a:pt x="6619" y="16266"/>
                  </a:lnTo>
                  <a:lnTo>
                    <a:pt x="6326" y="16071"/>
                  </a:lnTo>
                  <a:lnTo>
                    <a:pt x="6033" y="15875"/>
                  </a:lnTo>
                  <a:lnTo>
                    <a:pt x="5765" y="15656"/>
                  </a:lnTo>
                  <a:lnTo>
                    <a:pt x="5496" y="15436"/>
                  </a:lnTo>
                  <a:lnTo>
                    <a:pt x="5252" y="15192"/>
                  </a:lnTo>
                  <a:lnTo>
                    <a:pt x="5007" y="14947"/>
                  </a:lnTo>
                  <a:lnTo>
                    <a:pt x="4788" y="14679"/>
                  </a:lnTo>
                  <a:lnTo>
                    <a:pt x="4568" y="14410"/>
                  </a:lnTo>
                  <a:lnTo>
                    <a:pt x="4372" y="14117"/>
                  </a:lnTo>
                  <a:lnTo>
                    <a:pt x="4177" y="13824"/>
                  </a:lnTo>
                  <a:lnTo>
                    <a:pt x="4006" y="13531"/>
                  </a:lnTo>
                  <a:lnTo>
                    <a:pt x="3860" y="13213"/>
                  </a:lnTo>
                  <a:lnTo>
                    <a:pt x="3713" y="12896"/>
                  </a:lnTo>
                  <a:lnTo>
                    <a:pt x="3566" y="12578"/>
                  </a:lnTo>
                  <a:lnTo>
                    <a:pt x="3469" y="12236"/>
                  </a:lnTo>
                  <a:lnTo>
                    <a:pt x="3371" y="11894"/>
                  </a:lnTo>
                  <a:lnTo>
                    <a:pt x="3273" y="11553"/>
                  </a:lnTo>
                  <a:lnTo>
                    <a:pt x="3225" y="11186"/>
                  </a:lnTo>
                  <a:lnTo>
                    <a:pt x="3176" y="10820"/>
                  </a:lnTo>
                  <a:lnTo>
                    <a:pt x="3151" y="10454"/>
                  </a:lnTo>
                  <a:lnTo>
                    <a:pt x="3127" y="10087"/>
                  </a:lnTo>
                  <a:lnTo>
                    <a:pt x="3151" y="9721"/>
                  </a:lnTo>
                  <a:lnTo>
                    <a:pt x="3176" y="9354"/>
                  </a:lnTo>
                  <a:lnTo>
                    <a:pt x="3225" y="8988"/>
                  </a:lnTo>
                  <a:lnTo>
                    <a:pt x="3273" y="8622"/>
                  </a:lnTo>
                  <a:lnTo>
                    <a:pt x="3371" y="8280"/>
                  </a:lnTo>
                  <a:lnTo>
                    <a:pt x="3469" y="7938"/>
                  </a:lnTo>
                  <a:lnTo>
                    <a:pt x="3566" y="7596"/>
                  </a:lnTo>
                  <a:lnTo>
                    <a:pt x="3713" y="7279"/>
                  </a:lnTo>
                  <a:lnTo>
                    <a:pt x="3860" y="6961"/>
                  </a:lnTo>
                  <a:lnTo>
                    <a:pt x="4006" y="6644"/>
                  </a:lnTo>
                  <a:lnTo>
                    <a:pt x="4177" y="6350"/>
                  </a:lnTo>
                  <a:lnTo>
                    <a:pt x="4372" y="6057"/>
                  </a:lnTo>
                  <a:lnTo>
                    <a:pt x="4568" y="5764"/>
                  </a:lnTo>
                  <a:lnTo>
                    <a:pt x="4788" y="5496"/>
                  </a:lnTo>
                  <a:lnTo>
                    <a:pt x="5007" y="5227"/>
                  </a:lnTo>
                  <a:lnTo>
                    <a:pt x="5252" y="4983"/>
                  </a:lnTo>
                  <a:lnTo>
                    <a:pt x="5496" y="4739"/>
                  </a:lnTo>
                  <a:lnTo>
                    <a:pt x="5765" y="4519"/>
                  </a:lnTo>
                  <a:lnTo>
                    <a:pt x="6033" y="4299"/>
                  </a:lnTo>
                  <a:lnTo>
                    <a:pt x="6326" y="4104"/>
                  </a:lnTo>
                  <a:lnTo>
                    <a:pt x="6619" y="3908"/>
                  </a:lnTo>
                  <a:lnTo>
                    <a:pt x="6912" y="3737"/>
                  </a:lnTo>
                  <a:lnTo>
                    <a:pt x="7230" y="3591"/>
                  </a:lnTo>
                  <a:lnTo>
                    <a:pt x="7547" y="3444"/>
                  </a:lnTo>
                  <a:lnTo>
                    <a:pt x="7865" y="3298"/>
                  </a:lnTo>
                  <a:lnTo>
                    <a:pt x="8207" y="3200"/>
                  </a:lnTo>
                  <a:lnTo>
                    <a:pt x="8549" y="3102"/>
                  </a:lnTo>
                  <a:lnTo>
                    <a:pt x="8891" y="3004"/>
                  </a:lnTo>
                  <a:lnTo>
                    <a:pt x="9257" y="2956"/>
                  </a:lnTo>
                  <a:lnTo>
                    <a:pt x="9623" y="2907"/>
                  </a:lnTo>
                  <a:lnTo>
                    <a:pt x="9990" y="2882"/>
                  </a:lnTo>
                  <a:lnTo>
                    <a:pt x="10356" y="2858"/>
                  </a:lnTo>
                  <a:close/>
                  <a:moveTo>
                    <a:pt x="8060" y="0"/>
                  </a:moveTo>
                  <a:lnTo>
                    <a:pt x="6717" y="2516"/>
                  </a:lnTo>
                  <a:lnTo>
                    <a:pt x="3908" y="2003"/>
                  </a:lnTo>
                  <a:lnTo>
                    <a:pt x="3786" y="4861"/>
                  </a:lnTo>
                  <a:lnTo>
                    <a:pt x="1026" y="5593"/>
                  </a:lnTo>
                  <a:lnTo>
                    <a:pt x="2174" y="8207"/>
                  </a:lnTo>
                  <a:lnTo>
                    <a:pt x="1" y="10087"/>
                  </a:lnTo>
                  <a:lnTo>
                    <a:pt x="2174" y="11968"/>
                  </a:lnTo>
                  <a:lnTo>
                    <a:pt x="1026" y="14581"/>
                  </a:lnTo>
                  <a:lnTo>
                    <a:pt x="3786" y="15314"/>
                  </a:lnTo>
                  <a:lnTo>
                    <a:pt x="3908" y="18171"/>
                  </a:lnTo>
                  <a:lnTo>
                    <a:pt x="6717" y="17658"/>
                  </a:lnTo>
                  <a:lnTo>
                    <a:pt x="8060" y="20174"/>
                  </a:lnTo>
                  <a:lnTo>
                    <a:pt x="10356" y="18489"/>
                  </a:lnTo>
                  <a:lnTo>
                    <a:pt x="12652" y="20174"/>
                  </a:lnTo>
                  <a:lnTo>
                    <a:pt x="13995" y="17658"/>
                  </a:lnTo>
                  <a:lnTo>
                    <a:pt x="16804" y="18171"/>
                  </a:lnTo>
                  <a:lnTo>
                    <a:pt x="16926" y="15314"/>
                  </a:lnTo>
                  <a:lnTo>
                    <a:pt x="19686" y="14581"/>
                  </a:lnTo>
                  <a:lnTo>
                    <a:pt x="18538" y="11968"/>
                  </a:lnTo>
                  <a:lnTo>
                    <a:pt x="20711" y="10087"/>
                  </a:lnTo>
                  <a:lnTo>
                    <a:pt x="18538" y="8207"/>
                  </a:lnTo>
                  <a:lnTo>
                    <a:pt x="19686" y="5593"/>
                  </a:lnTo>
                  <a:lnTo>
                    <a:pt x="16926" y="4861"/>
                  </a:lnTo>
                  <a:lnTo>
                    <a:pt x="16804" y="2003"/>
                  </a:lnTo>
                  <a:lnTo>
                    <a:pt x="13995" y="2516"/>
                  </a:lnTo>
                  <a:lnTo>
                    <a:pt x="12652" y="0"/>
                  </a:lnTo>
                  <a:lnTo>
                    <a:pt x="10356" y="1686"/>
                  </a:lnTo>
                  <a:lnTo>
                    <a:pt x="8060" y="0"/>
                  </a:lnTo>
                  <a:close/>
                </a:path>
              </a:pathLst>
            </a:custGeom>
            <a:solidFill>
              <a:srgbClr val="FFFF00"/>
            </a:solidFill>
            <a:ln w="28575" cap="flat" cmpd="sng">
              <a:solidFill>
                <a:schemeClr val="bg1">
                  <a:lumMod val="65000"/>
                </a:schemeClr>
              </a:solidFill>
              <a:prstDash val="solid"/>
              <a:bevel/>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
          <p:nvSpPr>
            <p:cNvPr id="284" name="Shape 613"/>
            <p:cNvSpPr/>
            <p:nvPr/>
          </p:nvSpPr>
          <p:spPr>
            <a:xfrm>
              <a:off x="6016600" y="1005000"/>
              <a:ext cx="337050" cy="337050"/>
            </a:xfrm>
            <a:custGeom>
              <a:avLst/>
              <a:gdLst/>
              <a:ahLst/>
              <a:cxnLst/>
              <a:rect l="0" t="0" r="0" b="0"/>
              <a:pathLst>
                <a:path w="13482" h="13482" extrusionOk="0">
                  <a:moveTo>
                    <a:pt x="6741" y="0"/>
                  </a:moveTo>
                  <a:lnTo>
                    <a:pt x="6399" y="25"/>
                  </a:lnTo>
                  <a:lnTo>
                    <a:pt x="6057" y="49"/>
                  </a:lnTo>
                  <a:lnTo>
                    <a:pt x="5715" y="98"/>
                  </a:lnTo>
                  <a:lnTo>
                    <a:pt x="5398" y="147"/>
                  </a:lnTo>
                  <a:lnTo>
                    <a:pt x="5056" y="220"/>
                  </a:lnTo>
                  <a:lnTo>
                    <a:pt x="4738" y="318"/>
                  </a:lnTo>
                  <a:lnTo>
                    <a:pt x="4421" y="416"/>
                  </a:lnTo>
                  <a:lnTo>
                    <a:pt x="4128" y="538"/>
                  </a:lnTo>
                  <a:lnTo>
                    <a:pt x="3835" y="684"/>
                  </a:lnTo>
                  <a:lnTo>
                    <a:pt x="3542" y="831"/>
                  </a:lnTo>
                  <a:lnTo>
                    <a:pt x="3249" y="977"/>
                  </a:lnTo>
                  <a:lnTo>
                    <a:pt x="2980" y="1173"/>
                  </a:lnTo>
                  <a:lnTo>
                    <a:pt x="2711" y="1344"/>
                  </a:lnTo>
                  <a:lnTo>
                    <a:pt x="2467" y="1539"/>
                  </a:lnTo>
                  <a:lnTo>
                    <a:pt x="2223" y="1759"/>
                  </a:lnTo>
                  <a:lnTo>
                    <a:pt x="1979" y="1979"/>
                  </a:lnTo>
                  <a:lnTo>
                    <a:pt x="1759" y="2223"/>
                  </a:lnTo>
                  <a:lnTo>
                    <a:pt x="1539" y="2467"/>
                  </a:lnTo>
                  <a:lnTo>
                    <a:pt x="1344" y="2711"/>
                  </a:lnTo>
                  <a:lnTo>
                    <a:pt x="1173" y="2980"/>
                  </a:lnTo>
                  <a:lnTo>
                    <a:pt x="977" y="3249"/>
                  </a:lnTo>
                  <a:lnTo>
                    <a:pt x="831" y="3542"/>
                  </a:lnTo>
                  <a:lnTo>
                    <a:pt x="684" y="3835"/>
                  </a:lnTo>
                  <a:lnTo>
                    <a:pt x="538" y="4128"/>
                  </a:lnTo>
                  <a:lnTo>
                    <a:pt x="416" y="4421"/>
                  </a:lnTo>
                  <a:lnTo>
                    <a:pt x="318" y="4738"/>
                  </a:lnTo>
                  <a:lnTo>
                    <a:pt x="220" y="5056"/>
                  </a:lnTo>
                  <a:lnTo>
                    <a:pt x="147" y="5398"/>
                  </a:lnTo>
                  <a:lnTo>
                    <a:pt x="98" y="5715"/>
                  </a:lnTo>
                  <a:lnTo>
                    <a:pt x="49" y="6057"/>
                  </a:lnTo>
                  <a:lnTo>
                    <a:pt x="25" y="6399"/>
                  </a:lnTo>
                  <a:lnTo>
                    <a:pt x="0" y="6741"/>
                  </a:lnTo>
                  <a:lnTo>
                    <a:pt x="25" y="7083"/>
                  </a:lnTo>
                  <a:lnTo>
                    <a:pt x="49" y="7425"/>
                  </a:lnTo>
                  <a:lnTo>
                    <a:pt x="98" y="7767"/>
                  </a:lnTo>
                  <a:lnTo>
                    <a:pt x="147" y="8084"/>
                  </a:lnTo>
                  <a:lnTo>
                    <a:pt x="220" y="8426"/>
                  </a:lnTo>
                  <a:lnTo>
                    <a:pt x="318" y="8744"/>
                  </a:lnTo>
                  <a:lnTo>
                    <a:pt x="416" y="9061"/>
                  </a:lnTo>
                  <a:lnTo>
                    <a:pt x="538" y="9354"/>
                  </a:lnTo>
                  <a:lnTo>
                    <a:pt x="684" y="9648"/>
                  </a:lnTo>
                  <a:lnTo>
                    <a:pt x="831" y="9941"/>
                  </a:lnTo>
                  <a:lnTo>
                    <a:pt x="977" y="10234"/>
                  </a:lnTo>
                  <a:lnTo>
                    <a:pt x="1173" y="10502"/>
                  </a:lnTo>
                  <a:lnTo>
                    <a:pt x="1344" y="10771"/>
                  </a:lnTo>
                  <a:lnTo>
                    <a:pt x="1539" y="11015"/>
                  </a:lnTo>
                  <a:lnTo>
                    <a:pt x="1759" y="11259"/>
                  </a:lnTo>
                  <a:lnTo>
                    <a:pt x="1979" y="11504"/>
                  </a:lnTo>
                  <a:lnTo>
                    <a:pt x="2223" y="11723"/>
                  </a:lnTo>
                  <a:lnTo>
                    <a:pt x="2467" y="11943"/>
                  </a:lnTo>
                  <a:lnTo>
                    <a:pt x="2711" y="12139"/>
                  </a:lnTo>
                  <a:lnTo>
                    <a:pt x="2980" y="12310"/>
                  </a:lnTo>
                  <a:lnTo>
                    <a:pt x="3249" y="12505"/>
                  </a:lnTo>
                  <a:lnTo>
                    <a:pt x="3542" y="12652"/>
                  </a:lnTo>
                  <a:lnTo>
                    <a:pt x="3835" y="12798"/>
                  </a:lnTo>
                  <a:lnTo>
                    <a:pt x="4128" y="12945"/>
                  </a:lnTo>
                  <a:lnTo>
                    <a:pt x="4421" y="13067"/>
                  </a:lnTo>
                  <a:lnTo>
                    <a:pt x="4738" y="13164"/>
                  </a:lnTo>
                  <a:lnTo>
                    <a:pt x="5056" y="13262"/>
                  </a:lnTo>
                  <a:lnTo>
                    <a:pt x="5398" y="13335"/>
                  </a:lnTo>
                  <a:lnTo>
                    <a:pt x="5715" y="13384"/>
                  </a:lnTo>
                  <a:lnTo>
                    <a:pt x="6057" y="13433"/>
                  </a:lnTo>
                  <a:lnTo>
                    <a:pt x="6399" y="13458"/>
                  </a:lnTo>
                  <a:lnTo>
                    <a:pt x="6741" y="13482"/>
                  </a:lnTo>
                  <a:lnTo>
                    <a:pt x="7083" y="13458"/>
                  </a:lnTo>
                  <a:lnTo>
                    <a:pt x="7425" y="13433"/>
                  </a:lnTo>
                  <a:lnTo>
                    <a:pt x="7767" y="13384"/>
                  </a:lnTo>
                  <a:lnTo>
                    <a:pt x="8084" y="13335"/>
                  </a:lnTo>
                  <a:lnTo>
                    <a:pt x="8426" y="13262"/>
                  </a:lnTo>
                  <a:lnTo>
                    <a:pt x="8744" y="13164"/>
                  </a:lnTo>
                  <a:lnTo>
                    <a:pt x="9061" y="13067"/>
                  </a:lnTo>
                  <a:lnTo>
                    <a:pt x="9354" y="12945"/>
                  </a:lnTo>
                  <a:lnTo>
                    <a:pt x="9647" y="12798"/>
                  </a:lnTo>
                  <a:lnTo>
                    <a:pt x="9940" y="12652"/>
                  </a:lnTo>
                  <a:lnTo>
                    <a:pt x="10234" y="12505"/>
                  </a:lnTo>
                  <a:lnTo>
                    <a:pt x="10502" y="12310"/>
                  </a:lnTo>
                  <a:lnTo>
                    <a:pt x="10771" y="12139"/>
                  </a:lnTo>
                  <a:lnTo>
                    <a:pt x="11015" y="11943"/>
                  </a:lnTo>
                  <a:lnTo>
                    <a:pt x="11259" y="11723"/>
                  </a:lnTo>
                  <a:lnTo>
                    <a:pt x="11504" y="11504"/>
                  </a:lnTo>
                  <a:lnTo>
                    <a:pt x="11723" y="11259"/>
                  </a:lnTo>
                  <a:lnTo>
                    <a:pt x="11943" y="11015"/>
                  </a:lnTo>
                  <a:lnTo>
                    <a:pt x="12139" y="10771"/>
                  </a:lnTo>
                  <a:lnTo>
                    <a:pt x="12310" y="10502"/>
                  </a:lnTo>
                  <a:lnTo>
                    <a:pt x="12505" y="10234"/>
                  </a:lnTo>
                  <a:lnTo>
                    <a:pt x="12651" y="9941"/>
                  </a:lnTo>
                  <a:lnTo>
                    <a:pt x="12798" y="9648"/>
                  </a:lnTo>
                  <a:lnTo>
                    <a:pt x="12945" y="9354"/>
                  </a:lnTo>
                  <a:lnTo>
                    <a:pt x="13067" y="9061"/>
                  </a:lnTo>
                  <a:lnTo>
                    <a:pt x="13164" y="8744"/>
                  </a:lnTo>
                  <a:lnTo>
                    <a:pt x="13262" y="8426"/>
                  </a:lnTo>
                  <a:lnTo>
                    <a:pt x="13335" y="8084"/>
                  </a:lnTo>
                  <a:lnTo>
                    <a:pt x="13384" y="7767"/>
                  </a:lnTo>
                  <a:lnTo>
                    <a:pt x="13433" y="7425"/>
                  </a:lnTo>
                  <a:lnTo>
                    <a:pt x="13457" y="7083"/>
                  </a:lnTo>
                  <a:lnTo>
                    <a:pt x="13482" y="6741"/>
                  </a:lnTo>
                  <a:lnTo>
                    <a:pt x="13457" y="6399"/>
                  </a:lnTo>
                  <a:lnTo>
                    <a:pt x="13433" y="6057"/>
                  </a:lnTo>
                  <a:lnTo>
                    <a:pt x="13384" y="5715"/>
                  </a:lnTo>
                  <a:lnTo>
                    <a:pt x="13335" y="5398"/>
                  </a:lnTo>
                  <a:lnTo>
                    <a:pt x="13262" y="5056"/>
                  </a:lnTo>
                  <a:lnTo>
                    <a:pt x="13164" y="4738"/>
                  </a:lnTo>
                  <a:lnTo>
                    <a:pt x="13067" y="4421"/>
                  </a:lnTo>
                  <a:lnTo>
                    <a:pt x="12945" y="4128"/>
                  </a:lnTo>
                  <a:lnTo>
                    <a:pt x="12798" y="3835"/>
                  </a:lnTo>
                  <a:lnTo>
                    <a:pt x="12651" y="3542"/>
                  </a:lnTo>
                  <a:lnTo>
                    <a:pt x="12505" y="3249"/>
                  </a:lnTo>
                  <a:lnTo>
                    <a:pt x="12310" y="2980"/>
                  </a:lnTo>
                  <a:lnTo>
                    <a:pt x="12139" y="2711"/>
                  </a:lnTo>
                  <a:lnTo>
                    <a:pt x="11943" y="2467"/>
                  </a:lnTo>
                  <a:lnTo>
                    <a:pt x="11723" y="2223"/>
                  </a:lnTo>
                  <a:lnTo>
                    <a:pt x="11504" y="1979"/>
                  </a:lnTo>
                  <a:lnTo>
                    <a:pt x="11259" y="1759"/>
                  </a:lnTo>
                  <a:lnTo>
                    <a:pt x="11015" y="1539"/>
                  </a:lnTo>
                  <a:lnTo>
                    <a:pt x="10771" y="1344"/>
                  </a:lnTo>
                  <a:lnTo>
                    <a:pt x="10502" y="1173"/>
                  </a:lnTo>
                  <a:lnTo>
                    <a:pt x="10234" y="977"/>
                  </a:lnTo>
                  <a:lnTo>
                    <a:pt x="9940" y="831"/>
                  </a:lnTo>
                  <a:lnTo>
                    <a:pt x="9647" y="684"/>
                  </a:lnTo>
                  <a:lnTo>
                    <a:pt x="9354" y="538"/>
                  </a:lnTo>
                  <a:lnTo>
                    <a:pt x="9061" y="416"/>
                  </a:lnTo>
                  <a:lnTo>
                    <a:pt x="8744" y="318"/>
                  </a:lnTo>
                  <a:lnTo>
                    <a:pt x="8426" y="220"/>
                  </a:lnTo>
                  <a:lnTo>
                    <a:pt x="8084" y="147"/>
                  </a:lnTo>
                  <a:lnTo>
                    <a:pt x="7767" y="98"/>
                  </a:lnTo>
                  <a:lnTo>
                    <a:pt x="7425" y="49"/>
                  </a:lnTo>
                  <a:lnTo>
                    <a:pt x="7083" y="25"/>
                  </a:lnTo>
                  <a:lnTo>
                    <a:pt x="6741" y="0"/>
                  </a:lnTo>
                  <a:close/>
                </a:path>
              </a:pathLst>
            </a:custGeom>
            <a:solidFill>
              <a:srgbClr val="FFFF00"/>
            </a:solidFill>
            <a:ln w="28575" cap="flat" cmpd="sng">
              <a:solidFill>
                <a:schemeClr val="bg1">
                  <a:lumMod val="65000"/>
                </a:schemeClr>
              </a:solidFill>
              <a:prstDash val="solid"/>
              <a:bevel/>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grpSp>
      <p:sp>
        <p:nvSpPr>
          <p:cNvPr id="285" name="Shape 614"/>
          <p:cNvSpPr/>
          <p:nvPr/>
        </p:nvSpPr>
        <p:spPr>
          <a:xfrm>
            <a:off x="8809461" y="4578574"/>
            <a:ext cx="997288" cy="563371"/>
          </a:xfrm>
          <a:custGeom>
            <a:avLst/>
            <a:gdLst/>
            <a:ahLst/>
            <a:cxnLst/>
            <a:rect l="0" t="0" r="0" b="0"/>
            <a:pathLst>
              <a:path w="19198" h="10845" extrusionOk="0">
                <a:moveTo>
                  <a:pt x="7572" y="1"/>
                </a:moveTo>
                <a:lnTo>
                  <a:pt x="7108" y="25"/>
                </a:lnTo>
                <a:lnTo>
                  <a:pt x="6668" y="98"/>
                </a:lnTo>
                <a:lnTo>
                  <a:pt x="6229" y="196"/>
                </a:lnTo>
                <a:lnTo>
                  <a:pt x="5813" y="343"/>
                </a:lnTo>
                <a:lnTo>
                  <a:pt x="5423" y="538"/>
                </a:lnTo>
                <a:lnTo>
                  <a:pt x="5056" y="758"/>
                </a:lnTo>
                <a:lnTo>
                  <a:pt x="4714" y="1026"/>
                </a:lnTo>
                <a:lnTo>
                  <a:pt x="4397" y="1319"/>
                </a:lnTo>
                <a:lnTo>
                  <a:pt x="4104" y="1637"/>
                </a:lnTo>
                <a:lnTo>
                  <a:pt x="3835" y="1979"/>
                </a:lnTo>
                <a:lnTo>
                  <a:pt x="3615" y="2345"/>
                </a:lnTo>
                <a:lnTo>
                  <a:pt x="3420" y="2736"/>
                </a:lnTo>
                <a:lnTo>
                  <a:pt x="3273" y="3151"/>
                </a:lnTo>
                <a:lnTo>
                  <a:pt x="3151" y="3591"/>
                </a:lnTo>
                <a:lnTo>
                  <a:pt x="3102" y="4030"/>
                </a:lnTo>
                <a:lnTo>
                  <a:pt x="3078" y="4494"/>
                </a:lnTo>
                <a:lnTo>
                  <a:pt x="3078" y="4788"/>
                </a:lnTo>
                <a:lnTo>
                  <a:pt x="2712" y="4788"/>
                </a:lnTo>
                <a:lnTo>
                  <a:pt x="2419" y="4836"/>
                </a:lnTo>
                <a:lnTo>
                  <a:pt x="2125" y="4910"/>
                </a:lnTo>
                <a:lnTo>
                  <a:pt x="1832" y="5032"/>
                </a:lnTo>
                <a:lnTo>
                  <a:pt x="1588" y="5154"/>
                </a:lnTo>
                <a:lnTo>
                  <a:pt x="1320" y="5300"/>
                </a:lnTo>
                <a:lnTo>
                  <a:pt x="1100" y="5471"/>
                </a:lnTo>
                <a:lnTo>
                  <a:pt x="880" y="5667"/>
                </a:lnTo>
                <a:lnTo>
                  <a:pt x="685" y="5887"/>
                </a:lnTo>
                <a:lnTo>
                  <a:pt x="514" y="6131"/>
                </a:lnTo>
                <a:lnTo>
                  <a:pt x="367" y="6375"/>
                </a:lnTo>
                <a:lnTo>
                  <a:pt x="220" y="6644"/>
                </a:lnTo>
                <a:lnTo>
                  <a:pt x="123" y="6912"/>
                </a:lnTo>
                <a:lnTo>
                  <a:pt x="50" y="7205"/>
                </a:lnTo>
                <a:lnTo>
                  <a:pt x="1" y="7499"/>
                </a:lnTo>
                <a:lnTo>
                  <a:pt x="1" y="7816"/>
                </a:lnTo>
                <a:lnTo>
                  <a:pt x="1" y="8134"/>
                </a:lnTo>
                <a:lnTo>
                  <a:pt x="50" y="8427"/>
                </a:lnTo>
                <a:lnTo>
                  <a:pt x="123" y="8720"/>
                </a:lnTo>
                <a:lnTo>
                  <a:pt x="220" y="8988"/>
                </a:lnTo>
                <a:lnTo>
                  <a:pt x="367" y="9257"/>
                </a:lnTo>
                <a:lnTo>
                  <a:pt x="514" y="9501"/>
                </a:lnTo>
                <a:lnTo>
                  <a:pt x="685" y="9745"/>
                </a:lnTo>
                <a:lnTo>
                  <a:pt x="880" y="9965"/>
                </a:lnTo>
                <a:lnTo>
                  <a:pt x="1100" y="10161"/>
                </a:lnTo>
                <a:lnTo>
                  <a:pt x="1320" y="10332"/>
                </a:lnTo>
                <a:lnTo>
                  <a:pt x="1588" y="10478"/>
                </a:lnTo>
                <a:lnTo>
                  <a:pt x="1832" y="10600"/>
                </a:lnTo>
                <a:lnTo>
                  <a:pt x="2125" y="10722"/>
                </a:lnTo>
                <a:lnTo>
                  <a:pt x="2419" y="10796"/>
                </a:lnTo>
                <a:lnTo>
                  <a:pt x="2712" y="10844"/>
                </a:lnTo>
                <a:lnTo>
                  <a:pt x="16486" y="10844"/>
                </a:lnTo>
                <a:lnTo>
                  <a:pt x="16779" y="10796"/>
                </a:lnTo>
                <a:lnTo>
                  <a:pt x="17072" y="10722"/>
                </a:lnTo>
                <a:lnTo>
                  <a:pt x="17365" y="10600"/>
                </a:lnTo>
                <a:lnTo>
                  <a:pt x="17610" y="10478"/>
                </a:lnTo>
                <a:lnTo>
                  <a:pt x="17878" y="10332"/>
                </a:lnTo>
                <a:lnTo>
                  <a:pt x="18098" y="10161"/>
                </a:lnTo>
                <a:lnTo>
                  <a:pt x="18318" y="9965"/>
                </a:lnTo>
                <a:lnTo>
                  <a:pt x="18513" y="9745"/>
                </a:lnTo>
                <a:lnTo>
                  <a:pt x="18684" y="9501"/>
                </a:lnTo>
                <a:lnTo>
                  <a:pt x="18831" y="9257"/>
                </a:lnTo>
                <a:lnTo>
                  <a:pt x="18977" y="8988"/>
                </a:lnTo>
                <a:lnTo>
                  <a:pt x="19075" y="8720"/>
                </a:lnTo>
                <a:lnTo>
                  <a:pt x="19148" y="8427"/>
                </a:lnTo>
                <a:lnTo>
                  <a:pt x="19197" y="8134"/>
                </a:lnTo>
                <a:lnTo>
                  <a:pt x="19197" y="7816"/>
                </a:lnTo>
                <a:lnTo>
                  <a:pt x="19197" y="7499"/>
                </a:lnTo>
                <a:lnTo>
                  <a:pt x="19148" y="7205"/>
                </a:lnTo>
                <a:lnTo>
                  <a:pt x="19075" y="6912"/>
                </a:lnTo>
                <a:lnTo>
                  <a:pt x="18977" y="6644"/>
                </a:lnTo>
                <a:lnTo>
                  <a:pt x="18831" y="6375"/>
                </a:lnTo>
                <a:lnTo>
                  <a:pt x="18684" y="6131"/>
                </a:lnTo>
                <a:lnTo>
                  <a:pt x="18513" y="5887"/>
                </a:lnTo>
                <a:lnTo>
                  <a:pt x="18318" y="5667"/>
                </a:lnTo>
                <a:lnTo>
                  <a:pt x="18098" y="5471"/>
                </a:lnTo>
                <a:lnTo>
                  <a:pt x="17878" y="5300"/>
                </a:lnTo>
                <a:lnTo>
                  <a:pt x="17610" y="5154"/>
                </a:lnTo>
                <a:lnTo>
                  <a:pt x="17365" y="5032"/>
                </a:lnTo>
                <a:lnTo>
                  <a:pt x="17072" y="4910"/>
                </a:lnTo>
                <a:lnTo>
                  <a:pt x="16779" y="4836"/>
                </a:lnTo>
                <a:lnTo>
                  <a:pt x="16486" y="4788"/>
                </a:lnTo>
                <a:lnTo>
                  <a:pt x="15412" y="4788"/>
                </a:lnTo>
                <a:lnTo>
                  <a:pt x="15436" y="4494"/>
                </a:lnTo>
                <a:lnTo>
                  <a:pt x="15412" y="4201"/>
                </a:lnTo>
                <a:lnTo>
                  <a:pt x="15387" y="3933"/>
                </a:lnTo>
                <a:lnTo>
                  <a:pt x="15314" y="3664"/>
                </a:lnTo>
                <a:lnTo>
                  <a:pt x="15216" y="3420"/>
                </a:lnTo>
                <a:lnTo>
                  <a:pt x="15094" y="3176"/>
                </a:lnTo>
                <a:lnTo>
                  <a:pt x="14972" y="2956"/>
                </a:lnTo>
                <a:lnTo>
                  <a:pt x="14801" y="2736"/>
                </a:lnTo>
                <a:lnTo>
                  <a:pt x="14630" y="2541"/>
                </a:lnTo>
                <a:lnTo>
                  <a:pt x="14435" y="2370"/>
                </a:lnTo>
                <a:lnTo>
                  <a:pt x="14215" y="2199"/>
                </a:lnTo>
                <a:lnTo>
                  <a:pt x="13995" y="2077"/>
                </a:lnTo>
                <a:lnTo>
                  <a:pt x="13751" y="1954"/>
                </a:lnTo>
                <a:lnTo>
                  <a:pt x="13507" y="1857"/>
                </a:lnTo>
                <a:lnTo>
                  <a:pt x="13238" y="1784"/>
                </a:lnTo>
                <a:lnTo>
                  <a:pt x="12969" y="1759"/>
                </a:lnTo>
                <a:lnTo>
                  <a:pt x="12676" y="1735"/>
                </a:lnTo>
                <a:lnTo>
                  <a:pt x="12334" y="1759"/>
                </a:lnTo>
                <a:lnTo>
                  <a:pt x="11992" y="1832"/>
                </a:lnTo>
                <a:lnTo>
                  <a:pt x="11650" y="1930"/>
                </a:lnTo>
                <a:lnTo>
                  <a:pt x="11357" y="2077"/>
                </a:lnTo>
                <a:lnTo>
                  <a:pt x="11186" y="1857"/>
                </a:lnTo>
                <a:lnTo>
                  <a:pt x="11015" y="1637"/>
                </a:lnTo>
                <a:lnTo>
                  <a:pt x="10844" y="1417"/>
                </a:lnTo>
                <a:lnTo>
                  <a:pt x="10649" y="1222"/>
                </a:lnTo>
                <a:lnTo>
                  <a:pt x="10454" y="1051"/>
                </a:lnTo>
                <a:lnTo>
                  <a:pt x="10234" y="880"/>
                </a:lnTo>
                <a:lnTo>
                  <a:pt x="9990" y="709"/>
                </a:lnTo>
                <a:lnTo>
                  <a:pt x="9745" y="562"/>
                </a:lnTo>
                <a:lnTo>
                  <a:pt x="9501" y="440"/>
                </a:lnTo>
                <a:lnTo>
                  <a:pt x="9257" y="318"/>
                </a:lnTo>
                <a:lnTo>
                  <a:pt x="8988" y="220"/>
                </a:lnTo>
                <a:lnTo>
                  <a:pt x="8720" y="147"/>
                </a:lnTo>
                <a:lnTo>
                  <a:pt x="8427" y="74"/>
                </a:lnTo>
                <a:lnTo>
                  <a:pt x="8158" y="25"/>
                </a:lnTo>
                <a:lnTo>
                  <a:pt x="7865" y="1"/>
                </a:lnTo>
                <a:close/>
              </a:path>
            </a:pathLst>
          </a:custGeom>
          <a:noFill/>
          <a:ln w="9525" cap="flat" cmpd="sng">
            <a:solidFill>
              <a:schemeClr val="bg1">
                <a:lumMod val="65000"/>
              </a:schemeClr>
            </a:solidFill>
            <a:prstDash val="dot"/>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Gulim" charset="-127"/>
            </a:endParaRPr>
          </a:p>
        </p:txBody>
      </p:sp>
    </p:spTree>
    <p:extLst>
      <p:ext uri="{BB962C8B-B14F-4D97-AF65-F5344CB8AC3E}">
        <p14:creationId xmlns:p14="http://schemas.microsoft.com/office/powerpoint/2010/main" val="23506103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283"/>
          <p:cNvSpPr/>
          <p:nvPr/>
        </p:nvSpPr>
        <p:spPr>
          <a:xfrm>
            <a:off x="1768874" y="1600783"/>
            <a:ext cx="1863608" cy="3921828"/>
          </a:xfrm>
          <a:custGeom>
            <a:avLst/>
            <a:gdLst/>
            <a:ahLst/>
            <a:cxnLst/>
            <a:rect l="0" t="0" r="0" b="0"/>
            <a:pathLst>
              <a:path w="25999" h="54713" extrusionOk="0">
                <a:moveTo>
                  <a:pt x="12966" y="2173"/>
                </a:moveTo>
                <a:lnTo>
                  <a:pt x="13169" y="2240"/>
                </a:lnTo>
                <a:lnTo>
                  <a:pt x="13373" y="2308"/>
                </a:lnTo>
                <a:lnTo>
                  <a:pt x="13441" y="2512"/>
                </a:lnTo>
                <a:lnTo>
                  <a:pt x="13509" y="2716"/>
                </a:lnTo>
                <a:lnTo>
                  <a:pt x="13441" y="2919"/>
                </a:lnTo>
                <a:lnTo>
                  <a:pt x="13373" y="3123"/>
                </a:lnTo>
                <a:lnTo>
                  <a:pt x="13169" y="3191"/>
                </a:lnTo>
                <a:lnTo>
                  <a:pt x="12966" y="3259"/>
                </a:lnTo>
                <a:lnTo>
                  <a:pt x="12762" y="3191"/>
                </a:lnTo>
                <a:lnTo>
                  <a:pt x="12626" y="3123"/>
                </a:lnTo>
                <a:lnTo>
                  <a:pt x="12491" y="2919"/>
                </a:lnTo>
                <a:lnTo>
                  <a:pt x="12423" y="2716"/>
                </a:lnTo>
                <a:lnTo>
                  <a:pt x="12491" y="2512"/>
                </a:lnTo>
                <a:lnTo>
                  <a:pt x="12626" y="2308"/>
                </a:lnTo>
                <a:lnTo>
                  <a:pt x="12762" y="2240"/>
                </a:lnTo>
                <a:lnTo>
                  <a:pt x="12966" y="2173"/>
                </a:lnTo>
                <a:close/>
                <a:moveTo>
                  <a:pt x="14934" y="4480"/>
                </a:moveTo>
                <a:lnTo>
                  <a:pt x="15002" y="4548"/>
                </a:lnTo>
                <a:lnTo>
                  <a:pt x="15070" y="4684"/>
                </a:lnTo>
                <a:lnTo>
                  <a:pt x="15138" y="4752"/>
                </a:lnTo>
                <a:lnTo>
                  <a:pt x="15070" y="4888"/>
                </a:lnTo>
                <a:lnTo>
                  <a:pt x="15002" y="5024"/>
                </a:lnTo>
                <a:lnTo>
                  <a:pt x="14934" y="5024"/>
                </a:lnTo>
                <a:lnTo>
                  <a:pt x="14799" y="5091"/>
                </a:lnTo>
                <a:lnTo>
                  <a:pt x="11065" y="5091"/>
                </a:lnTo>
                <a:lnTo>
                  <a:pt x="10929" y="5024"/>
                </a:lnTo>
                <a:lnTo>
                  <a:pt x="10861" y="5024"/>
                </a:lnTo>
                <a:lnTo>
                  <a:pt x="10794" y="4888"/>
                </a:lnTo>
                <a:lnTo>
                  <a:pt x="10726" y="4752"/>
                </a:lnTo>
                <a:lnTo>
                  <a:pt x="10794" y="4684"/>
                </a:lnTo>
                <a:lnTo>
                  <a:pt x="10861" y="4548"/>
                </a:lnTo>
                <a:lnTo>
                  <a:pt x="10929" y="4480"/>
                </a:lnTo>
                <a:close/>
                <a:moveTo>
                  <a:pt x="23963" y="7807"/>
                </a:moveTo>
                <a:lnTo>
                  <a:pt x="23963" y="7875"/>
                </a:lnTo>
                <a:lnTo>
                  <a:pt x="23963" y="46771"/>
                </a:lnTo>
                <a:lnTo>
                  <a:pt x="23963" y="46838"/>
                </a:lnTo>
                <a:lnTo>
                  <a:pt x="1969" y="46838"/>
                </a:lnTo>
                <a:lnTo>
                  <a:pt x="1969" y="46771"/>
                </a:lnTo>
                <a:lnTo>
                  <a:pt x="1969" y="7875"/>
                </a:lnTo>
                <a:lnTo>
                  <a:pt x="1969" y="7807"/>
                </a:lnTo>
                <a:close/>
                <a:moveTo>
                  <a:pt x="12558" y="48536"/>
                </a:moveTo>
                <a:lnTo>
                  <a:pt x="12151" y="48671"/>
                </a:lnTo>
                <a:lnTo>
                  <a:pt x="11812" y="48875"/>
                </a:lnTo>
                <a:lnTo>
                  <a:pt x="11472" y="49146"/>
                </a:lnTo>
                <a:lnTo>
                  <a:pt x="11269" y="49418"/>
                </a:lnTo>
                <a:lnTo>
                  <a:pt x="11065" y="49825"/>
                </a:lnTo>
                <a:lnTo>
                  <a:pt x="10929" y="50165"/>
                </a:lnTo>
                <a:lnTo>
                  <a:pt x="10861" y="50640"/>
                </a:lnTo>
                <a:lnTo>
                  <a:pt x="10929" y="51047"/>
                </a:lnTo>
                <a:lnTo>
                  <a:pt x="11065" y="51454"/>
                </a:lnTo>
                <a:lnTo>
                  <a:pt x="11269" y="51794"/>
                </a:lnTo>
                <a:lnTo>
                  <a:pt x="11472" y="52065"/>
                </a:lnTo>
                <a:lnTo>
                  <a:pt x="11812" y="52337"/>
                </a:lnTo>
                <a:lnTo>
                  <a:pt x="12151" y="52541"/>
                </a:lnTo>
                <a:lnTo>
                  <a:pt x="12558" y="52676"/>
                </a:lnTo>
                <a:lnTo>
                  <a:pt x="12966" y="52744"/>
                </a:lnTo>
                <a:lnTo>
                  <a:pt x="13373" y="52676"/>
                </a:lnTo>
                <a:lnTo>
                  <a:pt x="13780" y="52541"/>
                </a:lnTo>
                <a:lnTo>
                  <a:pt x="14120" y="52337"/>
                </a:lnTo>
                <a:lnTo>
                  <a:pt x="14459" y="52065"/>
                </a:lnTo>
                <a:lnTo>
                  <a:pt x="14731" y="51794"/>
                </a:lnTo>
                <a:lnTo>
                  <a:pt x="14934" y="51454"/>
                </a:lnTo>
                <a:lnTo>
                  <a:pt x="15002" y="51047"/>
                </a:lnTo>
                <a:lnTo>
                  <a:pt x="15070" y="50640"/>
                </a:lnTo>
                <a:lnTo>
                  <a:pt x="15002" y="50165"/>
                </a:lnTo>
                <a:lnTo>
                  <a:pt x="14934" y="49825"/>
                </a:lnTo>
                <a:lnTo>
                  <a:pt x="14731" y="49418"/>
                </a:lnTo>
                <a:lnTo>
                  <a:pt x="14459" y="49146"/>
                </a:lnTo>
                <a:lnTo>
                  <a:pt x="14120" y="48875"/>
                </a:lnTo>
                <a:lnTo>
                  <a:pt x="13780" y="48671"/>
                </a:lnTo>
                <a:lnTo>
                  <a:pt x="13373" y="48536"/>
                </a:lnTo>
                <a:close/>
                <a:moveTo>
                  <a:pt x="12966" y="48332"/>
                </a:moveTo>
                <a:lnTo>
                  <a:pt x="13441" y="48400"/>
                </a:lnTo>
                <a:lnTo>
                  <a:pt x="13848" y="48536"/>
                </a:lnTo>
                <a:lnTo>
                  <a:pt x="14256" y="48739"/>
                </a:lnTo>
                <a:lnTo>
                  <a:pt x="14595" y="49011"/>
                </a:lnTo>
                <a:lnTo>
                  <a:pt x="14866" y="49350"/>
                </a:lnTo>
                <a:lnTo>
                  <a:pt x="15070" y="49757"/>
                </a:lnTo>
                <a:lnTo>
                  <a:pt x="15206" y="50165"/>
                </a:lnTo>
                <a:lnTo>
                  <a:pt x="15274" y="50640"/>
                </a:lnTo>
                <a:lnTo>
                  <a:pt x="15206" y="51047"/>
                </a:lnTo>
                <a:lnTo>
                  <a:pt x="15070" y="51522"/>
                </a:lnTo>
                <a:lnTo>
                  <a:pt x="14866" y="51862"/>
                </a:lnTo>
                <a:lnTo>
                  <a:pt x="14595" y="52201"/>
                </a:lnTo>
                <a:lnTo>
                  <a:pt x="14256" y="52473"/>
                </a:lnTo>
                <a:lnTo>
                  <a:pt x="13848" y="52676"/>
                </a:lnTo>
                <a:lnTo>
                  <a:pt x="13441" y="52812"/>
                </a:lnTo>
                <a:lnTo>
                  <a:pt x="12966" y="52880"/>
                </a:lnTo>
                <a:lnTo>
                  <a:pt x="12558" y="52812"/>
                </a:lnTo>
                <a:lnTo>
                  <a:pt x="12083" y="52676"/>
                </a:lnTo>
                <a:lnTo>
                  <a:pt x="11744" y="52473"/>
                </a:lnTo>
                <a:lnTo>
                  <a:pt x="11404" y="52201"/>
                </a:lnTo>
                <a:lnTo>
                  <a:pt x="11133" y="51862"/>
                </a:lnTo>
                <a:lnTo>
                  <a:pt x="10929" y="51522"/>
                </a:lnTo>
                <a:lnTo>
                  <a:pt x="10794" y="51047"/>
                </a:lnTo>
                <a:lnTo>
                  <a:pt x="10726" y="50640"/>
                </a:lnTo>
                <a:lnTo>
                  <a:pt x="10794" y="50165"/>
                </a:lnTo>
                <a:lnTo>
                  <a:pt x="10929" y="49757"/>
                </a:lnTo>
                <a:lnTo>
                  <a:pt x="11133" y="49350"/>
                </a:lnTo>
                <a:lnTo>
                  <a:pt x="11404" y="49011"/>
                </a:lnTo>
                <a:lnTo>
                  <a:pt x="11744" y="48739"/>
                </a:lnTo>
                <a:lnTo>
                  <a:pt x="12083" y="48536"/>
                </a:lnTo>
                <a:lnTo>
                  <a:pt x="12558" y="48400"/>
                </a:lnTo>
                <a:lnTo>
                  <a:pt x="12966" y="48332"/>
                </a:lnTo>
                <a:close/>
                <a:moveTo>
                  <a:pt x="3938" y="679"/>
                </a:moveTo>
                <a:lnTo>
                  <a:pt x="3259" y="747"/>
                </a:lnTo>
                <a:lnTo>
                  <a:pt x="2648" y="951"/>
                </a:lnTo>
                <a:lnTo>
                  <a:pt x="2105" y="1222"/>
                </a:lnTo>
                <a:lnTo>
                  <a:pt x="1630" y="1629"/>
                </a:lnTo>
                <a:lnTo>
                  <a:pt x="1290" y="2105"/>
                </a:lnTo>
                <a:lnTo>
                  <a:pt x="951" y="2648"/>
                </a:lnTo>
                <a:lnTo>
                  <a:pt x="747" y="3259"/>
                </a:lnTo>
                <a:lnTo>
                  <a:pt x="747" y="3870"/>
                </a:lnTo>
                <a:lnTo>
                  <a:pt x="747" y="50776"/>
                </a:lnTo>
                <a:lnTo>
                  <a:pt x="747" y="51387"/>
                </a:lnTo>
                <a:lnTo>
                  <a:pt x="951" y="51997"/>
                </a:lnTo>
                <a:lnTo>
                  <a:pt x="1290" y="52541"/>
                </a:lnTo>
                <a:lnTo>
                  <a:pt x="1630" y="53016"/>
                </a:lnTo>
                <a:lnTo>
                  <a:pt x="2105" y="53423"/>
                </a:lnTo>
                <a:lnTo>
                  <a:pt x="2648" y="53695"/>
                </a:lnTo>
                <a:lnTo>
                  <a:pt x="3259" y="53898"/>
                </a:lnTo>
                <a:lnTo>
                  <a:pt x="3938" y="53966"/>
                </a:lnTo>
                <a:lnTo>
                  <a:pt x="22062" y="53966"/>
                </a:lnTo>
                <a:lnTo>
                  <a:pt x="22741" y="53898"/>
                </a:lnTo>
                <a:lnTo>
                  <a:pt x="23352" y="53695"/>
                </a:lnTo>
                <a:lnTo>
                  <a:pt x="23895" y="53423"/>
                </a:lnTo>
                <a:lnTo>
                  <a:pt x="24370" y="53016"/>
                </a:lnTo>
                <a:lnTo>
                  <a:pt x="24709" y="52541"/>
                </a:lnTo>
                <a:lnTo>
                  <a:pt x="25049" y="51997"/>
                </a:lnTo>
                <a:lnTo>
                  <a:pt x="25252" y="51387"/>
                </a:lnTo>
                <a:lnTo>
                  <a:pt x="25320" y="50776"/>
                </a:lnTo>
                <a:lnTo>
                  <a:pt x="25320" y="3870"/>
                </a:lnTo>
                <a:lnTo>
                  <a:pt x="25252" y="3259"/>
                </a:lnTo>
                <a:lnTo>
                  <a:pt x="25049" y="2648"/>
                </a:lnTo>
                <a:lnTo>
                  <a:pt x="24709" y="2105"/>
                </a:lnTo>
                <a:lnTo>
                  <a:pt x="24370" y="1629"/>
                </a:lnTo>
                <a:lnTo>
                  <a:pt x="23895" y="1222"/>
                </a:lnTo>
                <a:lnTo>
                  <a:pt x="23352" y="951"/>
                </a:lnTo>
                <a:lnTo>
                  <a:pt x="22741" y="747"/>
                </a:lnTo>
                <a:lnTo>
                  <a:pt x="22062" y="679"/>
                </a:lnTo>
                <a:close/>
                <a:moveTo>
                  <a:pt x="22062" y="543"/>
                </a:moveTo>
                <a:lnTo>
                  <a:pt x="22741" y="611"/>
                </a:lnTo>
                <a:lnTo>
                  <a:pt x="23419" y="815"/>
                </a:lnTo>
                <a:lnTo>
                  <a:pt x="23963" y="1086"/>
                </a:lnTo>
                <a:lnTo>
                  <a:pt x="24438" y="1494"/>
                </a:lnTo>
                <a:lnTo>
                  <a:pt x="24845" y="2037"/>
                </a:lnTo>
                <a:lnTo>
                  <a:pt x="25184" y="2580"/>
                </a:lnTo>
                <a:lnTo>
                  <a:pt x="25388" y="3191"/>
                </a:lnTo>
                <a:lnTo>
                  <a:pt x="25456" y="3870"/>
                </a:lnTo>
                <a:lnTo>
                  <a:pt x="25456" y="50776"/>
                </a:lnTo>
                <a:lnTo>
                  <a:pt x="25388" y="51454"/>
                </a:lnTo>
                <a:lnTo>
                  <a:pt x="25184" y="52065"/>
                </a:lnTo>
                <a:lnTo>
                  <a:pt x="24845" y="52676"/>
                </a:lnTo>
                <a:lnTo>
                  <a:pt x="24438" y="53151"/>
                </a:lnTo>
                <a:lnTo>
                  <a:pt x="23963" y="53559"/>
                </a:lnTo>
                <a:lnTo>
                  <a:pt x="23419" y="53898"/>
                </a:lnTo>
                <a:lnTo>
                  <a:pt x="22741" y="54102"/>
                </a:lnTo>
                <a:lnTo>
                  <a:pt x="22062" y="54170"/>
                </a:lnTo>
                <a:lnTo>
                  <a:pt x="3938" y="54170"/>
                </a:lnTo>
                <a:lnTo>
                  <a:pt x="3259" y="54102"/>
                </a:lnTo>
                <a:lnTo>
                  <a:pt x="2580" y="53898"/>
                </a:lnTo>
                <a:lnTo>
                  <a:pt x="2037" y="53559"/>
                </a:lnTo>
                <a:lnTo>
                  <a:pt x="1562" y="53151"/>
                </a:lnTo>
                <a:lnTo>
                  <a:pt x="1154" y="52676"/>
                </a:lnTo>
                <a:lnTo>
                  <a:pt x="815" y="52065"/>
                </a:lnTo>
                <a:lnTo>
                  <a:pt x="611" y="51454"/>
                </a:lnTo>
                <a:lnTo>
                  <a:pt x="543" y="50776"/>
                </a:lnTo>
                <a:lnTo>
                  <a:pt x="543" y="3870"/>
                </a:lnTo>
                <a:lnTo>
                  <a:pt x="611" y="3191"/>
                </a:lnTo>
                <a:lnTo>
                  <a:pt x="815" y="2580"/>
                </a:lnTo>
                <a:lnTo>
                  <a:pt x="1154" y="2037"/>
                </a:lnTo>
                <a:lnTo>
                  <a:pt x="1562" y="1494"/>
                </a:lnTo>
                <a:lnTo>
                  <a:pt x="2037" y="1086"/>
                </a:lnTo>
                <a:lnTo>
                  <a:pt x="2580" y="815"/>
                </a:lnTo>
                <a:lnTo>
                  <a:pt x="3259" y="611"/>
                </a:lnTo>
                <a:lnTo>
                  <a:pt x="3938" y="543"/>
                </a:lnTo>
                <a:close/>
                <a:moveTo>
                  <a:pt x="3938" y="0"/>
                </a:moveTo>
                <a:lnTo>
                  <a:pt x="3123" y="68"/>
                </a:lnTo>
                <a:lnTo>
                  <a:pt x="2444" y="272"/>
                </a:lnTo>
                <a:lnTo>
                  <a:pt x="1765" y="611"/>
                </a:lnTo>
                <a:lnTo>
                  <a:pt x="1154" y="1154"/>
                </a:lnTo>
                <a:lnTo>
                  <a:pt x="679" y="1697"/>
                </a:lnTo>
                <a:lnTo>
                  <a:pt x="272" y="2376"/>
                </a:lnTo>
                <a:lnTo>
                  <a:pt x="68" y="3123"/>
                </a:lnTo>
                <a:lnTo>
                  <a:pt x="0" y="3870"/>
                </a:lnTo>
                <a:lnTo>
                  <a:pt x="0" y="50776"/>
                </a:lnTo>
                <a:lnTo>
                  <a:pt x="68" y="51522"/>
                </a:lnTo>
                <a:lnTo>
                  <a:pt x="272" y="52269"/>
                </a:lnTo>
                <a:lnTo>
                  <a:pt x="679" y="52948"/>
                </a:lnTo>
                <a:lnTo>
                  <a:pt x="1154" y="53559"/>
                </a:lnTo>
                <a:lnTo>
                  <a:pt x="1765" y="54034"/>
                </a:lnTo>
                <a:lnTo>
                  <a:pt x="2444" y="54373"/>
                </a:lnTo>
                <a:lnTo>
                  <a:pt x="3123" y="54645"/>
                </a:lnTo>
                <a:lnTo>
                  <a:pt x="3938" y="54713"/>
                </a:lnTo>
                <a:lnTo>
                  <a:pt x="22062" y="54713"/>
                </a:lnTo>
                <a:lnTo>
                  <a:pt x="22876" y="54645"/>
                </a:lnTo>
                <a:lnTo>
                  <a:pt x="23555" y="54373"/>
                </a:lnTo>
                <a:lnTo>
                  <a:pt x="24234" y="54034"/>
                </a:lnTo>
                <a:lnTo>
                  <a:pt x="24845" y="53559"/>
                </a:lnTo>
                <a:lnTo>
                  <a:pt x="25320" y="52948"/>
                </a:lnTo>
                <a:lnTo>
                  <a:pt x="25727" y="52269"/>
                </a:lnTo>
                <a:lnTo>
                  <a:pt x="25931" y="51522"/>
                </a:lnTo>
                <a:lnTo>
                  <a:pt x="25999" y="50776"/>
                </a:lnTo>
                <a:lnTo>
                  <a:pt x="25999" y="3870"/>
                </a:lnTo>
                <a:lnTo>
                  <a:pt x="25931" y="3123"/>
                </a:lnTo>
                <a:lnTo>
                  <a:pt x="25727" y="2376"/>
                </a:lnTo>
                <a:lnTo>
                  <a:pt x="25320" y="1697"/>
                </a:lnTo>
                <a:lnTo>
                  <a:pt x="24845" y="1154"/>
                </a:lnTo>
                <a:lnTo>
                  <a:pt x="24234" y="611"/>
                </a:lnTo>
                <a:lnTo>
                  <a:pt x="23555" y="272"/>
                </a:lnTo>
                <a:lnTo>
                  <a:pt x="22876" y="68"/>
                </a:lnTo>
                <a:lnTo>
                  <a:pt x="22062" y="0"/>
                </a:lnTo>
                <a:close/>
              </a:path>
            </a:pathLst>
          </a:custGeom>
          <a:solidFill>
            <a:srgbClr val="FFFFFF"/>
          </a:solidFill>
          <a:ln w="9525" cap="flat" cmpd="sng">
            <a:solidFill>
              <a:schemeClr val="tx1">
                <a:lumMod val="65000"/>
                <a:lumOff val="35000"/>
              </a:schemeClr>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Arial" panose="020B0604020202020204" pitchFamily="34" charset="0"/>
              <a:cs typeface="Arial" panose="020B0604020202020204" pitchFamily="34" charset="0"/>
            </a:endParaRPr>
          </a:p>
        </p:txBody>
      </p:sp>
      <p:sp>
        <p:nvSpPr>
          <p:cNvPr id="4" name="Shape 299"/>
          <p:cNvSpPr/>
          <p:nvPr/>
        </p:nvSpPr>
        <p:spPr>
          <a:xfrm>
            <a:off x="5282087" y="1636871"/>
            <a:ext cx="4944887" cy="3849651"/>
          </a:xfrm>
          <a:custGeom>
            <a:avLst/>
            <a:gdLst/>
            <a:ahLst/>
            <a:cxnLst/>
            <a:rect l="0" t="0" r="0" b="0"/>
            <a:pathLst>
              <a:path w="143434" h="111665" extrusionOk="0">
                <a:moveTo>
                  <a:pt x="71751" y="2308"/>
                </a:moveTo>
                <a:lnTo>
                  <a:pt x="71887" y="2376"/>
                </a:lnTo>
                <a:lnTo>
                  <a:pt x="72091" y="2444"/>
                </a:lnTo>
                <a:lnTo>
                  <a:pt x="72159" y="2647"/>
                </a:lnTo>
                <a:lnTo>
                  <a:pt x="72226" y="2783"/>
                </a:lnTo>
                <a:lnTo>
                  <a:pt x="72159" y="2987"/>
                </a:lnTo>
                <a:lnTo>
                  <a:pt x="72091" y="3190"/>
                </a:lnTo>
                <a:lnTo>
                  <a:pt x="71887" y="3258"/>
                </a:lnTo>
                <a:lnTo>
                  <a:pt x="71751" y="3326"/>
                </a:lnTo>
                <a:lnTo>
                  <a:pt x="71548" y="3258"/>
                </a:lnTo>
                <a:lnTo>
                  <a:pt x="71344" y="3190"/>
                </a:lnTo>
                <a:lnTo>
                  <a:pt x="71276" y="2987"/>
                </a:lnTo>
                <a:lnTo>
                  <a:pt x="71208" y="2783"/>
                </a:lnTo>
                <a:lnTo>
                  <a:pt x="71276" y="2647"/>
                </a:lnTo>
                <a:lnTo>
                  <a:pt x="71344" y="2444"/>
                </a:lnTo>
                <a:lnTo>
                  <a:pt x="71548" y="2376"/>
                </a:lnTo>
                <a:lnTo>
                  <a:pt x="71751" y="2308"/>
                </a:lnTo>
                <a:close/>
                <a:moveTo>
                  <a:pt x="137528" y="5906"/>
                </a:moveTo>
                <a:lnTo>
                  <a:pt x="137596" y="5974"/>
                </a:lnTo>
                <a:lnTo>
                  <a:pt x="137596" y="89604"/>
                </a:lnTo>
                <a:lnTo>
                  <a:pt x="5906" y="89604"/>
                </a:lnTo>
                <a:lnTo>
                  <a:pt x="5906" y="5974"/>
                </a:lnTo>
                <a:lnTo>
                  <a:pt x="5906" y="5906"/>
                </a:lnTo>
                <a:close/>
                <a:moveTo>
                  <a:pt x="3530" y="0"/>
                </a:moveTo>
                <a:lnTo>
                  <a:pt x="3191" y="68"/>
                </a:lnTo>
                <a:lnTo>
                  <a:pt x="2444" y="339"/>
                </a:lnTo>
                <a:lnTo>
                  <a:pt x="1766" y="679"/>
                </a:lnTo>
                <a:lnTo>
                  <a:pt x="1155" y="1154"/>
                </a:lnTo>
                <a:lnTo>
                  <a:pt x="679" y="1765"/>
                </a:lnTo>
                <a:lnTo>
                  <a:pt x="272" y="2444"/>
                </a:lnTo>
                <a:lnTo>
                  <a:pt x="69" y="3190"/>
                </a:lnTo>
                <a:lnTo>
                  <a:pt x="1" y="3598"/>
                </a:lnTo>
                <a:lnTo>
                  <a:pt x="1" y="4005"/>
                </a:lnTo>
                <a:lnTo>
                  <a:pt x="1" y="91572"/>
                </a:lnTo>
                <a:lnTo>
                  <a:pt x="1" y="91979"/>
                </a:lnTo>
                <a:lnTo>
                  <a:pt x="69" y="92319"/>
                </a:lnTo>
                <a:lnTo>
                  <a:pt x="272" y="93065"/>
                </a:lnTo>
                <a:lnTo>
                  <a:pt x="679" y="93744"/>
                </a:lnTo>
                <a:lnTo>
                  <a:pt x="1155" y="94355"/>
                </a:lnTo>
                <a:lnTo>
                  <a:pt x="1766" y="94830"/>
                </a:lnTo>
                <a:lnTo>
                  <a:pt x="2444" y="95238"/>
                </a:lnTo>
                <a:lnTo>
                  <a:pt x="3191" y="95441"/>
                </a:lnTo>
                <a:lnTo>
                  <a:pt x="3530" y="95509"/>
                </a:lnTo>
                <a:lnTo>
                  <a:pt x="139904" y="95509"/>
                </a:lnTo>
                <a:lnTo>
                  <a:pt x="140311" y="95441"/>
                </a:lnTo>
                <a:lnTo>
                  <a:pt x="141058" y="95238"/>
                </a:lnTo>
                <a:lnTo>
                  <a:pt x="141737" y="94830"/>
                </a:lnTo>
                <a:lnTo>
                  <a:pt x="142280" y="94355"/>
                </a:lnTo>
                <a:lnTo>
                  <a:pt x="142755" y="93744"/>
                </a:lnTo>
                <a:lnTo>
                  <a:pt x="143162" y="93065"/>
                </a:lnTo>
                <a:lnTo>
                  <a:pt x="143366" y="92319"/>
                </a:lnTo>
                <a:lnTo>
                  <a:pt x="143434" y="91979"/>
                </a:lnTo>
                <a:lnTo>
                  <a:pt x="143434" y="91572"/>
                </a:lnTo>
                <a:lnTo>
                  <a:pt x="143434" y="4005"/>
                </a:lnTo>
                <a:lnTo>
                  <a:pt x="143434" y="3598"/>
                </a:lnTo>
                <a:lnTo>
                  <a:pt x="143366" y="3190"/>
                </a:lnTo>
                <a:lnTo>
                  <a:pt x="143162" y="2444"/>
                </a:lnTo>
                <a:lnTo>
                  <a:pt x="142755" y="1765"/>
                </a:lnTo>
                <a:lnTo>
                  <a:pt x="142280" y="1154"/>
                </a:lnTo>
                <a:lnTo>
                  <a:pt x="141737" y="679"/>
                </a:lnTo>
                <a:lnTo>
                  <a:pt x="141058" y="339"/>
                </a:lnTo>
                <a:lnTo>
                  <a:pt x="140311" y="68"/>
                </a:lnTo>
                <a:lnTo>
                  <a:pt x="139904" y="0"/>
                </a:lnTo>
                <a:close/>
                <a:moveTo>
                  <a:pt x="55324" y="95713"/>
                </a:moveTo>
                <a:lnTo>
                  <a:pt x="55052" y="98971"/>
                </a:lnTo>
                <a:lnTo>
                  <a:pt x="54713" y="102297"/>
                </a:lnTo>
                <a:lnTo>
                  <a:pt x="54374" y="105284"/>
                </a:lnTo>
                <a:lnTo>
                  <a:pt x="53966" y="107388"/>
                </a:lnTo>
                <a:lnTo>
                  <a:pt x="53763" y="108203"/>
                </a:lnTo>
                <a:lnTo>
                  <a:pt x="53627" y="108746"/>
                </a:lnTo>
                <a:lnTo>
                  <a:pt x="53423" y="109153"/>
                </a:lnTo>
                <a:lnTo>
                  <a:pt x="53220" y="109357"/>
                </a:lnTo>
                <a:lnTo>
                  <a:pt x="52677" y="109493"/>
                </a:lnTo>
                <a:lnTo>
                  <a:pt x="51794" y="109696"/>
                </a:lnTo>
                <a:lnTo>
                  <a:pt x="49690" y="110036"/>
                </a:lnTo>
                <a:lnTo>
                  <a:pt x="48061" y="110307"/>
                </a:lnTo>
                <a:lnTo>
                  <a:pt x="47450" y="110443"/>
                </a:lnTo>
                <a:lnTo>
                  <a:pt x="47110" y="110511"/>
                </a:lnTo>
                <a:lnTo>
                  <a:pt x="47042" y="110579"/>
                </a:lnTo>
                <a:lnTo>
                  <a:pt x="47042" y="110783"/>
                </a:lnTo>
                <a:lnTo>
                  <a:pt x="47110" y="110850"/>
                </a:lnTo>
                <a:lnTo>
                  <a:pt x="47585" y="110918"/>
                </a:lnTo>
                <a:lnTo>
                  <a:pt x="48400" y="110986"/>
                </a:lnTo>
                <a:lnTo>
                  <a:pt x="51387" y="111054"/>
                </a:lnTo>
                <a:lnTo>
                  <a:pt x="56071" y="111122"/>
                </a:lnTo>
                <a:lnTo>
                  <a:pt x="87092" y="111122"/>
                </a:lnTo>
                <a:lnTo>
                  <a:pt x="91708" y="111054"/>
                </a:lnTo>
                <a:lnTo>
                  <a:pt x="94695" y="110986"/>
                </a:lnTo>
                <a:lnTo>
                  <a:pt x="95578" y="110918"/>
                </a:lnTo>
                <a:lnTo>
                  <a:pt x="96053" y="110850"/>
                </a:lnTo>
                <a:lnTo>
                  <a:pt x="96121" y="110783"/>
                </a:lnTo>
                <a:lnTo>
                  <a:pt x="96121" y="110579"/>
                </a:lnTo>
                <a:lnTo>
                  <a:pt x="96053" y="110511"/>
                </a:lnTo>
                <a:lnTo>
                  <a:pt x="95713" y="110443"/>
                </a:lnTo>
                <a:lnTo>
                  <a:pt x="95102" y="110307"/>
                </a:lnTo>
                <a:lnTo>
                  <a:pt x="93473" y="110036"/>
                </a:lnTo>
                <a:lnTo>
                  <a:pt x="91369" y="109696"/>
                </a:lnTo>
                <a:lnTo>
                  <a:pt x="90487" y="109493"/>
                </a:lnTo>
                <a:lnTo>
                  <a:pt x="89943" y="109357"/>
                </a:lnTo>
                <a:lnTo>
                  <a:pt x="89740" y="109153"/>
                </a:lnTo>
                <a:lnTo>
                  <a:pt x="89536" y="108746"/>
                </a:lnTo>
                <a:lnTo>
                  <a:pt x="89333" y="108203"/>
                </a:lnTo>
                <a:lnTo>
                  <a:pt x="89197" y="107388"/>
                </a:lnTo>
                <a:lnTo>
                  <a:pt x="88789" y="105284"/>
                </a:lnTo>
                <a:lnTo>
                  <a:pt x="88382" y="102297"/>
                </a:lnTo>
                <a:lnTo>
                  <a:pt x="88043" y="98971"/>
                </a:lnTo>
                <a:lnTo>
                  <a:pt x="87839" y="95713"/>
                </a:lnTo>
                <a:close/>
                <a:moveTo>
                  <a:pt x="47450" y="111054"/>
                </a:moveTo>
                <a:lnTo>
                  <a:pt x="47450" y="111122"/>
                </a:lnTo>
                <a:lnTo>
                  <a:pt x="47450" y="111393"/>
                </a:lnTo>
                <a:lnTo>
                  <a:pt x="47518" y="111461"/>
                </a:lnTo>
                <a:lnTo>
                  <a:pt x="48807" y="111529"/>
                </a:lnTo>
                <a:lnTo>
                  <a:pt x="52473" y="111597"/>
                </a:lnTo>
                <a:lnTo>
                  <a:pt x="62384" y="111665"/>
                </a:lnTo>
                <a:lnTo>
                  <a:pt x="80779" y="111665"/>
                </a:lnTo>
                <a:lnTo>
                  <a:pt x="90622" y="111597"/>
                </a:lnTo>
                <a:lnTo>
                  <a:pt x="94356" y="111529"/>
                </a:lnTo>
                <a:lnTo>
                  <a:pt x="95646" y="111461"/>
                </a:lnTo>
                <a:lnTo>
                  <a:pt x="95713" y="111393"/>
                </a:lnTo>
                <a:lnTo>
                  <a:pt x="95713" y="111122"/>
                </a:lnTo>
                <a:lnTo>
                  <a:pt x="95646" y="111054"/>
                </a:lnTo>
                <a:lnTo>
                  <a:pt x="94084" y="111122"/>
                </a:lnTo>
                <a:lnTo>
                  <a:pt x="91233" y="111190"/>
                </a:lnTo>
                <a:lnTo>
                  <a:pt x="80847" y="111258"/>
                </a:lnTo>
                <a:lnTo>
                  <a:pt x="62316" y="111258"/>
                </a:lnTo>
                <a:lnTo>
                  <a:pt x="51930" y="111190"/>
                </a:lnTo>
                <a:lnTo>
                  <a:pt x="49079" y="111122"/>
                </a:lnTo>
                <a:lnTo>
                  <a:pt x="47518" y="111054"/>
                </a:lnTo>
                <a:close/>
              </a:path>
            </a:pathLst>
          </a:custGeom>
          <a:solidFill>
            <a:srgbClr val="FFFFFF"/>
          </a:solidFill>
          <a:ln w="9525" cap="flat" cmpd="sng">
            <a:solidFill>
              <a:schemeClr val="tx1">
                <a:lumMod val="65000"/>
                <a:lumOff val="35000"/>
              </a:schemeClr>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dirty="0">
              <a:latin typeface="Arial" panose="020B0604020202020204" pitchFamily="34" charset="0"/>
              <a:cs typeface="Arial" panose="020B0604020202020204" pitchFamily="34" charset="0"/>
            </a:endParaRPr>
          </a:p>
        </p:txBody>
      </p:sp>
      <p:sp>
        <p:nvSpPr>
          <p:cNvPr id="5" name="Tekstfelt 4"/>
          <p:cNvSpPr txBox="1"/>
          <p:nvPr/>
        </p:nvSpPr>
        <p:spPr>
          <a:xfrm>
            <a:off x="2188887" y="3238530"/>
            <a:ext cx="1023582" cy="646331"/>
          </a:xfrm>
          <a:prstGeom prst="rect">
            <a:avLst/>
          </a:prstGeom>
          <a:noFill/>
        </p:spPr>
        <p:txBody>
          <a:bodyPr wrap="square" rtlCol="0">
            <a:spAutoFit/>
          </a:bodyPr>
          <a:lstStyle/>
          <a:p>
            <a:pPr algn="ctr"/>
            <a:r>
              <a:rPr lang="da-DK" sz="1200" dirty="0">
                <a:latin typeface="Arial" panose="020B0604020202020204" pitchFamily="34" charset="0"/>
                <a:ea typeface="Gulim" charset="-127"/>
                <a:cs typeface="Arial" panose="020B0604020202020204" pitchFamily="34" charset="0"/>
              </a:rPr>
              <a:t>PLACE MOCKUP HERE</a:t>
            </a:r>
          </a:p>
        </p:txBody>
      </p:sp>
      <p:sp>
        <p:nvSpPr>
          <p:cNvPr id="6" name="Tekstfelt 5"/>
          <p:cNvSpPr txBox="1"/>
          <p:nvPr/>
        </p:nvSpPr>
        <p:spPr>
          <a:xfrm>
            <a:off x="7242739" y="2915364"/>
            <a:ext cx="1023582" cy="646331"/>
          </a:xfrm>
          <a:prstGeom prst="rect">
            <a:avLst/>
          </a:prstGeom>
          <a:noFill/>
        </p:spPr>
        <p:txBody>
          <a:bodyPr wrap="square" rtlCol="0">
            <a:spAutoFit/>
          </a:bodyPr>
          <a:lstStyle/>
          <a:p>
            <a:pPr algn="ctr"/>
            <a:r>
              <a:rPr lang="da-DK" sz="1200" dirty="0">
                <a:latin typeface="Arial" panose="020B0604020202020204" pitchFamily="34" charset="0"/>
                <a:ea typeface="Gulim" charset="-127"/>
                <a:cs typeface="Arial" panose="020B0604020202020204" pitchFamily="34" charset="0"/>
              </a:rPr>
              <a:t>PLACE MOCKUP HERE</a:t>
            </a:r>
          </a:p>
        </p:txBody>
      </p:sp>
      <p:sp>
        <p:nvSpPr>
          <p:cNvPr id="7" name="Text Placeholder 6">
            <a:extLst>
              <a:ext uri="{FF2B5EF4-FFF2-40B4-BE49-F238E27FC236}">
                <a16:creationId xmlns:a16="http://schemas.microsoft.com/office/drawing/2014/main" id="{3B4A0B83-81B2-0B4C-8D48-6C7EF4A8F6C3}"/>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62876575-1E98-0C46-BD71-12EA53F486BA}"/>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el 1"/>
          <p:cNvSpPr>
            <a:spLocks noGrp="1"/>
          </p:cNvSpPr>
          <p:nvPr>
            <p:ph type="title"/>
          </p:nvPr>
        </p:nvSpPr>
        <p:spPr/>
        <p:txBody>
          <a:bodyPr/>
          <a:lstStyle/>
          <a:p>
            <a:r>
              <a:rPr lang="da-DK" dirty="0" err="1">
                <a:latin typeface="Arial" panose="020B0604020202020204" pitchFamily="34" charset="0"/>
                <a:cs typeface="Arial" panose="020B0604020202020204" pitchFamily="34" charset="0"/>
              </a:rPr>
              <a:t>We</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can</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make</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prettyyyyy</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mockups</a:t>
            </a:r>
            <a:r>
              <a:rPr lang="da-DK"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51229600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CA103C9D-53B3-AC4B-A204-799132A8DB77}"/>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12" name="Text Placeholder 11">
            <a:extLst>
              <a:ext uri="{FF2B5EF4-FFF2-40B4-BE49-F238E27FC236}">
                <a16:creationId xmlns:a16="http://schemas.microsoft.com/office/drawing/2014/main" id="{F8104A72-9996-3641-B76A-2D6CF53679D8}"/>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da-DK" dirty="0" err="1">
                <a:latin typeface="Arial" panose="020B0604020202020204" pitchFamily="34" charset="0"/>
                <a:cs typeface="Arial" panose="020B0604020202020204" pitchFamily="34" charset="0"/>
              </a:rPr>
              <a:t>We</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can</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make</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prettyyyyy</a:t>
            </a:r>
            <a:r>
              <a:rPr lang="da-DK" dirty="0">
                <a:latin typeface="Arial" panose="020B0604020202020204" pitchFamily="34" charset="0"/>
                <a:cs typeface="Arial" panose="020B0604020202020204" pitchFamily="34" charset="0"/>
              </a:rPr>
              <a:t> (more real-</a:t>
            </a:r>
            <a:r>
              <a:rPr lang="da-DK" dirty="0" err="1">
                <a:latin typeface="Arial" panose="020B0604020202020204" pitchFamily="34" charset="0"/>
                <a:cs typeface="Arial" panose="020B0604020202020204" pitchFamily="34" charset="0"/>
              </a:rPr>
              <a:t>life</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mockups</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too</a:t>
            </a:r>
            <a:r>
              <a:rPr lang="da-DK"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pic>
        <p:nvPicPr>
          <p:cNvPr id="4" name="Billede 4"/>
          <p:cNvPicPr>
            <a:picLocks noChangeAspect="1"/>
          </p:cNvPicPr>
          <p:nvPr/>
        </p:nvPicPr>
        <p:blipFill>
          <a:blip r:embed="rId2"/>
          <a:stretch>
            <a:fillRect/>
          </a:stretch>
        </p:blipFill>
        <p:spPr>
          <a:xfrm>
            <a:off x="569753" y="1375606"/>
            <a:ext cx="6044658" cy="5084421"/>
          </a:xfrm>
          <a:prstGeom prst="rect">
            <a:avLst/>
          </a:prstGeom>
        </p:spPr>
      </p:pic>
      <p:pic>
        <p:nvPicPr>
          <p:cNvPr id="6" name="Picture 5"/>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096000" y="1264874"/>
            <a:ext cx="4920373" cy="4920373"/>
          </a:xfrm>
          <a:prstGeom prst="rect">
            <a:avLst/>
          </a:prstGeom>
        </p:spPr>
      </p:pic>
      <p:sp>
        <p:nvSpPr>
          <p:cNvPr id="7" name="Tekstfelt 5"/>
          <p:cNvSpPr txBox="1"/>
          <p:nvPr/>
        </p:nvSpPr>
        <p:spPr>
          <a:xfrm>
            <a:off x="3080291" y="3105833"/>
            <a:ext cx="1023582" cy="646331"/>
          </a:xfrm>
          <a:prstGeom prst="rect">
            <a:avLst/>
          </a:prstGeom>
          <a:noFill/>
        </p:spPr>
        <p:txBody>
          <a:bodyPr wrap="square" rtlCol="0">
            <a:spAutoFit/>
          </a:bodyPr>
          <a:lstStyle/>
          <a:p>
            <a:pPr algn="ctr"/>
            <a:r>
              <a:rPr lang="da-DK" sz="1200" dirty="0">
                <a:latin typeface="Arial" panose="020B0604020202020204" pitchFamily="34" charset="0"/>
                <a:ea typeface="Gulim" charset="-127"/>
                <a:cs typeface="Arial" panose="020B0604020202020204" pitchFamily="34" charset="0"/>
              </a:rPr>
              <a:t>PLACE MOCKUP HERE</a:t>
            </a:r>
          </a:p>
        </p:txBody>
      </p:sp>
      <p:sp>
        <p:nvSpPr>
          <p:cNvPr id="5" name="Tekstfelt 5"/>
          <p:cNvSpPr txBox="1"/>
          <p:nvPr/>
        </p:nvSpPr>
        <p:spPr>
          <a:xfrm>
            <a:off x="7805062" y="2736502"/>
            <a:ext cx="1541674" cy="1569660"/>
          </a:xfrm>
          <a:prstGeom prst="rect">
            <a:avLst/>
          </a:prstGeom>
          <a:solidFill>
            <a:schemeClr val="bg1"/>
          </a:solidFill>
        </p:spPr>
        <p:txBody>
          <a:bodyPr wrap="square" rtlCol="0">
            <a:spAutoFit/>
          </a:bodyPr>
          <a:lstStyle/>
          <a:p>
            <a:pPr algn="ctr"/>
            <a:endParaRPr lang="da-DK" sz="1200" dirty="0">
              <a:latin typeface="Arial" panose="020B0604020202020204" pitchFamily="34" charset="0"/>
              <a:ea typeface="Gulim" charset="-127"/>
              <a:cs typeface="Arial" panose="020B0604020202020204" pitchFamily="34" charset="0"/>
            </a:endParaRPr>
          </a:p>
          <a:p>
            <a:pPr algn="ctr"/>
            <a:endParaRPr lang="da-DK" sz="1200" dirty="0">
              <a:latin typeface="Arial" panose="020B0604020202020204" pitchFamily="34" charset="0"/>
              <a:ea typeface="Gulim" charset="-127"/>
              <a:cs typeface="Arial" panose="020B0604020202020204" pitchFamily="34" charset="0"/>
            </a:endParaRPr>
          </a:p>
          <a:p>
            <a:pPr algn="ctr"/>
            <a:endParaRPr lang="da-DK" sz="1200" dirty="0">
              <a:latin typeface="Arial" panose="020B0604020202020204" pitchFamily="34" charset="0"/>
              <a:ea typeface="Gulim" charset="-127"/>
              <a:cs typeface="Arial" panose="020B0604020202020204" pitchFamily="34" charset="0"/>
            </a:endParaRPr>
          </a:p>
          <a:p>
            <a:pPr algn="ctr"/>
            <a:r>
              <a:rPr lang="da-DK" sz="1200" dirty="0">
                <a:latin typeface="Arial" panose="020B0604020202020204" pitchFamily="34" charset="0"/>
                <a:ea typeface="Gulim" charset="-127"/>
                <a:cs typeface="Arial" panose="020B0604020202020204" pitchFamily="34" charset="0"/>
              </a:rPr>
              <a:t>PLACE </a:t>
            </a:r>
          </a:p>
          <a:p>
            <a:pPr algn="ctr"/>
            <a:r>
              <a:rPr lang="da-DK" sz="1200" dirty="0">
                <a:latin typeface="Arial" panose="020B0604020202020204" pitchFamily="34" charset="0"/>
                <a:ea typeface="Gulim" charset="-127"/>
                <a:cs typeface="Arial" panose="020B0604020202020204" pitchFamily="34" charset="0"/>
              </a:rPr>
              <a:t>MOCKUP </a:t>
            </a:r>
          </a:p>
          <a:p>
            <a:pPr algn="ctr"/>
            <a:r>
              <a:rPr lang="da-DK" sz="1200" dirty="0">
                <a:latin typeface="Arial" panose="020B0604020202020204" pitchFamily="34" charset="0"/>
                <a:ea typeface="Gulim" charset="-127"/>
                <a:cs typeface="Arial" panose="020B0604020202020204" pitchFamily="34" charset="0"/>
              </a:rPr>
              <a:t>HERE</a:t>
            </a:r>
          </a:p>
          <a:p>
            <a:pPr algn="ctr"/>
            <a:endParaRPr lang="da-DK" sz="1200" dirty="0">
              <a:latin typeface="Arial" panose="020B0604020202020204" pitchFamily="34" charset="0"/>
              <a:ea typeface="Gulim" charset="-127"/>
              <a:cs typeface="Arial" panose="020B0604020202020204" pitchFamily="34" charset="0"/>
            </a:endParaRPr>
          </a:p>
          <a:p>
            <a:pPr algn="ctr"/>
            <a:endParaRPr lang="da-DK" sz="1200" dirty="0">
              <a:latin typeface="Arial" panose="020B0604020202020204" pitchFamily="34" charset="0"/>
              <a:ea typeface="Gulim" charset="-127"/>
              <a:cs typeface="Arial" panose="020B0604020202020204" pitchFamily="34" charset="0"/>
            </a:endParaRPr>
          </a:p>
        </p:txBody>
      </p:sp>
      <p:sp>
        <p:nvSpPr>
          <p:cNvPr id="8" name="Rektangel 20"/>
          <p:cNvSpPr/>
          <p:nvPr/>
        </p:nvSpPr>
        <p:spPr>
          <a:xfrm>
            <a:off x="3749325" y="1594505"/>
            <a:ext cx="2639215" cy="3229519"/>
          </a:xfrm>
          <a:custGeom>
            <a:avLst/>
            <a:gdLst>
              <a:gd name="connsiteX0" fmla="*/ 0 w 1358153"/>
              <a:gd name="connsiteY0" fmla="*/ 0 h 3407495"/>
              <a:gd name="connsiteX1" fmla="*/ 1358153 w 1358153"/>
              <a:gd name="connsiteY1" fmla="*/ 0 h 3407495"/>
              <a:gd name="connsiteX2" fmla="*/ 1358153 w 1358153"/>
              <a:gd name="connsiteY2" fmla="*/ 3407495 h 3407495"/>
              <a:gd name="connsiteX3" fmla="*/ 0 w 1358153"/>
              <a:gd name="connsiteY3" fmla="*/ 3407495 h 3407495"/>
              <a:gd name="connsiteX4" fmla="*/ 0 w 1358153"/>
              <a:gd name="connsiteY4" fmla="*/ 0 h 3407495"/>
              <a:gd name="connsiteX0" fmla="*/ 1411941 w 2770094"/>
              <a:gd name="connsiteY0" fmla="*/ 0 h 3447837"/>
              <a:gd name="connsiteX1" fmla="*/ 2770094 w 2770094"/>
              <a:gd name="connsiteY1" fmla="*/ 0 h 3447837"/>
              <a:gd name="connsiteX2" fmla="*/ 2770094 w 2770094"/>
              <a:gd name="connsiteY2" fmla="*/ 3407495 h 3447837"/>
              <a:gd name="connsiteX3" fmla="*/ 0 w 2770094"/>
              <a:gd name="connsiteY3" fmla="*/ 3447837 h 3447837"/>
              <a:gd name="connsiteX4" fmla="*/ 1411941 w 2770094"/>
              <a:gd name="connsiteY4" fmla="*/ 0 h 3447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0094" h="3447837">
                <a:moveTo>
                  <a:pt x="1411941" y="0"/>
                </a:moveTo>
                <a:lnTo>
                  <a:pt x="2770094" y="0"/>
                </a:lnTo>
                <a:lnTo>
                  <a:pt x="2770094" y="3407495"/>
                </a:lnTo>
                <a:lnTo>
                  <a:pt x="0" y="3447837"/>
                </a:lnTo>
                <a:lnTo>
                  <a:pt x="1411941" y="0"/>
                </a:lnTo>
                <a:close/>
              </a:path>
            </a:pathLst>
          </a:custGeom>
          <a:gradFill>
            <a:gsLst>
              <a:gs pos="0">
                <a:schemeClr val="bg1">
                  <a:alpha val="40000"/>
                </a:schemeClr>
              </a:gs>
              <a:gs pos="100000">
                <a:schemeClr val="bg1">
                  <a:alpha val="1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endParaRPr lang="da-DK" sz="1200" dirty="0" err="1">
              <a:solidFill>
                <a:schemeClr val="tx1"/>
              </a:solidFill>
              <a:latin typeface="Arial" panose="020B0604020202020204" pitchFamily="34" charset="0"/>
              <a:ea typeface="Gulim" charset="-127"/>
              <a:cs typeface="Arial" panose="020B0604020202020204" pitchFamily="34" charset="0"/>
            </a:endParaRPr>
          </a:p>
        </p:txBody>
      </p:sp>
      <p:sp>
        <p:nvSpPr>
          <p:cNvPr id="9" name="Rektangel 20"/>
          <p:cNvSpPr/>
          <p:nvPr/>
        </p:nvSpPr>
        <p:spPr>
          <a:xfrm>
            <a:off x="7969389" y="1571645"/>
            <a:ext cx="1692006" cy="3229519"/>
          </a:xfrm>
          <a:custGeom>
            <a:avLst/>
            <a:gdLst>
              <a:gd name="connsiteX0" fmla="*/ 0 w 1358153"/>
              <a:gd name="connsiteY0" fmla="*/ 0 h 3407495"/>
              <a:gd name="connsiteX1" fmla="*/ 1358153 w 1358153"/>
              <a:gd name="connsiteY1" fmla="*/ 0 h 3407495"/>
              <a:gd name="connsiteX2" fmla="*/ 1358153 w 1358153"/>
              <a:gd name="connsiteY2" fmla="*/ 3407495 h 3407495"/>
              <a:gd name="connsiteX3" fmla="*/ 0 w 1358153"/>
              <a:gd name="connsiteY3" fmla="*/ 3407495 h 3407495"/>
              <a:gd name="connsiteX4" fmla="*/ 0 w 1358153"/>
              <a:gd name="connsiteY4" fmla="*/ 0 h 3407495"/>
              <a:gd name="connsiteX0" fmla="*/ 1411941 w 2770094"/>
              <a:gd name="connsiteY0" fmla="*/ 0 h 3447837"/>
              <a:gd name="connsiteX1" fmla="*/ 2770094 w 2770094"/>
              <a:gd name="connsiteY1" fmla="*/ 0 h 3447837"/>
              <a:gd name="connsiteX2" fmla="*/ 2770094 w 2770094"/>
              <a:gd name="connsiteY2" fmla="*/ 3407495 h 3447837"/>
              <a:gd name="connsiteX3" fmla="*/ 0 w 2770094"/>
              <a:gd name="connsiteY3" fmla="*/ 3447837 h 3447837"/>
              <a:gd name="connsiteX4" fmla="*/ 1411941 w 2770094"/>
              <a:gd name="connsiteY4" fmla="*/ 0 h 3447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0094" h="3447837">
                <a:moveTo>
                  <a:pt x="1411941" y="0"/>
                </a:moveTo>
                <a:lnTo>
                  <a:pt x="2770094" y="0"/>
                </a:lnTo>
                <a:lnTo>
                  <a:pt x="2770094" y="3407495"/>
                </a:lnTo>
                <a:lnTo>
                  <a:pt x="0" y="3447837"/>
                </a:lnTo>
                <a:lnTo>
                  <a:pt x="1411941" y="0"/>
                </a:lnTo>
                <a:close/>
              </a:path>
            </a:pathLst>
          </a:custGeom>
          <a:gradFill>
            <a:gsLst>
              <a:gs pos="0">
                <a:schemeClr val="bg1">
                  <a:alpha val="40000"/>
                </a:schemeClr>
              </a:gs>
              <a:gs pos="100000">
                <a:schemeClr val="bg1">
                  <a:alpha val="1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50000"/>
              </a:lnSpc>
            </a:pPr>
            <a:endParaRPr lang="da-DK" sz="1200" dirty="0" err="1">
              <a:solidFill>
                <a:schemeClr val="tx1"/>
              </a:solidFill>
              <a:latin typeface="Arial" panose="020B0604020202020204" pitchFamily="34" charset="0"/>
              <a:ea typeface="Gulim" charset="-127"/>
              <a:cs typeface="Arial" panose="020B0604020202020204" pitchFamily="34" charset="0"/>
            </a:endParaRPr>
          </a:p>
        </p:txBody>
      </p:sp>
      <p:sp>
        <p:nvSpPr>
          <p:cNvPr id="10" name="TextBox 9"/>
          <p:cNvSpPr txBox="1"/>
          <p:nvPr/>
        </p:nvSpPr>
        <p:spPr>
          <a:xfrm>
            <a:off x="6274880" y="5919621"/>
            <a:ext cx="4277804" cy="461665"/>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ea typeface="Gulim" charset="-127"/>
                <a:cs typeface="Arial" panose="020B0604020202020204" pitchFamily="34" charset="0"/>
              </a:rPr>
              <a:t>REMEMBER TO ADD SHINE TO THE MOCKUP, TO MAKE IT LOOK MORE REAL</a:t>
            </a:r>
          </a:p>
        </p:txBody>
      </p:sp>
    </p:spTree>
    <p:extLst>
      <p:ext uri="{BB962C8B-B14F-4D97-AF65-F5344CB8AC3E}">
        <p14:creationId xmlns:p14="http://schemas.microsoft.com/office/powerpoint/2010/main" val="80757567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101600"/>
            <a:ext cx="812800" cy="812800"/>
          </a:xfrm>
          <a:prstGeom prst="ellipse">
            <a:avLst/>
          </a:prstGeom>
        </p:spPr>
      </p:pic>
      <p:pic>
        <p:nvPicPr>
          <p:cNvPr id="3" name="Billed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65200" y="101600"/>
            <a:ext cx="812800" cy="812800"/>
          </a:xfrm>
          <a:prstGeom prst="rect">
            <a:avLst/>
          </a:prstGeom>
        </p:spPr>
      </p:pic>
      <p:pic>
        <p:nvPicPr>
          <p:cNvPr id="4" name="Billed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778000" y="101600"/>
            <a:ext cx="812800" cy="812800"/>
          </a:xfrm>
          <a:prstGeom prst="rect">
            <a:avLst/>
          </a:prstGeom>
        </p:spPr>
      </p:pic>
      <p:pic>
        <p:nvPicPr>
          <p:cNvPr id="5" name="Billede 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590800" y="101600"/>
            <a:ext cx="812800" cy="812800"/>
          </a:xfrm>
          <a:prstGeom prst="rect">
            <a:avLst/>
          </a:prstGeom>
        </p:spPr>
      </p:pic>
      <p:pic>
        <p:nvPicPr>
          <p:cNvPr id="6" name="Billede 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403600" y="101600"/>
            <a:ext cx="812800" cy="812800"/>
          </a:xfrm>
          <a:prstGeom prst="rect">
            <a:avLst/>
          </a:prstGeom>
        </p:spPr>
      </p:pic>
      <p:pic>
        <p:nvPicPr>
          <p:cNvPr id="7" name="Billede 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216400" y="101600"/>
            <a:ext cx="812800" cy="812800"/>
          </a:xfrm>
          <a:prstGeom prst="rect">
            <a:avLst/>
          </a:prstGeom>
        </p:spPr>
      </p:pic>
      <p:pic>
        <p:nvPicPr>
          <p:cNvPr id="8" name="Billede 7"/>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029200" y="101600"/>
            <a:ext cx="812800" cy="812800"/>
          </a:xfrm>
          <a:prstGeom prst="rect">
            <a:avLst/>
          </a:prstGeom>
        </p:spPr>
      </p:pic>
      <p:pic>
        <p:nvPicPr>
          <p:cNvPr id="9" name="Billede 8"/>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842000" y="101600"/>
            <a:ext cx="812800" cy="812800"/>
          </a:xfrm>
          <a:prstGeom prst="rect">
            <a:avLst/>
          </a:prstGeom>
        </p:spPr>
      </p:pic>
      <p:pic>
        <p:nvPicPr>
          <p:cNvPr id="10" name="Billede 9"/>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654800" y="101600"/>
            <a:ext cx="812800" cy="812800"/>
          </a:xfrm>
          <a:prstGeom prst="rect">
            <a:avLst/>
          </a:prstGeom>
        </p:spPr>
      </p:pic>
      <p:pic>
        <p:nvPicPr>
          <p:cNvPr id="11" name="Billede 10"/>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7467600" y="101600"/>
            <a:ext cx="812800" cy="812800"/>
          </a:xfrm>
          <a:prstGeom prst="rect">
            <a:avLst/>
          </a:prstGeom>
        </p:spPr>
      </p:pic>
      <p:pic>
        <p:nvPicPr>
          <p:cNvPr id="12" name="Billede 11"/>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8280400" y="101600"/>
            <a:ext cx="812800" cy="812800"/>
          </a:xfrm>
          <a:prstGeom prst="rect">
            <a:avLst/>
          </a:prstGeom>
        </p:spPr>
      </p:pic>
      <p:pic>
        <p:nvPicPr>
          <p:cNvPr id="13" name="Billede 12"/>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9093200" y="101600"/>
            <a:ext cx="812800" cy="812800"/>
          </a:xfrm>
          <a:prstGeom prst="rect">
            <a:avLst/>
          </a:prstGeom>
        </p:spPr>
      </p:pic>
      <p:pic>
        <p:nvPicPr>
          <p:cNvPr id="14" name="Billede 13"/>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52400" y="914400"/>
            <a:ext cx="812800" cy="812800"/>
          </a:xfrm>
          <a:prstGeom prst="rect">
            <a:avLst/>
          </a:prstGeom>
        </p:spPr>
      </p:pic>
      <p:pic>
        <p:nvPicPr>
          <p:cNvPr id="15" name="Billede 14"/>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965200" y="914400"/>
            <a:ext cx="812800" cy="812800"/>
          </a:xfrm>
          <a:prstGeom prst="rect">
            <a:avLst/>
          </a:prstGeom>
        </p:spPr>
      </p:pic>
      <p:pic>
        <p:nvPicPr>
          <p:cNvPr id="16" name="Billede 15"/>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1778000" y="914400"/>
            <a:ext cx="812800" cy="812800"/>
          </a:xfrm>
          <a:prstGeom prst="rect">
            <a:avLst/>
          </a:prstGeom>
        </p:spPr>
      </p:pic>
      <p:pic>
        <p:nvPicPr>
          <p:cNvPr id="17" name="Billede 16"/>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2590800" y="914400"/>
            <a:ext cx="812800" cy="812800"/>
          </a:xfrm>
          <a:prstGeom prst="rect">
            <a:avLst/>
          </a:prstGeom>
        </p:spPr>
      </p:pic>
      <p:pic>
        <p:nvPicPr>
          <p:cNvPr id="18" name="Billede 17"/>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3403600" y="914400"/>
            <a:ext cx="812800" cy="812800"/>
          </a:xfrm>
          <a:prstGeom prst="rect">
            <a:avLst/>
          </a:prstGeom>
        </p:spPr>
      </p:pic>
      <p:pic>
        <p:nvPicPr>
          <p:cNvPr id="19" name="Billede 18"/>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4216400" y="914400"/>
            <a:ext cx="812800" cy="812800"/>
          </a:xfrm>
          <a:prstGeom prst="rect">
            <a:avLst/>
          </a:prstGeom>
        </p:spPr>
      </p:pic>
      <p:pic>
        <p:nvPicPr>
          <p:cNvPr id="20" name="Billede 19"/>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5029200" y="914400"/>
            <a:ext cx="812800" cy="812800"/>
          </a:xfrm>
          <a:prstGeom prst="rect">
            <a:avLst/>
          </a:prstGeom>
        </p:spPr>
      </p:pic>
      <p:pic>
        <p:nvPicPr>
          <p:cNvPr id="21" name="Billede 20"/>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5842000" y="914400"/>
            <a:ext cx="812800" cy="812800"/>
          </a:xfrm>
          <a:prstGeom prst="rect">
            <a:avLst/>
          </a:prstGeom>
        </p:spPr>
      </p:pic>
      <p:pic>
        <p:nvPicPr>
          <p:cNvPr id="22" name="Billede 21"/>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6654800" y="914400"/>
            <a:ext cx="812800" cy="812800"/>
          </a:xfrm>
          <a:prstGeom prst="rect">
            <a:avLst/>
          </a:prstGeom>
        </p:spPr>
      </p:pic>
      <p:pic>
        <p:nvPicPr>
          <p:cNvPr id="23" name="Billede 22"/>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7467600" y="914400"/>
            <a:ext cx="812800" cy="812800"/>
          </a:xfrm>
          <a:prstGeom prst="rect">
            <a:avLst/>
          </a:prstGeom>
        </p:spPr>
      </p:pic>
      <p:pic>
        <p:nvPicPr>
          <p:cNvPr id="24" name="Billede 23"/>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8280400" y="914400"/>
            <a:ext cx="812800" cy="812800"/>
          </a:xfrm>
          <a:prstGeom prst="rect">
            <a:avLst/>
          </a:prstGeom>
        </p:spPr>
      </p:pic>
      <p:pic>
        <p:nvPicPr>
          <p:cNvPr id="25" name="Billede 24"/>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9093200" y="914400"/>
            <a:ext cx="812800" cy="812800"/>
          </a:xfrm>
          <a:prstGeom prst="rect">
            <a:avLst/>
          </a:prstGeom>
        </p:spPr>
      </p:pic>
      <p:pic>
        <p:nvPicPr>
          <p:cNvPr id="26" name="Billede 25"/>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9906000" y="914400"/>
            <a:ext cx="812800" cy="812800"/>
          </a:xfrm>
          <a:prstGeom prst="rect">
            <a:avLst/>
          </a:prstGeom>
        </p:spPr>
      </p:pic>
      <p:pic>
        <p:nvPicPr>
          <p:cNvPr id="27" name="Billede 26"/>
          <p:cNvPicPr>
            <a:picLocks noChangeAspect="1"/>
          </p:cNvPicPr>
          <p:nvPr/>
        </p:nvPicPr>
        <p:blipFill>
          <a:blip r:embed="rId27">
            <a:extLst>
              <a:ext uri="{28A0092B-C50C-407E-A947-70E740481C1C}">
                <a14:useLocalDpi xmlns:a14="http://schemas.microsoft.com/office/drawing/2010/main"/>
              </a:ext>
            </a:extLst>
          </a:blip>
          <a:stretch>
            <a:fillRect/>
          </a:stretch>
        </p:blipFill>
        <p:spPr>
          <a:xfrm>
            <a:off x="10718800" y="914400"/>
            <a:ext cx="812800" cy="812800"/>
          </a:xfrm>
          <a:prstGeom prst="rect">
            <a:avLst/>
          </a:prstGeom>
        </p:spPr>
      </p:pic>
      <p:pic>
        <p:nvPicPr>
          <p:cNvPr id="28" name="Billede 27"/>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152400" y="1727200"/>
            <a:ext cx="812800" cy="812800"/>
          </a:xfrm>
          <a:prstGeom prst="rect">
            <a:avLst/>
          </a:prstGeom>
        </p:spPr>
      </p:pic>
      <p:pic>
        <p:nvPicPr>
          <p:cNvPr id="29" name="Billede 28"/>
          <p:cNvPicPr>
            <a:picLocks noChangeAspect="1"/>
          </p:cNvPicPr>
          <p:nvPr/>
        </p:nvPicPr>
        <p:blipFill>
          <a:blip r:embed="rId29">
            <a:extLst>
              <a:ext uri="{28A0092B-C50C-407E-A947-70E740481C1C}">
                <a14:useLocalDpi xmlns:a14="http://schemas.microsoft.com/office/drawing/2010/main"/>
              </a:ext>
            </a:extLst>
          </a:blip>
          <a:stretch>
            <a:fillRect/>
          </a:stretch>
        </p:blipFill>
        <p:spPr>
          <a:xfrm>
            <a:off x="965200" y="1727200"/>
            <a:ext cx="812800" cy="812800"/>
          </a:xfrm>
          <a:prstGeom prst="rect">
            <a:avLst/>
          </a:prstGeom>
        </p:spPr>
      </p:pic>
      <p:pic>
        <p:nvPicPr>
          <p:cNvPr id="30" name="Billede 2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1778000" y="1727200"/>
            <a:ext cx="812800" cy="812800"/>
          </a:xfrm>
          <a:prstGeom prst="rect">
            <a:avLst/>
          </a:prstGeom>
        </p:spPr>
      </p:pic>
      <p:pic>
        <p:nvPicPr>
          <p:cNvPr id="31" name="Billede 30"/>
          <p:cNvPicPr>
            <a:picLocks noChangeAspect="1"/>
          </p:cNvPicPr>
          <p:nvPr/>
        </p:nvPicPr>
        <p:blipFill>
          <a:blip r:embed="rId31">
            <a:extLst>
              <a:ext uri="{28A0092B-C50C-407E-A947-70E740481C1C}">
                <a14:useLocalDpi xmlns:a14="http://schemas.microsoft.com/office/drawing/2010/main"/>
              </a:ext>
            </a:extLst>
          </a:blip>
          <a:stretch>
            <a:fillRect/>
          </a:stretch>
        </p:blipFill>
        <p:spPr>
          <a:xfrm>
            <a:off x="2590800" y="1727200"/>
            <a:ext cx="812800" cy="812800"/>
          </a:xfrm>
          <a:prstGeom prst="rect">
            <a:avLst/>
          </a:prstGeom>
        </p:spPr>
      </p:pic>
      <p:pic>
        <p:nvPicPr>
          <p:cNvPr id="32" name="Billede 31"/>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3403600" y="1727200"/>
            <a:ext cx="812800" cy="812800"/>
          </a:xfrm>
          <a:prstGeom prst="rect">
            <a:avLst/>
          </a:prstGeom>
        </p:spPr>
      </p:pic>
      <p:pic>
        <p:nvPicPr>
          <p:cNvPr id="33" name="Billede 32"/>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5029200" y="1727200"/>
            <a:ext cx="812800" cy="812800"/>
          </a:xfrm>
          <a:prstGeom prst="rect">
            <a:avLst/>
          </a:prstGeom>
        </p:spPr>
      </p:pic>
      <p:pic>
        <p:nvPicPr>
          <p:cNvPr id="34" name="Billede 33"/>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4216400" y="1727200"/>
            <a:ext cx="812800" cy="812800"/>
          </a:xfrm>
          <a:prstGeom prst="rect">
            <a:avLst/>
          </a:prstGeom>
        </p:spPr>
      </p:pic>
      <p:pic>
        <p:nvPicPr>
          <p:cNvPr id="35" name="Billede 34"/>
          <p:cNvPicPr>
            <a:picLocks noChangeAspect="1"/>
          </p:cNvPicPr>
          <p:nvPr/>
        </p:nvPicPr>
        <p:blipFill>
          <a:blip r:embed="rId35">
            <a:extLst>
              <a:ext uri="{28A0092B-C50C-407E-A947-70E740481C1C}">
                <a14:useLocalDpi xmlns:a14="http://schemas.microsoft.com/office/drawing/2010/main"/>
              </a:ext>
            </a:extLst>
          </a:blip>
          <a:stretch>
            <a:fillRect/>
          </a:stretch>
        </p:blipFill>
        <p:spPr>
          <a:xfrm>
            <a:off x="5842000" y="1727200"/>
            <a:ext cx="812800" cy="812800"/>
          </a:xfrm>
          <a:prstGeom prst="rect">
            <a:avLst/>
          </a:prstGeom>
        </p:spPr>
      </p:pic>
      <p:pic>
        <p:nvPicPr>
          <p:cNvPr id="36" name="Billede 35"/>
          <p:cNvPicPr>
            <a:picLocks noChangeAspect="1"/>
          </p:cNvPicPr>
          <p:nvPr/>
        </p:nvPicPr>
        <p:blipFill>
          <a:blip r:embed="rId36">
            <a:extLst>
              <a:ext uri="{28A0092B-C50C-407E-A947-70E740481C1C}">
                <a14:useLocalDpi xmlns:a14="http://schemas.microsoft.com/office/drawing/2010/main"/>
              </a:ext>
            </a:extLst>
          </a:blip>
          <a:stretch>
            <a:fillRect/>
          </a:stretch>
        </p:blipFill>
        <p:spPr>
          <a:xfrm>
            <a:off x="6654800" y="1727200"/>
            <a:ext cx="812800" cy="812800"/>
          </a:xfrm>
          <a:prstGeom prst="rect">
            <a:avLst/>
          </a:prstGeom>
        </p:spPr>
      </p:pic>
      <p:pic>
        <p:nvPicPr>
          <p:cNvPr id="37" name="Billede 36"/>
          <p:cNvPicPr>
            <a:picLocks noChangeAspect="1"/>
          </p:cNvPicPr>
          <p:nvPr/>
        </p:nvPicPr>
        <p:blipFill>
          <a:blip r:embed="rId37">
            <a:extLst>
              <a:ext uri="{28A0092B-C50C-407E-A947-70E740481C1C}">
                <a14:useLocalDpi xmlns:a14="http://schemas.microsoft.com/office/drawing/2010/main"/>
              </a:ext>
            </a:extLst>
          </a:blip>
          <a:stretch>
            <a:fillRect/>
          </a:stretch>
        </p:blipFill>
        <p:spPr>
          <a:xfrm>
            <a:off x="7467600" y="1727200"/>
            <a:ext cx="812800" cy="812800"/>
          </a:xfrm>
          <a:prstGeom prst="rect">
            <a:avLst/>
          </a:prstGeom>
        </p:spPr>
      </p:pic>
      <p:pic>
        <p:nvPicPr>
          <p:cNvPr id="38" name="Billede 37"/>
          <p:cNvPicPr>
            <a:picLocks noChangeAspect="1"/>
          </p:cNvPicPr>
          <p:nvPr/>
        </p:nvPicPr>
        <p:blipFill>
          <a:blip r:embed="rId38">
            <a:extLst>
              <a:ext uri="{28A0092B-C50C-407E-A947-70E740481C1C}">
                <a14:useLocalDpi xmlns:a14="http://schemas.microsoft.com/office/drawing/2010/main"/>
              </a:ext>
            </a:extLst>
          </a:blip>
          <a:stretch>
            <a:fillRect/>
          </a:stretch>
        </p:blipFill>
        <p:spPr>
          <a:xfrm>
            <a:off x="8280400" y="1727200"/>
            <a:ext cx="812800" cy="812800"/>
          </a:xfrm>
          <a:prstGeom prst="rect">
            <a:avLst/>
          </a:prstGeom>
        </p:spPr>
      </p:pic>
      <p:pic>
        <p:nvPicPr>
          <p:cNvPr id="39" name="Billede 38"/>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9093200" y="1727200"/>
            <a:ext cx="812800" cy="812800"/>
          </a:xfrm>
          <a:prstGeom prst="rect">
            <a:avLst/>
          </a:prstGeom>
        </p:spPr>
      </p:pic>
      <p:pic>
        <p:nvPicPr>
          <p:cNvPr id="40" name="Billede 39"/>
          <p:cNvPicPr>
            <a:picLocks noChangeAspect="1"/>
          </p:cNvPicPr>
          <p:nvPr/>
        </p:nvPicPr>
        <p:blipFill>
          <a:blip r:embed="rId40">
            <a:extLst>
              <a:ext uri="{28A0092B-C50C-407E-A947-70E740481C1C}">
                <a14:useLocalDpi xmlns:a14="http://schemas.microsoft.com/office/drawing/2010/main"/>
              </a:ext>
            </a:extLst>
          </a:blip>
          <a:stretch>
            <a:fillRect/>
          </a:stretch>
        </p:blipFill>
        <p:spPr>
          <a:xfrm>
            <a:off x="9906000" y="1727200"/>
            <a:ext cx="812800" cy="812800"/>
          </a:xfrm>
          <a:prstGeom prst="rect">
            <a:avLst/>
          </a:prstGeom>
        </p:spPr>
      </p:pic>
      <p:pic>
        <p:nvPicPr>
          <p:cNvPr id="41" name="Billede 40"/>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10718800" y="1727200"/>
            <a:ext cx="812800" cy="812800"/>
          </a:xfrm>
          <a:prstGeom prst="rect">
            <a:avLst/>
          </a:prstGeom>
        </p:spPr>
      </p:pic>
      <p:pic>
        <p:nvPicPr>
          <p:cNvPr id="42" name="Billede 41"/>
          <p:cNvPicPr>
            <a:picLocks noChangeAspect="1"/>
          </p:cNvPicPr>
          <p:nvPr/>
        </p:nvPicPr>
        <p:blipFill>
          <a:blip r:embed="rId42">
            <a:extLst>
              <a:ext uri="{28A0092B-C50C-407E-A947-70E740481C1C}">
                <a14:useLocalDpi xmlns:a14="http://schemas.microsoft.com/office/drawing/2010/main"/>
              </a:ext>
            </a:extLst>
          </a:blip>
          <a:stretch>
            <a:fillRect/>
          </a:stretch>
        </p:blipFill>
        <p:spPr>
          <a:xfrm>
            <a:off x="152400" y="2540000"/>
            <a:ext cx="812800" cy="812800"/>
          </a:xfrm>
          <a:prstGeom prst="rect">
            <a:avLst/>
          </a:prstGeom>
        </p:spPr>
      </p:pic>
      <p:pic>
        <p:nvPicPr>
          <p:cNvPr id="43" name="Billede 42"/>
          <p:cNvPicPr>
            <a:picLocks noChangeAspect="1"/>
          </p:cNvPicPr>
          <p:nvPr/>
        </p:nvPicPr>
        <p:blipFill>
          <a:blip r:embed="rId43">
            <a:extLst>
              <a:ext uri="{28A0092B-C50C-407E-A947-70E740481C1C}">
                <a14:useLocalDpi xmlns:a14="http://schemas.microsoft.com/office/drawing/2010/main"/>
              </a:ext>
            </a:extLst>
          </a:blip>
          <a:stretch>
            <a:fillRect/>
          </a:stretch>
        </p:blipFill>
        <p:spPr>
          <a:xfrm>
            <a:off x="965200" y="2540000"/>
            <a:ext cx="812800" cy="812800"/>
          </a:xfrm>
          <a:prstGeom prst="rect">
            <a:avLst/>
          </a:prstGeom>
        </p:spPr>
      </p:pic>
      <p:pic>
        <p:nvPicPr>
          <p:cNvPr id="44" name="Billede 43"/>
          <p:cNvPicPr>
            <a:picLocks noChangeAspect="1"/>
          </p:cNvPicPr>
          <p:nvPr/>
        </p:nvPicPr>
        <p:blipFill>
          <a:blip r:embed="rId44">
            <a:extLst>
              <a:ext uri="{28A0092B-C50C-407E-A947-70E740481C1C}">
                <a14:useLocalDpi xmlns:a14="http://schemas.microsoft.com/office/drawing/2010/main"/>
              </a:ext>
            </a:extLst>
          </a:blip>
          <a:stretch>
            <a:fillRect/>
          </a:stretch>
        </p:blipFill>
        <p:spPr>
          <a:xfrm>
            <a:off x="1778000" y="2540000"/>
            <a:ext cx="812800" cy="812800"/>
          </a:xfrm>
          <a:prstGeom prst="rect">
            <a:avLst/>
          </a:prstGeom>
        </p:spPr>
      </p:pic>
      <p:pic>
        <p:nvPicPr>
          <p:cNvPr id="45" name="Billede 44"/>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590800" y="2540000"/>
            <a:ext cx="812800" cy="812800"/>
          </a:xfrm>
          <a:prstGeom prst="rect">
            <a:avLst/>
          </a:prstGeom>
        </p:spPr>
      </p:pic>
      <p:pic>
        <p:nvPicPr>
          <p:cNvPr id="46" name="Billede 45"/>
          <p:cNvPicPr>
            <a:picLocks noChangeAspect="1"/>
          </p:cNvPicPr>
          <p:nvPr/>
        </p:nvPicPr>
        <p:blipFill>
          <a:blip r:embed="rId46">
            <a:extLst>
              <a:ext uri="{28A0092B-C50C-407E-A947-70E740481C1C}">
                <a14:useLocalDpi xmlns:a14="http://schemas.microsoft.com/office/drawing/2010/main"/>
              </a:ext>
            </a:extLst>
          </a:blip>
          <a:stretch>
            <a:fillRect/>
          </a:stretch>
        </p:blipFill>
        <p:spPr>
          <a:xfrm>
            <a:off x="3403600" y="2540000"/>
            <a:ext cx="812800" cy="812800"/>
          </a:xfrm>
          <a:prstGeom prst="rect">
            <a:avLst/>
          </a:prstGeom>
        </p:spPr>
      </p:pic>
      <p:pic>
        <p:nvPicPr>
          <p:cNvPr id="47" name="Billede 46"/>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4216400" y="2540000"/>
            <a:ext cx="812800" cy="812800"/>
          </a:xfrm>
          <a:prstGeom prst="rect">
            <a:avLst/>
          </a:prstGeom>
        </p:spPr>
      </p:pic>
      <p:pic>
        <p:nvPicPr>
          <p:cNvPr id="48" name="Billede 4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029200" y="2540000"/>
            <a:ext cx="812800" cy="812800"/>
          </a:xfrm>
          <a:prstGeom prst="rect">
            <a:avLst/>
          </a:prstGeom>
        </p:spPr>
      </p:pic>
      <p:pic>
        <p:nvPicPr>
          <p:cNvPr id="49" name="Billede 4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842000" y="2540000"/>
            <a:ext cx="812800" cy="812800"/>
          </a:xfrm>
          <a:prstGeom prst="rect">
            <a:avLst/>
          </a:prstGeom>
        </p:spPr>
      </p:pic>
      <p:pic>
        <p:nvPicPr>
          <p:cNvPr id="50" name="Billede 49"/>
          <p:cNvPicPr>
            <a:picLocks noChangeAspect="1"/>
          </p:cNvPicPr>
          <p:nvPr/>
        </p:nvPicPr>
        <p:blipFill>
          <a:blip r:embed="rId50">
            <a:extLst>
              <a:ext uri="{28A0092B-C50C-407E-A947-70E740481C1C}">
                <a14:useLocalDpi xmlns:a14="http://schemas.microsoft.com/office/drawing/2010/main"/>
              </a:ext>
            </a:extLst>
          </a:blip>
          <a:stretch>
            <a:fillRect/>
          </a:stretch>
        </p:blipFill>
        <p:spPr>
          <a:xfrm>
            <a:off x="6654800" y="2540000"/>
            <a:ext cx="812800" cy="812800"/>
          </a:xfrm>
          <a:prstGeom prst="rect">
            <a:avLst/>
          </a:prstGeom>
        </p:spPr>
      </p:pic>
      <p:pic>
        <p:nvPicPr>
          <p:cNvPr id="51" name="Billede 50"/>
          <p:cNvPicPr>
            <a:picLocks noChangeAspect="1"/>
          </p:cNvPicPr>
          <p:nvPr/>
        </p:nvPicPr>
        <p:blipFill>
          <a:blip r:embed="rId51">
            <a:extLst>
              <a:ext uri="{28A0092B-C50C-407E-A947-70E740481C1C}">
                <a14:useLocalDpi xmlns:a14="http://schemas.microsoft.com/office/drawing/2010/main"/>
              </a:ext>
            </a:extLst>
          </a:blip>
          <a:stretch>
            <a:fillRect/>
          </a:stretch>
        </p:blipFill>
        <p:spPr>
          <a:xfrm>
            <a:off x="7467600" y="2540000"/>
            <a:ext cx="812800" cy="812800"/>
          </a:xfrm>
          <a:prstGeom prst="rect">
            <a:avLst/>
          </a:prstGeom>
        </p:spPr>
      </p:pic>
      <p:pic>
        <p:nvPicPr>
          <p:cNvPr id="52" name="Billede 51"/>
          <p:cNvPicPr>
            <a:picLocks noChangeAspect="1"/>
          </p:cNvPicPr>
          <p:nvPr/>
        </p:nvPicPr>
        <p:blipFill>
          <a:blip r:embed="rId52">
            <a:extLst>
              <a:ext uri="{28A0092B-C50C-407E-A947-70E740481C1C}">
                <a14:useLocalDpi xmlns:a14="http://schemas.microsoft.com/office/drawing/2010/main"/>
              </a:ext>
            </a:extLst>
          </a:blip>
          <a:stretch>
            <a:fillRect/>
          </a:stretch>
        </p:blipFill>
        <p:spPr>
          <a:xfrm>
            <a:off x="8280400" y="2540000"/>
            <a:ext cx="812800" cy="812800"/>
          </a:xfrm>
          <a:prstGeom prst="rect">
            <a:avLst/>
          </a:prstGeom>
        </p:spPr>
      </p:pic>
      <p:pic>
        <p:nvPicPr>
          <p:cNvPr id="53" name="Billede 52"/>
          <p:cNvPicPr>
            <a:picLocks noChangeAspect="1"/>
          </p:cNvPicPr>
          <p:nvPr/>
        </p:nvPicPr>
        <p:blipFill>
          <a:blip r:embed="rId53">
            <a:extLst>
              <a:ext uri="{28A0092B-C50C-407E-A947-70E740481C1C}">
                <a14:useLocalDpi xmlns:a14="http://schemas.microsoft.com/office/drawing/2010/main"/>
              </a:ext>
            </a:extLst>
          </a:blip>
          <a:stretch>
            <a:fillRect/>
          </a:stretch>
        </p:blipFill>
        <p:spPr>
          <a:xfrm>
            <a:off x="9093200" y="2540000"/>
            <a:ext cx="812800" cy="812800"/>
          </a:xfrm>
          <a:prstGeom prst="rect">
            <a:avLst/>
          </a:prstGeom>
        </p:spPr>
      </p:pic>
      <p:pic>
        <p:nvPicPr>
          <p:cNvPr id="54" name="Billede 53"/>
          <p:cNvPicPr>
            <a:picLocks noChangeAspect="1"/>
          </p:cNvPicPr>
          <p:nvPr/>
        </p:nvPicPr>
        <p:blipFill>
          <a:blip r:embed="rId54">
            <a:extLst>
              <a:ext uri="{28A0092B-C50C-407E-A947-70E740481C1C}">
                <a14:useLocalDpi xmlns:a14="http://schemas.microsoft.com/office/drawing/2010/main"/>
              </a:ext>
            </a:extLst>
          </a:blip>
          <a:stretch>
            <a:fillRect/>
          </a:stretch>
        </p:blipFill>
        <p:spPr>
          <a:xfrm>
            <a:off x="9906000" y="2540000"/>
            <a:ext cx="812800" cy="812800"/>
          </a:xfrm>
          <a:prstGeom prst="rect">
            <a:avLst/>
          </a:prstGeom>
        </p:spPr>
      </p:pic>
      <p:pic>
        <p:nvPicPr>
          <p:cNvPr id="55" name="Billede 54"/>
          <p:cNvPicPr>
            <a:picLocks noChangeAspect="1"/>
          </p:cNvPicPr>
          <p:nvPr/>
        </p:nvPicPr>
        <p:blipFill>
          <a:blip r:embed="rId55">
            <a:extLst>
              <a:ext uri="{28A0092B-C50C-407E-A947-70E740481C1C}">
                <a14:useLocalDpi xmlns:a14="http://schemas.microsoft.com/office/drawing/2010/main"/>
              </a:ext>
            </a:extLst>
          </a:blip>
          <a:stretch>
            <a:fillRect/>
          </a:stretch>
        </p:blipFill>
        <p:spPr>
          <a:xfrm>
            <a:off x="10718800" y="2540000"/>
            <a:ext cx="812800" cy="812800"/>
          </a:xfrm>
          <a:prstGeom prst="rect">
            <a:avLst/>
          </a:prstGeom>
        </p:spPr>
      </p:pic>
      <p:pic>
        <p:nvPicPr>
          <p:cNvPr id="56" name="Billede 55"/>
          <p:cNvPicPr>
            <a:picLocks noChangeAspect="1"/>
          </p:cNvPicPr>
          <p:nvPr/>
        </p:nvPicPr>
        <p:blipFill>
          <a:blip r:embed="rId56">
            <a:extLst>
              <a:ext uri="{28A0092B-C50C-407E-A947-70E740481C1C}">
                <a14:useLocalDpi xmlns:a14="http://schemas.microsoft.com/office/drawing/2010/main"/>
              </a:ext>
            </a:extLst>
          </a:blip>
          <a:stretch>
            <a:fillRect/>
          </a:stretch>
        </p:blipFill>
        <p:spPr>
          <a:xfrm>
            <a:off x="152400" y="3352800"/>
            <a:ext cx="812800" cy="812800"/>
          </a:xfrm>
          <a:prstGeom prst="rect">
            <a:avLst/>
          </a:prstGeom>
        </p:spPr>
      </p:pic>
      <p:pic>
        <p:nvPicPr>
          <p:cNvPr id="57" name="Billede 56"/>
          <p:cNvPicPr>
            <a:picLocks noChangeAspect="1"/>
          </p:cNvPicPr>
          <p:nvPr/>
        </p:nvPicPr>
        <p:blipFill>
          <a:blip r:embed="rId57">
            <a:extLst>
              <a:ext uri="{28A0092B-C50C-407E-A947-70E740481C1C}">
                <a14:useLocalDpi xmlns:a14="http://schemas.microsoft.com/office/drawing/2010/main"/>
              </a:ext>
            </a:extLst>
          </a:blip>
          <a:stretch>
            <a:fillRect/>
          </a:stretch>
        </p:blipFill>
        <p:spPr>
          <a:xfrm>
            <a:off x="965200" y="3352800"/>
            <a:ext cx="812800" cy="812800"/>
          </a:xfrm>
          <a:prstGeom prst="rect">
            <a:avLst/>
          </a:prstGeom>
        </p:spPr>
      </p:pic>
      <p:pic>
        <p:nvPicPr>
          <p:cNvPr id="58" name="Billede 57"/>
          <p:cNvPicPr>
            <a:picLocks noChangeAspect="1"/>
          </p:cNvPicPr>
          <p:nvPr/>
        </p:nvPicPr>
        <p:blipFill>
          <a:blip r:embed="rId58">
            <a:extLst>
              <a:ext uri="{28A0092B-C50C-407E-A947-70E740481C1C}">
                <a14:useLocalDpi xmlns:a14="http://schemas.microsoft.com/office/drawing/2010/main"/>
              </a:ext>
            </a:extLst>
          </a:blip>
          <a:stretch>
            <a:fillRect/>
          </a:stretch>
        </p:blipFill>
        <p:spPr>
          <a:xfrm>
            <a:off x="1778000" y="3352800"/>
            <a:ext cx="812800" cy="812800"/>
          </a:xfrm>
          <a:prstGeom prst="rect">
            <a:avLst/>
          </a:prstGeom>
        </p:spPr>
      </p:pic>
      <p:pic>
        <p:nvPicPr>
          <p:cNvPr id="59" name="Billede 58"/>
          <p:cNvPicPr>
            <a:picLocks noChangeAspect="1"/>
          </p:cNvPicPr>
          <p:nvPr/>
        </p:nvPicPr>
        <p:blipFill>
          <a:blip r:embed="rId59">
            <a:extLst>
              <a:ext uri="{28A0092B-C50C-407E-A947-70E740481C1C}">
                <a14:useLocalDpi xmlns:a14="http://schemas.microsoft.com/office/drawing/2010/main"/>
              </a:ext>
            </a:extLst>
          </a:blip>
          <a:stretch>
            <a:fillRect/>
          </a:stretch>
        </p:blipFill>
        <p:spPr>
          <a:xfrm>
            <a:off x="2590800" y="3352800"/>
            <a:ext cx="812800" cy="812800"/>
          </a:xfrm>
          <a:prstGeom prst="rect">
            <a:avLst/>
          </a:prstGeom>
        </p:spPr>
      </p:pic>
      <p:pic>
        <p:nvPicPr>
          <p:cNvPr id="60" name="Billede 59"/>
          <p:cNvPicPr>
            <a:picLocks noChangeAspect="1"/>
          </p:cNvPicPr>
          <p:nvPr/>
        </p:nvPicPr>
        <p:blipFill>
          <a:blip r:embed="rId60">
            <a:extLst>
              <a:ext uri="{28A0092B-C50C-407E-A947-70E740481C1C}">
                <a14:useLocalDpi xmlns:a14="http://schemas.microsoft.com/office/drawing/2010/main"/>
              </a:ext>
            </a:extLst>
          </a:blip>
          <a:stretch>
            <a:fillRect/>
          </a:stretch>
        </p:blipFill>
        <p:spPr>
          <a:xfrm>
            <a:off x="3403600" y="3352800"/>
            <a:ext cx="812800" cy="812800"/>
          </a:xfrm>
          <a:prstGeom prst="rect">
            <a:avLst/>
          </a:prstGeom>
        </p:spPr>
      </p:pic>
      <p:pic>
        <p:nvPicPr>
          <p:cNvPr id="61" name="Billede 60"/>
          <p:cNvPicPr>
            <a:picLocks noChangeAspect="1"/>
          </p:cNvPicPr>
          <p:nvPr/>
        </p:nvPicPr>
        <p:blipFill>
          <a:blip r:embed="rId61">
            <a:extLst>
              <a:ext uri="{28A0092B-C50C-407E-A947-70E740481C1C}">
                <a14:useLocalDpi xmlns:a14="http://schemas.microsoft.com/office/drawing/2010/main"/>
              </a:ext>
            </a:extLst>
          </a:blip>
          <a:stretch>
            <a:fillRect/>
          </a:stretch>
        </p:blipFill>
        <p:spPr>
          <a:xfrm>
            <a:off x="4216400" y="3352800"/>
            <a:ext cx="812800" cy="812800"/>
          </a:xfrm>
          <a:prstGeom prst="rect">
            <a:avLst/>
          </a:prstGeom>
        </p:spPr>
      </p:pic>
      <p:pic>
        <p:nvPicPr>
          <p:cNvPr id="62" name="Billede 61"/>
          <p:cNvPicPr>
            <a:picLocks noChangeAspect="1"/>
          </p:cNvPicPr>
          <p:nvPr/>
        </p:nvPicPr>
        <p:blipFill>
          <a:blip r:embed="rId62">
            <a:extLst>
              <a:ext uri="{28A0092B-C50C-407E-A947-70E740481C1C}">
                <a14:useLocalDpi xmlns:a14="http://schemas.microsoft.com/office/drawing/2010/main"/>
              </a:ext>
            </a:extLst>
          </a:blip>
          <a:stretch>
            <a:fillRect/>
          </a:stretch>
        </p:blipFill>
        <p:spPr>
          <a:xfrm>
            <a:off x="5029200" y="3352800"/>
            <a:ext cx="812800" cy="812800"/>
          </a:xfrm>
          <a:prstGeom prst="rect">
            <a:avLst/>
          </a:prstGeom>
        </p:spPr>
      </p:pic>
      <p:pic>
        <p:nvPicPr>
          <p:cNvPr id="63" name="Billede 62"/>
          <p:cNvPicPr>
            <a:picLocks noChangeAspect="1"/>
          </p:cNvPicPr>
          <p:nvPr/>
        </p:nvPicPr>
        <p:blipFill>
          <a:blip r:embed="rId63">
            <a:extLst>
              <a:ext uri="{28A0092B-C50C-407E-A947-70E740481C1C}">
                <a14:useLocalDpi xmlns:a14="http://schemas.microsoft.com/office/drawing/2010/main"/>
              </a:ext>
            </a:extLst>
          </a:blip>
          <a:stretch>
            <a:fillRect/>
          </a:stretch>
        </p:blipFill>
        <p:spPr>
          <a:xfrm>
            <a:off x="5842000" y="3352800"/>
            <a:ext cx="812800" cy="812800"/>
          </a:xfrm>
          <a:prstGeom prst="rect">
            <a:avLst/>
          </a:prstGeom>
        </p:spPr>
      </p:pic>
      <p:pic>
        <p:nvPicPr>
          <p:cNvPr id="64" name="Billede 63"/>
          <p:cNvPicPr>
            <a:picLocks noChangeAspect="1"/>
          </p:cNvPicPr>
          <p:nvPr/>
        </p:nvPicPr>
        <p:blipFill>
          <a:blip r:embed="rId64">
            <a:extLst>
              <a:ext uri="{28A0092B-C50C-407E-A947-70E740481C1C}">
                <a14:useLocalDpi xmlns:a14="http://schemas.microsoft.com/office/drawing/2010/main"/>
              </a:ext>
            </a:extLst>
          </a:blip>
          <a:stretch>
            <a:fillRect/>
          </a:stretch>
        </p:blipFill>
        <p:spPr>
          <a:xfrm>
            <a:off x="6654800" y="3352800"/>
            <a:ext cx="812800" cy="812800"/>
          </a:xfrm>
          <a:prstGeom prst="rect">
            <a:avLst/>
          </a:prstGeom>
        </p:spPr>
      </p:pic>
      <p:pic>
        <p:nvPicPr>
          <p:cNvPr id="65" name="Billede 64"/>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7467600" y="3352800"/>
            <a:ext cx="812800" cy="812800"/>
          </a:xfrm>
          <a:prstGeom prst="rect">
            <a:avLst/>
          </a:prstGeom>
        </p:spPr>
      </p:pic>
      <p:pic>
        <p:nvPicPr>
          <p:cNvPr id="66" name="Billede 65"/>
          <p:cNvPicPr>
            <a:picLocks noChangeAspect="1"/>
          </p:cNvPicPr>
          <p:nvPr/>
        </p:nvPicPr>
        <p:blipFill>
          <a:blip r:embed="rId65">
            <a:extLst>
              <a:ext uri="{28A0092B-C50C-407E-A947-70E740481C1C}">
                <a14:useLocalDpi xmlns:a14="http://schemas.microsoft.com/office/drawing/2010/main"/>
              </a:ext>
            </a:extLst>
          </a:blip>
          <a:stretch>
            <a:fillRect/>
          </a:stretch>
        </p:blipFill>
        <p:spPr>
          <a:xfrm>
            <a:off x="8280400" y="3352800"/>
            <a:ext cx="812800" cy="812800"/>
          </a:xfrm>
          <a:prstGeom prst="rect">
            <a:avLst/>
          </a:prstGeom>
        </p:spPr>
      </p:pic>
      <p:pic>
        <p:nvPicPr>
          <p:cNvPr id="67" name="Billede 66"/>
          <p:cNvPicPr>
            <a:picLocks noChangeAspect="1"/>
          </p:cNvPicPr>
          <p:nvPr/>
        </p:nvPicPr>
        <p:blipFill>
          <a:blip r:embed="rId66">
            <a:extLst>
              <a:ext uri="{28A0092B-C50C-407E-A947-70E740481C1C}">
                <a14:useLocalDpi xmlns:a14="http://schemas.microsoft.com/office/drawing/2010/main"/>
              </a:ext>
            </a:extLst>
          </a:blip>
          <a:stretch>
            <a:fillRect/>
          </a:stretch>
        </p:blipFill>
        <p:spPr>
          <a:xfrm>
            <a:off x="9093200" y="3352800"/>
            <a:ext cx="812800" cy="812800"/>
          </a:xfrm>
          <a:prstGeom prst="rect">
            <a:avLst/>
          </a:prstGeom>
        </p:spPr>
      </p:pic>
      <p:pic>
        <p:nvPicPr>
          <p:cNvPr id="68" name="Billede 67"/>
          <p:cNvPicPr>
            <a:picLocks noChangeAspect="1"/>
          </p:cNvPicPr>
          <p:nvPr/>
        </p:nvPicPr>
        <p:blipFill>
          <a:blip r:embed="rId67">
            <a:extLst>
              <a:ext uri="{28A0092B-C50C-407E-A947-70E740481C1C}">
                <a14:useLocalDpi xmlns:a14="http://schemas.microsoft.com/office/drawing/2010/main"/>
              </a:ext>
            </a:extLst>
          </a:blip>
          <a:stretch>
            <a:fillRect/>
          </a:stretch>
        </p:blipFill>
        <p:spPr>
          <a:xfrm>
            <a:off x="9906000" y="3352800"/>
            <a:ext cx="812800" cy="812800"/>
          </a:xfrm>
          <a:prstGeom prst="rect">
            <a:avLst/>
          </a:prstGeom>
        </p:spPr>
      </p:pic>
      <p:pic>
        <p:nvPicPr>
          <p:cNvPr id="69" name="Billede 68"/>
          <p:cNvPicPr>
            <a:picLocks noChangeAspect="1"/>
          </p:cNvPicPr>
          <p:nvPr/>
        </p:nvPicPr>
        <p:blipFill>
          <a:blip r:embed="rId68">
            <a:extLst>
              <a:ext uri="{28A0092B-C50C-407E-A947-70E740481C1C}">
                <a14:useLocalDpi xmlns:a14="http://schemas.microsoft.com/office/drawing/2010/main"/>
              </a:ext>
            </a:extLst>
          </a:blip>
          <a:stretch>
            <a:fillRect/>
          </a:stretch>
        </p:blipFill>
        <p:spPr>
          <a:xfrm>
            <a:off x="10718800" y="3352800"/>
            <a:ext cx="812800" cy="812800"/>
          </a:xfrm>
          <a:prstGeom prst="rect">
            <a:avLst/>
          </a:prstGeom>
        </p:spPr>
      </p:pic>
      <p:pic>
        <p:nvPicPr>
          <p:cNvPr id="70" name="Billede 69"/>
          <p:cNvPicPr>
            <a:picLocks noChangeAspect="1"/>
          </p:cNvPicPr>
          <p:nvPr/>
        </p:nvPicPr>
        <p:blipFill>
          <a:blip r:embed="rId69">
            <a:extLst>
              <a:ext uri="{28A0092B-C50C-407E-A947-70E740481C1C}">
                <a14:useLocalDpi xmlns:a14="http://schemas.microsoft.com/office/drawing/2010/main"/>
              </a:ext>
            </a:extLst>
          </a:blip>
          <a:stretch>
            <a:fillRect/>
          </a:stretch>
        </p:blipFill>
        <p:spPr>
          <a:xfrm>
            <a:off x="152400" y="4165600"/>
            <a:ext cx="812800" cy="812800"/>
          </a:xfrm>
          <a:prstGeom prst="rect">
            <a:avLst/>
          </a:prstGeom>
        </p:spPr>
      </p:pic>
      <p:pic>
        <p:nvPicPr>
          <p:cNvPr id="71" name="Billede 70"/>
          <p:cNvPicPr>
            <a:picLocks noChangeAspect="1"/>
          </p:cNvPicPr>
          <p:nvPr/>
        </p:nvPicPr>
        <p:blipFill>
          <a:blip r:embed="rId70">
            <a:extLst>
              <a:ext uri="{28A0092B-C50C-407E-A947-70E740481C1C}">
                <a14:useLocalDpi xmlns:a14="http://schemas.microsoft.com/office/drawing/2010/main"/>
              </a:ext>
            </a:extLst>
          </a:blip>
          <a:stretch>
            <a:fillRect/>
          </a:stretch>
        </p:blipFill>
        <p:spPr>
          <a:xfrm>
            <a:off x="965200" y="4165600"/>
            <a:ext cx="812800" cy="812800"/>
          </a:xfrm>
          <a:prstGeom prst="rect">
            <a:avLst/>
          </a:prstGeom>
        </p:spPr>
      </p:pic>
      <p:pic>
        <p:nvPicPr>
          <p:cNvPr id="72" name="Billede 71"/>
          <p:cNvPicPr>
            <a:picLocks noChangeAspect="1"/>
          </p:cNvPicPr>
          <p:nvPr/>
        </p:nvPicPr>
        <p:blipFill>
          <a:blip r:embed="rId71">
            <a:extLst>
              <a:ext uri="{28A0092B-C50C-407E-A947-70E740481C1C}">
                <a14:useLocalDpi xmlns:a14="http://schemas.microsoft.com/office/drawing/2010/main"/>
              </a:ext>
            </a:extLst>
          </a:blip>
          <a:stretch>
            <a:fillRect/>
          </a:stretch>
        </p:blipFill>
        <p:spPr>
          <a:xfrm>
            <a:off x="1778000" y="4165600"/>
            <a:ext cx="812800" cy="812800"/>
          </a:xfrm>
          <a:prstGeom prst="rect">
            <a:avLst/>
          </a:prstGeom>
        </p:spPr>
      </p:pic>
      <p:pic>
        <p:nvPicPr>
          <p:cNvPr id="73" name="Billede 72"/>
          <p:cNvPicPr>
            <a:picLocks noChangeAspect="1"/>
          </p:cNvPicPr>
          <p:nvPr/>
        </p:nvPicPr>
        <p:blipFill>
          <a:blip r:embed="rId72">
            <a:extLst>
              <a:ext uri="{28A0092B-C50C-407E-A947-70E740481C1C}">
                <a14:useLocalDpi xmlns:a14="http://schemas.microsoft.com/office/drawing/2010/main"/>
              </a:ext>
            </a:extLst>
          </a:blip>
          <a:stretch>
            <a:fillRect/>
          </a:stretch>
        </p:blipFill>
        <p:spPr>
          <a:xfrm>
            <a:off x="2590800" y="4165600"/>
            <a:ext cx="812800" cy="812800"/>
          </a:xfrm>
          <a:prstGeom prst="rect">
            <a:avLst/>
          </a:prstGeom>
        </p:spPr>
      </p:pic>
      <p:pic>
        <p:nvPicPr>
          <p:cNvPr id="74" name="Billede 73"/>
          <p:cNvPicPr>
            <a:picLocks noChangeAspect="1"/>
          </p:cNvPicPr>
          <p:nvPr/>
        </p:nvPicPr>
        <p:blipFill>
          <a:blip r:embed="rId73">
            <a:extLst>
              <a:ext uri="{28A0092B-C50C-407E-A947-70E740481C1C}">
                <a14:useLocalDpi xmlns:a14="http://schemas.microsoft.com/office/drawing/2010/main"/>
              </a:ext>
            </a:extLst>
          </a:blip>
          <a:stretch>
            <a:fillRect/>
          </a:stretch>
        </p:blipFill>
        <p:spPr>
          <a:xfrm>
            <a:off x="3403600" y="4165600"/>
            <a:ext cx="812800" cy="812800"/>
          </a:xfrm>
          <a:prstGeom prst="rect">
            <a:avLst/>
          </a:prstGeom>
        </p:spPr>
      </p:pic>
      <p:pic>
        <p:nvPicPr>
          <p:cNvPr id="75" name="Billede 74"/>
          <p:cNvPicPr>
            <a:picLocks noChangeAspect="1"/>
          </p:cNvPicPr>
          <p:nvPr/>
        </p:nvPicPr>
        <p:blipFill>
          <a:blip r:embed="rId74">
            <a:extLst>
              <a:ext uri="{28A0092B-C50C-407E-A947-70E740481C1C}">
                <a14:useLocalDpi xmlns:a14="http://schemas.microsoft.com/office/drawing/2010/main"/>
              </a:ext>
            </a:extLst>
          </a:blip>
          <a:stretch>
            <a:fillRect/>
          </a:stretch>
        </p:blipFill>
        <p:spPr>
          <a:xfrm>
            <a:off x="4216400" y="4165600"/>
            <a:ext cx="812800" cy="812800"/>
          </a:xfrm>
          <a:prstGeom prst="rect">
            <a:avLst/>
          </a:prstGeom>
        </p:spPr>
      </p:pic>
      <p:pic>
        <p:nvPicPr>
          <p:cNvPr id="76" name="Billede 75"/>
          <p:cNvPicPr>
            <a:picLocks noChangeAspect="1"/>
          </p:cNvPicPr>
          <p:nvPr/>
        </p:nvPicPr>
        <p:blipFill>
          <a:blip r:embed="rId75">
            <a:extLst>
              <a:ext uri="{28A0092B-C50C-407E-A947-70E740481C1C}">
                <a14:useLocalDpi xmlns:a14="http://schemas.microsoft.com/office/drawing/2010/main"/>
              </a:ext>
            </a:extLst>
          </a:blip>
          <a:stretch>
            <a:fillRect/>
          </a:stretch>
        </p:blipFill>
        <p:spPr>
          <a:xfrm>
            <a:off x="5029200" y="4165600"/>
            <a:ext cx="812800" cy="812800"/>
          </a:xfrm>
          <a:prstGeom prst="rect">
            <a:avLst/>
          </a:prstGeom>
        </p:spPr>
      </p:pic>
      <p:pic>
        <p:nvPicPr>
          <p:cNvPr id="77" name="Billede 76"/>
          <p:cNvPicPr>
            <a:picLocks noChangeAspect="1"/>
          </p:cNvPicPr>
          <p:nvPr/>
        </p:nvPicPr>
        <p:blipFill>
          <a:blip r:embed="rId76">
            <a:extLst>
              <a:ext uri="{28A0092B-C50C-407E-A947-70E740481C1C}">
                <a14:useLocalDpi xmlns:a14="http://schemas.microsoft.com/office/drawing/2010/main"/>
              </a:ext>
            </a:extLst>
          </a:blip>
          <a:stretch>
            <a:fillRect/>
          </a:stretch>
        </p:blipFill>
        <p:spPr>
          <a:xfrm>
            <a:off x="5842000" y="4165600"/>
            <a:ext cx="812800" cy="812800"/>
          </a:xfrm>
          <a:prstGeom prst="rect">
            <a:avLst/>
          </a:prstGeom>
        </p:spPr>
      </p:pic>
      <p:pic>
        <p:nvPicPr>
          <p:cNvPr id="78" name="Billede 77"/>
          <p:cNvPicPr>
            <a:picLocks noChangeAspect="1"/>
          </p:cNvPicPr>
          <p:nvPr/>
        </p:nvPicPr>
        <p:blipFill>
          <a:blip r:embed="rId77">
            <a:extLst>
              <a:ext uri="{28A0092B-C50C-407E-A947-70E740481C1C}">
                <a14:useLocalDpi xmlns:a14="http://schemas.microsoft.com/office/drawing/2010/main"/>
              </a:ext>
            </a:extLst>
          </a:blip>
          <a:stretch>
            <a:fillRect/>
          </a:stretch>
        </p:blipFill>
        <p:spPr>
          <a:xfrm>
            <a:off x="6654800" y="4165600"/>
            <a:ext cx="812800" cy="812800"/>
          </a:xfrm>
          <a:prstGeom prst="rect">
            <a:avLst/>
          </a:prstGeom>
        </p:spPr>
      </p:pic>
      <p:pic>
        <p:nvPicPr>
          <p:cNvPr id="79" name="Billede 78"/>
          <p:cNvPicPr>
            <a:picLocks noChangeAspect="1"/>
          </p:cNvPicPr>
          <p:nvPr/>
        </p:nvPicPr>
        <p:blipFill>
          <a:blip r:embed="rId78">
            <a:extLst>
              <a:ext uri="{28A0092B-C50C-407E-A947-70E740481C1C}">
                <a14:useLocalDpi xmlns:a14="http://schemas.microsoft.com/office/drawing/2010/main"/>
              </a:ext>
            </a:extLst>
          </a:blip>
          <a:stretch>
            <a:fillRect/>
          </a:stretch>
        </p:blipFill>
        <p:spPr>
          <a:xfrm>
            <a:off x="7467600" y="4165600"/>
            <a:ext cx="812800" cy="812800"/>
          </a:xfrm>
          <a:prstGeom prst="rect">
            <a:avLst/>
          </a:prstGeom>
        </p:spPr>
      </p:pic>
      <p:pic>
        <p:nvPicPr>
          <p:cNvPr id="80" name="Billede 79"/>
          <p:cNvPicPr>
            <a:picLocks noChangeAspect="1"/>
          </p:cNvPicPr>
          <p:nvPr/>
        </p:nvPicPr>
        <p:blipFill>
          <a:blip r:embed="rId79">
            <a:extLst>
              <a:ext uri="{28A0092B-C50C-407E-A947-70E740481C1C}">
                <a14:useLocalDpi xmlns:a14="http://schemas.microsoft.com/office/drawing/2010/main"/>
              </a:ext>
            </a:extLst>
          </a:blip>
          <a:stretch>
            <a:fillRect/>
          </a:stretch>
        </p:blipFill>
        <p:spPr>
          <a:xfrm>
            <a:off x="8280400" y="4165600"/>
            <a:ext cx="812800" cy="812800"/>
          </a:xfrm>
          <a:prstGeom prst="rect">
            <a:avLst/>
          </a:prstGeom>
        </p:spPr>
      </p:pic>
      <p:pic>
        <p:nvPicPr>
          <p:cNvPr id="81" name="Billede 80"/>
          <p:cNvPicPr>
            <a:picLocks noChangeAspect="1"/>
          </p:cNvPicPr>
          <p:nvPr/>
        </p:nvPicPr>
        <p:blipFill>
          <a:blip r:embed="rId80">
            <a:extLst>
              <a:ext uri="{28A0092B-C50C-407E-A947-70E740481C1C}">
                <a14:useLocalDpi xmlns:a14="http://schemas.microsoft.com/office/drawing/2010/main"/>
              </a:ext>
            </a:extLst>
          </a:blip>
          <a:stretch>
            <a:fillRect/>
          </a:stretch>
        </p:blipFill>
        <p:spPr>
          <a:xfrm>
            <a:off x="9093200" y="4165600"/>
            <a:ext cx="812800" cy="812800"/>
          </a:xfrm>
          <a:prstGeom prst="rect">
            <a:avLst/>
          </a:prstGeom>
        </p:spPr>
      </p:pic>
      <p:pic>
        <p:nvPicPr>
          <p:cNvPr id="82" name="Billede 81"/>
          <p:cNvPicPr>
            <a:picLocks noChangeAspect="1"/>
          </p:cNvPicPr>
          <p:nvPr/>
        </p:nvPicPr>
        <p:blipFill>
          <a:blip r:embed="rId81">
            <a:extLst>
              <a:ext uri="{28A0092B-C50C-407E-A947-70E740481C1C}">
                <a14:useLocalDpi xmlns:a14="http://schemas.microsoft.com/office/drawing/2010/main"/>
              </a:ext>
            </a:extLst>
          </a:blip>
          <a:stretch>
            <a:fillRect/>
          </a:stretch>
        </p:blipFill>
        <p:spPr>
          <a:xfrm>
            <a:off x="9906000" y="4165600"/>
            <a:ext cx="812800" cy="812800"/>
          </a:xfrm>
          <a:prstGeom prst="rect">
            <a:avLst/>
          </a:prstGeom>
        </p:spPr>
      </p:pic>
      <p:pic>
        <p:nvPicPr>
          <p:cNvPr id="83" name="Billede 82"/>
          <p:cNvPicPr>
            <a:picLocks noChangeAspect="1"/>
          </p:cNvPicPr>
          <p:nvPr/>
        </p:nvPicPr>
        <p:blipFill>
          <a:blip r:embed="rId82">
            <a:extLst>
              <a:ext uri="{28A0092B-C50C-407E-A947-70E740481C1C}">
                <a14:useLocalDpi xmlns:a14="http://schemas.microsoft.com/office/drawing/2010/main"/>
              </a:ext>
            </a:extLst>
          </a:blip>
          <a:stretch>
            <a:fillRect/>
          </a:stretch>
        </p:blipFill>
        <p:spPr>
          <a:xfrm>
            <a:off x="10718800" y="4165600"/>
            <a:ext cx="812800" cy="812800"/>
          </a:xfrm>
          <a:prstGeom prst="rect">
            <a:avLst/>
          </a:prstGeom>
        </p:spPr>
      </p:pic>
      <p:pic>
        <p:nvPicPr>
          <p:cNvPr id="84" name="Billede 83"/>
          <p:cNvPicPr>
            <a:picLocks noChangeAspect="1"/>
          </p:cNvPicPr>
          <p:nvPr/>
        </p:nvPicPr>
        <p:blipFill>
          <a:blip r:embed="rId83">
            <a:extLst>
              <a:ext uri="{28A0092B-C50C-407E-A947-70E740481C1C}">
                <a14:useLocalDpi xmlns:a14="http://schemas.microsoft.com/office/drawing/2010/main"/>
              </a:ext>
            </a:extLst>
          </a:blip>
          <a:stretch>
            <a:fillRect/>
          </a:stretch>
        </p:blipFill>
        <p:spPr>
          <a:xfrm>
            <a:off x="152400" y="4978400"/>
            <a:ext cx="812800" cy="812800"/>
          </a:xfrm>
          <a:prstGeom prst="rect">
            <a:avLst/>
          </a:prstGeom>
        </p:spPr>
      </p:pic>
      <p:pic>
        <p:nvPicPr>
          <p:cNvPr id="85" name="Billede 84"/>
          <p:cNvPicPr>
            <a:picLocks noChangeAspect="1"/>
          </p:cNvPicPr>
          <p:nvPr/>
        </p:nvPicPr>
        <p:blipFill>
          <a:blip r:embed="rId84">
            <a:extLst>
              <a:ext uri="{28A0092B-C50C-407E-A947-70E740481C1C}">
                <a14:useLocalDpi xmlns:a14="http://schemas.microsoft.com/office/drawing/2010/main"/>
              </a:ext>
            </a:extLst>
          </a:blip>
          <a:stretch>
            <a:fillRect/>
          </a:stretch>
        </p:blipFill>
        <p:spPr>
          <a:xfrm>
            <a:off x="965200" y="4978400"/>
            <a:ext cx="812800" cy="812800"/>
          </a:xfrm>
          <a:prstGeom prst="rect">
            <a:avLst/>
          </a:prstGeom>
        </p:spPr>
      </p:pic>
      <p:pic>
        <p:nvPicPr>
          <p:cNvPr id="86" name="Billede 85"/>
          <p:cNvPicPr>
            <a:picLocks noChangeAspect="1"/>
          </p:cNvPicPr>
          <p:nvPr/>
        </p:nvPicPr>
        <p:blipFill>
          <a:blip r:embed="rId85">
            <a:extLst>
              <a:ext uri="{28A0092B-C50C-407E-A947-70E740481C1C}">
                <a14:useLocalDpi xmlns:a14="http://schemas.microsoft.com/office/drawing/2010/main"/>
              </a:ext>
            </a:extLst>
          </a:blip>
          <a:stretch>
            <a:fillRect/>
          </a:stretch>
        </p:blipFill>
        <p:spPr>
          <a:xfrm>
            <a:off x="1778000" y="4978400"/>
            <a:ext cx="812800" cy="812800"/>
          </a:xfrm>
          <a:prstGeom prst="rect">
            <a:avLst/>
          </a:prstGeom>
        </p:spPr>
      </p:pic>
      <p:pic>
        <p:nvPicPr>
          <p:cNvPr id="87" name="Billede 86"/>
          <p:cNvPicPr>
            <a:picLocks noChangeAspect="1"/>
          </p:cNvPicPr>
          <p:nvPr/>
        </p:nvPicPr>
        <p:blipFill>
          <a:blip r:embed="rId86">
            <a:extLst>
              <a:ext uri="{28A0092B-C50C-407E-A947-70E740481C1C}">
                <a14:useLocalDpi xmlns:a14="http://schemas.microsoft.com/office/drawing/2010/main"/>
              </a:ext>
            </a:extLst>
          </a:blip>
          <a:stretch>
            <a:fillRect/>
          </a:stretch>
        </p:blipFill>
        <p:spPr>
          <a:xfrm>
            <a:off x="2590800" y="4978400"/>
            <a:ext cx="812800" cy="812800"/>
          </a:xfrm>
          <a:prstGeom prst="rect">
            <a:avLst/>
          </a:prstGeom>
        </p:spPr>
      </p:pic>
      <p:pic>
        <p:nvPicPr>
          <p:cNvPr id="88" name="Billede 87"/>
          <p:cNvPicPr>
            <a:picLocks noChangeAspect="1"/>
          </p:cNvPicPr>
          <p:nvPr/>
        </p:nvPicPr>
        <p:blipFill>
          <a:blip r:embed="rId87">
            <a:extLst>
              <a:ext uri="{28A0092B-C50C-407E-A947-70E740481C1C}">
                <a14:useLocalDpi xmlns:a14="http://schemas.microsoft.com/office/drawing/2010/main"/>
              </a:ext>
            </a:extLst>
          </a:blip>
          <a:stretch>
            <a:fillRect/>
          </a:stretch>
        </p:blipFill>
        <p:spPr>
          <a:xfrm>
            <a:off x="3403600" y="4978400"/>
            <a:ext cx="812800" cy="812800"/>
          </a:xfrm>
          <a:prstGeom prst="rect">
            <a:avLst/>
          </a:prstGeom>
        </p:spPr>
      </p:pic>
      <p:pic>
        <p:nvPicPr>
          <p:cNvPr id="89" name="Billede 88"/>
          <p:cNvPicPr>
            <a:picLocks noChangeAspect="1"/>
          </p:cNvPicPr>
          <p:nvPr/>
        </p:nvPicPr>
        <p:blipFill>
          <a:blip r:embed="rId88">
            <a:extLst>
              <a:ext uri="{28A0092B-C50C-407E-A947-70E740481C1C}">
                <a14:useLocalDpi xmlns:a14="http://schemas.microsoft.com/office/drawing/2010/main"/>
              </a:ext>
            </a:extLst>
          </a:blip>
          <a:stretch>
            <a:fillRect/>
          </a:stretch>
        </p:blipFill>
        <p:spPr>
          <a:xfrm>
            <a:off x="4216400" y="4978400"/>
            <a:ext cx="812800" cy="812800"/>
          </a:xfrm>
          <a:prstGeom prst="rect">
            <a:avLst/>
          </a:prstGeom>
        </p:spPr>
      </p:pic>
      <p:pic>
        <p:nvPicPr>
          <p:cNvPr id="90" name="Billede 89"/>
          <p:cNvPicPr>
            <a:picLocks noChangeAspect="1"/>
          </p:cNvPicPr>
          <p:nvPr/>
        </p:nvPicPr>
        <p:blipFill>
          <a:blip r:embed="rId89">
            <a:extLst>
              <a:ext uri="{28A0092B-C50C-407E-A947-70E740481C1C}">
                <a14:useLocalDpi xmlns:a14="http://schemas.microsoft.com/office/drawing/2010/main"/>
              </a:ext>
            </a:extLst>
          </a:blip>
          <a:stretch>
            <a:fillRect/>
          </a:stretch>
        </p:blipFill>
        <p:spPr>
          <a:xfrm>
            <a:off x="5029200" y="4978400"/>
            <a:ext cx="812800" cy="812800"/>
          </a:xfrm>
          <a:prstGeom prst="rect">
            <a:avLst/>
          </a:prstGeom>
        </p:spPr>
      </p:pic>
      <p:pic>
        <p:nvPicPr>
          <p:cNvPr id="91" name="Billede 90"/>
          <p:cNvPicPr>
            <a:picLocks noChangeAspect="1"/>
          </p:cNvPicPr>
          <p:nvPr/>
        </p:nvPicPr>
        <p:blipFill>
          <a:blip r:embed="rId90">
            <a:extLst>
              <a:ext uri="{28A0092B-C50C-407E-A947-70E740481C1C}">
                <a14:useLocalDpi xmlns:a14="http://schemas.microsoft.com/office/drawing/2010/main"/>
              </a:ext>
            </a:extLst>
          </a:blip>
          <a:stretch>
            <a:fillRect/>
          </a:stretch>
        </p:blipFill>
        <p:spPr>
          <a:xfrm>
            <a:off x="5842000" y="4965700"/>
            <a:ext cx="812800" cy="812800"/>
          </a:xfrm>
          <a:prstGeom prst="rect">
            <a:avLst/>
          </a:prstGeom>
        </p:spPr>
      </p:pic>
      <p:pic>
        <p:nvPicPr>
          <p:cNvPr id="92" name="Billede 91"/>
          <p:cNvPicPr>
            <a:picLocks noChangeAspect="1"/>
          </p:cNvPicPr>
          <p:nvPr/>
        </p:nvPicPr>
        <p:blipFill>
          <a:blip r:embed="rId91">
            <a:extLst>
              <a:ext uri="{28A0092B-C50C-407E-A947-70E740481C1C}">
                <a14:useLocalDpi xmlns:a14="http://schemas.microsoft.com/office/drawing/2010/main"/>
              </a:ext>
            </a:extLst>
          </a:blip>
          <a:stretch>
            <a:fillRect/>
          </a:stretch>
        </p:blipFill>
        <p:spPr>
          <a:xfrm>
            <a:off x="6654800" y="4965700"/>
            <a:ext cx="812800" cy="812800"/>
          </a:xfrm>
          <a:prstGeom prst="rect">
            <a:avLst/>
          </a:prstGeom>
        </p:spPr>
      </p:pic>
      <p:pic>
        <p:nvPicPr>
          <p:cNvPr id="93" name="Billede 92"/>
          <p:cNvPicPr>
            <a:picLocks noChangeAspect="1"/>
          </p:cNvPicPr>
          <p:nvPr/>
        </p:nvPicPr>
        <p:blipFill>
          <a:blip r:embed="rId92">
            <a:extLst>
              <a:ext uri="{28A0092B-C50C-407E-A947-70E740481C1C}">
                <a14:useLocalDpi xmlns:a14="http://schemas.microsoft.com/office/drawing/2010/main"/>
              </a:ext>
            </a:extLst>
          </a:blip>
          <a:stretch>
            <a:fillRect/>
          </a:stretch>
        </p:blipFill>
        <p:spPr>
          <a:xfrm>
            <a:off x="7467600" y="4978400"/>
            <a:ext cx="812800" cy="812800"/>
          </a:xfrm>
          <a:prstGeom prst="rect">
            <a:avLst/>
          </a:prstGeom>
        </p:spPr>
      </p:pic>
      <p:pic>
        <p:nvPicPr>
          <p:cNvPr id="94" name="Billede 93"/>
          <p:cNvPicPr>
            <a:picLocks noChangeAspect="1"/>
          </p:cNvPicPr>
          <p:nvPr/>
        </p:nvPicPr>
        <p:blipFill>
          <a:blip r:embed="rId93">
            <a:extLst>
              <a:ext uri="{28A0092B-C50C-407E-A947-70E740481C1C}">
                <a14:useLocalDpi xmlns:a14="http://schemas.microsoft.com/office/drawing/2010/main"/>
              </a:ext>
            </a:extLst>
          </a:blip>
          <a:stretch>
            <a:fillRect/>
          </a:stretch>
        </p:blipFill>
        <p:spPr>
          <a:xfrm>
            <a:off x="8280400" y="4978400"/>
            <a:ext cx="812800" cy="812800"/>
          </a:xfrm>
          <a:prstGeom prst="rect">
            <a:avLst/>
          </a:prstGeom>
        </p:spPr>
      </p:pic>
      <p:pic>
        <p:nvPicPr>
          <p:cNvPr id="95" name="Billede 94"/>
          <p:cNvPicPr>
            <a:picLocks noChangeAspect="1"/>
          </p:cNvPicPr>
          <p:nvPr/>
        </p:nvPicPr>
        <p:blipFill>
          <a:blip r:embed="rId94">
            <a:extLst>
              <a:ext uri="{28A0092B-C50C-407E-A947-70E740481C1C}">
                <a14:useLocalDpi xmlns:a14="http://schemas.microsoft.com/office/drawing/2010/main"/>
              </a:ext>
            </a:extLst>
          </a:blip>
          <a:stretch>
            <a:fillRect/>
          </a:stretch>
        </p:blipFill>
        <p:spPr>
          <a:xfrm>
            <a:off x="9093200" y="4965700"/>
            <a:ext cx="812800" cy="812800"/>
          </a:xfrm>
          <a:prstGeom prst="rect">
            <a:avLst/>
          </a:prstGeom>
        </p:spPr>
      </p:pic>
      <p:pic>
        <p:nvPicPr>
          <p:cNvPr id="96" name="Billede 95"/>
          <p:cNvPicPr>
            <a:picLocks noChangeAspect="1"/>
          </p:cNvPicPr>
          <p:nvPr/>
        </p:nvPicPr>
        <p:blipFill>
          <a:blip r:embed="rId95">
            <a:extLst>
              <a:ext uri="{28A0092B-C50C-407E-A947-70E740481C1C}">
                <a14:useLocalDpi xmlns:a14="http://schemas.microsoft.com/office/drawing/2010/main"/>
              </a:ext>
            </a:extLst>
          </a:blip>
          <a:stretch>
            <a:fillRect/>
          </a:stretch>
        </p:blipFill>
        <p:spPr>
          <a:xfrm>
            <a:off x="9906000" y="4965700"/>
            <a:ext cx="812800" cy="812800"/>
          </a:xfrm>
          <a:prstGeom prst="rect">
            <a:avLst/>
          </a:prstGeom>
        </p:spPr>
      </p:pic>
      <p:pic>
        <p:nvPicPr>
          <p:cNvPr id="97" name="Billede 96"/>
          <p:cNvPicPr>
            <a:picLocks noChangeAspect="1"/>
          </p:cNvPicPr>
          <p:nvPr/>
        </p:nvPicPr>
        <p:blipFill>
          <a:blip r:embed="rId96">
            <a:extLst>
              <a:ext uri="{28A0092B-C50C-407E-A947-70E740481C1C}">
                <a14:useLocalDpi xmlns:a14="http://schemas.microsoft.com/office/drawing/2010/main"/>
              </a:ext>
            </a:extLst>
          </a:blip>
          <a:stretch>
            <a:fillRect/>
          </a:stretch>
        </p:blipFill>
        <p:spPr>
          <a:xfrm>
            <a:off x="10718800" y="4978400"/>
            <a:ext cx="812800" cy="812800"/>
          </a:xfrm>
          <a:prstGeom prst="rect">
            <a:avLst/>
          </a:prstGeom>
        </p:spPr>
      </p:pic>
      <p:pic>
        <p:nvPicPr>
          <p:cNvPr id="98" name="Billede 97"/>
          <p:cNvPicPr>
            <a:picLocks noChangeAspect="1"/>
          </p:cNvPicPr>
          <p:nvPr/>
        </p:nvPicPr>
        <p:blipFill>
          <a:blip r:embed="rId97">
            <a:extLst>
              <a:ext uri="{28A0092B-C50C-407E-A947-70E740481C1C}">
                <a14:useLocalDpi xmlns:a14="http://schemas.microsoft.com/office/drawing/2010/main"/>
              </a:ext>
            </a:extLst>
          </a:blip>
          <a:stretch>
            <a:fillRect/>
          </a:stretch>
        </p:blipFill>
        <p:spPr>
          <a:xfrm>
            <a:off x="152400" y="5778500"/>
            <a:ext cx="812800" cy="812800"/>
          </a:xfrm>
          <a:prstGeom prst="rect">
            <a:avLst/>
          </a:prstGeom>
        </p:spPr>
      </p:pic>
      <p:pic>
        <p:nvPicPr>
          <p:cNvPr id="99" name="Billede 98"/>
          <p:cNvPicPr>
            <a:picLocks noChangeAspect="1"/>
          </p:cNvPicPr>
          <p:nvPr/>
        </p:nvPicPr>
        <p:blipFill>
          <a:blip r:embed="rId98">
            <a:extLst>
              <a:ext uri="{28A0092B-C50C-407E-A947-70E740481C1C}">
                <a14:useLocalDpi xmlns:a14="http://schemas.microsoft.com/office/drawing/2010/main"/>
              </a:ext>
            </a:extLst>
          </a:blip>
          <a:stretch>
            <a:fillRect/>
          </a:stretch>
        </p:blipFill>
        <p:spPr>
          <a:xfrm>
            <a:off x="965200" y="5778500"/>
            <a:ext cx="812800" cy="812800"/>
          </a:xfrm>
          <a:prstGeom prst="rect">
            <a:avLst/>
          </a:prstGeom>
        </p:spPr>
      </p:pic>
      <p:pic>
        <p:nvPicPr>
          <p:cNvPr id="100" name="Billede 99"/>
          <p:cNvPicPr>
            <a:picLocks noChangeAspect="1"/>
          </p:cNvPicPr>
          <p:nvPr/>
        </p:nvPicPr>
        <p:blipFill>
          <a:blip r:embed="rId99">
            <a:extLst>
              <a:ext uri="{28A0092B-C50C-407E-A947-70E740481C1C}">
                <a14:useLocalDpi xmlns:a14="http://schemas.microsoft.com/office/drawing/2010/main"/>
              </a:ext>
            </a:extLst>
          </a:blip>
          <a:stretch>
            <a:fillRect/>
          </a:stretch>
        </p:blipFill>
        <p:spPr>
          <a:xfrm>
            <a:off x="1778000" y="5791200"/>
            <a:ext cx="812800" cy="812800"/>
          </a:xfrm>
          <a:prstGeom prst="rect">
            <a:avLst/>
          </a:prstGeom>
        </p:spPr>
      </p:pic>
      <p:pic>
        <p:nvPicPr>
          <p:cNvPr id="101" name="Billede 100"/>
          <p:cNvPicPr>
            <a:picLocks noChangeAspect="1"/>
          </p:cNvPicPr>
          <p:nvPr/>
        </p:nvPicPr>
        <p:blipFill>
          <a:blip r:embed="rId100">
            <a:extLst>
              <a:ext uri="{28A0092B-C50C-407E-A947-70E740481C1C}">
                <a14:useLocalDpi xmlns:a14="http://schemas.microsoft.com/office/drawing/2010/main"/>
              </a:ext>
            </a:extLst>
          </a:blip>
          <a:stretch>
            <a:fillRect/>
          </a:stretch>
        </p:blipFill>
        <p:spPr>
          <a:xfrm>
            <a:off x="2590800" y="5778500"/>
            <a:ext cx="812800" cy="812800"/>
          </a:xfrm>
          <a:prstGeom prst="rect">
            <a:avLst/>
          </a:prstGeom>
        </p:spPr>
      </p:pic>
      <p:pic>
        <p:nvPicPr>
          <p:cNvPr id="102" name="Billede 101"/>
          <p:cNvPicPr>
            <a:picLocks noChangeAspect="1"/>
          </p:cNvPicPr>
          <p:nvPr/>
        </p:nvPicPr>
        <p:blipFill>
          <a:blip r:embed="rId101">
            <a:extLst>
              <a:ext uri="{28A0092B-C50C-407E-A947-70E740481C1C}">
                <a14:useLocalDpi xmlns:a14="http://schemas.microsoft.com/office/drawing/2010/main"/>
              </a:ext>
            </a:extLst>
          </a:blip>
          <a:stretch>
            <a:fillRect/>
          </a:stretch>
        </p:blipFill>
        <p:spPr>
          <a:xfrm>
            <a:off x="3403600" y="5791200"/>
            <a:ext cx="812800" cy="812800"/>
          </a:xfrm>
          <a:prstGeom prst="rect">
            <a:avLst/>
          </a:prstGeom>
        </p:spPr>
      </p:pic>
      <p:pic>
        <p:nvPicPr>
          <p:cNvPr id="103" name="Billede 102"/>
          <p:cNvPicPr>
            <a:picLocks noChangeAspect="1"/>
          </p:cNvPicPr>
          <p:nvPr/>
        </p:nvPicPr>
        <p:blipFill>
          <a:blip r:embed="rId102">
            <a:extLst>
              <a:ext uri="{28A0092B-C50C-407E-A947-70E740481C1C}">
                <a14:useLocalDpi xmlns:a14="http://schemas.microsoft.com/office/drawing/2010/main"/>
              </a:ext>
            </a:extLst>
          </a:blip>
          <a:stretch>
            <a:fillRect/>
          </a:stretch>
        </p:blipFill>
        <p:spPr>
          <a:xfrm>
            <a:off x="4216400" y="5778500"/>
            <a:ext cx="812800" cy="812800"/>
          </a:xfrm>
          <a:prstGeom prst="rect">
            <a:avLst/>
          </a:prstGeom>
        </p:spPr>
      </p:pic>
      <p:pic>
        <p:nvPicPr>
          <p:cNvPr id="104" name="Billede 103"/>
          <p:cNvPicPr>
            <a:picLocks noChangeAspect="1"/>
          </p:cNvPicPr>
          <p:nvPr/>
        </p:nvPicPr>
        <p:blipFill>
          <a:blip r:embed="rId103">
            <a:extLst>
              <a:ext uri="{28A0092B-C50C-407E-A947-70E740481C1C}">
                <a14:useLocalDpi xmlns:a14="http://schemas.microsoft.com/office/drawing/2010/main"/>
              </a:ext>
            </a:extLst>
          </a:blip>
          <a:stretch>
            <a:fillRect/>
          </a:stretch>
        </p:blipFill>
        <p:spPr>
          <a:xfrm>
            <a:off x="5029200" y="5778500"/>
            <a:ext cx="812800" cy="812800"/>
          </a:xfrm>
          <a:prstGeom prst="rect">
            <a:avLst/>
          </a:prstGeom>
        </p:spPr>
      </p:pic>
      <p:pic>
        <p:nvPicPr>
          <p:cNvPr id="105" name="Billede 104"/>
          <p:cNvPicPr>
            <a:picLocks noChangeAspect="1"/>
          </p:cNvPicPr>
          <p:nvPr/>
        </p:nvPicPr>
        <p:blipFill>
          <a:blip r:embed="rId104">
            <a:extLst>
              <a:ext uri="{28A0092B-C50C-407E-A947-70E740481C1C}">
                <a14:useLocalDpi xmlns:a14="http://schemas.microsoft.com/office/drawing/2010/main"/>
              </a:ext>
            </a:extLst>
          </a:blip>
          <a:stretch>
            <a:fillRect/>
          </a:stretch>
        </p:blipFill>
        <p:spPr>
          <a:xfrm>
            <a:off x="5842000" y="5778500"/>
            <a:ext cx="812800" cy="812800"/>
          </a:xfrm>
          <a:prstGeom prst="rect">
            <a:avLst/>
          </a:prstGeom>
        </p:spPr>
      </p:pic>
      <p:sp>
        <p:nvSpPr>
          <p:cNvPr id="106" name="Title 105">
            <a:extLst>
              <a:ext uri="{FF2B5EF4-FFF2-40B4-BE49-F238E27FC236}">
                <a16:creationId xmlns:a16="http://schemas.microsoft.com/office/drawing/2014/main" id="{D82C83B2-A2DD-FB4C-BE24-F3E3448B04C8}"/>
              </a:ext>
            </a:extLst>
          </p:cNvPr>
          <p:cNvSpPr>
            <a:spLocks noGrp="1"/>
          </p:cNvSpPr>
          <p:nvPr>
            <p:ph type="title"/>
          </p:nvPr>
        </p:nvSpPr>
        <p:spPr/>
        <p:txBody>
          <a:bodyPr/>
          <a:lstStyle/>
          <a:p>
            <a:endParaRPr lang="en-GB"/>
          </a:p>
        </p:txBody>
      </p:sp>
      <p:sp>
        <p:nvSpPr>
          <p:cNvPr id="107" name="Text Placeholder 106">
            <a:extLst>
              <a:ext uri="{FF2B5EF4-FFF2-40B4-BE49-F238E27FC236}">
                <a16:creationId xmlns:a16="http://schemas.microsoft.com/office/drawing/2014/main" id="{60C1D54B-B560-354F-9D86-21807B911904}"/>
              </a:ext>
            </a:extLst>
          </p:cNvPr>
          <p:cNvSpPr>
            <a:spLocks noGrp="1"/>
          </p:cNvSpPr>
          <p:nvPr>
            <p:ph type="body" sz="quarter" idx="13"/>
          </p:nvPr>
        </p:nvSpPr>
        <p:spPr/>
        <p:txBody>
          <a:bodyPr/>
          <a:lstStyle/>
          <a:p>
            <a:endParaRPr lang="en-GB"/>
          </a:p>
        </p:txBody>
      </p:sp>
      <p:sp>
        <p:nvSpPr>
          <p:cNvPr id="108" name="Text Placeholder 107">
            <a:extLst>
              <a:ext uri="{FF2B5EF4-FFF2-40B4-BE49-F238E27FC236}">
                <a16:creationId xmlns:a16="http://schemas.microsoft.com/office/drawing/2014/main" id="{3A95F71E-90B5-EB45-B1B0-1611F2AFCED2}"/>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63331343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felt 5"/>
          <p:cNvSpPr txBox="1"/>
          <p:nvPr/>
        </p:nvSpPr>
        <p:spPr>
          <a:xfrm>
            <a:off x="6220496" y="167425"/>
            <a:ext cx="5795493" cy="369332"/>
          </a:xfrm>
          <a:prstGeom prst="rect">
            <a:avLst/>
          </a:prstGeom>
          <a:solidFill>
            <a:schemeClr val="tx1"/>
          </a:solidFill>
        </p:spPr>
        <p:txBody>
          <a:bodyPr wrap="square" rtlCol="0">
            <a:spAutoFit/>
          </a:bodyPr>
          <a:lstStyle/>
          <a:p>
            <a:endParaRPr lang="en-US" dirty="0">
              <a:latin typeface="Arial" panose="020B0604020202020204" pitchFamily="34" charset="0"/>
              <a:cs typeface="Arial" panose="020B0604020202020204" pitchFamily="34" charset="0"/>
            </a:endParaRPr>
          </a:p>
        </p:txBody>
      </p:sp>
      <p:pic>
        <p:nvPicPr>
          <p:cNvPr id="4" name="Billede 2"/>
          <p:cNvPicPr>
            <a:picLocks noChangeAspect="1"/>
          </p:cNvPicPr>
          <p:nvPr/>
        </p:nvPicPr>
        <p:blipFill>
          <a:blip r:embed="rId16" cstate="print">
            <a:lum bright="70000" contrast="-70000"/>
            <a:extLst>
              <a:ext uri="{28A0092B-C50C-407E-A947-70E740481C1C}">
                <a14:useLocalDpi xmlns:a14="http://schemas.microsoft.com/office/drawing/2010/main"/>
              </a:ext>
            </a:extLst>
          </a:blip>
          <a:stretch>
            <a:fillRect/>
          </a:stretch>
        </p:blipFill>
        <p:spPr>
          <a:xfrm>
            <a:off x="6792585" y="462665"/>
            <a:ext cx="709843" cy="709843"/>
          </a:xfrm>
          <a:prstGeom prst="rect">
            <a:avLst/>
          </a:prstGeom>
        </p:spPr>
      </p:pic>
      <p:pic>
        <p:nvPicPr>
          <p:cNvPr id="7" name="Picture 21"/>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668397" y="360269"/>
            <a:ext cx="812239" cy="812239"/>
          </a:xfrm>
          <a:prstGeom prst="rect">
            <a:avLst/>
          </a:prstGeom>
        </p:spPr>
      </p:pic>
      <p:pic>
        <p:nvPicPr>
          <p:cNvPr id="8" name="Picture 27"/>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788739" y="488083"/>
            <a:ext cx="659005" cy="659005"/>
          </a:xfrm>
          <a:prstGeom prst="rect">
            <a:avLst/>
          </a:prstGeom>
        </p:spPr>
      </p:pic>
      <p:pic>
        <p:nvPicPr>
          <p:cNvPr id="9" name="Picture 114" descr="https://cdn1.iconfinder.com/data/icons/business-finance-1-1/128/world-hand-512.png"/>
          <p:cNvPicPr>
            <a:picLocks noChangeAspect="1" noChangeArrowheads="1"/>
          </p:cNvPicPr>
          <p:nvPr/>
        </p:nvPicPr>
        <p:blipFill>
          <a:blip r:embed="rId19" cstate="print">
            <a:lum bright="70000" contrast="-70000"/>
            <a:extLst>
              <a:ext uri="{28A0092B-C50C-407E-A947-70E740481C1C}">
                <a14:useLocalDpi xmlns:a14="http://schemas.microsoft.com/office/drawing/2010/main"/>
              </a:ext>
            </a:extLst>
          </a:blip>
          <a:srcRect/>
          <a:stretch>
            <a:fillRect/>
          </a:stretch>
        </p:blipFill>
        <p:spPr bwMode="auto">
          <a:xfrm>
            <a:off x="9710792" y="462665"/>
            <a:ext cx="1021074" cy="10210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4" descr="https://d30y9cdsu7xlg0.cloudfront.net/png/488397-200.png"/>
          <p:cNvPicPr>
            <a:picLocks noChangeAspect="1" noChangeArrowheads="1"/>
          </p:cNvPicPr>
          <p:nvPr/>
        </p:nvPicPr>
        <p:blipFill>
          <a:blip r:embed="rId20">
            <a:lum bright="70000" contrast="-70000"/>
            <a:extLst>
              <a:ext uri="{28A0092B-C50C-407E-A947-70E740481C1C}">
                <a14:useLocalDpi xmlns:a14="http://schemas.microsoft.com/office/drawing/2010/main"/>
              </a:ext>
            </a:extLst>
          </a:blip>
          <a:srcRect/>
          <a:stretch>
            <a:fillRect/>
          </a:stretch>
        </p:blipFill>
        <p:spPr bwMode="auto">
          <a:xfrm>
            <a:off x="10848845" y="462665"/>
            <a:ext cx="1167144" cy="116714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s://d30y9cdsu7xlg0.cloudfront.net/png/366394-200.png"/>
          <p:cNvPicPr>
            <a:picLocks noChangeAspect="1" noChangeArrowheads="1"/>
          </p:cNvPicPr>
          <p:nvPr/>
        </p:nvPicPr>
        <p:blipFill>
          <a:blip r:embed="rId21">
            <a:lum bright="70000" contrast="-70000"/>
            <a:extLst>
              <a:ext uri="{28A0092B-C50C-407E-A947-70E740481C1C}">
                <a14:useLocalDpi xmlns:a14="http://schemas.microsoft.com/office/drawing/2010/main"/>
              </a:ext>
            </a:extLst>
          </a:blip>
          <a:srcRect/>
          <a:stretch>
            <a:fillRect/>
          </a:stretch>
        </p:blipFill>
        <p:spPr bwMode="auto">
          <a:xfrm>
            <a:off x="6445987" y="1365352"/>
            <a:ext cx="991482" cy="9914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0"/>
          <p:cNvPicPr>
            <a:picLocks noChangeAspect="1"/>
          </p:cNvPicPr>
          <p:nvPr/>
        </p:nvPicPr>
        <p:blipFill>
          <a:blip r:embed="rId22"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8657" y="1841511"/>
            <a:ext cx="360000" cy="360000"/>
          </a:xfrm>
          <a:prstGeom prst="rect">
            <a:avLst/>
          </a:prstGeom>
        </p:spPr>
      </p:pic>
      <p:pic>
        <p:nvPicPr>
          <p:cNvPr id="13" name="Picture 41"/>
          <p:cNvPicPr>
            <a:picLocks noChangeAspect="1"/>
          </p:cNvPicPr>
          <p:nvPr/>
        </p:nvPicPr>
        <p:blipFill>
          <a:blip r:embed="rId23"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97637" y="360269"/>
            <a:ext cx="360000" cy="360000"/>
          </a:xfrm>
          <a:prstGeom prst="rect">
            <a:avLst/>
          </a:prstGeom>
        </p:spPr>
      </p:pic>
      <p:pic>
        <p:nvPicPr>
          <p:cNvPr id="14" name="Picture 42"/>
          <p:cNvPicPr>
            <a:picLocks noChangeAspect="1"/>
          </p:cNvPicPr>
          <p:nvPr/>
        </p:nvPicPr>
        <p:blipFill>
          <a:blip r:embed="rId24"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97637" y="854016"/>
            <a:ext cx="360000" cy="360000"/>
          </a:xfrm>
          <a:prstGeom prst="rect">
            <a:avLst/>
          </a:prstGeom>
        </p:spPr>
      </p:pic>
      <p:pic>
        <p:nvPicPr>
          <p:cNvPr id="15" name="Picture 43"/>
          <p:cNvPicPr>
            <a:picLocks noChangeAspect="1"/>
          </p:cNvPicPr>
          <p:nvPr/>
        </p:nvPicPr>
        <p:blipFill>
          <a:blip r:embed="rId25"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97637" y="1347763"/>
            <a:ext cx="360000" cy="360000"/>
          </a:xfrm>
          <a:prstGeom prst="rect">
            <a:avLst/>
          </a:prstGeom>
        </p:spPr>
      </p:pic>
      <p:pic>
        <p:nvPicPr>
          <p:cNvPr id="16" name="Picture 44"/>
          <p:cNvPicPr>
            <a:picLocks noChangeAspect="1"/>
          </p:cNvPicPr>
          <p:nvPr/>
        </p:nvPicPr>
        <p:blipFill>
          <a:blip r:embed="rId26"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81513" y="3588831"/>
            <a:ext cx="360000" cy="360000"/>
          </a:xfrm>
          <a:prstGeom prst="rect">
            <a:avLst/>
          </a:prstGeom>
        </p:spPr>
      </p:pic>
      <p:pic>
        <p:nvPicPr>
          <p:cNvPr id="17" name="Picture 46"/>
          <p:cNvPicPr>
            <a:picLocks noChangeAspect="1"/>
          </p:cNvPicPr>
          <p:nvPr/>
        </p:nvPicPr>
        <p:blipFill>
          <a:blip r:embed="rId27"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91138" y="3099752"/>
            <a:ext cx="360000" cy="360000"/>
          </a:xfrm>
          <a:prstGeom prst="rect">
            <a:avLst/>
          </a:prstGeom>
        </p:spPr>
      </p:pic>
      <p:pic>
        <p:nvPicPr>
          <p:cNvPr id="18" name="Picture 51"/>
          <p:cNvPicPr>
            <a:picLocks noChangeAspect="1"/>
          </p:cNvPicPr>
          <p:nvPr/>
        </p:nvPicPr>
        <p:blipFill>
          <a:blip r:embed="rId28"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91138" y="4097162"/>
            <a:ext cx="360000" cy="360000"/>
          </a:xfrm>
          <a:prstGeom prst="rect">
            <a:avLst/>
          </a:prstGeom>
        </p:spPr>
      </p:pic>
      <p:pic>
        <p:nvPicPr>
          <p:cNvPr id="19" name="Picture 53"/>
          <p:cNvPicPr>
            <a:picLocks noChangeAspect="1"/>
          </p:cNvPicPr>
          <p:nvPr/>
        </p:nvPicPr>
        <p:blipFill>
          <a:blip r:embed="rId29" cstate="print">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91138" y="4595868"/>
            <a:ext cx="360000" cy="360000"/>
          </a:xfrm>
          <a:prstGeom prst="rect">
            <a:avLst/>
          </a:prstGeom>
        </p:spPr>
      </p:pic>
      <p:pic>
        <p:nvPicPr>
          <p:cNvPr id="20" name="Picture 82"/>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7606826" y="1347764"/>
            <a:ext cx="853748" cy="853748"/>
          </a:xfrm>
          <a:prstGeom prst="rect">
            <a:avLst/>
          </a:prstGeom>
        </p:spPr>
      </p:pic>
      <p:pic>
        <p:nvPicPr>
          <p:cNvPr id="21" name="Picture 83"/>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8644986" y="1502354"/>
            <a:ext cx="678313" cy="678313"/>
          </a:xfrm>
          <a:prstGeom prst="rect">
            <a:avLst/>
          </a:prstGeom>
        </p:spPr>
      </p:pic>
      <p:pic>
        <p:nvPicPr>
          <p:cNvPr id="22" name="Picture 7"/>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1065740" y="275962"/>
            <a:ext cx="697240" cy="697240"/>
          </a:xfrm>
          <a:prstGeom prst="rect">
            <a:avLst/>
          </a:prstGeom>
        </p:spPr>
      </p:pic>
      <p:pic>
        <p:nvPicPr>
          <p:cNvPr id="23" name="Picture 8"/>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1074397" y="1080209"/>
            <a:ext cx="584917" cy="584917"/>
          </a:xfrm>
          <a:prstGeom prst="rect">
            <a:avLst/>
          </a:prstGeom>
        </p:spPr>
      </p:pic>
      <p:pic>
        <p:nvPicPr>
          <p:cNvPr id="24" name="Picture 9"/>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1185947" y="1841510"/>
            <a:ext cx="395023" cy="395023"/>
          </a:xfrm>
          <a:prstGeom prst="rect">
            <a:avLst/>
          </a:prstGeom>
        </p:spPr>
      </p:pic>
      <p:pic>
        <p:nvPicPr>
          <p:cNvPr id="25" name="Picture 2"/>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972496" y="2412917"/>
            <a:ext cx="686835" cy="686835"/>
          </a:xfrm>
          <a:prstGeom prst="rect">
            <a:avLst/>
          </a:prstGeom>
        </p:spPr>
      </p:pic>
      <p:pic>
        <p:nvPicPr>
          <p:cNvPr id="26" name="Picture 4"/>
          <p:cNvPicPr>
            <a:picLocks noChangeAspect="1"/>
          </p:cNvPicPr>
          <p:nvPr/>
        </p:nvPicPr>
        <p:blipFill rotWithShape="1">
          <a:blip r:embed="rId36" cstate="hqprint">
            <a:extLst>
              <a:ext uri="{28A0092B-C50C-407E-A947-70E740481C1C}">
                <a14:useLocalDpi xmlns:a14="http://schemas.microsoft.com/office/drawing/2010/main"/>
              </a:ext>
            </a:extLst>
          </a:blip>
          <a:srcRect/>
          <a:stretch/>
        </p:blipFill>
        <p:spPr>
          <a:xfrm>
            <a:off x="803932" y="3171474"/>
            <a:ext cx="1125845" cy="883811"/>
          </a:xfrm>
          <a:prstGeom prst="rect">
            <a:avLst/>
          </a:prstGeom>
        </p:spPr>
      </p:pic>
      <p:pic>
        <p:nvPicPr>
          <p:cNvPr id="27" name="Picture 52"/>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972497" y="4266169"/>
            <a:ext cx="689700" cy="689700"/>
          </a:xfrm>
          <a:prstGeom prst="rect">
            <a:avLst/>
          </a:prstGeom>
        </p:spPr>
      </p:pic>
      <p:pic>
        <p:nvPicPr>
          <p:cNvPr id="28" name="Picture 5"/>
          <p:cNvPicPr>
            <a:picLocks noChangeAspect="1"/>
          </p:cNvPicPr>
          <p:nvPr/>
        </p:nvPicPr>
        <p:blipFill rotWithShape="1">
          <a:blip r:embed="rId38" cstate="hqprint">
            <a:extLst>
              <a:ext uri="{28A0092B-C50C-407E-A947-70E740481C1C}">
                <a14:useLocalDpi xmlns:a14="http://schemas.microsoft.com/office/drawing/2010/main"/>
              </a:ext>
            </a:extLst>
          </a:blip>
          <a:srcRect/>
          <a:stretch/>
        </p:blipFill>
        <p:spPr>
          <a:xfrm>
            <a:off x="1972806" y="381575"/>
            <a:ext cx="620754" cy="486014"/>
          </a:xfrm>
          <a:prstGeom prst="rect">
            <a:avLst/>
          </a:prstGeom>
        </p:spPr>
      </p:pic>
      <p:pic>
        <p:nvPicPr>
          <p:cNvPr id="29" name="Picture 6"/>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1768131" y="973202"/>
            <a:ext cx="856319" cy="656607"/>
          </a:xfrm>
          <a:prstGeom prst="rect">
            <a:avLst/>
          </a:prstGeom>
        </p:spPr>
      </p:pic>
      <p:pic>
        <p:nvPicPr>
          <p:cNvPr id="30" name="Picture 85"/>
          <p:cNvPicPr>
            <a:picLocks noChangeAspect="1"/>
          </p:cNvPicPr>
          <p:nvPr/>
        </p:nvPicPr>
        <p:blipFill>
          <a:blip r:embed="rId40" cstate="hqprint">
            <a:extLst>
              <a:ext uri="{28A0092B-C50C-407E-A947-70E740481C1C}">
                <a14:useLocalDpi xmlns:a14="http://schemas.microsoft.com/office/drawing/2010/main"/>
              </a:ext>
            </a:extLst>
          </a:blip>
          <a:stretch>
            <a:fillRect/>
          </a:stretch>
        </p:blipFill>
        <p:spPr>
          <a:xfrm>
            <a:off x="1929777" y="1735664"/>
            <a:ext cx="571693" cy="571693"/>
          </a:xfrm>
          <a:prstGeom prst="rect">
            <a:avLst/>
          </a:prstGeom>
        </p:spPr>
      </p:pic>
      <p:pic>
        <p:nvPicPr>
          <p:cNvPr id="31" name="Picture 7"/>
          <p:cNvPicPr>
            <a:picLocks noChangeAspect="1"/>
          </p:cNvPicPr>
          <p:nvPr/>
        </p:nvPicPr>
        <p:blipFill rotWithShape="1">
          <a:blip r:embed="rId41" cstate="hqprint">
            <a:extLst>
              <a:ext uri="{28A0092B-C50C-407E-A947-70E740481C1C}">
                <a14:useLocalDpi xmlns:a14="http://schemas.microsoft.com/office/drawing/2010/main"/>
              </a:ext>
            </a:extLst>
          </a:blip>
          <a:srcRect/>
          <a:stretch/>
        </p:blipFill>
        <p:spPr>
          <a:xfrm>
            <a:off x="1849193" y="2409254"/>
            <a:ext cx="867979" cy="745040"/>
          </a:xfrm>
          <a:prstGeom prst="rect">
            <a:avLst/>
          </a:prstGeom>
        </p:spPr>
      </p:pic>
      <p:pic>
        <p:nvPicPr>
          <p:cNvPr id="32" name="Picture 8"/>
          <p:cNvPicPr>
            <a:picLocks noChangeAspect="1"/>
          </p:cNvPicPr>
          <p:nvPr/>
        </p:nvPicPr>
        <p:blipFill rotWithShape="1">
          <a:blip r:embed="rId42" cstate="hqprint">
            <a:extLst>
              <a:ext uri="{28A0092B-C50C-407E-A947-70E740481C1C}">
                <a14:useLocalDpi xmlns:a14="http://schemas.microsoft.com/office/drawing/2010/main"/>
              </a:ext>
            </a:extLst>
          </a:blip>
          <a:srcRect/>
          <a:stretch/>
        </p:blipFill>
        <p:spPr>
          <a:xfrm>
            <a:off x="1897924" y="3284765"/>
            <a:ext cx="770515" cy="657228"/>
          </a:xfrm>
          <a:prstGeom prst="rect">
            <a:avLst/>
          </a:prstGeom>
        </p:spPr>
      </p:pic>
      <p:pic>
        <p:nvPicPr>
          <p:cNvPr id="33" name="Picture 10"/>
          <p:cNvPicPr>
            <a:picLocks noChangeAspect="1"/>
          </p:cNvPicPr>
          <p:nvPr/>
        </p:nvPicPr>
        <p:blipFill rotWithShape="1">
          <a:blip r:embed="rId43" cstate="hqprint">
            <a:extLst>
              <a:ext uri="{28A0092B-C50C-407E-A947-70E740481C1C}">
                <a14:useLocalDpi xmlns:a14="http://schemas.microsoft.com/office/drawing/2010/main"/>
              </a:ext>
            </a:extLst>
          </a:blip>
          <a:srcRect/>
          <a:stretch/>
        </p:blipFill>
        <p:spPr>
          <a:xfrm>
            <a:off x="1883556" y="4302916"/>
            <a:ext cx="759239" cy="625796"/>
          </a:xfrm>
          <a:prstGeom prst="rect">
            <a:avLst/>
          </a:prstGeom>
        </p:spPr>
      </p:pic>
      <p:pic>
        <p:nvPicPr>
          <p:cNvPr id="36" name="Billede 35" descr="factory.png"/>
          <p:cNvPicPr>
            <a:picLocks noChangeAspect="1"/>
          </p:cNvPicPr>
          <p:nvPr/>
        </p:nvPicPr>
        <p:blipFill>
          <a:blip r:embed="rId44" cstate="hqprint">
            <a:extLst>
              <a:ext uri="{28A0092B-C50C-407E-A947-70E740481C1C}">
                <a14:useLocalDpi xmlns:a14="http://schemas.microsoft.com/office/drawing/2010/main"/>
              </a:ext>
            </a:extLst>
          </a:blip>
          <a:stretch>
            <a:fillRect/>
          </a:stretch>
        </p:blipFill>
        <p:spPr>
          <a:xfrm>
            <a:off x="2846571" y="360269"/>
            <a:ext cx="598674" cy="598674"/>
          </a:xfrm>
          <a:prstGeom prst="rect">
            <a:avLst/>
          </a:prstGeom>
        </p:spPr>
      </p:pic>
      <p:pic>
        <p:nvPicPr>
          <p:cNvPr id="37" name="Billede 36" descr="negative-statistics-graph.png"/>
          <p:cNvPicPr>
            <a:picLocks noChangeAspect="1"/>
          </p:cNvPicPr>
          <p:nvPr/>
        </p:nvPicPr>
        <p:blipFill>
          <a:blip r:embed="rId45" cstate="hqprint">
            <a:extLst>
              <a:ext uri="{28A0092B-C50C-407E-A947-70E740481C1C}">
                <a14:useLocalDpi xmlns:a14="http://schemas.microsoft.com/office/drawing/2010/main"/>
              </a:ext>
            </a:extLst>
          </a:blip>
          <a:stretch>
            <a:fillRect/>
          </a:stretch>
        </p:blipFill>
        <p:spPr>
          <a:xfrm>
            <a:off x="2852392" y="1034016"/>
            <a:ext cx="595793" cy="595793"/>
          </a:xfrm>
          <a:prstGeom prst="rect">
            <a:avLst/>
          </a:prstGeom>
        </p:spPr>
      </p:pic>
      <p:pic>
        <p:nvPicPr>
          <p:cNvPr id="38" name="Billede 37" descr="global-symbol.png"/>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890572" y="1797265"/>
            <a:ext cx="590298" cy="590298"/>
          </a:xfrm>
          <a:prstGeom prst="rect">
            <a:avLst/>
          </a:prstGeom>
        </p:spPr>
      </p:pic>
      <p:pic>
        <p:nvPicPr>
          <p:cNvPr id="39" name="Billede 38" descr="growth.png"/>
          <p:cNvPicPr>
            <a:picLocks noChangeAspect="1"/>
          </p:cNvPicPr>
          <p:nvPr/>
        </p:nvPicPr>
        <p:blipFill>
          <a:blip r:embed="rId47" cstate="hqprint">
            <a:extLst>
              <a:ext uri="{28A0092B-C50C-407E-A947-70E740481C1C}">
                <a14:useLocalDpi xmlns:a14="http://schemas.microsoft.com/office/drawing/2010/main"/>
              </a:ext>
            </a:extLst>
          </a:blip>
          <a:stretch>
            <a:fillRect/>
          </a:stretch>
        </p:blipFill>
        <p:spPr>
          <a:xfrm>
            <a:off x="2828802" y="2520083"/>
            <a:ext cx="634211" cy="634211"/>
          </a:xfrm>
          <a:prstGeom prst="rect">
            <a:avLst/>
          </a:prstGeom>
        </p:spPr>
      </p:pic>
      <p:pic>
        <p:nvPicPr>
          <p:cNvPr id="40" name="Picture 78"/>
          <p:cNvPicPr>
            <a:picLocks noChangeAspect="1"/>
          </p:cNvPicPr>
          <p:nvPr/>
        </p:nvPicPr>
        <p:blipFill>
          <a:blip r:embed="rId48" cstate="hqprint">
            <a:extLst>
              <a:ext uri="{28A0092B-C50C-407E-A947-70E740481C1C}">
                <a14:useLocalDpi xmlns:a14="http://schemas.microsoft.com/office/drawing/2010/main"/>
              </a:ext>
            </a:extLst>
          </a:blip>
          <a:stretch>
            <a:fillRect/>
          </a:stretch>
        </p:blipFill>
        <p:spPr>
          <a:xfrm>
            <a:off x="2761561" y="3360884"/>
            <a:ext cx="683684" cy="683684"/>
          </a:xfrm>
          <a:prstGeom prst="rect">
            <a:avLst/>
          </a:prstGeom>
        </p:spPr>
      </p:pic>
      <p:pic>
        <p:nvPicPr>
          <p:cNvPr id="41" name="Picture 80"/>
          <p:cNvPicPr>
            <a:picLocks noChangeAspect="1"/>
          </p:cNvPicPr>
          <p:nvPr/>
        </p:nvPicPr>
        <p:blipFill>
          <a:blip r:embed="rId49" cstate="hqprint">
            <a:extLst>
              <a:ext uri="{28A0092B-C50C-407E-A947-70E740481C1C}">
                <a14:useLocalDpi xmlns:a14="http://schemas.microsoft.com/office/drawing/2010/main"/>
              </a:ext>
            </a:extLst>
          </a:blip>
          <a:stretch>
            <a:fillRect/>
          </a:stretch>
        </p:blipFill>
        <p:spPr>
          <a:xfrm>
            <a:off x="2717172" y="4184914"/>
            <a:ext cx="852210" cy="852210"/>
          </a:xfrm>
          <a:prstGeom prst="rect">
            <a:avLst/>
          </a:prstGeom>
        </p:spPr>
      </p:pic>
      <p:graphicFrame>
        <p:nvGraphicFramePr>
          <p:cNvPr id="76" name="Table 26"/>
          <p:cNvGraphicFramePr>
            <a:graphicFrameLocks noGrp="1"/>
          </p:cNvGraphicFramePr>
          <p:nvPr/>
        </p:nvGraphicFramePr>
        <p:xfrm>
          <a:off x="8556175" y="2409254"/>
          <a:ext cx="720000" cy="720000"/>
        </p:xfrm>
        <a:graphic>
          <a:graphicData uri="http://schemas.openxmlformats.org/drawingml/2006/table">
            <a:tbl>
              <a:tblPr>
                <a:tableStyleId>{F5AB1C69-6EDB-4FF4-983F-18BD219EF322}</a:tableStyleId>
              </a:tblPr>
              <a:tblGrid>
                <a:gridCol w="360000">
                  <a:extLst>
                    <a:ext uri="{9D8B030D-6E8A-4147-A177-3AD203B41FA5}">
                      <a16:colId xmlns:a16="http://schemas.microsoft.com/office/drawing/2014/main" val="649881481"/>
                    </a:ext>
                  </a:extLst>
                </a:gridCol>
                <a:gridCol w="360000">
                  <a:extLst>
                    <a:ext uri="{9D8B030D-6E8A-4147-A177-3AD203B41FA5}">
                      <a16:colId xmlns:a16="http://schemas.microsoft.com/office/drawing/2014/main" val="4224554424"/>
                    </a:ext>
                  </a:extLst>
                </a:gridCol>
              </a:tblGrid>
              <a:tr h="360000">
                <a:tc>
                  <a:txBody>
                    <a:bodyPr/>
                    <a:lstStyle/>
                    <a:p>
                      <a:endParaRPr lang="en-US" sz="300" b="0" i="0" dirty="0">
                        <a:ln>
                          <a:solidFill>
                            <a:srgbClr val="FF9966"/>
                          </a:solidFill>
                        </a:ln>
                        <a:latin typeface="Avenir Bog" charset="0"/>
                      </a:endParaRPr>
                    </a:p>
                  </a:txBody>
                  <a:tcPr>
                    <a:noFill/>
                  </a:tcPr>
                </a:tc>
                <a:tc>
                  <a:txBody>
                    <a:bodyPr/>
                    <a:lstStyle/>
                    <a:p>
                      <a:endParaRPr lang="en-US" sz="300" b="0" i="0" dirty="0">
                        <a:ln>
                          <a:solidFill>
                            <a:srgbClr val="FF9966"/>
                          </a:solidFill>
                        </a:ln>
                        <a:latin typeface="Avenir Bog" charset="0"/>
                      </a:endParaRPr>
                    </a:p>
                  </a:txBody>
                  <a:tcPr>
                    <a:solidFill>
                      <a:srgbClr val="D15F5F"/>
                    </a:solidFill>
                  </a:tcPr>
                </a:tc>
                <a:extLst>
                  <a:ext uri="{0D108BD9-81ED-4DB2-BD59-A6C34878D82A}">
                    <a16:rowId xmlns:a16="http://schemas.microsoft.com/office/drawing/2014/main" val="2082355465"/>
                  </a:ext>
                </a:extLst>
              </a:tr>
              <a:tr h="360000">
                <a:tc>
                  <a:txBody>
                    <a:bodyPr/>
                    <a:lstStyle/>
                    <a:p>
                      <a:endParaRPr lang="en-US" sz="300" b="0" i="0" dirty="0">
                        <a:ln>
                          <a:solidFill>
                            <a:srgbClr val="FF9966"/>
                          </a:solidFill>
                        </a:ln>
                        <a:latin typeface="Avenir Bog" charset="0"/>
                      </a:endParaRPr>
                    </a:p>
                  </a:txBody>
                  <a:tcPr>
                    <a:noFill/>
                  </a:tcPr>
                </a:tc>
                <a:tc>
                  <a:txBody>
                    <a:bodyPr/>
                    <a:lstStyle/>
                    <a:p>
                      <a:endParaRPr lang="en-US" sz="300" b="0" i="0" dirty="0">
                        <a:ln>
                          <a:solidFill>
                            <a:srgbClr val="FF9966"/>
                          </a:solidFill>
                        </a:ln>
                        <a:latin typeface="Avenir Bog" charset="0"/>
                      </a:endParaRPr>
                    </a:p>
                  </a:txBody>
                  <a:tcPr>
                    <a:noFill/>
                  </a:tcPr>
                </a:tc>
                <a:extLst>
                  <a:ext uri="{0D108BD9-81ED-4DB2-BD59-A6C34878D82A}">
                    <a16:rowId xmlns:a16="http://schemas.microsoft.com/office/drawing/2014/main" val="4013190458"/>
                  </a:ext>
                </a:extLst>
              </a:tr>
            </a:tbl>
          </a:graphicData>
        </a:graphic>
      </p:graphicFrame>
      <p:graphicFrame>
        <p:nvGraphicFramePr>
          <p:cNvPr id="77" name="Table 53"/>
          <p:cNvGraphicFramePr>
            <a:graphicFrameLocks noGrp="1"/>
          </p:cNvGraphicFramePr>
          <p:nvPr/>
        </p:nvGraphicFramePr>
        <p:xfrm>
          <a:off x="7572226" y="2433082"/>
          <a:ext cx="720000" cy="720000"/>
        </p:xfrm>
        <a:graphic>
          <a:graphicData uri="http://schemas.openxmlformats.org/drawingml/2006/table">
            <a:tbl>
              <a:tblPr>
                <a:tableStyleId>{F5AB1C69-6EDB-4FF4-983F-18BD219EF322}</a:tableStyleId>
              </a:tblPr>
              <a:tblGrid>
                <a:gridCol w="360000">
                  <a:extLst>
                    <a:ext uri="{9D8B030D-6E8A-4147-A177-3AD203B41FA5}">
                      <a16:colId xmlns:a16="http://schemas.microsoft.com/office/drawing/2014/main" val="649881481"/>
                    </a:ext>
                  </a:extLst>
                </a:gridCol>
                <a:gridCol w="360000">
                  <a:extLst>
                    <a:ext uri="{9D8B030D-6E8A-4147-A177-3AD203B41FA5}">
                      <a16:colId xmlns:a16="http://schemas.microsoft.com/office/drawing/2014/main" val="4224554424"/>
                    </a:ext>
                  </a:extLst>
                </a:gridCol>
              </a:tblGrid>
              <a:tr h="360000">
                <a:tc>
                  <a:txBody>
                    <a:bodyPr/>
                    <a:lstStyle/>
                    <a:p>
                      <a:endParaRPr lang="en-US" sz="300" b="0" i="0" dirty="0">
                        <a:ln>
                          <a:solidFill>
                            <a:srgbClr val="FF9966"/>
                          </a:solidFill>
                        </a:ln>
                        <a:latin typeface="Avenir Bog" charset="0"/>
                      </a:endParaRPr>
                    </a:p>
                  </a:txBody>
                  <a:tcPr>
                    <a:noFill/>
                  </a:tcPr>
                </a:tc>
                <a:tc>
                  <a:txBody>
                    <a:bodyPr/>
                    <a:lstStyle/>
                    <a:p>
                      <a:endParaRPr lang="en-US" sz="300" b="0" i="0" dirty="0">
                        <a:ln>
                          <a:solidFill>
                            <a:srgbClr val="FF9966"/>
                          </a:solidFill>
                        </a:ln>
                        <a:latin typeface="Avenir Bog" charset="0"/>
                      </a:endParaRPr>
                    </a:p>
                  </a:txBody>
                  <a:tcPr>
                    <a:solidFill>
                      <a:srgbClr val="D15F5F"/>
                    </a:solidFill>
                  </a:tcPr>
                </a:tc>
                <a:extLst>
                  <a:ext uri="{0D108BD9-81ED-4DB2-BD59-A6C34878D82A}">
                    <a16:rowId xmlns:a16="http://schemas.microsoft.com/office/drawing/2014/main" val="2082355465"/>
                  </a:ext>
                </a:extLst>
              </a:tr>
              <a:tr h="360000">
                <a:tc>
                  <a:txBody>
                    <a:bodyPr/>
                    <a:lstStyle/>
                    <a:p>
                      <a:endParaRPr lang="en-US" sz="300" b="0" i="0" dirty="0">
                        <a:ln>
                          <a:solidFill>
                            <a:srgbClr val="FF9966"/>
                          </a:solidFill>
                        </a:ln>
                        <a:latin typeface="Avenir Bog" charset="0"/>
                      </a:endParaRPr>
                    </a:p>
                  </a:txBody>
                  <a:tcPr>
                    <a:noFill/>
                  </a:tcPr>
                </a:tc>
                <a:tc>
                  <a:txBody>
                    <a:bodyPr/>
                    <a:lstStyle/>
                    <a:p>
                      <a:endParaRPr lang="en-US" sz="300" b="0" i="0" dirty="0">
                        <a:ln>
                          <a:solidFill>
                            <a:srgbClr val="FF9966"/>
                          </a:solidFill>
                        </a:ln>
                        <a:latin typeface="Avenir Bog" charset="0"/>
                      </a:endParaRPr>
                    </a:p>
                  </a:txBody>
                  <a:tcPr>
                    <a:solidFill>
                      <a:srgbClr val="D15F5F"/>
                    </a:solidFill>
                  </a:tcPr>
                </a:tc>
                <a:extLst>
                  <a:ext uri="{0D108BD9-81ED-4DB2-BD59-A6C34878D82A}">
                    <a16:rowId xmlns:a16="http://schemas.microsoft.com/office/drawing/2014/main" val="4013190458"/>
                  </a:ext>
                </a:extLst>
              </a:tr>
            </a:tbl>
          </a:graphicData>
        </a:graphic>
      </p:graphicFrame>
      <p:graphicFrame>
        <p:nvGraphicFramePr>
          <p:cNvPr id="78" name="Table 58"/>
          <p:cNvGraphicFramePr>
            <a:graphicFrameLocks noGrp="1"/>
          </p:cNvGraphicFramePr>
          <p:nvPr/>
        </p:nvGraphicFramePr>
        <p:xfrm>
          <a:off x="9495156" y="2401877"/>
          <a:ext cx="720000" cy="720000"/>
        </p:xfrm>
        <a:graphic>
          <a:graphicData uri="http://schemas.openxmlformats.org/drawingml/2006/table">
            <a:tbl>
              <a:tblPr>
                <a:tableStyleId>{F5AB1C69-6EDB-4FF4-983F-18BD219EF322}</a:tableStyleId>
              </a:tblPr>
              <a:tblGrid>
                <a:gridCol w="360000">
                  <a:extLst>
                    <a:ext uri="{9D8B030D-6E8A-4147-A177-3AD203B41FA5}">
                      <a16:colId xmlns:a16="http://schemas.microsoft.com/office/drawing/2014/main" val="649881481"/>
                    </a:ext>
                  </a:extLst>
                </a:gridCol>
                <a:gridCol w="360000">
                  <a:extLst>
                    <a:ext uri="{9D8B030D-6E8A-4147-A177-3AD203B41FA5}">
                      <a16:colId xmlns:a16="http://schemas.microsoft.com/office/drawing/2014/main" val="4224554424"/>
                    </a:ext>
                  </a:extLst>
                </a:gridCol>
              </a:tblGrid>
              <a:tr h="360000">
                <a:tc>
                  <a:txBody>
                    <a:bodyPr/>
                    <a:lstStyle/>
                    <a:p>
                      <a:endParaRPr lang="en-US" sz="300" b="0" i="0" dirty="0">
                        <a:ln>
                          <a:solidFill>
                            <a:srgbClr val="FF9966"/>
                          </a:solidFill>
                        </a:ln>
                        <a:latin typeface="Avenir Bog" charset="0"/>
                      </a:endParaRPr>
                    </a:p>
                  </a:txBody>
                  <a:tcPr>
                    <a:solidFill>
                      <a:srgbClr val="D15F5F"/>
                    </a:solidFill>
                  </a:tcPr>
                </a:tc>
                <a:tc>
                  <a:txBody>
                    <a:bodyPr/>
                    <a:lstStyle/>
                    <a:p>
                      <a:endParaRPr lang="en-US" sz="300" b="0" i="0" dirty="0">
                        <a:ln>
                          <a:solidFill>
                            <a:srgbClr val="FF9966"/>
                          </a:solidFill>
                        </a:ln>
                        <a:latin typeface="Avenir Bog" charset="0"/>
                      </a:endParaRPr>
                    </a:p>
                  </a:txBody>
                  <a:tcPr>
                    <a:solidFill>
                      <a:srgbClr val="D15F5F"/>
                    </a:solidFill>
                  </a:tcPr>
                </a:tc>
                <a:extLst>
                  <a:ext uri="{0D108BD9-81ED-4DB2-BD59-A6C34878D82A}">
                    <a16:rowId xmlns:a16="http://schemas.microsoft.com/office/drawing/2014/main" val="2082355465"/>
                  </a:ext>
                </a:extLst>
              </a:tr>
              <a:tr h="360000">
                <a:tc>
                  <a:txBody>
                    <a:bodyPr/>
                    <a:lstStyle/>
                    <a:p>
                      <a:endParaRPr lang="en-US" sz="300" b="0" i="0" dirty="0">
                        <a:ln>
                          <a:solidFill>
                            <a:srgbClr val="FF9966"/>
                          </a:solidFill>
                        </a:ln>
                        <a:latin typeface="Avenir Bog" charset="0"/>
                      </a:endParaRPr>
                    </a:p>
                  </a:txBody>
                  <a:tcPr>
                    <a:solidFill>
                      <a:srgbClr val="D15F5F"/>
                    </a:solidFill>
                  </a:tcPr>
                </a:tc>
                <a:tc>
                  <a:txBody>
                    <a:bodyPr/>
                    <a:lstStyle/>
                    <a:p>
                      <a:endParaRPr lang="en-US" sz="300" b="0" i="0" dirty="0">
                        <a:ln>
                          <a:solidFill>
                            <a:srgbClr val="FF9966"/>
                          </a:solidFill>
                        </a:ln>
                        <a:latin typeface="Avenir Bog" charset="0"/>
                      </a:endParaRPr>
                    </a:p>
                  </a:txBody>
                  <a:tcPr>
                    <a:solidFill>
                      <a:srgbClr val="D15F5F"/>
                    </a:solidFill>
                  </a:tcPr>
                </a:tc>
                <a:extLst>
                  <a:ext uri="{0D108BD9-81ED-4DB2-BD59-A6C34878D82A}">
                    <a16:rowId xmlns:a16="http://schemas.microsoft.com/office/drawing/2014/main" val="4013190458"/>
                  </a:ext>
                </a:extLst>
              </a:tr>
            </a:tbl>
          </a:graphicData>
        </a:graphic>
      </p:graphicFrame>
      <p:graphicFrame>
        <p:nvGraphicFramePr>
          <p:cNvPr id="79" name="Table 61"/>
          <p:cNvGraphicFramePr>
            <a:graphicFrameLocks noGrp="1"/>
          </p:cNvGraphicFramePr>
          <p:nvPr/>
        </p:nvGraphicFramePr>
        <p:xfrm>
          <a:off x="6536361" y="2511277"/>
          <a:ext cx="720000" cy="720000"/>
        </p:xfrm>
        <a:graphic>
          <a:graphicData uri="http://schemas.openxmlformats.org/drawingml/2006/table">
            <a:tbl>
              <a:tblPr>
                <a:tableStyleId>{F5AB1C69-6EDB-4FF4-983F-18BD219EF322}</a:tableStyleId>
              </a:tblPr>
              <a:tblGrid>
                <a:gridCol w="360000">
                  <a:extLst>
                    <a:ext uri="{9D8B030D-6E8A-4147-A177-3AD203B41FA5}">
                      <a16:colId xmlns:a16="http://schemas.microsoft.com/office/drawing/2014/main" val="649881481"/>
                    </a:ext>
                  </a:extLst>
                </a:gridCol>
                <a:gridCol w="360000">
                  <a:extLst>
                    <a:ext uri="{9D8B030D-6E8A-4147-A177-3AD203B41FA5}">
                      <a16:colId xmlns:a16="http://schemas.microsoft.com/office/drawing/2014/main" val="4224554424"/>
                    </a:ext>
                  </a:extLst>
                </a:gridCol>
              </a:tblGrid>
              <a:tr h="360000">
                <a:tc>
                  <a:txBody>
                    <a:bodyPr/>
                    <a:lstStyle/>
                    <a:p>
                      <a:endParaRPr lang="en-US" sz="300" b="0" i="0" dirty="0">
                        <a:ln>
                          <a:solidFill>
                            <a:srgbClr val="FF9966"/>
                          </a:solidFill>
                        </a:ln>
                        <a:latin typeface="Avenir Bog" charset="0"/>
                      </a:endParaRPr>
                    </a:p>
                  </a:txBody>
                  <a:tcPr>
                    <a:noFill/>
                  </a:tcPr>
                </a:tc>
                <a:tc>
                  <a:txBody>
                    <a:bodyPr/>
                    <a:lstStyle/>
                    <a:p>
                      <a:endParaRPr lang="en-US" sz="300" b="0" i="0" dirty="0">
                        <a:ln>
                          <a:solidFill>
                            <a:srgbClr val="FF9966"/>
                          </a:solidFill>
                        </a:ln>
                        <a:latin typeface="Avenir Bog" charset="0"/>
                      </a:endParaRPr>
                    </a:p>
                  </a:txBody>
                  <a:tcPr>
                    <a:noFill/>
                  </a:tcPr>
                </a:tc>
                <a:extLst>
                  <a:ext uri="{0D108BD9-81ED-4DB2-BD59-A6C34878D82A}">
                    <a16:rowId xmlns:a16="http://schemas.microsoft.com/office/drawing/2014/main" val="2082355465"/>
                  </a:ext>
                </a:extLst>
              </a:tr>
              <a:tr h="360000">
                <a:tc>
                  <a:txBody>
                    <a:bodyPr/>
                    <a:lstStyle/>
                    <a:p>
                      <a:endParaRPr lang="en-US" sz="300" b="0" i="0" dirty="0">
                        <a:ln>
                          <a:solidFill>
                            <a:srgbClr val="FF9966"/>
                          </a:solidFill>
                        </a:ln>
                        <a:latin typeface="Avenir Bog" charset="0"/>
                      </a:endParaRPr>
                    </a:p>
                  </a:txBody>
                  <a:tcPr>
                    <a:noFill/>
                  </a:tcPr>
                </a:tc>
                <a:tc>
                  <a:txBody>
                    <a:bodyPr/>
                    <a:lstStyle/>
                    <a:p>
                      <a:endParaRPr lang="en-US" sz="300" b="0" i="0" dirty="0">
                        <a:ln>
                          <a:solidFill>
                            <a:srgbClr val="FF9966"/>
                          </a:solidFill>
                        </a:ln>
                        <a:latin typeface="Avenir Bog" charset="0"/>
                      </a:endParaRPr>
                    </a:p>
                  </a:txBody>
                  <a:tcPr>
                    <a:noFill/>
                  </a:tcPr>
                </a:tc>
                <a:extLst>
                  <a:ext uri="{0D108BD9-81ED-4DB2-BD59-A6C34878D82A}">
                    <a16:rowId xmlns:a16="http://schemas.microsoft.com/office/drawing/2014/main" val="4013190458"/>
                  </a:ext>
                </a:extLst>
              </a:tr>
            </a:tbl>
          </a:graphicData>
        </a:graphic>
      </p:graphicFrame>
      <p:graphicFrame>
        <p:nvGraphicFramePr>
          <p:cNvPr id="80" name="Table 63"/>
          <p:cNvGraphicFramePr>
            <a:graphicFrameLocks noGrp="1"/>
          </p:cNvGraphicFramePr>
          <p:nvPr/>
        </p:nvGraphicFramePr>
        <p:xfrm>
          <a:off x="9592552" y="1612845"/>
          <a:ext cx="720000" cy="720000"/>
        </p:xfrm>
        <a:graphic>
          <a:graphicData uri="http://schemas.openxmlformats.org/drawingml/2006/table">
            <a:tbl>
              <a:tblPr>
                <a:tableStyleId>{F5AB1C69-6EDB-4FF4-983F-18BD219EF322}</a:tableStyleId>
              </a:tblPr>
              <a:tblGrid>
                <a:gridCol w="360000">
                  <a:extLst>
                    <a:ext uri="{9D8B030D-6E8A-4147-A177-3AD203B41FA5}">
                      <a16:colId xmlns:a16="http://schemas.microsoft.com/office/drawing/2014/main" val="649881481"/>
                    </a:ext>
                  </a:extLst>
                </a:gridCol>
                <a:gridCol w="360000">
                  <a:extLst>
                    <a:ext uri="{9D8B030D-6E8A-4147-A177-3AD203B41FA5}">
                      <a16:colId xmlns:a16="http://schemas.microsoft.com/office/drawing/2014/main" val="4224554424"/>
                    </a:ext>
                  </a:extLst>
                </a:gridCol>
              </a:tblGrid>
              <a:tr h="360000">
                <a:tc>
                  <a:txBody>
                    <a:bodyPr/>
                    <a:lstStyle/>
                    <a:p>
                      <a:endParaRPr lang="en-US" sz="300" b="0" i="0" dirty="0">
                        <a:ln>
                          <a:solidFill>
                            <a:srgbClr val="FF9966"/>
                          </a:solidFill>
                        </a:ln>
                        <a:latin typeface="Avenir Bog" charset="0"/>
                      </a:endParaRPr>
                    </a:p>
                  </a:txBody>
                  <a:tcPr>
                    <a:solidFill>
                      <a:srgbClr val="D15F5F"/>
                    </a:solidFill>
                  </a:tcPr>
                </a:tc>
                <a:tc>
                  <a:txBody>
                    <a:bodyPr/>
                    <a:lstStyle/>
                    <a:p>
                      <a:endParaRPr lang="en-US" sz="300" b="0" i="0" dirty="0">
                        <a:ln>
                          <a:solidFill>
                            <a:srgbClr val="FF9966"/>
                          </a:solidFill>
                        </a:ln>
                        <a:latin typeface="Avenir Bog" charset="0"/>
                      </a:endParaRPr>
                    </a:p>
                  </a:txBody>
                  <a:tcPr>
                    <a:solidFill>
                      <a:srgbClr val="D15F5F"/>
                    </a:solidFill>
                  </a:tcPr>
                </a:tc>
                <a:extLst>
                  <a:ext uri="{0D108BD9-81ED-4DB2-BD59-A6C34878D82A}">
                    <a16:rowId xmlns:a16="http://schemas.microsoft.com/office/drawing/2014/main" val="2082355465"/>
                  </a:ext>
                </a:extLst>
              </a:tr>
              <a:tr h="360000">
                <a:tc>
                  <a:txBody>
                    <a:bodyPr/>
                    <a:lstStyle/>
                    <a:p>
                      <a:endParaRPr lang="en-US" sz="300" b="0" i="0" dirty="0">
                        <a:ln>
                          <a:solidFill>
                            <a:srgbClr val="FF9966"/>
                          </a:solidFill>
                        </a:ln>
                        <a:latin typeface="Avenir Bog" charset="0"/>
                      </a:endParaRPr>
                    </a:p>
                  </a:txBody>
                  <a:tcPr>
                    <a:noFill/>
                  </a:tcPr>
                </a:tc>
                <a:tc>
                  <a:txBody>
                    <a:bodyPr/>
                    <a:lstStyle/>
                    <a:p>
                      <a:endParaRPr lang="en-US" sz="300" b="0" i="0" dirty="0">
                        <a:ln>
                          <a:solidFill>
                            <a:srgbClr val="FF9966"/>
                          </a:solidFill>
                        </a:ln>
                        <a:latin typeface="Avenir Bog" charset="0"/>
                      </a:endParaRPr>
                    </a:p>
                  </a:txBody>
                  <a:tcPr>
                    <a:solidFill>
                      <a:srgbClr val="D15F5F"/>
                    </a:solidFill>
                  </a:tcPr>
                </a:tc>
                <a:extLst>
                  <a:ext uri="{0D108BD9-81ED-4DB2-BD59-A6C34878D82A}">
                    <a16:rowId xmlns:a16="http://schemas.microsoft.com/office/drawing/2014/main" val="4013190458"/>
                  </a:ext>
                </a:extLst>
              </a:tr>
            </a:tbl>
          </a:graphicData>
        </a:graphic>
      </p:graphicFrame>
      <p:sp>
        <p:nvSpPr>
          <p:cNvPr id="92" name="Rectangle 68"/>
          <p:cNvSpPr/>
          <p:nvPr/>
        </p:nvSpPr>
        <p:spPr>
          <a:xfrm>
            <a:off x="5260211" y="3884281"/>
            <a:ext cx="518872" cy="779759"/>
          </a:xfrm>
          <a:prstGeom prst="rect">
            <a:avLst/>
          </a:prstGeom>
        </p:spPr>
        <p:txBody>
          <a:bodyPr wrap="square" lIns="121915" tIns="60957" rIns="121915" bIns="60957">
            <a:spAutoFit/>
          </a:bodyPr>
          <a:lstStyle/>
          <a:p>
            <a:r>
              <a:rPr lang="en-US" sz="4267" kern="0" dirty="0">
                <a:solidFill>
                  <a:srgbClr val="00427A"/>
                </a:solidFill>
                <a:latin typeface="Arial" panose="020B0604020202020204" pitchFamily="34" charset="0"/>
                <a:ea typeface="Verdana" panose="020B0604030504040204" pitchFamily="34" charset="0"/>
                <a:cs typeface="Arial" panose="020B0604020202020204" pitchFamily="34" charset="0"/>
              </a:rPr>
              <a:t>5</a:t>
            </a:r>
            <a:endParaRPr lang="da-DK" sz="4267" dirty="0">
              <a:solidFill>
                <a:srgbClr val="00427A"/>
              </a:solidFill>
              <a:latin typeface="Arial" panose="020B0604020202020204" pitchFamily="34" charset="0"/>
              <a:cs typeface="Arial" panose="020B0604020202020204" pitchFamily="34" charset="0"/>
            </a:endParaRPr>
          </a:p>
        </p:txBody>
      </p:sp>
      <p:grpSp>
        <p:nvGrpSpPr>
          <p:cNvPr id="93" name="Group 121"/>
          <p:cNvGrpSpPr/>
          <p:nvPr/>
        </p:nvGrpSpPr>
        <p:grpSpPr>
          <a:xfrm>
            <a:off x="10602777" y="2180667"/>
            <a:ext cx="798272" cy="148632"/>
            <a:chOff x="3407206" y="2101950"/>
            <a:chExt cx="798272" cy="148632"/>
          </a:xfrm>
        </p:grpSpPr>
        <p:sp>
          <p:nvSpPr>
            <p:cNvPr id="94" name="Rectangle 122"/>
            <p:cNvSpPr/>
            <p:nvPr/>
          </p:nvSpPr>
          <p:spPr>
            <a:xfrm>
              <a:off x="3407206" y="2105440"/>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5" name="Rectangle 123"/>
            <p:cNvSpPr/>
            <p:nvPr/>
          </p:nvSpPr>
          <p:spPr>
            <a:xfrm>
              <a:off x="3842626" y="2105440"/>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6" name="Rectangle 124"/>
            <p:cNvSpPr/>
            <p:nvPr/>
          </p:nvSpPr>
          <p:spPr>
            <a:xfrm>
              <a:off x="3624915" y="2105440"/>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7" name="Rectangle 125"/>
            <p:cNvSpPr/>
            <p:nvPr/>
          </p:nvSpPr>
          <p:spPr>
            <a:xfrm>
              <a:off x="4060336" y="2101950"/>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grpSp>
        <p:nvGrpSpPr>
          <p:cNvPr id="98" name="Group 141"/>
          <p:cNvGrpSpPr/>
          <p:nvPr/>
        </p:nvGrpSpPr>
        <p:grpSpPr>
          <a:xfrm>
            <a:off x="10576557" y="2611192"/>
            <a:ext cx="377391" cy="145142"/>
            <a:chOff x="-1626451" y="1715309"/>
            <a:chExt cx="377391" cy="145142"/>
          </a:xfrm>
        </p:grpSpPr>
        <p:sp>
          <p:nvSpPr>
            <p:cNvPr id="99" name="Rectangle 142"/>
            <p:cNvSpPr/>
            <p:nvPr/>
          </p:nvSpPr>
          <p:spPr>
            <a:xfrm>
              <a:off x="-1394202" y="1715309"/>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0" name="Rectangle 143"/>
            <p:cNvSpPr/>
            <p:nvPr/>
          </p:nvSpPr>
          <p:spPr>
            <a:xfrm>
              <a:off x="-1626451" y="1715309"/>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sp>
        <p:nvSpPr>
          <p:cNvPr id="101" name="Rectangle 170"/>
          <p:cNvSpPr/>
          <p:nvPr/>
        </p:nvSpPr>
        <p:spPr>
          <a:xfrm>
            <a:off x="10648267" y="1735093"/>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02" name="Group 171"/>
          <p:cNvGrpSpPr/>
          <p:nvPr/>
        </p:nvGrpSpPr>
        <p:grpSpPr>
          <a:xfrm>
            <a:off x="11094117" y="1743293"/>
            <a:ext cx="566051" cy="145142"/>
            <a:chOff x="-1712698" y="1433699"/>
            <a:chExt cx="566051" cy="145142"/>
          </a:xfrm>
        </p:grpSpPr>
        <p:sp>
          <p:nvSpPr>
            <p:cNvPr id="103" name="Rectangle 172"/>
            <p:cNvSpPr/>
            <p:nvPr/>
          </p:nvSpPr>
          <p:spPr>
            <a:xfrm>
              <a:off x="-1494987" y="1433699"/>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4" name="Rectangle 173"/>
            <p:cNvSpPr/>
            <p:nvPr/>
          </p:nvSpPr>
          <p:spPr>
            <a:xfrm>
              <a:off x="-1291789" y="1433699"/>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5" name="Rectangle 174"/>
            <p:cNvSpPr/>
            <p:nvPr/>
          </p:nvSpPr>
          <p:spPr>
            <a:xfrm>
              <a:off x="-1712698" y="1433699"/>
              <a:ext cx="145142" cy="14514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pic>
        <p:nvPicPr>
          <p:cNvPr id="106" name="Picture 2" descr="http://www.egmont.com/upload/fixed/fsi_resized/887/0/general_pictures/boxes/nye/egmont_playstation_887x499.jpg"/>
          <p:cNvPicPr preferRelativeResize="0">
            <a:picLocks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6536361" y="3396593"/>
            <a:ext cx="1090800" cy="1090800"/>
          </a:xfrm>
          <a:prstGeom prst="ellipse">
            <a:avLst/>
          </a:prstGeom>
          <a:noFill/>
          <a:extLst>
            <a:ext uri="{909E8E84-426E-40DD-AFC4-6F175D3DCCD1}">
              <a14:hiddenFill xmlns:a14="http://schemas.microsoft.com/office/drawing/2010/main">
                <a:solidFill>
                  <a:srgbClr val="FFFFFF"/>
                </a:solidFill>
              </a14:hiddenFill>
            </a:ext>
          </a:extLst>
        </p:spPr>
      </p:pic>
      <p:pic>
        <p:nvPicPr>
          <p:cNvPr id="107" name="Picture 4" descr="http://www.egmont.com/upload/fixed/fsi_resized/887/0/general_pictures/boxes/nye/egmont_education_887x499.jpg"/>
          <p:cNvPicPr preferRelativeResize="0">
            <a:picLocks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7776722" y="3315208"/>
            <a:ext cx="1090800" cy="1090800"/>
          </a:xfrm>
          <a:prstGeom prst="ellipse">
            <a:avLst/>
          </a:prstGeom>
          <a:noFill/>
          <a:extLst>
            <a:ext uri="{909E8E84-426E-40DD-AFC4-6F175D3DCCD1}">
              <a14:hiddenFill xmlns:a14="http://schemas.microsoft.com/office/drawing/2010/main">
                <a:solidFill>
                  <a:srgbClr val="FFFFFF"/>
                </a:solidFill>
              </a14:hiddenFill>
            </a:ext>
          </a:extLst>
        </p:spPr>
      </p:pic>
      <p:pic>
        <p:nvPicPr>
          <p:cNvPr id="108" name="Picture 6" descr="http://www.geneva.edu/blog/_assets/shutterstock_261648890%20-%20Child%20and%20Family%20Services.jpg"/>
          <p:cNvPicPr preferRelativeResize="0">
            <a:picLocks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8949756" y="3320423"/>
            <a:ext cx="1090800" cy="1090800"/>
          </a:xfrm>
          <a:prstGeom prst="ellipse">
            <a:avLst/>
          </a:prstGeom>
          <a:noFill/>
          <a:extLst>
            <a:ext uri="{909E8E84-426E-40DD-AFC4-6F175D3DCCD1}">
              <a14:hiddenFill xmlns:a14="http://schemas.microsoft.com/office/drawing/2010/main">
                <a:solidFill>
                  <a:srgbClr val="FFFFFF"/>
                </a:solidFill>
              </a14:hiddenFill>
            </a:ext>
          </a:extLst>
        </p:spPr>
      </p:pic>
      <p:pic>
        <p:nvPicPr>
          <p:cNvPr id="109" name="Picture 8" descr="http://bostoniano.info/wp-content/uploads/2015/06/FaceTimeGrandparents.png"/>
          <p:cNvPicPr preferRelativeResize="0">
            <a:picLocks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10335977" y="3499168"/>
            <a:ext cx="1090800" cy="1090800"/>
          </a:xfrm>
          <a:prstGeom prst="ellipse">
            <a:avLst/>
          </a:prstGeom>
          <a:noFill/>
          <a:extLst>
            <a:ext uri="{909E8E84-426E-40DD-AFC4-6F175D3DCCD1}">
              <a14:hiddenFill xmlns:a14="http://schemas.microsoft.com/office/drawing/2010/main">
                <a:solidFill>
                  <a:srgbClr val="FFFFFF"/>
                </a:solidFill>
              </a14:hiddenFill>
            </a:ext>
          </a:extLst>
        </p:spPr>
      </p:pic>
      <p:pic>
        <p:nvPicPr>
          <p:cNvPr id="110" name="Picture 1"/>
          <p:cNvPicPr>
            <a:picLocks noChangeAspect="1"/>
          </p:cNvPicPr>
          <p:nvPr/>
        </p:nvPicPr>
        <p:blipFill>
          <a:blip r:embed="rId54">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09921" y="5345488"/>
            <a:ext cx="471977" cy="443570"/>
          </a:xfrm>
          <a:prstGeom prst="rect">
            <a:avLst/>
          </a:prstGeom>
        </p:spPr>
      </p:pic>
      <p:pic>
        <p:nvPicPr>
          <p:cNvPr id="111" name="Picture 3"/>
          <p:cNvPicPr>
            <a:picLocks noChangeAspect="1"/>
          </p:cNvPicPr>
          <p:nvPr/>
        </p:nvPicPr>
        <p:blipFill>
          <a:blip r:embed="rId55">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68714" y="5341432"/>
            <a:ext cx="454257" cy="426917"/>
          </a:xfrm>
          <a:prstGeom prst="rect">
            <a:avLst/>
          </a:prstGeom>
        </p:spPr>
      </p:pic>
      <p:pic>
        <p:nvPicPr>
          <p:cNvPr id="112" name="Billede 111"/>
          <p:cNvPicPr>
            <a:picLocks noChangeAspect="1"/>
          </p:cNvPicPr>
          <p:nvPr/>
        </p:nvPicPr>
        <p:blipFill rotWithShape="1">
          <a:blip r:embed="rId56" cstate="hqprint">
            <a:extLst>
              <a:ext uri="{28A0092B-C50C-407E-A947-70E740481C1C}">
                <a14:useLocalDpi xmlns:a14="http://schemas.microsoft.com/office/drawing/2010/main"/>
              </a:ext>
            </a:extLst>
          </a:blip>
          <a:srcRect/>
          <a:stretch/>
        </p:blipFill>
        <p:spPr>
          <a:xfrm>
            <a:off x="1503572" y="5344172"/>
            <a:ext cx="518815" cy="435915"/>
          </a:xfrm>
          <a:prstGeom prst="rect">
            <a:avLst/>
          </a:prstGeom>
        </p:spPr>
      </p:pic>
      <p:pic>
        <p:nvPicPr>
          <p:cNvPr id="113" name="Picture 4"/>
          <p:cNvPicPr>
            <a:picLocks noChangeAspect="1"/>
          </p:cNvPicPr>
          <p:nvPr/>
        </p:nvPicPr>
        <p:blipFill>
          <a:blip r:embed="rId57">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121583" y="5345488"/>
            <a:ext cx="471977" cy="443570"/>
          </a:xfrm>
          <a:prstGeom prst="rect">
            <a:avLst/>
          </a:prstGeom>
        </p:spPr>
      </p:pic>
      <p:pic>
        <p:nvPicPr>
          <p:cNvPr id="114" name="Billede 113"/>
          <p:cNvPicPr>
            <a:picLocks noChangeAspect="1"/>
          </p:cNvPicPr>
          <p:nvPr/>
        </p:nvPicPr>
        <p:blipFill rotWithShape="1">
          <a:blip r:embed="rId58" cstate="hqprint">
            <a:extLst>
              <a:ext uri="{28A0092B-C50C-407E-A947-70E740481C1C}">
                <a14:useLocalDpi xmlns:a14="http://schemas.microsoft.com/office/drawing/2010/main"/>
              </a:ext>
            </a:extLst>
          </a:blip>
          <a:srcRect/>
          <a:stretch/>
        </p:blipFill>
        <p:spPr>
          <a:xfrm>
            <a:off x="2624450" y="5215227"/>
            <a:ext cx="696262" cy="573831"/>
          </a:xfrm>
          <a:prstGeom prst="rect">
            <a:avLst/>
          </a:prstGeom>
        </p:spPr>
      </p:pic>
      <p:sp>
        <p:nvSpPr>
          <p:cNvPr id="115" name="Rektangel 114"/>
          <p:cNvSpPr/>
          <p:nvPr/>
        </p:nvSpPr>
        <p:spPr>
          <a:xfrm>
            <a:off x="3619444" y="3249011"/>
            <a:ext cx="767440" cy="704275"/>
          </a:xfrm>
          <a:prstGeom prst="rect">
            <a:avLst/>
          </a:prstGeom>
          <a:blipFill>
            <a:blip r:embed="rId59" cstate="hqprint">
              <a:grayscl/>
              <a:extLst>
                <a:ext uri="{28A0092B-C50C-407E-A947-70E740481C1C}">
                  <a14:useLocalDpi xmlns:a14="http://schemas.microsoft.com/office/drawing/2010/main"/>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DK"/>
          </a:p>
        </p:txBody>
      </p:sp>
      <p:sp>
        <p:nvSpPr>
          <p:cNvPr id="116" name="Rektangel 115"/>
          <p:cNvSpPr/>
          <p:nvPr/>
        </p:nvSpPr>
        <p:spPr>
          <a:xfrm>
            <a:off x="3746970" y="4087477"/>
            <a:ext cx="845101" cy="762711"/>
          </a:xfrm>
          <a:prstGeom prst="rect">
            <a:avLst/>
          </a:prstGeom>
          <a:blipFill>
            <a:blip r:embed="rId60" cstate="hqprint">
              <a:grayscl/>
              <a:extLst>
                <a:ext uri="{28A0092B-C50C-407E-A947-70E740481C1C}">
                  <a14:useLocalDpi xmlns:a14="http://schemas.microsoft.com/office/drawing/2010/main"/>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DK"/>
          </a:p>
        </p:txBody>
      </p:sp>
      <p:sp>
        <p:nvSpPr>
          <p:cNvPr id="117" name="Rektangel 116"/>
          <p:cNvSpPr/>
          <p:nvPr/>
        </p:nvSpPr>
        <p:spPr>
          <a:xfrm>
            <a:off x="3613377" y="5192176"/>
            <a:ext cx="750988" cy="536980"/>
          </a:xfrm>
          <a:prstGeom prst="rect">
            <a:avLst/>
          </a:prstGeom>
          <a:blipFill>
            <a:blip r:embed="rId61" cstate="hqprint">
              <a:grayscl/>
              <a:extLst>
                <a:ext uri="{28A0092B-C50C-407E-A947-70E740481C1C}">
                  <a14:useLocalDpi xmlns:a14="http://schemas.microsoft.com/office/drawing/2010/main"/>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DK"/>
          </a:p>
        </p:txBody>
      </p:sp>
      <p:pic>
        <p:nvPicPr>
          <p:cNvPr id="118" name="Picture 4" descr="http://www.att.com/wireless/iphone/assets/iphone-big.jpg"/>
          <p:cNvPicPr>
            <a:picLocks noChangeAspect="1" noChangeArrowheads="1"/>
          </p:cNvPicPr>
          <p:nvPr>
            <p:custDataLst>
              <p:tags r:id="rId1"/>
            </p:custDataLst>
          </p:nvPr>
        </p:nvPicPr>
        <p:blipFill rotWithShape="1">
          <a:blip r:embed="rId62"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406277" y="5359972"/>
            <a:ext cx="251948" cy="412488"/>
          </a:xfrm>
          <a:prstGeom prst="rect">
            <a:avLst/>
          </a:prstGeom>
          <a:noFill/>
          <a:extLst>
            <a:ext uri="{909E8E84-426E-40DD-AFC4-6F175D3DCCD1}">
              <a14:hiddenFill xmlns:a14="http://schemas.microsoft.com/office/drawing/2010/main">
                <a:solidFill>
                  <a:srgbClr val="FFFFFF"/>
                </a:solidFill>
              </a14:hiddenFill>
            </a:ext>
          </a:extLst>
        </p:spPr>
      </p:pic>
      <p:grpSp>
        <p:nvGrpSpPr>
          <p:cNvPr id="119" name="Group 6"/>
          <p:cNvGrpSpPr/>
          <p:nvPr/>
        </p:nvGrpSpPr>
        <p:grpSpPr>
          <a:xfrm>
            <a:off x="6497741" y="4762236"/>
            <a:ext cx="2180323" cy="1698209"/>
            <a:chOff x="3686852" y="1003594"/>
            <a:chExt cx="2180323" cy="1698209"/>
          </a:xfrm>
        </p:grpSpPr>
        <p:pic>
          <p:nvPicPr>
            <p:cNvPr id="120" name="Picture 2" descr="http://www.mobighar.com/review/pics/nokia_3210_old_mobile_phone_full_review_specifications.jpg"/>
            <p:cNvPicPr>
              <a:picLocks noChangeAspect="1" noChangeArrowheads="1"/>
            </p:cNvPicPr>
            <p:nvPr>
              <p:custDataLst>
                <p:tags r:id="rId10"/>
              </p:custDataLst>
            </p:nvPr>
          </p:nvPicPr>
          <p:blipFill rotWithShape="1">
            <a:blip r:embed="rId63"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570958" y="1003594"/>
              <a:ext cx="196584" cy="353109"/>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6" descr="http://www.consolewizard.co.uk/images/playstation3%20dead.jpg"/>
            <p:cNvPicPr>
              <a:picLocks noChangeAspect="1" noChangeArrowheads="1"/>
            </p:cNvPicPr>
            <p:nvPr>
              <p:custDataLst>
                <p:tags r:id="rId11"/>
              </p:custDataLst>
            </p:nvPr>
          </p:nvPicPr>
          <p:blipFill rotWithShape="1">
            <a:blip r:embed="rId64"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686852" y="1092541"/>
              <a:ext cx="576064" cy="364127"/>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8" descr="http://poseidon.epfl.ch/IMG/laptop/thinkpad-t430s-01.jpg"/>
            <p:cNvPicPr>
              <a:picLocks noChangeAspect="1" noChangeArrowheads="1"/>
            </p:cNvPicPr>
            <p:nvPr>
              <p:custDataLst>
                <p:tags r:id="rId12"/>
              </p:custDataLst>
            </p:nvPr>
          </p:nvPicPr>
          <p:blipFill>
            <a:blip r:embed="rId6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758884" y="2366757"/>
              <a:ext cx="432000" cy="33504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4" descr="http://thumbs.gograph.com/gg58252497.jpg"/>
            <p:cNvPicPr>
              <a:picLocks noChangeAspect="1" noChangeArrowheads="1"/>
            </p:cNvPicPr>
            <p:nvPr>
              <p:custDataLst>
                <p:tags r:id="rId13"/>
              </p:custDataLst>
            </p:nvPr>
          </p:nvPicPr>
          <p:blipFill>
            <a:blip r:embed="rId66" cstate="print">
              <a:extLst>
                <a:ext uri="{28A0092B-C50C-407E-A947-70E740481C1C}">
                  <a14:useLocalDpi xmlns:a14="http://schemas.microsoft.com/office/drawing/2010/main"/>
                </a:ext>
              </a:extLst>
            </a:blip>
            <a:srcRect/>
            <a:stretch>
              <a:fillRect/>
            </a:stretch>
          </p:blipFill>
          <p:spPr bwMode="auto">
            <a:xfrm>
              <a:off x="4669250" y="2370548"/>
              <a:ext cx="370482" cy="331255"/>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031"/>
            <p:cNvGrpSpPr/>
            <p:nvPr/>
          </p:nvGrpSpPr>
          <p:grpSpPr>
            <a:xfrm>
              <a:off x="5109484" y="1029889"/>
              <a:ext cx="757691" cy="562034"/>
              <a:chOff x="5109484" y="1029889"/>
              <a:chExt cx="757691" cy="562034"/>
            </a:xfrm>
          </p:grpSpPr>
          <p:pic>
            <p:nvPicPr>
              <p:cNvPr id="125" name="Picture 15" descr="forbidden"/>
              <p:cNvPicPr>
                <a:picLocks noChangeAspect="1" noChangeArrowheads="1"/>
              </p:cNvPicPr>
              <p:nvPr/>
            </p:nvPicPr>
            <p:blipFill>
              <a:blip r:embed="rId67" cstate="print">
                <a:extLst>
                  <a:ext uri="{28A0092B-C50C-407E-A947-70E740481C1C}">
                    <a14:useLocalDpi xmlns:a14="http://schemas.microsoft.com/office/drawing/2010/main"/>
                  </a:ext>
                </a:extLst>
              </a:blip>
              <a:srcRect/>
              <a:stretch>
                <a:fillRect/>
              </a:stretch>
            </p:blipFill>
            <p:spPr bwMode="auto">
              <a:xfrm>
                <a:off x="5318680" y="1029889"/>
                <a:ext cx="339301" cy="339301"/>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63"/>
              <p:cNvSpPr/>
              <p:nvPr>
                <p:custDataLst>
                  <p:tags r:id="rId14"/>
                </p:custDataLst>
              </p:nvPr>
            </p:nvSpPr>
            <p:spPr>
              <a:xfrm>
                <a:off x="5109484" y="1307516"/>
                <a:ext cx="757691" cy="28440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solidFill>
                      <a:schemeClr val="accent2"/>
                    </a:solidFill>
                    <a:latin typeface="Arial" panose="020B0604020202020204" pitchFamily="34" charset="0"/>
                    <a:cs typeface="Arial" panose="020B0604020202020204" pitchFamily="34" charset="0"/>
                  </a:rPr>
                  <a:t>No device</a:t>
                </a:r>
              </a:p>
            </p:txBody>
          </p:sp>
        </p:grpSp>
      </p:grpSp>
      <p:pic>
        <p:nvPicPr>
          <p:cNvPr id="127" name="Picture 4" descr="http://thumbs.gograph.com/gg58252497.jpg"/>
          <p:cNvPicPr>
            <a:picLocks noChangeAspect="1" noChangeArrowheads="1"/>
          </p:cNvPicPr>
          <p:nvPr>
            <p:custDataLst>
              <p:tags r:id="rId2"/>
            </p:custDataLst>
          </p:nvPr>
        </p:nvPicPr>
        <p:blipFill>
          <a:blip r:embed="rId68">
            <a:extLst>
              <a:ext uri="{BEBA8EAE-BF5A-486C-A8C5-ECC9F3942E4B}">
                <a14:imgProps xmlns:a14="http://schemas.microsoft.com/office/drawing/2010/main">
                  <a14:imgLayer r:embed="rId69">
                    <a14:imgEffect>
                      <a14:backgroundRemoval t="0" b="100000" l="0" r="100000">
                        <a14:foregroundMark x1="21176" y1="14474" x2="21176" y2="14474"/>
                        <a14:foregroundMark x1="38235" y1="13158" x2="38235" y2="13158"/>
                        <a14:foregroundMark x1="46471" y1="11842" x2="46471" y2="11842"/>
                        <a14:foregroundMark x1="54706" y1="9868" x2="54706" y2="9868"/>
                        <a14:foregroundMark x1="60588" y1="8553" x2="60588" y2="8553"/>
                        <a14:foregroundMark x1="63529" y1="8553" x2="63529" y2="8553"/>
                        <a14:foregroundMark x1="67647" y1="7895" x2="67647" y2="7895"/>
                        <a14:foregroundMark x1="70588" y1="7237" x2="70588" y2="7237"/>
                        <a14:foregroundMark x1="75882" y1="6579" x2="75882" y2="6579"/>
                        <a14:foregroundMark x1="78235" y1="5921" x2="78235" y2="5921"/>
                        <a14:foregroundMark x1="80588" y1="5263" x2="80588" y2="5263"/>
                        <a14:foregroundMark x1="83529" y1="4605" x2="83529" y2="4605"/>
                        <a14:foregroundMark x1="86471" y1="3947" x2="86471" y2="3947"/>
                        <a14:foregroundMark x1="89412" y1="3947" x2="89412" y2="3947"/>
                        <a14:foregroundMark x1="91765" y1="3947" x2="91765" y2="3947"/>
                        <a14:foregroundMark x1="94706" y1="3289" x2="94706" y2="3289"/>
                        <a14:foregroundMark x1="96471" y1="9211" x2="96471" y2="9211"/>
                        <a14:foregroundMark x1="96471" y1="13158" x2="96471" y2="13158"/>
                        <a14:foregroundMark x1="96471" y1="16447" x2="96471" y2="16447"/>
                        <a14:foregroundMark x1="96471" y1="20395" x2="96471" y2="20395"/>
                        <a14:foregroundMark x1="96471" y1="21711" x2="96471" y2="21711"/>
                        <a14:foregroundMark x1="96471" y1="25658" x2="96471" y2="26974"/>
                        <a14:foregroundMark x1="96471" y1="26974" x2="96471" y2="27632"/>
                        <a14:foregroundMark x1="96471" y1="29605" x2="96471" y2="29605"/>
                        <a14:foregroundMark x1="96471" y1="30921" x2="96471" y2="30921"/>
                        <a14:foregroundMark x1="96471" y1="32895" x2="96471" y2="32895"/>
                        <a14:foregroundMark x1="96471" y1="34211" x2="96471" y2="34211"/>
                        <a14:foregroundMark x1="96471" y1="34868" x2="96471" y2="34868"/>
                        <a14:foregroundMark x1="96471" y1="36184" x2="96471" y2="36184"/>
                        <a14:foregroundMark x1="96471" y1="36842" x2="96471" y2="36842"/>
                        <a14:foregroundMark x1="96471" y1="38158" x2="96471" y2="38158"/>
                        <a14:foregroundMark x1="96471" y1="39474" x2="96471" y2="39474"/>
                        <a14:foregroundMark x1="96471" y1="41447" x2="96471" y2="41447"/>
                        <a14:foregroundMark x1="96471" y1="43421" x2="96471" y2="44079"/>
                        <a14:foregroundMark x1="96471" y1="47368" x2="96471" y2="48684"/>
                        <a14:foregroundMark x1="96471" y1="56579" x2="96471" y2="57895"/>
                        <a14:foregroundMark x1="96471" y1="62500" x2="96471" y2="64474"/>
                        <a14:foregroundMark x1="96471" y1="70395" x2="96471" y2="71053"/>
                        <a14:foregroundMark x1="96471" y1="78947" x2="96471" y2="78947"/>
                        <a14:foregroundMark x1="95882" y1="91447" x2="95882" y2="91447"/>
                        <a14:foregroundMark x1="67647" y1="90132" x2="67647" y2="90132"/>
                        <a14:foregroundMark x1="65882" y1="88816" x2="65882" y2="88816"/>
                        <a14:foregroundMark x1="79412" y1="87500" x2="79412" y2="87500"/>
                        <a14:foregroundMark x1="54706" y1="86842" x2="54706" y2="86842"/>
                        <a14:foregroundMark x1="41765" y1="85526" x2="41765" y2="85526"/>
                        <a14:foregroundMark x1="29412" y1="82895" x2="29412" y2="82895"/>
                        <a14:foregroundMark x1="16471" y1="82895" x2="16471" y2="82895"/>
                        <a14:foregroundMark x1="21176" y1="80921" x2="21176" y2="80921"/>
                        <a14:foregroundMark x1="24118" y1="82237" x2="24118" y2="82237"/>
                        <a14:foregroundMark x1="7059" y1="82237" x2="7059" y2="82237"/>
                        <a14:foregroundMark x1="2353" y1="80921" x2="2353" y2="80921"/>
                        <a14:foregroundMark x1="588" y1="73684" x2="588" y2="73684"/>
                        <a14:foregroundMark x1="1765" y1="66447" x2="1765" y2="66447"/>
                        <a14:foregroundMark x1="1765" y1="66447" x2="1765" y2="66447"/>
                        <a14:foregroundMark x1="2353" y1="73684" x2="2353" y2="69737"/>
                        <a14:foregroundMark x1="1765" y1="63158" x2="1176" y2="55921"/>
                        <a14:foregroundMark x1="1176" y1="55263" x2="1176" y2="55263"/>
                        <a14:foregroundMark x1="2353" y1="41447" x2="2353" y2="41447"/>
                        <a14:foregroundMark x1="1765" y1="46711" x2="1765" y2="46711"/>
                        <a14:foregroundMark x1="1765" y1="48026" x2="1765" y2="48026"/>
                        <a14:foregroundMark x1="1765" y1="21711" x2="1765" y2="22368"/>
                        <a14:foregroundMark x1="1765" y1="25000" x2="1765" y2="25000"/>
                        <a14:foregroundMark x1="1765" y1="26316" x2="1765" y2="26974"/>
                        <a14:foregroundMark x1="1765" y1="30921" x2="1176" y2="32895"/>
                        <a14:foregroundMark x1="1176" y1="35526" x2="1176" y2="37500"/>
                        <a14:foregroundMark x1="1176" y1="38158" x2="1176" y2="38158"/>
                        <a14:foregroundMark x1="53529" y1="94737" x2="53529" y2="94737"/>
                        <a14:foregroundMark x1="44118" y1="94079" x2="44118" y2="94079"/>
                        <a14:foregroundMark x1="35294" y1="93421" x2="35294" y2="93421"/>
                        <a14:foregroundMark x1="44706" y1="91447" x2="44706" y2="91447"/>
                      </a14:backgroundRemoval>
                    </a14:imgEffect>
                  </a14:imgLayer>
                </a14:imgProps>
              </a:ext>
              <a:ext uri="{28A0092B-C50C-407E-A947-70E740481C1C}">
                <a14:useLocalDpi xmlns:a14="http://schemas.microsoft.com/office/drawing/2010/main"/>
              </a:ext>
            </a:extLst>
          </a:blip>
          <a:srcRect/>
          <a:stretch>
            <a:fillRect/>
          </a:stretch>
        </p:blipFill>
        <p:spPr bwMode="auto">
          <a:xfrm>
            <a:off x="8219778" y="5470689"/>
            <a:ext cx="1041145" cy="930907"/>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6" descr="http://www.technobuffalo.com/wp-content/uploads/2012/12/ipad-mini-scaled-1.jpg"/>
          <p:cNvPicPr>
            <a:picLocks noChangeAspect="1" noChangeArrowheads="1"/>
          </p:cNvPicPr>
          <p:nvPr>
            <p:custDataLst>
              <p:tags r:id="rId3"/>
            </p:custDataLst>
          </p:nvPr>
        </p:nvPicPr>
        <p:blipFill rotWithShape="1">
          <a:blip r:embed="rId70" cstate="hqprint">
            <a:extLst>
              <a:ext uri="{28A0092B-C50C-407E-A947-70E740481C1C}">
                <a14:useLocalDpi xmlns:a14="http://schemas.microsoft.com/office/drawing/2010/main"/>
              </a:ext>
            </a:extLst>
          </a:blip>
          <a:srcRect/>
          <a:stretch/>
        </p:blipFill>
        <p:spPr bwMode="auto">
          <a:xfrm>
            <a:off x="8640888" y="4995746"/>
            <a:ext cx="265588" cy="392860"/>
          </a:xfrm>
          <a:prstGeom prst="rect">
            <a:avLst/>
          </a:prstGeom>
          <a:noFill/>
          <a:extLst>
            <a:ext uri="{909E8E84-426E-40DD-AFC4-6F175D3DCCD1}">
              <a14:hiddenFill xmlns:a14="http://schemas.microsoft.com/office/drawing/2010/main">
                <a:solidFill>
                  <a:srgbClr val="FFFFFF"/>
                </a:solidFill>
              </a14:hiddenFill>
            </a:ext>
          </a:extLst>
        </p:spPr>
      </p:pic>
      <p:sp>
        <p:nvSpPr>
          <p:cNvPr id="133" name="Rounded Rectangle 96"/>
          <p:cNvSpPr/>
          <p:nvPr>
            <p:custDataLst>
              <p:tags r:id="rId4"/>
            </p:custDataLst>
          </p:nvPr>
        </p:nvSpPr>
        <p:spPr>
          <a:xfrm>
            <a:off x="9242758" y="4860084"/>
            <a:ext cx="731520" cy="385271"/>
          </a:xfrm>
          <a:prstGeom prst="roundRect">
            <a:avLst/>
          </a:prstGeom>
          <a:blipFill>
            <a:blip r:embed="rId71">
              <a:extLst>
                <a:ext uri="{BEBA8EAE-BF5A-486C-A8C5-ECC9F3942E4B}">
                  <a14:imgProps xmlns:a14="http://schemas.microsoft.com/office/drawing/2010/main">
                    <a14:imgLayer r:embed="rId72">
                      <a14:imgEffect>
                        <a14:sharpenSoften amount="100000"/>
                      </a14:imgEffect>
                    </a14:imgLayer>
                  </a14:imgProps>
                </a:ext>
              </a:extLst>
            </a:blip>
            <a:stretch>
              <a:fillRect/>
            </a:stretch>
          </a:bli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4" name="Rounded Rectangle 101"/>
          <p:cNvSpPr/>
          <p:nvPr>
            <p:custDataLst>
              <p:tags r:id="rId5"/>
            </p:custDataLst>
          </p:nvPr>
        </p:nvSpPr>
        <p:spPr>
          <a:xfrm>
            <a:off x="10150071" y="4621416"/>
            <a:ext cx="731520" cy="385271"/>
          </a:xfrm>
          <a:prstGeom prst="roundRect">
            <a:avLst/>
          </a:prstGeom>
          <a:blipFill>
            <a:blip r:embed="rId73">
              <a:extLst>
                <a:ext uri="{BEBA8EAE-BF5A-486C-A8C5-ECC9F3942E4B}">
                  <a14:imgProps xmlns:a14="http://schemas.microsoft.com/office/drawing/2010/main">
                    <a14:imgLayer r:embed="rId74">
                      <a14:imgEffect>
                        <a14:sharpenSoften amount="100000"/>
                      </a14:imgEffect>
                    </a14:imgLayer>
                  </a14:imgProps>
                </a:ext>
              </a:extLst>
            </a:blip>
            <a:stretch>
              <a:fillRect/>
            </a:stretch>
          </a:bli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5" name="Rounded Rectangle 103"/>
          <p:cNvSpPr/>
          <p:nvPr>
            <p:custDataLst>
              <p:tags r:id="rId6"/>
            </p:custDataLst>
          </p:nvPr>
        </p:nvSpPr>
        <p:spPr>
          <a:xfrm>
            <a:off x="9116784" y="5781520"/>
            <a:ext cx="731520" cy="385271"/>
          </a:xfrm>
          <a:prstGeom prst="roundRect">
            <a:avLst/>
          </a:prstGeom>
          <a:blipFill>
            <a:blip r:embed="rId75">
              <a:extLst>
                <a:ext uri="{BEBA8EAE-BF5A-486C-A8C5-ECC9F3942E4B}">
                  <a14:imgProps xmlns:a14="http://schemas.microsoft.com/office/drawing/2010/main">
                    <a14:imgLayer r:embed="rId76">
                      <a14:imgEffect>
                        <a14:sharpenSoften amount="100000"/>
                      </a14:imgEffect>
                    </a14:imgLayer>
                  </a14:imgProps>
                </a:ext>
              </a:extLst>
            </a:blip>
            <a:stretch>
              <a:fillRect/>
            </a:stretch>
          </a:bli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6" name="Rounded Rectangle 104"/>
          <p:cNvSpPr/>
          <p:nvPr>
            <p:custDataLst>
              <p:tags r:id="rId7"/>
            </p:custDataLst>
          </p:nvPr>
        </p:nvSpPr>
        <p:spPr>
          <a:xfrm>
            <a:off x="10187112" y="6075366"/>
            <a:ext cx="731520" cy="385271"/>
          </a:xfrm>
          <a:prstGeom prst="roundRect">
            <a:avLst/>
          </a:prstGeom>
          <a:blipFill>
            <a:blip r:embed="rId77"/>
            <a:stretch>
              <a:fillRect/>
            </a:stretch>
          </a:bli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7" name="Rounded Rectangle 105"/>
          <p:cNvSpPr/>
          <p:nvPr>
            <p:custDataLst>
              <p:tags r:id="rId8"/>
            </p:custDataLst>
          </p:nvPr>
        </p:nvSpPr>
        <p:spPr>
          <a:xfrm>
            <a:off x="11153799" y="5781520"/>
            <a:ext cx="731520" cy="385271"/>
          </a:xfrm>
          <a:prstGeom prst="roundRect">
            <a:avLst/>
          </a:prstGeom>
          <a:blipFill>
            <a:blip r:embed="rId78"/>
            <a:stretch>
              <a:fillRect/>
            </a:stretch>
          </a:bli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8" name="Rounded Rectangle 108"/>
          <p:cNvSpPr/>
          <p:nvPr>
            <p:custDataLst>
              <p:tags r:id="rId9"/>
            </p:custDataLst>
          </p:nvPr>
        </p:nvSpPr>
        <p:spPr>
          <a:xfrm>
            <a:off x="11117054" y="4957805"/>
            <a:ext cx="731520" cy="385271"/>
          </a:xfrm>
          <a:prstGeom prst="roundRect">
            <a:avLst/>
          </a:prstGeom>
          <a:blipFill>
            <a:blip r:embed="rId79"/>
            <a:stretch>
              <a:fillRect/>
            </a:stretch>
          </a:bli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39" name="Billede 138"/>
          <p:cNvPicPr>
            <a:picLocks noChangeAspect="1"/>
          </p:cNvPicPr>
          <p:nvPr/>
        </p:nvPicPr>
        <p:blipFill>
          <a:blip r:embed="rId80" cstate="hqprint">
            <a:extLst>
              <a:ext uri="{28A0092B-C50C-407E-A947-70E740481C1C}">
                <a14:useLocalDpi xmlns:a14="http://schemas.microsoft.com/office/drawing/2010/main"/>
              </a:ext>
            </a:extLst>
          </a:blip>
          <a:stretch>
            <a:fillRect/>
          </a:stretch>
        </p:blipFill>
        <p:spPr>
          <a:xfrm>
            <a:off x="4445435" y="5169262"/>
            <a:ext cx="312670" cy="312670"/>
          </a:xfrm>
          <a:prstGeom prst="rect">
            <a:avLst/>
          </a:prstGeom>
        </p:spPr>
      </p:pic>
      <p:pic>
        <p:nvPicPr>
          <p:cNvPr id="146" name="Billede 172"/>
          <p:cNvPicPr>
            <a:picLocks noChangeAspect="1"/>
          </p:cNvPicPr>
          <p:nvPr/>
        </p:nvPicPr>
        <p:blipFill rotWithShape="1">
          <a:blip r:embed="rId81" cstate="hqprint">
            <a:extLst>
              <a:ext uri="{BEBA8EAE-BF5A-486C-A8C5-ECC9F3942E4B}">
                <a14:imgProps xmlns:a14="http://schemas.microsoft.com/office/drawing/2010/main">
                  <a14:imgLayer r:embed="rId82">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6893688" y="5220390"/>
            <a:ext cx="575423" cy="371813"/>
          </a:xfrm>
          <a:prstGeom prst="rect">
            <a:avLst/>
          </a:prstGeom>
          <a:noFill/>
          <a:effectLst>
            <a:outerShdw blurRad="50800" dist="50800" dir="5400000" sx="38000" sy="38000" algn="ctr" rotWithShape="0">
              <a:srgbClr val="000000"/>
            </a:outerShdw>
          </a:effectLst>
        </p:spPr>
      </p:pic>
      <p:sp>
        <p:nvSpPr>
          <p:cNvPr id="147" name="Freeform 5"/>
          <p:cNvSpPr>
            <a:spLocks noChangeAspect="1" noEditPoints="1"/>
          </p:cNvSpPr>
          <p:nvPr/>
        </p:nvSpPr>
        <p:spPr bwMode="auto">
          <a:xfrm>
            <a:off x="7527942" y="5498711"/>
            <a:ext cx="392431" cy="361375"/>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Arial" panose="020B0604020202020204" pitchFamily="34" charset="0"/>
              <a:cs typeface="Arial" panose="020B0604020202020204" pitchFamily="34" charset="0"/>
            </a:endParaRPr>
          </a:p>
        </p:txBody>
      </p:sp>
      <p:pic>
        <p:nvPicPr>
          <p:cNvPr id="148" name="Billede 147"/>
          <p:cNvPicPr>
            <a:picLocks noChangeAspect="1"/>
          </p:cNvPicPr>
          <p:nvPr/>
        </p:nvPicPr>
        <p:blipFill>
          <a:blip r:embed="rId83" cstate="hqprint">
            <a:extLst>
              <a:ext uri="{28A0092B-C50C-407E-A947-70E740481C1C}">
                <a14:useLocalDpi xmlns:a14="http://schemas.microsoft.com/office/drawing/2010/main"/>
              </a:ext>
            </a:extLst>
          </a:blip>
          <a:stretch>
            <a:fillRect/>
          </a:stretch>
        </p:blipFill>
        <p:spPr>
          <a:xfrm>
            <a:off x="11102066" y="2701474"/>
            <a:ext cx="613775" cy="613775"/>
          </a:xfrm>
          <a:prstGeom prst="rect">
            <a:avLst/>
          </a:prstGeom>
        </p:spPr>
      </p:pic>
      <p:pic>
        <p:nvPicPr>
          <p:cNvPr id="149" name="Billede 148"/>
          <p:cNvPicPr>
            <a:picLocks noChangeAspect="1"/>
          </p:cNvPicPr>
          <p:nvPr/>
        </p:nvPicPr>
        <p:blipFill>
          <a:blip r:embed="rId84" cstate="hqprint">
            <a:extLst>
              <a:ext uri="{28A0092B-C50C-407E-A947-70E740481C1C}">
                <a14:useLocalDpi xmlns:a14="http://schemas.microsoft.com/office/drawing/2010/main"/>
              </a:ext>
            </a:extLst>
          </a:blip>
          <a:stretch>
            <a:fillRect/>
          </a:stretch>
        </p:blipFill>
        <p:spPr>
          <a:xfrm>
            <a:off x="937749" y="5975547"/>
            <a:ext cx="701837" cy="701837"/>
          </a:xfrm>
          <a:prstGeom prst="rect">
            <a:avLst/>
          </a:prstGeom>
        </p:spPr>
      </p:pic>
      <p:pic>
        <p:nvPicPr>
          <p:cNvPr id="150" name="Billede 149"/>
          <p:cNvPicPr>
            <a:picLocks noChangeAspect="1"/>
          </p:cNvPicPr>
          <p:nvPr/>
        </p:nvPicPr>
        <p:blipFill>
          <a:blip r:embed="rId85" cstate="hqprint">
            <a:extLst>
              <a:ext uri="{28A0092B-C50C-407E-A947-70E740481C1C}">
                <a14:useLocalDpi xmlns:a14="http://schemas.microsoft.com/office/drawing/2010/main"/>
              </a:ext>
            </a:extLst>
          </a:blip>
          <a:stretch>
            <a:fillRect/>
          </a:stretch>
        </p:blipFill>
        <p:spPr>
          <a:xfrm rot="10800000" flipV="1">
            <a:off x="180998" y="5977942"/>
            <a:ext cx="699442" cy="699442"/>
          </a:xfrm>
          <a:prstGeom prst="rect">
            <a:avLst/>
          </a:prstGeom>
        </p:spPr>
      </p:pic>
      <p:pic>
        <p:nvPicPr>
          <p:cNvPr id="151" name="Billede 150"/>
          <p:cNvPicPr>
            <a:picLocks noChangeAspect="1"/>
          </p:cNvPicPr>
          <p:nvPr/>
        </p:nvPicPr>
        <p:blipFill>
          <a:blip r:embed="rId86">
            <a:extLst>
              <a:ext uri="{28A0092B-C50C-407E-A947-70E740481C1C}">
                <a14:useLocalDpi xmlns:a14="http://schemas.microsoft.com/office/drawing/2010/main"/>
              </a:ext>
            </a:extLst>
          </a:blip>
          <a:stretch>
            <a:fillRect/>
          </a:stretch>
        </p:blipFill>
        <p:spPr>
          <a:xfrm>
            <a:off x="1561490" y="5920583"/>
            <a:ext cx="777765" cy="777765"/>
          </a:xfrm>
          <a:prstGeom prst="rect">
            <a:avLst/>
          </a:prstGeom>
        </p:spPr>
      </p:pic>
      <p:pic>
        <p:nvPicPr>
          <p:cNvPr id="152" name="Billede 151"/>
          <p:cNvPicPr>
            <a:picLocks noChangeAspect="1"/>
          </p:cNvPicPr>
          <p:nvPr/>
        </p:nvPicPr>
        <p:blipFill>
          <a:blip r:embed="rId87" cstate="hqprint">
            <a:biLevel thresh="75000"/>
            <a:extLst>
              <a:ext uri="{28A0092B-C50C-407E-A947-70E740481C1C}">
                <a14:useLocalDpi xmlns:a14="http://schemas.microsoft.com/office/drawing/2010/main"/>
              </a:ext>
            </a:extLst>
          </a:blip>
          <a:stretch>
            <a:fillRect/>
          </a:stretch>
        </p:blipFill>
        <p:spPr>
          <a:xfrm>
            <a:off x="2336665" y="5844259"/>
            <a:ext cx="853051" cy="853051"/>
          </a:xfrm>
          <a:prstGeom prst="rect">
            <a:avLst/>
          </a:prstGeom>
        </p:spPr>
      </p:pic>
      <p:pic>
        <p:nvPicPr>
          <p:cNvPr id="153" name="Picture 2" descr="http://pas-wordpress-media.s3.amazonaws.com/wp-content/uploads/2014/02/8-Tips-For-Getting-into-Retail-Channels.jpg"/>
          <p:cNvPicPr preferRelativeResize="0">
            <a:picLocks noChangeArrowheads="1"/>
          </p:cNvPicPr>
          <p:nvPr/>
        </p:nvPicPr>
        <p:blipFill>
          <a:blip r:embed="rId88" cstate="print">
            <a:grayscl/>
            <a:extLst>
              <a:ext uri="{28A0092B-C50C-407E-A947-70E740481C1C}">
                <a14:useLocalDpi xmlns:a14="http://schemas.microsoft.com/office/drawing/2010/main"/>
              </a:ext>
            </a:extLst>
          </a:blip>
          <a:srcRect/>
          <a:stretch>
            <a:fillRect/>
          </a:stretch>
        </p:blipFill>
        <p:spPr bwMode="auto">
          <a:xfrm>
            <a:off x="3745241" y="5844259"/>
            <a:ext cx="818384" cy="818385"/>
          </a:xfrm>
          <a:prstGeom prst="flowChartConnector">
            <a:avLst/>
          </a:prstGeom>
          <a:solidFill>
            <a:srgbClr val="44546A"/>
          </a:solidFill>
          <a:ln w="6350">
            <a:noFill/>
          </a:ln>
        </p:spPr>
      </p:pic>
      <p:pic>
        <p:nvPicPr>
          <p:cNvPr id="154" name="Picture 6" descr="https://upload.wikimedia.org/wikipedia/en/9/9a/Pharmacy_in_Mexico_City,_March_2010.jpg"/>
          <p:cNvPicPr preferRelativeResize="0">
            <a:picLocks noChangeArrowheads="1"/>
          </p:cNvPicPr>
          <p:nvPr/>
        </p:nvPicPr>
        <p:blipFill rotWithShape="1">
          <a:blip r:embed="rId89" cstate="hqprint">
            <a:grayscl/>
            <a:extLst>
              <a:ext uri="{28A0092B-C50C-407E-A947-70E740481C1C}">
                <a14:useLocalDpi xmlns:a14="http://schemas.microsoft.com/office/drawing/2010/main"/>
              </a:ext>
            </a:extLst>
          </a:blip>
          <a:srcRect/>
          <a:stretch/>
        </p:blipFill>
        <p:spPr bwMode="auto">
          <a:xfrm>
            <a:off x="4652107" y="5844258"/>
            <a:ext cx="818385" cy="818385"/>
          </a:xfrm>
          <a:prstGeom prst="flowChartConnector">
            <a:avLst/>
          </a:prstGeom>
          <a:solidFill>
            <a:srgbClr val="44546A"/>
          </a:solidFill>
          <a:ln w="6350">
            <a:noFill/>
          </a:ln>
        </p:spPr>
      </p:pic>
      <p:pic>
        <p:nvPicPr>
          <p:cNvPr id="155" name="Picture 2" descr="http://www.freshhifi.org/wp-content/uploads/2014/02/db-1.jpg"/>
          <p:cNvPicPr preferRelativeResize="0">
            <a:picLocks noChangeArrowheads="1"/>
          </p:cNvPicPr>
          <p:nvPr/>
        </p:nvPicPr>
        <p:blipFill>
          <a:blip r:embed="rId90" cstate="print">
            <a:grayscl/>
            <a:extLst>
              <a:ext uri="{28A0092B-C50C-407E-A947-70E740481C1C}">
                <a14:useLocalDpi xmlns:a14="http://schemas.microsoft.com/office/drawing/2010/main"/>
              </a:ext>
            </a:extLst>
          </a:blip>
          <a:srcRect/>
          <a:stretch>
            <a:fillRect/>
          </a:stretch>
        </p:blipFill>
        <p:spPr bwMode="auto">
          <a:xfrm>
            <a:off x="5306526" y="5087206"/>
            <a:ext cx="817200" cy="817200"/>
          </a:xfrm>
          <a:prstGeom prst="flowChartConnector">
            <a:avLst/>
          </a:prstGeom>
          <a:solidFill>
            <a:srgbClr val="44546A"/>
          </a:solidFill>
          <a:ln w="6350">
            <a:noFill/>
          </a:ln>
        </p:spPr>
      </p:pic>
      <p:sp>
        <p:nvSpPr>
          <p:cNvPr id="2" name="Title 1">
            <a:extLst>
              <a:ext uri="{FF2B5EF4-FFF2-40B4-BE49-F238E27FC236}">
                <a16:creationId xmlns:a16="http://schemas.microsoft.com/office/drawing/2014/main" id="{A64A281C-1A2F-6545-9A75-A4B45D03D80D}"/>
              </a:ext>
            </a:extLst>
          </p:cNvPr>
          <p:cNvSpPr>
            <a:spLocks noGrp="1"/>
          </p:cNvSpPr>
          <p:nvPr>
            <p:ph type="title"/>
          </p:nvPr>
        </p:nvSpPr>
        <p:spPr/>
        <p:txBody>
          <a:bodyPr/>
          <a:lstStyle/>
          <a:p>
            <a:endParaRPr lang="en-GB">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E2897B0C-6347-4D44-919A-6FE901CB72F9}"/>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B4F76142-27A0-1746-BCEC-1F6ECA98B549}"/>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469280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par>
                                <p:cTn id="8" presetID="10" presetClass="entr" presetSubtype="0" fill="hold" nodeType="withEffect">
                                  <p:stCondLst>
                                    <p:cond delay="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500"/>
                                        <p:tgtEl>
                                          <p:spTgt spid="1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19"/>
                                        </p:tgtEl>
                                      </p:cBhvr>
                                    </p:animEffect>
                                    <p:set>
                                      <p:cBhvr>
                                        <p:cTn id="15" dur="1" fill="hold">
                                          <p:stCondLst>
                                            <p:cond delay="499"/>
                                          </p:stCondLst>
                                        </p:cTn>
                                        <p:tgtEl>
                                          <p:spTgt spid="119"/>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37"/>
                                        </p:tgtEl>
                                        <p:attrNameLst>
                                          <p:attrName>style.visibility</p:attrName>
                                        </p:attrNameLst>
                                      </p:cBhvr>
                                      <p:to>
                                        <p:strVal val="visible"/>
                                      </p:to>
                                    </p:set>
                                    <p:animEffect transition="in" filter="fade">
                                      <p:cBhvr>
                                        <p:cTn id="20" dur="500"/>
                                        <p:tgtEl>
                                          <p:spTgt spid="13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38"/>
                                        </p:tgtEl>
                                        <p:attrNameLst>
                                          <p:attrName>style.visibility</p:attrName>
                                        </p:attrNameLst>
                                      </p:cBhvr>
                                      <p:to>
                                        <p:strVal val="visible"/>
                                      </p:to>
                                    </p:set>
                                    <p:animEffect transition="in" filter="fade">
                                      <p:cBhvr>
                                        <p:cTn id="23" dur="500"/>
                                        <p:tgtEl>
                                          <p:spTgt spid="13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34"/>
                                        </p:tgtEl>
                                        <p:attrNameLst>
                                          <p:attrName>style.visibility</p:attrName>
                                        </p:attrNameLst>
                                      </p:cBhvr>
                                      <p:to>
                                        <p:strVal val="visible"/>
                                      </p:to>
                                    </p:set>
                                    <p:animEffect transition="in" filter="fade">
                                      <p:cBhvr>
                                        <p:cTn id="26" dur="500"/>
                                        <p:tgtEl>
                                          <p:spTgt spid="13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33"/>
                                        </p:tgtEl>
                                        <p:attrNameLst>
                                          <p:attrName>style.visibility</p:attrName>
                                        </p:attrNameLst>
                                      </p:cBhvr>
                                      <p:to>
                                        <p:strVal val="visible"/>
                                      </p:to>
                                    </p:set>
                                    <p:animEffect transition="in" filter="fade">
                                      <p:cBhvr>
                                        <p:cTn id="29" dur="500"/>
                                        <p:tgtEl>
                                          <p:spTgt spid="13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5"/>
                                        </p:tgtEl>
                                        <p:attrNameLst>
                                          <p:attrName>style.visibility</p:attrName>
                                        </p:attrNameLst>
                                      </p:cBhvr>
                                      <p:to>
                                        <p:strVal val="visible"/>
                                      </p:to>
                                    </p:set>
                                    <p:animEffect transition="in" filter="fade">
                                      <p:cBhvr>
                                        <p:cTn id="32" dur="500"/>
                                        <p:tgtEl>
                                          <p:spTgt spid="13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36"/>
                                        </p:tgtEl>
                                        <p:attrNameLst>
                                          <p:attrName>style.visibility</p:attrName>
                                        </p:attrNameLst>
                                      </p:cBhvr>
                                      <p:to>
                                        <p:strVal val="visible"/>
                                      </p:to>
                                    </p:set>
                                    <p:animEffect transition="in" filter="fade">
                                      <p:cBhvr>
                                        <p:cTn id="35" dur="500"/>
                                        <p:tgtEl>
                                          <p:spTgt spid="136"/>
                                        </p:tgtEl>
                                      </p:cBhvr>
                                    </p:animEffect>
                                  </p:childTnLst>
                                </p:cTn>
                              </p:par>
                            </p:childTnLst>
                          </p:cTn>
                        </p:par>
                      </p:childTnLst>
                    </p:cTn>
                  </p:par>
                  <p:par>
                    <p:cTn id="36" fill="hold">
                      <p:stCondLst>
                        <p:cond delay="indefinite"/>
                      </p:stCondLst>
                      <p:childTnLst>
                        <p:par>
                          <p:cTn id="37" fill="hold">
                            <p:stCondLst>
                              <p:cond delay="0"/>
                            </p:stCondLst>
                            <p:childTnLst>
                              <p:par>
                                <p:cTn id="38" presetID="32" presetClass="emph" presetSubtype="0" fill="hold" grpId="1" nodeType="clickEffect">
                                  <p:stCondLst>
                                    <p:cond delay="0"/>
                                  </p:stCondLst>
                                  <p:childTnLst>
                                    <p:animRot by="120000">
                                      <p:cBhvr>
                                        <p:cTn id="39" dur="100" fill="hold">
                                          <p:stCondLst>
                                            <p:cond delay="0"/>
                                          </p:stCondLst>
                                        </p:cTn>
                                        <p:tgtEl>
                                          <p:spTgt spid="137"/>
                                        </p:tgtEl>
                                        <p:attrNameLst>
                                          <p:attrName>r</p:attrName>
                                        </p:attrNameLst>
                                      </p:cBhvr>
                                    </p:animRot>
                                    <p:animRot by="-240000">
                                      <p:cBhvr>
                                        <p:cTn id="40" dur="200" fill="hold">
                                          <p:stCondLst>
                                            <p:cond delay="200"/>
                                          </p:stCondLst>
                                        </p:cTn>
                                        <p:tgtEl>
                                          <p:spTgt spid="137"/>
                                        </p:tgtEl>
                                        <p:attrNameLst>
                                          <p:attrName>r</p:attrName>
                                        </p:attrNameLst>
                                      </p:cBhvr>
                                    </p:animRot>
                                    <p:animRot by="240000">
                                      <p:cBhvr>
                                        <p:cTn id="41" dur="200" fill="hold">
                                          <p:stCondLst>
                                            <p:cond delay="400"/>
                                          </p:stCondLst>
                                        </p:cTn>
                                        <p:tgtEl>
                                          <p:spTgt spid="137"/>
                                        </p:tgtEl>
                                        <p:attrNameLst>
                                          <p:attrName>r</p:attrName>
                                        </p:attrNameLst>
                                      </p:cBhvr>
                                    </p:animRot>
                                    <p:animRot by="-240000">
                                      <p:cBhvr>
                                        <p:cTn id="42" dur="200" fill="hold">
                                          <p:stCondLst>
                                            <p:cond delay="600"/>
                                          </p:stCondLst>
                                        </p:cTn>
                                        <p:tgtEl>
                                          <p:spTgt spid="137"/>
                                        </p:tgtEl>
                                        <p:attrNameLst>
                                          <p:attrName>r</p:attrName>
                                        </p:attrNameLst>
                                      </p:cBhvr>
                                    </p:animRot>
                                    <p:animRot by="120000">
                                      <p:cBhvr>
                                        <p:cTn id="43" dur="200" fill="hold">
                                          <p:stCondLst>
                                            <p:cond delay="800"/>
                                          </p:stCondLst>
                                        </p:cTn>
                                        <p:tgtEl>
                                          <p:spTgt spid="137"/>
                                        </p:tgtEl>
                                        <p:attrNameLst>
                                          <p:attrName>r</p:attrName>
                                        </p:attrNameLst>
                                      </p:cBhvr>
                                    </p:animRot>
                                  </p:childTnLst>
                                </p:cTn>
                              </p:par>
                              <p:par>
                                <p:cTn id="44" presetID="32" presetClass="emph" presetSubtype="0" fill="hold" grpId="1" nodeType="withEffect">
                                  <p:stCondLst>
                                    <p:cond delay="0"/>
                                  </p:stCondLst>
                                  <p:childTnLst>
                                    <p:animRot by="120000">
                                      <p:cBhvr>
                                        <p:cTn id="45" dur="100" fill="hold">
                                          <p:stCondLst>
                                            <p:cond delay="0"/>
                                          </p:stCondLst>
                                        </p:cTn>
                                        <p:tgtEl>
                                          <p:spTgt spid="138"/>
                                        </p:tgtEl>
                                        <p:attrNameLst>
                                          <p:attrName>r</p:attrName>
                                        </p:attrNameLst>
                                      </p:cBhvr>
                                    </p:animRot>
                                    <p:animRot by="-240000">
                                      <p:cBhvr>
                                        <p:cTn id="46" dur="200" fill="hold">
                                          <p:stCondLst>
                                            <p:cond delay="200"/>
                                          </p:stCondLst>
                                        </p:cTn>
                                        <p:tgtEl>
                                          <p:spTgt spid="138"/>
                                        </p:tgtEl>
                                        <p:attrNameLst>
                                          <p:attrName>r</p:attrName>
                                        </p:attrNameLst>
                                      </p:cBhvr>
                                    </p:animRot>
                                    <p:animRot by="240000">
                                      <p:cBhvr>
                                        <p:cTn id="47" dur="200" fill="hold">
                                          <p:stCondLst>
                                            <p:cond delay="400"/>
                                          </p:stCondLst>
                                        </p:cTn>
                                        <p:tgtEl>
                                          <p:spTgt spid="138"/>
                                        </p:tgtEl>
                                        <p:attrNameLst>
                                          <p:attrName>r</p:attrName>
                                        </p:attrNameLst>
                                      </p:cBhvr>
                                    </p:animRot>
                                    <p:animRot by="-240000">
                                      <p:cBhvr>
                                        <p:cTn id="48" dur="200" fill="hold">
                                          <p:stCondLst>
                                            <p:cond delay="600"/>
                                          </p:stCondLst>
                                        </p:cTn>
                                        <p:tgtEl>
                                          <p:spTgt spid="138"/>
                                        </p:tgtEl>
                                        <p:attrNameLst>
                                          <p:attrName>r</p:attrName>
                                        </p:attrNameLst>
                                      </p:cBhvr>
                                    </p:animRot>
                                    <p:animRot by="120000">
                                      <p:cBhvr>
                                        <p:cTn id="49" dur="200" fill="hold">
                                          <p:stCondLst>
                                            <p:cond delay="800"/>
                                          </p:stCondLst>
                                        </p:cTn>
                                        <p:tgtEl>
                                          <p:spTgt spid="138"/>
                                        </p:tgtEl>
                                        <p:attrNameLst>
                                          <p:attrName>r</p:attrName>
                                        </p:attrNameLst>
                                      </p:cBhvr>
                                    </p:animRot>
                                  </p:childTnLst>
                                </p:cTn>
                              </p:par>
                              <p:par>
                                <p:cTn id="50" presetID="32" presetClass="emph" presetSubtype="0" fill="hold" grpId="1" nodeType="withEffect">
                                  <p:stCondLst>
                                    <p:cond delay="0"/>
                                  </p:stCondLst>
                                  <p:childTnLst>
                                    <p:animRot by="120000">
                                      <p:cBhvr>
                                        <p:cTn id="51" dur="100" fill="hold">
                                          <p:stCondLst>
                                            <p:cond delay="0"/>
                                          </p:stCondLst>
                                        </p:cTn>
                                        <p:tgtEl>
                                          <p:spTgt spid="134"/>
                                        </p:tgtEl>
                                        <p:attrNameLst>
                                          <p:attrName>r</p:attrName>
                                        </p:attrNameLst>
                                      </p:cBhvr>
                                    </p:animRot>
                                    <p:animRot by="-240000">
                                      <p:cBhvr>
                                        <p:cTn id="52" dur="200" fill="hold">
                                          <p:stCondLst>
                                            <p:cond delay="200"/>
                                          </p:stCondLst>
                                        </p:cTn>
                                        <p:tgtEl>
                                          <p:spTgt spid="134"/>
                                        </p:tgtEl>
                                        <p:attrNameLst>
                                          <p:attrName>r</p:attrName>
                                        </p:attrNameLst>
                                      </p:cBhvr>
                                    </p:animRot>
                                    <p:animRot by="240000">
                                      <p:cBhvr>
                                        <p:cTn id="53" dur="200" fill="hold">
                                          <p:stCondLst>
                                            <p:cond delay="400"/>
                                          </p:stCondLst>
                                        </p:cTn>
                                        <p:tgtEl>
                                          <p:spTgt spid="134"/>
                                        </p:tgtEl>
                                        <p:attrNameLst>
                                          <p:attrName>r</p:attrName>
                                        </p:attrNameLst>
                                      </p:cBhvr>
                                    </p:animRot>
                                    <p:animRot by="-240000">
                                      <p:cBhvr>
                                        <p:cTn id="54" dur="200" fill="hold">
                                          <p:stCondLst>
                                            <p:cond delay="600"/>
                                          </p:stCondLst>
                                        </p:cTn>
                                        <p:tgtEl>
                                          <p:spTgt spid="134"/>
                                        </p:tgtEl>
                                        <p:attrNameLst>
                                          <p:attrName>r</p:attrName>
                                        </p:attrNameLst>
                                      </p:cBhvr>
                                    </p:animRot>
                                    <p:animRot by="120000">
                                      <p:cBhvr>
                                        <p:cTn id="55" dur="200" fill="hold">
                                          <p:stCondLst>
                                            <p:cond delay="800"/>
                                          </p:stCondLst>
                                        </p:cTn>
                                        <p:tgtEl>
                                          <p:spTgt spid="134"/>
                                        </p:tgtEl>
                                        <p:attrNameLst>
                                          <p:attrName>r</p:attrName>
                                        </p:attrNameLst>
                                      </p:cBhvr>
                                    </p:animRot>
                                  </p:childTnLst>
                                </p:cTn>
                              </p:par>
                              <p:par>
                                <p:cTn id="56" presetID="32" presetClass="emph" presetSubtype="0" fill="hold" grpId="1" nodeType="withEffect">
                                  <p:stCondLst>
                                    <p:cond delay="0"/>
                                  </p:stCondLst>
                                  <p:childTnLst>
                                    <p:animRot by="120000">
                                      <p:cBhvr>
                                        <p:cTn id="57" dur="100" fill="hold">
                                          <p:stCondLst>
                                            <p:cond delay="0"/>
                                          </p:stCondLst>
                                        </p:cTn>
                                        <p:tgtEl>
                                          <p:spTgt spid="133"/>
                                        </p:tgtEl>
                                        <p:attrNameLst>
                                          <p:attrName>r</p:attrName>
                                        </p:attrNameLst>
                                      </p:cBhvr>
                                    </p:animRot>
                                    <p:animRot by="-240000">
                                      <p:cBhvr>
                                        <p:cTn id="58" dur="200" fill="hold">
                                          <p:stCondLst>
                                            <p:cond delay="200"/>
                                          </p:stCondLst>
                                        </p:cTn>
                                        <p:tgtEl>
                                          <p:spTgt spid="133"/>
                                        </p:tgtEl>
                                        <p:attrNameLst>
                                          <p:attrName>r</p:attrName>
                                        </p:attrNameLst>
                                      </p:cBhvr>
                                    </p:animRot>
                                    <p:animRot by="240000">
                                      <p:cBhvr>
                                        <p:cTn id="59" dur="200" fill="hold">
                                          <p:stCondLst>
                                            <p:cond delay="400"/>
                                          </p:stCondLst>
                                        </p:cTn>
                                        <p:tgtEl>
                                          <p:spTgt spid="133"/>
                                        </p:tgtEl>
                                        <p:attrNameLst>
                                          <p:attrName>r</p:attrName>
                                        </p:attrNameLst>
                                      </p:cBhvr>
                                    </p:animRot>
                                    <p:animRot by="-240000">
                                      <p:cBhvr>
                                        <p:cTn id="60" dur="200" fill="hold">
                                          <p:stCondLst>
                                            <p:cond delay="600"/>
                                          </p:stCondLst>
                                        </p:cTn>
                                        <p:tgtEl>
                                          <p:spTgt spid="133"/>
                                        </p:tgtEl>
                                        <p:attrNameLst>
                                          <p:attrName>r</p:attrName>
                                        </p:attrNameLst>
                                      </p:cBhvr>
                                    </p:animRot>
                                    <p:animRot by="120000">
                                      <p:cBhvr>
                                        <p:cTn id="61" dur="200" fill="hold">
                                          <p:stCondLst>
                                            <p:cond delay="800"/>
                                          </p:stCondLst>
                                        </p:cTn>
                                        <p:tgtEl>
                                          <p:spTgt spid="133"/>
                                        </p:tgtEl>
                                        <p:attrNameLst>
                                          <p:attrName>r</p:attrName>
                                        </p:attrNameLst>
                                      </p:cBhvr>
                                    </p:animRot>
                                  </p:childTnLst>
                                </p:cTn>
                              </p:par>
                              <p:par>
                                <p:cTn id="62" presetID="32" presetClass="emph" presetSubtype="0" fill="hold" grpId="1" nodeType="withEffect">
                                  <p:stCondLst>
                                    <p:cond delay="0"/>
                                  </p:stCondLst>
                                  <p:childTnLst>
                                    <p:animRot by="120000">
                                      <p:cBhvr>
                                        <p:cTn id="63" dur="100" fill="hold">
                                          <p:stCondLst>
                                            <p:cond delay="0"/>
                                          </p:stCondLst>
                                        </p:cTn>
                                        <p:tgtEl>
                                          <p:spTgt spid="135"/>
                                        </p:tgtEl>
                                        <p:attrNameLst>
                                          <p:attrName>r</p:attrName>
                                        </p:attrNameLst>
                                      </p:cBhvr>
                                    </p:animRot>
                                    <p:animRot by="-240000">
                                      <p:cBhvr>
                                        <p:cTn id="64" dur="200" fill="hold">
                                          <p:stCondLst>
                                            <p:cond delay="200"/>
                                          </p:stCondLst>
                                        </p:cTn>
                                        <p:tgtEl>
                                          <p:spTgt spid="135"/>
                                        </p:tgtEl>
                                        <p:attrNameLst>
                                          <p:attrName>r</p:attrName>
                                        </p:attrNameLst>
                                      </p:cBhvr>
                                    </p:animRot>
                                    <p:animRot by="240000">
                                      <p:cBhvr>
                                        <p:cTn id="65" dur="200" fill="hold">
                                          <p:stCondLst>
                                            <p:cond delay="400"/>
                                          </p:stCondLst>
                                        </p:cTn>
                                        <p:tgtEl>
                                          <p:spTgt spid="135"/>
                                        </p:tgtEl>
                                        <p:attrNameLst>
                                          <p:attrName>r</p:attrName>
                                        </p:attrNameLst>
                                      </p:cBhvr>
                                    </p:animRot>
                                    <p:animRot by="-240000">
                                      <p:cBhvr>
                                        <p:cTn id="66" dur="200" fill="hold">
                                          <p:stCondLst>
                                            <p:cond delay="600"/>
                                          </p:stCondLst>
                                        </p:cTn>
                                        <p:tgtEl>
                                          <p:spTgt spid="135"/>
                                        </p:tgtEl>
                                        <p:attrNameLst>
                                          <p:attrName>r</p:attrName>
                                        </p:attrNameLst>
                                      </p:cBhvr>
                                    </p:animRot>
                                    <p:animRot by="120000">
                                      <p:cBhvr>
                                        <p:cTn id="67" dur="200" fill="hold">
                                          <p:stCondLst>
                                            <p:cond delay="800"/>
                                          </p:stCondLst>
                                        </p:cTn>
                                        <p:tgtEl>
                                          <p:spTgt spid="135"/>
                                        </p:tgtEl>
                                        <p:attrNameLst>
                                          <p:attrName>r</p:attrName>
                                        </p:attrNameLst>
                                      </p:cBhvr>
                                    </p:animRot>
                                  </p:childTnLst>
                                </p:cTn>
                              </p:par>
                              <p:par>
                                <p:cTn id="68" presetID="32" presetClass="emph" presetSubtype="0" fill="hold" grpId="1" nodeType="withEffect">
                                  <p:stCondLst>
                                    <p:cond delay="0"/>
                                  </p:stCondLst>
                                  <p:childTnLst>
                                    <p:animRot by="120000">
                                      <p:cBhvr>
                                        <p:cTn id="69" dur="100" fill="hold">
                                          <p:stCondLst>
                                            <p:cond delay="0"/>
                                          </p:stCondLst>
                                        </p:cTn>
                                        <p:tgtEl>
                                          <p:spTgt spid="136"/>
                                        </p:tgtEl>
                                        <p:attrNameLst>
                                          <p:attrName>r</p:attrName>
                                        </p:attrNameLst>
                                      </p:cBhvr>
                                    </p:animRot>
                                    <p:animRot by="-240000">
                                      <p:cBhvr>
                                        <p:cTn id="70" dur="200" fill="hold">
                                          <p:stCondLst>
                                            <p:cond delay="200"/>
                                          </p:stCondLst>
                                        </p:cTn>
                                        <p:tgtEl>
                                          <p:spTgt spid="136"/>
                                        </p:tgtEl>
                                        <p:attrNameLst>
                                          <p:attrName>r</p:attrName>
                                        </p:attrNameLst>
                                      </p:cBhvr>
                                    </p:animRot>
                                    <p:animRot by="240000">
                                      <p:cBhvr>
                                        <p:cTn id="71" dur="200" fill="hold">
                                          <p:stCondLst>
                                            <p:cond delay="400"/>
                                          </p:stCondLst>
                                        </p:cTn>
                                        <p:tgtEl>
                                          <p:spTgt spid="136"/>
                                        </p:tgtEl>
                                        <p:attrNameLst>
                                          <p:attrName>r</p:attrName>
                                        </p:attrNameLst>
                                      </p:cBhvr>
                                    </p:animRot>
                                    <p:animRot by="-240000">
                                      <p:cBhvr>
                                        <p:cTn id="72" dur="200" fill="hold">
                                          <p:stCondLst>
                                            <p:cond delay="600"/>
                                          </p:stCondLst>
                                        </p:cTn>
                                        <p:tgtEl>
                                          <p:spTgt spid="136"/>
                                        </p:tgtEl>
                                        <p:attrNameLst>
                                          <p:attrName>r</p:attrName>
                                        </p:attrNameLst>
                                      </p:cBhvr>
                                    </p:animRot>
                                    <p:animRot by="120000">
                                      <p:cBhvr>
                                        <p:cTn id="73" dur="200" fill="hold">
                                          <p:stCondLst>
                                            <p:cond delay="800"/>
                                          </p:stCondLst>
                                        </p:cTn>
                                        <p:tgtEl>
                                          <p:spTgt spid="136"/>
                                        </p:tgtEl>
                                        <p:attrNameLst>
                                          <p:attrName>r</p:attrName>
                                        </p:attrNameLst>
                                      </p:cBhvr>
                                    </p:animRot>
                                  </p:childTnLst>
                                </p:cTn>
                              </p:par>
                              <p:par>
                                <p:cTn id="74" presetID="10" presetClass="entr" presetSubtype="0" fill="hold" nodeType="withEffect">
                                  <p:stCondLst>
                                    <p:cond delay="0"/>
                                  </p:stCondLst>
                                  <p:childTnLst>
                                    <p:set>
                                      <p:cBhvr>
                                        <p:cTn id="75" dur="1" fill="hold">
                                          <p:stCondLst>
                                            <p:cond delay="0"/>
                                          </p:stCondLst>
                                        </p:cTn>
                                        <p:tgtEl>
                                          <p:spTgt spid="146"/>
                                        </p:tgtEl>
                                        <p:attrNameLst>
                                          <p:attrName>style.visibility</p:attrName>
                                        </p:attrNameLst>
                                      </p:cBhvr>
                                      <p:to>
                                        <p:strVal val="visible"/>
                                      </p:to>
                                    </p:set>
                                    <p:animEffect transition="in" filter="fade">
                                      <p:cBhvr>
                                        <p:cTn id="76"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animBg="1"/>
      <p:bldP spid="133" grpId="1" animBg="1"/>
      <p:bldP spid="134" grpId="0" animBg="1"/>
      <p:bldP spid="134" grpId="1" animBg="1"/>
      <p:bldP spid="135" grpId="0" animBg="1"/>
      <p:bldP spid="135" grpId="1" animBg="1"/>
      <p:bldP spid="136" grpId="0" animBg="1"/>
      <p:bldP spid="136" grpId="1" animBg="1"/>
      <p:bldP spid="137" grpId="0" animBg="1"/>
      <p:bldP spid="137" grpId="1" animBg="1"/>
      <p:bldP spid="138" grpId="0" animBg="1"/>
      <p:bldP spid="138"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EB900B-BDC2-F740-8CB9-E859356C94F3}"/>
              </a:ext>
            </a:extLst>
          </p:cNvPr>
          <p:cNvSpPr>
            <a:spLocks noGrp="1"/>
          </p:cNvSpPr>
          <p:nvPr>
            <p:ph type="body" sz="quarter" idx="4294967295"/>
          </p:nvPr>
        </p:nvSpPr>
        <p:spPr>
          <a:xfrm>
            <a:off x="620911" y="6128726"/>
            <a:ext cx="10948800" cy="180595"/>
          </a:xfrm>
          <a:prstGeom prst="rect">
            <a:avLst/>
          </a:prstGeom>
        </p:spPr>
        <p:txBody>
          <a:bodyPr/>
          <a:lstStyle/>
          <a:p>
            <a:endParaRPr lang="en-GB"/>
          </a:p>
        </p:txBody>
      </p:sp>
      <p:sp>
        <p:nvSpPr>
          <p:cNvPr id="3" name="Text Placeholder 2">
            <a:extLst>
              <a:ext uri="{FF2B5EF4-FFF2-40B4-BE49-F238E27FC236}">
                <a16:creationId xmlns:a16="http://schemas.microsoft.com/office/drawing/2014/main" id="{A24B9F1D-B751-4E4D-81A0-AC14BED5FD1C}"/>
              </a:ext>
            </a:extLst>
          </p:cNvPr>
          <p:cNvSpPr>
            <a:spLocks noGrp="1"/>
          </p:cNvSpPr>
          <p:nvPr>
            <p:ph type="body" sz="quarter" idx="4294967295"/>
          </p:nvPr>
        </p:nvSpPr>
        <p:spPr>
          <a:xfrm>
            <a:off x="620911" y="5941061"/>
            <a:ext cx="10948800" cy="180595"/>
          </a:xfrm>
          <a:prstGeom prst="rect">
            <a:avLst/>
          </a:prstGeom>
        </p:spPr>
        <p:txBody>
          <a:bodyPr/>
          <a:lstStyle/>
          <a:p>
            <a:endParaRPr lang="en-GB"/>
          </a:p>
        </p:txBody>
      </p:sp>
      <p:sp>
        <p:nvSpPr>
          <p:cNvPr id="4" name="Title 3">
            <a:extLst>
              <a:ext uri="{FF2B5EF4-FFF2-40B4-BE49-F238E27FC236}">
                <a16:creationId xmlns:a16="http://schemas.microsoft.com/office/drawing/2014/main" id="{C695D664-EDA6-2948-8B17-56DDC92F37B1}"/>
              </a:ext>
            </a:extLst>
          </p:cNvPr>
          <p:cNvSpPr>
            <a:spLocks noGrp="1"/>
          </p:cNvSpPr>
          <p:nvPr>
            <p:ph type="title"/>
          </p:nvPr>
        </p:nvSpPr>
        <p:spPr/>
        <p:txBody>
          <a:bodyPr/>
          <a:lstStyle/>
          <a:p>
            <a:r>
              <a:rPr lang="en-GB" dirty="0"/>
              <a:t>Index</a:t>
            </a:r>
          </a:p>
        </p:txBody>
      </p:sp>
      <p:sp>
        <p:nvSpPr>
          <p:cNvPr id="5" name="TextBox 4">
            <a:extLst>
              <a:ext uri="{FF2B5EF4-FFF2-40B4-BE49-F238E27FC236}">
                <a16:creationId xmlns:a16="http://schemas.microsoft.com/office/drawing/2014/main" id="{48090724-1C68-E643-85DE-3C2FC2930A3D}"/>
              </a:ext>
            </a:extLst>
          </p:cNvPr>
          <p:cNvSpPr txBox="1"/>
          <p:nvPr/>
        </p:nvSpPr>
        <p:spPr>
          <a:xfrm>
            <a:off x="896367" y="1364388"/>
            <a:ext cx="2250000" cy="218303"/>
          </a:xfrm>
          <a:prstGeom prst="rect">
            <a:avLst/>
          </a:prstGeom>
          <a:solidFill>
            <a:schemeClr val="accent6"/>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ctr"/>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7178"/>
            <a:r>
              <a:rPr lang="is-IS" sz="1350" dirty="0">
                <a:solidFill>
                  <a:srgbClr val="FFFFFF"/>
                </a:solidFill>
                <a:latin typeface="Arial" panose="020B0604020202020204" pitchFamily="34" charset="0"/>
                <a:ea typeface="Avenir Bog" charset="0"/>
                <a:cs typeface="Arial" panose="020B0604020202020204" pitchFamily="34" charset="0"/>
              </a:rPr>
              <a:t>Insights</a:t>
            </a:r>
            <a:endParaRPr lang="en-US" sz="1350" dirty="0">
              <a:solidFill>
                <a:srgbClr val="FFFFFF"/>
              </a:solidFill>
              <a:latin typeface="Arial" panose="020B0604020202020204" pitchFamily="34" charset="0"/>
              <a:ea typeface="Avenir Bog" charset="0"/>
              <a:cs typeface="Arial" panose="020B0604020202020204" pitchFamily="34" charset="0"/>
            </a:endParaRPr>
          </a:p>
        </p:txBody>
      </p:sp>
      <p:sp>
        <p:nvSpPr>
          <p:cNvPr id="6" name="TextBox 5">
            <a:extLst>
              <a:ext uri="{FF2B5EF4-FFF2-40B4-BE49-F238E27FC236}">
                <a16:creationId xmlns:a16="http://schemas.microsoft.com/office/drawing/2014/main" id="{D38F9D3D-8CB0-4D47-A49A-0F4D65401A77}"/>
              </a:ext>
            </a:extLst>
          </p:cNvPr>
          <p:cNvSpPr txBox="1"/>
          <p:nvPr/>
        </p:nvSpPr>
        <p:spPr>
          <a:xfrm>
            <a:off x="3472198" y="1368929"/>
            <a:ext cx="2250000" cy="218303"/>
          </a:xfrm>
          <a:prstGeom prst="rect">
            <a:avLst/>
          </a:prstGeom>
          <a:solidFill>
            <a:schemeClr val="accent6"/>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ctr"/>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7178"/>
            <a:r>
              <a:rPr lang="is-IS" sz="1350" dirty="0">
                <a:solidFill>
                  <a:srgbClr val="FFFFFF"/>
                </a:solidFill>
                <a:latin typeface="Arial" panose="020B0604020202020204" pitchFamily="34" charset="0"/>
                <a:ea typeface="Avenir Bog" charset="0"/>
                <a:cs typeface="Arial" panose="020B0604020202020204" pitchFamily="34" charset="0"/>
              </a:rPr>
              <a:t>Solution</a:t>
            </a:r>
            <a:endParaRPr lang="en-US" sz="1350" dirty="0">
              <a:solidFill>
                <a:srgbClr val="FFFFFF"/>
              </a:solidFill>
              <a:latin typeface="Arial" panose="020B0604020202020204" pitchFamily="34" charset="0"/>
              <a:ea typeface="Avenir Bog" charset="0"/>
              <a:cs typeface="Arial" panose="020B0604020202020204" pitchFamily="34" charset="0"/>
            </a:endParaRPr>
          </a:p>
        </p:txBody>
      </p:sp>
      <p:sp>
        <p:nvSpPr>
          <p:cNvPr id="7" name="TextBox 6">
            <a:extLst>
              <a:ext uri="{FF2B5EF4-FFF2-40B4-BE49-F238E27FC236}">
                <a16:creationId xmlns:a16="http://schemas.microsoft.com/office/drawing/2014/main" id="{46173E44-79D1-6C4D-92A7-EF6DBF589F7A}"/>
              </a:ext>
            </a:extLst>
          </p:cNvPr>
          <p:cNvSpPr txBox="1"/>
          <p:nvPr/>
        </p:nvSpPr>
        <p:spPr>
          <a:xfrm>
            <a:off x="5991757" y="1364388"/>
            <a:ext cx="2250000" cy="218303"/>
          </a:xfrm>
          <a:prstGeom prst="rect">
            <a:avLst/>
          </a:prstGeom>
          <a:solidFill>
            <a:schemeClr val="accent6"/>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ctr"/>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7178"/>
            <a:r>
              <a:rPr lang="is-IS" sz="1350" dirty="0">
                <a:solidFill>
                  <a:srgbClr val="FFFFFF"/>
                </a:solidFill>
                <a:latin typeface="Arial" panose="020B0604020202020204" pitchFamily="34" charset="0"/>
                <a:ea typeface="Avenir Bog" charset="0"/>
                <a:cs typeface="Arial" panose="020B0604020202020204" pitchFamily="34" charset="0"/>
              </a:rPr>
              <a:t>Impact &amp; implementation</a:t>
            </a:r>
            <a:endParaRPr lang="en-US" sz="1350" dirty="0">
              <a:solidFill>
                <a:srgbClr val="FFFFFF"/>
              </a:solidFill>
              <a:latin typeface="Arial" panose="020B0604020202020204" pitchFamily="34" charset="0"/>
              <a:ea typeface="Avenir Bog" charset="0"/>
              <a:cs typeface="Arial" panose="020B0604020202020204" pitchFamily="34" charset="0"/>
            </a:endParaRPr>
          </a:p>
        </p:txBody>
      </p:sp>
      <p:sp>
        <p:nvSpPr>
          <p:cNvPr id="8" name="TextBox 7">
            <a:extLst>
              <a:ext uri="{FF2B5EF4-FFF2-40B4-BE49-F238E27FC236}">
                <a16:creationId xmlns:a16="http://schemas.microsoft.com/office/drawing/2014/main" id="{96DFA0E6-B2DA-0447-A7A6-ADF54FB0C754}"/>
              </a:ext>
            </a:extLst>
          </p:cNvPr>
          <p:cNvSpPr txBox="1"/>
          <p:nvPr/>
        </p:nvSpPr>
        <p:spPr>
          <a:xfrm>
            <a:off x="8539119" y="1364388"/>
            <a:ext cx="2807228" cy="218303"/>
          </a:xfrm>
          <a:prstGeom prst="rect">
            <a:avLst/>
          </a:prstGeom>
          <a:solidFill>
            <a:schemeClr val="accent6"/>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ctr"/>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7178"/>
            <a:r>
              <a:rPr lang="is-IS" sz="1350" dirty="0">
                <a:solidFill>
                  <a:srgbClr val="FFFFFF"/>
                </a:solidFill>
                <a:latin typeface="Arial" panose="020B0604020202020204" pitchFamily="34" charset="0"/>
                <a:ea typeface="Avenir Bog" charset="0"/>
                <a:cs typeface="Arial" panose="020B0604020202020204" pitchFamily="34" charset="0"/>
              </a:rPr>
              <a:t>Appendices</a:t>
            </a:r>
            <a:endParaRPr lang="en-US" sz="1350" dirty="0">
              <a:solidFill>
                <a:srgbClr val="FFFFFF"/>
              </a:solidFill>
              <a:latin typeface="Arial" panose="020B0604020202020204" pitchFamily="34" charset="0"/>
              <a:ea typeface="Avenir Bog" charset="0"/>
              <a:cs typeface="Arial" panose="020B0604020202020204" pitchFamily="34" charset="0"/>
            </a:endParaRPr>
          </a:p>
        </p:txBody>
      </p:sp>
      <p:sp>
        <p:nvSpPr>
          <p:cNvPr id="9" name="TextBox 8">
            <a:extLst>
              <a:ext uri="{FF2B5EF4-FFF2-40B4-BE49-F238E27FC236}">
                <a16:creationId xmlns:a16="http://schemas.microsoft.com/office/drawing/2014/main" id="{264E5D6D-33CC-1E4F-A8C7-065792A90F5E}"/>
              </a:ext>
            </a:extLst>
          </p:cNvPr>
          <p:cNvSpPr txBox="1"/>
          <p:nvPr/>
        </p:nvSpPr>
        <p:spPr>
          <a:xfrm>
            <a:off x="896368" y="1714501"/>
            <a:ext cx="2250665" cy="4033156"/>
          </a:xfrm>
          <a:prstGeom prst="rect">
            <a:avLst/>
          </a:prstGeom>
          <a:noFill/>
          <a:ln>
            <a:solidFill>
              <a:srgbClr val="44546A"/>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t"/>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8600" indent="-228600" algn="l" defTabSz="457178">
              <a:lnSpc>
                <a:spcPct val="150000"/>
              </a:lnSpc>
              <a:buFont typeface="+mj-lt"/>
              <a:buAutoNum type="arabicPeriod" startAt="2"/>
            </a:pPr>
            <a:r>
              <a:rPr lang="en-US" sz="975" dirty="0">
                <a:solidFill>
                  <a:srgbClr val="000000"/>
                </a:solidFill>
                <a:latin typeface="Arial" panose="020B0604020202020204" pitchFamily="34" charset="0"/>
                <a:ea typeface="Avenir Bog" charset="0"/>
                <a:cs typeface="Arial" panose="020B0604020202020204" pitchFamily="34" charset="0"/>
                <a:hlinkClick r:id="rId2" action="ppaction://hlinksldjump"/>
              </a:rPr>
              <a:t>Executive summary</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lnSpc>
                <a:spcPct val="150000"/>
              </a:lnSpc>
              <a:buFont typeface="+mj-lt"/>
              <a:buAutoNum type="arabicPeriod" startAt="2"/>
            </a:pPr>
            <a:r>
              <a:rPr lang="en-US" sz="975" dirty="0">
                <a:solidFill>
                  <a:srgbClr val="000000"/>
                </a:solidFill>
                <a:latin typeface="Arial" panose="020B0604020202020204" pitchFamily="34" charset="0"/>
                <a:ea typeface="Avenir Bog" charset="0"/>
                <a:cs typeface="Arial" panose="020B0604020202020204" pitchFamily="34" charset="0"/>
                <a:hlinkClick r:id="rId3" action="ppaction://hlinksldjump"/>
              </a:rPr>
              <a:t>Sweden displays promising potential for growth and low-concentrated market</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lnSpc>
                <a:spcPct val="150000"/>
              </a:lnSpc>
              <a:buFont typeface="+mj-lt"/>
              <a:buAutoNum type="arabicPeriod" startAt="2"/>
            </a:pPr>
            <a:r>
              <a:rPr lang="en-US" sz="975" dirty="0">
                <a:solidFill>
                  <a:srgbClr val="000000"/>
                </a:solidFill>
                <a:latin typeface="Arial" panose="020B0604020202020204" pitchFamily="34" charset="0"/>
                <a:ea typeface="Avenir Bog" charset="0"/>
                <a:cs typeface="Arial" panose="020B0604020202020204" pitchFamily="34" charset="0"/>
                <a:hlinkClick r:id="rId4" action="ppaction://hlinksldjump"/>
              </a:rPr>
              <a:t>Market is generally fragmented, but branded shops gaining foothold</a:t>
            </a:r>
            <a:endParaRPr lang="en-US" sz="975" dirty="0">
              <a:solidFill>
                <a:srgbClr val="000000"/>
              </a:solidFill>
              <a:latin typeface="Arial" panose="020B0604020202020204" pitchFamily="34" charset="0"/>
              <a:ea typeface="Avenir Bog" charset="0"/>
              <a:cs typeface="Arial" panose="020B0604020202020204" pitchFamily="34" charset="0"/>
              <a:hlinkClick r:id="rId5" action="ppaction://hlinksldjump"/>
            </a:endParaRPr>
          </a:p>
          <a:p>
            <a:pPr marL="228600" indent="-228600" algn="l" defTabSz="457178">
              <a:lnSpc>
                <a:spcPct val="150000"/>
              </a:lnSpc>
              <a:buFont typeface="+mj-lt"/>
              <a:buAutoNum type="arabicPeriod" startAt="2"/>
            </a:pPr>
            <a:r>
              <a:rPr lang="en-US" sz="975" dirty="0">
                <a:solidFill>
                  <a:srgbClr val="000000"/>
                </a:solidFill>
                <a:latin typeface="Arial" panose="020B0604020202020204" pitchFamily="34" charset="0"/>
                <a:ea typeface="Avenir Bog" charset="0"/>
                <a:cs typeface="Arial" panose="020B0604020202020204" pitchFamily="34" charset="0"/>
                <a:hlinkClick r:id="rId6" action="ppaction://hlinksldjump"/>
              </a:rPr>
              <a:t>Franchising is the most viable expansion strategy</a:t>
            </a:r>
            <a:endParaRPr lang="en-US" sz="975" dirty="0">
              <a:solidFill>
                <a:srgbClr val="000000"/>
              </a:solidFill>
              <a:latin typeface="Arial" panose="020B0604020202020204" pitchFamily="34" charset="0"/>
              <a:ea typeface="Avenir Bog" charset="0"/>
              <a:cs typeface="Arial" panose="020B0604020202020204" pitchFamily="34" charset="0"/>
              <a:hlinkClick r:id="rId5" action="ppaction://hlinksldjump"/>
            </a:endParaRPr>
          </a:p>
        </p:txBody>
      </p:sp>
      <p:sp>
        <p:nvSpPr>
          <p:cNvPr id="10" name="TextBox 9">
            <a:extLst>
              <a:ext uri="{FF2B5EF4-FFF2-40B4-BE49-F238E27FC236}">
                <a16:creationId xmlns:a16="http://schemas.microsoft.com/office/drawing/2014/main" id="{2AE98317-3FDB-754C-B40C-8D5609C3A362}"/>
              </a:ext>
            </a:extLst>
          </p:cNvPr>
          <p:cNvSpPr txBox="1"/>
          <p:nvPr/>
        </p:nvSpPr>
        <p:spPr>
          <a:xfrm>
            <a:off x="3444395" y="1714501"/>
            <a:ext cx="2250000" cy="4033156"/>
          </a:xfrm>
          <a:prstGeom prst="rect">
            <a:avLst/>
          </a:prstGeom>
          <a:noFill/>
          <a:ln>
            <a:solidFill>
              <a:srgbClr val="44546A"/>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t"/>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8600" indent="-228600" algn="l" defTabSz="457178">
              <a:lnSpc>
                <a:spcPct val="150000"/>
              </a:lnSpc>
              <a:buFont typeface="+mj-lt"/>
              <a:buAutoNum type="arabicPeriod" startAt="6"/>
            </a:pPr>
            <a:r>
              <a:rPr lang="en-US" sz="975" dirty="0">
                <a:solidFill>
                  <a:srgbClr val="000000"/>
                </a:solidFill>
                <a:latin typeface="Arial" panose="020B0604020202020204" pitchFamily="34" charset="0"/>
                <a:ea typeface="Avenir Bog" charset="0"/>
                <a:cs typeface="Arial" panose="020B0604020202020204" pitchFamily="34" charset="0"/>
                <a:hlinkClick r:id="rId7" action="ppaction://hlinksldjump"/>
              </a:rPr>
              <a:t>Independent coffee outlets are ideal as franchisees</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lnSpc>
                <a:spcPct val="150000"/>
              </a:lnSpc>
              <a:buFont typeface="+mj-lt"/>
              <a:buAutoNum type="arabicPeriod" startAt="6"/>
            </a:pPr>
            <a:r>
              <a:rPr lang="en-US" sz="975" dirty="0">
                <a:solidFill>
                  <a:srgbClr val="000000"/>
                </a:solidFill>
                <a:latin typeface="Arial" panose="020B0604020202020204" pitchFamily="34" charset="0"/>
                <a:ea typeface="Avenir Bog" charset="0"/>
                <a:cs typeface="Arial" panose="020B0604020202020204" pitchFamily="34" charset="0"/>
                <a:hlinkClick r:id="rId8" action="ppaction://hlinksldjump"/>
              </a:rPr>
              <a:t>Espresso House must offer a strong value proposition</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lnSpc>
                <a:spcPct val="150000"/>
              </a:lnSpc>
              <a:buFont typeface="+mj-lt"/>
              <a:buAutoNum type="arabicPeriod" startAt="6"/>
            </a:pPr>
            <a:r>
              <a:rPr lang="en-US" sz="975" dirty="0">
                <a:solidFill>
                  <a:srgbClr val="000000"/>
                </a:solidFill>
                <a:latin typeface="Arial" panose="020B0604020202020204" pitchFamily="34" charset="0"/>
                <a:ea typeface="Avenir Bog" charset="0"/>
                <a:cs typeface="Arial" panose="020B0604020202020204" pitchFamily="34" charset="0"/>
                <a:hlinkClick r:id="rId9" action="ppaction://hlinksldjump"/>
              </a:rPr>
              <a:t>Franchising concept</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lnSpc>
                <a:spcPct val="150000"/>
              </a:lnSpc>
              <a:buFont typeface="+mj-lt"/>
              <a:buAutoNum type="arabicPeriod" startAt="6"/>
            </a:pPr>
            <a:r>
              <a:rPr lang="en-US" sz="975" dirty="0">
                <a:solidFill>
                  <a:srgbClr val="000000"/>
                </a:solidFill>
                <a:latin typeface="Arial" panose="020B0604020202020204" pitchFamily="34" charset="0"/>
                <a:ea typeface="Avenir Bog" charset="0"/>
                <a:cs typeface="Arial" panose="020B0604020202020204" pitchFamily="34" charset="0"/>
                <a:hlinkClick r:id="rId10" action="ppaction://hlinksldjump"/>
              </a:rPr>
              <a:t>New markets expansion</a:t>
            </a:r>
            <a:endParaRPr lang="en-US" sz="975" dirty="0">
              <a:solidFill>
                <a:srgbClr val="000000"/>
              </a:solidFill>
              <a:latin typeface="Arial" panose="020B0604020202020204" pitchFamily="34" charset="0"/>
              <a:ea typeface="Avenir Bog" charset="0"/>
              <a:cs typeface="Arial" panose="020B0604020202020204" pitchFamily="34" charset="0"/>
            </a:endParaRPr>
          </a:p>
        </p:txBody>
      </p:sp>
      <p:sp>
        <p:nvSpPr>
          <p:cNvPr id="11" name="TextBox 10">
            <a:extLst>
              <a:ext uri="{FF2B5EF4-FFF2-40B4-BE49-F238E27FC236}">
                <a16:creationId xmlns:a16="http://schemas.microsoft.com/office/drawing/2014/main" id="{E1554FC6-84EF-E049-B2F2-CA3BB82060B4}"/>
              </a:ext>
            </a:extLst>
          </p:cNvPr>
          <p:cNvSpPr txBox="1"/>
          <p:nvPr/>
        </p:nvSpPr>
        <p:spPr>
          <a:xfrm>
            <a:off x="5991757" y="1714501"/>
            <a:ext cx="2250000" cy="4033156"/>
          </a:xfrm>
          <a:prstGeom prst="rect">
            <a:avLst/>
          </a:prstGeom>
          <a:noFill/>
          <a:ln>
            <a:solidFill>
              <a:srgbClr val="44546A"/>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t"/>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8600" indent="-228600" algn="l" defTabSz="457178">
              <a:lnSpc>
                <a:spcPct val="150000"/>
              </a:lnSpc>
              <a:buFont typeface="+mj-lt"/>
              <a:buAutoNum type="arabicPeriod" startAt="9"/>
            </a:pPr>
            <a:r>
              <a:rPr lang="en-US" sz="975" dirty="0">
                <a:solidFill>
                  <a:srgbClr val="000000"/>
                </a:solidFill>
                <a:latin typeface="Arial" panose="020B0604020202020204" pitchFamily="34" charset="0"/>
                <a:ea typeface="Avenir Bog" charset="0"/>
                <a:cs typeface="Arial" panose="020B0604020202020204" pitchFamily="34" charset="0"/>
                <a:hlinkClick r:id="rId5" action="ppaction://hlinksldjump"/>
              </a:rPr>
              <a:t>Financial impact and risks</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lnSpc>
                <a:spcPct val="150000"/>
              </a:lnSpc>
              <a:buFont typeface="+mj-lt"/>
              <a:buAutoNum type="arabicPeriod" startAt="9"/>
            </a:pPr>
            <a:r>
              <a:rPr lang="en-US" sz="975" dirty="0">
                <a:solidFill>
                  <a:srgbClr val="000000"/>
                </a:solidFill>
                <a:latin typeface="Arial" panose="020B0604020202020204" pitchFamily="34" charset="0"/>
                <a:ea typeface="Avenir Bog" charset="0"/>
                <a:cs typeface="Arial" panose="020B0604020202020204" pitchFamily="34" charset="0"/>
                <a:hlinkClick r:id="rId11" action="ppaction://hlinksldjump"/>
              </a:rPr>
              <a:t>Implementation plan</a:t>
            </a:r>
            <a:endParaRPr lang="en-US" sz="975" dirty="0">
              <a:solidFill>
                <a:srgbClr val="000000"/>
              </a:solidFill>
              <a:latin typeface="Arial" panose="020B0604020202020204" pitchFamily="34" charset="0"/>
              <a:ea typeface="Avenir Bog" charset="0"/>
              <a:cs typeface="Arial" panose="020B0604020202020204" pitchFamily="34" charset="0"/>
            </a:endParaRPr>
          </a:p>
        </p:txBody>
      </p:sp>
      <p:sp>
        <p:nvSpPr>
          <p:cNvPr id="12" name="TextBox 11">
            <a:extLst>
              <a:ext uri="{FF2B5EF4-FFF2-40B4-BE49-F238E27FC236}">
                <a16:creationId xmlns:a16="http://schemas.microsoft.com/office/drawing/2014/main" id="{3E5149A3-0D70-054C-B3C5-6F6590F60D27}"/>
              </a:ext>
            </a:extLst>
          </p:cNvPr>
          <p:cNvSpPr txBox="1"/>
          <p:nvPr/>
        </p:nvSpPr>
        <p:spPr>
          <a:xfrm>
            <a:off x="8539119" y="1714501"/>
            <a:ext cx="2807228" cy="4033157"/>
          </a:xfrm>
          <a:prstGeom prst="rect">
            <a:avLst/>
          </a:prstGeom>
          <a:noFill/>
          <a:ln>
            <a:solidFill>
              <a:srgbClr val="44546A"/>
            </a:solidFill>
          </a:ln>
          <a:effectLst/>
        </p:spPr>
        <p:style>
          <a:lnRef idx="1">
            <a:schemeClr val="accent1"/>
          </a:lnRef>
          <a:fillRef idx="3">
            <a:schemeClr val="accent1"/>
          </a:fillRef>
          <a:effectRef idx="2">
            <a:schemeClr val="accent1"/>
          </a:effectRef>
          <a:fontRef idx="minor">
            <a:schemeClr val="lt1"/>
          </a:fontRef>
        </p:style>
        <p:txBody>
          <a:bodyPr lIns="68579" tIns="34289" rIns="68579" bIns="34289" rtlCol="0" anchor="t"/>
          <a:lstStyle>
            <a:defPPr>
              <a:defRPr lang="da-DK"/>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2" action="ppaction://hlinksldjump"/>
              </a:rPr>
              <a:t>Espresso House is more attractive for most potential franchisees</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3" action="ppaction://hlinksldjump"/>
              </a:rPr>
              <a:t>Competitive landscape in CEE</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4" action="ppaction://hlinksldjump"/>
              </a:rPr>
              <a:t>Coffee consumption growth in Eastern Europe</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6" action="ppaction://hlinksldjump"/>
              </a:rPr>
              <a:t>Starbucks is not a threatening competitor</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4" action="ppaction://hlinksldjump"/>
              </a:rPr>
              <a:t>Market concentration within most sectors in Sweden is increasing</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5" action="ppaction://hlinksldjump"/>
              </a:rPr>
              <a:t>Outlets in the UK coffee shop market</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6" action="ppaction://hlinksldjump"/>
              </a:rPr>
              <a:t>Branded vs. independent coffee shops, UK and Sweden</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7" action="ppaction://hlinksldjump"/>
              </a:rPr>
              <a:t>Espresso House serves four key customer groups</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8" action="ppaction://hlinksldjump"/>
              </a:rPr>
              <a:t>Customer preferences</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19" action="ppaction://hlinksldjump"/>
              </a:rPr>
              <a:t>Importance of location, atmosphere and coffee quality</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r>
              <a:rPr lang="en-US" sz="975" dirty="0">
                <a:solidFill>
                  <a:srgbClr val="000000"/>
                </a:solidFill>
                <a:latin typeface="Arial" panose="020B0604020202020204" pitchFamily="34" charset="0"/>
                <a:ea typeface="Avenir Bog" charset="0"/>
                <a:cs typeface="Arial" panose="020B0604020202020204" pitchFamily="34" charset="0"/>
                <a:hlinkClick r:id="rId20" action="ppaction://hlinksldjump"/>
              </a:rPr>
              <a:t>Espresso House’s current coffee assortment</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14"/>
            </a:pPr>
            <a:endParaRPr lang="en-US" sz="975" dirty="0">
              <a:solidFill>
                <a:srgbClr val="000000"/>
              </a:solidFill>
              <a:latin typeface="Arial" panose="020B0604020202020204" pitchFamily="34" charset="0"/>
              <a:ea typeface="Avenir Bog" charset="0"/>
              <a:cs typeface="Arial" panose="020B0604020202020204" pitchFamily="34" charset="0"/>
            </a:endParaRPr>
          </a:p>
          <a:p>
            <a:pPr algn="l" defTabSz="457178"/>
            <a:r>
              <a:rPr lang="en-US" sz="975" i="1" dirty="0">
                <a:solidFill>
                  <a:srgbClr val="000000"/>
                </a:solidFill>
                <a:latin typeface="Arial" panose="020B0604020202020204" pitchFamily="34" charset="0"/>
                <a:ea typeface="Avenir Bog" charset="0"/>
                <a:cs typeface="Arial" panose="020B0604020202020204" pitchFamily="34" charset="0"/>
              </a:rPr>
              <a:t>Financial appendices:</a:t>
            </a:r>
          </a:p>
          <a:p>
            <a:pPr marL="228600" indent="-228600" algn="l" defTabSz="457178">
              <a:buFont typeface="+mj-lt"/>
              <a:buAutoNum type="arabicPeriod" startAt="25"/>
            </a:pPr>
            <a:r>
              <a:rPr lang="en-US" sz="975" dirty="0">
                <a:solidFill>
                  <a:srgbClr val="000000"/>
                </a:solidFill>
                <a:latin typeface="Arial" panose="020B0604020202020204" pitchFamily="34" charset="0"/>
                <a:ea typeface="Avenir Bog" charset="0"/>
                <a:cs typeface="Arial" panose="020B0604020202020204" pitchFamily="34" charset="0"/>
                <a:hlinkClick r:id="rId21" action="ppaction://hlinksldjump"/>
              </a:rPr>
              <a:t>Number of franchise stores: Methodology</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25"/>
            </a:pPr>
            <a:r>
              <a:rPr lang="en-US" sz="975" dirty="0">
                <a:solidFill>
                  <a:srgbClr val="000000"/>
                </a:solidFill>
                <a:latin typeface="Arial" panose="020B0604020202020204" pitchFamily="34" charset="0"/>
                <a:ea typeface="Avenir Bog" charset="0"/>
                <a:cs typeface="Arial" panose="020B0604020202020204" pitchFamily="34" charset="0"/>
                <a:hlinkClick r:id="rId22" action="ppaction://hlinksldjump"/>
              </a:rPr>
              <a:t>NPV Breakdown by country</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25"/>
            </a:pPr>
            <a:r>
              <a:rPr lang="en-US" sz="975" dirty="0">
                <a:solidFill>
                  <a:srgbClr val="000000"/>
                </a:solidFill>
                <a:latin typeface="Arial" panose="020B0604020202020204" pitchFamily="34" charset="0"/>
                <a:ea typeface="Avenir Bog" charset="0"/>
                <a:cs typeface="Arial" panose="020B0604020202020204" pitchFamily="34" charset="0"/>
                <a:hlinkClick r:id="rId23" action="ppaction://hlinksldjump"/>
              </a:rPr>
              <a:t>Key Assumptions</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25"/>
            </a:pPr>
            <a:r>
              <a:rPr lang="en-US" sz="975" dirty="0">
                <a:solidFill>
                  <a:srgbClr val="000000"/>
                </a:solidFill>
                <a:latin typeface="Arial" panose="020B0604020202020204" pitchFamily="34" charset="0"/>
                <a:ea typeface="Avenir Bog" charset="0"/>
                <a:cs typeface="Arial" panose="020B0604020202020204" pitchFamily="34" charset="0"/>
                <a:hlinkClick r:id="rId24" action="ppaction://hlinksldjump"/>
              </a:rPr>
              <a:t>Sensitivity analysis</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25"/>
            </a:pPr>
            <a:r>
              <a:rPr lang="en-US" sz="975" dirty="0">
                <a:solidFill>
                  <a:srgbClr val="000000"/>
                </a:solidFill>
                <a:latin typeface="Arial" panose="020B0604020202020204" pitchFamily="34" charset="0"/>
                <a:ea typeface="Avenir Bog" charset="0"/>
                <a:cs typeface="Arial" panose="020B0604020202020204" pitchFamily="34" charset="0"/>
                <a:hlinkClick r:id="rId25" action="ppaction://hlinksldjump"/>
              </a:rPr>
              <a:t>Flagship Store: Financial Breakdown</a:t>
            </a:r>
            <a:endParaRPr lang="en-US" sz="975" dirty="0">
              <a:solidFill>
                <a:srgbClr val="000000"/>
              </a:solidFill>
              <a:latin typeface="Arial" panose="020B0604020202020204" pitchFamily="34" charset="0"/>
              <a:ea typeface="Avenir Bog" charset="0"/>
              <a:cs typeface="Arial" panose="020B0604020202020204" pitchFamily="34" charset="0"/>
            </a:endParaRPr>
          </a:p>
          <a:p>
            <a:pPr marL="228600" indent="-228600" algn="l" defTabSz="457178">
              <a:buFont typeface="+mj-lt"/>
              <a:buAutoNum type="arabicPeriod" startAt="25"/>
            </a:pPr>
            <a:r>
              <a:rPr lang="en-US" sz="975" dirty="0">
                <a:solidFill>
                  <a:srgbClr val="000000"/>
                </a:solidFill>
                <a:latin typeface="Arial" panose="020B0604020202020204" pitchFamily="34" charset="0"/>
                <a:ea typeface="Avenir Bog" charset="0"/>
                <a:cs typeface="Arial" panose="020B0604020202020204" pitchFamily="34" charset="0"/>
                <a:hlinkClick r:id="rId26" action="ppaction://hlinksldjump"/>
              </a:rPr>
              <a:t>Sweden Franchise stores: Financial Breakdown</a:t>
            </a:r>
            <a:endParaRPr lang="en-US" sz="975" dirty="0">
              <a:solidFill>
                <a:srgbClr val="000000"/>
              </a:solidFill>
              <a:latin typeface="Arial" panose="020B0604020202020204" pitchFamily="34" charset="0"/>
              <a:ea typeface="Avenir Bog" charset="0"/>
              <a:cs typeface="Arial" panose="020B0604020202020204" pitchFamily="34" charset="0"/>
            </a:endParaRPr>
          </a:p>
        </p:txBody>
      </p:sp>
    </p:spTree>
    <p:extLst>
      <p:ext uri="{BB962C8B-B14F-4D97-AF65-F5344CB8AC3E}">
        <p14:creationId xmlns:p14="http://schemas.microsoft.com/office/powerpoint/2010/main" val="7327017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felt 3"/>
          <p:cNvSpPr txBox="1"/>
          <p:nvPr/>
        </p:nvSpPr>
        <p:spPr>
          <a:xfrm>
            <a:off x="6220496" y="167425"/>
            <a:ext cx="5795493" cy="369332"/>
          </a:xfrm>
          <a:prstGeom prst="rect">
            <a:avLst/>
          </a:prstGeom>
          <a:solidFill>
            <a:schemeClr val="tx1"/>
          </a:solidFill>
        </p:spPr>
        <p:txBody>
          <a:bodyPr wrap="square" rtlCol="0">
            <a:spAutoFit/>
          </a:bodyPr>
          <a:lstStyle/>
          <a:p>
            <a:endParaRPr lang="en-US" dirty="0">
              <a:latin typeface="Arial" panose="020B0604020202020204" pitchFamily="34" charset="0"/>
              <a:cs typeface="Arial" panose="020B0604020202020204" pitchFamily="34" charset="0"/>
            </a:endParaRPr>
          </a:p>
        </p:txBody>
      </p:sp>
      <p:pic>
        <p:nvPicPr>
          <p:cNvPr id="5" name="Picture 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8631" y="315599"/>
            <a:ext cx="517060" cy="517060"/>
          </a:xfrm>
          <a:prstGeom prst="rect">
            <a:avLst/>
          </a:prstGeom>
        </p:spPr>
      </p:pic>
      <p:pic>
        <p:nvPicPr>
          <p:cNvPr id="6" name="Picture 2"/>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385998" y="310251"/>
            <a:ext cx="625643" cy="625643"/>
          </a:xfrm>
          <a:prstGeom prst="rect">
            <a:avLst/>
          </a:prstGeom>
        </p:spPr>
      </p:pic>
      <p:pic>
        <p:nvPicPr>
          <p:cNvPr id="7" name="Picture 4"/>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261352" y="362660"/>
            <a:ext cx="568766" cy="568766"/>
          </a:xfrm>
          <a:prstGeom prst="rect">
            <a:avLst/>
          </a:prstGeom>
        </p:spPr>
      </p:pic>
      <p:pic>
        <p:nvPicPr>
          <p:cNvPr id="8" name="Picture 5"/>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52049" y="310251"/>
            <a:ext cx="568766" cy="568766"/>
          </a:xfrm>
          <a:prstGeom prst="rect">
            <a:avLst/>
          </a:prstGeom>
        </p:spPr>
      </p:pic>
      <p:grpSp>
        <p:nvGrpSpPr>
          <p:cNvPr id="44" name="Grupper 43"/>
          <p:cNvGrpSpPr/>
          <p:nvPr/>
        </p:nvGrpSpPr>
        <p:grpSpPr>
          <a:xfrm>
            <a:off x="6432456" y="362660"/>
            <a:ext cx="4347162" cy="1678721"/>
            <a:chOff x="3251373" y="832659"/>
            <a:chExt cx="7001457" cy="2636251"/>
          </a:xfrm>
        </p:grpSpPr>
        <p:cxnSp>
          <p:nvCxnSpPr>
            <p:cNvPr id="9" name="Straight Connector 92"/>
            <p:cNvCxnSpPr/>
            <p:nvPr/>
          </p:nvCxnSpPr>
          <p:spPr>
            <a:xfrm>
              <a:off x="5373075" y="1483823"/>
              <a:ext cx="0" cy="53953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ounded Rectangle 127"/>
            <p:cNvSpPr/>
            <p:nvPr/>
          </p:nvSpPr>
          <p:spPr>
            <a:xfrm>
              <a:off x="4551295" y="832659"/>
              <a:ext cx="1643560" cy="651164"/>
            </a:xfrm>
            <a:prstGeom prst="roundRect">
              <a:avLst/>
            </a:prstGeom>
            <a:solidFill>
              <a:srgbClr val="A6A6A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00" b="1" dirty="0">
                <a:latin typeface="Arial" panose="020B0604020202020204" pitchFamily="34" charset="0"/>
                <a:cs typeface="Arial" panose="020B0604020202020204" pitchFamily="34" charset="0"/>
              </a:endParaRPr>
            </a:p>
          </p:txBody>
        </p:sp>
        <p:sp>
          <p:nvSpPr>
            <p:cNvPr id="11" name="Rounded Rectangle 134"/>
            <p:cNvSpPr/>
            <p:nvPr/>
          </p:nvSpPr>
          <p:spPr>
            <a:xfrm>
              <a:off x="4693918" y="2023357"/>
              <a:ext cx="1358314" cy="489229"/>
            </a:xfrm>
            <a:prstGeom prst="roundRect">
              <a:avLst/>
            </a:prstGeom>
            <a:solidFill>
              <a:srgbClr val="A6A6A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latin typeface="Arial" panose="020B0604020202020204" pitchFamily="34" charset="0"/>
                <a:cs typeface="Arial" panose="020B0604020202020204" pitchFamily="34" charset="0"/>
              </a:endParaRPr>
            </a:p>
          </p:txBody>
        </p:sp>
        <p:sp>
          <p:nvSpPr>
            <p:cNvPr id="12" name="Rounded Rectangle 135"/>
            <p:cNvSpPr/>
            <p:nvPr/>
          </p:nvSpPr>
          <p:spPr>
            <a:xfrm>
              <a:off x="3251373" y="2023357"/>
              <a:ext cx="1358314" cy="489229"/>
            </a:xfrm>
            <a:prstGeom prst="roundRect">
              <a:avLst/>
            </a:prstGeom>
            <a:solidFill>
              <a:srgbClr val="A6A6A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latin typeface="Arial" panose="020B0604020202020204" pitchFamily="34" charset="0"/>
                <a:cs typeface="Arial" panose="020B0604020202020204" pitchFamily="34" charset="0"/>
              </a:endParaRPr>
            </a:p>
          </p:txBody>
        </p:sp>
        <p:sp>
          <p:nvSpPr>
            <p:cNvPr id="13" name="Rounded Rectangle 136"/>
            <p:cNvSpPr/>
            <p:nvPr/>
          </p:nvSpPr>
          <p:spPr>
            <a:xfrm>
              <a:off x="6136463" y="2023357"/>
              <a:ext cx="1358314" cy="489229"/>
            </a:xfrm>
            <a:prstGeom prst="roundRect">
              <a:avLst/>
            </a:prstGeom>
            <a:solidFill>
              <a:srgbClr val="A6A6A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00" b="1" dirty="0">
                <a:latin typeface="Arial" panose="020B0604020202020204" pitchFamily="34" charset="0"/>
                <a:cs typeface="Arial" panose="020B0604020202020204" pitchFamily="34" charset="0"/>
              </a:endParaRPr>
            </a:p>
          </p:txBody>
        </p:sp>
        <p:sp>
          <p:nvSpPr>
            <p:cNvPr id="14" name="Oval 137"/>
            <p:cNvSpPr/>
            <p:nvPr/>
          </p:nvSpPr>
          <p:spPr>
            <a:xfrm>
              <a:off x="5333981" y="1978906"/>
              <a:ext cx="71837" cy="72000"/>
            </a:xfrm>
            <a:prstGeom prst="ellipse">
              <a:avLst/>
            </a:prstGeom>
            <a:solidFill>
              <a:srgbClr val="D15F5F"/>
            </a:solidFill>
            <a:ln>
              <a:solidFill>
                <a:srgbClr val="D15F5F"/>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15" name="Oval 138"/>
            <p:cNvSpPr/>
            <p:nvPr/>
          </p:nvSpPr>
          <p:spPr>
            <a:xfrm>
              <a:off x="5337156" y="1441881"/>
              <a:ext cx="71837" cy="72000"/>
            </a:xfrm>
            <a:prstGeom prst="ellipse">
              <a:avLst/>
            </a:prstGeom>
            <a:solidFill>
              <a:srgbClr val="D15F5F"/>
            </a:solidFill>
            <a:ln>
              <a:solidFill>
                <a:srgbClr val="D15F5F"/>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cxnSp>
          <p:nvCxnSpPr>
            <p:cNvPr id="16" name="Straight Connector 140"/>
            <p:cNvCxnSpPr/>
            <p:nvPr/>
          </p:nvCxnSpPr>
          <p:spPr>
            <a:xfrm>
              <a:off x="5381217" y="1734226"/>
              <a:ext cx="2868005" cy="82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44"/>
            <p:cNvCxnSpPr/>
            <p:nvPr/>
          </p:nvCxnSpPr>
          <p:spPr>
            <a:xfrm>
              <a:off x="6811149" y="1729644"/>
              <a:ext cx="4471" cy="29371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62"/>
            <p:cNvCxnSpPr/>
            <p:nvPr/>
          </p:nvCxnSpPr>
          <p:spPr>
            <a:xfrm flipV="1">
              <a:off x="3930530" y="1729644"/>
              <a:ext cx="1434403" cy="45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63"/>
            <p:cNvCxnSpPr/>
            <p:nvPr/>
          </p:nvCxnSpPr>
          <p:spPr>
            <a:xfrm flipV="1">
              <a:off x="3930530" y="1729644"/>
              <a:ext cx="0" cy="29371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Oval 166"/>
            <p:cNvSpPr/>
            <p:nvPr/>
          </p:nvSpPr>
          <p:spPr>
            <a:xfrm>
              <a:off x="3899083" y="1978906"/>
              <a:ext cx="71837" cy="72000"/>
            </a:xfrm>
            <a:prstGeom prst="ellipse">
              <a:avLst/>
            </a:prstGeom>
            <a:solidFill>
              <a:srgbClr val="D15F5F"/>
            </a:solidFill>
            <a:ln>
              <a:solidFill>
                <a:srgbClr val="D15F5F"/>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sp>
          <p:nvSpPr>
            <p:cNvPr id="21" name="Rounded Rectangle 168"/>
            <p:cNvSpPr/>
            <p:nvPr/>
          </p:nvSpPr>
          <p:spPr>
            <a:xfrm>
              <a:off x="7574536" y="2023357"/>
              <a:ext cx="1358314" cy="489229"/>
            </a:xfrm>
            <a:prstGeom prst="roundRect">
              <a:avLst/>
            </a:prstGeom>
            <a:solidFill>
              <a:srgbClr val="D15F5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latin typeface="Arial" panose="020B0604020202020204" pitchFamily="34" charset="0"/>
                <a:cs typeface="Arial" panose="020B0604020202020204" pitchFamily="34" charset="0"/>
              </a:endParaRPr>
            </a:p>
          </p:txBody>
        </p:sp>
        <p:cxnSp>
          <p:nvCxnSpPr>
            <p:cNvPr id="22" name="Straight Connector 171"/>
            <p:cNvCxnSpPr/>
            <p:nvPr/>
          </p:nvCxnSpPr>
          <p:spPr>
            <a:xfrm>
              <a:off x="8253693" y="2512586"/>
              <a:ext cx="0" cy="28471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169"/>
            <p:cNvCxnSpPr/>
            <p:nvPr/>
          </p:nvCxnSpPr>
          <p:spPr>
            <a:xfrm>
              <a:off x="8249222" y="1729644"/>
              <a:ext cx="4471" cy="29371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Oval 139"/>
            <p:cNvSpPr/>
            <p:nvPr/>
          </p:nvSpPr>
          <p:spPr>
            <a:xfrm>
              <a:off x="8217774" y="1978906"/>
              <a:ext cx="71837" cy="72000"/>
            </a:xfrm>
            <a:prstGeom prst="ellipse">
              <a:avLst/>
            </a:prstGeom>
            <a:solidFill>
              <a:srgbClr val="D15F5F"/>
            </a:solidFill>
            <a:ln>
              <a:solidFill>
                <a:srgbClr val="D15F5F"/>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cxnSp>
          <p:nvCxnSpPr>
            <p:cNvPr id="25" name="Straight Connector 175"/>
            <p:cNvCxnSpPr/>
            <p:nvPr/>
          </p:nvCxnSpPr>
          <p:spPr>
            <a:xfrm>
              <a:off x="6815219" y="2801974"/>
              <a:ext cx="2868005" cy="82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Oval 176"/>
            <p:cNvSpPr/>
            <p:nvPr/>
          </p:nvSpPr>
          <p:spPr>
            <a:xfrm>
              <a:off x="6777465" y="1978906"/>
              <a:ext cx="71837" cy="72000"/>
            </a:xfrm>
            <a:prstGeom prst="ellipse">
              <a:avLst/>
            </a:prstGeom>
            <a:solidFill>
              <a:srgbClr val="D15F5F"/>
            </a:solidFill>
            <a:ln>
              <a:solidFill>
                <a:srgbClr val="D15F5F"/>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dirty="0">
                <a:latin typeface="Arial" panose="020B0604020202020204" pitchFamily="34" charset="0"/>
                <a:cs typeface="Arial" panose="020B0604020202020204" pitchFamily="34" charset="0"/>
              </a:endParaRPr>
            </a:p>
          </p:txBody>
        </p:sp>
        <p:cxnSp>
          <p:nvCxnSpPr>
            <p:cNvPr id="27" name="Straight Connector 177"/>
            <p:cNvCxnSpPr/>
            <p:nvPr/>
          </p:nvCxnSpPr>
          <p:spPr>
            <a:xfrm>
              <a:off x="6817499" y="2791361"/>
              <a:ext cx="0" cy="27322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178"/>
            <p:cNvCxnSpPr/>
            <p:nvPr/>
          </p:nvCxnSpPr>
          <p:spPr>
            <a:xfrm>
              <a:off x="8252286" y="2791361"/>
              <a:ext cx="4471" cy="29371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ounded Rectangle 179"/>
            <p:cNvSpPr/>
            <p:nvPr/>
          </p:nvSpPr>
          <p:spPr>
            <a:xfrm>
              <a:off x="7692406" y="3064588"/>
              <a:ext cx="1122574" cy="404322"/>
            </a:xfrm>
            <a:prstGeom prst="roundRect">
              <a:avLst/>
            </a:prstGeom>
            <a:solidFill>
              <a:srgbClr val="D15F5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latin typeface="Arial" panose="020B0604020202020204" pitchFamily="34" charset="0"/>
                <a:cs typeface="Arial" panose="020B0604020202020204" pitchFamily="34" charset="0"/>
              </a:endParaRPr>
            </a:p>
          </p:txBody>
        </p:sp>
        <p:sp>
          <p:nvSpPr>
            <p:cNvPr id="30" name="Rounded Rectangle 180"/>
            <p:cNvSpPr/>
            <p:nvPr/>
          </p:nvSpPr>
          <p:spPr>
            <a:xfrm>
              <a:off x="6256212" y="3064588"/>
              <a:ext cx="1122574" cy="404322"/>
            </a:xfrm>
            <a:prstGeom prst="roundRect">
              <a:avLst/>
            </a:prstGeom>
            <a:solidFill>
              <a:srgbClr val="D15F5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latin typeface="Arial" panose="020B0604020202020204" pitchFamily="34" charset="0"/>
                <a:cs typeface="Arial" panose="020B0604020202020204" pitchFamily="34" charset="0"/>
              </a:endParaRPr>
            </a:p>
          </p:txBody>
        </p:sp>
        <p:cxnSp>
          <p:nvCxnSpPr>
            <p:cNvPr id="31" name="Straight Connector 182"/>
            <p:cNvCxnSpPr/>
            <p:nvPr/>
          </p:nvCxnSpPr>
          <p:spPr>
            <a:xfrm>
              <a:off x="9676843" y="2806076"/>
              <a:ext cx="2236" cy="27899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Rounded Rectangle 187"/>
            <p:cNvSpPr/>
            <p:nvPr/>
          </p:nvSpPr>
          <p:spPr>
            <a:xfrm>
              <a:off x="9130256" y="3064588"/>
              <a:ext cx="1122574" cy="404322"/>
            </a:xfrm>
            <a:prstGeom prst="roundRect">
              <a:avLst/>
            </a:prstGeom>
            <a:solidFill>
              <a:srgbClr val="D15F5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800" b="1" dirty="0">
                <a:latin typeface="Arial" panose="020B0604020202020204" pitchFamily="34" charset="0"/>
                <a:cs typeface="Arial" panose="020B0604020202020204" pitchFamily="34" charset="0"/>
              </a:endParaRPr>
            </a:p>
          </p:txBody>
        </p:sp>
      </p:grpSp>
      <p:pic>
        <p:nvPicPr>
          <p:cNvPr id="45" name="Picture 7"/>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358313" y="1224297"/>
            <a:ext cx="1150043" cy="1013885"/>
          </a:xfrm>
          <a:prstGeom prst="rect">
            <a:avLst/>
          </a:prstGeom>
        </p:spPr>
      </p:pic>
      <p:pic>
        <p:nvPicPr>
          <p:cNvPr id="46" name="Picture 8"/>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562993" y="1229896"/>
            <a:ext cx="852264" cy="871459"/>
          </a:xfrm>
          <a:prstGeom prst="rect">
            <a:avLst/>
          </a:prstGeom>
        </p:spPr>
      </p:pic>
      <p:pic>
        <p:nvPicPr>
          <p:cNvPr id="47" name="Picture 12"/>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00159" y="1224297"/>
            <a:ext cx="1008632" cy="940807"/>
          </a:xfrm>
          <a:prstGeom prst="rect">
            <a:avLst/>
          </a:prstGeom>
        </p:spPr>
      </p:pic>
      <p:grpSp>
        <p:nvGrpSpPr>
          <p:cNvPr id="48" name="Grupper 47"/>
          <p:cNvGrpSpPr/>
          <p:nvPr/>
        </p:nvGrpSpPr>
        <p:grpSpPr>
          <a:xfrm>
            <a:off x="207555" y="2238536"/>
            <a:ext cx="1621963" cy="782567"/>
            <a:chOff x="3629666" y="3722123"/>
            <a:chExt cx="1216472" cy="586925"/>
          </a:xfrm>
        </p:grpSpPr>
        <p:pic>
          <p:nvPicPr>
            <p:cNvPr id="49" name="Billede 48" descr="12607115_10153587464508801_1428612985_n.jpg"/>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3629666" y="3722123"/>
              <a:ext cx="657402" cy="586925"/>
            </a:xfrm>
            <a:prstGeom prst="rect">
              <a:avLst/>
            </a:prstGeom>
          </p:spPr>
        </p:pic>
        <p:pic>
          <p:nvPicPr>
            <p:cNvPr id="50" name="Billede 49" descr="12606837_10153587464518801_85871157_n.jpg"/>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4386442" y="3734545"/>
              <a:ext cx="459696" cy="462204"/>
            </a:xfrm>
            <a:prstGeom prst="rect">
              <a:avLst/>
            </a:prstGeom>
          </p:spPr>
        </p:pic>
      </p:grpSp>
      <p:pic>
        <p:nvPicPr>
          <p:cNvPr id="57" name="Picture 1"/>
          <p:cNvPicPr>
            <a:picLocks noChangeAspect="1"/>
          </p:cNvPicPr>
          <p:nvPr/>
        </p:nvPicPr>
        <p:blipFill>
          <a:blip r:embed="rId14"/>
          <a:stretch>
            <a:fillRect/>
          </a:stretch>
        </p:blipFill>
        <p:spPr>
          <a:xfrm>
            <a:off x="300159" y="3072032"/>
            <a:ext cx="489452" cy="531234"/>
          </a:xfrm>
          <a:prstGeom prst="rect">
            <a:avLst/>
          </a:prstGeom>
        </p:spPr>
      </p:pic>
      <p:pic>
        <p:nvPicPr>
          <p:cNvPr id="58" name="Picture 5"/>
          <p:cNvPicPr>
            <a:picLocks noChangeAspect="1"/>
          </p:cNvPicPr>
          <p:nvPr/>
        </p:nvPicPr>
        <p:blipFill>
          <a:blip r:embed="rId15"/>
          <a:stretch>
            <a:fillRect/>
          </a:stretch>
        </p:blipFill>
        <p:spPr>
          <a:xfrm>
            <a:off x="913454" y="3028253"/>
            <a:ext cx="512933" cy="512933"/>
          </a:xfrm>
          <a:prstGeom prst="rect">
            <a:avLst/>
          </a:prstGeom>
        </p:spPr>
      </p:pic>
      <p:pic>
        <p:nvPicPr>
          <p:cNvPr id="59" name="Picture 7"/>
          <p:cNvPicPr>
            <a:picLocks noChangeAspect="1"/>
          </p:cNvPicPr>
          <p:nvPr/>
        </p:nvPicPr>
        <p:blipFill>
          <a:blip r:embed="rId16"/>
          <a:stretch>
            <a:fillRect/>
          </a:stretch>
        </p:blipFill>
        <p:spPr>
          <a:xfrm>
            <a:off x="208686" y="3654195"/>
            <a:ext cx="672397" cy="592932"/>
          </a:xfrm>
          <a:prstGeom prst="rect">
            <a:avLst/>
          </a:prstGeom>
        </p:spPr>
      </p:pic>
      <p:pic>
        <p:nvPicPr>
          <p:cNvPr id="60" name="Picture 8"/>
          <p:cNvPicPr>
            <a:picLocks noChangeAspect="1"/>
          </p:cNvPicPr>
          <p:nvPr/>
        </p:nvPicPr>
        <p:blipFill>
          <a:blip r:embed="rId17"/>
          <a:stretch>
            <a:fillRect/>
          </a:stretch>
        </p:blipFill>
        <p:spPr>
          <a:xfrm>
            <a:off x="979037" y="3650705"/>
            <a:ext cx="683555" cy="676650"/>
          </a:xfrm>
          <a:prstGeom prst="rect">
            <a:avLst/>
          </a:prstGeom>
        </p:spPr>
      </p:pic>
      <p:pic>
        <p:nvPicPr>
          <p:cNvPr id="61" name="Picture 9"/>
          <p:cNvPicPr>
            <a:picLocks noChangeAspect="1"/>
          </p:cNvPicPr>
          <p:nvPr/>
        </p:nvPicPr>
        <p:blipFill>
          <a:blip r:embed="rId18"/>
          <a:stretch>
            <a:fillRect/>
          </a:stretch>
        </p:blipFill>
        <p:spPr>
          <a:xfrm>
            <a:off x="328575" y="4426980"/>
            <a:ext cx="432618" cy="499914"/>
          </a:xfrm>
          <a:prstGeom prst="rect">
            <a:avLst/>
          </a:prstGeom>
        </p:spPr>
      </p:pic>
      <p:pic>
        <p:nvPicPr>
          <p:cNvPr id="62" name="Picture 11"/>
          <p:cNvPicPr>
            <a:picLocks noChangeAspect="1"/>
          </p:cNvPicPr>
          <p:nvPr/>
        </p:nvPicPr>
        <p:blipFill>
          <a:blip r:embed="rId19"/>
          <a:stretch>
            <a:fillRect/>
          </a:stretch>
        </p:blipFill>
        <p:spPr>
          <a:xfrm>
            <a:off x="999941" y="4436874"/>
            <a:ext cx="481618" cy="582699"/>
          </a:xfrm>
          <a:prstGeom prst="rect">
            <a:avLst/>
          </a:prstGeom>
        </p:spPr>
      </p:pic>
      <p:sp>
        <p:nvSpPr>
          <p:cNvPr id="63" name="Triangle 54"/>
          <p:cNvSpPr/>
          <p:nvPr/>
        </p:nvSpPr>
        <p:spPr>
          <a:xfrm rot="5400000">
            <a:off x="6266518" y="2214585"/>
            <a:ext cx="1010663" cy="406789"/>
          </a:xfrm>
          <a:prstGeom prst="triangle">
            <a:avLst/>
          </a:prstGeom>
          <a:solidFill>
            <a:srgbClr val="1F49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panose="020B0604020202020204" pitchFamily="34" charset="0"/>
              <a:cs typeface="Arial" panose="020B0604020202020204" pitchFamily="34" charset="0"/>
            </a:endParaRPr>
          </a:p>
        </p:txBody>
      </p:sp>
      <p:pic>
        <p:nvPicPr>
          <p:cNvPr id="64" name="Picture 2"/>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a:stretch/>
        </p:blipFill>
        <p:spPr bwMode="auto">
          <a:xfrm>
            <a:off x="7176883" y="1744991"/>
            <a:ext cx="680084" cy="1372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3"/>
          <p:cNvPicPr>
            <a:picLocks noChangeAspect="1" noChangeArrowheads="1"/>
          </p:cNvPicPr>
          <p:nvPr/>
        </p:nvPicPr>
        <p:blipFill>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64231" y="2304397"/>
            <a:ext cx="879390" cy="1340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146"/>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3415257" y="2358484"/>
            <a:ext cx="325244" cy="367373"/>
          </a:xfrm>
          <a:prstGeom prst="rect">
            <a:avLst/>
          </a:prstGeom>
        </p:spPr>
      </p:pic>
      <p:pic>
        <p:nvPicPr>
          <p:cNvPr id="69" name="Picture 147"/>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2812666" y="2848142"/>
            <a:ext cx="469143" cy="399245"/>
          </a:xfrm>
          <a:prstGeom prst="rect">
            <a:avLst/>
          </a:prstGeom>
        </p:spPr>
      </p:pic>
      <p:pic>
        <p:nvPicPr>
          <p:cNvPr id="70" name="Picture 42"/>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2948682" y="3429070"/>
            <a:ext cx="333127" cy="348392"/>
          </a:xfrm>
          <a:prstGeom prst="rect">
            <a:avLst/>
          </a:prstGeom>
        </p:spPr>
      </p:pic>
      <p:pic>
        <p:nvPicPr>
          <p:cNvPr id="71" name="Picture 45"/>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2852532" y="2356093"/>
            <a:ext cx="372156" cy="372156"/>
          </a:xfrm>
          <a:prstGeom prst="rect">
            <a:avLst/>
          </a:prstGeom>
        </p:spPr>
      </p:pic>
      <p:pic>
        <p:nvPicPr>
          <p:cNvPr id="72" name="Picture 4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331147" y="2892302"/>
            <a:ext cx="385227" cy="392417"/>
          </a:xfrm>
          <a:prstGeom prst="rect">
            <a:avLst/>
          </a:prstGeom>
        </p:spPr>
      </p:pic>
      <p:pic>
        <p:nvPicPr>
          <p:cNvPr id="76" name="Picture 27"/>
          <p:cNvPicPr>
            <a:picLocks noChangeAspect="1"/>
          </p:cNvPicPr>
          <p:nvPr/>
        </p:nvPicPr>
        <p:blipFill>
          <a:blip r:embed="rId27"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1798603" y="3823133"/>
            <a:ext cx="546417" cy="504222"/>
          </a:xfrm>
          <a:prstGeom prst="rect">
            <a:avLst/>
          </a:prstGeom>
        </p:spPr>
      </p:pic>
      <p:pic>
        <p:nvPicPr>
          <p:cNvPr id="77" name="Picture 12"/>
          <p:cNvPicPr>
            <a:picLocks noChangeAspect="1"/>
          </p:cNvPicPr>
          <p:nvPr/>
        </p:nvPicPr>
        <p:blipFill>
          <a:blip r:embed="rId28" cstate="email">
            <a:lum bright="70000" contrast="-70000"/>
            <a:extLst>
              <a:ext uri="{28A0092B-C50C-407E-A947-70E740481C1C}">
                <a14:useLocalDpi xmlns:a14="http://schemas.microsoft.com/office/drawing/2010/main"/>
              </a:ext>
            </a:extLst>
          </a:blip>
          <a:stretch>
            <a:fillRect/>
          </a:stretch>
        </p:blipFill>
        <p:spPr>
          <a:xfrm>
            <a:off x="8561887" y="2148466"/>
            <a:ext cx="645898" cy="645898"/>
          </a:xfrm>
          <a:prstGeom prst="rect">
            <a:avLst/>
          </a:prstGeom>
        </p:spPr>
      </p:pic>
      <p:pic>
        <p:nvPicPr>
          <p:cNvPr id="78" name="Picture 13"/>
          <p:cNvPicPr>
            <a:picLocks noChangeAspect="1"/>
          </p:cNvPicPr>
          <p:nvPr/>
        </p:nvPicPr>
        <p:blipFill>
          <a:blip r:embed="rId29" cstate="email">
            <a:lum bright="70000" contrast="-70000"/>
            <a:extLst>
              <a:ext uri="{28A0092B-C50C-407E-A947-70E740481C1C}">
                <a14:useLocalDpi xmlns:a14="http://schemas.microsoft.com/office/drawing/2010/main"/>
              </a:ext>
            </a:extLst>
          </a:blip>
          <a:stretch>
            <a:fillRect/>
          </a:stretch>
        </p:blipFill>
        <p:spPr>
          <a:xfrm>
            <a:off x="9288241" y="2258131"/>
            <a:ext cx="494697" cy="494697"/>
          </a:xfrm>
          <a:prstGeom prst="rect">
            <a:avLst/>
          </a:prstGeom>
        </p:spPr>
      </p:pic>
      <p:pic>
        <p:nvPicPr>
          <p:cNvPr id="79" name="Picture 14"/>
          <p:cNvPicPr>
            <a:picLocks noChangeAspect="1"/>
          </p:cNvPicPr>
          <p:nvPr/>
        </p:nvPicPr>
        <p:blipFill>
          <a:blip r:embed="rId30" cstate="email">
            <a:lum bright="70000" contrast="-70000"/>
            <a:extLst>
              <a:ext uri="{28A0092B-C50C-407E-A947-70E740481C1C}">
                <a14:useLocalDpi xmlns:a14="http://schemas.microsoft.com/office/drawing/2010/main"/>
              </a:ext>
            </a:extLst>
          </a:blip>
          <a:stretch>
            <a:fillRect/>
          </a:stretch>
        </p:blipFill>
        <p:spPr>
          <a:xfrm>
            <a:off x="8005743" y="2285217"/>
            <a:ext cx="370768" cy="370768"/>
          </a:xfrm>
          <a:prstGeom prst="rect">
            <a:avLst/>
          </a:prstGeom>
        </p:spPr>
      </p:pic>
      <p:grpSp>
        <p:nvGrpSpPr>
          <p:cNvPr id="80" name="Group 30"/>
          <p:cNvGrpSpPr/>
          <p:nvPr/>
        </p:nvGrpSpPr>
        <p:grpSpPr>
          <a:xfrm>
            <a:off x="2295625" y="3976136"/>
            <a:ext cx="1113814" cy="473173"/>
            <a:chOff x="2051305" y="2423247"/>
            <a:chExt cx="1113814" cy="473173"/>
          </a:xfrm>
        </p:grpSpPr>
        <p:pic>
          <p:nvPicPr>
            <p:cNvPr id="81" name="Picture 31"/>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2371626" y="2423247"/>
              <a:ext cx="473173" cy="473173"/>
            </a:xfrm>
            <a:prstGeom prst="rect">
              <a:avLst/>
            </a:prstGeom>
          </p:spPr>
        </p:pic>
        <p:sp>
          <p:nvSpPr>
            <p:cNvPr id="82" name="Content Placeholder 3"/>
            <p:cNvSpPr txBox="1">
              <a:spLocks/>
            </p:cNvSpPr>
            <p:nvPr/>
          </p:nvSpPr>
          <p:spPr>
            <a:xfrm>
              <a:off x="2051305" y="2482289"/>
              <a:ext cx="1113814" cy="241700"/>
            </a:xfrm>
            <a:prstGeom prst="rect">
              <a:avLst/>
            </a:prstGeom>
          </p:spPr>
          <p:txBody>
            <a:bodyPr/>
            <a:lstStyle>
              <a:lvl1pPr marL="0" indent="0" algn="l" defTabSz="914400" rtl="0" eaLnBrk="1" latinLnBrk="0" hangingPunct="1">
                <a:lnSpc>
                  <a:spcPct val="90000"/>
                </a:lnSpc>
                <a:spcBef>
                  <a:spcPts val="1000"/>
                </a:spcBef>
                <a:buFont typeface="Arial"/>
                <a:buNone/>
                <a:defRPr sz="1600" kern="1200">
                  <a:solidFill>
                    <a:schemeClr val="tx2"/>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600" kern="1200">
                  <a:solidFill>
                    <a:schemeClr val="tx1">
                      <a:lumMod val="75000"/>
                      <a:lumOff val="25000"/>
                    </a:schemeClr>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da-DK" sz="1400" dirty="0">
                  <a:latin typeface="Arial" panose="020B0604020202020204" pitchFamily="34" charset="0"/>
                  <a:ea typeface="Avenir Bog" charset="0"/>
                  <a:cs typeface="Arial" panose="020B0604020202020204" pitchFamily="34" charset="0"/>
                </a:rPr>
                <a:t>2x</a:t>
              </a:r>
            </a:p>
          </p:txBody>
        </p:sp>
      </p:grpSp>
      <p:pic>
        <p:nvPicPr>
          <p:cNvPr id="83" name="Picture 50"/>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1448556" y="4785108"/>
            <a:ext cx="321581" cy="321581"/>
          </a:xfrm>
          <a:prstGeom prst="rect">
            <a:avLst/>
          </a:prstGeom>
        </p:spPr>
      </p:pic>
      <p:pic>
        <p:nvPicPr>
          <p:cNvPr id="84" name="Picture 2" descr="https://cdn2.iconfinder.com/data/icons/awards-4/512/achievement_award_vector_icons_good_award_awards_conqueror_triumph_win_winner_verified_best_pride_reward_success_achievement_ceremony_champion_competitive_trophy_tribute_emblem_favorite_medal_winning_popularity_favourites_glory_high-512.png"/>
          <p:cNvPicPr>
            <a:picLocks noChangeAspect="1" noChangeArrowheads="1"/>
          </p:cNvPicPr>
          <p:nvPr/>
        </p:nvPicPr>
        <p:blipFill>
          <a:blip r:embed="rId33" cstate="print">
            <a:extLst>
              <a:ext uri="{28A0092B-C50C-407E-A947-70E740481C1C}">
                <a14:useLocalDpi xmlns:a14="http://schemas.microsoft.com/office/drawing/2010/main"/>
              </a:ext>
            </a:extLst>
          </a:blip>
          <a:srcRect/>
          <a:stretch>
            <a:fillRect/>
          </a:stretch>
        </p:blipFill>
        <p:spPr bwMode="auto">
          <a:xfrm>
            <a:off x="2007479" y="4681614"/>
            <a:ext cx="547818" cy="547818"/>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p:cNvPicPr>
            <a:picLocks noChangeAspect="1"/>
          </p:cNvPicPr>
          <p:nvPr/>
        </p:nvPicPr>
        <p:blipFill rotWithShape="1">
          <a:blip r:embed="rId34" cstate="hqprint">
            <a:extLst>
              <a:ext uri="{28A0092B-C50C-407E-A947-70E740481C1C}">
                <a14:useLocalDpi xmlns:a14="http://schemas.microsoft.com/office/drawing/2010/main"/>
              </a:ext>
            </a:extLst>
          </a:blip>
          <a:srcRect/>
          <a:stretch/>
        </p:blipFill>
        <p:spPr>
          <a:xfrm>
            <a:off x="6344580" y="3289685"/>
            <a:ext cx="2098706" cy="1137295"/>
          </a:xfrm>
          <a:prstGeom prst="rect">
            <a:avLst/>
          </a:prstGeom>
        </p:spPr>
      </p:pic>
      <p:pic>
        <p:nvPicPr>
          <p:cNvPr id="86" name="Billede 85"/>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5325544" y="460906"/>
            <a:ext cx="478469" cy="478469"/>
          </a:xfrm>
          <a:prstGeom prst="rect">
            <a:avLst/>
          </a:prstGeom>
        </p:spPr>
      </p:pic>
      <p:pic>
        <p:nvPicPr>
          <p:cNvPr id="87" name="Billede 86"/>
          <p:cNvPicPr>
            <a:picLocks noChangeAspect="1"/>
          </p:cNvPicPr>
          <p:nvPr/>
        </p:nvPicPr>
        <p:blipFill>
          <a:blip r:embed="rId36">
            <a:extLst>
              <a:ext uri="{28A0092B-C50C-407E-A947-70E740481C1C}">
                <a14:useLocalDpi xmlns:a14="http://schemas.microsoft.com/office/drawing/2010/main"/>
              </a:ext>
            </a:extLst>
          </a:blip>
          <a:stretch>
            <a:fillRect/>
          </a:stretch>
        </p:blipFill>
        <p:spPr>
          <a:xfrm>
            <a:off x="3548903" y="190811"/>
            <a:ext cx="638816" cy="638816"/>
          </a:xfrm>
          <a:prstGeom prst="rect">
            <a:avLst/>
          </a:prstGeom>
        </p:spPr>
      </p:pic>
      <p:pic>
        <p:nvPicPr>
          <p:cNvPr id="88" name="Billede 87"/>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4699892" y="1138419"/>
            <a:ext cx="537087" cy="537087"/>
          </a:xfrm>
          <a:prstGeom prst="rect">
            <a:avLst/>
          </a:prstGeom>
        </p:spPr>
      </p:pic>
      <p:pic>
        <p:nvPicPr>
          <p:cNvPr id="89" name="Billede 88"/>
          <p:cNvPicPr>
            <a:picLocks noChangeAspect="1"/>
          </p:cNvPicPr>
          <p:nvPr/>
        </p:nvPicPr>
        <p:blipFill>
          <a:blip r:embed="rId38" cstate="hqprint">
            <a:extLst>
              <a:ext uri="{28A0092B-C50C-407E-A947-70E740481C1C}">
                <a14:useLocalDpi xmlns:a14="http://schemas.microsoft.com/office/drawing/2010/main"/>
              </a:ext>
            </a:extLst>
          </a:blip>
          <a:stretch>
            <a:fillRect/>
          </a:stretch>
        </p:blipFill>
        <p:spPr>
          <a:xfrm>
            <a:off x="4081361" y="1224297"/>
            <a:ext cx="580566" cy="580566"/>
          </a:xfrm>
          <a:prstGeom prst="rect">
            <a:avLst/>
          </a:prstGeom>
        </p:spPr>
      </p:pic>
      <p:pic>
        <p:nvPicPr>
          <p:cNvPr id="90" name="Billede 89"/>
          <p:cNvPicPr>
            <a:picLocks noChangeAspect="1"/>
          </p:cNvPicPr>
          <p:nvPr/>
        </p:nvPicPr>
        <p:blipFill>
          <a:blip r:embed="rId39" cstate="hqprint">
            <a:extLst>
              <a:ext uri="{28A0092B-C50C-407E-A947-70E740481C1C}">
                <a14:useLocalDpi xmlns:a14="http://schemas.microsoft.com/office/drawing/2010/main"/>
              </a:ext>
            </a:extLst>
          </a:blip>
          <a:stretch>
            <a:fillRect/>
          </a:stretch>
        </p:blipFill>
        <p:spPr>
          <a:xfrm>
            <a:off x="3077364" y="343699"/>
            <a:ext cx="471253" cy="471253"/>
          </a:xfrm>
          <a:prstGeom prst="rect">
            <a:avLst/>
          </a:prstGeom>
        </p:spPr>
      </p:pic>
      <p:pic>
        <p:nvPicPr>
          <p:cNvPr id="91" name="Billede 90"/>
          <p:cNvPicPr>
            <a:picLocks noChangeAspect="1"/>
          </p:cNvPicPr>
          <p:nvPr/>
        </p:nvPicPr>
        <p:blipFill>
          <a:blip r:embed="rId40" cstate="hqprint">
            <a:extLst>
              <a:ext uri="{28A0092B-C50C-407E-A947-70E740481C1C}">
                <a14:useLocalDpi xmlns:a14="http://schemas.microsoft.com/office/drawing/2010/main"/>
              </a:ext>
            </a:extLst>
          </a:blip>
          <a:stretch>
            <a:fillRect/>
          </a:stretch>
        </p:blipFill>
        <p:spPr>
          <a:xfrm>
            <a:off x="4139580" y="431929"/>
            <a:ext cx="447088" cy="447088"/>
          </a:xfrm>
          <a:prstGeom prst="rect">
            <a:avLst/>
          </a:prstGeom>
        </p:spPr>
      </p:pic>
      <p:pic>
        <p:nvPicPr>
          <p:cNvPr id="92" name="Billede 91"/>
          <p:cNvPicPr>
            <a:picLocks noChangeAspect="1"/>
          </p:cNvPicPr>
          <p:nvPr/>
        </p:nvPicPr>
        <p:blipFill>
          <a:blip r:embed="rId41" cstate="hqprint">
            <a:extLst>
              <a:ext uri="{28A0092B-C50C-407E-A947-70E740481C1C}">
                <a14:useLocalDpi xmlns:a14="http://schemas.microsoft.com/office/drawing/2010/main"/>
              </a:ext>
            </a:extLst>
          </a:blip>
          <a:stretch>
            <a:fillRect/>
          </a:stretch>
        </p:blipFill>
        <p:spPr>
          <a:xfrm>
            <a:off x="4621850" y="420452"/>
            <a:ext cx="574442" cy="574442"/>
          </a:xfrm>
          <a:prstGeom prst="rect">
            <a:avLst/>
          </a:prstGeom>
        </p:spPr>
      </p:pic>
      <p:pic>
        <p:nvPicPr>
          <p:cNvPr id="93" name="Billede 92"/>
          <p:cNvPicPr>
            <a:picLocks noChangeAspect="1"/>
          </p:cNvPicPr>
          <p:nvPr/>
        </p:nvPicPr>
        <p:blipFill>
          <a:blip r:embed="rId42" cstate="hqprint">
            <a:extLst>
              <a:ext uri="{28A0092B-C50C-407E-A947-70E740481C1C}">
                <a14:useLocalDpi xmlns:a14="http://schemas.microsoft.com/office/drawing/2010/main"/>
              </a:ext>
            </a:extLst>
          </a:blip>
          <a:stretch>
            <a:fillRect/>
          </a:stretch>
        </p:blipFill>
        <p:spPr>
          <a:xfrm>
            <a:off x="3469894" y="1269277"/>
            <a:ext cx="448610" cy="448610"/>
          </a:xfrm>
          <a:prstGeom prst="rect">
            <a:avLst/>
          </a:prstGeom>
        </p:spPr>
      </p:pic>
      <p:sp>
        <p:nvSpPr>
          <p:cNvPr id="94" name="Freeform 19"/>
          <p:cNvSpPr>
            <a:spLocks noChangeAspect="1" noEditPoints="1"/>
          </p:cNvSpPr>
          <p:nvPr/>
        </p:nvSpPr>
        <p:spPr bwMode="auto">
          <a:xfrm>
            <a:off x="8548188" y="3117957"/>
            <a:ext cx="350018" cy="398888"/>
          </a:xfrm>
          <a:custGeom>
            <a:avLst/>
            <a:gdLst>
              <a:gd name="T0" fmla="*/ 4050 w 4769"/>
              <a:gd name="T1" fmla="*/ 4462 h 5437"/>
              <a:gd name="T2" fmla="*/ 4103 w 4769"/>
              <a:gd name="T3" fmla="*/ 4555 h 5437"/>
              <a:gd name="T4" fmla="*/ 4050 w 4769"/>
              <a:gd name="T5" fmla="*/ 4649 h 5437"/>
              <a:gd name="T6" fmla="*/ 2943 w 4769"/>
              <a:gd name="T7" fmla="*/ 4659 h 5437"/>
              <a:gd name="T8" fmla="*/ 2868 w 4769"/>
              <a:gd name="T9" fmla="*/ 4584 h 5437"/>
              <a:gd name="T10" fmla="*/ 2895 w 4769"/>
              <a:gd name="T11" fmla="*/ 4479 h 5437"/>
              <a:gd name="T12" fmla="*/ 2141 w 4769"/>
              <a:gd name="T13" fmla="*/ 4301 h 5437"/>
              <a:gd name="T14" fmla="*/ 2169 w 4769"/>
              <a:gd name="T15" fmla="*/ 4711 h 5437"/>
              <a:gd name="T16" fmla="*/ 2085 w 4769"/>
              <a:gd name="T17" fmla="*/ 4741 h 5437"/>
              <a:gd name="T18" fmla="*/ 1830 w 4769"/>
              <a:gd name="T19" fmla="*/ 4423 h 5437"/>
              <a:gd name="T20" fmla="*/ 2049 w 4769"/>
              <a:gd name="T21" fmla="*/ 4364 h 5437"/>
              <a:gd name="T22" fmla="*/ 3996 w 4769"/>
              <a:gd name="T23" fmla="*/ 3730 h 5437"/>
              <a:gd name="T24" fmla="*/ 4090 w 4769"/>
              <a:gd name="T25" fmla="*/ 3783 h 5437"/>
              <a:gd name="T26" fmla="*/ 4090 w 4769"/>
              <a:gd name="T27" fmla="*/ 3892 h 5437"/>
              <a:gd name="T28" fmla="*/ 3996 w 4769"/>
              <a:gd name="T29" fmla="*/ 3945 h 5437"/>
              <a:gd name="T30" fmla="*/ 2662 w 4769"/>
              <a:gd name="T31" fmla="*/ 3913 h 5437"/>
              <a:gd name="T32" fmla="*/ 2636 w 4769"/>
              <a:gd name="T33" fmla="*/ 3809 h 5437"/>
              <a:gd name="T34" fmla="*/ 2710 w 4769"/>
              <a:gd name="T35" fmla="*/ 3734 h 5437"/>
              <a:gd name="T36" fmla="*/ 4026 w 4769"/>
              <a:gd name="T37" fmla="*/ 3016 h 5437"/>
              <a:gd name="T38" fmla="*/ 4100 w 4769"/>
              <a:gd name="T39" fmla="*/ 3090 h 5437"/>
              <a:gd name="T40" fmla="*/ 4072 w 4769"/>
              <a:gd name="T41" fmla="*/ 3196 h 5437"/>
              <a:gd name="T42" fmla="*/ 3399 w 4769"/>
              <a:gd name="T43" fmla="*/ 3227 h 5437"/>
              <a:gd name="T44" fmla="*/ 3307 w 4769"/>
              <a:gd name="T45" fmla="*/ 3173 h 5437"/>
              <a:gd name="T46" fmla="*/ 3307 w 4769"/>
              <a:gd name="T47" fmla="*/ 3066 h 5437"/>
              <a:gd name="T48" fmla="*/ 3399 w 4769"/>
              <a:gd name="T49" fmla="*/ 3013 h 5437"/>
              <a:gd name="T50" fmla="*/ 4451 w 4769"/>
              <a:gd name="T51" fmla="*/ 2264 h 5437"/>
              <a:gd name="T52" fmla="*/ 4659 w 4769"/>
              <a:gd name="T53" fmla="*/ 2400 h 5437"/>
              <a:gd name="T54" fmla="*/ 4764 w 4769"/>
              <a:gd name="T55" fmla="*/ 2629 h 5437"/>
              <a:gd name="T56" fmla="*/ 4751 w 4769"/>
              <a:gd name="T57" fmla="*/ 5119 h 5437"/>
              <a:gd name="T58" fmla="*/ 4616 w 4769"/>
              <a:gd name="T59" fmla="*/ 5327 h 5437"/>
              <a:gd name="T60" fmla="*/ 4388 w 4769"/>
              <a:gd name="T61" fmla="*/ 5432 h 5437"/>
              <a:gd name="T62" fmla="*/ 1716 w 4769"/>
              <a:gd name="T63" fmla="*/ 5419 h 5437"/>
              <a:gd name="T64" fmla="*/ 1650 w 4769"/>
              <a:gd name="T65" fmla="*/ 5303 h 5437"/>
              <a:gd name="T66" fmla="*/ 1716 w 4769"/>
              <a:gd name="T67" fmla="*/ 5188 h 5437"/>
              <a:gd name="T68" fmla="*/ 4362 w 4769"/>
              <a:gd name="T69" fmla="*/ 5165 h 5437"/>
              <a:gd name="T70" fmla="*/ 4484 w 4769"/>
              <a:gd name="T71" fmla="*/ 5068 h 5437"/>
              <a:gd name="T72" fmla="*/ 4497 w 4769"/>
              <a:gd name="T73" fmla="*/ 2654 h 5437"/>
              <a:gd name="T74" fmla="*/ 4400 w 4769"/>
              <a:gd name="T75" fmla="*/ 2531 h 5437"/>
              <a:gd name="T76" fmla="*/ 1965 w 4769"/>
              <a:gd name="T77" fmla="*/ 2246 h 5437"/>
              <a:gd name="T78" fmla="*/ 2242 w 4769"/>
              <a:gd name="T79" fmla="*/ 3872 h 5437"/>
              <a:gd name="T80" fmla="*/ 2207 w 4769"/>
              <a:gd name="T81" fmla="*/ 4062 h 5437"/>
              <a:gd name="T82" fmla="*/ 2066 w 4769"/>
              <a:gd name="T83" fmla="*/ 4240 h 5437"/>
              <a:gd name="T84" fmla="*/ 1850 w 4769"/>
              <a:gd name="T85" fmla="*/ 4326 h 5437"/>
              <a:gd name="T86" fmla="*/ 1634 w 4769"/>
              <a:gd name="T87" fmla="*/ 4291 h 5437"/>
              <a:gd name="T88" fmla="*/ 1462 w 4769"/>
              <a:gd name="T89" fmla="*/ 4154 h 5437"/>
              <a:gd name="T90" fmla="*/ 1612 w 4769"/>
              <a:gd name="T91" fmla="*/ 2215 h 5437"/>
              <a:gd name="T92" fmla="*/ 387 w 4769"/>
              <a:gd name="T93" fmla="*/ 411 h 5437"/>
              <a:gd name="T94" fmla="*/ 368 w 4769"/>
              <a:gd name="T95" fmla="*/ 525 h 5437"/>
              <a:gd name="T96" fmla="*/ 889 w 4769"/>
              <a:gd name="T97" fmla="*/ 1770 h 5437"/>
              <a:gd name="T98" fmla="*/ 1007 w 4769"/>
              <a:gd name="T99" fmla="*/ 1755 h 5437"/>
              <a:gd name="T100" fmla="*/ 1057 w 4769"/>
              <a:gd name="T101" fmla="*/ 1651 h 5437"/>
              <a:gd name="T102" fmla="*/ 554 w 4769"/>
              <a:gd name="T103" fmla="*/ 389 h 5437"/>
              <a:gd name="T104" fmla="*/ 491 w 4769"/>
              <a:gd name="T105" fmla="*/ 0 h 5437"/>
              <a:gd name="T106" fmla="*/ 724 w 4769"/>
              <a:gd name="T107" fmla="*/ 68 h 5437"/>
              <a:gd name="T108" fmla="*/ 893 w 4769"/>
              <a:gd name="T109" fmla="*/ 244 h 5437"/>
              <a:gd name="T110" fmla="*/ 33 w 4769"/>
              <a:gd name="T111" fmla="*/ 648 h 5437"/>
              <a:gd name="T112" fmla="*/ 7 w 4769"/>
              <a:gd name="T113" fmla="*/ 401 h 5437"/>
              <a:gd name="T114" fmla="*/ 104 w 4769"/>
              <a:gd name="T115" fmla="*/ 180 h 5437"/>
              <a:gd name="T116" fmla="*/ 305 w 4769"/>
              <a:gd name="T117" fmla="*/ 32 h 5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69" h="5437">
                <a:moveTo>
                  <a:pt x="2971" y="4448"/>
                </a:moveTo>
                <a:lnTo>
                  <a:pt x="3996" y="4448"/>
                </a:lnTo>
                <a:lnTo>
                  <a:pt x="4026" y="4453"/>
                </a:lnTo>
                <a:lnTo>
                  <a:pt x="4050" y="4462"/>
                </a:lnTo>
                <a:lnTo>
                  <a:pt x="4072" y="4479"/>
                </a:lnTo>
                <a:lnTo>
                  <a:pt x="4090" y="4500"/>
                </a:lnTo>
                <a:lnTo>
                  <a:pt x="4100" y="4527"/>
                </a:lnTo>
                <a:lnTo>
                  <a:pt x="4103" y="4555"/>
                </a:lnTo>
                <a:lnTo>
                  <a:pt x="4100" y="4584"/>
                </a:lnTo>
                <a:lnTo>
                  <a:pt x="4090" y="4609"/>
                </a:lnTo>
                <a:lnTo>
                  <a:pt x="4072" y="4631"/>
                </a:lnTo>
                <a:lnTo>
                  <a:pt x="4050" y="4649"/>
                </a:lnTo>
                <a:lnTo>
                  <a:pt x="4026" y="4659"/>
                </a:lnTo>
                <a:lnTo>
                  <a:pt x="3996" y="4662"/>
                </a:lnTo>
                <a:lnTo>
                  <a:pt x="2971" y="4662"/>
                </a:lnTo>
                <a:lnTo>
                  <a:pt x="2943" y="4659"/>
                </a:lnTo>
                <a:lnTo>
                  <a:pt x="2916" y="4649"/>
                </a:lnTo>
                <a:lnTo>
                  <a:pt x="2895" y="4631"/>
                </a:lnTo>
                <a:lnTo>
                  <a:pt x="2878" y="4609"/>
                </a:lnTo>
                <a:lnTo>
                  <a:pt x="2868" y="4584"/>
                </a:lnTo>
                <a:lnTo>
                  <a:pt x="2863" y="4555"/>
                </a:lnTo>
                <a:lnTo>
                  <a:pt x="2868" y="4527"/>
                </a:lnTo>
                <a:lnTo>
                  <a:pt x="2878" y="4500"/>
                </a:lnTo>
                <a:lnTo>
                  <a:pt x="2895" y="4479"/>
                </a:lnTo>
                <a:lnTo>
                  <a:pt x="2916" y="4462"/>
                </a:lnTo>
                <a:lnTo>
                  <a:pt x="2943" y="4453"/>
                </a:lnTo>
                <a:lnTo>
                  <a:pt x="2971" y="4448"/>
                </a:lnTo>
                <a:close/>
                <a:moveTo>
                  <a:pt x="2141" y="4301"/>
                </a:moveTo>
                <a:lnTo>
                  <a:pt x="2181" y="4632"/>
                </a:lnTo>
                <a:lnTo>
                  <a:pt x="2183" y="4664"/>
                </a:lnTo>
                <a:lnTo>
                  <a:pt x="2179" y="4690"/>
                </a:lnTo>
                <a:lnTo>
                  <a:pt x="2169" y="4711"/>
                </a:lnTo>
                <a:lnTo>
                  <a:pt x="2155" y="4728"/>
                </a:lnTo>
                <a:lnTo>
                  <a:pt x="2133" y="4739"/>
                </a:lnTo>
                <a:lnTo>
                  <a:pt x="2108" y="4746"/>
                </a:lnTo>
                <a:lnTo>
                  <a:pt x="2085" y="4741"/>
                </a:lnTo>
                <a:lnTo>
                  <a:pt x="2064" y="4731"/>
                </a:lnTo>
                <a:lnTo>
                  <a:pt x="2044" y="4713"/>
                </a:lnTo>
                <a:lnTo>
                  <a:pt x="2024" y="4693"/>
                </a:lnTo>
                <a:lnTo>
                  <a:pt x="1830" y="4423"/>
                </a:lnTo>
                <a:lnTo>
                  <a:pt x="1884" y="4416"/>
                </a:lnTo>
                <a:lnTo>
                  <a:pt x="1940" y="4406"/>
                </a:lnTo>
                <a:lnTo>
                  <a:pt x="1996" y="4388"/>
                </a:lnTo>
                <a:lnTo>
                  <a:pt x="2049" y="4364"/>
                </a:lnTo>
                <a:lnTo>
                  <a:pt x="2097" y="4334"/>
                </a:lnTo>
                <a:lnTo>
                  <a:pt x="2141" y="4301"/>
                </a:lnTo>
                <a:close/>
                <a:moveTo>
                  <a:pt x="2738" y="3730"/>
                </a:moveTo>
                <a:lnTo>
                  <a:pt x="3996" y="3730"/>
                </a:lnTo>
                <a:lnTo>
                  <a:pt x="4026" y="3734"/>
                </a:lnTo>
                <a:lnTo>
                  <a:pt x="4050" y="3745"/>
                </a:lnTo>
                <a:lnTo>
                  <a:pt x="4072" y="3762"/>
                </a:lnTo>
                <a:lnTo>
                  <a:pt x="4090" y="3783"/>
                </a:lnTo>
                <a:lnTo>
                  <a:pt x="4100" y="3809"/>
                </a:lnTo>
                <a:lnTo>
                  <a:pt x="4103" y="3837"/>
                </a:lnTo>
                <a:lnTo>
                  <a:pt x="4100" y="3867"/>
                </a:lnTo>
                <a:lnTo>
                  <a:pt x="4090" y="3892"/>
                </a:lnTo>
                <a:lnTo>
                  <a:pt x="4072" y="3913"/>
                </a:lnTo>
                <a:lnTo>
                  <a:pt x="4050" y="3931"/>
                </a:lnTo>
                <a:lnTo>
                  <a:pt x="4026" y="3941"/>
                </a:lnTo>
                <a:lnTo>
                  <a:pt x="3996" y="3945"/>
                </a:lnTo>
                <a:lnTo>
                  <a:pt x="2738" y="3945"/>
                </a:lnTo>
                <a:lnTo>
                  <a:pt x="2710" y="3941"/>
                </a:lnTo>
                <a:lnTo>
                  <a:pt x="2684" y="3931"/>
                </a:lnTo>
                <a:lnTo>
                  <a:pt x="2662" y="3913"/>
                </a:lnTo>
                <a:lnTo>
                  <a:pt x="2646" y="3892"/>
                </a:lnTo>
                <a:lnTo>
                  <a:pt x="2636" y="3867"/>
                </a:lnTo>
                <a:lnTo>
                  <a:pt x="2631" y="3837"/>
                </a:lnTo>
                <a:lnTo>
                  <a:pt x="2636" y="3809"/>
                </a:lnTo>
                <a:lnTo>
                  <a:pt x="2646" y="3783"/>
                </a:lnTo>
                <a:lnTo>
                  <a:pt x="2662" y="3762"/>
                </a:lnTo>
                <a:lnTo>
                  <a:pt x="2684" y="3745"/>
                </a:lnTo>
                <a:lnTo>
                  <a:pt x="2710" y="3734"/>
                </a:lnTo>
                <a:lnTo>
                  <a:pt x="2738" y="3730"/>
                </a:lnTo>
                <a:close/>
                <a:moveTo>
                  <a:pt x="3399" y="3013"/>
                </a:moveTo>
                <a:lnTo>
                  <a:pt x="3996" y="3013"/>
                </a:lnTo>
                <a:lnTo>
                  <a:pt x="4026" y="3016"/>
                </a:lnTo>
                <a:lnTo>
                  <a:pt x="4050" y="3028"/>
                </a:lnTo>
                <a:lnTo>
                  <a:pt x="4072" y="3044"/>
                </a:lnTo>
                <a:lnTo>
                  <a:pt x="4090" y="3066"/>
                </a:lnTo>
                <a:lnTo>
                  <a:pt x="4100" y="3090"/>
                </a:lnTo>
                <a:lnTo>
                  <a:pt x="4103" y="3119"/>
                </a:lnTo>
                <a:lnTo>
                  <a:pt x="4100" y="3148"/>
                </a:lnTo>
                <a:lnTo>
                  <a:pt x="4090" y="3173"/>
                </a:lnTo>
                <a:lnTo>
                  <a:pt x="4072" y="3196"/>
                </a:lnTo>
                <a:lnTo>
                  <a:pt x="4050" y="3213"/>
                </a:lnTo>
                <a:lnTo>
                  <a:pt x="4026" y="3222"/>
                </a:lnTo>
                <a:lnTo>
                  <a:pt x="3996" y="3227"/>
                </a:lnTo>
                <a:lnTo>
                  <a:pt x="3399" y="3227"/>
                </a:lnTo>
                <a:lnTo>
                  <a:pt x="3371" y="3222"/>
                </a:lnTo>
                <a:lnTo>
                  <a:pt x="3345" y="3213"/>
                </a:lnTo>
                <a:lnTo>
                  <a:pt x="3323" y="3196"/>
                </a:lnTo>
                <a:lnTo>
                  <a:pt x="3307" y="3173"/>
                </a:lnTo>
                <a:lnTo>
                  <a:pt x="3295" y="3148"/>
                </a:lnTo>
                <a:lnTo>
                  <a:pt x="3292" y="3119"/>
                </a:lnTo>
                <a:lnTo>
                  <a:pt x="3295" y="3090"/>
                </a:lnTo>
                <a:lnTo>
                  <a:pt x="3307" y="3066"/>
                </a:lnTo>
                <a:lnTo>
                  <a:pt x="3323" y="3044"/>
                </a:lnTo>
                <a:lnTo>
                  <a:pt x="3345" y="3028"/>
                </a:lnTo>
                <a:lnTo>
                  <a:pt x="3371" y="3016"/>
                </a:lnTo>
                <a:lnTo>
                  <a:pt x="3399" y="3013"/>
                </a:lnTo>
                <a:close/>
                <a:moveTo>
                  <a:pt x="1965" y="2246"/>
                </a:moveTo>
                <a:lnTo>
                  <a:pt x="4322" y="2246"/>
                </a:lnTo>
                <a:lnTo>
                  <a:pt x="4388" y="2251"/>
                </a:lnTo>
                <a:lnTo>
                  <a:pt x="4451" y="2264"/>
                </a:lnTo>
                <a:lnTo>
                  <a:pt x="4510" y="2287"/>
                </a:lnTo>
                <a:lnTo>
                  <a:pt x="4565" y="2319"/>
                </a:lnTo>
                <a:lnTo>
                  <a:pt x="4616" y="2355"/>
                </a:lnTo>
                <a:lnTo>
                  <a:pt x="4659" y="2400"/>
                </a:lnTo>
                <a:lnTo>
                  <a:pt x="4697" y="2451"/>
                </a:lnTo>
                <a:lnTo>
                  <a:pt x="4728" y="2505"/>
                </a:lnTo>
                <a:lnTo>
                  <a:pt x="4751" y="2564"/>
                </a:lnTo>
                <a:lnTo>
                  <a:pt x="4764" y="2629"/>
                </a:lnTo>
                <a:lnTo>
                  <a:pt x="4769" y="2695"/>
                </a:lnTo>
                <a:lnTo>
                  <a:pt x="4769" y="4988"/>
                </a:lnTo>
                <a:lnTo>
                  <a:pt x="4764" y="5054"/>
                </a:lnTo>
                <a:lnTo>
                  <a:pt x="4751" y="5119"/>
                </a:lnTo>
                <a:lnTo>
                  <a:pt x="4728" y="5178"/>
                </a:lnTo>
                <a:lnTo>
                  <a:pt x="4698" y="5233"/>
                </a:lnTo>
                <a:lnTo>
                  <a:pt x="4660" y="5282"/>
                </a:lnTo>
                <a:lnTo>
                  <a:pt x="4616" y="5327"/>
                </a:lnTo>
                <a:lnTo>
                  <a:pt x="4566" y="5364"/>
                </a:lnTo>
                <a:lnTo>
                  <a:pt x="4510" y="5396"/>
                </a:lnTo>
                <a:lnTo>
                  <a:pt x="4451" y="5417"/>
                </a:lnTo>
                <a:lnTo>
                  <a:pt x="4388" y="5432"/>
                </a:lnTo>
                <a:lnTo>
                  <a:pt x="4322" y="5437"/>
                </a:lnTo>
                <a:lnTo>
                  <a:pt x="1784" y="5437"/>
                </a:lnTo>
                <a:lnTo>
                  <a:pt x="1747" y="5432"/>
                </a:lnTo>
                <a:lnTo>
                  <a:pt x="1716" y="5419"/>
                </a:lnTo>
                <a:lnTo>
                  <a:pt x="1690" y="5397"/>
                </a:lnTo>
                <a:lnTo>
                  <a:pt x="1668" y="5371"/>
                </a:lnTo>
                <a:lnTo>
                  <a:pt x="1655" y="5338"/>
                </a:lnTo>
                <a:lnTo>
                  <a:pt x="1650" y="5303"/>
                </a:lnTo>
                <a:lnTo>
                  <a:pt x="1655" y="5267"/>
                </a:lnTo>
                <a:lnTo>
                  <a:pt x="1668" y="5236"/>
                </a:lnTo>
                <a:lnTo>
                  <a:pt x="1690" y="5209"/>
                </a:lnTo>
                <a:lnTo>
                  <a:pt x="1716" y="5188"/>
                </a:lnTo>
                <a:lnTo>
                  <a:pt x="1747" y="5175"/>
                </a:lnTo>
                <a:lnTo>
                  <a:pt x="1784" y="5170"/>
                </a:lnTo>
                <a:lnTo>
                  <a:pt x="4322" y="5170"/>
                </a:lnTo>
                <a:lnTo>
                  <a:pt x="4362" y="5165"/>
                </a:lnTo>
                <a:lnTo>
                  <a:pt x="4400" y="5152"/>
                </a:lnTo>
                <a:lnTo>
                  <a:pt x="4435" y="5129"/>
                </a:lnTo>
                <a:lnTo>
                  <a:pt x="4463" y="5101"/>
                </a:lnTo>
                <a:lnTo>
                  <a:pt x="4484" y="5068"/>
                </a:lnTo>
                <a:lnTo>
                  <a:pt x="4497" y="5030"/>
                </a:lnTo>
                <a:lnTo>
                  <a:pt x="4502" y="4988"/>
                </a:lnTo>
                <a:lnTo>
                  <a:pt x="4502" y="2695"/>
                </a:lnTo>
                <a:lnTo>
                  <a:pt x="4497" y="2654"/>
                </a:lnTo>
                <a:lnTo>
                  <a:pt x="4484" y="2616"/>
                </a:lnTo>
                <a:lnTo>
                  <a:pt x="4463" y="2581"/>
                </a:lnTo>
                <a:lnTo>
                  <a:pt x="4435" y="2553"/>
                </a:lnTo>
                <a:lnTo>
                  <a:pt x="4400" y="2531"/>
                </a:lnTo>
                <a:lnTo>
                  <a:pt x="4362" y="2518"/>
                </a:lnTo>
                <a:lnTo>
                  <a:pt x="4322" y="2513"/>
                </a:lnTo>
                <a:lnTo>
                  <a:pt x="2069" y="2513"/>
                </a:lnTo>
                <a:lnTo>
                  <a:pt x="1965" y="2246"/>
                </a:lnTo>
                <a:close/>
                <a:moveTo>
                  <a:pt x="1612" y="2215"/>
                </a:moveTo>
                <a:lnTo>
                  <a:pt x="2222" y="3785"/>
                </a:lnTo>
                <a:lnTo>
                  <a:pt x="2235" y="3828"/>
                </a:lnTo>
                <a:lnTo>
                  <a:pt x="2242" y="3872"/>
                </a:lnTo>
                <a:lnTo>
                  <a:pt x="2242" y="3920"/>
                </a:lnTo>
                <a:lnTo>
                  <a:pt x="2237" y="3966"/>
                </a:lnTo>
                <a:lnTo>
                  <a:pt x="2225" y="4014"/>
                </a:lnTo>
                <a:lnTo>
                  <a:pt x="2207" y="4062"/>
                </a:lnTo>
                <a:lnTo>
                  <a:pt x="2181" y="4111"/>
                </a:lnTo>
                <a:lnTo>
                  <a:pt x="2150" y="4159"/>
                </a:lnTo>
                <a:lnTo>
                  <a:pt x="2110" y="4202"/>
                </a:lnTo>
                <a:lnTo>
                  <a:pt x="2066" y="4240"/>
                </a:lnTo>
                <a:lnTo>
                  <a:pt x="2016" y="4273"/>
                </a:lnTo>
                <a:lnTo>
                  <a:pt x="1962" y="4299"/>
                </a:lnTo>
                <a:lnTo>
                  <a:pt x="1906" y="4316"/>
                </a:lnTo>
                <a:lnTo>
                  <a:pt x="1850" y="4326"/>
                </a:lnTo>
                <a:lnTo>
                  <a:pt x="1794" y="4327"/>
                </a:lnTo>
                <a:lnTo>
                  <a:pt x="1738" y="4322"/>
                </a:lnTo>
                <a:lnTo>
                  <a:pt x="1685" y="4309"/>
                </a:lnTo>
                <a:lnTo>
                  <a:pt x="1634" y="4291"/>
                </a:lnTo>
                <a:lnTo>
                  <a:pt x="1584" y="4266"/>
                </a:lnTo>
                <a:lnTo>
                  <a:pt x="1540" y="4235"/>
                </a:lnTo>
                <a:lnTo>
                  <a:pt x="1499" y="4197"/>
                </a:lnTo>
                <a:lnTo>
                  <a:pt x="1462" y="4154"/>
                </a:lnTo>
                <a:lnTo>
                  <a:pt x="1431" y="4106"/>
                </a:lnTo>
                <a:lnTo>
                  <a:pt x="1406" y="4054"/>
                </a:lnTo>
                <a:lnTo>
                  <a:pt x="813" y="2525"/>
                </a:lnTo>
                <a:lnTo>
                  <a:pt x="1612" y="2215"/>
                </a:lnTo>
                <a:close/>
                <a:moveTo>
                  <a:pt x="468" y="368"/>
                </a:moveTo>
                <a:lnTo>
                  <a:pt x="439" y="375"/>
                </a:lnTo>
                <a:lnTo>
                  <a:pt x="410" y="389"/>
                </a:lnTo>
                <a:lnTo>
                  <a:pt x="387" y="411"/>
                </a:lnTo>
                <a:lnTo>
                  <a:pt x="371" y="436"/>
                </a:lnTo>
                <a:lnTo>
                  <a:pt x="363" y="465"/>
                </a:lnTo>
                <a:lnTo>
                  <a:pt x="361" y="495"/>
                </a:lnTo>
                <a:lnTo>
                  <a:pt x="368" y="525"/>
                </a:lnTo>
                <a:lnTo>
                  <a:pt x="828" y="1707"/>
                </a:lnTo>
                <a:lnTo>
                  <a:pt x="842" y="1733"/>
                </a:lnTo>
                <a:lnTo>
                  <a:pt x="864" y="1755"/>
                </a:lnTo>
                <a:lnTo>
                  <a:pt x="889" y="1770"/>
                </a:lnTo>
                <a:lnTo>
                  <a:pt x="918" y="1778"/>
                </a:lnTo>
                <a:lnTo>
                  <a:pt x="948" y="1778"/>
                </a:lnTo>
                <a:lnTo>
                  <a:pt x="979" y="1771"/>
                </a:lnTo>
                <a:lnTo>
                  <a:pt x="1007" y="1755"/>
                </a:lnTo>
                <a:lnTo>
                  <a:pt x="1029" y="1733"/>
                </a:lnTo>
                <a:lnTo>
                  <a:pt x="1045" y="1709"/>
                </a:lnTo>
                <a:lnTo>
                  <a:pt x="1055" y="1681"/>
                </a:lnTo>
                <a:lnTo>
                  <a:pt x="1057" y="1651"/>
                </a:lnTo>
                <a:lnTo>
                  <a:pt x="1048" y="1621"/>
                </a:lnTo>
                <a:lnTo>
                  <a:pt x="590" y="437"/>
                </a:lnTo>
                <a:lnTo>
                  <a:pt x="575" y="411"/>
                </a:lnTo>
                <a:lnTo>
                  <a:pt x="554" y="389"/>
                </a:lnTo>
                <a:lnTo>
                  <a:pt x="528" y="376"/>
                </a:lnTo>
                <a:lnTo>
                  <a:pt x="500" y="368"/>
                </a:lnTo>
                <a:lnTo>
                  <a:pt x="468" y="368"/>
                </a:lnTo>
                <a:close/>
                <a:moveTo>
                  <a:pt x="491" y="0"/>
                </a:moveTo>
                <a:lnTo>
                  <a:pt x="552" y="5"/>
                </a:lnTo>
                <a:lnTo>
                  <a:pt x="612" y="18"/>
                </a:lnTo>
                <a:lnTo>
                  <a:pt x="669" y="40"/>
                </a:lnTo>
                <a:lnTo>
                  <a:pt x="724" y="68"/>
                </a:lnTo>
                <a:lnTo>
                  <a:pt x="773" y="103"/>
                </a:lnTo>
                <a:lnTo>
                  <a:pt x="819" y="144"/>
                </a:lnTo>
                <a:lnTo>
                  <a:pt x="859" y="192"/>
                </a:lnTo>
                <a:lnTo>
                  <a:pt x="893" y="244"/>
                </a:lnTo>
                <a:lnTo>
                  <a:pt x="922" y="304"/>
                </a:lnTo>
                <a:lnTo>
                  <a:pt x="1586" y="2014"/>
                </a:lnTo>
                <a:lnTo>
                  <a:pt x="697" y="2360"/>
                </a:lnTo>
                <a:lnTo>
                  <a:pt x="33" y="648"/>
                </a:lnTo>
                <a:lnTo>
                  <a:pt x="13" y="587"/>
                </a:lnTo>
                <a:lnTo>
                  <a:pt x="2" y="525"/>
                </a:lnTo>
                <a:lnTo>
                  <a:pt x="0" y="462"/>
                </a:lnTo>
                <a:lnTo>
                  <a:pt x="7" y="401"/>
                </a:lnTo>
                <a:lnTo>
                  <a:pt x="20" y="342"/>
                </a:lnTo>
                <a:lnTo>
                  <a:pt x="40" y="284"/>
                </a:lnTo>
                <a:lnTo>
                  <a:pt x="69" y="230"/>
                </a:lnTo>
                <a:lnTo>
                  <a:pt x="104" y="180"/>
                </a:lnTo>
                <a:lnTo>
                  <a:pt x="145" y="134"/>
                </a:lnTo>
                <a:lnTo>
                  <a:pt x="193" y="93"/>
                </a:lnTo>
                <a:lnTo>
                  <a:pt x="246" y="60"/>
                </a:lnTo>
                <a:lnTo>
                  <a:pt x="305" y="32"/>
                </a:lnTo>
                <a:lnTo>
                  <a:pt x="366" y="12"/>
                </a:lnTo>
                <a:lnTo>
                  <a:pt x="429" y="2"/>
                </a:lnTo>
                <a:lnTo>
                  <a:pt x="49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latin typeface="Arial" panose="020B0604020202020204" pitchFamily="34" charset="0"/>
              <a:cs typeface="Arial" panose="020B0604020202020204" pitchFamily="34" charset="0"/>
            </a:endParaRPr>
          </a:p>
        </p:txBody>
      </p:sp>
      <p:sp>
        <p:nvSpPr>
          <p:cNvPr id="95" name="Freeform 7"/>
          <p:cNvSpPr>
            <a:spLocks noChangeAspect="1" noEditPoints="1"/>
          </p:cNvSpPr>
          <p:nvPr/>
        </p:nvSpPr>
        <p:spPr bwMode="auto">
          <a:xfrm>
            <a:off x="9059877" y="3172655"/>
            <a:ext cx="251054" cy="211079"/>
          </a:xfrm>
          <a:custGeom>
            <a:avLst/>
            <a:gdLst>
              <a:gd name="T0" fmla="*/ 3722 w 6368"/>
              <a:gd name="T1" fmla="*/ 5354 h 5354"/>
              <a:gd name="T2" fmla="*/ 2652 w 6368"/>
              <a:gd name="T3" fmla="*/ 5354 h 5354"/>
              <a:gd name="T4" fmla="*/ 6360 w 6368"/>
              <a:gd name="T5" fmla="*/ 4329 h 5354"/>
              <a:gd name="T6" fmla="*/ 14 w 6368"/>
              <a:gd name="T7" fmla="*/ 4329 h 5354"/>
              <a:gd name="T8" fmla="*/ 14 w 6368"/>
              <a:gd name="T9" fmla="*/ 4329 h 5354"/>
              <a:gd name="T10" fmla="*/ 3722 w 6368"/>
              <a:gd name="T11" fmla="*/ 4053 h 5354"/>
              <a:gd name="T12" fmla="*/ 2652 w 6368"/>
              <a:gd name="T13" fmla="*/ 4053 h 5354"/>
              <a:gd name="T14" fmla="*/ 6360 w 6368"/>
              <a:gd name="T15" fmla="*/ 3001 h 5354"/>
              <a:gd name="T16" fmla="*/ 14 w 6368"/>
              <a:gd name="T17" fmla="*/ 3001 h 5354"/>
              <a:gd name="T18" fmla="*/ 14 w 6368"/>
              <a:gd name="T19" fmla="*/ 3001 h 5354"/>
              <a:gd name="T20" fmla="*/ 3355 w 6368"/>
              <a:gd name="T21" fmla="*/ 1748 h 5354"/>
              <a:gd name="T22" fmla="*/ 3447 w 6368"/>
              <a:gd name="T23" fmla="*/ 1669 h 5354"/>
              <a:gd name="T24" fmla="*/ 3395 w 6368"/>
              <a:gd name="T25" fmla="*/ 1561 h 5354"/>
              <a:gd name="T26" fmla="*/ 3239 w 6368"/>
              <a:gd name="T27" fmla="*/ 1500 h 5354"/>
              <a:gd name="T28" fmla="*/ 2874 w 6368"/>
              <a:gd name="T29" fmla="*/ 971 h 5354"/>
              <a:gd name="T30" fmla="*/ 2810 w 6368"/>
              <a:gd name="T31" fmla="*/ 1052 h 5354"/>
              <a:gd name="T32" fmla="*/ 2878 w 6368"/>
              <a:gd name="T33" fmla="*/ 1131 h 5354"/>
              <a:gd name="T34" fmla="*/ 3004 w 6368"/>
              <a:gd name="T35" fmla="*/ 1177 h 5354"/>
              <a:gd name="T36" fmla="*/ 3239 w 6368"/>
              <a:gd name="T37" fmla="*/ 731 h 5354"/>
              <a:gd name="T38" fmla="*/ 3519 w 6368"/>
              <a:gd name="T39" fmla="*/ 787 h 5354"/>
              <a:gd name="T40" fmla="*/ 3754 w 6368"/>
              <a:gd name="T41" fmla="*/ 915 h 5354"/>
              <a:gd name="T42" fmla="*/ 3345 w 6368"/>
              <a:gd name="T43" fmla="*/ 969 h 5354"/>
              <a:gd name="T44" fmla="*/ 3366 w 6368"/>
              <a:gd name="T45" fmla="*/ 1274 h 5354"/>
              <a:gd name="T46" fmla="*/ 3698 w 6368"/>
              <a:gd name="T47" fmla="*/ 1430 h 5354"/>
              <a:gd name="T48" fmla="*/ 3779 w 6368"/>
              <a:gd name="T49" fmla="*/ 1613 h 5354"/>
              <a:gd name="T50" fmla="*/ 3702 w 6368"/>
              <a:gd name="T51" fmla="*/ 1814 h 5354"/>
              <a:gd name="T52" fmla="*/ 3482 w 6368"/>
              <a:gd name="T53" fmla="*/ 1936 h 5354"/>
              <a:gd name="T54" fmla="*/ 3239 w 6368"/>
              <a:gd name="T55" fmla="*/ 2175 h 5354"/>
              <a:gd name="T56" fmla="*/ 2838 w 6368"/>
              <a:gd name="T57" fmla="*/ 1949 h 5354"/>
              <a:gd name="T58" fmla="*/ 2569 w 6368"/>
              <a:gd name="T59" fmla="*/ 1843 h 5354"/>
              <a:gd name="T60" fmla="*/ 2745 w 6368"/>
              <a:gd name="T61" fmla="*/ 1644 h 5354"/>
              <a:gd name="T62" fmla="*/ 2940 w 6368"/>
              <a:gd name="T63" fmla="*/ 1752 h 5354"/>
              <a:gd name="T64" fmla="*/ 2791 w 6368"/>
              <a:gd name="T65" fmla="*/ 1370 h 5354"/>
              <a:gd name="T66" fmla="*/ 2550 w 6368"/>
              <a:gd name="T67" fmla="*/ 1243 h 5354"/>
              <a:gd name="T68" fmla="*/ 2480 w 6368"/>
              <a:gd name="T69" fmla="*/ 1071 h 5354"/>
              <a:gd name="T70" fmla="*/ 2558 w 6368"/>
              <a:gd name="T71" fmla="*/ 899 h 5354"/>
              <a:gd name="T72" fmla="*/ 2751 w 6368"/>
              <a:gd name="T73" fmla="*/ 787 h 5354"/>
              <a:gd name="T74" fmla="*/ 3004 w 6368"/>
              <a:gd name="T75" fmla="*/ 612 h 5354"/>
              <a:gd name="T76" fmla="*/ 1687 w 6368"/>
              <a:gd name="T77" fmla="*/ 594 h 5354"/>
              <a:gd name="T78" fmla="*/ 1392 w 6368"/>
              <a:gd name="T79" fmla="*/ 810 h 5354"/>
              <a:gd name="T80" fmla="*/ 992 w 6368"/>
              <a:gd name="T81" fmla="*/ 932 h 5354"/>
              <a:gd name="T82" fmla="*/ 660 w 6368"/>
              <a:gd name="T83" fmla="*/ 1826 h 5354"/>
              <a:gd name="T84" fmla="*/ 1000 w 6368"/>
              <a:gd name="T85" fmla="*/ 1994 h 5354"/>
              <a:gd name="T86" fmla="*/ 1224 w 6368"/>
              <a:gd name="T87" fmla="*/ 2235 h 5354"/>
              <a:gd name="T88" fmla="*/ 5187 w 6368"/>
              <a:gd name="T89" fmla="*/ 2169 h 5354"/>
              <a:gd name="T90" fmla="*/ 5443 w 6368"/>
              <a:gd name="T91" fmla="*/ 1943 h 5354"/>
              <a:gd name="T92" fmla="*/ 5806 w 6368"/>
              <a:gd name="T93" fmla="*/ 1799 h 5354"/>
              <a:gd name="T94" fmla="*/ 5268 w 6368"/>
              <a:gd name="T95" fmla="*/ 913 h 5354"/>
              <a:gd name="T96" fmla="*/ 4891 w 6368"/>
              <a:gd name="T97" fmla="*/ 764 h 5354"/>
              <a:gd name="T98" fmla="*/ 4627 w 6368"/>
              <a:gd name="T99" fmla="*/ 529 h 5354"/>
              <a:gd name="T100" fmla="*/ 747 w 6368"/>
              <a:gd name="T101" fmla="*/ 0 h 5354"/>
              <a:gd name="T102" fmla="*/ 5741 w 6368"/>
              <a:gd name="T103" fmla="*/ 42 h 5354"/>
              <a:gd name="T104" fmla="*/ 6362 w 6368"/>
              <a:gd name="T105" fmla="*/ 2453 h 5354"/>
              <a:gd name="T106" fmla="*/ 6326 w 6368"/>
              <a:gd name="T107" fmla="*/ 2619 h 5354"/>
              <a:gd name="T108" fmla="*/ 6173 w 6368"/>
              <a:gd name="T109" fmla="*/ 2692 h 5354"/>
              <a:gd name="T110" fmla="*/ 73 w 6368"/>
              <a:gd name="T111" fmla="*/ 2650 h 5354"/>
              <a:gd name="T112" fmla="*/ 0 w 6368"/>
              <a:gd name="T113" fmla="*/ 2497 h 5354"/>
              <a:gd name="T114" fmla="*/ 596 w 6368"/>
              <a:gd name="T115" fmla="*/ 71 h 5354"/>
              <a:gd name="T116" fmla="*/ 747 w 6368"/>
              <a:gd name="T117" fmla="*/ 0 h 5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68" h="5354">
                <a:moveTo>
                  <a:pt x="3722" y="4966"/>
                </a:moveTo>
                <a:lnTo>
                  <a:pt x="6360" y="4966"/>
                </a:lnTo>
                <a:lnTo>
                  <a:pt x="6360" y="5354"/>
                </a:lnTo>
                <a:lnTo>
                  <a:pt x="3722" y="5354"/>
                </a:lnTo>
                <a:lnTo>
                  <a:pt x="3722" y="4966"/>
                </a:lnTo>
                <a:close/>
                <a:moveTo>
                  <a:pt x="14" y="4966"/>
                </a:moveTo>
                <a:lnTo>
                  <a:pt x="2652" y="4966"/>
                </a:lnTo>
                <a:lnTo>
                  <a:pt x="2652" y="5354"/>
                </a:lnTo>
                <a:lnTo>
                  <a:pt x="14" y="5354"/>
                </a:lnTo>
                <a:lnTo>
                  <a:pt x="14" y="4966"/>
                </a:lnTo>
                <a:close/>
                <a:moveTo>
                  <a:pt x="3722" y="4329"/>
                </a:moveTo>
                <a:lnTo>
                  <a:pt x="6360" y="4329"/>
                </a:lnTo>
                <a:lnTo>
                  <a:pt x="6360" y="4717"/>
                </a:lnTo>
                <a:lnTo>
                  <a:pt x="3722" y="4717"/>
                </a:lnTo>
                <a:lnTo>
                  <a:pt x="3722" y="4329"/>
                </a:lnTo>
                <a:close/>
                <a:moveTo>
                  <a:pt x="14" y="4329"/>
                </a:moveTo>
                <a:lnTo>
                  <a:pt x="2652" y="4329"/>
                </a:lnTo>
                <a:lnTo>
                  <a:pt x="2652" y="4717"/>
                </a:lnTo>
                <a:lnTo>
                  <a:pt x="14" y="4717"/>
                </a:lnTo>
                <a:lnTo>
                  <a:pt x="14" y="4329"/>
                </a:lnTo>
                <a:close/>
                <a:moveTo>
                  <a:pt x="3722" y="3665"/>
                </a:moveTo>
                <a:lnTo>
                  <a:pt x="6360" y="3665"/>
                </a:lnTo>
                <a:lnTo>
                  <a:pt x="6360" y="4053"/>
                </a:lnTo>
                <a:lnTo>
                  <a:pt x="3722" y="4053"/>
                </a:lnTo>
                <a:lnTo>
                  <a:pt x="3722" y="3665"/>
                </a:lnTo>
                <a:close/>
                <a:moveTo>
                  <a:pt x="14" y="3665"/>
                </a:moveTo>
                <a:lnTo>
                  <a:pt x="2652" y="3665"/>
                </a:lnTo>
                <a:lnTo>
                  <a:pt x="2652" y="4053"/>
                </a:lnTo>
                <a:lnTo>
                  <a:pt x="14" y="4053"/>
                </a:lnTo>
                <a:lnTo>
                  <a:pt x="14" y="3665"/>
                </a:lnTo>
                <a:close/>
                <a:moveTo>
                  <a:pt x="3722" y="3001"/>
                </a:moveTo>
                <a:lnTo>
                  <a:pt x="6360" y="3001"/>
                </a:lnTo>
                <a:lnTo>
                  <a:pt x="6360" y="3389"/>
                </a:lnTo>
                <a:lnTo>
                  <a:pt x="3722" y="3389"/>
                </a:lnTo>
                <a:lnTo>
                  <a:pt x="3722" y="3001"/>
                </a:lnTo>
                <a:close/>
                <a:moveTo>
                  <a:pt x="14" y="3001"/>
                </a:moveTo>
                <a:lnTo>
                  <a:pt x="2652" y="3001"/>
                </a:lnTo>
                <a:lnTo>
                  <a:pt x="2652" y="3389"/>
                </a:lnTo>
                <a:lnTo>
                  <a:pt x="14" y="3389"/>
                </a:lnTo>
                <a:lnTo>
                  <a:pt x="14" y="3001"/>
                </a:lnTo>
                <a:close/>
                <a:moveTo>
                  <a:pt x="3239" y="1500"/>
                </a:moveTo>
                <a:lnTo>
                  <a:pt x="3239" y="1774"/>
                </a:lnTo>
                <a:lnTo>
                  <a:pt x="3318" y="1758"/>
                </a:lnTo>
                <a:lnTo>
                  <a:pt x="3355" y="1748"/>
                </a:lnTo>
                <a:lnTo>
                  <a:pt x="3386" y="1733"/>
                </a:lnTo>
                <a:lnTo>
                  <a:pt x="3413" y="1716"/>
                </a:lnTo>
                <a:lnTo>
                  <a:pt x="3434" y="1694"/>
                </a:lnTo>
                <a:lnTo>
                  <a:pt x="3447" y="1669"/>
                </a:lnTo>
                <a:lnTo>
                  <a:pt x="3451" y="1638"/>
                </a:lnTo>
                <a:lnTo>
                  <a:pt x="3446" y="1610"/>
                </a:lnTo>
                <a:lnTo>
                  <a:pt x="3426" y="1584"/>
                </a:lnTo>
                <a:lnTo>
                  <a:pt x="3395" y="1561"/>
                </a:lnTo>
                <a:lnTo>
                  <a:pt x="3351" y="1540"/>
                </a:lnTo>
                <a:lnTo>
                  <a:pt x="3320" y="1528"/>
                </a:lnTo>
                <a:lnTo>
                  <a:pt x="3283" y="1513"/>
                </a:lnTo>
                <a:lnTo>
                  <a:pt x="3239" y="1500"/>
                </a:lnTo>
                <a:close/>
                <a:moveTo>
                  <a:pt x="3004" y="936"/>
                </a:moveTo>
                <a:lnTo>
                  <a:pt x="2936" y="947"/>
                </a:lnTo>
                <a:lnTo>
                  <a:pt x="2903" y="957"/>
                </a:lnTo>
                <a:lnTo>
                  <a:pt x="2874" y="971"/>
                </a:lnTo>
                <a:lnTo>
                  <a:pt x="2849" y="986"/>
                </a:lnTo>
                <a:lnTo>
                  <a:pt x="2830" y="1003"/>
                </a:lnTo>
                <a:lnTo>
                  <a:pt x="2814" y="1027"/>
                </a:lnTo>
                <a:lnTo>
                  <a:pt x="2810" y="1052"/>
                </a:lnTo>
                <a:lnTo>
                  <a:pt x="2816" y="1075"/>
                </a:lnTo>
                <a:lnTo>
                  <a:pt x="2830" y="1096"/>
                </a:lnTo>
                <a:lnTo>
                  <a:pt x="2851" y="1115"/>
                </a:lnTo>
                <a:lnTo>
                  <a:pt x="2878" y="1131"/>
                </a:lnTo>
                <a:lnTo>
                  <a:pt x="2907" y="1144"/>
                </a:lnTo>
                <a:lnTo>
                  <a:pt x="2940" y="1158"/>
                </a:lnTo>
                <a:lnTo>
                  <a:pt x="2973" y="1169"/>
                </a:lnTo>
                <a:lnTo>
                  <a:pt x="3004" y="1177"/>
                </a:lnTo>
                <a:lnTo>
                  <a:pt x="3004" y="936"/>
                </a:lnTo>
                <a:close/>
                <a:moveTo>
                  <a:pt x="3004" y="612"/>
                </a:moveTo>
                <a:lnTo>
                  <a:pt x="3239" y="612"/>
                </a:lnTo>
                <a:lnTo>
                  <a:pt x="3239" y="731"/>
                </a:lnTo>
                <a:lnTo>
                  <a:pt x="3322" y="741"/>
                </a:lnTo>
                <a:lnTo>
                  <a:pt x="3393" y="753"/>
                </a:lnTo>
                <a:lnTo>
                  <a:pt x="3457" y="768"/>
                </a:lnTo>
                <a:lnTo>
                  <a:pt x="3519" y="787"/>
                </a:lnTo>
                <a:lnTo>
                  <a:pt x="3577" y="812"/>
                </a:lnTo>
                <a:lnTo>
                  <a:pt x="3633" y="841"/>
                </a:lnTo>
                <a:lnTo>
                  <a:pt x="3691" y="876"/>
                </a:lnTo>
                <a:lnTo>
                  <a:pt x="3754" y="915"/>
                </a:lnTo>
                <a:lnTo>
                  <a:pt x="3523" y="1069"/>
                </a:lnTo>
                <a:lnTo>
                  <a:pt x="3461" y="1030"/>
                </a:lnTo>
                <a:lnTo>
                  <a:pt x="3393" y="990"/>
                </a:lnTo>
                <a:lnTo>
                  <a:pt x="3345" y="969"/>
                </a:lnTo>
                <a:lnTo>
                  <a:pt x="3295" y="951"/>
                </a:lnTo>
                <a:lnTo>
                  <a:pt x="3239" y="940"/>
                </a:lnTo>
                <a:lnTo>
                  <a:pt x="3239" y="1239"/>
                </a:lnTo>
                <a:lnTo>
                  <a:pt x="3366" y="1274"/>
                </a:lnTo>
                <a:lnTo>
                  <a:pt x="3486" y="1316"/>
                </a:lnTo>
                <a:lnTo>
                  <a:pt x="3596" y="1362"/>
                </a:lnTo>
                <a:lnTo>
                  <a:pt x="3652" y="1395"/>
                </a:lnTo>
                <a:lnTo>
                  <a:pt x="3698" y="1430"/>
                </a:lnTo>
                <a:lnTo>
                  <a:pt x="3735" y="1471"/>
                </a:lnTo>
                <a:lnTo>
                  <a:pt x="3760" y="1515"/>
                </a:lnTo>
                <a:lnTo>
                  <a:pt x="3776" y="1561"/>
                </a:lnTo>
                <a:lnTo>
                  <a:pt x="3779" y="1613"/>
                </a:lnTo>
                <a:lnTo>
                  <a:pt x="3776" y="1671"/>
                </a:lnTo>
                <a:lnTo>
                  <a:pt x="3760" y="1723"/>
                </a:lnTo>
                <a:lnTo>
                  <a:pt x="3737" y="1772"/>
                </a:lnTo>
                <a:lnTo>
                  <a:pt x="3702" y="1814"/>
                </a:lnTo>
                <a:lnTo>
                  <a:pt x="3660" y="1853"/>
                </a:lnTo>
                <a:lnTo>
                  <a:pt x="3606" y="1886"/>
                </a:lnTo>
                <a:lnTo>
                  <a:pt x="3548" y="1913"/>
                </a:lnTo>
                <a:lnTo>
                  <a:pt x="3482" y="1936"/>
                </a:lnTo>
                <a:lnTo>
                  <a:pt x="3409" y="1953"/>
                </a:lnTo>
                <a:lnTo>
                  <a:pt x="3328" y="1965"/>
                </a:lnTo>
                <a:lnTo>
                  <a:pt x="3239" y="1974"/>
                </a:lnTo>
                <a:lnTo>
                  <a:pt x="3239" y="2175"/>
                </a:lnTo>
                <a:lnTo>
                  <a:pt x="3004" y="2175"/>
                </a:lnTo>
                <a:lnTo>
                  <a:pt x="3004" y="1972"/>
                </a:lnTo>
                <a:lnTo>
                  <a:pt x="2917" y="1963"/>
                </a:lnTo>
                <a:lnTo>
                  <a:pt x="2838" y="1949"/>
                </a:lnTo>
                <a:lnTo>
                  <a:pt x="2762" y="1930"/>
                </a:lnTo>
                <a:lnTo>
                  <a:pt x="2695" y="1907"/>
                </a:lnTo>
                <a:lnTo>
                  <a:pt x="2629" y="1878"/>
                </a:lnTo>
                <a:lnTo>
                  <a:pt x="2569" y="1843"/>
                </a:lnTo>
                <a:lnTo>
                  <a:pt x="2509" y="1801"/>
                </a:lnTo>
                <a:lnTo>
                  <a:pt x="2453" y="1754"/>
                </a:lnTo>
                <a:lnTo>
                  <a:pt x="2708" y="1606"/>
                </a:lnTo>
                <a:lnTo>
                  <a:pt x="2745" y="1644"/>
                </a:lnTo>
                <a:lnTo>
                  <a:pt x="2787" y="1679"/>
                </a:lnTo>
                <a:lnTo>
                  <a:pt x="2832" y="1708"/>
                </a:lnTo>
                <a:lnTo>
                  <a:pt x="2882" y="1731"/>
                </a:lnTo>
                <a:lnTo>
                  <a:pt x="2940" y="1752"/>
                </a:lnTo>
                <a:lnTo>
                  <a:pt x="3004" y="1766"/>
                </a:lnTo>
                <a:lnTo>
                  <a:pt x="3004" y="1436"/>
                </a:lnTo>
                <a:lnTo>
                  <a:pt x="2890" y="1403"/>
                </a:lnTo>
                <a:lnTo>
                  <a:pt x="2791" y="1370"/>
                </a:lnTo>
                <a:lnTo>
                  <a:pt x="2706" y="1337"/>
                </a:lnTo>
                <a:lnTo>
                  <a:pt x="2637" y="1305"/>
                </a:lnTo>
                <a:lnTo>
                  <a:pt x="2589" y="1276"/>
                </a:lnTo>
                <a:lnTo>
                  <a:pt x="2550" y="1243"/>
                </a:lnTo>
                <a:lnTo>
                  <a:pt x="2519" y="1206"/>
                </a:lnTo>
                <a:lnTo>
                  <a:pt x="2498" y="1164"/>
                </a:lnTo>
                <a:lnTo>
                  <a:pt x="2484" y="1119"/>
                </a:lnTo>
                <a:lnTo>
                  <a:pt x="2480" y="1071"/>
                </a:lnTo>
                <a:lnTo>
                  <a:pt x="2484" y="1023"/>
                </a:lnTo>
                <a:lnTo>
                  <a:pt x="2500" y="978"/>
                </a:lnTo>
                <a:lnTo>
                  <a:pt x="2525" y="936"/>
                </a:lnTo>
                <a:lnTo>
                  <a:pt x="2558" y="899"/>
                </a:lnTo>
                <a:lnTo>
                  <a:pt x="2598" y="864"/>
                </a:lnTo>
                <a:lnTo>
                  <a:pt x="2644" y="836"/>
                </a:lnTo>
                <a:lnTo>
                  <a:pt x="2695" y="809"/>
                </a:lnTo>
                <a:lnTo>
                  <a:pt x="2751" y="787"/>
                </a:lnTo>
                <a:lnTo>
                  <a:pt x="2812" y="768"/>
                </a:lnTo>
                <a:lnTo>
                  <a:pt x="2907" y="747"/>
                </a:lnTo>
                <a:lnTo>
                  <a:pt x="3004" y="733"/>
                </a:lnTo>
                <a:lnTo>
                  <a:pt x="3004" y="612"/>
                </a:lnTo>
                <a:close/>
                <a:moveTo>
                  <a:pt x="1818" y="388"/>
                </a:moveTo>
                <a:lnTo>
                  <a:pt x="1784" y="459"/>
                </a:lnTo>
                <a:lnTo>
                  <a:pt x="1741" y="529"/>
                </a:lnTo>
                <a:lnTo>
                  <a:pt x="1687" y="594"/>
                </a:lnTo>
                <a:lnTo>
                  <a:pt x="1625" y="656"/>
                </a:lnTo>
                <a:lnTo>
                  <a:pt x="1554" y="712"/>
                </a:lnTo>
                <a:lnTo>
                  <a:pt x="1477" y="764"/>
                </a:lnTo>
                <a:lnTo>
                  <a:pt x="1392" y="810"/>
                </a:lnTo>
                <a:lnTo>
                  <a:pt x="1299" y="851"/>
                </a:lnTo>
                <a:lnTo>
                  <a:pt x="1203" y="884"/>
                </a:lnTo>
                <a:lnTo>
                  <a:pt x="1100" y="913"/>
                </a:lnTo>
                <a:lnTo>
                  <a:pt x="992" y="932"/>
                </a:lnTo>
                <a:lnTo>
                  <a:pt x="880" y="946"/>
                </a:lnTo>
                <a:lnTo>
                  <a:pt x="764" y="951"/>
                </a:lnTo>
                <a:lnTo>
                  <a:pt x="562" y="1799"/>
                </a:lnTo>
                <a:lnTo>
                  <a:pt x="660" y="1826"/>
                </a:lnTo>
                <a:lnTo>
                  <a:pt x="753" y="1859"/>
                </a:lnTo>
                <a:lnTo>
                  <a:pt x="842" y="1899"/>
                </a:lnTo>
                <a:lnTo>
                  <a:pt x="925" y="1943"/>
                </a:lnTo>
                <a:lnTo>
                  <a:pt x="1000" y="1994"/>
                </a:lnTo>
                <a:lnTo>
                  <a:pt x="1067" y="2048"/>
                </a:lnTo>
                <a:lnTo>
                  <a:pt x="1127" y="2106"/>
                </a:lnTo>
                <a:lnTo>
                  <a:pt x="1181" y="2169"/>
                </a:lnTo>
                <a:lnTo>
                  <a:pt x="1224" y="2235"/>
                </a:lnTo>
                <a:lnTo>
                  <a:pt x="1259" y="2304"/>
                </a:lnTo>
                <a:lnTo>
                  <a:pt x="5109" y="2304"/>
                </a:lnTo>
                <a:lnTo>
                  <a:pt x="5144" y="2235"/>
                </a:lnTo>
                <a:lnTo>
                  <a:pt x="5187" y="2169"/>
                </a:lnTo>
                <a:lnTo>
                  <a:pt x="5239" y="2106"/>
                </a:lnTo>
                <a:lnTo>
                  <a:pt x="5301" y="2048"/>
                </a:lnTo>
                <a:lnTo>
                  <a:pt x="5368" y="1994"/>
                </a:lnTo>
                <a:lnTo>
                  <a:pt x="5443" y="1943"/>
                </a:lnTo>
                <a:lnTo>
                  <a:pt x="5524" y="1899"/>
                </a:lnTo>
                <a:lnTo>
                  <a:pt x="5613" y="1859"/>
                </a:lnTo>
                <a:lnTo>
                  <a:pt x="5708" y="1826"/>
                </a:lnTo>
                <a:lnTo>
                  <a:pt x="5806" y="1799"/>
                </a:lnTo>
                <a:lnTo>
                  <a:pt x="5602" y="951"/>
                </a:lnTo>
                <a:lnTo>
                  <a:pt x="5488" y="946"/>
                </a:lnTo>
                <a:lnTo>
                  <a:pt x="5376" y="932"/>
                </a:lnTo>
                <a:lnTo>
                  <a:pt x="5268" y="913"/>
                </a:lnTo>
                <a:lnTo>
                  <a:pt x="5165" y="884"/>
                </a:lnTo>
                <a:lnTo>
                  <a:pt x="5067" y="851"/>
                </a:lnTo>
                <a:lnTo>
                  <a:pt x="4976" y="810"/>
                </a:lnTo>
                <a:lnTo>
                  <a:pt x="4891" y="764"/>
                </a:lnTo>
                <a:lnTo>
                  <a:pt x="4812" y="712"/>
                </a:lnTo>
                <a:lnTo>
                  <a:pt x="4743" y="656"/>
                </a:lnTo>
                <a:lnTo>
                  <a:pt x="4681" y="594"/>
                </a:lnTo>
                <a:lnTo>
                  <a:pt x="4627" y="529"/>
                </a:lnTo>
                <a:lnTo>
                  <a:pt x="4582" y="459"/>
                </a:lnTo>
                <a:lnTo>
                  <a:pt x="4550" y="388"/>
                </a:lnTo>
                <a:lnTo>
                  <a:pt x="1818" y="388"/>
                </a:lnTo>
                <a:close/>
                <a:moveTo>
                  <a:pt x="747" y="0"/>
                </a:moveTo>
                <a:lnTo>
                  <a:pt x="5619" y="0"/>
                </a:lnTo>
                <a:lnTo>
                  <a:pt x="5663" y="6"/>
                </a:lnTo>
                <a:lnTo>
                  <a:pt x="5704" y="19"/>
                </a:lnTo>
                <a:lnTo>
                  <a:pt x="5741" y="42"/>
                </a:lnTo>
                <a:lnTo>
                  <a:pt x="5770" y="71"/>
                </a:lnTo>
                <a:lnTo>
                  <a:pt x="5793" y="108"/>
                </a:lnTo>
                <a:lnTo>
                  <a:pt x="5808" y="148"/>
                </a:lnTo>
                <a:lnTo>
                  <a:pt x="6362" y="2453"/>
                </a:lnTo>
                <a:lnTo>
                  <a:pt x="6368" y="2497"/>
                </a:lnTo>
                <a:lnTo>
                  <a:pt x="6362" y="2540"/>
                </a:lnTo>
                <a:lnTo>
                  <a:pt x="6349" y="2580"/>
                </a:lnTo>
                <a:lnTo>
                  <a:pt x="6326" y="2619"/>
                </a:lnTo>
                <a:lnTo>
                  <a:pt x="6295" y="2650"/>
                </a:lnTo>
                <a:lnTo>
                  <a:pt x="6258" y="2671"/>
                </a:lnTo>
                <a:lnTo>
                  <a:pt x="6217" y="2687"/>
                </a:lnTo>
                <a:lnTo>
                  <a:pt x="6173" y="2692"/>
                </a:lnTo>
                <a:lnTo>
                  <a:pt x="193" y="2692"/>
                </a:lnTo>
                <a:lnTo>
                  <a:pt x="151" y="2687"/>
                </a:lnTo>
                <a:lnTo>
                  <a:pt x="110" y="2671"/>
                </a:lnTo>
                <a:lnTo>
                  <a:pt x="73" y="2650"/>
                </a:lnTo>
                <a:lnTo>
                  <a:pt x="42" y="2619"/>
                </a:lnTo>
                <a:lnTo>
                  <a:pt x="19" y="2580"/>
                </a:lnTo>
                <a:lnTo>
                  <a:pt x="4" y="2540"/>
                </a:lnTo>
                <a:lnTo>
                  <a:pt x="0" y="2497"/>
                </a:lnTo>
                <a:lnTo>
                  <a:pt x="6" y="2453"/>
                </a:lnTo>
                <a:lnTo>
                  <a:pt x="560" y="148"/>
                </a:lnTo>
                <a:lnTo>
                  <a:pt x="573" y="108"/>
                </a:lnTo>
                <a:lnTo>
                  <a:pt x="596" y="71"/>
                </a:lnTo>
                <a:lnTo>
                  <a:pt x="627" y="42"/>
                </a:lnTo>
                <a:lnTo>
                  <a:pt x="664" y="19"/>
                </a:lnTo>
                <a:lnTo>
                  <a:pt x="705" y="6"/>
                </a:lnTo>
                <a:lnTo>
                  <a:pt x="74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latin typeface="Arial" panose="020B0604020202020204" pitchFamily="34" charset="0"/>
              <a:cs typeface="Arial" panose="020B0604020202020204" pitchFamily="34" charset="0"/>
            </a:endParaRPr>
          </a:p>
        </p:txBody>
      </p:sp>
      <p:sp>
        <p:nvSpPr>
          <p:cNvPr id="97" name="Freeform 19"/>
          <p:cNvSpPr>
            <a:spLocks noChangeAspect="1" noEditPoints="1"/>
          </p:cNvSpPr>
          <p:nvPr/>
        </p:nvSpPr>
        <p:spPr bwMode="auto">
          <a:xfrm>
            <a:off x="9431075" y="3173332"/>
            <a:ext cx="351863" cy="355313"/>
          </a:xfrm>
          <a:custGeom>
            <a:avLst/>
            <a:gdLst>
              <a:gd name="T0" fmla="*/ 70 w 141"/>
              <a:gd name="T1" fmla="*/ 0 h 142"/>
              <a:gd name="T2" fmla="*/ 95 w 141"/>
              <a:gd name="T3" fmla="*/ 45 h 142"/>
              <a:gd name="T4" fmla="*/ 91 w 141"/>
              <a:gd name="T5" fmla="*/ 38 h 142"/>
              <a:gd name="T6" fmla="*/ 88 w 141"/>
              <a:gd name="T7" fmla="*/ 42 h 142"/>
              <a:gd name="T8" fmla="*/ 65 w 141"/>
              <a:gd name="T9" fmla="*/ 110 h 142"/>
              <a:gd name="T10" fmla="*/ 53 w 141"/>
              <a:gd name="T11" fmla="*/ 123 h 142"/>
              <a:gd name="T12" fmla="*/ 46 w 141"/>
              <a:gd name="T13" fmla="*/ 131 h 142"/>
              <a:gd name="T14" fmla="*/ 43 w 141"/>
              <a:gd name="T15" fmla="*/ 115 h 142"/>
              <a:gd name="T16" fmla="*/ 36 w 141"/>
              <a:gd name="T17" fmla="*/ 86 h 142"/>
              <a:gd name="T18" fmla="*/ 25 w 141"/>
              <a:gd name="T19" fmla="*/ 80 h 142"/>
              <a:gd name="T20" fmla="*/ 10 w 141"/>
              <a:gd name="T21" fmla="*/ 64 h 142"/>
              <a:gd name="T22" fmla="*/ 25 w 141"/>
              <a:gd name="T23" fmla="*/ 26 h 142"/>
              <a:gd name="T24" fmla="*/ 39 w 141"/>
              <a:gd name="T25" fmla="*/ 25 h 142"/>
              <a:gd name="T26" fmla="*/ 49 w 141"/>
              <a:gd name="T27" fmla="*/ 25 h 142"/>
              <a:gd name="T28" fmla="*/ 51 w 141"/>
              <a:gd name="T29" fmla="*/ 32 h 142"/>
              <a:gd name="T30" fmla="*/ 45 w 141"/>
              <a:gd name="T31" fmla="*/ 28 h 142"/>
              <a:gd name="T32" fmla="*/ 37 w 141"/>
              <a:gd name="T33" fmla="*/ 42 h 142"/>
              <a:gd name="T34" fmla="*/ 51 w 141"/>
              <a:gd name="T35" fmla="*/ 38 h 142"/>
              <a:gd name="T36" fmla="*/ 46 w 141"/>
              <a:gd name="T37" fmla="*/ 50 h 142"/>
              <a:gd name="T38" fmla="*/ 42 w 141"/>
              <a:gd name="T39" fmla="*/ 58 h 142"/>
              <a:gd name="T40" fmla="*/ 35 w 141"/>
              <a:gd name="T41" fmla="*/ 70 h 142"/>
              <a:gd name="T42" fmla="*/ 23 w 141"/>
              <a:gd name="T43" fmla="*/ 68 h 142"/>
              <a:gd name="T44" fmla="*/ 30 w 141"/>
              <a:gd name="T45" fmla="*/ 75 h 142"/>
              <a:gd name="T46" fmla="*/ 37 w 141"/>
              <a:gd name="T47" fmla="*/ 84 h 142"/>
              <a:gd name="T48" fmla="*/ 50 w 141"/>
              <a:gd name="T49" fmla="*/ 82 h 142"/>
              <a:gd name="T50" fmla="*/ 69 w 141"/>
              <a:gd name="T51" fmla="*/ 95 h 142"/>
              <a:gd name="T52" fmla="*/ 63 w 141"/>
              <a:gd name="T53" fmla="*/ 31 h 142"/>
              <a:gd name="T54" fmla="*/ 53 w 141"/>
              <a:gd name="T55" fmla="*/ 13 h 142"/>
              <a:gd name="T56" fmla="*/ 43 w 141"/>
              <a:gd name="T57" fmla="*/ 20 h 142"/>
              <a:gd name="T58" fmla="*/ 35 w 141"/>
              <a:gd name="T59" fmla="*/ 21 h 142"/>
              <a:gd name="T60" fmla="*/ 54 w 141"/>
              <a:gd name="T61" fmla="*/ 8 h 142"/>
              <a:gd name="T62" fmla="*/ 75 w 141"/>
              <a:gd name="T63" fmla="*/ 9 h 142"/>
              <a:gd name="T64" fmla="*/ 86 w 141"/>
              <a:gd name="T65" fmla="*/ 12 h 142"/>
              <a:gd name="T66" fmla="*/ 75 w 141"/>
              <a:gd name="T67" fmla="*/ 27 h 142"/>
              <a:gd name="T68" fmla="*/ 87 w 141"/>
              <a:gd name="T69" fmla="*/ 31 h 142"/>
              <a:gd name="T70" fmla="*/ 80 w 141"/>
              <a:gd name="T71" fmla="*/ 31 h 142"/>
              <a:gd name="T72" fmla="*/ 126 w 141"/>
              <a:gd name="T73" fmla="*/ 106 h 142"/>
              <a:gd name="T74" fmla="*/ 126 w 141"/>
              <a:gd name="T75" fmla="*/ 102 h 142"/>
              <a:gd name="T76" fmla="*/ 128 w 141"/>
              <a:gd name="T77" fmla="*/ 101 h 142"/>
              <a:gd name="T78" fmla="*/ 116 w 141"/>
              <a:gd name="T79" fmla="*/ 110 h 142"/>
              <a:gd name="T80" fmla="*/ 111 w 141"/>
              <a:gd name="T81" fmla="*/ 118 h 142"/>
              <a:gd name="T82" fmla="*/ 98 w 141"/>
              <a:gd name="T83" fmla="*/ 108 h 142"/>
              <a:gd name="T84" fmla="*/ 88 w 141"/>
              <a:gd name="T85" fmla="*/ 88 h 142"/>
              <a:gd name="T86" fmla="*/ 82 w 141"/>
              <a:gd name="T87" fmla="*/ 70 h 142"/>
              <a:gd name="T88" fmla="*/ 96 w 141"/>
              <a:gd name="T89" fmla="*/ 61 h 142"/>
              <a:gd name="T90" fmla="*/ 110 w 141"/>
              <a:gd name="T91" fmla="*/ 65 h 142"/>
              <a:gd name="T92" fmla="*/ 117 w 141"/>
              <a:gd name="T93" fmla="*/ 74 h 142"/>
              <a:gd name="T94" fmla="*/ 133 w 141"/>
              <a:gd name="T95" fmla="*/ 68 h 142"/>
              <a:gd name="T96" fmla="*/ 134 w 141"/>
              <a:gd name="T97" fmla="*/ 72 h 142"/>
              <a:gd name="T98" fmla="*/ 126 w 141"/>
              <a:gd name="T99" fmla="*/ 78 h 142"/>
              <a:gd name="T100" fmla="*/ 119 w 141"/>
              <a:gd name="T101" fmla="*/ 66 h 142"/>
              <a:gd name="T102" fmla="*/ 114 w 141"/>
              <a:gd name="T103" fmla="*/ 56 h 142"/>
              <a:gd name="T104" fmla="*/ 120 w 141"/>
              <a:gd name="T105" fmla="*/ 52 h 142"/>
              <a:gd name="T106" fmla="*/ 110 w 141"/>
              <a:gd name="T107" fmla="*/ 53 h 142"/>
              <a:gd name="T108" fmla="*/ 107 w 141"/>
              <a:gd name="T109" fmla="*/ 57 h 142"/>
              <a:gd name="T110" fmla="*/ 100 w 141"/>
              <a:gd name="T111" fmla="*/ 52 h 142"/>
              <a:gd name="T112" fmla="*/ 91 w 141"/>
              <a:gd name="T113" fmla="*/ 51 h 142"/>
              <a:gd name="T114" fmla="*/ 107 w 141"/>
              <a:gd name="T115" fmla="*/ 41 h 142"/>
              <a:gd name="T116" fmla="*/ 107 w 141"/>
              <a:gd name="T117" fmla="*/ 33 h 142"/>
              <a:gd name="T118" fmla="*/ 109 w 141"/>
              <a:gd name="T119" fmla="*/ 26 h 142"/>
              <a:gd name="T120" fmla="*/ 136 w 141"/>
              <a:gd name="T121" fmla="*/ 6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42">
                <a:moveTo>
                  <a:pt x="70" y="0"/>
                </a:moveTo>
                <a:cubicBezTo>
                  <a:pt x="31" y="0"/>
                  <a:pt x="0" y="32"/>
                  <a:pt x="0" y="71"/>
                </a:cubicBezTo>
                <a:cubicBezTo>
                  <a:pt x="0" y="110"/>
                  <a:pt x="31" y="142"/>
                  <a:pt x="70" y="142"/>
                </a:cubicBezTo>
                <a:cubicBezTo>
                  <a:pt x="110" y="142"/>
                  <a:pt x="141" y="110"/>
                  <a:pt x="141" y="71"/>
                </a:cubicBezTo>
                <a:cubicBezTo>
                  <a:pt x="141" y="32"/>
                  <a:pt x="110" y="0"/>
                  <a:pt x="70" y="0"/>
                </a:cubicBezTo>
                <a:close/>
                <a:moveTo>
                  <a:pt x="91" y="38"/>
                </a:moveTo>
                <a:cubicBezTo>
                  <a:pt x="92" y="38"/>
                  <a:pt x="92" y="39"/>
                  <a:pt x="93" y="39"/>
                </a:cubicBezTo>
                <a:cubicBezTo>
                  <a:pt x="95" y="38"/>
                  <a:pt x="94" y="42"/>
                  <a:pt x="95" y="43"/>
                </a:cubicBezTo>
                <a:cubicBezTo>
                  <a:pt x="95" y="43"/>
                  <a:pt x="95" y="43"/>
                  <a:pt x="96" y="44"/>
                </a:cubicBezTo>
                <a:cubicBezTo>
                  <a:pt x="96" y="44"/>
                  <a:pt x="96" y="45"/>
                  <a:pt x="95" y="45"/>
                </a:cubicBezTo>
                <a:cubicBezTo>
                  <a:pt x="95" y="46"/>
                  <a:pt x="94" y="46"/>
                  <a:pt x="93" y="46"/>
                </a:cubicBezTo>
                <a:cubicBezTo>
                  <a:pt x="92" y="46"/>
                  <a:pt x="92" y="46"/>
                  <a:pt x="91" y="46"/>
                </a:cubicBezTo>
                <a:cubicBezTo>
                  <a:pt x="91" y="45"/>
                  <a:pt x="91" y="45"/>
                  <a:pt x="91" y="44"/>
                </a:cubicBezTo>
                <a:cubicBezTo>
                  <a:pt x="92" y="42"/>
                  <a:pt x="92" y="42"/>
                  <a:pt x="91" y="41"/>
                </a:cubicBezTo>
                <a:cubicBezTo>
                  <a:pt x="91" y="40"/>
                  <a:pt x="90" y="39"/>
                  <a:pt x="91" y="38"/>
                </a:cubicBezTo>
                <a:close/>
                <a:moveTo>
                  <a:pt x="90" y="42"/>
                </a:moveTo>
                <a:cubicBezTo>
                  <a:pt x="91" y="42"/>
                  <a:pt x="90" y="43"/>
                  <a:pt x="90" y="44"/>
                </a:cubicBezTo>
                <a:cubicBezTo>
                  <a:pt x="90" y="46"/>
                  <a:pt x="88" y="45"/>
                  <a:pt x="86" y="45"/>
                </a:cubicBezTo>
                <a:cubicBezTo>
                  <a:pt x="86" y="45"/>
                  <a:pt x="88" y="44"/>
                  <a:pt x="88" y="44"/>
                </a:cubicBezTo>
                <a:cubicBezTo>
                  <a:pt x="88" y="43"/>
                  <a:pt x="88" y="42"/>
                  <a:pt x="88" y="42"/>
                </a:cubicBezTo>
                <a:cubicBezTo>
                  <a:pt x="89" y="41"/>
                  <a:pt x="89" y="41"/>
                  <a:pt x="89" y="41"/>
                </a:cubicBezTo>
                <a:cubicBezTo>
                  <a:pt x="89" y="41"/>
                  <a:pt x="90" y="41"/>
                  <a:pt x="90" y="42"/>
                </a:cubicBezTo>
                <a:close/>
                <a:moveTo>
                  <a:pt x="71" y="99"/>
                </a:moveTo>
                <a:cubicBezTo>
                  <a:pt x="70" y="101"/>
                  <a:pt x="68" y="102"/>
                  <a:pt x="68" y="104"/>
                </a:cubicBezTo>
                <a:cubicBezTo>
                  <a:pt x="67" y="106"/>
                  <a:pt x="67" y="108"/>
                  <a:pt x="65" y="110"/>
                </a:cubicBezTo>
                <a:cubicBezTo>
                  <a:pt x="64" y="111"/>
                  <a:pt x="63" y="111"/>
                  <a:pt x="61" y="112"/>
                </a:cubicBezTo>
                <a:cubicBezTo>
                  <a:pt x="61" y="112"/>
                  <a:pt x="59" y="113"/>
                  <a:pt x="59" y="114"/>
                </a:cubicBezTo>
                <a:cubicBezTo>
                  <a:pt x="58" y="115"/>
                  <a:pt x="59" y="116"/>
                  <a:pt x="58" y="118"/>
                </a:cubicBezTo>
                <a:cubicBezTo>
                  <a:pt x="58" y="119"/>
                  <a:pt x="56" y="120"/>
                  <a:pt x="56" y="120"/>
                </a:cubicBezTo>
                <a:cubicBezTo>
                  <a:pt x="55" y="121"/>
                  <a:pt x="54" y="122"/>
                  <a:pt x="53" y="123"/>
                </a:cubicBezTo>
                <a:cubicBezTo>
                  <a:pt x="52" y="123"/>
                  <a:pt x="50" y="123"/>
                  <a:pt x="49" y="124"/>
                </a:cubicBezTo>
                <a:cubicBezTo>
                  <a:pt x="48" y="125"/>
                  <a:pt x="49" y="126"/>
                  <a:pt x="48" y="127"/>
                </a:cubicBezTo>
                <a:cubicBezTo>
                  <a:pt x="48" y="128"/>
                  <a:pt x="47" y="127"/>
                  <a:pt x="47" y="128"/>
                </a:cubicBezTo>
                <a:cubicBezTo>
                  <a:pt x="47" y="129"/>
                  <a:pt x="47" y="129"/>
                  <a:pt x="47" y="130"/>
                </a:cubicBezTo>
                <a:cubicBezTo>
                  <a:pt x="47" y="130"/>
                  <a:pt x="46" y="130"/>
                  <a:pt x="46" y="131"/>
                </a:cubicBezTo>
                <a:cubicBezTo>
                  <a:pt x="45" y="132"/>
                  <a:pt x="46" y="133"/>
                  <a:pt x="47" y="133"/>
                </a:cubicBezTo>
                <a:cubicBezTo>
                  <a:pt x="48" y="133"/>
                  <a:pt x="48" y="133"/>
                  <a:pt x="48" y="133"/>
                </a:cubicBezTo>
                <a:cubicBezTo>
                  <a:pt x="47" y="136"/>
                  <a:pt x="44" y="132"/>
                  <a:pt x="43" y="132"/>
                </a:cubicBezTo>
                <a:cubicBezTo>
                  <a:pt x="42" y="130"/>
                  <a:pt x="42" y="128"/>
                  <a:pt x="42" y="126"/>
                </a:cubicBezTo>
                <a:cubicBezTo>
                  <a:pt x="42" y="122"/>
                  <a:pt x="43" y="120"/>
                  <a:pt x="43" y="115"/>
                </a:cubicBezTo>
                <a:cubicBezTo>
                  <a:pt x="43" y="113"/>
                  <a:pt x="43" y="110"/>
                  <a:pt x="41" y="109"/>
                </a:cubicBezTo>
                <a:cubicBezTo>
                  <a:pt x="40" y="107"/>
                  <a:pt x="37" y="106"/>
                  <a:pt x="36" y="103"/>
                </a:cubicBezTo>
                <a:cubicBezTo>
                  <a:pt x="35" y="101"/>
                  <a:pt x="33" y="98"/>
                  <a:pt x="33" y="96"/>
                </a:cubicBezTo>
                <a:cubicBezTo>
                  <a:pt x="33" y="95"/>
                  <a:pt x="34" y="93"/>
                  <a:pt x="34" y="92"/>
                </a:cubicBezTo>
                <a:cubicBezTo>
                  <a:pt x="34" y="89"/>
                  <a:pt x="36" y="87"/>
                  <a:pt x="36" y="86"/>
                </a:cubicBezTo>
                <a:cubicBezTo>
                  <a:pt x="34" y="85"/>
                  <a:pt x="34" y="85"/>
                  <a:pt x="34" y="85"/>
                </a:cubicBezTo>
                <a:cubicBezTo>
                  <a:pt x="32" y="85"/>
                  <a:pt x="31" y="86"/>
                  <a:pt x="30" y="84"/>
                </a:cubicBezTo>
                <a:cubicBezTo>
                  <a:pt x="29" y="83"/>
                  <a:pt x="29" y="82"/>
                  <a:pt x="27" y="81"/>
                </a:cubicBezTo>
                <a:cubicBezTo>
                  <a:pt x="27" y="81"/>
                  <a:pt x="27" y="81"/>
                  <a:pt x="27" y="81"/>
                </a:cubicBezTo>
                <a:cubicBezTo>
                  <a:pt x="26" y="81"/>
                  <a:pt x="25" y="80"/>
                  <a:pt x="25" y="80"/>
                </a:cubicBezTo>
                <a:cubicBezTo>
                  <a:pt x="24" y="79"/>
                  <a:pt x="24" y="79"/>
                  <a:pt x="23" y="79"/>
                </a:cubicBezTo>
                <a:cubicBezTo>
                  <a:pt x="23" y="78"/>
                  <a:pt x="22" y="78"/>
                  <a:pt x="21" y="78"/>
                </a:cubicBezTo>
                <a:cubicBezTo>
                  <a:pt x="20" y="78"/>
                  <a:pt x="18" y="76"/>
                  <a:pt x="17" y="75"/>
                </a:cubicBezTo>
                <a:cubicBezTo>
                  <a:pt x="17" y="74"/>
                  <a:pt x="14" y="70"/>
                  <a:pt x="14" y="69"/>
                </a:cubicBezTo>
                <a:cubicBezTo>
                  <a:pt x="10" y="64"/>
                  <a:pt x="10" y="64"/>
                  <a:pt x="10" y="64"/>
                </a:cubicBezTo>
                <a:cubicBezTo>
                  <a:pt x="10" y="63"/>
                  <a:pt x="10" y="62"/>
                  <a:pt x="10" y="61"/>
                </a:cubicBezTo>
                <a:cubicBezTo>
                  <a:pt x="9" y="60"/>
                  <a:pt x="10" y="55"/>
                  <a:pt x="10" y="53"/>
                </a:cubicBezTo>
                <a:cubicBezTo>
                  <a:pt x="10" y="51"/>
                  <a:pt x="11" y="48"/>
                  <a:pt x="11" y="47"/>
                </a:cubicBezTo>
                <a:cubicBezTo>
                  <a:pt x="12" y="45"/>
                  <a:pt x="15" y="39"/>
                  <a:pt x="15" y="39"/>
                </a:cubicBezTo>
                <a:cubicBezTo>
                  <a:pt x="17" y="35"/>
                  <a:pt x="22" y="29"/>
                  <a:pt x="25" y="26"/>
                </a:cubicBezTo>
                <a:cubicBezTo>
                  <a:pt x="28" y="24"/>
                  <a:pt x="29" y="23"/>
                  <a:pt x="31" y="23"/>
                </a:cubicBezTo>
                <a:cubicBezTo>
                  <a:pt x="32" y="23"/>
                  <a:pt x="31" y="25"/>
                  <a:pt x="32" y="26"/>
                </a:cubicBezTo>
                <a:cubicBezTo>
                  <a:pt x="32" y="27"/>
                  <a:pt x="32" y="25"/>
                  <a:pt x="33" y="26"/>
                </a:cubicBezTo>
                <a:cubicBezTo>
                  <a:pt x="36" y="26"/>
                  <a:pt x="36" y="26"/>
                  <a:pt x="36" y="26"/>
                </a:cubicBezTo>
                <a:cubicBezTo>
                  <a:pt x="37" y="25"/>
                  <a:pt x="38" y="25"/>
                  <a:pt x="39" y="25"/>
                </a:cubicBezTo>
                <a:cubicBezTo>
                  <a:pt x="39" y="26"/>
                  <a:pt x="39" y="26"/>
                  <a:pt x="39" y="27"/>
                </a:cubicBezTo>
                <a:cubicBezTo>
                  <a:pt x="40" y="28"/>
                  <a:pt x="40" y="28"/>
                  <a:pt x="40" y="28"/>
                </a:cubicBezTo>
                <a:cubicBezTo>
                  <a:pt x="42" y="29"/>
                  <a:pt x="40" y="24"/>
                  <a:pt x="42" y="23"/>
                </a:cubicBezTo>
                <a:cubicBezTo>
                  <a:pt x="45" y="24"/>
                  <a:pt x="45" y="24"/>
                  <a:pt x="45" y="24"/>
                </a:cubicBezTo>
                <a:cubicBezTo>
                  <a:pt x="46" y="24"/>
                  <a:pt x="48" y="25"/>
                  <a:pt x="49" y="25"/>
                </a:cubicBezTo>
                <a:cubicBezTo>
                  <a:pt x="49" y="25"/>
                  <a:pt x="49" y="25"/>
                  <a:pt x="50" y="26"/>
                </a:cubicBezTo>
                <a:cubicBezTo>
                  <a:pt x="51" y="27"/>
                  <a:pt x="51" y="27"/>
                  <a:pt x="51" y="27"/>
                </a:cubicBezTo>
                <a:cubicBezTo>
                  <a:pt x="51" y="28"/>
                  <a:pt x="50" y="28"/>
                  <a:pt x="51" y="29"/>
                </a:cubicBezTo>
                <a:cubicBezTo>
                  <a:pt x="51" y="29"/>
                  <a:pt x="54" y="29"/>
                  <a:pt x="54" y="30"/>
                </a:cubicBezTo>
                <a:cubicBezTo>
                  <a:pt x="54" y="32"/>
                  <a:pt x="51" y="32"/>
                  <a:pt x="51" y="32"/>
                </a:cubicBezTo>
                <a:cubicBezTo>
                  <a:pt x="51" y="33"/>
                  <a:pt x="52" y="34"/>
                  <a:pt x="50" y="35"/>
                </a:cubicBezTo>
                <a:cubicBezTo>
                  <a:pt x="49" y="35"/>
                  <a:pt x="44" y="33"/>
                  <a:pt x="45" y="32"/>
                </a:cubicBezTo>
                <a:cubicBezTo>
                  <a:pt x="45" y="31"/>
                  <a:pt x="47" y="31"/>
                  <a:pt x="47" y="31"/>
                </a:cubicBezTo>
                <a:cubicBezTo>
                  <a:pt x="48" y="30"/>
                  <a:pt x="47" y="30"/>
                  <a:pt x="47" y="30"/>
                </a:cubicBezTo>
                <a:cubicBezTo>
                  <a:pt x="46" y="29"/>
                  <a:pt x="47" y="29"/>
                  <a:pt x="45" y="28"/>
                </a:cubicBezTo>
                <a:cubicBezTo>
                  <a:pt x="44" y="29"/>
                  <a:pt x="45" y="29"/>
                  <a:pt x="44" y="30"/>
                </a:cubicBezTo>
                <a:cubicBezTo>
                  <a:pt x="43" y="30"/>
                  <a:pt x="43" y="31"/>
                  <a:pt x="42" y="32"/>
                </a:cubicBezTo>
                <a:cubicBezTo>
                  <a:pt x="41" y="32"/>
                  <a:pt x="33" y="32"/>
                  <a:pt x="34" y="33"/>
                </a:cubicBezTo>
                <a:cubicBezTo>
                  <a:pt x="34" y="33"/>
                  <a:pt x="30" y="36"/>
                  <a:pt x="32" y="39"/>
                </a:cubicBezTo>
                <a:cubicBezTo>
                  <a:pt x="34" y="41"/>
                  <a:pt x="34" y="40"/>
                  <a:pt x="37" y="42"/>
                </a:cubicBezTo>
                <a:cubicBezTo>
                  <a:pt x="38" y="43"/>
                  <a:pt x="42" y="43"/>
                  <a:pt x="42" y="41"/>
                </a:cubicBezTo>
                <a:cubicBezTo>
                  <a:pt x="42" y="39"/>
                  <a:pt x="41" y="38"/>
                  <a:pt x="41" y="38"/>
                </a:cubicBezTo>
                <a:cubicBezTo>
                  <a:pt x="42" y="37"/>
                  <a:pt x="43" y="34"/>
                  <a:pt x="43" y="35"/>
                </a:cubicBezTo>
                <a:cubicBezTo>
                  <a:pt x="44" y="35"/>
                  <a:pt x="46" y="35"/>
                  <a:pt x="47" y="36"/>
                </a:cubicBezTo>
                <a:cubicBezTo>
                  <a:pt x="48" y="38"/>
                  <a:pt x="49" y="40"/>
                  <a:pt x="51" y="38"/>
                </a:cubicBezTo>
                <a:cubicBezTo>
                  <a:pt x="51" y="37"/>
                  <a:pt x="52" y="39"/>
                  <a:pt x="52" y="41"/>
                </a:cubicBezTo>
                <a:cubicBezTo>
                  <a:pt x="52" y="42"/>
                  <a:pt x="53" y="44"/>
                  <a:pt x="54" y="44"/>
                </a:cubicBezTo>
                <a:cubicBezTo>
                  <a:pt x="54" y="44"/>
                  <a:pt x="58" y="50"/>
                  <a:pt x="56" y="51"/>
                </a:cubicBezTo>
                <a:cubicBezTo>
                  <a:pt x="54" y="52"/>
                  <a:pt x="52" y="47"/>
                  <a:pt x="48" y="47"/>
                </a:cubicBezTo>
                <a:cubicBezTo>
                  <a:pt x="47" y="47"/>
                  <a:pt x="47" y="49"/>
                  <a:pt x="46" y="50"/>
                </a:cubicBezTo>
                <a:cubicBezTo>
                  <a:pt x="47" y="50"/>
                  <a:pt x="48" y="50"/>
                  <a:pt x="48" y="51"/>
                </a:cubicBezTo>
                <a:cubicBezTo>
                  <a:pt x="49" y="50"/>
                  <a:pt x="49" y="51"/>
                  <a:pt x="50" y="51"/>
                </a:cubicBezTo>
                <a:cubicBezTo>
                  <a:pt x="50" y="52"/>
                  <a:pt x="50" y="53"/>
                  <a:pt x="50" y="53"/>
                </a:cubicBezTo>
                <a:cubicBezTo>
                  <a:pt x="50" y="54"/>
                  <a:pt x="43" y="56"/>
                  <a:pt x="43" y="56"/>
                </a:cubicBezTo>
                <a:cubicBezTo>
                  <a:pt x="42" y="57"/>
                  <a:pt x="42" y="57"/>
                  <a:pt x="42" y="58"/>
                </a:cubicBezTo>
                <a:cubicBezTo>
                  <a:pt x="41" y="58"/>
                  <a:pt x="40" y="59"/>
                  <a:pt x="40" y="59"/>
                </a:cubicBezTo>
                <a:cubicBezTo>
                  <a:pt x="40" y="60"/>
                  <a:pt x="39" y="60"/>
                  <a:pt x="38" y="63"/>
                </a:cubicBezTo>
                <a:cubicBezTo>
                  <a:pt x="38" y="64"/>
                  <a:pt x="38" y="64"/>
                  <a:pt x="37" y="65"/>
                </a:cubicBezTo>
                <a:cubicBezTo>
                  <a:pt x="36" y="65"/>
                  <a:pt x="36" y="65"/>
                  <a:pt x="36" y="65"/>
                </a:cubicBezTo>
                <a:cubicBezTo>
                  <a:pt x="35" y="66"/>
                  <a:pt x="35" y="69"/>
                  <a:pt x="35" y="70"/>
                </a:cubicBezTo>
                <a:cubicBezTo>
                  <a:pt x="36" y="71"/>
                  <a:pt x="36" y="72"/>
                  <a:pt x="35" y="73"/>
                </a:cubicBezTo>
                <a:cubicBezTo>
                  <a:pt x="34" y="73"/>
                  <a:pt x="34" y="72"/>
                  <a:pt x="34" y="71"/>
                </a:cubicBezTo>
                <a:cubicBezTo>
                  <a:pt x="33" y="71"/>
                  <a:pt x="33" y="68"/>
                  <a:pt x="33" y="68"/>
                </a:cubicBezTo>
                <a:cubicBezTo>
                  <a:pt x="32" y="67"/>
                  <a:pt x="31" y="67"/>
                  <a:pt x="30" y="66"/>
                </a:cubicBezTo>
                <a:cubicBezTo>
                  <a:pt x="28" y="66"/>
                  <a:pt x="24" y="67"/>
                  <a:pt x="23" y="68"/>
                </a:cubicBezTo>
                <a:cubicBezTo>
                  <a:pt x="23" y="70"/>
                  <a:pt x="23" y="69"/>
                  <a:pt x="23" y="71"/>
                </a:cubicBezTo>
                <a:cubicBezTo>
                  <a:pt x="23" y="72"/>
                  <a:pt x="23" y="73"/>
                  <a:pt x="25" y="75"/>
                </a:cubicBezTo>
                <a:cubicBezTo>
                  <a:pt x="25" y="75"/>
                  <a:pt x="26" y="75"/>
                  <a:pt x="26" y="75"/>
                </a:cubicBezTo>
                <a:cubicBezTo>
                  <a:pt x="27" y="75"/>
                  <a:pt x="28" y="72"/>
                  <a:pt x="31" y="73"/>
                </a:cubicBezTo>
                <a:cubicBezTo>
                  <a:pt x="32" y="74"/>
                  <a:pt x="30" y="75"/>
                  <a:pt x="30" y="75"/>
                </a:cubicBezTo>
                <a:cubicBezTo>
                  <a:pt x="30" y="77"/>
                  <a:pt x="30" y="76"/>
                  <a:pt x="30" y="77"/>
                </a:cubicBezTo>
                <a:cubicBezTo>
                  <a:pt x="30" y="77"/>
                  <a:pt x="29" y="77"/>
                  <a:pt x="30" y="78"/>
                </a:cubicBezTo>
                <a:cubicBezTo>
                  <a:pt x="31" y="78"/>
                  <a:pt x="31" y="77"/>
                  <a:pt x="33" y="78"/>
                </a:cubicBezTo>
                <a:cubicBezTo>
                  <a:pt x="33" y="80"/>
                  <a:pt x="32" y="80"/>
                  <a:pt x="33" y="82"/>
                </a:cubicBezTo>
                <a:cubicBezTo>
                  <a:pt x="33" y="83"/>
                  <a:pt x="35" y="83"/>
                  <a:pt x="37" y="84"/>
                </a:cubicBezTo>
                <a:cubicBezTo>
                  <a:pt x="38" y="83"/>
                  <a:pt x="38" y="83"/>
                  <a:pt x="38" y="83"/>
                </a:cubicBezTo>
                <a:cubicBezTo>
                  <a:pt x="38" y="82"/>
                  <a:pt x="38" y="82"/>
                  <a:pt x="39" y="82"/>
                </a:cubicBezTo>
                <a:cubicBezTo>
                  <a:pt x="40" y="80"/>
                  <a:pt x="41" y="80"/>
                  <a:pt x="43" y="81"/>
                </a:cubicBezTo>
                <a:cubicBezTo>
                  <a:pt x="44" y="82"/>
                  <a:pt x="44" y="83"/>
                  <a:pt x="46" y="82"/>
                </a:cubicBezTo>
                <a:cubicBezTo>
                  <a:pt x="47" y="82"/>
                  <a:pt x="48" y="82"/>
                  <a:pt x="50" y="82"/>
                </a:cubicBezTo>
                <a:cubicBezTo>
                  <a:pt x="51" y="83"/>
                  <a:pt x="51" y="84"/>
                  <a:pt x="52" y="85"/>
                </a:cubicBezTo>
                <a:cubicBezTo>
                  <a:pt x="53" y="86"/>
                  <a:pt x="54" y="86"/>
                  <a:pt x="55" y="86"/>
                </a:cubicBezTo>
                <a:cubicBezTo>
                  <a:pt x="57" y="86"/>
                  <a:pt x="57" y="86"/>
                  <a:pt x="59" y="87"/>
                </a:cubicBezTo>
                <a:cubicBezTo>
                  <a:pt x="61" y="89"/>
                  <a:pt x="61" y="91"/>
                  <a:pt x="63" y="92"/>
                </a:cubicBezTo>
                <a:cubicBezTo>
                  <a:pt x="65" y="94"/>
                  <a:pt x="67" y="94"/>
                  <a:pt x="69" y="95"/>
                </a:cubicBezTo>
                <a:cubicBezTo>
                  <a:pt x="71" y="96"/>
                  <a:pt x="72" y="97"/>
                  <a:pt x="71" y="99"/>
                </a:cubicBezTo>
                <a:close/>
                <a:moveTo>
                  <a:pt x="71" y="28"/>
                </a:moveTo>
                <a:cubicBezTo>
                  <a:pt x="70" y="28"/>
                  <a:pt x="69" y="29"/>
                  <a:pt x="69" y="30"/>
                </a:cubicBezTo>
                <a:cubicBezTo>
                  <a:pt x="68" y="31"/>
                  <a:pt x="68" y="35"/>
                  <a:pt x="66" y="35"/>
                </a:cubicBezTo>
                <a:cubicBezTo>
                  <a:pt x="65" y="35"/>
                  <a:pt x="63" y="31"/>
                  <a:pt x="63" y="31"/>
                </a:cubicBezTo>
                <a:cubicBezTo>
                  <a:pt x="62" y="29"/>
                  <a:pt x="62" y="27"/>
                  <a:pt x="62" y="25"/>
                </a:cubicBezTo>
                <a:cubicBezTo>
                  <a:pt x="62" y="23"/>
                  <a:pt x="62" y="20"/>
                  <a:pt x="61" y="19"/>
                </a:cubicBezTo>
                <a:cubicBezTo>
                  <a:pt x="60" y="17"/>
                  <a:pt x="59" y="17"/>
                  <a:pt x="57" y="17"/>
                </a:cubicBezTo>
                <a:cubicBezTo>
                  <a:pt x="56" y="17"/>
                  <a:pt x="54" y="17"/>
                  <a:pt x="54" y="16"/>
                </a:cubicBezTo>
                <a:cubicBezTo>
                  <a:pt x="53" y="15"/>
                  <a:pt x="54" y="14"/>
                  <a:pt x="53" y="13"/>
                </a:cubicBezTo>
                <a:cubicBezTo>
                  <a:pt x="52" y="13"/>
                  <a:pt x="52" y="14"/>
                  <a:pt x="51" y="15"/>
                </a:cubicBezTo>
                <a:cubicBezTo>
                  <a:pt x="51" y="15"/>
                  <a:pt x="49" y="16"/>
                  <a:pt x="49" y="16"/>
                </a:cubicBezTo>
                <a:cubicBezTo>
                  <a:pt x="48" y="17"/>
                  <a:pt x="48" y="17"/>
                  <a:pt x="48" y="18"/>
                </a:cubicBezTo>
                <a:cubicBezTo>
                  <a:pt x="48" y="19"/>
                  <a:pt x="47" y="19"/>
                  <a:pt x="46" y="19"/>
                </a:cubicBezTo>
                <a:cubicBezTo>
                  <a:pt x="45" y="19"/>
                  <a:pt x="45" y="21"/>
                  <a:pt x="43" y="20"/>
                </a:cubicBezTo>
                <a:cubicBezTo>
                  <a:pt x="42" y="19"/>
                  <a:pt x="42" y="19"/>
                  <a:pt x="41" y="19"/>
                </a:cubicBezTo>
                <a:cubicBezTo>
                  <a:pt x="40" y="19"/>
                  <a:pt x="41" y="20"/>
                  <a:pt x="40" y="21"/>
                </a:cubicBezTo>
                <a:cubicBezTo>
                  <a:pt x="40" y="22"/>
                  <a:pt x="39" y="21"/>
                  <a:pt x="39" y="21"/>
                </a:cubicBezTo>
                <a:cubicBezTo>
                  <a:pt x="38" y="21"/>
                  <a:pt x="38" y="21"/>
                  <a:pt x="37" y="22"/>
                </a:cubicBezTo>
                <a:cubicBezTo>
                  <a:pt x="36" y="22"/>
                  <a:pt x="35" y="22"/>
                  <a:pt x="35" y="21"/>
                </a:cubicBezTo>
                <a:cubicBezTo>
                  <a:pt x="35" y="19"/>
                  <a:pt x="35" y="19"/>
                  <a:pt x="36" y="18"/>
                </a:cubicBezTo>
                <a:cubicBezTo>
                  <a:pt x="37" y="16"/>
                  <a:pt x="38" y="15"/>
                  <a:pt x="39" y="15"/>
                </a:cubicBezTo>
                <a:cubicBezTo>
                  <a:pt x="40" y="14"/>
                  <a:pt x="41" y="13"/>
                  <a:pt x="42" y="12"/>
                </a:cubicBezTo>
                <a:cubicBezTo>
                  <a:pt x="44" y="12"/>
                  <a:pt x="45" y="11"/>
                  <a:pt x="47" y="10"/>
                </a:cubicBezTo>
                <a:cubicBezTo>
                  <a:pt x="49" y="9"/>
                  <a:pt x="52" y="9"/>
                  <a:pt x="54" y="8"/>
                </a:cubicBezTo>
                <a:cubicBezTo>
                  <a:pt x="56" y="8"/>
                  <a:pt x="58" y="7"/>
                  <a:pt x="60" y="8"/>
                </a:cubicBezTo>
                <a:cubicBezTo>
                  <a:pt x="61" y="9"/>
                  <a:pt x="61" y="9"/>
                  <a:pt x="61" y="9"/>
                </a:cubicBezTo>
                <a:cubicBezTo>
                  <a:pt x="62" y="9"/>
                  <a:pt x="62" y="9"/>
                  <a:pt x="63" y="9"/>
                </a:cubicBezTo>
                <a:cubicBezTo>
                  <a:pt x="65" y="9"/>
                  <a:pt x="67" y="9"/>
                  <a:pt x="69" y="9"/>
                </a:cubicBezTo>
                <a:cubicBezTo>
                  <a:pt x="71" y="9"/>
                  <a:pt x="73" y="9"/>
                  <a:pt x="75" y="9"/>
                </a:cubicBezTo>
                <a:cubicBezTo>
                  <a:pt x="77" y="9"/>
                  <a:pt x="79" y="8"/>
                  <a:pt x="80" y="9"/>
                </a:cubicBezTo>
                <a:cubicBezTo>
                  <a:pt x="81" y="9"/>
                  <a:pt x="81" y="10"/>
                  <a:pt x="82" y="11"/>
                </a:cubicBezTo>
                <a:cubicBezTo>
                  <a:pt x="82" y="11"/>
                  <a:pt x="84" y="10"/>
                  <a:pt x="84" y="10"/>
                </a:cubicBezTo>
                <a:cubicBezTo>
                  <a:pt x="85" y="10"/>
                  <a:pt x="89" y="9"/>
                  <a:pt x="88" y="11"/>
                </a:cubicBezTo>
                <a:cubicBezTo>
                  <a:pt x="88" y="11"/>
                  <a:pt x="87" y="12"/>
                  <a:pt x="86" y="12"/>
                </a:cubicBezTo>
                <a:cubicBezTo>
                  <a:pt x="85" y="13"/>
                  <a:pt x="84" y="13"/>
                  <a:pt x="84" y="14"/>
                </a:cubicBezTo>
                <a:cubicBezTo>
                  <a:pt x="84" y="15"/>
                  <a:pt x="85" y="16"/>
                  <a:pt x="85" y="17"/>
                </a:cubicBezTo>
                <a:cubicBezTo>
                  <a:pt x="85" y="19"/>
                  <a:pt x="84" y="18"/>
                  <a:pt x="83" y="19"/>
                </a:cubicBezTo>
                <a:cubicBezTo>
                  <a:pt x="83" y="21"/>
                  <a:pt x="83" y="23"/>
                  <a:pt x="81" y="24"/>
                </a:cubicBezTo>
                <a:cubicBezTo>
                  <a:pt x="79" y="26"/>
                  <a:pt x="77" y="27"/>
                  <a:pt x="75" y="27"/>
                </a:cubicBezTo>
                <a:cubicBezTo>
                  <a:pt x="74" y="27"/>
                  <a:pt x="72" y="27"/>
                  <a:pt x="71" y="28"/>
                </a:cubicBezTo>
                <a:close/>
                <a:moveTo>
                  <a:pt x="79" y="30"/>
                </a:moveTo>
                <a:cubicBezTo>
                  <a:pt x="78" y="29"/>
                  <a:pt x="82" y="29"/>
                  <a:pt x="83" y="29"/>
                </a:cubicBezTo>
                <a:cubicBezTo>
                  <a:pt x="84" y="29"/>
                  <a:pt x="86" y="29"/>
                  <a:pt x="87" y="30"/>
                </a:cubicBezTo>
                <a:cubicBezTo>
                  <a:pt x="87" y="31"/>
                  <a:pt x="87" y="31"/>
                  <a:pt x="87" y="31"/>
                </a:cubicBezTo>
                <a:cubicBezTo>
                  <a:pt x="87" y="31"/>
                  <a:pt x="87" y="32"/>
                  <a:pt x="87" y="32"/>
                </a:cubicBezTo>
                <a:cubicBezTo>
                  <a:pt x="86" y="32"/>
                  <a:pt x="85" y="32"/>
                  <a:pt x="85" y="33"/>
                </a:cubicBezTo>
                <a:cubicBezTo>
                  <a:pt x="84" y="33"/>
                  <a:pt x="82" y="34"/>
                  <a:pt x="81" y="33"/>
                </a:cubicBezTo>
                <a:cubicBezTo>
                  <a:pt x="81" y="33"/>
                  <a:pt x="81" y="32"/>
                  <a:pt x="81" y="32"/>
                </a:cubicBezTo>
                <a:cubicBezTo>
                  <a:pt x="80" y="31"/>
                  <a:pt x="80" y="32"/>
                  <a:pt x="80" y="31"/>
                </a:cubicBezTo>
                <a:cubicBezTo>
                  <a:pt x="79" y="31"/>
                  <a:pt x="79" y="31"/>
                  <a:pt x="79" y="30"/>
                </a:cubicBezTo>
                <a:close/>
                <a:moveTo>
                  <a:pt x="127" y="102"/>
                </a:moveTo>
                <a:cubicBezTo>
                  <a:pt x="127" y="103"/>
                  <a:pt x="127" y="103"/>
                  <a:pt x="127" y="103"/>
                </a:cubicBezTo>
                <a:cubicBezTo>
                  <a:pt x="126" y="104"/>
                  <a:pt x="126" y="104"/>
                  <a:pt x="126" y="104"/>
                </a:cubicBezTo>
                <a:cubicBezTo>
                  <a:pt x="126" y="105"/>
                  <a:pt x="126" y="106"/>
                  <a:pt x="126" y="106"/>
                </a:cubicBezTo>
                <a:cubicBezTo>
                  <a:pt x="125" y="107"/>
                  <a:pt x="124" y="109"/>
                  <a:pt x="123" y="110"/>
                </a:cubicBezTo>
                <a:cubicBezTo>
                  <a:pt x="122" y="110"/>
                  <a:pt x="121" y="109"/>
                  <a:pt x="121" y="108"/>
                </a:cubicBezTo>
                <a:cubicBezTo>
                  <a:pt x="121" y="108"/>
                  <a:pt x="122" y="107"/>
                  <a:pt x="122" y="107"/>
                </a:cubicBezTo>
                <a:cubicBezTo>
                  <a:pt x="123" y="106"/>
                  <a:pt x="123" y="104"/>
                  <a:pt x="124" y="103"/>
                </a:cubicBezTo>
                <a:cubicBezTo>
                  <a:pt x="125" y="103"/>
                  <a:pt x="125" y="103"/>
                  <a:pt x="126" y="102"/>
                </a:cubicBezTo>
                <a:cubicBezTo>
                  <a:pt x="126" y="102"/>
                  <a:pt x="126" y="102"/>
                  <a:pt x="126" y="102"/>
                </a:cubicBezTo>
                <a:cubicBezTo>
                  <a:pt x="126" y="102"/>
                  <a:pt x="126" y="102"/>
                  <a:pt x="126" y="101"/>
                </a:cubicBezTo>
                <a:cubicBezTo>
                  <a:pt x="127" y="101"/>
                  <a:pt x="127" y="101"/>
                  <a:pt x="127" y="101"/>
                </a:cubicBezTo>
                <a:cubicBezTo>
                  <a:pt x="127" y="101"/>
                  <a:pt x="127" y="101"/>
                  <a:pt x="127" y="101"/>
                </a:cubicBezTo>
                <a:cubicBezTo>
                  <a:pt x="127" y="101"/>
                  <a:pt x="127" y="101"/>
                  <a:pt x="128" y="101"/>
                </a:cubicBezTo>
                <a:cubicBezTo>
                  <a:pt x="128" y="102"/>
                  <a:pt x="127" y="102"/>
                  <a:pt x="127" y="102"/>
                </a:cubicBezTo>
                <a:close/>
                <a:moveTo>
                  <a:pt x="120" y="98"/>
                </a:moveTo>
                <a:cubicBezTo>
                  <a:pt x="120" y="100"/>
                  <a:pt x="121" y="104"/>
                  <a:pt x="120" y="105"/>
                </a:cubicBezTo>
                <a:cubicBezTo>
                  <a:pt x="119" y="105"/>
                  <a:pt x="116" y="108"/>
                  <a:pt x="116" y="108"/>
                </a:cubicBezTo>
                <a:cubicBezTo>
                  <a:pt x="116" y="110"/>
                  <a:pt x="116" y="109"/>
                  <a:pt x="116" y="110"/>
                </a:cubicBezTo>
                <a:cubicBezTo>
                  <a:pt x="116" y="111"/>
                  <a:pt x="116" y="112"/>
                  <a:pt x="116" y="112"/>
                </a:cubicBezTo>
                <a:cubicBezTo>
                  <a:pt x="115" y="113"/>
                  <a:pt x="115" y="113"/>
                  <a:pt x="114" y="113"/>
                </a:cubicBezTo>
                <a:cubicBezTo>
                  <a:pt x="113" y="113"/>
                  <a:pt x="113" y="113"/>
                  <a:pt x="113" y="114"/>
                </a:cubicBezTo>
                <a:cubicBezTo>
                  <a:pt x="113" y="115"/>
                  <a:pt x="113" y="116"/>
                  <a:pt x="112" y="116"/>
                </a:cubicBezTo>
                <a:cubicBezTo>
                  <a:pt x="112" y="117"/>
                  <a:pt x="111" y="117"/>
                  <a:pt x="111" y="118"/>
                </a:cubicBezTo>
                <a:cubicBezTo>
                  <a:pt x="110" y="118"/>
                  <a:pt x="109" y="119"/>
                  <a:pt x="108" y="119"/>
                </a:cubicBezTo>
                <a:cubicBezTo>
                  <a:pt x="106" y="120"/>
                  <a:pt x="103" y="121"/>
                  <a:pt x="101" y="119"/>
                </a:cubicBezTo>
                <a:cubicBezTo>
                  <a:pt x="101" y="118"/>
                  <a:pt x="101" y="119"/>
                  <a:pt x="100" y="118"/>
                </a:cubicBezTo>
                <a:cubicBezTo>
                  <a:pt x="99" y="116"/>
                  <a:pt x="98" y="116"/>
                  <a:pt x="98" y="114"/>
                </a:cubicBezTo>
                <a:cubicBezTo>
                  <a:pt x="98" y="112"/>
                  <a:pt x="98" y="110"/>
                  <a:pt x="98" y="108"/>
                </a:cubicBezTo>
                <a:cubicBezTo>
                  <a:pt x="97" y="108"/>
                  <a:pt x="97" y="94"/>
                  <a:pt x="97" y="94"/>
                </a:cubicBezTo>
                <a:cubicBezTo>
                  <a:pt x="96" y="93"/>
                  <a:pt x="95" y="92"/>
                  <a:pt x="95" y="90"/>
                </a:cubicBezTo>
                <a:cubicBezTo>
                  <a:pt x="95" y="90"/>
                  <a:pt x="95" y="89"/>
                  <a:pt x="95" y="88"/>
                </a:cubicBezTo>
                <a:cubicBezTo>
                  <a:pt x="94" y="88"/>
                  <a:pt x="94" y="87"/>
                  <a:pt x="93" y="87"/>
                </a:cubicBezTo>
                <a:cubicBezTo>
                  <a:pt x="92" y="86"/>
                  <a:pt x="90" y="88"/>
                  <a:pt x="88" y="88"/>
                </a:cubicBezTo>
                <a:cubicBezTo>
                  <a:pt x="87" y="88"/>
                  <a:pt x="84" y="87"/>
                  <a:pt x="83" y="86"/>
                </a:cubicBezTo>
                <a:cubicBezTo>
                  <a:pt x="82" y="85"/>
                  <a:pt x="81" y="84"/>
                  <a:pt x="81" y="82"/>
                </a:cubicBezTo>
                <a:cubicBezTo>
                  <a:pt x="80" y="81"/>
                  <a:pt x="80" y="79"/>
                  <a:pt x="80" y="78"/>
                </a:cubicBezTo>
                <a:cubicBezTo>
                  <a:pt x="81" y="77"/>
                  <a:pt x="81" y="75"/>
                  <a:pt x="81" y="74"/>
                </a:cubicBezTo>
                <a:cubicBezTo>
                  <a:pt x="81" y="73"/>
                  <a:pt x="82" y="72"/>
                  <a:pt x="82" y="70"/>
                </a:cubicBezTo>
                <a:cubicBezTo>
                  <a:pt x="83" y="69"/>
                  <a:pt x="84" y="69"/>
                  <a:pt x="85" y="67"/>
                </a:cubicBezTo>
                <a:cubicBezTo>
                  <a:pt x="85" y="67"/>
                  <a:pt x="86" y="66"/>
                  <a:pt x="86" y="66"/>
                </a:cubicBezTo>
                <a:cubicBezTo>
                  <a:pt x="87" y="65"/>
                  <a:pt x="87" y="64"/>
                  <a:pt x="89" y="63"/>
                </a:cubicBezTo>
                <a:cubicBezTo>
                  <a:pt x="91" y="61"/>
                  <a:pt x="90" y="63"/>
                  <a:pt x="93" y="62"/>
                </a:cubicBezTo>
                <a:cubicBezTo>
                  <a:pt x="93" y="61"/>
                  <a:pt x="96" y="61"/>
                  <a:pt x="96" y="61"/>
                </a:cubicBezTo>
                <a:cubicBezTo>
                  <a:pt x="96" y="61"/>
                  <a:pt x="100" y="60"/>
                  <a:pt x="100" y="60"/>
                </a:cubicBezTo>
                <a:cubicBezTo>
                  <a:pt x="102" y="61"/>
                  <a:pt x="101" y="62"/>
                  <a:pt x="101" y="63"/>
                </a:cubicBezTo>
                <a:cubicBezTo>
                  <a:pt x="102" y="64"/>
                  <a:pt x="102" y="65"/>
                  <a:pt x="104" y="65"/>
                </a:cubicBezTo>
                <a:cubicBezTo>
                  <a:pt x="105" y="66"/>
                  <a:pt x="105" y="67"/>
                  <a:pt x="106" y="67"/>
                </a:cubicBezTo>
                <a:cubicBezTo>
                  <a:pt x="107" y="67"/>
                  <a:pt x="108" y="64"/>
                  <a:pt x="110" y="65"/>
                </a:cubicBezTo>
                <a:cubicBezTo>
                  <a:pt x="111" y="66"/>
                  <a:pt x="111" y="66"/>
                  <a:pt x="111" y="66"/>
                </a:cubicBezTo>
                <a:cubicBezTo>
                  <a:pt x="111" y="66"/>
                  <a:pt x="112" y="66"/>
                  <a:pt x="113" y="66"/>
                </a:cubicBezTo>
                <a:cubicBezTo>
                  <a:pt x="114" y="67"/>
                  <a:pt x="114" y="68"/>
                  <a:pt x="115" y="68"/>
                </a:cubicBezTo>
                <a:cubicBezTo>
                  <a:pt x="115" y="69"/>
                  <a:pt x="115" y="69"/>
                  <a:pt x="115" y="70"/>
                </a:cubicBezTo>
                <a:cubicBezTo>
                  <a:pt x="116" y="71"/>
                  <a:pt x="116" y="73"/>
                  <a:pt x="117" y="74"/>
                </a:cubicBezTo>
                <a:cubicBezTo>
                  <a:pt x="118" y="75"/>
                  <a:pt x="118" y="76"/>
                  <a:pt x="119" y="78"/>
                </a:cubicBezTo>
                <a:cubicBezTo>
                  <a:pt x="119" y="79"/>
                  <a:pt x="121" y="80"/>
                  <a:pt x="121" y="83"/>
                </a:cubicBezTo>
                <a:cubicBezTo>
                  <a:pt x="122" y="84"/>
                  <a:pt x="127" y="82"/>
                  <a:pt x="128" y="83"/>
                </a:cubicBezTo>
                <a:cubicBezTo>
                  <a:pt x="128" y="87"/>
                  <a:pt x="119" y="96"/>
                  <a:pt x="120" y="98"/>
                </a:cubicBezTo>
                <a:close/>
                <a:moveTo>
                  <a:pt x="133" y="68"/>
                </a:moveTo>
                <a:cubicBezTo>
                  <a:pt x="132" y="68"/>
                  <a:pt x="132" y="67"/>
                  <a:pt x="131" y="66"/>
                </a:cubicBezTo>
                <a:cubicBezTo>
                  <a:pt x="130" y="66"/>
                  <a:pt x="129" y="65"/>
                  <a:pt x="129" y="65"/>
                </a:cubicBezTo>
                <a:cubicBezTo>
                  <a:pt x="128" y="66"/>
                  <a:pt x="129" y="67"/>
                  <a:pt x="129" y="68"/>
                </a:cubicBezTo>
                <a:cubicBezTo>
                  <a:pt x="130" y="70"/>
                  <a:pt x="130" y="71"/>
                  <a:pt x="131" y="71"/>
                </a:cubicBezTo>
                <a:cubicBezTo>
                  <a:pt x="132" y="71"/>
                  <a:pt x="134" y="71"/>
                  <a:pt x="134" y="72"/>
                </a:cubicBezTo>
                <a:cubicBezTo>
                  <a:pt x="135" y="72"/>
                  <a:pt x="135" y="74"/>
                  <a:pt x="135" y="75"/>
                </a:cubicBezTo>
                <a:cubicBezTo>
                  <a:pt x="134" y="75"/>
                  <a:pt x="133" y="76"/>
                  <a:pt x="133" y="76"/>
                </a:cubicBezTo>
                <a:cubicBezTo>
                  <a:pt x="132" y="77"/>
                  <a:pt x="131" y="78"/>
                  <a:pt x="130" y="78"/>
                </a:cubicBezTo>
                <a:cubicBezTo>
                  <a:pt x="129" y="78"/>
                  <a:pt x="129" y="78"/>
                  <a:pt x="128" y="79"/>
                </a:cubicBezTo>
                <a:cubicBezTo>
                  <a:pt x="127" y="80"/>
                  <a:pt x="127" y="79"/>
                  <a:pt x="126" y="78"/>
                </a:cubicBezTo>
                <a:cubicBezTo>
                  <a:pt x="126" y="78"/>
                  <a:pt x="126" y="77"/>
                  <a:pt x="126" y="76"/>
                </a:cubicBezTo>
                <a:cubicBezTo>
                  <a:pt x="126" y="75"/>
                  <a:pt x="125" y="75"/>
                  <a:pt x="125" y="74"/>
                </a:cubicBezTo>
                <a:cubicBezTo>
                  <a:pt x="124" y="72"/>
                  <a:pt x="124" y="71"/>
                  <a:pt x="123" y="69"/>
                </a:cubicBezTo>
                <a:cubicBezTo>
                  <a:pt x="122" y="68"/>
                  <a:pt x="122" y="66"/>
                  <a:pt x="120" y="66"/>
                </a:cubicBezTo>
                <a:cubicBezTo>
                  <a:pt x="120" y="66"/>
                  <a:pt x="119" y="66"/>
                  <a:pt x="119" y="66"/>
                </a:cubicBezTo>
                <a:cubicBezTo>
                  <a:pt x="119" y="66"/>
                  <a:pt x="119" y="66"/>
                  <a:pt x="119" y="66"/>
                </a:cubicBezTo>
                <a:cubicBezTo>
                  <a:pt x="119" y="65"/>
                  <a:pt x="118" y="65"/>
                  <a:pt x="119" y="64"/>
                </a:cubicBezTo>
                <a:cubicBezTo>
                  <a:pt x="120" y="64"/>
                  <a:pt x="121" y="63"/>
                  <a:pt x="121" y="62"/>
                </a:cubicBezTo>
                <a:cubicBezTo>
                  <a:pt x="121" y="60"/>
                  <a:pt x="121" y="58"/>
                  <a:pt x="120" y="59"/>
                </a:cubicBezTo>
                <a:cubicBezTo>
                  <a:pt x="118" y="59"/>
                  <a:pt x="114" y="59"/>
                  <a:pt x="114" y="56"/>
                </a:cubicBezTo>
                <a:cubicBezTo>
                  <a:pt x="115" y="56"/>
                  <a:pt x="117" y="56"/>
                  <a:pt x="118" y="56"/>
                </a:cubicBezTo>
                <a:cubicBezTo>
                  <a:pt x="118" y="56"/>
                  <a:pt x="119" y="56"/>
                  <a:pt x="120" y="56"/>
                </a:cubicBezTo>
                <a:cubicBezTo>
                  <a:pt x="121" y="56"/>
                  <a:pt x="123" y="57"/>
                  <a:pt x="124" y="56"/>
                </a:cubicBezTo>
                <a:cubicBezTo>
                  <a:pt x="125" y="55"/>
                  <a:pt x="124" y="56"/>
                  <a:pt x="122" y="53"/>
                </a:cubicBezTo>
                <a:cubicBezTo>
                  <a:pt x="121" y="52"/>
                  <a:pt x="120" y="52"/>
                  <a:pt x="120" y="52"/>
                </a:cubicBezTo>
                <a:cubicBezTo>
                  <a:pt x="119" y="52"/>
                  <a:pt x="119" y="51"/>
                  <a:pt x="118" y="51"/>
                </a:cubicBezTo>
                <a:cubicBezTo>
                  <a:pt x="117" y="51"/>
                  <a:pt x="117" y="52"/>
                  <a:pt x="116" y="53"/>
                </a:cubicBezTo>
                <a:cubicBezTo>
                  <a:pt x="115" y="54"/>
                  <a:pt x="115" y="54"/>
                  <a:pt x="115" y="55"/>
                </a:cubicBezTo>
                <a:cubicBezTo>
                  <a:pt x="113" y="55"/>
                  <a:pt x="113" y="55"/>
                  <a:pt x="111" y="55"/>
                </a:cubicBezTo>
                <a:cubicBezTo>
                  <a:pt x="110" y="55"/>
                  <a:pt x="110" y="54"/>
                  <a:pt x="110" y="53"/>
                </a:cubicBezTo>
                <a:cubicBezTo>
                  <a:pt x="110" y="52"/>
                  <a:pt x="109" y="51"/>
                  <a:pt x="108" y="51"/>
                </a:cubicBezTo>
                <a:cubicBezTo>
                  <a:pt x="107" y="50"/>
                  <a:pt x="104" y="50"/>
                  <a:pt x="105" y="52"/>
                </a:cubicBezTo>
                <a:cubicBezTo>
                  <a:pt x="105" y="52"/>
                  <a:pt x="106" y="53"/>
                  <a:pt x="107" y="53"/>
                </a:cubicBezTo>
                <a:cubicBezTo>
                  <a:pt x="107" y="54"/>
                  <a:pt x="109" y="57"/>
                  <a:pt x="109" y="58"/>
                </a:cubicBezTo>
                <a:cubicBezTo>
                  <a:pt x="109" y="57"/>
                  <a:pt x="107" y="57"/>
                  <a:pt x="107" y="57"/>
                </a:cubicBezTo>
                <a:cubicBezTo>
                  <a:pt x="107" y="57"/>
                  <a:pt x="106" y="60"/>
                  <a:pt x="106" y="60"/>
                </a:cubicBezTo>
                <a:cubicBezTo>
                  <a:pt x="106" y="59"/>
                  <a:pt x="105" y="55"/>
                  <a:pt x="104" y="54"/>
                </a:cubicBezTo>
                <a:cubicBezTo>
                  <a:pt x="104" y="54"/>
                  <a:pt x="104" y="54"/>
                  <a:pt x="103" y="53"/>
                </a:cubicBezTo>
                <a:cubicBezTo>
                  <a:pt x="103" y="53"/>
                  <a:pt x="102" y="53"/>
                  <a:pt x="102" y="52"/>
                </a:cubicBezTo>
                <a:cubicBezTo>
                  <a:pt x="101" y="52"/>
                  <a:pt x="101" y="52"/>
                  <a:pt x="100" y="52"/>
                </a:cubicBezTo>
                <a:cubicBezTo>
                  <a:pt x="99" y="52"/>
                  <a:pt x="99" y="53"/>
                  <a:pt x="98" y="53"/>
                </a:cubicBezTo>
                <a:cubicBezTo>
                  <a:pt x="98" y="54"/>
                  <a:pt x="97" y="55"/>
                  <a:pt x="96" y="55"/>
                </a:cubicBezTo>
                <a:cubicBezTo>
                  <a:pt x="95" y="56"/>
                  <a:pt x="95" y="59"/>
                  <a:pt x="94" y="59"/>
                </a:cubicBezTo>
                <a:cubicBezTo>
                  <a:pt x="93" y="59"/>
                  <a:pt x="89" y="59"/>
                  <a:pt x="89" y="58"/>
                </a:cubicBezTo>
                <a:cubicBezTo>
                  <a:pt x="90" y="53"/>
                  <a:pt x="91" y="51"/>
                  <a:pt x="91" y="51"/>
                </a:cubicBezTo>
                <a:cubicBezTo>
                  <a:pt x="92" y="51"/>
                  <a:pt x="94" y="52"/>
                  <a:pt x="95" y="51"/>
                </a:cubicBezTo>
                <a:cubicBezTo>
                  <a:pt x="95" y="50"/>
                  <a:pt x="94" y="50"/>
                  <a:pt x="94" y="49"/>
                </a:cubicBezTo>
                <a:cubicBezTo>
                  <a:pt x="94" y="48"/>
                  <a:pt x="97" y="47"/>
                  <a:pt x="99" y="45"/>
                </a:cubicBezTo>
                <a:cubicBezTo>
                  <a:pt x="101" y="44"/>
                  <a:pt x="102" y="42"/>
                  <a:pt x="103" y="42"/>
                </a:cubicBezTo>
                <a:cubicBezTo>
                  <a:pt x="104" y="41"/>
                  <a:pt x="106" y="41"/>
                  <a:pt x="107" y="41"/>
                </a:cubicBezTo>
                <a:cubicBezTo>
                  <a:pt x="109" y="41"/>
                  <a:pt x="109" y="42"/>
                  <a:pt x="110" y="40"/>
                </a:cubicBezTo>
                <a:cubicBezTo>
                  <a:pt x="110" y="40"/>
                  <a:pt x="113" y="38"/>
                  <a:pt x="113" y="38"/>
                </a:cubicBezTo>
                <a:cubicBezTo>
                  <a:pt x="113" y="37"/>
                  <a:pt x="110" y="37"/>
                  <a:pt x="110" y="36"/>
                </a:cubicBezTo>
                <a:cubicBezTo>
                  <a:pt x="110" y="32"/>
                  <a:pt x="110" y="32"/>
                  <a:pt x="110" y="32"/>
                </a:cubicBezTo>
                <a:cubicBezTo>
                  <a:pt x="109" y="32"/>
                  <a:pt x="108" y="33"/>
                  <a:pt x="107" y="33"/>
                </a:cubicBezTo>
                <a:cubicBezTo>
                  <a:pt x="107" y="38"/>
                  <a:pt x="107" y="40"/>
                  <a:pt x="105" y="40"/>
                </a:cubicBezTo>
                <a:cubicBezTo>
                  <a:pt x="104" y="40"/>
                  <a:pt x="103" y="39"/>
                  <a:pt x="103" y="39"/>
                </a:cubicBezTo>
                <a:cubicBezTo>
                  <a:pt x="102" y="39"/>
                  <a:pt x="101" y="39"/>
                  <a:pt x="100" y="39"/>
                </a:cubicBezTo>
                <a:cubicBezTo>
                  <a:pt x="96" y="36"/>
                  <a:pt x="103" y="32"/>
                  <a:pt x="103" y="31"/>
                </a:cubicBezTo>
                <a:cubicBezTo>
                  <a:pt x="105" y="28"/>
                  <a:pt x="107" y="26"/>
                  <a:pt x="109" y="26"/>
                </a:cubicBezTo>
                <a:cubicBezTo>
                  <a:pt x="112" y="25"/>
                  <a:pt x="113" y="24"/>
                  <a:pt x="115" y="25"/>
                </a:cubicBezTo>
                <a:cubicBezTo>
                  <a:pt x="120" y="31"/>
                  <a:pt x="120" y="31"/>
                  <a:pt x="120" y="31"/>
                </a:cubicBezTo>
                <a:cubicBezTo>
                  <a:pt x="122" y="33"/>
                  <a:pt x="125" y="36"/>
                  <a:pt x="126" y="38"/>
                </a:cubicBezTo>
                <a:cubicBezTo>
                  <a:pt x="128" y="41"/>
                  <a:pt x="131" y="48"/>
                  <a:pt x="132" y="52"/>
                </a:cubicBezTo>
                <a:cubicBezTo>
                  <a:pt x="134" y="59"/>
                  <a:pt x="136" y="62"/>
                  <a:pt x="136" y="68"/>
                </a:cubicBezTo>
                <a:cubicBezTo>
                  <a:pt x="136" y="70"/>
                  <a:pt x="134" y="69"/>
                  <a:pt x="133" y="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Arial" panose="020B0604020202020204" pitchFamily="34" charset="0"/>
              <a:cs typeface="Arial" panose="020B0604020202020204" pitchFamily="34" charset="0"/>
            </a:endParaRPr>
          </a:p>
        </p:txBody>
      </p:sp>
      <p:sp>
        <p:nvSpPr>
          <p:cNvPr id="98" name="Freeform 62"/>
          <p:cNvSpPr>
            <a:spLocks noChangeAspect="1" noEditPoints="1"/>
          </p:cNvSpPr>
          <p:nvPr/>
        </p:nvSpPr>
        <p:spPr bwMode="auto">
          <a:xfrm>
            <a:off x="9936063" y="3247387"/>
            <a:ext cx="422763" cy="390798"/>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Arial" panose="020B0604020202020204" pitchFamily="34" charset="0"/>
              <a:cs typeface="Arial" panose="020B0604020202020204" pitchFamily="34" charset="0"/>
            </a:endParaRPr>
          </a:p>
        </p:txBody>
      </p:sp>
      <p:pic>
        <p:nvPicPr>
          <p:cNvPr id="99" name="Billede 98" descr="magnifier13.png"/>
          <p:cNvPicPr>
            <a:picLocks noChangeAspect="1"/>
          </p:cNvPicPr>
          <p:nvPr/>
        </p:nvPicPr>
        <p:blipFill>
          <a:blip r:embed="rId43" cstate="hqprint">
            <a:duotone>
              <a:prstClr val="black"/>
              <a:srgbClr val="FFFFFF">
                <a:tint val="45000"/>
                <a:satMod val="400000"/>
              </a:srgbClr>
            </a:duotone>
            <a:extLst>
              <a:ext uri="{28A0092B-C50C-407E-A947-70E740481C1C}">
                <a14:useLocalDpi xmlns:a14="http://schemas.microsoft.com/office/drawing/2010/main"/>
              </a:ext>
            </a:extLst>
          </a:blip>
          <a:stretch>
            <a:fillRect/>
          </a:stretch>
        </p:blipFill>
        <p:spPr>
          <a:xfrm>
            <a:off x="3874712" y="1903860"/>
            <a:ext cx="509768" cy="509768"/>
          </a:xfrm>
          <a:prstGeom prst="rect">
            <a:avLst/>
          </a:prstGeom>
        </p:spPr>
      </p:pic>
      <p:pic>
        <p:nvPicPr>
          <p:cNvPr id="100" name="Billede 99" descr="networking10.png"/>
          <p:cNvPicPr>
            <a:picLocks noChangeAspect="1"/>
          </p:cNvPicPr>
          <p:nvPr/>
        </p:nvPicPr>
        <p:blipFill>
          <a:blip r:embed="rId44" cstate="hqprint">
            <a:extLst>
              <a:ext uri="{28A0092B-C50C-407E-A947-70E740481C1C}">
                <a14:useLocalDpi xmlns:a14="http://schemas.microsoft.com/office/drawing/2010/main"/>
              </a:ext>
            </a:extLst>
          </a:blip>
          <a:stretch>
            <a:fillRect/>
          </a:stretch>
        </p:blipFill>
        <p:spPr>
          <a:xfrm>
            <a:off x="4551889" y="1837777"/>
            <a:ext cx="534485" cy="534485"/>
          </a:xfrm>
          <a:prstGeom prst="rect">
            <a:avLst/>
          </a:prstGeom>
        </p:spPr>
      </p:pic>
      <p:pic>
        <p:nvPicPr>
          <p:cNvPr id="101" name="Billede 100" descr="delivery39.png"/>
          <p:cNvPicPr>
            <a:picLocks noChangeAspect="1"/>
          </p:cNvPicPr>
          <p:nvPr/>
        </p:nvPicPr>
        <p:blipFill>
          <a:blip r:embed="rId45" cstate="hqprint">
            <a:extLst>
              <a:ext uri="{28A0092B-C50C-407E-A947-70E740481C1C}">
                <a14:useLocalDpi xmlns:a14="http://schemas.microsoft.com/office/drawing/2010/main"/>
              </a:ext>
            </a:extLst>
          </a:blip>
          <a:stretch>
            <a:fillRect/>
          </a:stretch>
        </p:blipFill>
        <p:spPr>
          <a:xfrm>
            <a:off x="5433988" y="1163109"/>
            <a:ext cx="487705" cy="487705"/>
          </a:xfrm>
          <a:prstGeom prst="rect">
            <a:avLst/>
          </a:prstGeom>
        </p:spPr>
      </p:pic>
      <p:pic>
        <p:nvPicPr>
          <p:cNvPr id="102" name="Picture 6" descr="https://images.unsplash.com/photo-1453838956707-38a7aa3cd62d?crop=entropy&amp;dpr=1.00&amp;fit=crop&amp;fm=jpg&amp;h=875&amp;ixjsv=2.1.0&amp;ixlib=rb-0.3.5&amp;q=80&amp;w=1925"/>
          <p:cNvPicPr>
            <a:picLocks noChangeAspect="1" noChangeArrowheads="1"/>
          </p:cNvPicPr>
          <p:nvPr/>
        </p:nvPicPr>
        <p:blipFill>
          <a:blip r:embed="rId46" cstate="email">
            <a:extLst>
              <a:ext uri="{28A0092B-C50C-407E-A947-70E740481C1C}">
                <a14:useLocalDpi xmlns:a14="http://schemas.microsoft.com/office/drawing/2010/main"/>
              </a:ext>
            </a:extLst>
          </a:blip>
          <a:srcRect/>
          <a:stretch>
            <a:fillRect/>
          </a:stretch>
        </p:blipFill>
        <p:spPr bwMode="auto">
          <a:xfrm>
            <a:off x="10176984" y="2261327"/>
            <a:ext cx="1555459" cy="86406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4" descr="http://multimedia.pol.dk/archive/00819/Brug_af_sk_rme_i_st_819945y.jpg"/>
          <p:cNvPicPr>
            <a:picLocks noChangeAspect="1"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9988704" y="249642"/>
            <a:ext cx="1904640" cy="104776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7" descr="http://www.reigndesign.com/wp-content/uploads/2012/01/ios-logo.png"/>
          <p:cNvPicPr>
            <a:picLocks noChangeAspect="1" noChangeArrowheads="1"/>
          </p:cNvPicPr>
          <p:nvPr>
            <p:custDataLst>
              <p:tags r:id="rId1"/>
            </p:custDataLst>
          </p:nvPr>
        </p:nvPicPr>
        <p:blipFill>
          <a:blip r:embed="rId48" cstate="print">
            <a:extLst>
              <a:ext uri="{28A0092B-C50C-407E-A947-70E740481C1C}">
                <a14:useLocalDpi xmlns:a14="http://schemas.microsoft.com/office/drawing/2010/main"/>
              </a:ext>
            </a:extLst>
          </a:blip>
          <a:srcRect/>
          <a:stretch>
            <a:fillRect/>
          </a:stretch>
        </p:blipFill>
        <p:spPr bwMode="auto">
          <a:xfrm>
            <a:off x="8546704" y="3913613"/>
            <a:ext cx="387635" cy="25497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9" descr="http://www.android.com/media/android_vector.jpg"/>
          <p:cNvPicPr>
            <a:picLocks noChangeAspect="1" noChangeArrowheads="1"/>
          </p:cNvPicPr>
          <p:nvPr>
            <p:custDataLst>
              <p:tags r:id="rId2"/>
            </p:custDataLst>
          </p:nvPr>
        </p:nvPicPr>
        <p:blipFill>
          <a:blip r:embed="rId49" cstate="print">
            <a:extLst>
              <a:ext uri="{28A0092B-C50C-407E-A947-70E740481C1C}">
                <a14:useLocalDpi xmlns:a14="http://schemas.microsoft.com/office/drawing/2010/main"/>
              </a:ext>
            </a:extLst>
          </a:blip>
          <a:srcRect/>
          <a:stretch>
            <a:fillRect/>
          </a:stretch>
        </p:blipFill>
        <p:spPr bwMode="auto">
          <a:xfrm>
            <a:off x="9168819" y="3881140"/>
            <a:ext cx="461955" cy="346466"/>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1" descr="http://yourlogocollection.com/wp-content/uploads/2011/12/windows_phone_logo1.jpg"/>
          <p:cNvPicPr>
            <a:picLocks noChangeAspect="1" noChangeArrowheads="1"/>
          </p:cNvPicPr>
          <p:nvPr>
            <p:custDataLst>
              <p:tags r:id="rId3"/>
            </p:custDataLst>
          </p:nvPr>
        </p:nvPicPr>
        <p:blipFill>
          <a:blip r:embed="rId50" cstate="print">
            <a:extLst>
              <a:ext uri="{28A0092B-C50C-407E-A947-70E740481C1C}">
                <a14:useLocalDpi xmlns:a14="http://schemas.microsoft.com/office/drawing/2010/main"/>
              </a:ext>
            </a:extLst>
          </a:blip>
          <a:srcRect/>
          <a:stretch>
            <a:fillRect/>
          </a:stretch>
        </p:blipFill>
        <p:spPr bwMode="auto">
          <a:xfrm>
            <a:off x="9801720" y="3877820"/>
            <a:ext cx="521956" cy="44346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5"/>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5396031" y="3814132"/>
            <a:ext cx="540000" cy="540000"/>
          </a:xfrm>
          <a:prstGeom prst="rect">
            <a:avLst/>
          </a:prstGeom>
        </p:spPr>
      </p:pic>
      <p:pic>
        <p:nvPicPr>
          <p:cNvPr id="108" name="Picture 9"/>
          <p:cNvPicPr>
            <a:picLocks noChangeAspect="1"/>
          </p:cNvPicPr>
          <p:nvPr/>
        </p:nvPicPr>
        <p:blipFill>
          <a:blip r:embed="rId52" cstate="email">
            <a:extLst>
              <a:ext uri="{28A0092B-C50C-407E-A947-70E740481C1C}">
                <a14:useLocalDpi xmlns:a14="http://schemas.microsoft.com/office/drawing/2010/main"/>
              </a:ext>
            </a:extLst>
          </a:blip>
          <a:stretch>
            <a:fillRect/>
          </a:stretch>
        </p:blipFill>
        <p:spPr>
          <a:xfrm>
            <a:off x="5396031" y="2800062"/>
            <a:ext cx="540000" cy="540000"/>
          </a:xfrm>
          <a:prstGeom prst="rect">
            <a:avLst/>
          </a:prstGeom>
        </p:spPr>
      </p:pic>
      <p:pic>
        <p:nvPicPr>
          <p:cNvPr id="109" name="Picture 10"/>
          <p:cNvPicPr>
            <a:picLocks noChangeAspect="1"/>
          </p:cNvPicPr>
          <p:nvPr/>
        </p:nvPicPr>
        <p:blipFill>
          <a:blip r:embed="rId53" cstate="email">
            <a:extLst>
              <a:ext uri="{28A0092B-C50C-407E-A947-70E740481C1C}">
                <a14:useLocalDpi xmlns:a14="http://schemas.microsoft.com/office/drawing/2010/main"/>
              </a:ext>
            </a:extLst>
          </a:blip>
          <a:stretch>
            <a:fillRect/>
          </a:stretch>
        </p:blipFill>
        <p:spPr>
          <a:xfrm>
            <a:off x="5396031" y="1785992"/>
            <a:ext cx="540000" cy="540000"/>
          </a:xfrm>
          <a:prstGeom prst="rect">
            <a:avLst/>
          </a:prstGeom>
        </p:spPr>
      </p:pic>
      <p:pic>
        <p:nvPicPr>
          <p:cNvPr id="110" name="Picture 109"/>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3892570" y="2606068"/>
            <a:ext cx="458439" cy="458439"/>
          </a:xfrm>
          <a:prstGeom prst="rect">
            <a:avLst/>
          </a:prstGeom>
        </p:spPr>
      </p:pic>
      <p:pic>
        <p:nvPicPr>
          <p:cNvPr id="111" name="Picture 3"/>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4531975" y="2542170"/>
            <a:ext cx="398139" cy="398139"/>
          </a:xfrm>
          <a:prstGeom prst="rect">
            <a:avLst/>
          </a:prstGeom>
        </p:spPr>
      </p:pic>
      <p:pic>
        <p:nvPicPr>
          <p:cNvPr id="113" name="Picture 2" descr="C:\Users\ck.ea\AppData\Local\Temp\battery.png"/>
          <p:cNvPicPr>
            <a:picLocks noChangeAspect="1" noChangeArrowheads="1"/>
          </p:cNvPicPr>
          <p:nvPr/>
        </p:nvPicPr>
        <p:blipFill>
          <a:blip r:embed="rId56" cstate="hqprint">
            <a:extLst>
              <a:ext uri="{28A0092B-C50C-407E-A947-70E740481C1C}">
                <a14:useLocalDpi xmlns:a14="http://schemas.microsoft.com/office/drawing/2010/main"/>
              </a:ext>
            </a:extLst>
          </a:blip>
          <a:srcRect/>
          <a:stretch>
            <a:fillRect/>
          </a:stretch>
        </p:blipFill>
        <p:spPr bwMode="auto">
          <a:xfrm>
            <a:off x="3426750" y="3328575"/>
            <a:ext cx="400140" cy="40014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2" descr="C:\Users\ck.ea\AppData\Local\Temp\first-prize-trophy.png"/>
          <p:cNvPicPr>
            <a:picLocks noChangeAspect="1" noChangeArrowheads="1"/>
          </p:cNvPicPr>
          <p:nvPr/>
        </p:nvPicPr>
        <p:blipFill>
          <a:blip r:embed="rId57" cstate="hqprint">
            <a:extLst>
              <a:ext uri="{28A0092B-C50C-407E-A947-70E740481C1C}">
                <a14:useLocalDpi xmlns:a14="http://schemas.microsoft.com/office/drawing/2010/main"/>
              </a:ext>
            </a:extLst>
          </a:blip>
          <a:srcRect/>
          <a:stretch>
            <a:fillRect/>
          </a:stretch>
        </p:blipFill>
        <p:spPr bwMode="auto">
          <a:xfrm>
            <a:off x="4862062" y="3461690"/>
            <a:ext cx="404135" cy="404135"/>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3" descr="C:\Users\ck.ea\AppData\Local\Temp\funding.png"/>
          <p:cNvPicPr>
            <a:picLocks noChangeAspect="1" noChangeArrowheads="1"/>
          </p:cNvPicPr>
          <p:nvPr/>
        </p:nvPicPr>
        <p:blipFill>
          <a:blip r:embed="rId58" cstate="hqprint">
            <a:extLst>
              <a:ext uri="{28A0092B-C50C-407E-A947-70E740481C1C}">
                <a14:useLocalDpi xmlns:a14="http://schemas.microsoft.com/office/drawing/2010/main"/>
              </a:ext>
            </a:extLst>
          </a:blip>
          <a:srcRect/>
          <a:stretch>
            <a:fillRect/>
          </a:stretch>
        </p:blipFill>
        <p:spPr bwMode="auto">
          <a:xfrm>
            <a:off x="3868311" y="3334434"/>
            <a:ext cx="316271" cy="31627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4" descr="C:\Users\ck.ea\AppData\Local\Temp\wifi.png"/>
          <p:cNvPicPr>
            <a:picLocks noChangeAspect="1" noChangeArrowheads="1"/>
          </p:cNvPicPr>
          <p:nvPr/>
        </p:nvPicPr>
        <p:blipFill>
          <a:blip r:embed="rId59" cstate="hqprint">
            <a:extLst>
              <a:ext uri="{28A0092B-C50C-407E-A947-70E740481C1C}">
                <a14:useLocalDpi xmlns:a14="http://schemas.microsoft.com/office/drawing/2010/main"/>
              </a:ext>
            </a:extLst>
          </a:blip>
          <a:srcRect/>
          <a:stretch>
            <a:fillRect/>
          </a:stretch>
        </p:blipFill>
        <p:spPr bwMode="auto">
          <a:xfrm>
            <a:off x="3164854" y="3865825"/>
            <a:ext cx="391427" cy="391427"/>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5" descr="C:\Users\ck.ea\AppData\Local\Temp\businessman-with-suitcase-going-to-work-in-a-city.png"/>
          <p:cNvPicPr>
            <a:picLocks noChangeAspect="1" noChangeArrowheads="1"/>
          </p:cNvPicPr>
          <p:nvPr/>
        </p:nvPicPr>
        <p:blipFill>
          <a:blip r:embed="rId60" cstate="hqprint">
            <a:extLst>
              <a:ext uri="{28A0092B-C50C-407E-A947-70E740481C1C}">
                <a14:useLocalDpi xmlns:a14="http://schemas.microsoft.com/office/drawing/2010/main"/>
              </a:ext>
            </a:extLst>
          </a:blip>
          <a:srcRect/>
          <a:stretch>
            <a:fillRect/>
          </a:stretch>
        </p:blipFill>
        <p:spPr bwMode="auto">
          <a:xfrm>
            <a:off x="4444922" y="3205831"/>
            <a:ext cx="345384" cy="345384"/>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3" descr="C:\Users\ck.ea\AppData\Local\Temp\intersection-1.png"/>
          <p:cNvPicPr>
            <a:picLocks noChangeAspect="1" noChangeArrowheads="1"/>
          </p:cNvPicPr>
          <p:nvPr/>
        </p:nvPicPr>
        <p:blipFill>
          <a:blip r:embed="rId61" cstate="hqprint">
            <a:extLst>
              <a:ext uri="{28A0092B-C50C-407E-A947-70E740481C1C}">
                <a14:useLocalDpi xmlns:a14="http://schemas.microsoft.com/office/drawing/2010/main"/>
              </a:ext>
            </a:extLst>
          </a:blip>
          <a:srcRect/>
          <a:stretch>
            <a:fillRect/>
          </a:stretch>
        </p:blipFill>
        <p:spPr bwMode="auto">
          <a:xfrm>
            <a:off x="7477448" y="4578459"/>
            <a:ext cx="479241" cy="479241"/>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 descr="C:\Users\ck.ea\AppData\Local\Temp\mirror.png"/>
          <p:cNvPicPr>
            <a:picLocks noChangeAspect="1" noChangeArrowheads="1"/>
          </p:cNvPicPr>
          <p:nvPr/>
        </p:nvPicPr>
        <p:blipFill>
          <a:blip r:embed="rId62" cstate="hqprint">
            <a:extLst>
              <a:ext uri="{28A0092B-C50C-407E-A947-70E740481C1C}">
                <a14:useLocalDpi xmlns:a14="http://schemas.microsoft.com/office/drawing/2010/main"/>
              </a:ext>
            </a:extLst>
          </a:blip>
          <a:srcRect/>
          <a:stretch>
            <a:fillRect/>
          </a:stretch>
        </p:blipFill>
        <p:spPr bwMode="auto">
          <a:xfrm>
            <a:off x="6385016" y="4622039"/>
            <a:ext cx="392080" cy="39208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 descr="C:\Users\ck.ea\AppData\Local\Temp\smartphone.png"/>
          <p:cNvPicPr>
            <a:picLocks noChangeAspect="1" noChangeArrowheads="1"/>
          </p:cNvPicPr>
          <p:nvPr/>
        </p:nvPicPr>
        <p:blipFill>
          <a:blip r:embed="rId63" cstate="hqprint">
            <a:extLst>
              <a:ext uri="{28A0092B-C50C-407E-A947-70E740481C1C}">
                <a14:useLocalDpi xmlns:a14="http://schemas.microsoft.com/office/drawing/2010/main"/>
              </a:ext>
            </a:extLst>
          </a:blip>
          <a:srcRect/>
          <a:stretch>
            <a:fillRect/>
          </a:stretch>
        </p:blipFill>
        <p:spPr bwMode="auto">
          <a:xfrm>
            <a:off x="6854140" y="4676937"/>
            <a:ext cx="484759" cy="48475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2" descr="C:\Users\ck.ea\AppData\Local\Temp\advanced-options.png"/>
          <p:cNvPicPr>
            <a:picLocks noChangeAspect="1" noChangeArrowheads="1"/>
          </p:cNvPicPr>
          <p:nvPr/>
        </p:nvPicPr>
        <p:blipFill>
          <a:blip r:embed="rId64"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776392" y="3898983"/>
            <a:ext cx="626948" cy="626948"/>
          </a:xfrm>
          <a:prstGeom prst="rect">
            <a:avLst/>
          </a:prstGeom>
          <a:noFill/>
          <a:extLst>
            <a:ext uri="{909E8E84-426E-40DD-AFC4-6F175D3DCCD1}">
              <a14:hiddenFill xmlns:a14="http://schemas.microsoft.com/office/drawing/2010/main">
                <a:solidFill>
                  <a:srgbClr val="FFFFFF"/>
                </a:solidFill>
              </a14:hiddenFill>
            </a:ext>
          </a:extLst>
        </p:spPr>
      </p:pic>
      <p:grpSp>
        <p:nvGrpSpPr>
          <p:cNvPr id="123" name="Group 61"/>
          <p:cNvGrpSpPr/>
          <p:nvPr/>
        </p:nvGrpSpPr>
        <p:grpSpPr>
          <a:xfrm>
            <a:off x="4586668" y="4135663"/>
            <a:ext cx="320417" cy="449394"/>
            <a:chOff x="10031104" y="3740475"/>
            <a:chExt cx="879144" cy="879144"/>
          </a:xfrm>
        </p:grpSpPr>
        <p:pic>
          <p:nvPicPr>
            <p:cNvPr id="124" name="Picture 3" descr="C:\Users\ck.ea\AppData\Local\Temp\update-arrows.png"/>
            <p:cNvPicPr>
              <a:picLocks noChangeAspect="1" noChangeArrowheads="1"/>
            </p:cNvPicPr>
            <p:nvPr/>
          </p:nvPicPr>
          <p:blipFill>
            <a:blip r:embed="rId65"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031104" y="3740475"/>
              <a:ext cx="879144" cy="879144"/>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4" descr="C:\Users\ck.ea\AppData\Local\Temp\smartphone-1.png"/>
            <p:cNvPicPr>
              <a:picLocks noChangeAspect="1" noChangeArrowheads="1"/>
            </p:cNvPicPr>
            <p:nvPr/>
          </p:nvPicPr>
          <p:blipFill>
            <a:blip r:embed="rId66"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08007" y="3956722"/>
              <a:ext cx="509862" cy="509862"/>
            </a:xfrm>
            <a:prstGeom prst="rect">
              <a:avLst/>
            </a:prstGeom>
            <a:noFill/>
            <a:extLst>
              <a:ext uri="{909E8E84-426E-40DD-AFC4-6F175D3DCCD1}">
                <a14:hiddenFill xmlns:a14="http://schemas.microsoft.com/office/drawing/2010/main">
                  <a:solidFill>
                    <a:srgbClr val="FFFFFF"/>
                  </a:solidFill>
                </a14:hiddenFill>
              </a:ext>
            </a:extLst>
          </p:spPr>
        </p:pic>
      </p:grpSp>
      <p:pic>
        <p:nvPicPr>
          <p:cNvPr id="126" name="Picture 9"/>
          <p:cNvPicPr>
            <a:picLocks noChangeAspect="1"/>
          </p:cNvPicPr>
          <p:nvPr/>
        </p:nvPicPr>
        <p:blipFill>
          <a:blip r:embed="rId67" cstate="hq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41095" y="5106157"/>
            <a:ext cx="452132" cy="452132"/>
          </a:xfrm>
          <a:prstGeom prst="rect">
            <a:avLst/>
          </a:prstGeom>
        </p:spPr>
      </p:pic>
      <p:pic>
        <p:nvPicPr>
          <p:cNvPr id="127" name="Picture 2" descr="C:\Users\ck.ea\AppData\Local\Temp\scale.png"/>
          <p:cNvPicPr>
            <a:picLocks noChangeAspect="1" noChangeArrowheads="1"/>
          </p:cNvPicPr>
          <p:nvPr/>
        </p:nvPicPr>
        <p:blipFill>
          <a:blip r:embed="rId68"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3250" y="5714726"/>
            <a:ext cx="526361" cy="52636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3" descr="C:\Users\ck.ea\AppData\Local\Temp\presentation-board-with-graph.png"/>
          <p:cNvPicPr>
            <a:picLocks noChangeAspect="1" noChangeArrowheads="1"/>
          </p:cNvPicPr>
          <p:nvPr/>
        </p:nvPicPr>
        <p:blipFill>
          <a:blip r:embed="rId69"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87640" y="5551533"/>
            <a:ext cx="466348" cy="466348"/>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4" descr="C:\Users\ck.ea\AppData\Local\Temp\world-location.png"/>
          <p:cNvPicPr>
            <a:picLocks noChangeAspect="1" noChangeArrowheads="1"/>
          </p:cNvPicPr>
          <p:nvPr/>
        </p:nvPicPr>
        <p:blipFill>
          <a:blip r:embed="rId70" cstate="hq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19817" y="4603030"/>
            <a:ext cx="441160" cy="441160"/>
          </a:xfrm>
          <a:prstGeom prst="rect">
            <a:avLst/>
          </a:prstGeom>
          <a:noFill/>
          <a:extLst>
            <a:ext uri="{909E8E84-426E-40DD-AFC4-6F175D3DCCD1}">
              <a14:hiddenFill xmlns:a14="http://schemas.microsoft.com/office/drawing/2010/main">
                <a:solidFill>
                  <a:srgbClr val="FFFFFF"/>
                </a:solidFill>
              </a14:hiddenFill>
            </a:ext>
          </a:extLst>
        </p:spPr>
      </p:pic>
      <p:pic>
        <p:nvPicPr>
          <p:cNvPr id="130" name="Billede 129"/>
          <p:cNvPicPr>
            <a:picLocks noChangeAspect="1"/>
          </p:cNvPicPr>
          <p:nvPr/>
        </p:nvPicPr>
        <p:blipFill>
          <a:blip r:embed="rId71" cstate="hqprint">
            <a:extLst>
              <a:ext uri="{28A0092B-C50C-407E-A947-70E740481C1C}">
                <a14:useLocalDpi xmlns:a14="http://schemas.microsoft.com/office/drawing/2010/main"/>
              </a:ext>
            </a:extLst>
          </a:blip>
          <a:stretch>
            <a:fillRect/>
          </a:stretch>
        </p:blipFill>
        <p:spPr>
          <a:xfrm>
            <a:off x="3330345" y="4563191"/>
            <a:ext cx="497865" cy="497865"/>
          </a:xfrm>
          <a:prstGeom prst="rect">
            <a:avLst/>
          </a:prstGeom>
        </p:spPr>
      </p:pic>
      <p:pic>
        <p:nvPicPr>
          <p:cNvPr id="131" name="Billede 130"/>
          <p:cNvPicPr>
            <a:picLocks noChangeAspect="1"/>
          </p:cNvPicPr>
          <p:nvPr/>
        </p:nvPicPr>
        <p:blipFill>
          <a:blip r:embed="rId72" cstate="hqprint">
            <a:extLst>
              <a:ext uri="{28A0092B-C50C-407E-A947-70E740481C1C}">
                <a14:useLocalDpi xmlns:a14="http://schemas.microsoft.com/office/drawing/2010/main"/>
              </a:ext>
            </a:extLst>
          </a:blip>
          <a:stretch>
            <a:fillRect/>
          </a:stretch>
        </p:blipFill>
        <p:spPr>
          <a:xfrm>
            <a:off x="3853105" y="4594724"/>
            <a:ext cx="519139" cy="519139"/>
          </a:xfrm>
          <a:prstGeom prst="rect">
            <a:avLst/>
          </a:prstGeom>
        </p:spPr>
      </p:pic>
      <p:pic>
        <p:nvPicPr>
          <p:cNvPr id="132" name="Billede 131"/>
          <p:cNvPicPr>
            <a:picLocks noChangeAspect="1"/>
          </p:cNvPicPr>
          <p:nvPr/>
        </p:nvPicPr>
        <p:blipFill>
          <a:blip r:embed="rId73" cstate="hqprint">
            <a:extLst>
              <a:ext uri="{28A0092B-C50C-407E-A947-70E740481C1C}">
                <a14:useLocalDpi xmlns:a14="http://schemas.microsoft.com/office/drawing/2010/main"/>
              </a:ext>
            </a:extLst>
          </a:blip>
          <a:stretch>
            <a:fillRect/>
          </a:stretch>
        </p:blipFill>
        <p:spPr>
          <a:xfrm flipV="1">
            <a:off x="4426392" y="4762797"/>
            <a:ext cx="149440" cy="149440"/>
          </a:xfrm>
          <a:prstGeom prst="rect">
            <a:avLst/>
          </a:prstGeom>
        </p:spPr>
      </p:pic>
      <p:pic>
        <p:nvPicPr>
          <p:cNvPr id="133" name="Billede 132"/>
          <p:cNvPicPr>
            <a:picLocks noChangeAspect="1"/>
          </p:cNvPicPr>
          <p:nvPr/>
        </p:nvPicPr>
        <p:blipFill>
          <a:blip r:embed="rId74" cstate="hqprint">
            <a:extLst>
              <a:ext uri="{28A0092B-C50C-407E-A947-70E740481C1C}">
                <a14:useLocalDpi xmlns:a14="http://schemas.microsoft.com/office/drawing/2010/main"/>
              </a:ext>
            </a:extLst>
          </a:blip>
          <a:stretch>
            <a:fillRect/>
          </a:stretch>
        </p:blipFill>
        <p:spPr>
          <a:xfrm>
            <a:off x="1664090" y="5407605"/>
            <a:ext cx="340121" cy="340121"/>
          </a:xfrm>
          <a:prstGeom prst="rect">
            <a:avLst/>
          </a:prstGeom>
        </p:spPr>
      </p:pic>
      <p:pic>
        <p:nvPicPr>
          <p:cNvPr id="134" name="Billede 133"/>
          <p:cNvPicPr>
            <a:picLocks noChangeAspect="1"/>
          </p:cNvPicPr>
          <p:nvPr/>
        </p:nvPicPr>
        <p:blipFill>
          <a:blip r:embed="rId75" cstate="hqprint">
            <a:extLst>
              <a:ext uri="{28A0092B-C50C-407E-A947-70E740481C1C}">
                <a14:useLocalDpi xmlns:a14="http://schemas.microsoft.com/office/drawing/2010/main"/>
              </a:ext>
            </a:extLst>
          </a:blip>
          <a:stretch>
            <a:fillRect/>
          </a:stretch>
        </p:blipFill>
        <p:spPr>
          <a:xfrm>
            <a:off x="2070423" y="5380399"/>
            <a:ext cx="328943" cy="328943"/>
          </a:xfrm>
          <a:prstGeom prst="rect">
            <a:avLst/>
          </a:prstGeom>
        </p:spPr>
      </p:pic>
      <p:pic>
        <p:nvPicPr>
          <p:cNvPr id="135" name="Billede 134"/>
          <p:cNvPicPr>
            <a:picLocks noChangeAspect="1"/>
          </p:cNvPicPr>
          <p:nvPr/>
        </p:nvPicPr>
        <p:blipFill>
          <a:blip r:embed="rId76" cstate="hqprint">
            <a:extLst>
              <a:ext uri="{28A0092B-C50C-407E-A947-70E740481C1C}">
                <a14:useLocalDpi xmlns:a14="http://schemas.microsoft.com/office/drawing/2010/main"/>
              </a:ext>
            </a:extLst>
          </a:blip>
          <a:stretch>
            <a:fillRect/>
          </a:stretch>
        </p:blipFill>
        <p:spPr>
          <a:xfrm>
            <a:off x="1504239" y="5846821"/>
            <a:ext cx="444162" cy="444162"/>
          </a:xfrm>
          <a:prstGeom prst="rect">
            <a:avLst/>
          </a:prstGeom>
        </p:spPr>
      </p:pic>
      <p:pic>
        <p:nvPicPr>
          <p:cNvPr id="136" name="Billede 135"/>
          <p:cNvPicPr>
            <a:picLocks noChangeAspect="1"/>
          </p:cNvPicPr>
          <p:nvPr/>
        </p:nvPicPr>
        <p:blipFill>
          <a:blip r:embed="rId77" cstate="hqprint">
            <a:extLst>
              <a:ext uri="{28A0092B-C50C-407E-A947-70E740481C1C}">
                <a14:useLocalDpi xmlns:a14="http://schemas.microsoft.com/office/drawing/2010/main"/>
              </a:ext>
            </a:extLst>
          </a:blip>
          <a:stretch>
            <a:fillRect/>
          </a:stretch>
        </p:blipFill>
        <p:spPr>
          <a:xfrm>
            <a:off x="1651294" y="5902353"/>
            <a:ext cx="192863" cy="192863"/>
          </a:xfrm>
          <a:prstGeom prst="rect">
            <a:avLst/>
          </a:prstGeom>
        </p:spPr>
      </p:pic>
      <p:pic>
        <p:nvPicPr>
          <p:cNvPr id="137" name="Billede 136"/>
          <p:cNvPicPr>
            <a:picLocks noChangeAspect="1"/>
          </p:cNvPicPr>
          <p:nvPr/>
        </p:nvPicPr>
        <p:blipFill>
          <a:blip r:embed="rId78" cstate="hqprint">
            <a:extLst>
              <a:ext uri="{28A0092B-C50C-407E-A947-70E740481C1C}">
                <a14:useLocalDpi xmlns:a14="http://schemas.microsoft.com/office/drawing/2010/main"/>
              </a:ext>
            </a:extLst>
          </a:blip>
          <a:stretch>
            <a:fillRect/>
          </a:stretch>
        </p:blipFill>
        <p:spPr>
          <a:xfrm>
            <a:off x="955251" y="6265295"/>
            <a:ext cx="445161" cy="445161"/>
          </a:xfrm>
          <a:prstGeom prst="rect">
            <a:avLst/>
          </a:prstGeom>
        </p:spPr>
      </p:pic>
      <p:pic>
        <p:nvPicPr>
          <p:cNvPr id="138" name="Billede 137"/>
          <p:cNvPicPr>
            <a:picLocks noChangeAspect="1"/>
          </p:cNvPicPr>
          <p:nvPr/>
        </p:nvPicPr>
        <p:blipFill>
          <a:blip r:embed="rId79" cstate="hqprint">
            <a:extLst>
              <a:ext uri="{28A0092B-C50C-407E-A947-70E740481C1C}">
                <a14:useLocalDpi xmlns:a14="http://schemas.microsoft.com/office/drawing/2010/main"/>
              </a:ext>
            </a:extLst>
          </a:blip>
          <a:stretch>
            <a:fillRect/>
          </a:stretch>
        </p:blipFill>
        <p:spPr>
          <a:xfrm>
            <a:off x="1631802" y="6346515"/>
            <a:ext cx="333601" cy="333601"/>
          </a:xfrm>
          <a:prstGeom prst="rect">
            <a:avLst/>
          </a:prstGeom>
        </p:spPr>
      </p:pic>
      <p:pic>
        <p:nvPicPr>
          <p:cNvPr id="139" name="Billede 138"/>
          <p:cNvPicPr>
            <a:picLocks noChangeAspect="1"/>
          </p:cNvPicPr>
          <p:nvPr/>
        </p:nvPicPr>
        <p:blipFill>
          <a:blip r:embed="rId80" cstate="hqprint">
            <a:extLst>
              <a:ext uri="{28A0092B-C50C-407E-A947-70E740481C1C}">
                <a14:useLocalDpi xmlns:a14="http://schemas.microsoft.com/office/drawing/2010/main"/>
              </a:ext>
            </a:extLst>
          </a:blip>
          <a:stretch>
            <a:fillRect/>
          </a:stretch>
        </p:blipFill>
        <p:spPr>
          <a:xfrm>
            <a:off x="2044969" y="6346514"/>
            <a:ext cx="350499" cy="350499"/>
          </a:xfrm>
          <a:prstGeom prst="rect">
            <a:avLst/>
          </a:prstGeom>
        </p:spPr>
      </p:pic>
      <p:pic>
        <p:nvPicPr>
          <p:cNvPr id="140" name="Billede 139"/>
          <p:cNvPicPr>
            <a:picLocks noChangeAspect="1"/>
          </p:cNvPicPr>
          <p:nvPr/>
        </p:nvPicPr>
        <p:blipFill>
          <a:blip r:embed="rId81" cstate="hqprint">
            <a:extLst>
              <a:ext uri="{28A0092B-C50C-407E-A947-70E740481C1C}">
                <a14:useLocalDpi xmlns:a14="http://schemas.microsoft.com/office/drawing/2010/main"/>
              </a:ext>
            </a:extLst>
          </a:blip>
          <a:stretch>
            <a:fillRect/>
          </a:stretch>
        </p:blipFill>
        <p:spPr>
          <a:xfrm>
            <a:off x="2381886" y="6306035"/>
            <a:ext cx="430065" cy="430065"/>
          </a:xfrm>
          <a:prstGeom prst="rect">
            <a:avLst/>
          </a:prstGeom>
        </p:spPr>
      </p:pic>
      <p:pic>
        <p:nvPicPr>
          <p:cNvPr id="141" name="Billede 140"/>
          <p:cNvPicPr>
            <a:picLocks noChangeAspect="1"/>
          </p:cNvPicPr>
          <p:nvPr/>
        </p:nvPicPr>
        <p:blipFill>
          <a:blip r:embed="rId82" cstate="hqprint">
            <a:extLst>
              <a:ext uri="{28A0092B-C50C-407E-A947-70E740481C1C}">
                <a14:useLocalDpi xmlns:a14="http://schemas.microsoft.com/office/drawing/2010/main"/>
              </a:ext>
            </a:extLst>
          </a:blip>
          <a:stretch>
            <a:fillRect/>
          </a:stretch>
        </p:blipFill>
        <p:spPr>
          <a:xfrm>
            <a:off x="2616182" y="5314660"/>
            <a:ext cx="361774" cy="361774"/>
          </a:xfrm>
          <a:prstGeom prst="rect">
            <a:avLst/>
          </a:prstGeom>
        </p:spPr>
      </p:pic>
      <p:pic>
        <p:nvPicPr>
          <p:cNvPr id="142" name="Billede 141"/>
          <p:cNvPicPr>
            <a:picLocks noChangeAspect="1"/>
          </p:cNvPicPr>
          <p:nvPr/>
        </p:nvPicPr>
        <p:blipFill>
          <a:blip r:embed="rId83" cstate="hqprint">
            <a:extLst>
              <a:ext uri="{28A0092B-C50C-407E-A947-70E740481C1C}">
                <a14:useLocalDpi xmlns:a14="http://schemas.microsoft.com/office/drawing/2010/main"/>
              </a:ext>
            </a:extLst>
          </a:blip>
          <a:stretch>
            <a:fillRect/>
          </a:stretch>
        </p:blipFill>
        <p:spPr>
          <a:xfrm>
            <a:off x="2999735" y="5307499"/>
            <a:ext cx="477208" cy="477208"/>
          </a:xfrm>
          <a:prstGeom prst="rect">
            <a:avLst/>
          </a:prstGeom>
        </p:spPr>
      </p:pic>
      <p:sp>
        <p:nvSpPr>
          <p:cNvPr id="143" name="Down Arrow 9"/>
          <p:cNvSpPr/>
          <p:nvPr/>
        </p:nvSpPr>
        <p:spPr>
          <a:xfrm>
            <a:off x="8012194" y="4549681"/>
            <a:ext cx="728883" cy="494509"/>
          </a:xfrm>
          <a:prstGeom prst="down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panose="020B0604020202020204" pitchFamily="34" charset="0"/>
              <a:cs typeface="Arial" panose="020B0604020202020204" pitchFamily="34" charset="0"/>
            </a:endParaRPr>
          </a:p>
        </p:txBody>
      </p:sp>
      <p:pic>
        <p:nvPicPr>
          <p:cNvPr id="144" name="Billede 6"/>
          <p:cNvPicPr>
            <a:picLocks noChangeAspect="1"/>
          </p:cNvPicPr>
          <p:nvPr/>
        </p:nvPicPr>
        <p:blipFill>
          <a:blip r:embed="rId84"/>
          <a:stretch>
            <a:fillRect/>
          </a:stretch>
        </p:blipFill>
        <p:spPr>
          <a:xfrm>
            <a:off x="2943367" y="5909541"/>
            <a:ext cx="632244" cy="632244"/>
          </a:xfrm>
          <a:prstGeom prst="rect">
            <a:avLst/>
          </a:prstGeom>
        </p:spPr>
      </p:pic>
      <p:pic>
        <p:nvPicPr>
          <p:cNvPr id="145" name="Billede 144"/>
          <p:cNvPicPr>
            <a:picLocks noChangeAspect="1"/>
          </p:cNvPicPr>
          <p:nvPr/>
        </p:nvPicPr>
        <p:blipFill>
          <a:blip r:embed="rId85" cstate="hqprint">
            <a:extLst>
              <a:ext uri="{28A0092B-C50C-407E-A947-70E740481C1C}">
                <a14:useLocalDpi xmlns:a14="http://schemas.microsoft.com/office/drawing/2010/main"/>
              </a:ext>
            </a:extLst>
          </a:blip>
          <a:stretch>
            <a:fillRect/>
          </a:stretch>
        </p:blipFill>
        <p:spPr>
          <a:xfrm>
            <a:off x="3613170" y="5359188"/>
            <a:ext cx="425519" cy="425519"/>
          </a:xfrm>
          <a:prstGeom prst="rect">
            <a:avLst/>
          </a:prstGeom>
        </p:spPr>
      </p:pic>
      <p:pic>
        <p:nvPicPr>
          <p:cNvPr id="146" name="Billede 145"/>
          <p:cNvPicPr>
            <a:picLocks noChangeAspect="1"/>
          </p:cNvPicPr>
          <p:nvPr/>
        </p:nvPicPr>
        <p:blipFill>
          <a:blip r:embed="rId86" cstate="hqprint">
            <a:extLst>
              <a:ext uri="{28A0092B-C50C-407E-A947-70E740481C1C}">
                <a14:useLocalDpi xmlns:a14="http://schemas.microsoft.com/office/drawing/2010/main"/>
              </a:ext>
            </a:extLst>
          </a:blip>
          <a:stretch>
            <a:fillRect/>
          </a:stretch>
        </p:blipFill>
        <p:spPr>
          <a:xfrm>
            <a:off x="3947943" y="6123819"/>
            <a:ext cx="540651" cy="540651"/>
          </a:xfrm>
          <a:prstGeom prst="rect">
            <a:avLst/>
          </a:prstGeom>
        </p:spPr>
      </p:pic>
      <p:pic>
        <p:nvPicPr>
          <p:cNvPr id="147" name="Billede 146"/>
          <p:cNvPicPr>
            <a:picLocks noChangeAspect="1"/>
          </p:cNvPicPr>
          <p:nvPr/>
        </p:nvPicPr>
        <p:blipFill>
          <a:blip r:embed="rId87" cstate="hqprint">
            <a:extLst>
              <a:ext uri="{28A0092B-C50C-407E-A947-70E740481C1C}">
                <a14:useLocalDpi xmlns:a14="http://schemas.microsoft.com/office/drawing/2010/main"/>
              </a:ext>
            </a:extLst>
          </a:blip>
          <a:stretch>
            <a:fillRect/>
          </a:stretch>
        </p:blipFill>
        <p:spPr>
          <a:xfrm>
            <a:off x="4101772" y="5476007"/>
            <a:ext cx="399375" cy="399375"/>
          </a:xfrm>
          <a:prstGeom prst="rect">
            <a:avLst/>
          </a:prstGeom>
        </p:spPr>
      </p:pic>
      <p:pic>
        <p:nvPicPr>
          <p:cNvPr id="148" name="Billede 147"/>
          <p:cNvPicPr>
            <a:picLocks noChangeAspect="1"/>
          </p:cNvPicPr>
          <p:nvPr/>
        </p:nvPicPr>
        <p:blipFill>
          <a:blip r:embed="rId88" cstate="hqprint">
            <a:extLst>
              <a:ext uri="{28A0092B-C50C-407E-A947-70E740481C1C}">
                <a14:useLocalDpi xmlns:a14="http://schemas.microsoft.com/office/drawing/2010/main"/>
              </a:ext>
            </a:extLst>
          </a:blip>
          <a:stretch>
            <a:fillRect/>
          </a:stretch>
        </p:blipFill>
        <p:spPr>
          <a:xfrm>
            <a:off x="5494746" y="4412578"/>
            <a:ext cx="546461" cy="546461"/>
          </a:xfrm>
          <a:prstGeom prst="rect">
            <a:avLst/>
          </a:prstGeom>
        </p:spPr>
      </p:pic>
      <p:pic>
        <p:nvPicPr>
          <p:cNvPr id="149" name="Billede 148"/>
          <p:cNvPicPr>
            <a:picLocks noChangeAspect="1"/>
          </p:cNvPicPr>
          <p:nvPr/>
        </p:nvPicPr>
        <p:blipFill>
          <a:blip r:embed="rId89" cstate="hqprint">
            <a:extLst>
              <a:ext uri="{28A0092B-C50C-407E-A947-70E740481C1C}">
                <a14:useLocalDpi xmlns:a14="http://schemas.microsoft.com/office/drawing/2010/main"/>
              </a:ext>
            </a:extLst>
          </a:blip>
          <a:stretch>
            <a:fillRect/>
          </a:stretch>
        </p:blipFill>
        <p:spPr>
          <a:xfrm>
            <a:off x="4925429" y="2356093"/>
            <a:ext cx="537748" cy="537748"/>
          </a:xfrm>
          <a:prstGeom prst="rect">
            <a:avLst/>
          </a:prstGeom>
        </p:spPr>
      </p:pic>
      <p:pic>
        <p:nvPicPr>
          <p:cNvPr id="150" name="Billede 149"/>
          <p:cNvPicPr>
            <a:picLocks noChangeAspect="1"/>
          </p:cNvPicPr>
          <p:nvPr/>
        </p:nvPicPr>
        <p:blipFill>
          <a:blip r:embed="rId90" cstate="hqprint">
            <a:biLevel thresh="75000"/>
            <a:extLst>
              <a:ext uri="{28A0092B-C50C-407E-A947-70E740481C1C}">
                <a14:useLocalDpi xmlns:a14="http://schemas.microsoft.com/office/drawing/2010/main"/>
              </a:ext>
            </a:extLst>
          </a:blip>
          <a:stretch>
            <a:fillRect/>
          </a:stretch>
        </p:blipFill>
        <p:spPr>
          <a:xfrm>
            <a:off x="4870839" y="4276878"/>
            <a:ext cx="760944" cy="760944"/>
          </a:xfrm>
          <a:prstGeom prst="rect">
            <a:avLst/>
          </a:prstGeom>
        </p:spPr>
      </p:pic>
      <p:pic>
        <p:nvPicPr>
          <p:cNvPr id="151" name="Billede 150"/>
          <p:cNvPicPr>
            <a:picLocks noChangeAspect="1"/>
          </p:cNvPicPr>
          <p:nvPr/>
        </p:nvPicPr>
        <p:blipFill>
          <a:blip r:embed="rId91" cstate="hqprint">
            <a:extLst>
              <a:ext uri="{28A0092B-C50C-407E-A947-70E740481C1C}">
                <a14:useLocalDpi xmlns:a14="http://schemas.microsoft.com/office/drawing/2010/main"/>
              </a:ext>
            </a:extLst>
          </a:blip>
          <a:stretch>
            <a:fillRect/>
          </a:stretch>
        </p:blipFill>
        <p:spPr>
          <a:xfrm>
            <a:off x="4840378" y="3095537"/>
            <a:ext cx="432808" cy="414630"/>
          </a:xfrm>
          <a:prstGeom prst="rect">
            <a:avLst/>
          </a:prstGeom>
        </p:spPr>
      </p:pic>
      <p:pic>
        <p:nvPicPr>
          <p:cNvPr id="152" name="Billede 151"/>
          <p:cNvPicPr>
            <a:picLocks noChangeAspect="1"/>
          </p:cNvPicPr>
          <p:nvPr/>
        </p:nvPicPr>
        <p:blipFill>
          <a:blip r:embed="rId92" cstate="hqprint">
            <a:extLst>
              <a:ext uri="{28A0092B-C50C-407E-A947-70E740481C1C}">
                <a14:useLocalDpi xmlns:a14="http://schemas.microsoft.com/office/drawing/2010/main"/>
              </a:ext>
            </a:extLst>
          </a:blip>
          <a:stretch>
            <a:fillRect/>
          </a:stretch>
        </p:blipFill>
        <p:spPr>
          <a:xfrm>
            <a:off x="5592692" y="5030416"/>
            <a:ext cx="445591" cy="445591"/>
          </a:xfrm>
          <a:prstGeom prst="rect">
            <a:avLst/>
          </a:prstGeom>
        </p:spPr>
      </p:pic>
      <p:pic>
        <p:nvPicPr>
          <p:cNvPr id="153" name="Billede 152"/>
          <p:cNvPicPr>
            <a:picLocks noChangeAspect="1"/>
          </p:cNvPicPr>
          <p:nvPr/>
        </p:nvPicPr>
        <p:blipFill>
          <a:blip r:embed="rId93" cstate="hqprint">
            <a:extLst>
              <a:ext uri="{28A0092B-C50C-407E-A947-70E740481C1C}">
                <a14:useLocalDpi xmlns:a14="http://schemas.microsoft.com/office/drawing/2010/main"/>
              </a:ext>
            </a:extLst>
          </a:blip>
          <a:stretch>
            <a:fillRect/>
          </a:stretch>
        </p:blipFill>
        <p:spPr>
          <a:xfrm>
            <a:off x="4432454" y="4906228"/>
            <a:ext cx="542647" cy="542647"/>
          </a:xfrm>
          <a:prstGeom prst="rect">
            <a:avLst/>
          </a:prstGeom>
        </p:spPr>
      </p:pic>
      <p:pic>
        <p:nvPicPr>
          <p:cNvPr id="154" name="Billede 153"/>
          <p:cNvPicPr>
            <a:picLocks noChangeAspect="1"/>
          </p:cNvPicPr>
          <p:nvPr/>
        </p:nvPicPr>
        <p:blipFill>
          <a:blip r:embed="rId94" cstate="hqprint">
            <a:extLst>
              <a:ext uri="{28A0092B-C50C-407E-A947-70E740481C1C}">
                <a14:useLocalDpi xmlns:a14="http://schemas.microsoft.com/office/drawing/2010/main"/>
              </a:ext>
            </a:extLst>
          </a:blip>
          <a:stretch>
            <a:fillRect/>
          </a:stretch>
        </p:blipFill>
        <p:spPr>
          <a:xfrm>
            <a:off x="4998528" y="5066354"/>
            <a:ext cx="507838" cy="507838"/>
          </a:xfrm>
          <a:prstGeom prst="rect">
            <a:avLst/>
          </a:prstGeom>
        </p:spPr>
      </p:pic>
      <p:pic>
        <p:nvPicPr>
          <p:cNvPr id="155" name="Billede 154"/>
          <p:cNvPicPr>
            <a:picLocks noChangeAspect="1"/>
          </p:cNvPicPr>
          <p:nvPr/>
        </p:nvPicPr>
        <p:blipFill>
          <a:blip r:embed="rId95" cstate="hqprint">
            <a:extLst>
              <a:ext uri="{28A0092B-C50C-407E-A947-70E740481C1C}">
                <a14:useLocalDpi xmlns:a14="http://schemas.microsoft.com/office/drawing/2010/main"/>
              </a:ext>
            </a:extLst>
          </a:blip>
          <a:stretch>
            <a:fillRect/>
          </a:stretch>
        </p:blipFill>
        <p:spPr>
          <a:xfrm>
            <a:off x="4586541" y="5638149"/>
            <a:ext cx="447385" cy="447385"/>
          </a:xfrm>
          <a:prstGeom prst="rect">
            <a:avLst/>
          </a:prstGeom>
        </p:spPr>
      </p:pic>
      <p:sp>
        <p:nvSpPr>
          <p:cNvPr id="156" name="Oval 80"/>
          <p:cNvSpPr/>
          <p:nvPr/>
        </p:nvSpPr>
        <p:spPr>
          <a:xfrm>
            <a:off x="4966700" y="5598653"/>
            <a:ext cx="184361" cy="202186"/>
          </a:xfrm>
          <a:prstGeom prst="ellipse">
            <a:avLst/>
          </a:prstGeom>
          <a:solidFill>
            <a:srgbClr val="FF0000"/>
          </a:solidFill>
          <a:ln w="317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da-DK" sz="1100" b="1" dirty="0">
                <a:solidFill>
                  <a:srgbClr val="FFFFFF"/>
                </a:solidFill>
                <a:latin typeface="Arial" panose="020B0604020202020204" pitchFamily="34" charset="0"/>
                <a:cs typeface="Arial" panose="020B0604020202020204" pitchFamily="34" charset="0"/>
              </a:rPr>
              <a:t>1</a:t>
            </a:r>
          </a:p>
        </p:txBody>
      </p:sp>
      <p:pic>
        <p:nvPicPr>
          <p:cNvPr id="157" name="Billede 156"/>
          <p:cNvPicPr>
            <a:picLocks noChangeAspect="1"/>
          </p:cNvPicPr>
          <p:nvPr/>
        </p:nvPicPr>
        <p:blipFill>
          <a:blip r:embed="rId96" cstate="hqprint">
            <a:extLst>
              <a:ext uri="{28A0092B-C50C-407E-A947-70E740481C1C}">
                <a14:useLocalDpi xmlns:a14="http://schemas.microsoft.com/office/drawing/2010/main"/>
              </a:ext>
            </a:extLst>
          </a:blip>
          <a:stretch>
            <a:fillRect/>
          </a:stretch>
        </p:blipFill>
        <p:spPr>
          <a:xfrm>
            <a:off x="4624296" y="6107085"/>
            <a:ext cx="440863" cy="440863"/>
          </a:xfrm>
          <a:prstGeom prst="rect">
            <a:avLst/>
          </a:prstGeom>
        </p:spPr>
      </p:pic>
      <p:pic>
        <p:nvPicPr>
          <p:cNvPr id="158" name="Picture 31"/>
          <p:cNvPicPr>
            <a:picLocks noChangeAspect="1"/>
          </p:cNvPicPr>
          <p:nvPr/>
        </p:nvPicPr>
        <p:blipFill>
          <a:blip r:embed="rId97">
            <a:extLst>
              <a:ext uri="{28A0092B-C50C-407E-A947-70E740481C1C}">
                <a14:useLocalDpi xmlns:a14="http://schemas.microsoft.com/office/drawing/2010/main"/>
              </a:ext>
            </a:extLst>
          </a:blip>
          <a:stretch>
            <a:fillRect/>
          </a:stretch>
        </p:blipFill>
        <p:spPr>
          <a:xfrm>
            <a:off x="5215280" y="5591296"/>
            <a:ext cx="426585" cy="426585"/>
          </a:xfrm>
          <a:prstGeom prst="rect">
            <a:avLst/>
          </a:prstGeom>
        </p:spPr>
      </p:pic>
      <p:pic>
        <p:nvPicPr>
          <p:cNvPr id="159" name="Billede 158"/>
          <p:cNvPicPr>
            <a:picLocks noChangeAspect="1"/>
          </p:cNvPicPr>
          <p:nvPr/>
        </p:nvPicPr>
        <p:blipFill>
          <a:blip r:embed="rId98" cstate="hqprint">
            <a:extLst>
              <a:ext uri="{28A0092B-C50C-407E-A947-70E740481C1C}">
                <a14:useLocalDpi xmlns:a14="http://schemas.microsoft.com/office/drawing/2010/main"/>
              </a:ext>
            </a:extLst>
          </a:blip>
          <a:stretch>
            <a:fillRect/>
          </a:stretch>
        </p:blipFill>
        <p:spPr>
          <a:xfrm>
            <a:off x="5230007" y="6224526"/>
            <a:ext cx="362685" cy="362685"/>
          </a:xfrm>
          <a:prstGeom prst="rect">
            <a:avLst/>
          </a:prstGeom>
        </p:spPr>
      </p:pic>
      <p:pic>
        <p:nvPicPr>
          <p:cNvPr id="160" name="Billede 159"/>
          <p:cNvPicPr>
            <a:picLocks noChangeAspect="1"/>
          </p:cNvPicPr>
          <p:nvPr/>
        </p:nvPicPr>
        <p:blipFill>
          <a:blip r:embed="rId99" cstate="hqprint">
            <a:extLst>
              <a:ext uri="{28A0092B-C50C-407E-A947-70E740481C1C}">
                <a14:useLocalDpi xmlns:a14="http://schemas.microsoft.com/office/drawing/2010/main"/>
              </a:ext>
            </a:extLst>
          </a:blip>
          <a:stretch>
            <a:fillRect/>
          </a:stretch>
        </p:blipFill>
        <p:spPr>
          <a:xfrm>
            <a:off x="5692568" y="5538214"/>
            <a:ext cx="405772" cy="405772"/>
          </a:xfrm>
          <a:prstGeom prst="rect">
            <a:avLst/>
          </a:prstGeom>
        </p:spPr>
      </p:pic>
      <p:pic>
        <p:nvPicPr>
          <p:cNvPr id="161" name="Picture 2" descr="rice(1).png"/>
          <p:cNvPicPr>
            <a:picLocks noChangeAspect="1"/>
          </p:cNvPicPr>
          <p:nvPr/>
        </p:nvPicPr>
        <p:blipFill>
          <a:blip r:embed="rId100" cstate="hqprint">
            <a:extLst>
              <a:ext uri="{28A0092B-C50C-407E-A947-70E740481C1C}">
                <a14:useLocalDpi xmlns:a14="http://schemas.microsoft.com/office/drawing/2010/main"/>
              </a:ext>
            </a:extLst>
          </a:blip>
          <a:stretch>
            <a:fillRect/>
          </a:stretch>
        </p:blipFill>
        <p:spPr>
          <a:xfrm>
            <a:off x="6362366" y="5330721"/>
            <a:ext cx="526031" cy="533771"/>
          </a:xfrm>
          <a:prstGeom prst="rect">
            <a:avLst/>
          </a:prstGeom>
        </p:spPr>
      </p:pic>
      <p:pic>
        <p:nvPicPr>
          <p:cNvPr id="162" name="Picture 26" descr="sewing-machine.png"/>
          <p:cNvPicPr>
            <a:picLocks noChangeAspect="1"/>
          </p:cNvPicPr>
          <p:nvPr/>
        </p:nvPicPr>
        <p:blipFill>
          <a:blip r:embed="rId101" cstate="hqprint">
            <a:extLst>
              <a:ext uri="{28A0092B-C50C-407E-A947-70E740481C1C}">
                <a14:useLocalDpi xmlns:a14="http://schemas.microsoft.com/office/drawing/2010/main"/>
              </a:ext>
            </a:extLst>
          </a:blip>
          <a:stretch>
            <a:fillRect/>
          </a:stretch>
        </p:blipFill>
        <p:spPr>
          <a:xfrm>
            <a:off x="7124020" y="5199133"/>
            <a:ext cx="539825" cy="541967"/>
          </a:xfrm>
          <a:prstGeom prst="rect">
            <a:avLst/>
          </a:prstGeom>
        </p:spPr>
      </p:pic>
      <p:pic>
        <p:nvPicPr>
          <p:cNvPr id="163" name="Picture 27" descr="syringe.png"/>
          <p:cNvPicPr>
            <a:picLocks noChangeAspect="1"/>
          </p:cNvPicPr>
          <p:nvPr/>
        </p:nvPicPr>
        <p:blipFill>
          <a:blip r:embed="rId102" cstate="hqprint">
            <a:extLst>
              <a:ext uri="{28A0092B-C50C-407E-A947-70E740481C1C}">
                <a14:useLocalDpi xmlns:a14="http://schemas.microsoft.com/office/drawing/2010/main"/>
              </a:ext>
            </a:extLst>
          </a:blip>
          <a:stretch>
            <a:fillRect/>
          </a:stretch>
        </p:blipFill>
        <p:spPr>
          <a:xfrm>
            <a:off x="7829595" y="5102198"/>
            <a:ext cx="554458" cy="556401"/>
          </a:xfrm>
          <a:prstGeom prst="rect">
            <a:avLst/>
          </a:prstGeom>
        </p:spPr>
      </p:pic>
      <p:pic>
        <p:nvPicPr>
          <p:cNvPr id="164" name="Picture 15" descr="ticket-booth.png"/>
          <p:cNvPicPr>
            <a:picLocks noChangeAspect="1"/>
          </p:cNvPicPr>
          <p:nvPr/>
        </p:nvPicPr>
        <p:blipFill>
          <a:blip r:embed="rId103" cstate="hqprint">
            <a:extLst>
              <a:ext uri="{28A0092B-C50C-407E-A947-70E740481C1C}">
                <a14:useLocalDpi xmlns:a14="http://schemas.microsoft.com/office/drawing/2010/main"/>
              </a:ext>
            </a:extLst>
          </a:blip>
          <a:stretch>
            <a:fillRect/>
          </a:stretch>
        </p:blipFill>
        <p:spPr>
          <a:xfrm>
            <a:off x="5668086" y="2188900"/>
            <a:ext cx="633158" cy="633158"/>
          </a:xfrm>
          <a:prstGeom prst="rect">
            <a:avLst/>
          </a:prstGeom>
        </p:spPr>
      </p:pic>
      <p:pic>
        <p:nvPicPr>
          <p:cNvPr id="165" name="Picture 15" descr="clothes(1).png"/>
          <p:cNvPicPr>
            <a:picLocks noChangeAspect="1"/>
          </p:cNvPicPr>
          <p:nvPr/>
        </p:nvPicPr>
        <p:blipFill>
          <a:blip r:embed="rId104" cstate="hqprint">
            <a:extLst>
              <a:ext uri="{28A0092B-C50C-407E-A947-70E740481C1C}">
                <a14:useLocalDpi xmlns:a14="http://schemas.microsoft.com/office/drawing/2010/main"/>
              </a:ext>
            </a:extLst>
          </a:blip>
          <a:stretch>
            <a:fillRect/>
          </a:stretch>
        </p:blipFill>
        <p:spPr>
          <a:xfrm>
            <a:off x="10638584" y="3608094"/>
            <a:ext cx="513673" cy="514886"/>
          </a:xfrm>
          <a:prstGeom prst="rect">
            <a:avLst/>
          </a:prstGeom>
        </p:spPr>
      </p:pic>
      <p:pic>
        <p:nvPicPr>
          <p:cNvPr id="166" name="Picture 11" descr="trowel.png"/>
          <p:cNvPicPr>
            <a:picLocks noChangeAspect="1"/>
          </p:cNvPicPr>
          <p:nvPr/>
        </p:nvPicPr>
        <p:blipFill>
          <a:blip r:embed="rId105" cstate="hqprint">
            <a:extLst>
              <a:ext uri="{28A0092B-C50C-407E-A947-70E740481C1C}">
                <a14:useLocalDpi xmlns:a14="http://schemas.microsoft.com/office/drawing/2010/main"/>
              </a:ext>
            </a:extLst>
          </a:blip>
          <a:stretch>
            <a:fillRect/>
          </a:stretch>
        </p:blipFill>
        <p:spPr>
          <a:xfrm>
            <a:off x="5624586" y="6153723"/>
            <a:ext cx="524712" cy="524712"/>
          </a:xfrm>
          <a:prstGeom prst="rect">
            <a:avLst/>
          </a:prstGeom>
        </p:spPr>
      </p:pic>
      <p:pic>
        <p:nvPicPr>
          <p:cNvPr id="167" name="Picture 17" descr="pencil.png"/>
          <p:cNvPicPr>
            <a:picLocks noChangeAspect="1"/>
          </p:cNvPicPr>
          <p:nvPr/>
        </p:nvPicPr>
        <p:blipFill>
          <a:blip r:embed="rId106" cstate="hqprint">
            <a:extLst>
              <a:ext uri="{28A0092B-C50C-407E-A947-70E740481C1C}">
                <a14:useLocalDpi xmlns:a14="http://schemas.microsoft.com/office/drawing/2010/main"/>
              </a:ext>
            </a:extLst>
          </a:blip>
          <a:stretch>
            <a:fillRect/>
          </a:stretch>
        </p:blipFill>
        <p:spPr>
          <a:xfrm>
            <a:off x="4213626" y="3628784"/>
            <a:ext cx="496424" cy="496116"/>
          </a:xfrm>
          <a:prstGeom prst="rect">
            <a:avLst/>
          </a:prstGeom>
        </p:spPr>
      </p:pic>
      <p:pic>
        <p:nvPicPr>
          <p:cNvPr id="168" name="Picture 21"/>
          <p:cNvPicPr>
            <a:picLocks noChangeAspect="1"/>
          </p:cNvPicPr>
          <p:nvPr/>
        </p:nvPicPr>
        <p:blipFill>
          <a:blip r:embed="rId107" cstate="hqprint">
            <a:extLst>
              <a:ext uri="{28A0092B-C50C-407E-A947-70E740481C1C}">
                <a14:useLocalDpi xmlns:a14="http://schemas.microsoft.com/office/drawing/2010/main"/>
              </a:ext>
            </a:extLst>
          </a:blip>
          <a:stretch>
            <a:fillRect/>
          </a:stretch>
        </p:blipFill>
        <p:spPr>
          <a:xfrm>
            <a:off x="192132" y="6346121"/>
            <a:ext cx="632622" cy="437969"/>
          </a:xfrm>
          <a:prstGeom prst="rect">
            <a:avLst/>
          </a:prstGeom>
        </p:spPr>
      </p:pic>
      <p:pic>
        <p:nvPicPr>
          <p:cNvPr id="169" name="Picture 50"/>
          <p:cNvPicPr>
            <a:picLocks noChangeAspect="1"/>
          </p:cNvPicPr>
          <p:nvPr/>
        </p:nvPicPr>
        <p:blipFill>
          <a:blip r:embed="rId108" cstate="hqprint">
            <a:extLst>
              <a:ext uri="{28A0092B-C50C-407E-A947-70E740481C1C}">
                <a14:useLocalDpi xmlns:a14="http://schemas.microsoft.com/office/drawing/2010/main"/>
              </a:ext>
            </a:extLst>
          </a:blip>
          <a:stretch>
            <a:fillRect/>
          </a:stretch>
        </p:blipFill>
        <p:spPr>
          <a:xfrm>
            <a:off x="848187" y="5036601"/>
            <a:ext cx="481436" cy="481436"/>
          </a:xfrm>
          <a:prstGeom prst="rect">
            <a:avLst/>
          </a:prstGeom>
        </p:spPr>
      </p:pic>
      <p:pic>
        <p:nvPicPr>
          <p:cNvPr id="170" name="Billede 169"/>
          <p:cNvPicPr>
            <a:picLocks noChangeAspect="1"/>
          </p:cNvPicPr>
          <p:nvPr/>
        </p:nvPicPr>
        <p:blipFill>
          <a:blip r:embed="rId109" cstate="hqprint">
            <a:extLst>
              <a:ext uri="{28A0092B-C50C-407E-A947-70E740481C1C}">
                <a14:useLocalDpi xmlns:a14="http://schemas.microsoft.com/office/drawing/2010/main"/>
              </a:ext>
            </a:extLst>
          </a:blip>
          <a:stretch>
            <a:fillRect/>
          </a:stretch>
        </p:blipFill>
        <p:spPr>
          <a:xfrm>
            <a:off x="1478028" y="942761"/>
            <a:ext cx="620461" cy="327298"/>
          </a:xfrm>
          <a:prstGeom prst="rect">
            <a:avLst/>
          </a:prstGeom>
        </p:spPr>
      </p:pic>
      <p:pic>
        <p:nvPicPr>
          <p:cNvPr id="171" name="Billede 170"/>
          <p:cNvPicPr>
            <a:picLocks noChangeAspect="1"/>
          </p:cNvPicPr>
          <p:nvPr/>
        </p:nvPicPr>
        <p:blipFill>
          <a:blip r:embed="rId110" cstate="hqprint">
            <a:extLst>
              <a:ext uri="{28A0092B-C50C-407E-A947-70E740481C1C}">
                <a14:useLocalDpi xmlns:a14="http://schemas.microsoft.com/office/drawing/2010/main"/>
              </a:ext>
            </a:extLst>
          </a:blip>
          <a:stretch>
            <a:fillRect/>
          </a:stretch>
        </p:blipFill>
        <p:spPr>
          <a:xfrm>
            <a:off x="1521144" y="3139454"/>
            <a:ext cx="395536" cy="395536"/>
          </a:xfrm>
          <a:prstGeom prst="rect">
            <a:avLst/>
          </a:prstGeom>
        </p:spPr>
      </p:pic>
      <p:pic>
        <p:nvPicPr>
          <p:cNvPr id="172" name="Billede 171"/>
          <p:cNvPicPr>
            <a:picLocks noChangeAspect="1"/>
          </p:cNvPicPr>
          <p:nvPr/>
        </p:nvPicPr>
        <p:blipFill>
          <a:blip r:embed="rId111" cstate="hqprint">
            <a:extLst>
              <a:ext uri="{28A0092B-C50C-407E-A947-70E740481C1C}">
                <a14:useLocalDpi xmlns:a14="http://schemas.microsoft.com/office/drawing/2010/main"/>
              </a:ext>
            </a:extLst>
          </a:blip>
          <a:stretch>
            <a:fillRect/>
          </a:stretch>
        </p:blipFill>
        <p:spPr>
          <a:xfrm>
            <a:off x="5742599" y="3245084"/>
            <a:ext cx="433836" cy="433836"/>
          </a:xfrm>
          <a:prstGeom prst="rect">
            <a:avLst/>
          </a:prstGeom>
        </p:spPr>
      </p:pic>
      <p:pic>
        <p:nvPicPr>
          <p:cNvPr id="173" name="Billede 172"/>
          <p:cNvPicPr>
            <a:picLocks noChangeAspect="1"/>
          </p:cNvPicPr>
          <p:nvPr/>
        </p:nvPicPr>
        <p:blipFill>
          <a:blip r:embed="rId112" cstate="hqprint">
            <a:extLst>
              <a:ext uri="{28A0092B-C50C-407E-A947-70E740481C1C}">
                <a14:useLocalDpi xmlns:a14="http://schemas.microsoft.com/office/drawing/2010/main"/>
              </a:ext>
            </a:extLst>
          </a:blip>
          <a:stretch>
            <a:fillRect/>
          </a:stretch>
        </p:blipFill>
        <p:spPr>
          <a:xfrm>
            <a:off x="4960799" y="4024618"/>
            <a:ext cx="298081" cy="298081"/>
          </a:xfrm>
          <a:prstGeom prst="rect">
            <a:avLst/>
          </a:prstGeom>
        </p:spPr>
      </p:pic>
      <p:pic>
        <p:nvPicPr>
          <p:cNvPr id="174" name="Picture 1"/>
          <p:cNvPicPr>
            <a:picLocks noChangeAspect="1"/>
          </p:cNvPicPr>
          <p:nvPr/>
        </p:nvPicPr>
        <p:blipFill>
          <a:blip r:embed="rId113" cstate="hqprint">
            <a:extLst>
              <a:ext uri="{28A0092B-C50C-407E-A947-70E740481C1C}">
                <a14:useLocalDpi xmlns:a14="http://schemas.microsoft.com/office/drawing/2010/main"/>
              </a:ext>
            </a:extLst>
          </a:blip>
          <a:stretch>
            <a:fillRect/>
          </a:stretch>
        </p:blipFill>
        <p:spPr>
          <a:xfrm>
            <a:off x="56795" y="2602738"/>
            <a:ext cx="246238" cy="246238"/>
          </a:xfrm>
          <a:prstGeom prst="rect">
            <a:avLst/>
          </a:prstGeom>
        </p:spPr>
      </p:pic>
      <p:pic>
        <p:nvPicPr>
          <p:cNvPr id="175" name="Picture 2"/>
          <p:cNvPicPr>
            <a:picLocks noChangeAspect="1"/>
          </p:cNvPicPr>
          <p:nvPr/>
        </p:nvPicPr>
        <p:blipFill>
          <a:blip r:embed="rId114" cstate="hqprint">
            <a:extLst>
              <a:ext uri="{28A0092B-C50C-407E-A947-70E740481C1C}">
                <a14:useLocalDpi xmlns:a14="http://schemas.microsoft.com/office/drawing/2010/main"/>
              </a:ext>
            </a:extLst>
          </a:blip>
          <a:stretch>
            <a:fillRect/>
          </a:stretch>
        </p:blipFill>
        <p:spPr>
          <a:xfrm>
            <a:off x="110704" y="3040325"/>
            <a:ext cx="189396" cy="189396"/>
          </a:xfrm>
          <a:prstGeom prst="rect">
            <a:avLst/>
          </a:prstGeom>
        </p:spPr>
      </p:pic>
      <p:pic>
        <p:nvPicPr>
          <p:cNvPr id="176" name="Picture 3"/>
          <p:cNvPicPr>
            <a:picLocks noChangeAspect="1"/>
          </p:cNvPicPr>
          <p:nvPr/>
        </p:nvPicPr>
        <p:blipFill>
          <a:blip r:embed="rId115" cstate="hqprint">
            <a:extLst>
              <a:ext uri="{28A0092B-C50C-407E-A947-70E740481C1C}">
                <a14:useLocalDpi xmlns:a14="http://schemas.microsoft.com/office/drawing/2010/main"/>
              </a:ext>
            </a:extLst>
          </a:blip>
          <a:stretch>
            <a:fillRect/>
          </a:stretch>
        </p:blipFill>
        <p:spPr>
          <a:xfrm>
            <a:off x="100458" y="3554791"/>
            <a:ext cx="235534" cy="235534"/>
          </a:xfrm>
          <a:prstGeom prst="rect">
            <a:avLst/>
          </a:prstGeom>
        </p:spPr>
      </p:pic>
      <p:pic>
        <p:nvPicPr>
          <p:cNvPr id="177" name="Billede 176"/>
          <p:cNvPicPr>
            <a:picLocks noChangeAspect="1"/>
          </p:cNvPicPr>
          <p:nvPr/>
        </p:nvPicPr>
        <p:blipFill>
          <a:blip r:embed="rId116" cstate="hqprint">
            <a:extLst>
              <a:ext uri="{28A0092B-C50C-407E-A947-70E740481C1C}">
                <a14:useLocalDpi xmlns:a14="http://schemas.microsoft.com/office/drawing/2010/main"/>
              </a:ext>
            </a:extLst>
          </a:blip>
          <a:stretch>
            <a:fillRect/>
          </a:stretch>
        </p:blipFill>
        <p:spPr>
          <a:xfrm>
            <a:off x="8850600" y="4511641"/>
            <a:ext cx="1192456" cy="795858"/>
          </a:xfrm>
          <a:prstGeom prst="rect">
            <a:avLst/>
          </a:prstGeom>
        </p:spPr>
      </p:pic>
      <p:pic>
        <p:nvPicPr>
          <p:cNvPr id="178" name="Picture 2" descr="http://www.spinxdigital.com/images/cash-meri-designview.png"/>
          <p:cNvPicPr>
            <a:picLocks noChangeAspect="1" noChangeArrowheads="1"/>
          </p:cNvPicPr>
          <p:nvPr/>
        </p:nvPicPr>
        <p:blipFill>
          <a:blip r:embed="rId117" cstate="hqprint">
            <a:extLst>
              <a:ext uri="{28A0092B-C50C-407E-A947-70E740481C1C}">
                <a14:useLocalDpi xmlns:a14="http://schemas.microsoft.com/office/drawing/2010/main"/>
              </a:ext>
            </a:extLst>
          </a:blip>
          <a:srcRect/>
          <a:stretch>
            <a:fillRect/>
          </a:stretch>
        </p:blipFill>
        <p:spPr bwMode="auto">
          <a:xfrm>
            <a:off x="2026812" y="5865977"/>
            <a:ext cx="575862" cy="396398"/>
          </a:xfrm>
          <a:prstGeom prst="rect">
            <a:avLst/>
          </a:prstGeom>
          <a:noFill/>
          <a:extLst>
            <a:ext uri="{909E8E84-426E-40DD-AFC4-6F175D3DCCD1}">
              <a14:hiddenFill xmlns:a14="http://schemas.microsoft.com/office/drawing/2010/main">
                <a:solidFill>
                  <a:srgbClr val="FFFFFF"/>
                </a:solidFill>
              </a14:hiddenFill>
            </a:ext>
          </a:extLst>
        </p:spPr>
      </p:pic>
      <p:grpSp>
        <p:nvGrpSpPr>
          <p:cNvPr id="179" name="Grupper 178"/>
          <p:cNvGrpSpPr/>
          <p:nvPr/>
        </p:nvGrpSpPr>
        <p:grpSpPr>
          <a:xfrm>
            <a:off x="10509603" y="4394523"/>
            <a:ext cx="1303998" cy="910364"/>
            <a:chOff x="7168902" y="2154785"/>
            <a:chExt cx="3616422" cy="2254805"/>
          </a:xfrm>
        </p:grpSpPr>
        <p:pic>
          <p:nvPicPr>
            <p:cNvPr id="180" name="Billede 179"/>
            <p:cNvPicPr>
              <a:picLocks noChangeAspect="1"/>
            </p:cNvPicPr>
            <p:nvPr/>
          </p:nvPicPr>
          <p:blipFill>
            <a:blip r:embed="rId118" cstate="hqprint">
              <a:extLst>
                <a:ext uri="{28A0092B-C50C-407E-A947-70E740481C1C}">
                  <a14:useLocalDpi xmlns:a14="http://schemas.microsoft.com/office/drawing/2010/main"/>
                </a:ext>
              </a:extLst>
            </a:blip>
            <a:stretch>
              <a:fillRect/>
            </a:stretch>
          </p:blipFill>
          <p:spPr>
            <a:xfrm>
              <a:off x="7168902" y="2154785"/>
              <a:ext cx="1571722" cy="2254805"/>
            </a:xfrm>
            <a:prstGeom prst="rect">
              <a:avLst/>
            </a:prstGeom>
          </p:spPr>
        </p:pic>
        <p:pic>
          <p:nvPicPr>
            <p:cNvPr id="181" name="Billede 180"/>
            <p:cNvPicPr>
              <a:picLocks noChangeAspect="1"/>
            </p:cNvPicPr>
            <p:nvPr/>
          </p:nvPicPr>
          <p:blipFill rotWithShape="1">
            <a:blip r:embed="rId119" cstate="hqprint">
              <a:extLst>
                <a:ext uri="{28A0092B-C50C-407E-A947-70E740481C1C}">
                  <a14:useLocalDpi xmlns:a14="http://schemas.microsoft.com/office/drawing/2010/main"/>
                </a:ext>
              </a:extLst>
            </a:blip>
            <a:srcRect/>
            <a:stretch/>
          </p:blipFill>
          <p:spPr>
            <a:xfrm>
              <a:off x="9213602" y="2154785"/>
              <a:ext cx="1571722" cy="2254805"/>
            </a:xfrm>
            <a:prstGeom prst="rect">
              <a:avLst/>
            </a:prstGeom>
          </p:spPr>
        </p:pic>
      </p:grpSp>
      <p:pic>
        <p:nvPicPr>
          <p:cNvPr id="182" name="Billede 181"/>
          <p:cNvPicPr>
            <a:picLocks noChangeAspect="1"/>
          </p:cNvPicPr>
          <p:nvPr/>
        </p:nvPicPr>
        <p:blipFill>
          <a:blip r:embed="rId120" cstate="hqprint">
            <a:extLst>
              <a:ext uri="{28A0092B-C50C-407E-A947-70E740481C1C}">
                <a14:useLocalDpi xmlns:a14="http://schemas.microsoft.com/office/drawing/2010/main"/>
              </a:ext>
            </a:extLst>
          </a:blip>
          <a:stretch>
            <a:fillRect/>
          </a:stretch>
        </p:blipFill>
        <p:spPr>
          <a:xfrm>
            <a:off x="120828" y="4239439"/>
            <a:ext cx="380581" cy="328249"/>
          </a:xfrm>
          <a:prstGeom prst="rect">
            <a:avLst/>
          </a:prstGeom>
        </p:spPr>
      </p:pic>
      <p:pic>
        <p:nvPicPr>
          <p:cNvPr id="183" name="Billede 182"/>
          <p:cNvPicPr>
            <a:picLocks noChangeAspect="1"/>
          </p:cNvPicPr>
          <p:nvPr/>
        </p:nvPicPr>
        <p:blipFill>
          <a:blip r:embed="rId121" cstate="hqprint">
            <a:extLst>
              <a:ext uri="{28A0092B-C50C-407E-A947-70E740481C1C}">
                <a14:useLocalDpi xmlns:a14="http://schemas.microsoft.com/office/drawing/2010/main"/>
              </a:ext>
            </a:extLst>
          </a:blip>
          <a:stretch>
            <a:fillRect/>
          </a:stretch>
        </p:blipFill>
        <p:spPr>
          <a:xfrm>
            <a:off x="642055" y="4703805"/>
            <a:ext cx="324134" cy="324134"/>
          </a:xfrm>
          <a:prstGeom prst="rect">
            <a:avLst/>
          </a:prstGeom>
        </p:spPr>
      </p:pic>
      <p:pic>
        <p:nvPicPr>
          <p:cNvPr id="184" name="Billede 183"/>
          <p:cNvPicPr>
            <a:picLocks noChangeAspect="1"/>
          </p:cNvPicPr>
          <p:nvPr/>
        </p:nvPicPr>
        <p:blipFill>
          <a:blip r:embed="rId122" cstate="hqprint">
            <a:extLst>
              <a:ext uri="{28A0092B-C50C-407E-A947-70E740481C1C}">
                <a14:useLocalDpi xmlns:a14="http://schemas.microsoft.com/office/drawing/2010/main"/>
              </a:ext>
            </a:extLst>
          </a:blip>
          <a:stretch>
            <a:fillRect/>
          </a:stretch>
        </p:blipFill>
        <p:spPr>
          <a:xfrm>
            <a:off x="5293420" y="3282903"/>
            <a:ext cx="494559" cy="494559"/>
          </a:xfrm>
          <a:prstGeom prst="rect">
            <a:avLst/>
          </a:prstGeom>
        </p:spPr>
      </p:pic>
      <p:pic>
        <p:nvPicPr>
          <p:cNvPr id="185" name="Picture 9"/>
          <p:cNvPicPr>
            <a:picLocks noChangeAspect="1"/>
          </p:cNvPicPr>
          <p:nvPr/>
        </p:nvPicPr>
        <p:blipFill>
          <a:blip r:embed="rId123" cstate="hqprint">
            <a:extLst>
              <a:ext uri="{28A0092B-C50C-407E-A947-70E740481C1C}">
                <a14:useLocalDpi xmlns:a14="http://schemas.microsoft.com/office/drawing/2010/main"/>
              </a:ext>
            </a:extLst>
          </a:blip>
          <a:stretch>
            <a:fillRect/>
          </a:stretch>
        </p:blipFill>
        <p:spPr>
          <a:xfrm>
            <a:off x="6540089" y="5985544"/>
            <a:ext cx="879945" cy="618729"/>
          </a:xfrm>
          <a:prstGeom prst="rect">
            <a:avLst/>
          </a:prstGeom>
        </p:spPr>
      </p:pic>
      <p:pic>
        <p:nvPicPr>
          <p:cNvPr id="186" name="Picture 6" descr="Business-Success.jpg"/>
          <p:cNvPicPr>
            <a:picLocks noChangeAspect="1"/>
          </p:cNvPicPr>
          <p:nvPr/>
        </p:nvPicPr>
        <p:blipFill>
          <a:blip r:embed="rId124" cstate="hqprint">
            <a:extLst>
              <a:ext uri="{28A0092B-C50C-407E-A947-70E740481C1C}">
                <a14:useLocalDpi xmlns:a14="http://schemas.microsoft.com/office/drawing/2010/main"/>
              </a:ext>
            </a:extLst>
          </a:blip>
          <a:stretch>
            <a:fillRect/>
          </a:stretch>
        </p:blipFill>
        <p:spPr>
          <a:xfrm flipH="1">
            <a:off x="7726254" y="5985544"/>
            <a:ext cx="875441" cy="598607"/>
          </a:xfrm>
          <a:prstGeom prst="rect">
            <a:avLst/>
          </a:prstGeom>
        </p:spPr>
      </p:pic>
      <p:pic>
        <p:nvPicPr>
          <p:cNvPr id="187" name="Picture 1"/>
          <p:cNvPicPr>
            <a:picLocks noChangeAspect="1"/>
          </p:cNvPicPr>
          <p:nvPr/>
        </p:nvPicPr>
        <p:blipFill>
          <a:blip r:embed="rId125" cstate="hqprint">
            <a:extLst>
              <a:ext uri="{28A0092B-C50C-407E-A947-70E740481C1C}">
                <a14:useLocalDpi xmlns:a14="http://schemas.microsoft.com/office/drawing/2010/main"/>
              </a:ext>
            </a:extLst>
          </a:blip>
          <a:stretch>
            <a:fillRect/>
          </a:stretch>
        </p:blipFill>
        <p:spPr>
          <a:xfrm>
            <a:off x="155091" y="975718"/>
            <a:ext cx="454339" cy="454339"/>
          </a:xfrm>
          <a:prstGeom prst="rect">
            <a:avLst/>
          </a:prstGeom>
        </p:spPr>
      </p:pic>
      <p:pic>
        <p:nvPicPr>
          <p:cNvPr id="188" name="Picture 8" descr="TED_logo.png"/>
          <p:cNvPicPr>
            <a:picLocks noChangeAspect="1"/>
          </p:cNvPicPr>
          <p:nvPr/>
        </p:nvPicPr>
        <p:blipFill>
          <a:blip r:embed="rId126" cstate="hqprint">
            <a:extLst>
              <a:ext uri="{28A0092B-C50C-407E-A947-70E740481C1C}">
                <a14:useLocalDpi xmlns:a14="http://schemas.microsoft.com/office/drawing/2010/main"/>
              </a:ext>
            </a:extLst>
          </a:blip>
          <a:stretch>
            <a:fillRect/>
          </a:stretch>
        </p:blipFill>
        <p:spPr>
          <a:xfrm>
            <a:off x="8750526" y="5520897"/>
            <a:ext cx="485476" cy="485476"/>
          </a:xfrm>
          <a:prstGeom prst="rect">
            <a:avLst/>
          </a:prstGeom>
        </p:spPr>
      </p:pic>
      <p:pic>
        <p:nvPicPr>
          <p:cNvPr id="189" name="Billede 188"/>
          <p:cNvPicPr>
            <a:picLocks noChangeAspect="1"/>
          </p:cNvPicPr>
          <p:nvPr/>
        </p:nvPicPr>
        <p:blipFill>
          <a:blip r:embed="rId127" cstate="hqprint">
            <a:extLst>
              <a:ext uri="{28A0092B-C50C-407E-A947-70E740481C1C}">
                <a14:useLocalDpi xmlns:a14="http://schemas.microsoft.com/office/drawing/2010/main"/>
              </a:ext>
            </a:extLst>
          </a:blip>
          <a:stretch>
            <a:fillRect/>
          </a:stretch>
        </p:blipFill>
        <p:spPr>
          <a:xfrm>
            <a:off x="2659928" y="3609625"/>
            <a:ext cx="306818" cy="306818"/>
          </a:xfrm>
          <a:prstGeom prst="rect">
            <a:avLst/>
          </a:prstGeom>
        </p:spPr>
      </p:pic>
      <p:pic>
        <p:nvPicPr>
          <p:cNvPr id="190" name="Billede 189"/>
          <p:cNvPicPr>
            <a:picLocks noChangeAspect="1"/>
          </p:cNvPicPr>
          <p:nvPr/>
        </p:nvPicPr>
        <p:blipFill>
          <a:blip r:embed="rId128" cstate="hqprint">
            <a:extLst>
              <a:ext uri="{28A0092B-C50C-407E-A947-70E740481C1C}">
                <a14:useLocalDpi xmlns:a14="http://schemas.microsoft.com/office/drawing/2010/main"/>
              </a:ext>
            </a:extLst>
          </a:blip>
          <a:stretch>
            <a:fillRect/>
          </a:stretch>
        </p:blipFill>
        <p:spPr>
          <a:xfrm>
            <a:off x="2337700" y="4275939"/>
            <a:ext cx="274307" cy="274307"/>
          </a:xfrm>
          <a:prstGeom prst="rect">
            <a:avLst/>
          </a:prstGeom>
        </p:spPr>
      </p:pic>
      <p:pic>
        <p:nvPicPr>
          <p:cNvPr id="191" name="Billede 190"/>
          <p:cNvPicPr>
            <a:picLocks noChangeAspect="1"/>
          </p:cNvPicPr>
          <p:nvPr/>
        </p:nvPicPr>
        <p:blipFill>
          <a:blip r:embed="rId129" cstate="hqprint">
            <a:extLst>
              <a:ext uri="{28A0092B-C50C-407E-A947-70E740481C1C}">
                <a14:useLocalDpi xmlns:a14="http://schemas.microsoft.com/office/drawing/2010/main"/>
              </a:ext>
            </a:extLst>
          </a:blip>
          <a:stretch>
            <a:fillRect/>
          </a:stretch>
        </p:blipFill>
        <p:spPr>
          <a:xfrm>
            <a:off x="2641607" y="770515"/>
            <a:ext cx="494253" cy="494253"/>
          </a:xfrm>
          <a:prstGeom prst="rect">
            <a:avLst/>
          </a:prstGeom>
        </p:spPr>
      </p:pic>
      <p:sp>
        <p:nvSpPr>
          <p:cNvPr id="3" name="Title 2">
            <a:extLst>
              <a:ext uri="{FF2B5EF4-FFF2-40B4-BE49-F238E27FC236}">
                <a16:creationId xmlns:a16="http://schemas.microsoft.com/office/drawing/2014/main" id="{E7E0BE59-F067-3E44-A346-CB7F89B467EF}"/>
              </a:ext>
            </a:extLst>
          </p:cNvPr>
          <p:cNvSpPr>
            <a:spLocks noGrp="1"/>
          </p:cNvSpPr>
          <p:nvPr>
            <p:ph type="title"/>
          </p:nvPr>
        </p:nvSpPr>
        <p:spPr/>
        <p:txBody>
          <a:bodyPr/>
          <a:lstStyle/>
          <a:p>
            <a:endParaRPr lang="en-GB">
              <a:latin typeface="Arial" panose="020B0604020202020204" pitchFamily="34" charset="0"/>
              <a:cs typeface="Arial" panose="020B0604020202020204" pitchFamily="34" charset="0"/>
            </a:endParaRPr>
          </a:p>
        </p:txBody>
      </p:sp>
      <p:sp>
        <p:nvSpPr>
          <p:cNvPr id="33" name="Text Placeholder 32">
            <a:extLst>
              <a:ext uri="{FF2B5EF4-FFF2-40B4-BE49-F238E27FC236}">
                <a16:creationId xmlns:a16="http://schemas.microsoft.com/office/drawing/2014/main" id="{D2167ACE-0BE5-444F-8AFD-0A1F28C7C069}"/>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34" name="Text Placeholder 33">
            <a:extLst>
              <a:ext uri="{FF2B5EF4-FFF2-40B4-BE49-F238E27FC236}">
                <a16:creationId xmlns:a16="http://schemas.microsoft.com/office/drawing/2014/main" id="{8C1DD1A2-D012-A946-AFE0-5ABD214A7627}"/>
              </a:ext>
            </a:extLst>
          </p:cNvPr>
          <p:cNvSpPr>
            <a:spLocks noGrp="1"/>
          </p:cNvSpPr>
          <p:nvPr>
            <p:ph type="body" sz="quarter" idx="15"/>
          </p:nvPr>
        </p:nvSpPr>
        <p:spPr/>
        <p:txBody>
          <a:bodyPr/>
          <a:lstStyle/>
          <a:p>
            <a:endParaRPr lang="en-GB">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491537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44500" y="292100"/>
            <a:ext cx="812800" cy="812800"/>
          </a:xfrm>
          <a:prstGeom prst="rect">
            <a:avLst/>
          </a:prstGeom>
        </p:spPr>
      </p:pic>
      <p:pic>
        <p:nvPicPr>
          <p:cNvPr id="3" name="Billed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71600" y="292100"/>
            <a:ext cx="812800" cy="812800"/>
          </a:xfrm>
          <a:prstGeom prst="rect">
            <a:avLst/>
          </a:prstGeom>
        </p:spPr>
      </p:pic>
      <p:pic>
        <p:nvPicPr>
          <p:cNvPr id="4" name="Billed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98700" y="292100"/>
            <a:ext cx="812800" cy="812800"/>
          </a:xfrm>
          <a:prstGeom prst="rect">
            <a:avLst/>
          </a:prstGeom>
        </p:spPr>
      </p:pic>
      <p:pic>
        <p:nvPicPr>
          <p:cNvPr id="5" name="Billede 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225800" y="292100"/>
            <a:ext cx="812800" cy="812800"/>
          </a:xfrm>
          <a:prstGeom prst="rect">
            <a:avLst/>
          </a:prstGeom>
        </p:spPr>
      </p:pic>
      <p:pic>
        <p:nvPicPr>
          <p:cNvPr id="6" name="Billede 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152900" y="292100"/>
            <a:ext cx="812800" cy="812800"/>
          </a:xfrm>
          <a:prstGeom prst="rect">
            <a:avLst/>
          </a:prstGeom>
        </p:spPr>
      </p:pic>
      <p:pic>
        <p:nvPicPr>
          <p:cNvPr id="7" name="Billede 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080000" y="292100"/>
            <a:ext cx="812800" cy="812800"/>
          </a:xfrm>
          <a:prstGeom prst="rect">
            <a:avLst/>
          </a:prstGeom>
        </p:spPr>
      </p:pic>
      <p:pic>
        <p:nvPicPr>
          <p:cNvPr id="8" name="Billede 7"/>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007100" y="292100"/>
            <a:ext cx="812800" cy="812800"/>
          </a:xfrm>
          <a:prstGeom prst="rect">
            <a:avLst/>
          </a:prstGeom>
        </p:spPr>
      </p:pic>
      <p:pic>
        <p:nvPicPr>
          <p:cNvPr id="9" name="Billede 8"/>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934200" y="292100"/>
            <a:ext cx="812800" cy="812800"/>
          </a:xfrm>
          <a:prstGeom prst="rect">
            <a:avLst/>
          </a:prstGeom>
        </p:spPr>
      </p:pic>
      <p:pic>
        <p:nvPicPr>
          <p:cNvPr id="10" name="Billede 9"/>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861300" y="292100"/>
            <a:ext cx="812800" cy="812800"/>
          </a:xfrm>
          <a:prstGeom prst="rect">
            <a:avLst/>
          </a:prstGeom>
        </p:spPr>
      </p:pic>
      <p:pic>
        <p:nvPicPr>
          <p:cNvPr id="11" name="Billede 10"/>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8788400" y="292100"/>
            <a:ext cx="812800" cy="812800"/>
          </a:xfrm>
          <a:prstGeom prst="rect">
            <a:avLst/>
          </a:prstGeom>
        </p:spPr>
      </p:pic>
      <p:pic>
        <p:nvPicPr>
          <p:cNvPr id="12" name="Billede 11"/>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9715500" y="292100"/>
            <a:ext cx="812800" cy="812800"/>
          </a:xfrm>
          <a:prstGeom prst="rect">
            <a:avLst/>
          </a:prstGeom>
        </p:spPr>
      </p:pic>
      <p:pic>
        <p:nvPicPr>
          <p:cNvPr id="13" name="Billede 12"/>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44500" y="952500"/>
            <a:ext cx="812800" cy="812800"/>
          </a:xfrm>
          <a:prstGeom prst="rect">
            <a:avLst/>
          </a:prstGeom>
        </p:spPr>
      </p:pic>
      <p:pic>
        <p:nvPicPr>
          <p:cNvPr id="14" name="Billede 13"/>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371600" y="952500"/>
            <a:ext cx="812800" cy="812800"/>
          </a:xfrm>
          <a:prstGeom prst="rect">
            <a:avLst/>
          </a:prstGeom>
        </p:spPr>
      </p:pic>
      <p:pic>
        <p:nvPicPr>
          <p:cNvPr id="15" name="Billede 14"/>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2298700" y="952500"/>
            <a:ext cx="812800" cy="812800"/>
          </a:xfrm>
          <a:prstGeom prst="rect">
            <a:avLst/>
          </a:prstGeom>
        </p:spPr>
      </p:pic>
      <p:pic>
        <p:nvPicPr>
          <p:cNvPr id="16" name="Billede 15"/>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3225800" y="952500"/>
            <a:ext cx="812800" cy="812800"/>
          </a:xfrm>
          <a:prstGeom prst="rect">
            <a:avLst/>
          </a:prstGeom>
        </p:spPr>
      </p:pic>
      <p:pic>
        <p:nvPicPr>
          <p:cNvPr id="17" name="Billede 16"/>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4152900" y="952500"/>
            <a:ext cx="812800" cy="812800"/>
          </a:xfrm>
          <a:prstGeom prst="rect">
            <a:avLst/>
          </a:prstGeom>
        </p:spPr>
      </p:pic>
      <p:pic>
        <p:nvPicPr>
          <p:cNvPr id="18" name="Billede 17"/>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5080000" y="952500"/>
            <a:ext cx="812800" cy="812800"/>
          </a:xfrm>
          <a:prstGeom prst="rect">
            <a:avLst/>
          </a:prstGeom>
        </p:spPr>
      </p:pic>
      <p:pic>
        <p:nvPicPr>
          <p:cNvPr id="19" name="Billede 18"/>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6007100" y="952500"/>
            <a:ext cx="812800" cy="812800"/>
          </a:xfrm>
          <a:prstGeom prst="rect">
            <a:avLst/>
          </a:prstGeom>
        </p:spPr>
      </p:pic>
      <p:pic>
        <p:nvPicPr>
          <p:cNvPr id="20" name="Billede 19"/>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6934200" y="952500"/>
            <a:ext cx="812800" cy="812800"/>
          </a:xfrm>
          <a:prstGeom prst="rect">
            <a:avLst/>
          </a:prstGeom>
        </p:spPr>
      </p:pic>
      <p:pic>
        <p:nvPicPr>
          <p:cNvPr id="21" name="Billede 20"/>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861300" y="952500"/>
            <a:ext cx="812800" cy="812800"/>
          </a:xfrm>
          <a:prstGeom prst="rect">
            <a:avLst/>
          </a:prstGeom>
        </p:spPr>
      </p:pic>
      <p:pic>
        <p:nvPicPr>
          <p:cNvPr id="22" name="Billede 21"/>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8788400" y="952500"/>
            <a:ext cx="812800" cy="812800"/>
          </a:xfrm>
          <a:prstGeom prst="rect">
            <a:avLst/>
          </a:prstGeom>
        </p:spPr>
      </p:pic>
      <p:pic>
        <p:nvPicPr>
          <p:cNvPr id="23" name="Billede 22"/>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9715500" y="952500"/>
            <a:ext cx="812800" cy="812800"/>
          </a:xfrm>
          <a:prstGeom prst="rect">
            <a:avLst/>
          </a:prstGeom>
        </p:spPr>
      </p:pic>
      <p:pic>
        <p:nvPicPr>
          <p:cNvPr id="24" name="Billede 23"/>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0642600" y="952500"/>
            <a:ext cx="812800" cy="812800"/>
          </a:xfrm>
          <a:prstGeom prst="rect">
            <a:avLst/>
          </a:prstGeom>
        </p:spPr>
      </p:pic>
      <p:pic>
        <p:nvPicPr>
          <p:cNvPr id="25" name="Billede 24"/>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444500" y="1612900"/>
            <a:ext cx="812800" cy="812800"/>
          </a:xfrm>
          <a:prstGeom prst="rect">
            <a:avLst/>
          </a:prstGeom>
        </p:spPr>
      </p:pic>
      <p:pic>
        <p:nvPicPr>
          <p:cNvPr id="26" name="Billede 25"/>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1371600" y="1612900"/>
            <a:ext cx="812800" cy="812800"/>
          </a:xfrm>
          <a:prstGeom prst="rect">
            <a:avLst/>
          </a:prstGeom>
        </p:spPr>
      </p:pic>
      <p:pic>
        <p:nvPicPr>
          <p:cNvPr id="27" name="Billede 26"/>
          <p:cNvPicPr>
            <a:picLocks noChangeAspect="1"/>
          </p:cNvPicPr>
          <p:nvPr/>
        </p:nvPicPr>
        <p:blipFill>
          <a:blip r:embed="rId27">
            <a:extLst>
              <a:ext uri="{28A0092B-C50C-407E-A947-70E740481C1C}">
                <a14:useLocalDpi xmlns:a14="http://schemas.microsoft.com/office/drawing/2010/main"/>
              </a:ext>
            </a:extLst>
          </a:blip>
          <a:stretch>
            <a:fillRect/>
          </a:stretch>
        </p:blipFill>
        <p:spPr>
          <a:xfrm>
            <a:off x="2298700" y="1612900"/>
            <a:ext cx="812800" cy="812800"/>
          </a:xfrm>
          <a:prstGeom prst="rect">
            <a:avLst/>
          </a:prstGeom>
        </p:spPr>
      </p:pic>
      <p:pic>
        <p:nvPicPr>
          <p:cNvPr id="28" name="Billede 27"/>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3225800" y="1612900"/>
            <a:ext cx="812800" cy="812800"/>
          </a:xfrm>
          <a:prstGeom prst="rect">
            <a:avLst/>
          </a:prstGeom>
        </p:spPr>
      </p:pic>
      <p:pic>
        <p:nvPicPr>
          <p:cNvPr id="29" name="Billede 28"/>
          <p:cNvPicPr>
            <a:picLocks noChangeAspect="1"/>
          </p:cNvPicPr>
          <p:nvPr/>
        </p:nvPicPr>
        <p:blipFill>
          <a:blip r:embed="rId29">
            <a:extLst>
              <a:ext uri="{28A0092B-C50C-407E-A947-70E740481C1C}">
                <a14:useLocalDpi xmlns:a14="http://schemas.microsoft.com/office/drawing/2010/main"/>
              </a:ext>
            </a:extLst>
          </a:blip>
          <a:stretch>
            <a:fillRect/>
          </a:stretch>
        </p:blipFill>
        <p:spPr>
          <a:xfrm>
            <a:off x="4152900" y="1612900"/>
            <a:ext cx="812800" cy="812800"/>
          </a:xfrm>
          <a:prstGeom prst="rect">
            <a:avLst/>
          </a:prstGeom>
        </p:spPr>
      </p:pic>
      <p:pic>
        <p:nvPicPr>
          <p:cNvPr id="30" name="Billede 2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5080000" y="1612900"/>
            <a:ext cx="812800" cy="812800"/>
          </a:xfrm>
          <a:prstGeom prst="rect">
            <a:avLst/>
          </a:prstGeom>
        </p:spPr>
      </p:pic>
      <p:pic>
        <p:nvPicPr>
          <p:cNvPr id="31" name="Billede 30"/>
          <p:cNvPicPr>
            <a:picLocks noChangeAspect="1"/>
          </p:cNvPicPr>
          <p:nvPr/>
        </p:nvPicPr>
        <p:blipFill>
          <a:blip r:embed="rId31">
            <a:extLst>
              <a:ext uri="{28A0092B-C50C-407E-A947-70E740481C1C}">
                <a14:useLocalDpi xmlns:a14="http://schemas.microsoft.com/office/drawing/2010/main"/>
              </a:ext>
            </a:extLst>
          </a:blip>
          <a:stretch>
            <a:fillRect/>
          </a:stretch>
        </p:blipFill>
        <p:spPr>
          <a:xfrm>
            <a:off x="6007100" y="1612900"/>
            <a:ext cx="812800" cy="812800"/>
          </a:xfrm>
          <a:prstGeom prst="rect">
            <a:avLst/>
          </a:prstGeom>
        </p:spPr>
      </p:pic>
      <p:pic>
        <p:nvPicPr>
          <p:cNvPr id="32" name="Billede 31"/>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6934200" y="1612900"/>
            <a:ext cx="812800" cy="812800"/>
          </a:xfrm>
          <a:prstGeom prst="rect">
            <a:avLst/>
          </a:prstGeom>
        </p:spPr>
      </p:pic>
      <p:pic>
        <p:nvPicPr>
          <p:cNvPr id="33" name="Billede 32"/>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861300" y="1612900"/>
            <a:ext cx="812800" cy="812800"/>
          </a:xfrm>
          <a:prstGeom prst="rect">
            <a:avLst/>
          </a:prstGeom>
        </p:spPr>
      </p:pic>
      <p:pic>
        <p:nvPicPr>
          <p:cNvPr id="34" name="Billede 33"/>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8788400" y="1612900"/>
            <a:ext cx="812800" cy="812800"/>
          </a:xfrm>
          <a:prstGeom prst="rect">
            <a:avLst/>
          </a:prstGeom>
        </p:spPr>
      </p:pic>
      <p:pic>
        <p:nvPicPr>
          <p:cNvPr id="35" name="Billede 34"/>
          <p:cNvPicPr>
            <a:picLocks noChangeAspect="1"/>
          </p:cNvPicPr>
          <p:nvPr/>
        </p:nvPicPr>
        <p:blipFill>
          <a:blip r:embed="rId35">
            <a:extLst>
              <a:ext uri="{28A0092B-C50C-407E-A947-70E740481C1C}">
                <a14:useLocalDpi xmlns:a14="http://schemas.microsoft.com/office/drawing/2010/main"/>
              </a:ext>
            </a:extLst>
          </a:blip>
          <a:stretch>
            <a:fillRect/>
          </a:stretch>
        </p:blipFill>
        <p:spPr>
          <a:xfrm>
            <a:off x="9715500" y="1612900"/>
            <a:ext cx="812800" cy="812800"/>
          </a:xfrm>
          <a:prstGeom prst="rect">
            <a:avLst/>
          </a:prstGeom>
        </p:spPr>
      </p:pic>
      <p:pic>
        <p:nvPicPr>
          <p:cNvPr id="36" name="Billede 35"/>
          <p:cNvPicPr>
            <a:picLocks noChangeAspect="1"/>
          </p:cNvPicPr>
          <p:nvPr/>
        </p:nvPicPr>
        <p:blipFill>
          <a:blip r:embed="rId36">
            <a:extLst>
              <a:ext uri="{28A0092B-C50C-407E-A947-70E740481C1C}">
                <a14:useLocalDpi xmlns:a14="http://schemas.microsoft.com/office/drawing/2010/main"/>
              </a:ext>
            </a:extLst>
          </a:blip>
          <a:stretch>
            <a:fillRect/>
          </a:stretch>
        </p:blipFill>
        <p:spPr>
          <a:xfrm>
            <a:off x="10642600" y="1612900"/>
            <a:ext cx="812800" cy="812800"/>
          </a:xfrm>
          <a:prstGeom prst="rect">
            <a:avLst/>
          </a:prstGeom>
        </p:spPr>
      </p:pic>
      <p:pic>
        <p:nvPicPr>
          <p:cNvPr id="37" name="Billede 36"/>
          <p:cNvPicPr>
            <a:picLocks noChangeAspect="1"/>
          </p:cNvPicPr>
          <p:nvPr/>
        </p:nvPicPr>
        <p:blipFill>
          <a:blip r:embed="rId37">
            <a:extLst>
              <a:ext uri="{28A0092B-C50C-407E-A947-70E740481C1C}">
                <a14:useLocalDpi xmlns:a14="http://schemas.microsoft.com/office/drawing/2010/main"/>
              </a:ext>
            </a:extLst>
          </a:blip>
          <a:stretch>
            <a:fillRect/>
          </a:stretch>
        </p:blipFill>
        <p:spPr>
          <a:xfrm>
            <a:off x="444500" y="2273300"/>
            <a:ext cx="812800" cy="812800"/>
          </a:xfrm>
          <a:prstGeom prst="rect">
            <a:avLst/>
          </a:prstGeom>
        </p:spPr>
      </p:pic>
      <p:pic>
        <p:nvPicPr>
          <p:cNvPr id="38" name="Billede 37"/>
          <p:cNvPicPr>
            <a:picLocks noChangeAspect="1"/>
          </p:cNvPicPr>
          <p:nvPr/>
        </p:nvPicPr>
        <p:blipFill>
          <a:blip r:embed="rId38">
            <a:extLst>
              <a:ext uri="{28A0092B-C50C-407E-A947-70E740481C1C}">
                <a14:useLocalDpi xmlns:a14="http://schemas.microsoft.com/office/drawing/2010/main"/>
              </a:ext>
            </a:extLst>
          </a:blip>
          <a:stretch>
            <a:fillRect/>
          </a:stretch>
        </p:blipFill>
        <p:spPr>
          <a:xfrm>
            <a:off x="1371600" y="2273300"/>
            <a:ext cx="812800" cy="812800"/>
          </a:xfrm>
          <a:prstGeom prst="rect">
            <a:avLst/>
          </a:prstGeom>
        </p:spPr>
      </p:pic>
      <p:pic>
        <p:nvPicPr>
          <p:cNvPr id="39" name="Billede 38"/>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2298700" y="2273300"/>
            <a:ext cx="812800" cy="812800"/>
          </a:xfrm>
          <a:prstGeom prst="rect">
            <a:avLst/>
          </a:prstGeom>
        </p:spPr>
      </p:pic>
      <p:pic>
        <p:nvPicPr>
          <p:cNvPr id="40" name="Billede 39"/>
          <p:cNvPicPr>
            <a:picLocks noChangeAspect="1"/>
          </p:cNvPicPr>
          <p:nvPr/>
        </p:nvPicPr>
        <p:blipFill>
          <a:blip r:embed="rId40">
            <a:extLst>
              <a:ext uri="{28A0092B-C50C-407E-A947-70E740481C1C}">
                <a14:useLocalDpi xmlns:a14="http://schemas.microsoft.com/office/drawing/2010/main"/>
              </a:ext>
            </a:extLst>
          </a:blip>
          <a:stretch>
            <a:fillRect/>
          </a:stretch>
        </p:blipFill>
        <p:spPr>
          <a:xfrm>
            <a:off x="3225800" y="2273300"/>
            <a:ext cx="812800" cy="812800"/>
          </a:xfrm>
          <a:prstGeom prst="rect">
            <a:avLst/>
          </a:prstGeom>
        </p:spPr>
      </p:pic>
      <p:pic>
        <p:nvPicPr>
          <p:cNvPr id="41" name="Billede 40"/>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4127500" y="2273300"/>
            <a:ext cx="812800" cy="812800"/>
          </a:xfrm>
          <a:prstGeom prst="rect">
            <a:avLst/>
          </a:prstGeom>
        </p:spPr>
      </p:pic>
      <p:pic>
        <p:nvPicPr>
          <p:cNvPr id="42" name="Billede 41"/>
          <p:cNvPicPr>
            <a:picLocks noChangeAspect="1"/>
          </p:cNvPicPr>
          <p:nvPr/>
        </p:nvPicPr>
        <p:blipFill>
          <a:blip r:embed="rId42">
            <a:extLst>
              <a:ext uri="{28A0092B-C50C-407E-A947-70E740481C1C}">
                <a14:useLocalDpi xmlns:a14="http://schemas.microsoft.com/office/drawing/2010/main"/>
              </a:ext>
            </a:extLst>
          </a:blip>
          <a:stretch>
            <a:fillRect/>
          </a:stretch>
        </p:blipFill>
        <p:spPr>
          <a:xfrm>
            <a:off x="5054600" y="2273300"/>
            <a:ext cx="812800" cy="812800"/>
          </a:xfrm>
          <a:prstGeom prst="rect">
            <a:avLst/>
          </a:prstGeom>
        </p:spPr>
      </p:pic>
      <p:pic>
        <p:nvPicPr>
          <p:cNvPr id="43" name="Billede 42"/>
          <p:cNvPicPr>
            <a:picLocks noChangeAspect="1"/>
          </p:cNvPicPr>
          <p:nvPr/>
        </p:nvPicPr>
        <p:blipFill>
          <a:blip r:embed="rId43">
            <a:extLst>
              <a:ext uri="{28A0092B-C50C-407E-A947-70E740481C1C}">
                <a14:useLocalDpi xmlns:a14="http://schemas.microsoft.com/office/drawing/2010/main"/>
              </a:ext>
            </a:extLst>
          </a:blip>
          <a:stretch>
            <a:fillRect/>
          </a:stretch>
        </p:blipFill>
        <p:spPr>
          <a:xfrm>
            <a:off x="6007100" y="2273300"/>
            <a:ext cx="812800" cy="812800"/>
          </a:xfrm>
          <a:prstGeom prst="rect">
            <a:avLst/>
          </a:prstGeom>
        </p:spPr>
      </p:pic>
      <p:pic>
        <p:nvPicPr>
          <p:cNvPr id="44" name="Billede 43"/>
          <p:cNvPicPr>
            <a:picLocks noChangeAspect="1"/>
          </p:cNvPicPr>
          <p:nvPr/>
        </p:nvPicPr>
        <p:blipFill>
          <a:blip r:embed="rId44">
            <a:extLst>
              <a:ext uri="{28A0092B-C50C-407E-A947-70E740481C1C}">
                <a14:useLocalDpi xmlns:a14="http://schemas.microsoft.com/office/drawing/2010/main"/>
              </a:ext>
            </a:extLst>
          </a:blip>
          <a:stretch>
            <a:fillRect/>
          </a:stretch>
        </p:blipFill>
        <p:spPr>
          <a:xfrm>
            <a:off x="6934200" y="2273300"/>
            <a:ext cx="812800" cy="812800"/>
          </a:xfrm>
          <a:prstGeom prst="rect">
            <a:avLst/>
          </a:prstGeom>
        </p:spPr>
      </p:pic>
      <p:pic>
        <p:nvPicPr>
          <p:cNvPr id="45" name="Billede 44"/>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7861300" y="2273300"/>
            <a:ext cx="812800" cy="812800"/>
          </a:xfrm>
          <a:prstGeom prst="rect">
            <a:avLst/>
          </a:prstGeom>
        </p:spPr>
      </p:pic>
      <p:pic>
        <p:nvPicPr>
          <p:cNvPr id="46" name="Billede 45"/>
          <p:cNvPicPr>
            <a:picLocks noChangeAspect="1"/>
          </p:cNvPicPr>
          <p:nvPr/>
        </p:nvPicPr>
        <p:blipFill>
          <a:blip r:embed="rId46">
            <a:extLst>
              <a:ext uri="{28A0092B-C50C-407E-A947-70E740481C1C}">
                <a14:useLocalDpi xmlns:a14="http://schemas.microsoft.com/office/drawing/2010/main"/>
              </a:ext>
            </a:extLst>
          </a:blip>
          <a:stretch>
            <a:fillRect/>
          </a:stretch>
        </p:blipFill>
        <p:spPr>
          <a:xfrm>
            <a:off x="8788400" y="2273300"/>
            <a:ext cx="812800" cy="812800"/>
          </a:xfrm>
          <a:prstGeom prst="rect">
            <a:avLst/>
          </a:prstGeom>
        </p:spPr>
      </p:pic>
      <p:pic>
        <p:nvPicPr>
          <p:cNvPr id="47" name="Billede 46"/>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9715500" y="2273300"/>
            <a:ext cx="812800" cy="812800"/>
          </a:xfrm>
          <a:prstGeom prst="rect">
            <a:avLst/>
          </a:prstGeom>
        </p:spPr>
      </p:pic>
      <p:pic>
        <p:nvPicPr>
          <p:cNvPr id="48" name="Billede 4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10642600" y="2273300"/>
            <a:ext cx="812800" cy="812800"/>
          </a:xfrm>
          <a:prstGeom prst="rect">
            <a:avLst/>
          </a:prstGeom>
        </p:spPr>
      </p:pic>
      <p:pic>
        <p:nvPicPr>
          <p:cNvPr id="49" name="Billede 4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444500" y="2933700"/>
            <a:ext cx="812800" cy="812800"/>
          </a:xfrm>
          <a:prstGeom prst="rect">
            <a:avLst/>
          </a:prstGeom>
        </p:spPr>
      </p:pic>
      <p:pic>
        <p:nvPicPr>
          <p:cNvPr id="50" name="Billede 49"/>
          <p:cNvPicPr>
            <a:picLocks noChangeAspect="1"/>
          </p:cNvPicPr>
          <p:nvPr/>
        </p:nvPicPr>
        <p:blipFill>
          <a:blip r:embed="rId50">
            <a:extLst>
              <a:ext uri="{28A0092B-C50C-407E-A947-70E740481C1C}">
                <a14:useLocalDpi xmlns:a14="http://schemas.microsoft.com/office/drawing/2010/main"/>
              </a:ext>
            </a:extLst>
          </a:blip>
          <a:stretch>
            <a:fillRect/>
          </a:stretch>
        </p:blipFill>
        <p:spPr>
          <a:xfrm>
            <a:off x="1371600" y="2933700"/>
            <a:ext cx="812800" cy="812800"/>
          </a:xfrm>
          <a:prstGeom prst="rect">
            <a:avLst/>
          </a:prstGeom>
        </p:spPr>
      </p:pic>
      <p:pic>
        <p:nvPicPr>
          <p:cNvPr id="51" name="Billede 50"/>
          <p:cNvPicPr>
            <a:picLocks noChangeAspect="1"/>
          </p:cNvPicPr>
          <p:nvPr/>
        </p:nvPicPr>
        <p:blipFill>
          <a:blip r:embed="rId51">
            <a:extLst>
              <a:ext uri="{28A0092B-C50C-407E-A947-70E740481C1C}">
                <a14:useLocalDpi xmlns:a14="http://schemas.microsoft.com/office/drawing/2010/main"/>
              </a:ext>
            </a:extLst>
          </a:blip>
          <a:stretch>
            <a:fillRect/>
          </a:stretch>
        </p:blipFill>
        <p:spPr>
          <a:xfrm>
            <a:off x="2298700" y="2933700"/>
            <a:ext cx="812800" cy="812800"/>
          </a:xfrm>
          <a:prstGeom prst="rect">
            <a:avLst/>
          </a:prstGeom>
        </p:spPr>
      </p:pic>
      <p:pic>
        <p:nvPicPr>
          <p:cNvPr id="52" name="Billede 51"/>
          <p:cNvPicPr>
            <a:picLocks noChangeAspect="1"/>
          </p:cNvPicPr>
          <p:nvPr/>
        </p:nvPicPr>
        <p:blipFill>
          <a:blip r:embed="rId52">
            <a:extLst>
              <a:ext uri="{28A0092B-C50C-407E-A947-70E740481C1C}">
                <a14:useLocalDpi xmlns:a14="http://schemas.microsoft.com/office/drawing/2010/main"/>
              </a:ext>
            </a:extLst>
          </a:blip>
          <a:stretch>
            <a:fillRect/>
          </a:stretch>
        </p:blipFill>
        <p:spPr>
          <a:xfrm>
            <a:off x="3213100" y="2933700"/>
            <a:ext cx="812800" cy="812800"/>
          </a:xfrm>
          <a:prstGeom prst="rect">
            <a:avLst/>
          </a:prstGeom>
        </p:spPr>
      </p:pic>
      <p:pic>
        <p:nvPicPr>
          <p:cNvPr id="53" name="Billede 52"/>
          <p:cNvPicPr>
            <a:picLocks noChangeAspect="1"/>
          </p:cNvPicPr>
          <p:nvPr/>
        </p:nvPicPr>
        <p:blipFill>
          <a:blip r:embed="rId53">
            <a:extLst>
              <a:ext uri="{28A0092B-C50C-407E-A947-70E740481C1C}">
                <a14:useLocalDpi xmlns:a14="http://schemas.microsoft.com/office/drawing/2010/main"/>
              </a:ext>
            </a:extLst>
          </a:blip>
          <a:stretch>
            <a:fillRect/>
          </a:stretch>
        </p:blipFill>
        <p:spPr>
          <a:xfrm>
            <a:off x="4152900" y="2933700"/>
            <a:ext cx="812800" cy="812800"/>
          </a:xfrm>
          <a:prstGeom prst="rect">
            <a:avLst/>
          </a:prstGeom>
        </p:spPr>
      </p:pic>
      <p:pic>
        <p:nvPicPr>
          <p:cNvPr id="54" name="Billede 53"/>
          <p:cNvPicPr>
            <a:picLocks noChangeAspect="1"/>
          </p:cNvPicPr>
          <p:nvPr/>
        </p:nvPicPr>
        <p:blipFill>
          <a:blip r:embed="rId54">
            <a:extLst>
              <a:ext uri="{28A0092B-C50C-407E-A947-70E740481C1C}">
                <a14:useLocalDpi xmlns:a14="http://schemas.microsoft.com/office/drawing/2010/main"/>
              </a:ext>
            </a:extLst>
          </a:blip>
          <a:stretch>
            <a:fillRect/>
          </a:stretch>
        </p:blipFill>
        <p:spPr>
          <a:xfrm>
            <a:off x="5054600" y="2933700"/>
            <a:ext cx="812800" cy="812800"/>
          </a:xfrm>
          <a:prstGeom prst="rect">
            <a:avLst/>
          </a:prstGeom>
        </p:spPr>
      </p:pic>
      <p:pic>
        <p:nvPicPr>
          <p:cNvPr id="55" name="Billede 54"/>
          <p:cNvPicPr>
            <a:picLocks noChangeAspect="1"/>
          </p:cNvPicPr>
          <p:nvPr/>
        </p:nvPicPr>
        <p:blipFill>
          <a:blip r:embed="rId55">
            <a:extLst>
              <a:ext uri="{28A0092B-C50C-407E-A947-70E740481C1C}">
                <a14:useLocalDpi xmlns:a14="http://schemas.microsoft.com/office/drawing/2010/main"/>
              </a:ext>
            </a:extLst>
          </a:blip>
          <a:stretch>
            <a:fillRect/>
          </a:stretch>
        </p:blipFill>
        <p:spPr>
          <a:xfrm>
            <a:off x="5981700" y="2933700"/>
            <a:ext cx="812800" cy="812800"/>
          </a:xfrm>
          <a:prstGeom prst="rect">
            <a:avLst/>
          </a:prstGeom>
        </p:spPr>
      </p:pic>
      <p:pic>
        <p:nvPicPr>
          <p:cNvPr id="56" name="Billede 55"/>
          <p:cNvPicPr>
            <a:picLocks noChangeAspect="1"/>
          </p:cNvPicPr>
          <p:nvPr/>
        </p:nvPicPr>
        <p:blipFill>
          <a:blip r:embed="rId56">
            <a:extLst>
              <a:ext uri="{28A0092B-C50C-407E-A947-70E740481C1C}">
                <a14:useLocalDpi xmlns:a14="http://schemas.microsoft.com/office/drawing/2010/main"/>
              </a:ext>
            </a:extLst>
          </a:blip>
          <a:stretch>
            <a:fillRect/>
          </a:stretch>
        </p:blipFill>
        <p:spPr>
          <a:xfrm>
            <a:off x="6934200" y="2933700"/>
            <a:ext cx="812800" cy="812800"/>
          </a:xfrm>
          <a:prstGeom prst="rect">
            <a:avLst/>
          </a:prstGeom>
        </p:spPr>
      </p:pic>
      <p:pic>
        <p:nvPicPr>
          <p:cNvPr id="57" name="Billede 56"/>
          <p:cNvPicPr>
            <a:picLocks noChangeAspect="1"/>
          </p:cNvPicPr>
          <p:nvPr/>
        </p:nvPicPr>
        <p:blipFill>
          <a:blip r:embed="rId57">
            <a:extLst>
              <a:ext uri="{28A0092B-C50C-407E-A947-70E740481C1C}">
                <a14:useLocalDpi xmlns:a14="http://schemas.microsoft.com/office/drawing/2010/main"/>
              </a:ext>
            </a:extLst>
          </a:blip>
          <a:stretch>
            <a:fillRect/>
          </a:stretch>
        </p:blipFill>
        <p:spPr>
          <a:xfrm>
            <a:off x="7861300" y="2933700"/>
            <a:ext cx="812800" cy="812800"/>
          </a:xfrm>
          <a:prstGeom prst="rect">
            <a:avLst/>
          </a:prstGeom>
        </p:spPr>
      </p:pic>
      <p:pic>
        <p:nvPicPr>
          <p:cNvPr id="58" name="Billede 57"/>
          <p:cNvPicPr>
            <a:picLocks noChangeAspect="1"/>
          </p:cNvPicPr>
          <p:nvPr/>
        </p:nvPicPr>
        <p:blipFill>
          <a:blip r:embed="rId58">
            <a:extLst>
              <a:ext uri="{28A0092B-C50C-407E-A947-70E740481C1C}">
                <a14:useLocalDpi xmlns:a14="http://schemas.microsoft.com/office/drawing/2010/main"/>
              </a:ext>
            </a:extLst>
          </a:blip>
          <a:stretch>
            <a:fillRect/>
          </a:stretch>
        </p:blipFill>
        <p:spPr>
          <a:xfrm>
            <a:off x="8788400" y="2933700"/>
            <a:ext cx="812800" cy="812800"/>
          </a:xfrm>
          <a:prstGeom prst="rect">
            <a:avLst/>
          </a:prstGeom>
        </p:spPr>
      </p:pic>
      <p:pic>
        <p:nvPicPr>
          <p:cNvPr id="59" name="Billede 58"/>
          <p:cNvPicPr>
            <a:picLocks noChangeAspect="1"/>
          </p:cNvPicPr>
          <p:nvPr/>
        </p:nvPicPr>
        <p:blipFill>
          <a:blip r:embed="rId59">
            <a:extLst>
              <a:ext uri="{28A0092B-C50C-407E-A947-70E740481C1C}">
                <a14:useLocalDpi xmlns:a14="http://schemas.microsoft.com/office/drawing/2010/main"/>
              </a:ext>
            </a:extLst>
          </a:blip>
          <a:stretch>
            <a:fillRect/>
          </a:stretch>
        </p:blipFill>
        <p:spPr>
          <a:xfrm>
            <a:off x="9715500" y="2933700"/>
            <a:ext cx="812800" cy="812800"/>
          </a:xfrm>
          <a:prstGeom prst="rect">
            <a:avLst/>
          </a:prstGeom>
        </p:spPr>
      </p:pic>
      <p:pic>
        <p:nvPicPr>
          <p:cNvPr id="60" name="Billede 59"/>
          <p:cNvPicPr>
            <a:picLocks noChangeAspect="1"/>
          </p:cNvPicPr>
          <p:nvPr/>
        </p:nvPicPr>
        <p:blipFill>
          <a:blip r:embed="rId60">
            <a:extLst>
              <a:ext uri="{28A0092B-C50C-407E-A947-70E740481C1C}">
                <a14:useLocalDpi xmlns:a14="http://schemas.microsoft.com/office/drawing/2010/main"/>
              </a:ext>
            </a:extLst>
          </a:blip>
          <a:stretch>
            <a:fillRect/>
          </a:stretch>
        </p:blipFill>
        <p:spPr>
          <a:xfrm>
            <a:off x="10642600" y="2933700"/>
            <a:ext cx="812800" cy="812800"/>
          </a:xfrm>
          <a:prstGeom prst="rect">
            <a:avLst/>
          </a:prstGeom>
        </p:spPr>
      </p:pic>
      <p:pic>
        <p:nvPicPr>
          <p:cNvPr id="61" name="Billede 60"/>
          <p:cNvPicPr>
            <a:picLocks noChangeAspect="1"/>
          </p:cNvPicPr>
          <p:nvPr/>
        </p:nvPicPr>
        <p:blipFill>
          <a:blip r:embed="rId61">
            <a:extLst>
              <a:ext uri="{28A0092B-C50C-407E-A947-70E740481C1C}">
                <a14:useLocalDpi xmlns:a14="http://schemas.microsoft.com/office/drawing/2010/main"/>
              </a:ext>
            </a:extLst>
          </a:blip>
          <a:stretch>
            <a:fillRect/>
          </a:stretch>
        </p:blipFill>
        <p:spPr>
          <a:xfrm>
            <a:off x="444500" y="3594100"/>
            <a:ext cx="812800" cy="812800"/>
          </a:xfrm>
          <a:prstGeom prst="rect">
            <a:avLst/>
          </a:prstGeom>
        </p:spPr>
      </p:pic>
      <p:pic>
        <p:nvPicPr>
          <p:cNvPr id="62" name="Billede 61"/>
          <p:cNvPicPr>
            <a:picLocks noChangeAspect="1"/>
          </p:cNvPicPr>
          <p:nvPr/>
        </p:nvPicPr>
        <p:blipFill>
          <a:blip r:embed="rId62">
            <a:extLst>
              <a:ext uri="{28A0092B-C50C-407E-A947-70E740481C1C}">
                <a14:useLocalDpi xmlns:a14="http://schemas.microsoft.com/office/drawing/2010/main"/>
              </a:ext>
            </a:extLst>
          </a:blip>
          <a:stretch>
            <a:fillRect/>
          </a:stretch>
        </p:blipFill>
        <p:spPr>
          <a:xfrm>
            <a:off x="1371600" y="3594100"/>
            <a:ext cx="812800" cy="812800"/>
          </a:xfrm>
          <a:prstGeom prst="rect">
            <a:avLst/>
          </a:prstGeom>
        </p:spPr>
      </p:pic>
      <p:pic>
        <p:nvPicPr>
          <p:cNvPr id="63" name="Billede 62"/>
          <p:cNvPicPr>
            <a:picLocks noChangeAspect="1"/>
          </p:cNvPicPr>
          <p:nvPr/>
        </p:nvPicPr>
        <p:blipFill>
          <a:blip r:embed="rId63">
            <a:extLst>
              <a:ext uri="{28A0092B-C50C-407E-A947-70E740481C1C}">
                <a14:useLocalDpi xmlns:a14="http://schemas.microsoft.com/office/drawing/2010/main"/>
              </a:ext>
            </a:extLst>
          </a:blip>
          <a:stretch>
            <a:fillRect/>
          </a:stretch>
        </p:blipFill>
        <p:spPr>
          <a:xfrm>
            <a:off x="2286000" y="3594100"/>
            <a:ext cx="812800" cy="812800"/>
          </a:xfrm>
          <a:prstGeom prst="rect">
            <a:avLst/>
          </a:prstGeom>
        </p:spPr>
      </p:pic>
      <p:pic>
        <p:nvPicPr>
          <p:cNvPr id="64" name="Billede 63"/>
          <p:cNvPicPr>
            <a:picLocks noChangeAspect="1"/>
          </p:cNvPicPr>
          <p:nvPr/>
        </p:nvPicPr>
        <p:blipFill>
          <a:blip r:embed="rId64">
            <a:extLst>
              <a:ext uri="{28A0092B-C50C-407E-A947-70E740481C1C}">
                <a14:useLocalDpi xmlns:a14="http://schemas.microsoft.com/office/drawing/2010/main"/>
              </a:ext>
            </a:extLst>
          </a:blip>
          <a:stretch>
            <a:fillRect/>
          </a:stretch>
        </p:blipFill>
        <p:spPr>
          <a:xfrm>
            <a:off x="3200400" y="3594100"/>
            <a:ext cx="812800" cy="812800"/>
          </a:xfrm>
          <a:prstGeom prst="rect">
            <a:avLst/>
          </a:prstGeom>
        </p:spPr>
      </p:pic>
      <p:pic>
        <p:nvPicPr>
          <p:cNvPr id="65" name="Billede 64"/>
          <p:cNvPicPr>
            <a:picLocks noChangeAspect="1"/>
          </p:cNvPicPr>
          <p:nvPr/>
        </p:nvPicPr>
        <p:blipFill>
          <a:blip r:embed="rId65">
            <a:extLst>
              <a:ext uri="{28A0092B-C50C-407E-A947-70E740481C1C}">
                <a14:useLocalDpi xmlns:a14="http://schemas.microsoft.com/office/drawing/2010/main"/>
              </a:ext>
            </a:extLst>
          </a:blip>
          <a:stretch>
            <a:fillRect/>
          </a:stretch>
        </p:blipFill>
        <p:spPr>
          <a:xfrm>
            <a:off x="4140200" y="3594100"/>
            <a:ext cx="812800" cy="812800"/>
          </a:xfrm>
          <a:prstGeom prst="rect">
            <a:avLst/>
          </a:prstGeom>
        </p:spPr>
      </p:pic>
      <p:pic>
        <p:nvPicPr>
          <p:cNvPr id="66" name="Billede 65"/>
          <p:cNvPicPr>
            <a:picLocks noChangeAspect="1"/>
          </p:cNvPicPr>
          <p:nvPr/>
        </p:nvPicPr>
        <p:blipFill>
          <a:blip r:embed="rId66">
            <a:extLst>
              <a:ext uri="{28A0092B-C50C-407E-A947-70E740481C1C}">
                <a14:useLocalDpi xmlns:a14="http://schemas.microsoft.com/office/drawing/2010/main"/>
              </a:ext>
            </a:extLst>
          </a:blip>
          <a:stretch>
            <a:fillRect/>
          </a:stretch>
        </p:blipFill>
        <p:spPr>
          <a:xfrm>
            <a:off x="5054600" y="3594100"/>
            <a:ext cx="812800" cy="812800"/>
          </a:xfrm>
          <a:prstGeom prst="rect">
            <a:avLst/>
          </a:prstGeom>
        </p:spPr>
      </p:pic>
      <p:pic>
        <p:nvPicPr>
          <p:cNvPr id="67" name="Billede 66"/>
          <p:cNvPicPr>
            <a:picLocks noChangeAspect="1"/>
          </p:cNvPicPr>
          <p:nvPr/>
        </p:nvPicPr>
        <p:blipFill>
          <a:blip r:embed="rId67">
            <a:extLst>
              <a:ext uri="{28A0092B-C50C-407E-A947-70E740481C1C}">
                <a14:useLocalDpi xmlns:a14="http://schemas.microsoft.com/office/drawing/2010/main"/>
              </a:ext>
            </a:extLst>
          </a:blip>
          <a:stretch>
            <a:fillRect/>
          </a:stretch>
        </p:blipFill>
        <p:spPr>
          <a:xfrm>
            <a:off x="6007100" y="3594100"/>
            <a:ext cx="812800" cy="812800"/>
          </a:xfrm>
          <a:prstGeom prst="rect">
            <a:avLst/>
          </a:prstGeom>
        </p:spPr>
      </p:pic>
      <p:pic>
        <p:nvPicPr>
          <p:cNvPr id="68" name="Billede 67"/>
          <p:cNvPicPr>
            <a:picLocks noChangeAspect="1"/>
          </p:cNvPicPr>
          <p:nvPr/>
        </p:nvPicPr>
        <p:blipFill>
          <a:blip r:embed="rId68">
            <a:extLst>
              <a:ext uri="{28A0092B-C50C-407E-A947-70E740481C1C}">
                <a14:useLocalDpi xmlns:a14="http://schemas.microsoft.com/office/drawing/2010/main"/>
              </a:ext>
            </a:extLst>
          </a:blip>
          <a:stretch>
            <a:fillRect/>
          </a:stretch>
        </p:blipFill>
        <p:spPr>
          <a:xfrm>
            <a:off x="6934200" y="3594100"/>
            <a:ext cx="812800" cy="812800"/>
          </a:xfrm>
          <a:prstGeom prst="rect">
            <a:avLst/>
          </a:prstGeom>
        </p:spPr>
      </p:pic>
      <p:pic>
        <p:nvPicPr>
          <p:cNvPr id="69" name="Billede 68"/>
          <p:cNvPicPr>
            <a:picLocks noChangeAspect="1"/>
          </p:cNvPicPr>
          <p:nvPr/>
        </p:nvPicPr>
        <p:blipFill>
          <a:blip r:embed="rId69">
            <a:extLst>
              <a:ext uri="{28A0092B-C50C-407E-A947-70E740481C1C}">
                <a14:useLocalDpi xmlns:a14="http://schemas.microsoft.com/office/drawing/2010/main"/>
              </a:ext>
            </a:extLst>
          </a:blip>
          <a:stretch>
            <a:fillRect/>
          </a:stretch>
        </p:blipFill>
        <p:spPr>
          <a:xfrm>
            <a:off x="7861300" y="3594100"/>
            <a:ext cx="812800" cy="812800"/>
          </a:xfrm>
          <a:prstGeom prst="rect">
            <a:avLst/>
          </a:prstGeom>
        </p:spPr>
      </p:pic>
      <p:pic>
        <p:nvPicPr>
          <p:cNvPr id="70" name="Billede 69"/>
          <p:cNvPicPr>
            <a:picLocks noChangeAspect="1"/>
          </p:cNvPicPr>
          <p:nvPr/>
        </p:nvPicPr>
        <p:blipFill>
          <a:blip r:embed="rId70">
            <a:extLst>
              <a:ext uri="{28A0092B-C50C-407E-A947-70E740481C1C}">
                <a14:useLocalDpi xmlns:a14="http://schemas.microsoft.com/office/drawing/2010/main"/>
              </a:ext>
            </a:extLst>
          </a:blip>
          <a:stretch>
            <a:fillRect/>
          </a:stretch>
        </p:blipFill>
        <p:spPr>
          <a:xfrm>
            <a:off x="8788400" y="3594100"/>
            <a:ext cx="812800" cy="812800"/>
          </a:xfrm>
          <a:prstGeom prst="rect">
            <a:avLst/>
          </a:prstGeom>
        </p:spPr>
      </p:pic>
      <p:pic>
        <p:nvPicPr>
          <p:cNvPr id="71" name="Billede 70"/>
          <p:cNvPicPr>
            <a:picLocks noChangeAspect="1"/>
          </p:cNvPicPr>
          <p:nvPr/>
        </p:nvPicPr>
        <p:blipFill>
          <a:blip r:embed="rId71">
            <a:extLst>
              <a:ext uri="{28A0092B-C50C-407E-A947-70E740481C1C}">
                <a14:useLocalDpi xmlns:a14="http://schemas.microsoft.com/office/drawing/2010/main"/>
              </a:ext>
            </a:extLst>
          </a:blip>
          <a:stretch>
            <a:fillRect/>
          </a:stretch>
        </p:blipFill>
        <p:spPr>
          <a:xfrm>
            <a:off x="9715500" y="3594100"/>
            <a:ext cx="812800" cy="812800"/>
          </a:xfrm>
          <a:prstGeom prst="rect">
            <a:avLst/>
          </a:prstGeom>
        </p:spPr>
      </p:pic>
      <p:pic>
        <p:nvPicPr>
          <p:cNvPr id="72" name="Billede 71"/>
          <p:cNvPicPr>
            <a:picLocks noChangeAspect="1"/>
          </p:cNvPicPr>
          <p:nvPr/>
        </p:nvPicPr>
        <p:blipFill>
          <a:blip r:embed="rId72">
            <a:extLst>
              <a:ext uri="{28A0092B-C50C-407E-A947-70E740481C1C}">
                <a14:useLocalDpi xmlns:a14="http://schemas.microsoft.com/office/drawing/2010/main"/>
              </a:ext>
            </a:extLst>
          </a:blip>
          <a:stretch>
            <a:fillRect/>
          </a:stretch>
        </p:blipFill>
        <p:spPr>
          <a:xfrm>
            <a:off x="10642600" y="3594100"/>
            <a:ext cx="812800" cy="812800"/>
          </a:xfrm>
          <a:prstGeom prst="rect">
            <a:avLst/>
          </a:prstGeom>
        </p:spPr>
      </p:pic>
      <p:pic>
        <p:nvPicPr>
          <p:cNvPr id="73" name="Billede 72"/>
          <p:cNvPicPr>
            <a:picLocks noChangeAspect="1"/>
          </p:cNvPicPr>
          <p:nvPr/>
        </p:nvPicPr>
        <p:blipFill>
          <a:blip r:embed="rId73">
            <a:extLst>
              <a:ext uri="{28A0092B-C50C-407E-A947-70E740481C1C}">
                <a14:useLocalDpi xmlns:a14="http://schemas.microsoft.com/office/drawing/2010/main"/>
              </a:ext>
            </a:extLst>
          </a:blip>
          <a:stretch>
            <a:fillRect/>
          </a:stretch>
        </p:blipFill>
        <p:spPr>
          <a:xfrm>
            <a:off x="444500" y="4254500"/>
            <a:ext cx="812800" cy="812800"/>
          </a:xfrm>
          <a:prstGeom prst="rect">
            <a:avLst/>
          </a:prstGeom>
        </p:spPr>
      </p:pic>
      <p:pic>
        <p:nvPicPr>
          <p:cNvPr id="74" name="Billede 73"/>
          <p:cNvPicPr>
            <a:picLocks noChangeAspect="1"/>
          </p:cNvPicPr>
          <p:nvPr/>
        </p:nvPicPr>
        <p:blipFill>
          <a:blip r:embed="rId74">
            <a:extLst>
              <a:ext uri="{28A0092B-C50C-407E-A947-70E740481C1C}">
                <a14:useLocalDpi xmlns:a14="http://schemas.microsoft.com/office/drawing/2010/main"/>
              </a:ext>
            </a:extLst>
          </a:blip>
          <a:stretch>
            <a:fillRect/>
          </a:stretch>
        </p:blipFill>
        <p:spPr>
          <a:xfrm>
            <a:off x="1358900" y="4254500"/>
            <a:ext cx="812800" cy="812800"/>
          </a:xfrm>
          <a:prstGeom prst="rect">
            <a:avLst/>
          </a:prstGeom>
        </p:spPr>
      </p:pic>
      <p:pic>
        <p:nvPicPr>
          <p:cNvPr id="75" name="Billede 74"/>
          <p:cNvPicPr>
            <a:picLocks noChangeAspect="1"/>
          </p:cNvPicPr>
          <p:nvPr/>
        </p:nvPicPr>
        <p:blipFill>
          <a:blip r:embed="rId75">
            <a:extLst>
              <a:ext uri="{28A0092B-C50C-407E-A947-70E740481C1C}">
                <a14:useLocalDpi xmlns:a14="http://schemas.microsoft.com/office/drawing/2010/main"/>
              </a:ext>
            </a:extLst>
          </a:blip>
          <a:stretch>
            <a:fillRect/>
          </a:stretch>
        </p:blipFill>
        <p:spPr>
          <a:xfrm>
            <a:off x="2286000" y="4254500"/>
            <a:ext cx="812800" cy="812800"/>
          </a:xfrm>
          <a:prstGeom prst="rect">
            <a:avLst/>
          </a:prstGeom>
        </p:spPr>
      </p:pic>
      <p:pic>
        <p:nvPicPr>
          <p:cNvPr id="76" name="Billede 75"/>
          <p:cNvPicPr>
            <a:picLocks noChangeAspect="1"/>
          </p:cNvPicPr>
          <p:nvPr/>
        </p:nvPicPr>
        <p:blipFill>
          <a:blip r:embed="rId76">
            <a:extLst>
              <a:ext uri="{28A0092B-C50C-407E-A947-70E740481C1C}">
                <a14:useLocalDpi xmlns:a14="http://schemas.microsoft.com/office/drawing/2010/main"/>
              </a:ext>
            </a:extLst>
          </a:blip>
          <a:stretch>
            <a:fillRect/>
          </a:stretch>
        </p:blipFill>
        <p:spPr>
          <a:xfrm>
            <a:off x="3200400" y="4254500"/>
            <a:ext cx="812800" cy="812800"/>
          </a:xfrm>
          <a:prstGeom prst="rect">
            <a:avLst/>
          </a:prstGeom>
        </p:spPr>
      </p:pic>
      <p:pic>
        <p:nvPicPr>
          <p:cNvPr id="77" name="Billede 76"/>
          <p:cNvPicPr>
            <a:picLocks noChangeAspect="1"/>
          </p:cNvPicPr>
          <p:nvPr/>
        </p:nvPicPr>
        <p:blipFill>
          <a:blip r:embed="rId77">
            <a:extLst>
              <a:ext uri="{28A0092B-C50C-407E-A947-70E740481C1C}">
                <a14:useLocalDpi xmlns:a14="http://schemas.microsoft.com/office/drawing/2010/main"/>
              </a:ext>
            </a:extLst>
          </a:blip>
          <a:stretch>
            <a:fillRect/>
          </a:stretch>
        </p:blipFill>
        <p:spPr>
          <a:xfrm>
            <a:off x="4140200" y="4254500"/>
            <a:ext cx="812800" cy="812800"/>
          </a:xfrm>
          <a:prstGeom prst="rect">
            <a:avLst/>
          </a:prstGeom>
        </p:spPr>
      </p:pic>
      <p:pic>
        <p:nvPicPr>
          <p:cNvPr id="78" name="Billede 77"/>
          <p:cNvPicPr>
            <a:picLocks noChangeAspect="1"/>
          </p:cNvPicPr>
          <p:nvPr/>
        </p:nvPicPr>
        <p:blipFill>
          <a:blip r:embed="rId78">
            <a:extLst>
              <a:ext uri="{28A0092B-C50C-407E-A947-70E740481C1C}">
                <a14:useLocalDpi xmlns:a14="http://schemas.microsoft.com/office/drawing/2010/main"/>
              </a:ext>
            </a:extLst>
          </a:blip>
          <a:stretch>
            <a:fillRect/>
          </a:stretch>
        </p:blipFill>
        <p:spPr>
          <a:xfrm>
            <a:off x="5054600" y="4254500"/>
            <a:ext cx="812800" cy="812800"/>
          </a:xfrm>
          <a:prstGeom prst="rect">
            <a:avLst/>
          </a:prstGeom>
        </p:spPr>
      </p:pic>
      <p:pic>
        <p:nvPicPr>
          <p:cNvPr id="79" name="Billede 78"/>
          <p:cNvPicPr>
            <a:picLocks noChangeAspect="1"/>
          </p:cNvPicPr>
          <p:nvPr/>
        </p:nvPicPr>
        <p:blipFill>
          <a:blip r:embed="rId79">
            <a:extLst>
              <a:ext uri="{28A0092B-C50C-407E-A947-70E740481C1C}">
                <a14:useLocalDpi xmlns:a14="http://schemas.microsoft.com/office/drawing/2010/main"/>
              </a:ext>
            </a:extLst>
          </a:blip>
          <a:stretch>
            <a:fillRect/>
          </a:stretch>
        </p:blipFill>
        <p:spPr>
          <a:xfrm>
            <a:off x="5981700" y="4254500"/>
            <a:ext cx="812800" cy="812800"/>
          </a:xfrm>
          <a:prstGeom prst="rect">
            <a:avLst/>
          </a:prstGeom>
        </p:spPr>
      </p:pic>
      <p:pic>
        <p:nvPicPr>
          <p:cNvPr id="80" name="Billede 79"/>
          <p:cNvPicPr>
            <a:picLocks noChangeAspect="1"/>
          </p:cNvPicPr>
          <p:nvPr/>
        </p:nvPicPr>
        <p:blipFill>
          <a:blip r:embed="rId80">
            <a:extLst>
              <a:ext uri="{28A0092B-C50C-407E-A947-70E740481C1C}">
                <a14:useLocalDpi xmlns:a14="http://schemas.microsoft.com/office/drawing/2010/main"/>
              </a:ext>
            </a:extLst>
          </a:blip>
          <a:stretch>
            <a:fillRect/>
          </a:stretch>
        </p:blipFill>
        <p:spPr>
          <a:xfrm>
            <a:off x="6934200" y="4254500"/>
            <a:ext cx="812800" cy="812800"/>
          </a:xfrm>
          <a:prstGeom prst="rect">
            <a:avLst/>
          </a:prstGeom>
        </p:spPr>
      </p:pic>
      <p:pic>
        <p:nvPicPr>
          <p:cNvPr id="81" name="Billede 80"/>
          <p:cNvPicPr>
            <a:picLocks noChangeAspect="1"/>
          </p:cNvPicPr>
          <p:nvPr/>
        </p:nvPicPr>
        <p:blipFill>
          <a:blip r:embed="rId81">
            <a:extLst>
              <a:ext uri="{28A0092B-C50C-407E-A947-70E740481C1C}">
                <a14:useLocalDpi xmlns:a14="http://schemas.microsoft.com/office/drawing/2010/main"/>
              </a:ext>
            </a:extLst>
          </a:blip>
          <a:stretch>
            <a:fillRect/>
          </a:stretch>
        </p:blipFill>
        <p:spPr>
          <a:xfrm>
            <a:off x="7861300" y="4254500"/>
            <a:ext cx="812800" cy="812800"/>
          </a:xfrm>
          <a:prstGeom prst="rect">
            <a:avLst/>
          </a:prstGeom>
        </p:spPr>
      </p:pic>
      <p:pic>
        <p:nvPicPr>
          <p:cNvPr id="82" name="Billede 81"/>
          <p:cNvPicPr>
            <a:picLocks noChangeAspect="1"/>
          </p:cNvPicPr>
          <p:nvPr/>
        </p:nvPicPr>
        <p:blipFill>
          <a:blip r:embed="rId82">
            <a:extLst>
              <a:ext uri="{28A0092B-C50C-407E-A947-70E740481C1C}">
                <a14:useLocalDpi xmlns:a14="http://schemas.microsoft.com/office/drawing/2010/main"/>
              </a:ext>
            </a:extLst>
          </a:blip>
          <a:stretch>
            <a:fillRect/>
          </a:stretch>
        </p:blipFill>
        <p:spPr>
          <a:xfrm>
            <a:off x="8788400" y="4254500"/>
            <a:ext cx="812800" cy="812800"/>
          </a:xfrm>
          <a:prstGeom prst="rect">
            <a:avLst/>
          </a:prstGeom>
        </p:spPr>
      </p:pic>
      <p:pic>
        <p:nvPicPr>
          <p:cNvPr id="83" name="Billede 82"/>
          <p:cNvPicPr>
            <a:picLocks noChangeAspect="1"/>
          </p:cNvPicPr>
          <p:nvPr/>
        </p:nvPicPr>
        <p:blipFill>
          <a:blip r:embed="rId83">
            <a:extLst>
              <a:ext uri="{28A0092B-C50C-407E-A947-70E740481C1C}">
                <a14:useLocalDpi xmlns:a14="http://schemas.microsoft.com/office/drawing/2010/main"/>
              </a:ext>
            </a:extLst>
          </a:blip>
          <a:stretch>
            <a:fillRect/>
          </a:stretch>
        </p:blipFill>
        <p:spPr>
          <a:xfrm>
            <a:off x="9715500" y="4241800"/>
            <a:ext cx="812800" cy="812800"/>
          </a:xfrm>
          <a:prstGeom prst="rect">
            <a:avLst/>
          </a:prstGeom>
        </p:spPr>
      </p:pic>
      <p:pic>
        <p:nvPicPr>
          <p:cNvPr id="84" name="Billede 83"/>
          <p:cNvPicPr>
            <a:picLocks noChangeAspect="1"/>
          </p:cNvPicPr>
          <p:nvPr/>
        </p:nvPicPr>
        <p:blipFill>
          <a:blip r:embed="rId84">
            <a:extLst>
              <a:ext uri="{28A0092B-C50C-407E-A947-70E740481C1C}">
                <a14:useLocalDpi xmlns:a14="http://schemas.microsoft.com/office/drawing/2010/main"/>
              </a:ext>
            </a:extLst>
          </a:blip>
          <a:stretch>
            <a:fillRect/>
          </a:stretch>
        </p:blipFill>
        <p:spPr>
          <a:xfrm>
            <a:off x="10642600" y="4241800"/>
            <a:ext cx="812800" cy="812800"/>
          </a:xfrm>
          <a:prstGeom prst="rect">
            <a:avLst/>
          </a:prstGeom>
        </p:spPr>
      </p:pic>
      <p:pic>
        <p:nvPicPr>
          <p:cNvPr id="85" name="Billede 84"/>
          <p:cNvPicPr>
            <a:picLocks noChangeAspect="1"/>
          </p:cNvPicPr>
          <p:nvPr/>
        </p:nvPicPr>
        <p:blipFill>
          <a:blip r:embed="rId85">
            <a:extLst>
              <a:ext uri="{28A0092B-C50C-407E-A947-70E740481C1C}">
                <a14:useLocalDpi xmlns:a14="http://schemas.microsoft.com/office/drawing/2010/main"/>
              </a:ext>
            </a:extLst>
          </a:blip>
          <a:stretch>
            <a:fillRect/>
          </a:stretch>
        </p:blipFill>
        <p:spPr>
          <a:xfrm>
            <a:off x="444500" y="4914900"/>
            <a:ext cx="812800" cy="812800"/>
          </a:xfrm>
          <a:prstGeom prst="rect">
            <a:avLst/>
          </a:prstGeom>
        </p:spPr>
      </p:pic>
      <p:pic>
        <p:nvPicPr>
          <p:cNvPr id="86" name="Billede 85"/>
          <p:cNvPicPr>
            <a:picLocks noChangeAspect="1"/>
          </p:cNvPicPr>
          <p:nvPr/>
        </p:nvPicPr>
        <p:blipFill>
          <a:blip r:embed="rId86">
            <a:extLst>
              <a:ext uri="{28A0092B-C50C-407E-A947-70E740481C1C}">
                <a14:useLocalDpi xmlns:a14="http://schemas.microsoft.com/office/drawing/2010/main"/>
              </a:ext>
            </a:extLst>
          </a:blip>
          <a:stretch>
            <a:fillRect/>
          </a:stretch>
        </p:blipFill>
        <p:spPr>
          <a:xfrm>
            <a:off x="1371600" y="4914900"/>
            <a:ext cx="812800" cy="812800"/>
          </a:xfrm>
          <a:prstGeom prst="rect">
            <a:avLst/>
          </a:prstGeom>
        </p:spPr>
      </p:pic>
      <p:pic>
        <p:nvPicPr>
          <p:cNvPr id="87" name="Billede 86"/>
          <p:cNvPicPr>
            <a:picLocks noChangeAspect="1"/>
          </p:cNvPicPr>
          <p:nvPr/>
        </p:nvPicPr>
        <p:blipFill>
          <a:blip r:embed="rId87">
            <a:extLst>
              <a:ext uri="{28A0092B-C50C-407E-A947-70E740481C1C}">
                <a14:useLocalDpi xmlns:a14="http://schemas.microsoft.com/office/drawing/2010/main"/>
              </a:ext>
            </a:extLst>
          </a:blip>
          <a:stretch>
            <a:fillRect/>
          </a:stretch>
        </p:blipFill>
        <p:spPr>
          <a:xfrm>
            <a:off x="2286000" y="4914900"/>
            <a:ext cx="812800" cy="812800"/>
          </a:xfrm>
          <a:prstGeom prst="rect">
            <a:avLst/>
          </a:prstGeom>
        </p:spPr>
      </p:pic>
      <p:pic>
        <p:nvPicPr>
          <p:cNvPr id="88" name="Billede 87"/>
          <p:cNvPicPr>
            <a:picLocks noChangeAspect="1"/>
          </p:cNvPicPr>
          <p:nvPr/>
        </p:nvPicPr>
        <p:blipFill>
          <a:blip r:embed="rId88">
            <a:extLst>
              <a:ext uri="{28A0092B-C50C-407E-A947-70E740481C1C}">
                <a14:useLocalDpi xmlns:a14="http://schemas.microsoft.com/office/drawing/2010/main"/>
              </a:ext>
            </a:extLst>
          </a:blip>
          <a:stretch>
            <a:fillRect/>
          </a:stretch>
        </p:blipFill>
        <p:spPr>
          <a:xfrm>
            <a:off x="3213100" y="4914900"/>
            <a:ext cx="812800" cy="812800"/>
          </a:xfrm>
          <a:prstGeom prst="rect">
            <a:avLst/>
          </a:prstGeom>
        </p:spPr>
      </p:pic>
      <p:pic>
        <p:nvPicPr>
          <p:cNvPr id="89" name="Billede 88"/>
          <p:cNvPicPr>
            <a:picLocks noChangeAspect="1"/>
          </p:cNvPicPr>
          <p:nvPr/>
        </p:nvPicPr>
        <p:blipFill>
          <a:blip r:embed="rId89">
            <a:extLst>
              <a:ext uri="{28A0092B-C50C-407E-A947-70E740481C1C}">
                <a14:useLocalDpi xmlns:a14="http://schemas.microsoft.com/office/drawing/2010/main"/>
              </a:ext>
            </a:extLst>
          </a:blip>
          <a:stretch>
            <a:fillRect/>
          </a:stretch>
        </p:blipFill>
        <p:spPr>
          <a:xfrm>
            <a:off x="4127500" y="4914900"/>
            <a:ext cx="812800" cy="812800"/>
          </a:xfrm>
          <a:prstGeom prst="rect">
            <a:avLst/>
          </a:prstGeom>
        </p:spPr>
      </p:pic>
      <p:pic>
        <p:nvPicPr>
          <p:cNvPr id="90" name="Billede 89"/>
          <p:cNvPicPr>
            <a:picLocks noChangeAspect="1"/>
          </p:cNvPicPr>
          <p:nvPr/>
        </p:nvPicPr>
        <p:blipFill>
          <a:blip r:embed="rId90">
            <a:extLst>
              <a:ext uri="{28A0092B-C50C-407E-A947-70E740481C1C}">
                <a14:useLocalDpi xmlns:a14="http://schemas.microsoft.com/office/drawing/2010/main"/>
              </a:ext>
            </a:extLst>
          </a:blip>
          <a:stretch>
            <a:fillRect/>
          </a:stretch>
        </p:blipFill>
        <p:spPr>
          <a:xfrm>
            <a:off x="5054600" y="4914900"/>
            <a:ext cx="812800" cy="812800"/>
          </a:xfrm>
          <a:prstGeom prst="rect">
            <a:avLst/>
          </a:prstGeom>
        </p:spPr>
      </p:pic>
      <p:pic>
        <p:nvPicPr>
          <p:cNvPr id="91" name="Billede 90"/>
          <p:cNvPicPr>
            <a:picLocks noChangeAspect="1"/>
          </p:cNvPicPr>
          <p:nvPr/>
        </p:nvPicPr>
        <p:blipFill>
          <a:blip r:embed="rId91">
            <a:extLst>
              <a:ext uri="{28A0092B-C50C-407E-A947-70E740481C1C}">
                <a14:useLocalDpi xmlns:a14="http://schemas.microsoft.com/office/drawing/2010/main"/>
              </a:ext>
            </a:extLst>
          </a:blip>
          <a:stretch>
            <a:fillRect/>
          </a:stretch>
        </p:blipFill>
        <p:spPr>
          <a:xfrm>
            <a:off x="6007100" y="4914900"/>
            <a:ext cx="812800" cy="812800"/>
          </a:xfrm>
          <a:prstGeom prst="rect">
            <a:avLst/>
          </a:prstGeom>
        </p:spPr>
      </p:pic>
      <p:pic>
        <p:nvPicPr>
          <p:cNvPr id="92" name="Billede 91"/>
          <p:cNvPicPr>
            <a:picLocks noChangeAspect="1"/>
          </p:cNvPicPr>
          <p:nvPr/>
        </p:nvPicPr>
        <p:blipFill>
          <a:blip r:embed="rId92">
            <a:extLst>
              <a:ext uri="{28A0092B-C50C-407E-A947-70E740481C1C}">
                <a14:useLocalDpi xmlns:a14="http://schemas.microsoft.com/office/drawing/2010/main"/>
              </a:ext>
            </a:extLst>
          </a:blip>
          <a:stretch>
            <a:fillRect/>
          </a:stretch>
        </p:blipFill>
        <p:spPr>
          <a:xfrm>
            <a:off x="6934200" y="4914900"/>
            <a:ext cx="812800" cy="812800"/>
          </a:xfrm>
          <a:prstGeom prst="rect">
            <a:avLst/>
          </a:prstGeom>
        </p:spPr>
      </p:pic>
      <p:pic>
        <p:nvPicPr>
          <p:cNvPr id="93" name="Billede 92"/>
          <p:cNvPicPr>
            <a:picLocks noChangeAspect="1"/>
          </p:cNvPicPr>
          <p:nvPr/>
        </p:nvPicPr>
        <p:blipFill>
          <a:blip r:embed="rId73">
            <a:extLst>
              <a:ext uri="{28A0092B-C50C-407E-A947-70E740481C1C}">
                <a14:useLocalDpi xmlns:a14="http://schemas.microsoft.com/office/drawing/2010/main"/>
              </a:ext>
            </a:extLst>
          </a:blip>
          <a:stretch>
            <a:fillRect/>
          </a:stretch>
        </p:blipFill>
        <p:spPr>
          <a:xfrm>
            <a:off x="7886700" y="4914900"/>
            <a:ext cx="812800" cy="812800"/>
          </a:xfrm>
          <a:prstGeom prst="rect">
            <a:avLst/>
          </a:prstGeom>
        </p:spPr>
      </p:pic>
      <p:pic>
        <p:nvPicPr>
          <p:cNvPr id="94" name="Billede 93"/>
          <p:cNvPicPr>
            <a:picLocks noChangeAspect="1"/>
          </p:cNvPicPr>
          <p:nvPr/>
        </p:nvPicPr>
        <p:blipFill>
          <a:blip r:embed="rId93">
            <a:extLst>
              <a:ext uri="{28A0092B-C50C-407E-A947-70E740481C1C}">
                <a14:useLocalDpi xmlns:a14="http://schemas.microsoft.com/office/drawing/2010/main"/>
              </a:ext>
            </a:extLst>
          </a:blip>
          <a:stretch>
            <a:fillRect/>
          </a:stretch>
        </p:blipFill>
        <p:spPr>
          <a:xfrm>
            <a:off x="8788400" y="4914900"/>
            <a:ext cx="812800" cy="812800"/>
          </a:xfrm>
          <a:prstGeom prst="rect">
            <a:avLst/>
          </a:prstGeom>
        </p:spPr>
      </p:pic>
      <p:pic>
        <p:nvPicPr>
          <p:cNvPr id="95" name="Billede 94"/>
          <p:cNvPicPr>
            <a:picLocks noChangeAspect="1"/>
          </p:cNvPicPr>
          <p:nvPr/>
        </p:nvPicPr>
        <p:blipFill>
          <a:blip r:embed="rId94">
            <a:extLst>
              <a:ext uri="{28A0092B-C50C-407E-A947-70E740481C1C}">
                <a14:useLocalDpi xmlns:a14="http://schemas.microsoft.com/office/drawing/2010/main"/>
              </a:ext>
            </a:extLst>
          </a:blip>
          <a:stretch>
            <a:fillRect/>
          </a:stretch>
        </p:blipFill>
        <p:spPr>
          <a:xfrm>
            <a:off x="9715500" y="4914900"/>
            <a:ext cx="812800" cy="812800"/>
          </a:xfrm>
          <a:prstGeom prst="rect">
            <a:avLst/>
          </a:prstGeom>
        </p:spPr>
      </p:pic>
      <p:pic>
        <p:nvPicPr>
          <p:cNvPr id="96" name="Billede 95"/>
          <p:cNvPicPr>
            <a:picLocks noChangeAspect="1"/>
          </p:cNvPicPr>
          <p:nvPr/>
        </p:nvPicPr>
        <p:blipFill>
          <a:blip r:embed="rId95">
            <a:extLst>
              <a:ext uri="{28A0092B-C50C-407E-A947-70E740481C1C}">
                <a14:useLocalDpi xmlns:a14="http://schemas.microsoft.com/office/drawing/2010/main"/>
              </a:ext>
            </a:extLst>
          </a:blip>
          <a:stretch>
            <a:fillRect/>
          </a:stretch>
        </p:blipFill>
        <p:spPr>
          <a:xfrm>
            <a:off x="10642600" y="4902200"/>
            <a:ext cx="812800" cy="812800"/>
          </a:xfrm>
          <a:prstGeom prst="rect">
            <a:avLst/>
          </a:prstGeom>
        </p:spPr>
      </p:pic>
      <p:pic>
        <p:nvPicPr>
          <p:cNvPr id="97" name="Billede 96"/>
          <p:cNvPicPr>
            <a:picLocks noChangeAspect="1"/>
          </p:cNvPicPr>
          <p:nvPr/>
        </p:nvPicPr>
        <p:blipFill>
          <a:blip r:embed="rId96">
            <a:extLst>
              <a:ext uri="{28A0092B-C50C-407E-A947-70E740481C1C}">
                <a14:useLocalDpi xmlns:a14="http://schemas.microsoft.com/office/drawing/2010/main"/>
              </a:ext>
            </a:extLst>
          </a:blip>
          <a:stretch>
            <a:fillRect/>
          </a:stretch>
        </p:blipFill>
        <p:spPr>
          <a:xfrm>
            <a:off x="444500" y="5575300"/>
            <a:ext cx="812800" cy="812800"/>
          </a:xfrm>
          <a:prstGeom prst="rect">
            <a:avLst/>
          </a:prstGeom>
        </p:spPr>
      </p:pic>
      <p:pic>
        <p:nvPicPr>
          <p:cNvPr id="98" name="Billede 97"/>
          <p:cNvPicPr>
            <a:picLocks noChangeAspect="1"/>
          </p:cNvPicPr>
          <p:nvPr/>
        </p:nvPicPr>
        <p:blipFill>
          <a:blip r:embed="rId97">
            <a:extLst>
              <a:ext uri="{28A0092B-C50C-407E-A947-70E740481C1C}">
                <a14:useLocalDpi xmlns:a14="http://schemas.microsoft.com/office/drawing/2010/main"/>
              </a:ext>
            </a:extLst>
          </a:blip>
          <a:stretch>
            <a:fillRect/>
          </a:stretch>
        </p:blipFill>
        <p:spPr>
          <a:xfrm>
            <a:off x="1371600" y="5575300"/>
            <a:ext cx="812800" cy="812800"/>
          </a:xfrm>
          <a:prstGeom prst="rect">
            <a:avLst/>
          </a:prstGeom>
        </p:spPr>
      </p:pic>
      <p:pic>
        <p:nvPicPr>
          <p:cNvPr id="99" name="Billede 98"/>
          <p:cNvPicPr>
            <a:picLocks noChangeAspect="1"/>
          </p:cNvPicPr>
          <p:nvPr/>
        </p:nvPicPr>
        <p:blipFill>
          <a:blip r:embed="rId98">
            <a:extLst>
              <a:ext uri="{28A0092B-C50C-407E-A947-70E740481C1C}">
                <a14:useLocalDpi xmlns:a14="http://schemas.microsoft.com/office/drawing/2010/main"/>
              </a:ext>
            </a:extLst>
          </a:blip>
          <a:stretch>
            <a:fillRect/>
          </a:stretch>
        </p:blipFill>
        <p:spPr>
          <a:xfrm>
            <a:off x="2273300" y="5575300"/>
            <a:ext cx="812800" cy="812800"/>
          </a:xfrm>
          <a:prstGeom prst="rect">
            <a:avLst/>
          </a:prstGeom>
        </p:spPr>
      </p:pic>
      <p:pic>
        <p:nvPicPr>
          <p:cNvPr id="100" name="Billede 99"/>
          <p:cNvPicPr>
            <a:picLocks noChangeAspect="1"/>
          </p:cNvPicPr>
          <p:nvPr/>
        </p:nvPicPr>
        <p:blipFill>
          <a:blip r:embed="rId99">
            <a:extLst>
              <a:ext uri="{28A0092B-C50C-407E-A947-70E740481C1C}">
                <a14:useLocalDpi xmlns:a14="http://schemas.microsoft.com/office/drawing/2010/main"/>
              </a:ext>
            </a:extLst>
          </a:blip>
          <a:stretch>
            <a:fillRect/>
          </a:stretch>
        </p:blipFill>
        <p:spPr>
          <a:xfrm>
            <a:off x="3200400" y="5575300"/>
            <a:ext cx="812800" cy="812800"/>
          </a:xfrm>
          <a:prstGeom prst="rect">
            <a:avLst/>
          </a:prstGeom>
        </p:spPr>
      </p:pic>
      <p:pic>
        <p:nvPicPr>
          <p:cNvPr id="101" name="Billede 100"/>
          <p:cNvPicPr>
            <a:picLocks noChangeAspect="1"/>
          </p:cNvPicPr>
          <p:nvPr/>
        </p:nvPicPr>
        <p:blipFill>
          <a:blip r:embed="rId100">
            <a:extLst>
              <a:ext uri="{28A0092B-C50C-407E-A947-70E740481C1C}">
                <a14:useLocalDpi xmlns:a14="http://schemas.microsoft.com/office/drawing/2010/main"/>
              </a:ext>
            </a:extLst>
          </a:blip>
          <a:stretch>
            <a:fillRect/>
          </a:stretch>
        </p:blipFill>
        <p:spPr>
          <a:xfrm>
            <a:off x="4127500" y="5575300"/>
            <a:ext cx="812800" cy="812800"/>
          </a:xfrm>
          <a:prstGeom prst="rect">
            <a:avLst/>
          </a:prstGeom>
        </p:spPr>
      </p:pic>
      <p:pic>
        <p:nvPicPr>
          <p:cNvPr id="102" name="Billede 101"/>
          <p:cNvPicPr>
            <a:picLocks noChangeAspect="1"/>
          </p:cNvPicPr>
          <p:nvPr/>
        </p:nvPicPr>
        <p:blipFill>
          <a:blip r:embed="rId101">
            <a:extLst>
              <a:ext uri="{28A0092B-C50C-407E-A947-70E740481C1C}">
                <a14:useLocalDpi xmlns:a14="http://schemas.microsoft.com/office/drawing/2010/main"/>
              </a:ext>
            </a:extLst>
          </a:blip>
          <a:stretch>
            <a:fillRect/>
          </a:stretch>
        </p:blipFill>
        <p:spPr>
          <a:xfrm>
            <a:off x="5041900" y="5575300"/>
            <a:ext cx="812800" cy="812800"/>
          </a:xfrm>
          <a:prstGeom prst="rect">
            <a:avLst/>
          </a:prstGeom>
        </p:spPr>
      </p:pic>
      <p:pic>
        <p:nvPicPr>
          <p:cNvPr id="103" name="Billede 102"/>
          <p:cNvPicPr>
            <a:picLocks noChangeAspect="1"/>
          </p:cNvPicPr>
          <p:nvPr/>
        </p:nvPicPr>
        <p:blipFill>
          <a:blip r:embed="rId102">
            <a:extLst>
              <a:ext uri="{28A0092B-C50C-407E-A947-70E740481C1C}">
                <a14:useLocalDpi xmlns:a14="http://schemas.microsoft.com/office/drawing/2010/main"/>
              </a:ext>
            </a:extLst>
          </a:blip>
          <a:stretch>
            <a:fillRect/>
          </a:stretch>
        </p:blipFill>
        <p:spPr>
          <a:xfrm>
            <a:off x="6007100" y="5575300"/>
            <a:ext cx="812800" cy="812800"/>
          </a:xfrm>
          <a:prstGeom prst="rect">
            <a:avLst/>
          </a:prstGeom>
        </p:spPr>
      </p:pic>
      <p:pic>
        <p:nvPicPr>
          <p:cNvPr id="104" name="Billede 103"/>
          <p:cNvPicPr>
            <a:picLocks noChangeAspect="1"/>
          </p:cNvPicPr>
          <p:nvPr/>
        </p:nvPicPr>
        <p:blipFill>
          <a:blip r:embed="rId103">
            <a:extLst>
              <a:ext uri="{28A0092B-C50C-407E-A947-70E740481C1C}">
                <a14:useLocalDpi xmlns:a14="http://schemas.microsoft.com/office/drawing/2010/main"/>
              </a:ext>
            </a:extLst>
          </a:blip>
          <a:stretch>
            <a:fillRect/>
          </a:stretch>
        </p:blipFill>
        <p:spPr>
          <a:xfrm>
            <a:off x="6934200" y="5575300"/>
            <a:ext cx="812800" cy="812800"/>
          </a:xfrm>
          <a:prstGeom prst="rect">
            <a:avLst/>
          </a:prstGeom>
        </p:spPr>
      </p:pic>
      <p:pic>
        <p:nvPicPr>
          <p:cNvPr id="105" name="Billede 104"/>
          <p:cNvPicPr>
            <a:picLocks noChangeAspect="1"/>
          </p:cNvPicPr>
          <p:nvPr/>
        </p:nvPicPr>
        <p:blipFill>
          <a:blip r:embed="rId104">
            <a:extLst>
              <a:ext uri="{28A0092B-C50C-407E-A947-70E740481C1C}">
                <a14:useLocalDpi xmlns:a14="http://schemas.microsoft.com/office/drawing/2010/main"/>
              </a:ext>
            </a:extLst>
          </a:blip>
          <a:stretch>
            <a:fillRect/>
          </a:stretch>
        </p:blipFill>
        <p:spPr>
          <a:xfrm>
            <a:off x="7886700" y="5575300"/>
            <a:ext cx="812800" cy="812800"/>
          </a:xfrm>
          <a:prstGeom prst="rect">
            <a:avLst/>
          </a:prstGeom>
        </p:spPr>
      </p:pic>
      <p:pic>
        <p:nvPicPr>
          <p:cNvPr id="106" name="Billede 105"/>
          <p:cNvPicPr>
            <a:picLocks noChangeAspect="1"/>
          </p:cNvPicPr>
          <p:nvPr/>
        </p:nvPicPr>
        <p:blipFill>
          <a:blip r:embed="rId105">
            <a:extLst>
              <a:ext uri="{28A0092B-C50C-407E-A947-70E740481C1C}">
                <a14:useLocalDpi xmlns:a14="http://schemas.microsoft.com/office/drawing/2010/main"/>
              </a:ext>
            </a:extLst>
          </a:blip>
          <a:stretch>
            <a:fillRect/>
          </a:stretch>
        </p:blipFill>
        <p:spPr>
          <a:xfrm>
            <a:off x="8775700" y="5575300"/>
            <a:ext cx="812800" cy="812800"/>
          </a:xfrm>
          <a:prstGeom prst="rect">
            <a:avLst/>
          </a:prstGeom>
        </p:spPr>
      </p:pic>
      <p:pic>
        <p:nvPicPr>
          <p:cNvPr id="107" name="Billede 106"/>
          <p:cNvPicPr>
            <a:picLocks noChangeAspect="1"/>
          </p:cNvPicPr>
          <p:nvPr/>
        </p:nvPicPr>
        <p:blipFill>
          <a:blip r:embed="rId106">
            <a:extLst>
              <a:ext uri="{28A0092B-C50C-407E-A947-70E740481C1C}">
                <a14:useLocalDpi xmlns:a14="http://schemas.microsoft.com/office/drawing/2010/main"/>
              </a:ext>
            </a:extLst>
          </a:blip>
          <a:stretch>
            <a:fillRect/>
          </a:stretch>
        </p:blipFill>
        <p:spPr>
          <a:xfrm>
            <a:off x="9702800" y="5575300"/>
            <a:ext cx="812800" cy="812800"/>
          </a:xfrm>
          <a:prstGeom prst="rect">
            <a:avLst/>
          </a:prstGeom>
        </p:spPr>
      </p:pic>
      <p:pic>
        <p:nvPicPr>
          <p:cNvPr id="108" name="Billede 107"/>
          <p:cNvPicPr>
            <a:picLocks noChangeAspect="1"/>
          </p:cNvPicPr>
          <p:nvPr/>
        </p:nvPicPr>
        <p:blipFill>
          <a:blip r:embed="rId107">
            <a:extLst>
              <a:ext uri="{28A0092B-C50C-407E-A947-70E740481C1C}">
                <a14:useLocalDpi xmlns:a14="http://schemas.microsoft.com/office/drawing/2010/main"/>
              </a:ext>
            </a:extLst>
          </a:blip>
          <a:stretch>
            <a:fillRect/>
          </a:stretch>
        </p:blipFill>
        <p:spPr>
          <a:xfrm>
            <a:off x="10642600" y="5575300"/>
            <a:ext cx="812800" cy="812800"/>
          </a:xfrm>
          <a:prstGeom prst="rect">
            <a:avLst/>
          </a:prstGeom>
        </p:spPr>
      </p:pic>
      <p:pic>
        <p:nvPicPr>
          <p:cNvPr id="109" name="Billede 108"/>
          <p:cNvPicPr>
            <a:picLocks noChangeAspect="1"/>
          </p:cNvPicPr>
          <p:nvPr/>
        </p:nvPicPr>
        <p:blipFill>
          <a:blip r:embed="rId108">
            <a:extLst>
              <a:ext uri="{28A0092B-C50C-407E-A947-70E740481C1C}">
                <a14:useLocalDpi xmlns:a14="http://schemas.microsoft.com/office/drawing/2010/main"/>
              </a:ext>
            </a:extLst>
          </a:blip>
          <a:stretch>
            <a:fillRect/>
          </a:stretch>
        </p:blipFill>
        <p:spPr>
          <a:xfrm>
            <a:off x="431800" y="6083300"/>
            <a:ext cx="812800" cy="812800"/>
          </a:xfrm>
          <a:prstGeom prst="rect">
            <a:avLst/>
          </a:prstGeom>
        </p:spPr>
      </p:pic>
      <p:pic>
        <p:nvPicPr>
          <p:cNvPr id="110" name="Billede 109"/>
          <p:cNvPicPr>
            <a:picLocks noChangeAspect="1"/>
          </p:cNvPicPr>
          <p:nvPr/>
        </p:nvPicPr>
        <p:blipFill>
          <a:blip r:embed="rId109">
            <a:extLst>
              <a:ext uri="{28A0092B-C50C-407E-A947-70E740481C1C}">
                <a14:useLocalDpi xmlns:a14="http://schemas.microsoft.com/office/drawing/2010/main"/>
              </a:ext>
            </a:extLst>
          </a:blip>
          <a:stretch>
            <a:fillRect/>
          </a:stretch>
        </p:blipFill>
        <p:spPr>
          <a:xfrm>
            <a:off x="1358900" y="6083300"/>
            <a:ext cx="812800" cy="812800"/>
          </a:xfrm>
          <a:prstGeom prst="rect">
            <a:avLst/>
          </a:prstGeom>
        </p:spPr>
      </p:pic>
      <p:pic>
        <p:nvPicPr>
          <p:cNvPr id="111" name="Billede 110"/>
          <p:cNvPicPr>
            <a:picLocks noChangeAspect="1"/>
          </p:cNvPicPr>
          <p:nvPr/>
        </p:nvPicPr>
        <p:blipFill>
          <a:blip r:embed="rId110">
            <a:extLst>
              <a:ext uri="{28A0092B-C50C-407E-A947-70E740481C1C}">
                <a14:useLocalDpi xmlns:a14="http://schemas.microsoft.com/office/drawing/2010/main"/>
              </a:ext>
            </a:extLst>
          </a:blip>
          <a:stretch>
            <a:fillRect/>
          </a:stretch>
        </p:blipFill>
        <p:spPr>
          <a:xfrm>
            <a:off x="2273300" y="6083300"/>
            <a:ext cx="812800" cy="812800"/>
          </a:xfrm>
          <a:prstGeom prst="rect">
            <a:avLst/>
          </a:prstGeom>
        </p:spPr>
      </p:pic>
      <p:pic>
        <p:nvPicPr>
          <p:cNvPr id="112" name="Billede 111"/>
          <p:cNvPicPr>
            <a:picLocks noChangeAspect="1"/>
          </p:cNvPicPr>
          <p:nvPr/>
        </p:nvPicPr>
        <p:blipFill>
          <a:blip r:embed="rId111">
            <a:extLst>
              <a:ext uri="{28A0092B-C50C-407E-A947-70E740481C1C}">
                <a14:useLocalDpi xmlns:a14="http://schemas.microsoft.com/office/drawing/2010/main"/>
              </a:ext>
            </a:extLst>
          </a:blip>
          <a:stretch>
            <a:fillRect/>
          </a:stretch>
        </p:blipFill>
        <p:spPr>
          <a:xfrm>
            <a:off x="3213100" y="6083300"/>
            <a:ext cx="812800" cy="812800"/>
          </a:xfrm>
          <a:prstGeom prst="rect">
            <a:avLst/>
          </a:prstGeom>
        </p:spPr>
      </p:pic>
      <p:pic>
        <p:nvPicPr>
          <p:cNvPr id="113" name="Billede 112"/>
          <p:cNvPicPr>
            <a:picLocks noChangeAspect="1"/>
          </p:cNvPicPr>
          <p:nvPr/>
        </p:nvPicPr>
        <p:blipFill>
          <a:blip r:embed="rId112">
            <a:extLst>
              <a:ext uri="{28A0092B-C50C-407E-A947-70E740481C1C}">
                <a14:useLocalDpi xmlns:a14="http://schemas.microsoft.com/office/drawing/2010/main"/>
              </a:ext>
            </a:extLst>
          </a:blip>
          <a:stretch>
            <a:fillRect/>
          </a:stretch>
        </p:blipFill>
        <p:spPr>
          <a:xfrm>
            <a:off x="4127500" y="6083300"/>
            <a:ext cx="812800" cy="812800"/>
          </a:xfrm>
          <a:prstGeom prst="rect">
            <a:avLst/>
          </a:prstGeom>
        </p:spPr>
      </p:pic>
      <p:pic>
        <p:nvPicPr>
          <p:cNvPr id="114" name="Billede 113"/>
          <p:cNvPicPr>
            <a:picLocks noChangeAspect="1"/>
          </p:cNvPicPr>
          <p:nvPr/>
        </p:nvPicPr>
        <p:blipFill>
          <a:blip r:embed="rId113">
            <a:extLst>
              <a:ext uri="{28A0092B-C50C-407E-A947-70E740481C1C}">
                <a14:useLocalDpi xmlns:a14="http://schemas.microsoft.com/office/drawing/2010/main"/>
              </a:ext>
            </a:extLst>
          </a:blip>
          <a:stretch>
            <a:fillRect/>
          </a:stretch>
        </p:blipFill>
        <p:spPr>
          <a:xfrm>
            <a:off x="5041900" y="6083300"/>
            <a:ext cx="812800" cy="812800"/>
          </a:xfrm>
          <a:prstGeom prst="rect">
            <a:avLst/>
          </a:prstGeom>
        </p:spPr>
      </p:pic>
      <p:pic>
        <p:nvPicPr>
          <p:cNvPr id="115" name="Billede 114"/>
          <p:cNvPicPr>
            <a:picLocks noChangeAspect="1"/>
          </p:cNvPicPr>
          <p:nvPr/>
        </p:nvPicPr>
        <p:blipFill>
          <a:blip r:embed="rId114">
            <a:extLst>
              <a:ext uri="{28A0092B-C50C-407E-A947-70E740481C1C}">
                <a14:useLocalDpi xmlns:a14="http://schemas.microsoft.com/office/drawing/2010/main"/>
              </a:ext>
            </a:extLst>
          </a:blip>
          <a:stretch>
            <a:fillRect/>
          </a:stretch>
        </p:blipFill>
        <p:spPr>
          <a:xfrm>
            <a:off x="6007100" y="6083300"/>
            <a:ext cx="812800" cy="812800"/>
          </a:xfrm>
          <a:prstGeom prst="rect">
            <a:avLst/>
          </a:prstGeom>
        </p:spPr>
      </p:pic>
      <p:pic>
        <p:nvPicPr>
          <p:cNvPr id="116" name="Billede 115"/>
          <p:cNvPicPr>
            <a:picLocks noChangeAspect="1"/>
          </p:cNvPicPr>
          <p:nvPr/>
        </p:nvPicPr>
        <p:blipFill>
          <a:blip r:embed="rId115">
            <a:extLst>
              <a:ext uri="{28A0092B-C50C-407E-A947-70E740481C1C}">
                <a14:useLocalDpi xmlns:a14="http://schemas.microsoft.com/office/drawing/2010/main"/>
              </a:ext>
            </a:extLst>
          </a:blip>
          <a:stretch>
            <a:fillRect/>
          </a:stretch>
        </p:blipFill>
        <p:spPr>
          <a:xfrm>
            <a:off x="6921500" y="6083300"/>
            <a:ext cx="812800" cy="812800"/>
          </a:xfrm>
          <a:prstGeom prst="rect">
            <a:avLst/>
          </a:prstGeom>
        </p:spPr>
      </p:pic>
      <p:pic>
        <p:nvPicPr>
          <p:cNvPr id="117" name="Billede 116"/>
          <p:cNvPicPr>
            <a:picLocks noChangeAspect="1"/>
          </p:cNvPicPr>
          <p:nvPr/>
        </p:nvPicPr>
        <p:blipFill>
          <a:blip r:embed="rId116">
            <a:extLst>
              <a:ext uri="{28A0092B-C50C-407E-A947-70E740481C1C}">
                <a14:useLocalDpi xmlns:a14="http://schemas.microsoft.com/office/drawing/2010/main"/>
              </a:ext>
            </a:extLst>
          </a:blip>
          <a:stretch>
            <a:fillRect/>
          </a:stretch>
        </p:blipFill>
        <p:spPr>
          <a:xfrm>
            <a:off x="7886700" y="6096000"/>
            <a:ext cx="812800" cy="812800"/>
          </a:xfrm>
          <a:prstGeom prst="rect">
            <a:avLst/>
          </a:prstGeom>
        </p:spPr>
      </p:pic>
      <p:pic>
        <p:nvPicPr>
          <p:cNvPr id="118" name="Billede 117"/>
          <p:cNvPicPr>
            <a:picLocks noChangeAspect="1"/>
          </p:cNvPicPr>
          <p:nvPr/>
        </p:nvPicPr>
        <p:blipFill>
          <a:blip r:embed="rId117">
            <a:extLst>
              <a:ext uri="{28A0092B-C50C-407E-A947-70E740481C1C}">
                <a14:useLocalDpi xmlns:a14="http://schemas.microsoft.com/office/drawing/2010/main"/>
              </a:ext>
            </a:extLst>
          </a:blip>
          <a:stretch>
            <a:fillRect/>
          </a:stretch>
        </p:blipFill>
        <p:spPr>
          <a:xfrm>
            <a:off x="8775700" y="6083300"/>
            <a:ext cx="812800" cy="812800"/>
          </a:xfrm>
          <a:prstGeom prst="rect">
            <a:avLst/>
          </a:prstGeom>
        </p:spPr>
      </p:pic>
      <p:pic>
        <p:nvPicPr>
          <p:cNvPr id="119" name="Billede 118"/>
          <p:cNvPicPr>
            <a:picLocks noChangeAspect="1"/>
          </p:cNvPicPr>
          <p:nvPr/>
        </p:nvPicPr>
        <p:blipFill>
          <a:blip r:embed="rId118">
            <a:extLst>
              <a:ext uri="{28A0092B-C50C-407E-A947-70E740481C1C}">
                <a14:useLocalDpi xmlns:a14="http://schemas.microsoft.com/office/drawing/2010/main"/>
              </a:ext>
            </a:extLst>
          </a:blip>
          <a:stretch>
            <a:fillRect/>
          </a:stretch>
        </p:blipFill>
        <p:spPr>
          <a:xfrm>
            <a:off x="9702800" y="6096000"/>
            <a:ext cx="812800" cy="812800"/>
          </a:xfrm>
          <a:prstGeom prst="rect">
            <a:avLst/>
          </a:prstGeom>
        </p:spPr>
      </p:pic>
      <p:pic>
        <p:nvPicPr>
          <p:cNvPr id="120" name="Billede 119"/>
          <p:cNvPicPr>
            <a:picLocks noChangeAspect="1"/>
          </p:cNvPicPr>
          <p:nvPr/>
        </p:nvPicPr>
        <p:blipFill>
          <a:blip r:embed="rId119">
            <a:extLst>
              <a:ext uri="{28A0092B-C50C-407E-A947-70E740481C1C}">
                <a14:useLocalDpi xmlns:a14="http://schemas.microsoft.com/office/drawing/2010/main"/>
              </a:ext>
            </a:extLst>
          </a:blip>
          <a:stretch>
            <a:fillRect/>
          </a:stretch>
        </p:blipFill>
        <p:spPr>
          <a:xfrm>
            <a:off x="10642600" y="6096000"/>
            <a:ext cx="812800" cy="812800"/>
          </a:xfrm>
          <a:prstGeom prst="rect">
            <a:avLst/>
          </a:prstGeom>
        </p:spPr>
      </p:pic>
      <p:pic>
        <p:nvPicPr>
          <p:cNvPr id="121" name="Billede 120"/>
          <p:cNvPicPr>
            <a:picLocks noChangeAspect="1"/>
          </p:cNvPicPr>
          <p:nvPr/>
        </p:nvPicPr>
        <p:blipFill>
          <a:blip r:embed="rId120">
            <a:extLst>
              <a:ext uri="{28A0092B-C50C-407E-A947-70E740481C1C}">
                <a14:useLocalDpi xmlns:a14="http://schemas.microsoft.com/office/drawing/2010/main"/>
              </a:ext>
            </a:extLst>
          </a:blip>
          <a:stretch>
            <a:fillRect/>
          </a:stretch>
        </p:blipFill>
        <p:spPr>
          <a:xfrm>
            <a:off x="11455400" y="5575300"/>
            <a:ext cx="812800" cy="812800"/>
          </a:xfrm>
          <a:prstGeom prst="rect">
            <a:avLst/>
          </a:prstGeom>
        </p:spPr>
      </p:pic>
      <p:pic>
        <p:nvPicPr>
          <p:cNvPr id="122" name="Billede 121"/>
          <p:cNvPicPr>
            <a:picLocks noChangeAspect="1"/>
          </p:cNvPicPr>
          <p:nvPr/>
        </p:nvPicPr>
        <p:blipFill>
          <a:blip r:embed="rId121">
            <a:extLst>
              <a:ext uri="{28A0092B-C50C-407E-A947-70E740481C1C}">
                <a14:useLocalDpi xmlns:a14="http://schemas.microsoft.com/office/drawing/2010/main"/>
              </a:ext>
            </a:extLst>
          </a:blip>
          <a:stretch>
            <a:fillRect/>
          </a:stretch>
        </p:blipFill>
        <p:spPr>
          <a:xfrm>
            <a:off x="11423650" y="4838700"/>
            <a:ext cx="812800" cy="812800"/>
          </a:xfrm>
          <a:prstGeom prst="rect">
            <a:avLst/>
          </a:prstGeom>
        </p:spPr>
      </p:pic>
      <p:sp>
        <p:nvSpPr>
          <p:cNvPr id="123" name="Title 122">
            <a:extLst>
              <a:ext uri="{FF2B5EF4-FFF2-40B4-BE49-F238E27FC236}">
                <a16:creationId xmlns:a16="http://schemas.microsoft.com/office/drawing/2014/main" id="{D552A354-9F5D-5840-9D11-5053F17C596C}"/>
              </a:ext>
            </a:extLst>
          </p:cNvPr>
          <p:cNvSpPr>
            <a:spLocks noGrp="1"/>
          </p:cNvSpPr>
          <p:nvPr>
            <p:ph type="title"/>
          </p:nvPr>
        </p:nvSpPr>
        <p:spPr/>
        <p:txBody>
          <a:bodyPr/>
          <a:lstStyle/>
          <a:p>
            <a:endParaRPr lang="en-GB"/>
          </a:p>
        </p:txBody>
      </p:sp>
      <p:sp>
        <p:nvSpPr>
          <p:cNvPr id="124" name="Text Placeholder 123">
            <a:extLst>
              <a:ext uri="{FF2B5EF4-FFF2-40B4-BE49-F238E27FC236}">
                <a16:creationId xmlns:a16="http://schemas.microsoft.com/office/drawing/2014/main" id="{609FFAA4-1C16-1D40-A852-96256816E612}"/>
              </a:ext>
            </a:extLst>
          </p:cNvPr>
          <p:cNvSpPr>
            <a:spLocks noGrp="1"/>
          </p:cNvSpPr>
          <p:nvPr>
            <p:ph type="body" sz="quarter" idx="13"/>
          </p:nvPr>
        </p:nvSpPr>
        <p:spPr/>
        <p:txBody>
          <a:bodyPr/>
          <a:lstStyle/>
          <a:p>
            <a:endParaRPr lang="en-GB"/>
          </a:p>
        </p:txBody>
      </p:sp>
      <p:sp>
        <p:nvSpPr>
          <p:cNvPr id="125" name="Text Placeholder 124">
            <a:extLst>
              <a:ext uri="{FF2B5EF4-FFF2-40B4-BE49-F238E27FC236}">
                <a16:creationId xmlns:a16="http://schemas.microsoft.com/office/drawing/2014/main" id="{954E87AC-B54E-414C-90F6-C69102E93DF6}"/>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38001004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EE4P_STYLE_ID" val="9245cb48-36f6-4855-a0c3-19564cc8b6bc"/>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1&quot; fontSize=&quot;16&quot; fontSizeAuto=&quot;1&quot; startTime=&quot;540&quot; timeFormatId=&quot;1&quot; startItemNo=&quot;1&quot; createSingleAgendaSlide=&quot;1&quot; createSeparatingSlides=&quot;1&quot; createBackupSlide=&quot;1&quot; layoutId=&quot;1_1&quot; createSections=&quot;0&quot; singleSlideId=&quot;598ec3af-ff5f-4125-b07b-a336e069f80f&quot; backupSlideId=&quot;ce583332-5617-487f-a350-43ff7fde17d2&quot;&gt;&lt;columns&gt;&lt;column field=&quot;itemno&quot; label=&quot;No.&quot; checked=&quot;1&quot; leftSpacing=&quot;0&quot; rightSpacing=&quot;0&quot; dock=&quot;1&quot; fixedWidth=&quot;25.000001&quot; /&gt;&lt;column field=&quot;topic&quot; label=&quot;Topic&quot; leftSpacing=&quot;5&quot; rightDistribute=&quot;1&quot; dock=&quot;1&quot; rightSpacing=&quot;238.4075&quot; /&gt;&lt;column field=&quot;responsible&quot; label=&quot;Responsible&quot; visible=&quot;1&quot; checked=&quot;1&quot; leftSpacing=&quot;10&quot; rightDistribute=&quot;1&quot; dock=&quot;1&quot; rightSpacing=&quot;238.4075&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44b0fef8-fbc6-4e78-8083-1ab882306d8a&quot; parentId=&quot;&quot; level=&quot;1&quot; generateAgendaSlide=&quot;1&quot; showAgendaItem=&quot;1&quot; isBreak=&quot;0&quot; topic=&quot;2D Strip Packing&quot; agendaSlideId=&quot;9c38c1c9-6bd4-4a40-a8ae-8564605e0a5e&quot; /&gt;&lt;item duration=&quot;30&quot; id=&quot;cfa8e45f-0a9e-4d60-8b8e-aeaa44ae145e&quot; parentId=&quot;&quot; level=&quot;1&quot; generateAgendaSlide=&quot;1&quot; showAgendaItem=&quot;1&quot; isBreak=&quot;0&quot; topic=&quot;Results&quot; agendaSlideId=&quot;aa581b6e-ac1d-4ef6-bcc6-328a1cd367e6&quot; /&gt;&lt;item duration=&quot;30&quot; id=&quot;fc3ac251-9f15-4f90-b657-ba1fec1c1acc&quot; parentId=&quot;&quot; level=&quot;1&quot; generateAgendaSlide=&quot;1&quot; showAgendaItem=&quot;1&quot; isBreak=&quot;0&quot; topic=&quot;Approach&quot; agendaSlideId=&quot;f035f5e3-15b5-4fa7-baa3-6e5b6cd1e3dd&quot; /&gt;&lt;item duration=&quot;30&quot; id=&quot;e4b2a451-0203-4460-9f98-eb2f07cb3190&quot; parentId=&quot;&quot; level=&quot;1&quot; generateAgendaSlide=&quot;1&quot; showAgendaItem=&quot;1&quot; isBreak=&quot;0&quot; topic=&quot;Features&quot; agendaSlideId=&quot;d7bd2e62-40ff-4b6a-b4ea-ddff8ce2a335&quot; /&gt;&lt;item duration=&quot;30&quot; id=&quot;3a4baec1-ff28-4358-bd8f-83e217a4d978&quot; parentId=&quot;&quot; level=&quot;1&quot; generateAgendaSlide=&quot;1&quot; showAgendaItem=&quot;1&quot; isBreak=&quot;0&quot; topic=&quot;Implementation&quot; agendaSlideId=&quot;befde2a1-ef78-4fe1-98ec-407e58d3912d&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aa581b6e-ac1d-4ef6-bcc6-328a1cd367e6_Topic"/>
  <p:tag name="EE4P_AGENDAWIZARD_CONTENT" val="/Results"/>
  <p:tag name="EE4P_AGENDAWIZARD_PROPERTIES" val="67.62968/170.3798/134.4251/31.50472"/>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1yrq_gD3EenjpCHo4Mi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CRAvBHwdEmRFWmnEPIVk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0bsz99WY9UatukYS64tEN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Wt3p47AkkGHhha7b_Jx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bV2AR04XE.tKKm8LbGy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JtY74BAwkiGV0dPjxH76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1sTHLHRmU.gMkeyVZ5E3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3jY3zYbyUmYwW1sppxp.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bLr3OQnuVUivV3A79QvFB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K03pVKK50OKrupXZyhc7A"/>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aa581b6e-ac1d-4ef6-bcc6-328a1cd367e6_ItemNo"/>
  <p:tag name="EE4P_AGENDAWIZARD_CONTENT" val="/2"/>
  <p:tag name="EE4P_AGENDAWIZARD_PROPERTIES" val="31.12504/170.3798/31.50465/31.50472"/>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h76ENBl02zIHjOZz8U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s0YP00qW0i6MEKig1LaK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4qFm4CNQU.7_.EWeKqWs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24Gg49aMUaggn_7mUs_4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h3a3ZVb30GQ4bFe2CQr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Tb2ulOdakWcwe8M81Dps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Yxrd9iQKkihW.AnHJ_Mx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nmimVtyDUKvGrVQdegCY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NFecVGmK0e6Z3TgMWYvi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9YPbWKQt10mXfWHsnTSfGQ"/>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9c38c1c9-6bd4-4a40-a8ae-8564605e0a5e_Topic"/>
  <p:tag name="EE4P_AGENDAWIZARD_CONTENT" val="/2D Strip Packing"/>
  <p:tag name="EE4P_AGENDAWIZARD_PROPERTIES" val="67.62968/133.875/134.4251/31.50472"/>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_S8WVeOOdE6i2jsP_lGWJ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_Mxj6fda0K35Sojw55n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JRI8_faRkKTgrZe_j8o1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KHMUMyvY0OzX.gtvkJE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1lXxL4bZUqDYWaaYDJn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1xVXN1lPCkyqmGe.iMnDJ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avG5pPHEUea_sMJhQfbb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8J9fQ0YMUqTwgneKLa74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TqX1Cx3UEKQklSA8vxRs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aMly7x3MEeIhfngsPjpcA"/>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9c38c1c9-6bd4-4a40-a8ae-8564605e0a5e_ItemNo"/>
  <p:tag name="EE4P_AGENDAWIZARD_CONTENT" val="/1"/>
  <p:tag name="EE4P_AGENDAWIZARD_PROPERTIES" val="31.12504/133.875/31.50465/31.50472"/>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e5jBV.BWUSr7xwYfg5C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6wII4pmn06GFYmg7l6K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HvY8Umnw0S9u15NhdFTS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Mqi7UmnF0amN4XoD_2J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RocmKzn1UuwKaX.F229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RDytQ2OGkWDWJ8rnho.i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qlfQeXrKUOAzfgPytJr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yByBvxinUKccoII1zhKd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e2zIBKFEECMx9P6Diwu4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sSVznS1dEKwKHOfyNhz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xQ.6sWKQ4uw95oBn4Qco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eYlsqSlT92XNiY7dTMh9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MMldrlFQ9uNvxp5G03Fj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H2oC.jiRxm37ROvv4xv0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url0yEvRsK_YMTB_r64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X5n7KpmRaiU4K2lzmOPm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lwAmg1LSJG9RDQb8cdA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7Km_RkYsSKC6OppXHNiX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4PE4Hx3SgWn7dh4V7KtH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9kWLFQ1TAOggmgGKlF1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Ns6X5oiSI.966NxOiE8X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8ylrEskLRB6knwG3qN2lq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_XqMjmhOTzi1IubjfvBoR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DXPnvTAS5iaskfM3ZIA1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6TyowMiiRXCr5WSw.mvM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zj5YdLrQMSVBS0LIZsE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scNS.GESzuihjynzz.G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zqQaiL8SKuRyZJW24RRl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oVFyzDXRsmVNQibWLaq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yissuJzRnqpJg6kfuJ3B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tOt8FDQQkaFfqHPf.AGA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pf6qUSqSZOOq0T8N.eU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a5NBq6KRt.C9g3k9yuKr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7.bH69bQMyvEIAzzVbHL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kA2xe_OSHS4Z.QoetdBt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f2KhSyETJ6imMduaiji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ck91tE6SrKs3BDC5XrYr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V9VDiScS7KkSF0JRmXZ6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7HGnPxQHTfGTczN.bQFS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YC6obhcaUmyf4i3QdbOM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2VIQl5ZTfC__X7GtxY1k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gdDnkWoTOyoI.7UJY_kX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boiZc1JSBCFFYop.fhY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FXYvv2FSt26LGUi_JDjL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v7PDkW0QVWryoqRiA7Z1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puKoD49S9CRoIR8mbV40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TX9K9LzR7ujgJTfEKOSM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QFQR4Z2S1OC_ulTOpnlw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IlV8BwGRjaIkEfJ5u6g5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3454HL0OQ1mwtyo0Cq.3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XvVZIfoQQiGPKDqCOIci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J9lUs9wTTOb5k.GPw3Gu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3r_JIqTSQW2IOL72FYPR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6nrKL5RZQaC6LFrzmcBMc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J18icnWScuG9MTM7cLiZ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41Nh9fg8S16wE0OlhzdXw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Yv4VE68pkG2JHi7eAN4Z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V8Goa48ME6w7hxmC2PhQ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bs9xgXWxWkSyZNdd9PCo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nv23q2Gxkicww.Av3zs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QuTE8IUH0W2_V189588i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mJIOshDUmHnywDVJd1g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nv23q2Gxkicww.Av3zsF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L.mJIOshDUmHnywDVJd1g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nv23q2Gxkicww.Av3zs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L.mJIOshDUmHnywDVJd1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qlTeaE7CFUKj.A97XO2Qm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Eab43I6Z.0aDARvYeVeb2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kAFYZNof02wAaWUO3n1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1ia6y2s0acwuwxt7S3Z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yZVKX6MFmU2C6NdB9ZkZ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OG6gNv2vUK4bklth1_nh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YTapTqGAYU.5I8bpLFMGh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r3scxhyo0aGCYiMvUtSa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UT.6ZGH_UaYkURI6Tt7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kUbqJ62YECPfA.1427r.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ZMkJNLmYqUebfl8k3xIiB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hb79iK0AUGIxoRNo2OXk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15mJIsJ7yUO6Aulb_24tL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deRQ0GUSkyoWSsOnY3bp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4KPvP_KvUac3j4WYtwKJ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BJjQY6gU50KBlgyYafwW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UJrQWpoM0mEn3UtN2E9Q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vvLvL26l.kyTbcghd2Pra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gz7TkjlGBE6w6qI0y_L7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fwbT4oJIEKDUzF3mowz6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EPVOk4B3kuOLTJs2hOm.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cYZ_VvInUiHFlqsEzNO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i0rhUhZ3ECIkvk.rUed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aFSPKtFUUWJlHsViBWL9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myc8KEK7kGIe__KlZQ8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aQ1GaeGK0OQPjyOABxd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w1ZKYxMh0CREQvDyijp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gI4.nLAzkKXmTDfFR.W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HUWNxXt_0C1FdEiX57j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CNJhovzbk6sQ.HeH.zQ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pdLx.U3Q4yf28MprPuA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pD7Ka40mUmMASaOi8Uv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4jy4VPnFk22y47cX2ZS0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z3Et_j_BESMWX4zHtGs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qwUSjssr0uvV.3hMqU7cA"/>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befde2a1-ef78-4fe1-98ec-407e58d3912d_Topic"/>
  <p:tag name="EE4P_AGENDAWIZARD_CONTENT" val="/Implementation"/>
  <p:tag name="EE4P_AGENDAWIZARD_PROPERTIES" val="67.62968/279.894/134.4251/31.5047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UsNSlEqqU.TqiumcNdr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4rNT1CKhUGkOhOb.BnF3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6FWhZS3qE.CBTeVAUem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EaEt_0b60W9iZW6qI53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EaEt_0b60W9iZW6qI53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EaEt_0b60W9iZW6qI53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EaEt_0b60W9iZW6qI53j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EaEt_0b60W9iZW6qI53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eYlsqSlT92XNiY7dTMh9w"/>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efde2a1-ef78-4fe1-98ec-407e58d3912d_ItemNo"/>
  <p:tag name="EE4P_AGENDAWIZARD_CONTENT" val="/5"/>
  <p:tag name="EE4P_AGENDAWIZARD_PROPERTIES" val="31.12504/279.894/31.50465/31.5047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MMldrlFQ9uNvxp5G03F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H2oC.jiRxm37ROvv4xv0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url0yEvRsK_YMTB_r64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X5n7KpmRaiU4K2lzmOP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lwAmg1LSJG9RDQb8cdA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Km_RkYsSKC6OppXHNiX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9kWLFQ1TAOggmgGKlF1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Ns6X5oiSI.966NxOiE8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ylrEskLRB6knwG3qN2l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XqMjmhOTzi1IubjfvBoRw"/>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7bd2e62-40ff-4b6a-b4ea-ddff8ce2a335_Topic"/>
  <p:tag name="EE4P_AGENDAWIZARD_CONTENT" val="/Features"/>
  <p:tag name="EE4P_AGENDAWIZARD_PROPERTIES" val="67.62968/243.3892/134.4251/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DXPnvTAS5iaskfM3ZIA1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6TyowMiiRXCr5WSw.mvM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zj5YdLrQMSVBS0LIZsE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scNS.GESzuihjynzz.G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zqQaiL8SKuRyZJW24RRl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oVFyzDXRsmVNQibWLaq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yissuJzRnqpJg6kfuJ3B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tOt8FDQQkaFfqHPf.AGA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pf6qUSqSZOOq0T8N.eU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a5NBq6KRt.C9g3k9yuKrw"/>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7bd2e62-40ff-4b6a-b4ea-ddff8ce2a335_ItemNo"/>
  <p:tag name="EE4P_AGENDAWIZARD_CONTENT" val="/4"/>
  <p:tag name="EE4P_AGENDAWIZARD_PROPERTIES" val="31.12504/243.3892/31.50465/31.50472"/>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7.bH69bQMyvEIAzzVbHL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kA2xe_OSHS4Z.QoetdB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f2KhSyETJ6imMduaiji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ck91tE6SrKs3BDC5XrY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V9VDiScS7KkSF0JRmXZ6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7HGnPxQHTfGTczN.bQFS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2VIQl5ZTfC__X7GtxY1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gdDnkWoTOyoI.7UJY_k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boiZc1JSBCFFYop.fhYT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FXYvv2FSt26LGUi_JDjLg"/>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035f5e3-15b5-4fa7-baa3-6e5b6cd1e3dd_Topic"/>
  <p:tag name="EE4P_AGENDAWIZARD_CONTENT" val="/Approach"/>
  <p:tag name="EE4P_AGENDAWIZARD_PROPERTIES" val="67.62968/206.8845/134.4251/31.50472"/>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v7PDkW0QVWryoqRiA7Z1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puKoD49S9CRoIR8mbV40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TX9K9LzR7ujgJTfEKOS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QFQR4Z2S1OC_ulTOpnl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IlV8BwGRjaIkEfJ5u6g5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454HL0OQ1mwtyo0Cq.3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XvVZIfoQQiGPKDqCOIci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J9lUs9wTTOb5k.GPw3G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3r_JIqTSQW2IOL72FYPR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nrKL5RZQaC6LFrzmcBMcQ"/>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f035f5e3-15b5-4fa7-baa3-6e5b6cd1e3dd_ItemNo"/>
  <p:tag name="EE4P_AGENDAWIZARD_CONTENT" val="/3"/>
  <p:tag name="EE4P_AGENDAWIZARD_PROPERTIES" val="31.12504/206.8845/31.50465/31.5047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J18icnWScuG9MTM7cLiZ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1Nh9fg8S16wE0OlhzdX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o1hIJLTJUO05flmrnRo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qhV4n.0wEaFAmcqUADgB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oZnSjCUYUSTwTD_1.4K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Dir6bxXzESfGN949D73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NgmkMoOMUuoK1xCke6f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uSpDSuVsUCHmO4YyJD3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Ruz06kSNkGaO6zknWoikQ"/>
</p:tagLst>
</file>

<file path=ppt/theme/theme1.xml><?xml version="1.0" encoding="utf-8"?>
<a:theme xmlns:a="http://schemas.openxmlformats.org/drawingml/2006/main" name="Kontortema">
  <a:themeElements>
    <a:clrScheme name="Ocean Cleanup">
      <a:dk1>
        <a:srgbClr val="000000"/>
      </a:dk1>
      <a:lt1>
        <a:srgbClr val="FFFFFF"/>
      </a:lt1>
      <a:dk2>
        <a:srgbClr val="1668A1"/>
      </a:dk2>
      <a:lt2>
        <a:srgbClr val="E7E6E6"/>
      </a:lt2>
      <a:accent1>
        <a:srgbClr val="0E395B"/>
      </a:accent1>
      <a:accent2>
        <a:srgbClr val="1B5DAA"/>
      </a:accent2>
      <a:accent3>
        <a:srgbClr val="55CCE1"/>
      </a:accent3>
      <a:accent4>
        <a:srgbClr val="ECEBEA"/>
      </a:accent4>
      <a:accent5>
        <a:srgbClr val="CFCFCF"/>
      </a:accent5>
      <a:accent6>
        <a:srgbClr val="0C3754"/>
      </a:accent6>
      <a:hlink>
        <a:srgbClr val="1B5CAA"/>
      </a:hlink>
      <a:folHlink>
        <a:srgbClr val="55CC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ontor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525</TotalTime>
  <Words>5532</Words>
  <Application>Microsoft Macintosh PowerPoint</Application>
  <PresentationFormat>Widescreen</PresentationFormat>
  <Paragraphs>1336</Paragraphs>
  <Slides>91</Slides>
  <Notes>21</Notes>
  <HiddenSlides>1</HiddenSlides>
  <MMClips>0</MMClips>
  <ScaleCrop>false</ScaleCrop>
  <HeadingPairs>
    <vt:vector size="8" baseType="variant">
      <vt:variant>
        <vt:lpstr>Benyttede skrifttyper</vt:lpstr>
      </vt:variant>
      <vt:variant>
        <vt:i4>11</vt:i4>
      </vt:variant>
      <vt:variant>
        <vt:lpstr>Tema</vt:lpstr>
      </vt:variant>
      <vt:variant>
        <vt:i4>1</vt:i4>
      </vt:variant>
      <vt:variant>
        <vt:lpstr>Integrerede OLE-servere</vt:lpstr>
      </vt:variant>
      <vt:variant>
        <vt:i4>2</vt:i4>
      </vt:variant>
      <vt:variant>
        <vt:lpstr>Slidetitler</vt:lpstr>
      </vt:variant>
      <vt:variant>
        <vt:i4>91</vt:i4>
      </vt:variant>
    </vt:vector>
  </HeadingPairs>
  <TitlesOfParts>
    <vt:vector size="105" baseType="lpstr">
      <vt:lpstr>Gulim</vt:lpstr>
      <vt:lpstr>Arial</vt:lpstr>
      <vt:lpstr>Avenir Bog</vt:lpstr>
      <vt:lpstr>Avenir Book</vt:lpstr>
      <vt:lpstr>Book Antiqua</vt:lpstr>
      <vt:lpstr>Calibri</vt:lpstr>
      <vt:lpstr>Courier New</vt:lpstr>
      <vt:lpstr>Gill Sans Light</vt:lpstr>
      <vt:lpstr>Montserrat Black</vt:lpstr>
      <vt:lpstr>Verdana</vt:lpstr>
      <vt:lpstr>Wingdings</vt:lpstr>
      <vt:lpstr>Kontortema</vt:lpstr>
      <vt:lpstr>think-cell Slide</vt:lpstr>
      <vt:lpstr>Chart</vt:lpstr>
      <vt:lpstr>Trees of Copenhagen</vt:lpstr>
      <vt:lpstr>Agenda</vt:lpstr>
      <vt:lpstr>Idea</vt:lpstr>
      <vt:lpstr>Visualization</vt:lpstr>
      <vt:lpstr>Elements</vt:lpstr>
      <vt:lpstr>Implementaion</vt:lpstr>
      <vt:lpstr>Data analysis</vt:lpstr>
      <vt:lpstr>PowerPoint-præsentation</vt:lpstr>
      <vt:lpstr>Index</vt:lpstr>
      <vt:lpstr>PowerPoint-præsentation</vt:lpstr>
      <vt:lpstr>CC Advisory Logo</vt:lpstr>
      <vt:lpstr>PowerPoint-præsentation</vt:lpstr>
      <vt:lpstr>PowerPoint-præsentation</vt:lpstr>
      <vt:lpstr>The two dimensional strip packing problem aims a minimizing the strip height by packing </vt:lpstr>
      <vt:lpstr>PowerPoint-præsentation</vt:lpstr>
      <vt:lpstr>By using Phase 2 land to expand the Deltaport Logistics Centre and additionally create a start-up incubator, this will both have lasting economic and societal impact</vt:lpstr>
      <vt:lpstr>Leveraging core capabilities to overcome constraints will allow EasyMarkit drive revenue growth towards 2021</vt:lpstr>
      <vt:lpstr>PowerPoint-præsentation</vt:lpstr>
      <vt:lpstr>PowerPoint-præsentation</vt:lpstr>
      <vt:lpstr>PowerPoint-præsentation</vt:lpstr>
      <vt:lpstr>PowerPoint-præsentation</vt:lpstr>
      <vt:lpstr>PowerPoint-præsentation</vt:lpstr>
      <vt:lpstr>PowerPoint-præsentation</vt:lpstr>
      <vt:lpstr>Two insights, one conclusion</vt:lpstr>
      <vt:lpstr>Core capabilities</vt:lpstr>
      <vt:lpstr>Solution assessment / customer segment justification</vt:lpstr>
      <vt:lpstr>Customer Segments</vt:lpstr>
      <vt:lpstr>PowerPoint-præsentation</vt:lpstr>
      <vt:lpstr>PowerPoint-præsentation</vt:lpstr>
      <vt:lpstr>PowerPoint-præsentation</vt:lpstr>
      <vt:lpstr>Appendix: Priority matrix on different segments</vt:lpstr>
      <vt:lpstr>Where to play</vt:lpstr>
      <vt:lpstr>The expansion strategy of XX is based on three distinct steps </vt:lpstr>
      <vt:lpstr>PowerPoint-præsentation</vt:lpstr>
      <vt:lpstr>These things are important for millennials</vt:lpstr>
      <vt:lpstr>Flowchart, anyone? BE MECE!!</vt:lpstr>
      <vt:lpstr>Simple solution assessment with explanation</vt:lpstr>
      <vt:lpstr>Evaluation slide – Harvey Balls</vt:lpstr>
      <vt:lpstr>Solution assesment</vt:lpstr>
      <vt:lpstr>Solution assessment slide</vt:lpstr>
      <vt:lpstr>PowerPoint-præsentation</vt:lpstr>
      <vt:lpstr>Title – 3 part solution</vt:lpstr>
      <vt:lpstr>Arla should premiumize by opening boutique cafés,  ”Mjölk by Arla”</vt:lpstr>
      <vt:lpstr>Arla should leverage core capabilities and seek new partnerships to simplify the production and delivery of My Arla products</vt:lpstr>
      <vt:lpstr>Use a timeline to show your audience how far you’ve come</vt:lpstr>
      <vt:lpstr>BigBang should capture another layer of location-based technology to increase value added…</vt:lpstr>
      <vt:lpstr>Visual elements</vt:lpstr>
      <vt:lpstr>World Map</vt:lpstr>
      <vt:lpstr>World Map</vt:lpstr>
      <vt:lpstr>Canada Map</vt:lpstr>
      <vt:lpstr>Organisational Chart</vt:lpstr>
      <vt:lpstr>PowerPoint-præsentation</vt:lpstr>
      <vt:lpstr>Detailed blockchain content</vt:lpstr>
      <vt:lpstr>Key Financials</vt:lpstr>
      <vt:lpstr>Back up Slide for elaborating on cost types</vt:lpstr>
      <vt:lpstr>By opening 108 UGLY FOODS stores, Coles will see incremental revenue of $b 1,7 and 25% EBIT increase by 2021</vt:lpstr>
      <vt:lpstr>… This means a positive NPV in every scenario, with a initial investment of $84 M and a payback time of 4 years</vt:lpstr>
      <vt:lpstr>Cost Map</vt:lpstr>
      <vt:lpstr>Visual elements</vt:lpstr>
      <vt:lpstr>Pandora will realize a revenue increase from 2015 to 2018 of 168%, yielding revenues of 2,246 bln in 2018, outperforming the revenue goal set by management</vt:lpstr>
      <vt:lpstr>Succesfully implementing COW strategy will allow Arla foods to outgrow “Good Growth” targets and increase Arla brand share to 43.5%</vt:lpstr>
      <vt:lpstr>By opening 108 UGLY FOODS stores, Coles will see incremental revenue of $b 1,7 and 25% EBIT increase by 2021</vt:lpstr>
      <vt:lpstr>… This means a positive NPV in every scenario, with a initial investment of $84 M and a payback time of 4 years</vt:lpstr>
      <vt:lpstr>Setting up a apparel factory in Jordan will result in a payback period of 2 years, and a NPV of DKK 17 mio in the base case</vt:lpstr>
      <vt:lpstr>PowerPoint-præsentation</vt:lpstr>
      <vt:lpstr>Succesfull implementation relies on 3 must win battles</vt:lpstr>
      <vt:lpstr>Successful implementation relies on gradual implementation and brand awareness</vt:lpstr>
      <vt:lpstr>To successfully implement the strategy, DBS will need to think big, start small and  scale fast</vt:lpstr>
      <vt:lpstr>To successfully scale Espresso House, the ‘A Barista on Every Corner’-strategy should be executed in three phases from 2018 to 2022</vt:lpstr>
      <vt:lpstr>PowerPoint-præsentation</vt:lpstr>
      <vt:lpstr>Several risks and challenges have been identified and potential mitigation strategies suggested </vt:lpstr>
      <vt:lpstr>Extensive risk slide</vt:lpstr>
      <vt:lpstr>Appendix 5: Risks</vt:lpstr>
      <vt:lpstr>PowerPoint-præsentation</vt:lpstr>
      <vt:lpstr>There are many sources of competitive advantag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rioritize using these icons… they’re prettyyyyyy</vt:lpstr>
      <vt:lpstr>Prioritize using these icons… they’re prettyyyyyy #2</vt:lpstr>
      <vt:lpstr>Second priority icons, should be used colored and with no/white lines – then they almost look like the prettyyyy icons</vt:lpstr>
      <vt:lpstr>We can make prettyyyyy mockups! </vt:lpstr>
      <vt:lpstr>We can make prettyyyyy (more real-life) mockups, too! </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Sophus Rosendahl</dc:creator>
  <cp:lastModifiedBy>Jesper Dybkjær</cp:lastModifiedBy>
  <cp:revision>388</cp:revision>
  <dcterms:created xsi:type="dcterms:W3CDTF">2015-12-13T08:15:27Z</dcterms:created>
  <dcterms:modified xsi:type="dcterms:W3CDTF">2020-04-09T10:54:52Z</dcterms:modified>
</cp:coreProperties>
</file>